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theme/theme2.xml" ContentType="application/vnd.openxmlformats-officedocument.theme+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theme/theme3.xml" ContentType="application/vnd.openxmlformats-officedocument.theme+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theme/theme4.xml" ContentType="application/vnd.openxmlformats-officedocument.theme+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theme/theme5.xml" ContentType="application/vnd.openxmlformats-officedocument.theme+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theme/theme6.xml" ContentType="application/vnd.openxmlformats-officedocument.theme+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theme/theme7.xml" ContentType="application/vnd.openxmlformats-officedocument.theme+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theme/theme8.xml" ContentType="application/vnd.openxmlformats-officedocument.theme+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theme/theme9.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10.xml" ContentType="application/vnd.openxmlformats-officedocument.theme+xml"/>
  <Override PartName="/ppt/tags/tag14.xml" ContentType="application/vnd.openxmlformats-officedocument.presentationml.tags+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48" r:id="rId4"/>
    <p:sldMasterId id="2147484114" r:id="rId5"/>
    <p:sldMasterId id="2147484038" r:id="rId6"/>
    <p:sldMasterId id="2147483739" r:id="rId7"/>
    <p:sldMasterId id="2147483712" r:id="rId8"/>
    <p:sldMasterId id="2147483764" r:id="rId9"/>
    <p:sldMasterId id="2147483849" r:id="rId10"/>
    <p:sldMasterId id="2147484001" r:id="rId11"/>
    <p:sldMasterId id="2147484015" r:id="rId12"/>
  </p:sldMasterIdLst>
  <p:notesMasterIdLst>
    <p:notesMasterId r:id="rId41"/>
  </p:notesMasterIdLst>
  <p:sldIdLst>
    <p:sldId id="300" r:id="rId13"/>
    <p:sldId id="496" r:id="rId14"/>
    <p:sldId id="1972" r:id="rId15"/>
    <p:sldId id="2147481063" r:id="rId16"/>
    <p:sldId id="938" r:id="rId17"/>
    <p:sldId id="940" r:id="rId18"/>
    <p:sldId id="1984" r:id="rId19"/>
    <p:sldId id="2147481042" r:id="rId20"/>
    <p:sldId id="945" r:id="rId21"/>
    <p:sldId id="2147481039" r:id="rId22"/>
    <p:sldId id="328" r:id="rId23"/>
    <p:sldId id="2000" r:id="rId24"/>
    <p:sldId id="2147481061" r:id="rId25"/>
    <p:sldId id="306" r:id="rId26"/>
    <p:sldId id="2147481057" r:id="rId27"/>
    <p:sldId id="1983" r:id="rId28"/>
    <p:sldId id="1028" r:id="rId29"/>
    <p:sldId id="269" r:id="rId30"/>
    <p:sldId id="2147481050" r:id="rId31"/>
    <p:sldId id="2147481064" r:id="rId32"/>
    <p:sldId id="2147481065" r:id="rId33"/>
    <p:sldId id="2147481066" r:id="rId34"/>
    <p:sldId id="2147481054" r:id="rId35"/>
    <p:sldId id="2147481055" r:id="rId36"/>
    <p:sldId id="2147481051" r:id="rId37"/>
    <p:sldId id="2147481056" r:id="rId38"/>
    <p:sldId id="2147481059" r:id="rId39"/>
    <p:sldId id="1988" r:id="rId40"/>
  </p:sldIdLst>
  <p:sldSz cx="12192000" cy="6858000"/>
  <p:notesSz cx="6858000" cy="9144000"/>
  <p:embeddedFontLst>
    <p:embeddedFont>
      <p:font typeface="AccordAlternate" panose="02000000000000000000" pitchFamily="50" charset="0"/>
      <p:regular r:id="rId42"/>
    </p:embeddedFont>
    <p:embeddedFont>
      <p:font typeface="Roboto Bold" panose="02000000000000000000" pitchFamily="2" charset="0"/>
      <p:bold r:id="rId43"/>
    </p:embeddedFont>
    <p:embeddedFont>
      <p:font typeface="Roboto Light" panose="02000000000000000000" pitchFamily="2" charset="0"/>
      <p:regular r:id="rId44"/>
      <p:italic r:id="rId45"/>
    </p:embeddedFont>
    <p:embeddedFont>
      <p:font typeface="Roboto Medium" panose="02000000000000000000" pitchFamily="2" charset="0"/>
      <p:regular r:id="rId46"/>
      <p:italic r:id="rId47"/>
    </p:embeddedFont>
    <p:embeddedFont>
      <p:font typeface="Univia Pro" panose="00000800000000000000" charset="0"/>
      <p:bold r:id="rId48"/>
    </p:embeddedFont>
  </p:embeddedFontLst>
  <p:custDataLst>
    <p:tags r:id="rId49"/>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7355" userDrawn="1">
          <p15:clr>
            <a:srgbClr val="A4A3A4"/>
          </p15:clr>
        </p15:guide>
        <p15:guide id="3" orient="horz" pos="2137"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34FA3"/>
    <a:srgbClr val="768CA2"/>
    <a:srgbClr val="004C99"/>
    <a:srgbClr val="ECDED3"/>
    <a:srgbClr val="B0B9C8"/>
    <a:srgbClr val="7EA499"/>
    <a:srgbClr val="A9DA74"/>
    <a:srgbClr val="044F9D"/>
    <a:srgbClr val="FFFFFF"/>
    <a:srgbClr val="DFD2BF"/>
  </p:clrMru>
  <p:extLst>
    <p:ext uri="{E76CE94A-603C-4142-B9EB-6D1370010A27}">
      <p14:discardImageEditData xmlns:p14="http://schemas.microsoft.com/office/powerpoint/2010/main" val="1"/>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521" autoAdjust="0"/>
    <p:restoredTop sz="94660"/>
  </p:normalViewPr>
  <p:slideViewPr>
    <p:cSldViewPr snapToGrid="0">
      <p:cViewPr varScale="1">
        <p:scale>
          <a:sx n="102" d="100"/>
          <a:sy n="102" d="100"/>
        </p:scale>
        <p:origin x="978" y="318"/>
      </p:cViewPr>
      <p:guideLst>
        <p:guide pos="7355"/>
        <p:guide orient="horz" pos="2137"/>
      </p:guideLst>
    </p:cSldViewPr>
  </p:slideViewPr>
  <p:notesTextViewPr>
    <p:cViewPr>
      <p:scale>
        <a:sx n="3" d="2"/>
        <a:sy n="3" d="2"/>
      </p:scale>
      <p:origin x="0" y="0"/>
    </p:cViewPr>
  </p:notesTextViewPr>
  <p:notesViewPr>
    <p:cSldViewPr snapToGrid="0">
      <p:cViewPr varScale="1">
        <p:scale>
          <a:sx n="87" d="100"/>
          <a:sy n="87" d="100"/>
        </p:scale>
        <p:origin x="3840" y="9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slide" Target="slides/slide27.xml"/><Relationship Id="rId21" Type="http://schemas.openxmlformats.org/officeDocument/2006/relationships/slide" Target="slides/slide9.xml"/><Relationship Id="rId34" Type="http://schemas.openxmlformats.org/officeDocument/2006/relationships/slide" Target="slides/slide22.xml"/><Relationship Id="rId42" Type="http://schemas.openxmlformats.org/officeDocument/2006/relationships/font" Target="fonts/font1.fntdata"/><Relationship Id="rId47" Type="http://schemas.openxmlformats.org/officeDocument/2006/relationships/font" Target="fonts/font6.fntdata"/><Relationship Id="rId50" Type="http://schemas.openxmlformats.org/officeDocument/2006/relationships/presProps" Target="pres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4.xml"/><Relationship Id="rId29" Type="http://schemas.openxmlformats.org/officeDocument/2006/relationships/slide" Target="slides/slide17.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slide" Target="slides/slide25.xml"/><Relationship Id="rId40" Type="http://schemas.openxmlformats.org/officeDocument/2006/relationships/slide" Target="slides/slide28.xml"/><Relationship Id="rId45" Type="http://schemas.openxmlformats.org/officeDocument/2006/relationships/font" Target="fonts/font4.fntdata"/><Relationship Id="rId53" Type="http://schemas.openxmlformats.org/officeDocument/2006/relationships/tableStyles" Target="tableStyles.xml"/><Relationship Id="rId5" Type="http://schemas.openxmlformats.org/officeDocument/2006/relationships/slideMaster" Target="slideMasters/slideMaster2.xml"/><Relationship Id="rId10" Type="http://schemas.openxmlformats.org/officeDocument/2006/relationships/slideMaster" Target="slideMasters/slideMaster7.xml"/><Relationship Id="rId19" Type="http://schemas.openxmlformats.org/officeDocument/2006/relationships/slide" Target="slides/slide7.xml"/><Relationship Id="rId31" Type="http://schemas.openxmlformats.org/officeDocument/2006/relationships/slide" Target="slides/slide19.xml"/><Relationship Id="rId44" Type="http://schemas.openxmlformats.org/officeDocument/2006/relationships/font" Target="fonts/font3.fntdata"/><Relationship Id="rId52"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font" Target="fonts/font2.fntdata"/><Relationship Id="rId48" Type="http://schemas.openxmlformats.org/officeDocument/2006/relationships/font" Target="fonts/font7.fntdata"/><Relationship Id="rId8" Type="http://schemas.openxmlformats.org/officeDocument/2006/relationships/slideMaster" Target="slideMasters/slideMaster5.xml"/><Relationship Id="rId51"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openxmlformats.org/officeDocument/2006/relationships/font" Target="fonts/font5.fntdata"/><Relationship Id="rId20" Type="http://schemas.openxmlformats.org/officeDocument/2006/relationships/slide" Target="slides/slide8.xml"/><Relationship Id="rId41"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49" Type="http://schemas.openxmlformats.org/officeDocument/2006/relationships/tags" Target="tags/tag1.xml"/></Relationships>
</file>

<file path=ppt/diagrams/colors1.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7A395A7-BF34-4578-BF1C-E0F06ACA1435}" type="doc">
      <dgm:prSet loTypeId="urn:microsoft.com/office/officeart/2005/8/layout/orgChart1" loCatId="hierarchy" qsTypeId="urn:microsoft.com/office/officeart/2005/8/quickstyle/simple1" qsCatId="simple" csTypeId="urn:microsoft.com/office/officeart/2005/8/colors/accent0_2" csCatId="mainScheme" phldr="1"/>
      <dgm:spPr/>
      <dgm:t>
        <a:bodyPr/>
        <a:lstStyle/>
        <a:p>
          <a:pPr rtl="1"/>
          <a:endParaRPr lang="he-IL"/>
        </a:p>
      </dgm:t>
    </dgm:pt>
    <dgm:pt modelId="{30561DCE-4483-4C29-A6B7-CA8EA7A2066D}">
      <dgm:prSet phldrT="[טקסט]" custT="1"/>
      <dgm:spPr/>
      <dgm:t>
        <a:bodyPr/>
        <a:lstStyle/>
        <a:p>
          <a:pPr rtl="1"/>
          <a:r>
            <a:rPr lang="he-IL" sz="2400" b="1">
              <a:latin typeface="Calibri" panose="020F0502020204030204" pitchFamily="34" charset="0"/>
              <a:ea typeface="Calibri" panose="020F0502020204030204" pitchFamily="34" charset="0"/>
              <a:cs typeface="Calibri" panose="020F0502020204030204" pitchFamily="34" charset="0"/>
            </a:rPr>
            <a:t>הנהלה</a:t>
          </a:r>
          <a:endParaRPr lang="he-IL" sz="1200" b="1">
            <a:latin typeface="Calibri" panose="020F0502020204030204" pitchFamily="34" charset="0"/>
            <a:ea typeface="Calibri" panose="020F0502020204030204" pitchFamily="34" charset="0"/>
            <a:cs typeface="Calibri" panose="020F0502020204030204" pitchFamily="34" charset="0"/>
          </a:endParaRPr>
        </a:p>
      </dgm:t>
    </dgm:pt>
    <dgm:pt modelId="{049D136C-1F98-4FE8-85CA-3E1AC1985599}" type="parTrans" cxnId="{FEAAFBFF-D520-4CD0-97CA-ACA8868E8524}">
      <dgm:prSet/>
      <dgm:spPr/>
      <dgm:t>
        <a:bodyPr/>
        <a:lstStyle/>
        <a:p>
          <a:pPr rtl="1"/>
          <a:endParaRPr lang="he-IL" sz="1800" b="0">
            <a:latin typeface="Calibri" panose="020F0502020204030204" pitchFamily="34" charset="0"/>
            <a:ea typeface="Calibri" panose="020F0502020204030204" pitchFamily="34" charset="0"/>
            <a:cs typeface="Calibri" panose="020F0502020204030204" pitchFamily="34" charset="0"/>
          </a:endParaRPr>
        </a:p>
      </dgm:t>
    </dgm:pt>
    <dgm:pt modelId="{43995639-9A0D-4A13-9E35-89D65E6B7212}" type="sibTrans" cxnId="{FEAAFBFF-D520-4CD0-97CA-ACA8868E8524}">
      <dgm:prSet/>
      <dgm:spPr/>
      <dgm:t>
        <a:bodyPr/>
        <a:lstStyle/>
        <a:p>
          <a:pPr rtl="1"/>
          <a:endParaRPr lang="he-IL" sz="1800" b="0">
            <a:latin typeface="Calibri" panose="020F0502020204030204" pitchFamily="34" charset="0"/>
            <a:ea typeface="Calibri" panose="020F0502020204030204" pitchFamily="34" charset="0"/>
            <a:cs typeface="Calibri" panose="020F0502020204030204" pitchFamily="34" charset="0"/>
          </a:endParaRPr>
        </a:p>
      </dgm:t>
    </dgm:pt>
    <dgm:pt modelId="{C6944755-19D1-4693-83C2-E047C76EF5E2}">
      <dgm:prSet phldrT="[טקסט]" custT="1"/>
      <dgm:spPr/>
      <dgm:t>
        <a:bodyPr/>
        <a:lstStyle/>
        <a:p>
          <a:pPr rtl="1"/>
          <a:r>
            <a:rPr lang="he-IL" sz="1600" b="1">
              <a:latin typeface="Calibri" panose="020F0502020204030204" pitchFamily="34" charset="0"/>
              <a:ea typeface="Calibri" panose="020F0502020204030204" pitchFamily="34" charset="0"/>
              <a:cs typeface="Calibri" panose="020F0502020204030204" pitchFamily="34" charset="0"/>
            </a:rPr>
            <a:t>כספים והנה"ח</a:t>
          </a:r>
        </a:p>
      </dgm:t>
    </dgm:pt>
    <dgm:pt modelId="{98AC0ED1-F19E-4AA3-A5F7-3A82146B71B3}" type="parTrans" cxnId="{43EA3859-E65E-4B80-AEFF-E0E67B8F0F48}">
      <dgm:prSet/>
      <dgm:spPr/>
      <dgm:t>
        <a:bodyPr/>
        <a:lstStyle/>
        <a:p>
          <a:pPr rtl="1"/>
          <a:endParaRPr lang="he-IL" sz="1800" b="0">
            <a:latin typeface="Calibri" panose="020F0502020204030204" pitchFamily="34" charset="0"/>
            <a:ea typeface="Calibri" panose="020F0502020204030204" pitchFamily="34" charset="0"/>
            <a:cs typeface="Calibri" panose="020F0502020204030204" pitchFamily="34" charset="0"/>
          </a:endParaRPr>
        </a:p>
      </dgm:t>
    </dgm:pt>
    <dgm:pt modelId="{4576B68F-C5F2-4697-98DA-2924BA9D7017}" type="sibTrans" cxnId="{43EA3859-E65E-4B80-AEFF-E0E67B8F0F48}">
      <dgm:prSet/>
      <dgm:spPr/>
      <dgm:t>
        <a:bodyPr/>
        <a:lstStyle/>
        <a:p>
          <a:pPr rtl="1"/>
          <a:endParaRPr lang="he-IL" sz="1800" b="0">
            <a:latin typeface="Calibri" panose="020F0502020204030204" pitchFamily="34" charset="0"/>
            <a:ea typeface="Calibri" panose="020F0502020204030204" pitchFamily="34" charset="0"/>
            <a:cs typeface="Calibri" panose="020F0502020204030204" pitchFamily="34" charset="0"/>
          </a:endParaRPr>
        </a:p>
      </dgm:t>
    </dgm:pt>
    <dgm:pt modelId="{B5881CCC-D060-403D-9739-42C9D1E0E6AF}">
      <dgm:prSet phldrT="[טקסט]" custT="1"/>
      <dgm:spPr/>
      <dgm:t>
        <a:bodyPr/>
        <a:lstStyle/>
        <a:p>
          <a:pPr rtl="1"/>
          <a:r>
            <a:rPr lang="he-IL" sz="1600" b="1">
              <a:latin typeface="Calibri" panose="020F0502020204030204" pitchFamily="34" charset="0"/>
              <a:ea typeface="Calibri" panose="020F0502020204030204" pitchFamily="34" charset="0"/>
              <a:cs typeface="Calibri" panose="020F0502020204030204" pitchFamily="34" charset="0"/>
            </a:rPr>
            <a:t>סמנכ"ל עמילות ותפעול</a:t>
          </a:r>
        </a:p>
      </dgm:t>
    </dgm:pt>
    <dgm:pt modelId="{847B9672-CF3E-4C22-B1FA-9C278670BD61}" type="parTrans" cxnId="{A6BAB104-382A-4C75-8152-F4A6FA20A153}">
      <dgm:prSet/>
      <dgm:spPr/>
      <dgm:t>
        <a:bodyPr/>
        <a:lstStyle/>
        <a:p>
          <a:pPr rtl="1"/>
          <a:endParaRPr lang="he-IL" sz="1800" b="0">
            <a:latin typeface="Calibri" panose="020F0502020204030204" pitchFamily="34" charset="0"/>
            <a:ea typeface="Calibri" panose="020F0502020204030204" pitchFamily="34" charset="0"/>
            <a:cs typeface="Calibri" panose="020F0502020204030204" pitchFamily="34" charset="0"/>
          </a:endParaRPr>
        </a:p>
      </dgm:t>
    </dgm:pt>
    <dgm:pt modelId="{B9B8D7E3-5481-4CAB-B3F3-2380F5EEA9F8}" type="sibTrans" cxnId="{A6BAB104-382A-4C75-8152-F4A6FA20A153}">
      <dgm:prSet/>
      <dgm:spPr/>
      <dgm:t>
        <a:bodyPr/>
        <a:lstStyle/>
        <a:p>
          <a:pPr rtl="1"/>
          <a:endParaRPr lang="he-IL" sz="1800" b="0">
            <a:latin typeface="Calibri" panose="020F0502020204030204" pitchFamily="34" charset="0"/>
            <a:ea typeface="Calibri" panose="020F0502020204030204" pitchFamily="34" charset="0"/>
            <a:cs typeface="Calibri" panose="020F0502020204030204" pitchFamily="34" charset="0"/>
          </a:endParaRPr>
        </a:p>
      </dgm:t>
    </dgm:pt>
    <dgm:pt modelId="{6533314C-AE55-4CB0-A768-A39C76B79F5F}">
      <dgm:prSet phldrT="[טקסט]" custT="1"/>
      <dgm:spPr/>
      <dgm:t>
        <a:bodyPr/>
        <a:lstStyle/>
        <a:p>
          <a:pPr rtl="1"/>
          <a:r>
            <a:rPr lang="he-IL" sz="1600" b="1">
              <a:latin typeface="Calibri" panose="020F0502020204030204" pitchFamily="34" charset="0"/>
              <a:ea typeface="Calibri" panose="020F0502020204030204" pitchFamily="34" charset="0"/>
              <a:cs typeface="Calibri" panose="020F0502020204030204" pitchFamily="34" charset="0"/>
            </a:rPr>
            <a:t>סמנכ"ל יצוא</a:t>
          </a:r>
        </a:p>
      </dgm:t>
    </dgm:pt>
    <dgm:pt modelId="{DCD10105-BAE8-469F-812B-8D2475C8E5A1}" type="parTrans" cxnId="{D109BEF2-7156-4D46-B0A3-30EF6082DB32}">
      <dgm:prSet/>
      <dgm:spPr/>
      <dgm:t>
        <a:bodyPr/>
        <a:lstStyle/>
        <a:p>
          <a:pPr rtl="1"/>
          <a:endParaRPr lang="he-IL" sz="1800" b="0">
            <a:latin typeface="Calibri" panose="020F0502020204030204" pitchFamily="34" charset="0"/>
            <a:ea typeface="Calibri" panose="020F0502020204030204" pitchFamily="34" charset="0"/>
            <a:cs typeface="Calibri" panose="020F0502020204030204" pitchFamily="34" charset="0"/>
          </a:endParaRPr>
        </a:p>
      </dgm:t>
    </dgm:pt>
    <dgm:pt modelId="{51B2126B-9CCF-4CC2-AEC8-0B625B2E6993}" type="sibTrans" cxnId="{D109BEF2-7156-4D46-B0A3-30EF6082DB32}">
      <dgm:prSet/>
      <dgm:spPr/>
      <dgm:t>
        <a:bodyPr/>
        <a:lstStyle/>
        <a:p>
          <a:pPr rtl="1"/>
          <a:endParaRPr lang="he-IL" sz="1800" b="0">
            <a:latin typeface="Calibri" panose="020F0502020204030204" pitchFamily="34" charset="0"/>
            <a:ea typeface="Calibri" panose="020F0502020204030204" pitchFamily="34" charset="0"/>
            <a:cs typeface="Calibri" panose="020F0502020204030204" pitchFamily="34" charset="0"/>
          </a:endParaRPr>
        </a:p>
      </dgm:t>
    </dgm:pt>
    <dgm:pt modelId="{2F89A8F6-E781-4076-8ACE-A664ACF1D069}">
      <dgm:prSet phldrT="[טקסט]" custT="1"/>
      <dgm:spPr/>
      <dgm:t>
        <a:bodyPr/>
        <a:lstStyle/>
        <a:p>
          <a:pPr rtl="1"/>
          <a:r>
            <a:rPr lang="he-IL" sz="1600" b="1">
              <a:latin typeface="Calibri" panose="020F0502020204030204" pitchFamily="34" charset="0"/>
              <a:ea typeface="Calibri" panose="020F0502020204030204" pitchFamily="34" charset="0"/>
              <a:cs typeface="Calibri" panose="020F0502020204030204" pitchFamily="34" charset="0"/>
            </a:rPr>
            <a:t>מערכות מידע</a:t>
          </a:r>
        </a:p>
      </dgm:t>
    </dgm:pt>
    <dgm:pt modelId="{B2CDD310-DBE8-4D18-ABA4-57EE43183A44}" type="parTrans" cxnId="{8C0842DB-03E3-4177-A198-735D8A2DA4AF}">
      <dgm:prSet/>
      <dgm:spPr/>
      <dgm:t>
        <a:bodyPr/>
        <a:lstStyle/>
        <a:p>
          <a:pPr rtl="1"/>
          <a:endParaRPr lang="he-IL" sz="1800" b="0">
            <a:latin typeface="Calibri" panose="020F0502020204030204" pitchFamily="34" charset="0"/>
            <a:ea typeface="Calibri" panose="020F0502020204030204" pitchFamily="34" charset="0"/>
            <a:cs typeface="Calibri" panose="020F0502020204030204" pitchFamily="34" charset="0"/>
          </a:endParaRPr>
        </a:p>
      </dgm:t>
    </dgm:pt>
    <dgm:pt modelId="{EE9D55DF-02D0-43B5-BAE7-8711C4C9DB36}" type="sibTrans" cxnId="{8C0842DB-03E3-4177-A198-735D8A2DA4AF}">
      <dgm:prSet/>
      <dgm:spPr/>
      <dgm:t>
        <a:bodyPr/>
        <a:lstStyle/>
        <a:p>
          <a:pPr rtl="1"/>
          <a:endParaRPr lang="he-IL" sz="1800" b="0">
            <a:latin typeface="Calibri" panose="020F0502020204030204" pitchFamily="34" charset="0"/>
            <a:ea typeface="Calibri" panose="020F0502020204030204" pitchFamily="34" charset="0"/>
            <a:cs typeface="Calibri" panose="020F0502020204030204" pitchFamily="34" charset="0"/>
          </a:endParaRPr>
        </a:p>
      </dgm:t>
    </dgm:pt>
    <dgm:pt modelId="{EF66A6B2-B65B-42FA-8C56-676E9CE4694B}">
      <dgm:prSet phldrT="[טקסט]" custT="1"/>
      <dgm:spPr/>
      <dgm:t>
        <a:bodyPr/>
        <a:lstStyle/>
        <a:p>
          <a:pPr rtl="1"/>
          <a:r>
            <a:rPr lang="he-IL" sz="1600" b="1">
              <a:latin typeface="Calibri" panose="020F0502020204030204" pitchFamily="34" charset="0"/>
              <a:ea typeface="Calibri" panose="020F0502020204030204" pitchFamily="34" charset="0"/>
              <a:cs typeface="Calibri" panose="020F0502020204030204" pitchFamily="34" charset="0"/>
            </a:rPr>
            <a:t>סמנכ"ל יבוא ומכירות</a:t>
          </a:r>
        </a:p>
      </dgm:t>
    </dgm:pt>
    <dgm:pt modelId="{122B9AC8-BF19-427D-B852-3A599DCE71B4}" type="parTrans" cxnId="{7CB7879B-9BC6-4A5F-B001-8B2745B0A42B}">
      <dgm:prSet/>
      <dgm:spPr/>
      <dgm:t>
        <a:bodyPr/>
        <a:lstStyle/>
        <a:p>
          <a:pPr rtl="1"/>
          <a:endParaRPr lang="he-IL" sz="1800" b="0">
            <a:latin typeface="Calibri" panose="020F0502020204030204" pitchFamily="34" charset="0"/>
            <a:ea typeface="Calibri" panose="020F0502020204030204" pitchFamily="34" charset="0"/>
            <a:cs typeface="Calibri" panose="020F0502020204030204" pitchFamily="34" charset="0"/>
          </a:endParaRPr>
        </a:p>
      </dgm:t>
    </dgm:pt>
    <dgm:pt modelId="{2B0C59F4-1ADF-48B2-BE22-F661631EEE93}" type="sibTrans" cxnId="{7CB7879B-9BC6-4A5F-B001-8B2745B0A42B}">
      <dgm:prSet/>
      <dgm:spPr/>
      <dgm:t>
        <a:bodyPr/>
        <a:lstStyle/>
        <a:p>
          <a:pPr rtl="1"/>
          <a:endParaRPr lang="he-IL" sz="1800" b="0">
            <a:latin typeface="Calibri" panose="020F0502020204030204" pitchFamily="34" charset="0"/>
            <a:ea typeface="Calibri" panose="020F0502020204030204" pitchFamily="34" charset="0"/>
            <a:cs typeface="Calibri" panose="020F0502020204030204" pitchFamily="34" charset="0"/>
          </a:endParaRPr>
        </a:p>
      </dgm:t>
    </dgm:pt>
    <dgm:pt modelId="{0D60F501-9E6F-4046-85A5-67AD779493DF}">
      <dgm:prSet phldrT="[טקסט]" custT="1"/>
      <dgm:spPr/>
      <dgm:t>
        <a:bodyPr/>
        <a:lstStyle/>
        <a:p>
          <a:pPr rtl="1"/>
          <a:r>
            <a:rPr lang="he-IL" sz="1200" b="1">
              <a:latin typeface="Calibri" panose="020F0502020204030204" pitchFamily="34" charset="0"/>
              <a:ea typeface="Calibri" panose="020F0502020204030204" pitchFamily="34" charset="0"/>
              <a:cs typeface="Calibri" panose="020F0502020204030204" pitchFamily="34" charset="0"/>
            </a:rPr>
            <a:t>שיווק ומכירות</a:t>
          </a:r>
        </a:p>
      </dgm:t>
    </dgm:pt>
    <dgm:pt modelId="{407DD28E-6BA0-44BE-8886-618368E40878}" type="parTrans" cxnId="{DA853754-6F50-4F1A-AF86-F7B3B06655B9}">
      <dgm:prSet/>
      <dgm:spPr/>
      <dgm:t>
        <a:bodyPr/>
        <a:lstStyle/>
        <a:p>
          <a:pPr rtl="1"/>
          <a:endParaRPr lang="he-IL" sz="1800" b="0">
            <a:latin typeface="Calibri" panose="020F0502020204030204" pitchFamily="34" charset="0"/>
            <a:ea typeface="Calibri" panose="020F0502020204030204" pitchFamily="34" charset="0"/>
            <a:cs typeface="Calibri" panose="020F0502020204030204" pitchFamily="34" charset="0"/>
          </a:endParaRPr>
        </a:p>
      </dgm:t>
    </dgm:pt>
    <dgm:pt modelId="{15605098-DB79-430D-BD55-36D33381741C}" type="sibTrans" cxnId="{DA853754-6F50-4F1A-AF86-F7B3B06655B9}">
      <dgm:prSet/>
      <dgm:spPr/>
      <dgm:t>
        <a:bodyPr/>
        <a:lstStyle/>
        <a:p>
          <a:pPr rtl="1"/>
          <a:endParaRPr lang="he-IL" sz="1800" b="0">
            <a:latin typeface="Calibri" panose="020F0502020204030204" pitchFamily="34" charset="0"/>
            <a:ea typeface="Calibri" panose="020F0502020204030204" pitchFamily="34" charset="0"/>
            <a:cs typeface="Calibri" panose="020F0502020204030204" pitchFamily="34" charset="0"/>
          </a:endParaRPr>
        </a:p>
      </dgm:t>
    </dgm:pt>
    <dgm:pt modelId="{DC55740C-6CC0-4FAE-83E8-CCBECA2DD3C3}">
      <dgm:prSet phldrT="[טקסט]" custT="1"/>
      <dgm:spPr/>
      <dgm:t>
        <a:bodyPr/>
        <a:lstStyle/>
        <a:p>
          <a:pPr rtl="1"/>
          <a:r>
            <a:rPr lang="he-IL" sz="1200" b="1">
              <a:latin typeface="Calibri" panose="020F0502020204030204" pitchFamily="34" charset="0"/>
              <a:ea typeface="Calibri" panose="020F0502020204030204" pitchFamily="34" charset="0"/>
              <a:cs typeface="Calibri" panose="020F0502020204030204" pitchFamily="34" charset="0"/>
            </a:rPr>
            <a:t>מ. יבוא</a:t>
          </a:r>
        </a:p>
      </dgm:t>
    </dgm:pt>
    <dgm:pt modelId="{BE4D14D5-76DE-4EEA-90FA-54A3632EB80D}" type="parTrans" cxnId="{7B465D56-5FDD-4F65-AFA6-01C9ED53CE5F}">
      <dgm:prSet/>
      <dgm:spPr/>
      <dgm:t>
        <a:bodyPr/>
        <a:lstStyle/>
        <a:p>
          <a:pPr rtl="1"/>
          <a:endParaRPr lang="he-IL" sz="1800" b="0">
            <a:latin typeface="Calibri" panose="020F0502020204030204" pitchFamily="34" charset="0"/>
            <a:ea typeface="Calibri" panose="020F0502020204030204" pitchFamily="34" charset="0"/>
            <a:cs typeface="Calibri" panose="020F0502020204030204" pitchFamily="34" charset="0"/>
          </a:endParaRPr>
        </a:p>
      </dgm:t>
    </dgm:pt>
    <dgm:pt modelId="{26D052C7-C4A6-4BED-8783-8CE484A1E099}" type="sibTrans" cxnId="{7B465D56-5FDD-4F65-AFA6-01C9ED53CE5F}">
      <dgm:prSet/>
      <dgm:spPr/>
      <dgm:t>
        <a:bodyPr/>
        <a:lstStyle/>
        <a:p>
          <a:pPr rtl="1"/>
          <a:endParaRPr lang="he-IL" sz="1800" b="0">
            <a:latin typeface="Calibri" panose="020F0502020204030204" pitchFamily="34" charset="0"/>
            <a:ea typeface="Calibri" panose="020F0502020204030204" pitchFamily="34" charset="0"/>
            <a:cs typeface="Calibri" panose="020F0502020204030204" pitchFamily="34" charset="0"/>
          </a:endParaRPr>
        </a:p>
      </dgm:t>
    </dgm:pt>
    <dgm:pt modelId="{611B3485-E4E2-4223-8729-A0F4E580F326}">
      <dgm:prSet phldrT="[טקסט]" custT="1"/>
      <dgm:spPr/>
      <dgm:t>
        <a:bodyPr/>
        <a:lstStyle/>
        <a:p>
          <a:pPr rtl="1"/>
          <a:r>
            <a:rPr lang="he-IL" sz="1200" b="0">
              <a:latin typeface="Calibri" panose="020F0502020204030204" pitchFamily="34" charset="0"/>
              <a:ea typeface="Calibri" panose="020F0502020204030204" pitchFamily="34" charset="0"/>
              <a:cs typeface="Calibri" panose="020F0502020204030204" pitchFamily="34" charset="0"/>
            </a:rPr>
            <a:t>מ. יבוא ימי</a:t>
          </a:r>
        </a:p>
      </dgm:t>
    </dgm:pt>
    <dgm:pt modelId="{2E95AAC9-0F70-4897-A9F2-C12731EF200A}" type="parTrans" cxnId="{BA72CB06-73C3-49C7-A16B-BEEB77B73EAD}">
      <dgm:prSet/>
      <dgm:spPr/>
      <dgm:t>
        <a:bodyPr/>
        <a:lstStyle/>
        <a:p>
          <a:pPr rtl="1"/>
          <a:endParaRPr lang="he-IL" sz="1800" b="0">
            <a:latin typeface="Calibri" panose="020F0502020204030204" pitchFamily="34" charset="0"/>
            <a:ea typeface="Calibri" panose="020F0502020204030204" pitchFamily="34" charset="0"/>
            <a:cs typeface="Calibri" panose="020F0502020204030204" pitchFamily="34" charset="0"/>
          </a:endParaRPr>
        </a:p>
      </dgm:t>
    </dgm:pt>
    <dgm:pt modelId="{6E675AFD-32BE-449D-8556-287670992C74}" type="sibTrans" cxnId="{BA72CB06-73C3-49C7-A16B-BEEB77B73EAD}">
      <dgm:prSet/>
      <dgm:spPr/>
      <dgm:t>
        <a:bodyPr/>
        <a:lstStyle/>
        <a:p>
          <a:pPr rtl="1"/>
          <a:endParaRPr lang="he-IL" sz="1800" b="0">
            <a:latin typeface="Calibri" panose="020F0502020204030204" pitchFamily="34" charset="0"/>
            <a:ea typeface="Calibri" panose="020F0502020204030204" pitchFamily="34" charset="0"/>
            <a:cs typeface="Calibri" panose="020F0502020204030204" pitchFamily="34" charset="0"/>
          </a:endParaRPr>
        </a:p>
      </dgm:t>
    </dgm:pt>
    <dgm:pt modelId="{ACC39201-A835-4B5F-BB53-41146C472319}">
      <dgm:prSet phldrT="[טקסט]" custT="1"/>
      <dgm:spPr/>
      <dgm:t>
        <a:bodyPr/>
        <a:lstStyle/>
        <a:p>
          <a:pPr rtl="1"/>
          <a:r>
            <a:rPr lang="he-IL" sz="1200" b="0">
              <a:latin typeface="Calibri" panose="020F0502020204030204" pitchFamily="34" charset="0"/>
              <a:ea typeface="Calibri" panose="020F0502020204030204" pitchFamily="34" charset="0"/>
              <a:cs typeface="Calibri" panose="020F0502020204030204" pitchFamily="34" charset="0"/>
            </a:rPr>
            <a:t>מ. יבוא אווירי</a:t>
          </a:r>
        </a:p>
      </dgm:t>
    </dgm:pt>
    <dgm:pt modelId="{AB250A4B-C0B0-45A9-9086-3501DCE954D2}" type="parTrans" cxnId="{FCD1B494-65E8-4F73-A08B-D69F0FF51488}">
      <dgm:prSet/>
      <dgm:spPr/>
      <dgm:t>
        <a:bodyPr/>
        <a:lstStyle/>
        <a:p>
          <a:pPr rtl="1"/>
          <a:endParaRPr lang="he-IL" sz="1800" b="0">
            <a:latin typeface="Calibri" panose="020F0502020204030204" pitchFamily="34" charset="0"/>
            <a:ea typeface="Calibri" panose="020F0502020204030204" pitchFamily="34" charset="0"/>
            <a:cs typeface="Calibri" panose="020F0502020204030204" pitchFamily="34" charset="0"/>
          </a:endParaRPr>
        </a:p>
      </dgm:t>
    </dgm:pt>
    <dgm:pt modelId="{D04E86BA-92A7-4A1D-A839-A9A5D3F09112}" type="sibTrans" cxnId="{FCD1B494-65E8-4F73-A08B-D69F0FF51488}">
      <dgm:prSet/>
      <dgm:spPr/>
      <dgm:t>
        <a:bodyPr/>
        <a:lstStyle/>
        <a:p>
          <a:pPr rtl="1"/>
          <a:endParaRPr lang="he-IL" sz="1800" b="0">
            <a:latin typeface="Calibri" panose="020F0502020204030204" pitchFamily="34" charset="0"/>
            <a:ea typeface="Calibri" panose="020F0502020204030204" pitchFamily="34" charset="0"/>
            <a:cs typeface="Calibri" panose="020F0502020204030204" pitchFamily="34" charset="0"/>
          </a:endParaRPr>
        </a:p>
      </dgm:t>
    </dgm:pt>
    <dgm:pt modelId="{3607DAC6-834D-44C9-ACC4-4B7AED9376F4}">
      <dgm:prSet phldrT="[טקסט]" custT="1"/>
      <dgm:spPr/>
      <dgm:t>
        <a:bodyPr/>
        <a:lstStyle/>
        <a:p>
          <a:pPr rtl="1"/>
          <a:r>
            <a:rPr lang="he-IL" sz="1200" b="1">
              <a:latin typeface="Calibri" panose="020F0502020204030204" pitchFamily="34" charset="0"/>
              <a:ea typeface="Calibri" panose="020F0502020204030204" pitchFamily="34" charset="0"/>
              <a:cs typeface="Calibri" panose="020F0502020204030204" pitchFamily="34" charset="0"/>
            </a:rPr>
            <a:t>תפעול עמילות:</a:t>
          </a:r>
        </a:p>
      </dgm:t>
    </dgm:pt>
    <dgm:pt modelId="{51C77A5A-5DB8-4D93-A6F4-6AE12259E7D4}" type="parTrans" cxnId="{78CBF82C-421B-45CB-9F09-D38824948A3D}">
      <dgm:prSet/>
      <dgm:spPr/>
      <dgm:t>
        <a:bodyPr/>
        <a:lstStyle/>
        <a:p>
          <a:pPr rtl="1"/>
          <a:endParaRPr lang="he-IL" sz="1800" b="0">
            <a:latin typeface="Calibri" panose="020F0502020204030204" pitchFamily="34" charset="0"/>
            <a:ea typeface="Calibri" panose="020F0502020204030204" pitchFamily="34" charset="0"/>
            <a:cs typeface="Calibri" panose="020F0502020204030204" pitchFamily="34" charset="0"/>
          </a:endParaRPr>
        </a:p>
      </dgm:t>
    </dgm:pt>
    <dgm:pt modelId="{8CF3F857-CDAB-48BC-9457-1DB436A75CBB}" type="sibTrans" cxnId="{78CBF82C-421B-45CB-9F09-D38824948A3D}">
      <dgm:prSet/>
      <dgm:spPr/>
      <dgm:t>
        <a:bodyPr/>
        <a:lstStyle/>
        <a:p>
          <a:pPr rtl="1"/>
          <a:endParaRPr lang="he-IL" sz="1800" b="0">
            <a:latin typeface="Calibri" panose="020F0502020204030204" pitchFamily="34" charset="0"/>
            <a:ea typeface="Calibri" panose="020F0502020204030204" pitchFamily="34" charset="0"/>
            <a:cs typeface="Calibri" panose="020F0502020204030204" pitchFamily="34" charset="0"/>
          </a:endParaRPr>
        </a:p>
      </dgm:t>
    </dgm:pt>
    <dgm:pt modelId="{06868772-6E70-407A-96D4-75D7DE0A1B2C}">
      <dgm:prSet phldrT="[טקסט]" custT="1"/>
      <dgm:spPr/>
      <dgm:t>
        <a:bodyPr/>
        <a:lstStyle/>
        <a:p>
          <a:pPr rtl="1"/>
          <a:r>
            <a:rPr lang="he-IL" sz="1200" b="0">
              <a:latin typeface="Calibri" panose="020F0502020204030204" pitchFamily="34" charset="0"/>
              <a:ea typeface="Calibri" panose="020F0502020204030204" pitchFamily="34" charset="0"/>
              <a:cs typeface="Calibri" panose="020F0502020204030204" pitchFamily="34" charset="0"/>
            </a:rPr>
            <a:t>סיווג וביקורת</a:t>
          </a:r>
        </a:p>
      </dgm:t>
    </dgm:pt>
    <dgm:pt modelId="{1FE3CD6A-2446-4AAE-BA4C-17D60E7A69D9}" type="parTrans" cxnId="{255C97C1-4C8D-4E30-A95D-59882F7B637A}">
      <dgm:prSet/>
      <dgm:spPr/>
      <dgm:t>
        <a:bodyPr/>
        <a:lstStyle/>
        <a:p>
          <a:pPr rtl="1"/>
          <a:endParaRPr lang="he-IL" sz="1800" b="0">
            <a:latin typeface="Calibri" panose="020F0502020204030204" pitchFamily="34" charset="0"/>
            <a:ea typeface="Calibri" panose="020F0502020204030204" pitchFamily="34" charset="0"/>
            <a:cs typeface="Calibri" panose="020F0502020204030204" pitchFamily="34" charset="0"/>
          </a:endParaRPr>
        </a:p>
      </dgm:t>
    </dgm:pt>
    <dgm:pt modelId="{005C60C7-0878-41A0-9569-F1E77CA9590B}" type="sibTrans" cxnId="{255C97C1-4C8D-4E30-A95D-59882F7B637A}">
      <dgm:prSet/>
      <dgm:spPr/>
      <dgm:t>
        <a:bodyPr/>
        <a:lstStyle/>
        <a:p>
          <a:pPr rtl="1"/>
          <a:endParaRPr lang="he-IL" sz="1800" b="0">
            <a:latin typeface="Calibri" panose="020F0502020204030204" pitchFamily="34" charset="0"/>
            <a:ea typeface="Calibri" panose="020F0502020204030204" pitchFamily="34" charset="0"/>
            <a:cs typeface="Calibri" panose="020F0502020204030204" pitchFamily="34" charset="0"/>
          </a:endParaRPr>
        </a:p>
      </dgm:t>
    </dgm:pt>
    <dgm:pt modelId="{9F879225-46F7-48FA-AD71-316D16B586D6}">
      <dgm:prSet phldrT="[טקסט]" custT="1"/>
      <dgm:spPr/>
      <dgm:t>
        <a:bodyPr/>
        <a:lstStyle/>
        <a:p>
          <a:pPr rtl="1"/>
          <a:r>
            <a:rPr lang="he-IL" sz="1200" b="0" dirty="0">
              <a:latin typeface="Calibri" panose="020F0502020204030204" pitchFamily="34" charset="0"/>
              <a:ea typeface="Calibri" panose="020F0502020204030204" pitchFamily="34" charset="0"/>
              <a:cs typeface="Calibri" panose="020F0502020204030204" pitchFamily="34" charset="0"/>
            </a:rPr>
            <a:t>צוות 1</a:t>
          </a:r>
        </a:p>
      </dgm:t>
    </dgm:pt>
    <dgm:pt modelId="{EF6F62E0-92DB-4FD9-9B56-9230F8493D4D}" type="parTrans" cxnId="{AA51164F-AE7A-43AC-B1EB-D2DC1822056E}">
      <dgm:prSet/>
      <dgm:spPr/>
      <dgm:t>
        <a:bodyPr/>
        <a:lstStyle/>
        <a:p>
          <a:pPr rtl="1"/>
          <a:endParaRPr lang="he-IL" sz="1800" b="0">
            <a:latin typeface="Calibri" panose="020F0502020204030204" pitchFamily="34" charset="0"/>
            <a:ea typeface="Calibri" panose="020F0502020204030204" pitchFamily="34" charset="0"/>
            <a:cs typeface="Calibri" panose="020F0502020204030204" pitchFamily="34" charset="0"/>
          </a:endParaRPr>
        </a:p>
      </dgm:t>
    </dgm:pt>
    <dgm:pt modelId="{E095CA44-245F-48A5-A15A-C994F10B2C38}" type="sibTrans" cxnId="{AA51164F-AE7A-43AC-B1EB-D2DC1822056E}">
      <dgm:prSet/>
      <dgm:spPr/>
      <dgm:t>
        <a:bodyPr/>
        <a:lstStyle/>
        <a:p>
          <a:pPr rtl="1"/>
          <a:endParaRPr lang="he-IL" sz="1800" b="0">
            <a:latin typeface="Calibri" panose="020F0502020204030204" pitchFamily="34" charset="0"/>
            <a:ea typeface="Calibri" panose="020F0502020204030204" pitchFamily="34" charset="0"/>
            <a:cs typeface="Calibri" panose="020F0502020204030204" pitchFamily="34" charset="0"/>
          </a:endParaRPr>
        </a:p>
      </dgm:t>
    </dgm:pt>
    <dgm:pt modelId="{AE6F1A96-AD51-455B-A2F4-B3C94C3665D0}">
      <dgm:prSet phldrT="[טקסט]" custT="1"/>
      <dgm:spPr/>
      <dgm:t>
        <a:bodyPr/>
        <a:lstStyle/>
        <a:p>
          <a:pPr rtl="1"/>
          <a:r>
            <a:rPr lang="he-IL" sz="1200" b="0" dirty="0">
              <a:latin typeface="Calibri" panose="020F0502020204030204" pitchFamily="34" charset="0"/>
              <a:ea typeface="Calibri" panose="020F0502020204030204" pitchFamily="34" charset="0"/>
              <a:cs typeface="Calibri" panose="020F0502020204030204" pitchFamily="34" charset="0"/>
            </a:rPr>
            <a:t>צוות 2</a:t>
          </a:r>
        </a:p>
      </dgm:t>
    </dgm:pt>
    <dgm:pt modelId="{B6C9846A-59B4-4F8C-AAA5-595923295DF9}" type="parTrans" cxnId="{993F0591-E163-4B50-8CF4-758260614FC3}">
      <dgm:prSet/>
      <dgm:spPr/>
      <dgm:t>
        <a:bodyPr/>
        <a:lstStyle/>
        <a:p>
          <a:pPr rtl="1"/>
          <a:endParaRPr lang="he-IL" sz="1800" b="0">
            <a:latin typeface="Calibri" panose="020F0502020204030204" pitchFamily="34" charset="0"/>
            <a:ea typeface="Calibri" panose="020F0502020204030204" pitchFamily="34" charset="0"/>
            <a:cs typeface="Calibri" panose="020F0502020204030204" pitchFamily="34" charset="0"/>
          </a:endParaRPr>
        </a:p>
      </dgm:t>
    </dgm:pt>
    <dgm:pt modelId="{FB5FC277-E69E-42D4-B4A7-01C354CDAFDD}" type="sibTrans" cxnId="{993F0591-E163-4B50-8CF4-758260614FC3}">
      <dgm:prSet/>
      <dgm:spPr/>
      <dgm:t>
        <a:bodyPr/>
        <a:lstStyle/>
        <a:p>
          <a:pPr rtl="1"/>
          <a:endParaRPr lang="he-IL" sz="1800" b="0">
            <a:latin typeface="Calibri" panose="020F0502020204030204" pitchFamily="34" charset="0"/>
            <a:ea typeface="Calibri" panose="020F0502020204030204" pitchFamily="34" charset="0"/>
            <a:cs typeface="Calibri" panose="020F0502020204030204" pitchFamily="34" charset="0"/>
          </a:endParaRPr>
        </a:p>
      </dgm:t>
    </dgm:pt>
    <dgm:pt modelId="{81EDDC1B-37D7-43AC-94D0-9F5187CF71FE}">
      <dgm:prSet phldrT="[טקסט]" custT="1"/>
      <dgm:spPr/>
      <dgm:t>
        <a:bodyPr/>
        <a:lstStyle/>
        <a:p>
          <a:pPr rtl="1"/>
          <a:r>
            <a:rPr lang="he-IL" sz="1200" b="1">
              <a:latin typeface="Calibri" panose="020F0502020204030204" pitchFamily="34" charset="0"/>
              <a:ea typeface="Calibri" panose="020F0502020204030204" pitchFamily="34" charset="0"/>
              <a:cs typeface="Calibri" panose="020F0502020204030204" pitchFamily="34" charset="0"/>
            </a:rPr>
            <a:t>סניפים תפעוליים:</a:t>
          </a:r>
        </a:p>
      </dgm:t>
    </dgm:pt>
    <dgm:pt modelId="{76D27EB2-493B-44B2-87C9-167E1230ABF0}" type="parTrans" cxnId="{6E40E50C-0323-4432-9FAE-7333AA820C17}">
      <dgm:prSet/>
      <dgm:spPr/>
      <dgm:t>
        <a:bodyPr/>
        <a:lstStyle/>
        <a:p>
          <a:pPr rtl="1"/>
          <a:endParaRPr lang="he-IL" sz="1800" b="0">
            <a:latin typeface="Calibri" panose="020F0502020204030204" pitchFamily="34" charset="0"/>
            <a:ea typeface="Calibri" panose="020F0502020204030204" pitchFamily="34" charset="0"/>
            <a:cs typeface="Calibri" panose="020F0502020204030204" pitchFamily="34" charset="0"/>
          </a:endParaRPr>
        </a:p>
      </dgm:t>
    </dgm:pt>
    <dgm:pt modelId="{BDC91417-FB59-4F1A-B137-BFA8C9EAE40B}" type="sibTrans" cxnId="{6E40E50C-0323-4432-9FAE-7333AA820C17}">
      <dgm:prSet/>
      <dgm:spPr/>
      <dgm:t>
        <a:bodyPr/>
        <a:lstStyle/>
        <a:p>
          <a:pPr rtl="1"/>
          <a:endParaRPr lang="he-IL" sz="1800" b="0">
            <a:latin typeface="Calibri" panose="020F0502020204030204" pitchFamily="34" charset="0"/>
            <a:ea typeface="Calibri" panose="020F0502020204030204" pitchFamily="34" charset="0"/>
            <a:cs typeface="Calibri" panose="020F0502020204030204" pitchFamily="34" charset="0"/>
          </a:endParaRPr>
        </a:p>
      </dgm:t>
    </dgm:pt>
    <dgm:pt modelId="{1BFD683C-6D9A-4A8E-A96D-63609CF34E7C}">
      <dgm:prSet phldrT="[טקסט]" custT="1"/>
      <dgm:spPr/>
      <dgm:t>
        <a:bodyPr/>
        <a:lstStyle/>
        <a:p>
          <a:pPr rtl="1"/>
          <a:r>
            <a:rPr lang="he-IL" sz="1200" b="0">
              <a:latin typeface="Calibri" panose="020F0502020204030204" pitchFamily="34" charset="0"/>
              <a:ea typeface="Calibri" panose="020F0502020204030204" pitchFamily="34" charset="0"/>
              <a:cs typeface="Calibri" panose="020F0502020204030204" pitchFamily="34" charset="0"/>
            </a:rPr>
            <a:t>נתב"ג</a:t>
          </a:r>
        </a:p>
      </dgm:t>
    </dgm:pt>
    <dgm:pt modelId="{B34F42BC-B343-4ADB-9F8F-9827745985EC}" type="parTrans" cxnId="{8C09055D-5A55-4627-A6A0-692C37CD3016}">
      <dgm:prSet/>
      <dgm:spPr/>
      <dgm:t>
        <a:bodyPr/>
        <a:lstStyle/>
        <a:p>
          <a:pPr rtl="1"/>
          <a:endParaRPr lang="he-IL" sz="1800" b="0">
            <a:latin typeface="Calibri" panose="020F0502020204030204" pitchFamily="34" charset="0"/>
            <a:ea typeface="Calibri" panose="020F0502020204030204" pitchFamily="34" charset="0"/>
            <a:cs typeface="Calibri" panose="020F0502020204030204" pitchFamily="34" charset="0"/>
          </a:endParaRPr>
        </a:p>
      </dgm:t>
    </dgm:pt>
    <dgm:pt modelId="{52528140-0ECF-4A0A-8A7C-EC7AEE036308}" type="sibTrans" cxnId="{8C09055D-5A55-4627-A6A0-692C37CD3016}">
      <dgm:prSet/>
      <dgm:spPr/>
      <dgm:t>
        <a:bodyPr/>
        <a:lstStyle/>
        <a:p>
          <a:pPr rtl="1"/>
          <a:endParaRPr lang="he-IL" sz="1800" b="0">
            <a:latin typeface="Calibri" panose="020F0502020204030204" pitchFamily="34" charset="0"/>
            <a:ea typeface="Calibri" panose="020F0502020204030204" pitchFamily="34" charset="0"/>
            <a:cs typeface="Calibri" panose="020F0502020204030204" pitchFamily="34" charset="0"/>
          </a:endParaRPr>
        </a:p>
      </dgm:t>
    </dgm:pt>
    <dgm:pt modelId="{090FBE0A-C6D0-49CD-9CBD-C182D9F4FC68}">
      <dgm:prSet phldrT="[טקסט]" custT="1"/>
      <dgm:spPr/>
      <dgm:t>
        <a:bodyPr/>
        <a:lstStyle/>
        <a:p>
          <a:pPr rtl="1"/>
          <a:r>
            <a:rPr lang="he-IL" sz="1200" b="0">
              <a:latin typeface="Calibri" panose="020F0502020204030204" pitchFamily="34" charset="0"/>
              <a:ea typeface="Calibri" panose="020F0502020204030204" pitchFamily="34" charset="0"/>
              <a:cs typeface="Calibri" panose="020F0502020204030204" pitchFamily="34" charset="0"/>
            </a:rPr>
            <a:t>אשדוד</a:t>
          </a:r>
        </a:p>
      </dgm:t>
    </dgm:pt>
    <dgm:pt modelId="{B7D48DB2-7160-413F-A3BA-5C1B58EBF57D}" type="parTrans" cxnId="{CFA50064-1217-4568-BD0A-243BC69D1302}">
      <dgm:prSet/>
      <dgm:spPr/>
      <dgm:t>
        <a:bodyPr/>
        <a:lstStyle/>
        <a:p>
          <a:pPr rtl="1"/>
          <a:endParaRPr lang="he-IL" sz="1800" b="0">
            <a:latin typeface="Calibri" panose="020F0502020204030204" pitchFamily="34" charset="0"/>
            <a:ea typeface="Calibri" panose="020F0502020204030204" pitchFamily="34" charset="0"/>
            <a:cs typeface="Calibri" panose="020F0502020204030204" pitchFamily="34" charset="0"/>
          </a:endParaRPr>
        </a:p>
      </dgm:t>
    </dgm:pt>
    <dgm:pt modelId="{EA4B5F60-B844-419F-A6AE-58A1298E9782}" type="sibTrans" cxnId="{CFA50064-1217-4568-BD0A-243BC69D1302}">
      <dgm:prSet/>
      <dgm:spPr/>
      <dgm:t>
        <a:bodyPr/>
        <a:lstStyle/>
        <a:p>
          <a:pPr rtl="1"/>
          <a:endParaRPr lang="he-IL" sz="1800" b="0">
            <a:latin typeface="Calibri" panose="020F0502020204030204" pitchFamily="34" charset="0"/>
            <a:ea typeface="Calibri" panose="020F0502020204030204" pitchFamily="34" charset="0"/>
            <a:cs typeface="Calibri" panose="020F0502020204030204" pitchFamily="34" charset="0"/>
          </a:endParaRPr>
        </a:p>
      </dgm:t>
    </dgm:pt>
    <dgm:pt modelId="{B7AEF867-8257-4CAC-AE9A-24348191F111}">
      <dgm:prSet phldrT="[טקסט]" custT="1"/>
      <dgm:spPr/>
      <dgm:t>
        <a:bodyPr/>
        <a:lstStyle/>
        <a:p>
          <a:pPr rtl="1"/>
          <a:r>
            <a:rPr lang="he-IL" sz="1200" b="0">
              <a:latin typeface="Calibri" panose="020F0502020204030204" pitchFamily="34" charset="0"/>
              <a:ea typeface="Calibri" panose="020F0502020204030204" pitchFamily="34" charset="0"/>
              <a:cs typeface="Calibri" panose="020F0502020204030204" pitchFamily="34" charset="0"/>
            </a:rPr>
            <a:t>חיפה</a:t>
          </a:r>
        </a:p>
      </dgm:t>
    </dgm:pt>
    <dgm:pt modelId="{C225693C-AAD6-4603-A6FD-57066B75D167}" type="parTrans" cxnId="{884F8498-D2ED-420B-99E7-48F76F4C5F03}">
      <dgm:prSet/>
      <dgm:spPr/>
      <dgm:t>
        <a:bodyPr/>
        <a:lstStyle/>
        <a:p>
          <a:pPr rtl="1"/>
          <a:endParaRPr lang="he-IL" sz="1800" b="0">
            <a:latin typeface="Calibri" panose="020F0502020204030204" pitchFamily="34" charset="0"/>
            <a:ea typeface="Calibri" panose="020F0502020204030204" pitchFamily="34" charset="0"/>
            <a:cs typeface="Calibri" panose="020F0502020204030204" pitchFamily="34" charset="0"/>
          </a:endParaRPr>
        </a:p>
      </dgm:t>
    </dgm:pt>
    <dgm:pt modelId="{C6F75183-3483-4286-87FD-556B38464EB9}" type="sibTrans" cxnId="{884F8498-D2ED-420B-99E7-48F76F4C5F03}">
      <dgm:prSet/>
      <dgm:spPr/>
      <dgm:t>
        <a:bodyPr/>
        <a:lstStyle/>
        <a:p>
          <a:pPr rtl="1"/>
          <a:endParaRPr lang="he-IL" sz="1800" b="0">
            <a:latin typeface="Calibri" panose="020F0502020204030204" pitchFamily="34" charset="0"/>
            <a:ea typeface="Calibri" panose="020F0502020204030204" pitchFamily="34" charset="0"/>
            <a:cs typeface="Calibri" panose="020F0502020204030204" pitchFamily="34" charset="0"/>
          </a:endParaRPr>
        </a:p>
      </dgm:t>
    </dgm:pt>
    <dgm:pt modelId="{54D8E508-36D6-4404-ACA0-93EDFCCC11E4}">
      <dgm:prSet phldrT="[טקסט]" custT="1"/>
      <dgm:spPr/>
      <dgm:t>
        <a:bodyPr/>
        <a:lstStyle/>
        <a:p>
          <a:pPr rtl="1"/>
          <a:r>
            <a:rPr lang="he-IL" sz="1200" b="0">
              <a:latin typeface="Calibri" panose="020F0502020204030204" pitchFamily="34" charset="0"/>
              <a:ea typeface="Calibri" panose="020F0502020204030204" pitchFamily="34" charset="0"/>
              <a:cs typeface="Calibri" panose="020F0502020204030204" pitchFamily="34" charset="0"/>
            </a:rPr>
            <a:t>נהר הירדן</a:t>
          </a:r>
        </a:p>
      </dgm:t>
    </dgm:pt>
    <dgm:pt modelId="{1B70AA04-EBFC-4AD0-91CA-930261875266}" type="parTrans" cxnId="{2FCC38F2-9453-4654-B1AE-4310BE0B2128}">
      <dgm:prSet/>
      <dgm:spPr/>
      <dgm:t>
        <a:bodyPr/>
        <a:lstStyle/>
        <a:p>
          <a:pPr rtl="1"/>
          <a:endParaRPr lang="he-IL" sz="1800" b="0">
            <a:latin typeface="Calibri" panose="020F0502020204030204" pitchFamily="34" charset="0"/>
            <a:ea typeface="Calibri" panose="020F0502020204030204" pitchFamily="34" charset="0"/>
            <a:cs typeface="Calibri" panose="020F0502020204030204" pitchFamily="34" charset="0"/>
          </a:endParaRPr>
        </a:p>
      </dgm:t>
    </dgm:pt>
    <dgm:pt modelId="{CA917C22-4587-4522-A0E1-09871F6FD246}" type="sibTrans" cxnId="{2FCC38F2-9453-4654-B1AE-4310BE0B2128}">
      <dgm:prSet/>
      <dgm:spPr/>
      <dgm:t>
        <a:bodyPr/>
        <a:lstStyle/>
        <a:p>
          <a:pPr rtl="1"/>
          <a:endParaRPr lang="he-IL" sz="1800" b="0">
            <a:latin typeface="Calibri" panose="020F0502020204030204" pitchFamily="34" charset="0"/>
            <a:ea typeface="Calibri" panose="020F0502020204030204" pitchFamily="34" charset="0"/>
            <a:cs typeface="Calibri" panose="020F0502020204030204" pitchFamily="34" charset="0"/>
          </a:endParaRPr>
        </a:p>
      </dgm:t>
    </dgm:pt>
    <dgm:pt modelId="{2385B612-39F0-4849-BA8D-C9E20D842717}">
      <dgm:prSet phldrT="[טקסט]" custT="1"/>
      <dgm:spPr/>
      <dgm:t>
        <a:bodyPr/>
        <a:lstStyle/>
        <a:p>
          <a:pPr rtl="1"/>
          <a:r>
            <a:rPr lang="he-IL" sz="1200" b="0">
              <a:latin typeface="Calibri" panose="020F0502020204030204" pitchFamily="34" charset="0"/>
              <a:ea typeface="Calibri" panose="020F0502020204030204" pitchFamily="34" charset="0"/>
              <a:cs typeface="Calibri" panose="020F0502020204030204" pitchFamily="34" charset="0"/>
            </a:rPr>
            <a:t>גשר אלנבי</a:t>
          </a:r>
        </a:p>
      </dgm:t>
    </dgm:pt>
    <dgm:pt modelId="{BAC2A9AC-B8CC-4D56-B144-D04953725E3F}" type="parTrans" cxnId="{D2D407B3-7066-42FA-8905-F26626399592}">
      <dgm:prSet/>
      <dgm:spPr/>
      <dgm:t>
        <a:bodyPr/>
        <a:lstStyle/>
        <a:p>
          <a:pPr rtl="1"/>
          <a:endParaRPr lang="he-IL" sz="1800" b="0">
            <a:latin typeface="Calibri" panose="020F0502020204030204" pitchFamily="34" charset="0"/>
            <a:ea typeface="Calibri" panose="020F0502020204030204" pitchFamily="34" charset="0"/>
            <a:cs typeface="Calibri" panose="020F0502020204030204" pitchFamily="34" charset="0"/>
          </a:endParaRPr>
        </a:p>
      </dgm:t>
    </dgm:pt>
    <dgm:pt modelId="{3DFEBC2F-2387-4E1A-B9EB-EB3A2B90F21F}" type="sibTrans" cxnId="{D2D407B3-7066-42FA-8905-F26626399592}">
      <dgm:prSet/>
      <dgm:spPr/>
      <dgm:t>
        <a:bodyPr/>
        <a:lstStyle/>
        <a:p>
          <a:pPr rtl="1"/>
          <a:endParaRPr lang="he-IL" sz="1800" b="0">
            <a:latin typeface="Calibri" panose="020F0502020204030204" pitchFamily="34" charset="0"/>
            <a:ea typeface="Calibri" panose="020F0502020204030204" pitchFamily="34" charset="0"/>
            <a:cs typeface="Calibri" panose="020F0502020204030204" pitchFamily="34" charset="0"/>
          </a:endParaRPr>
        </a:p>
      </dgm:t>
    </dgm:pt>
    <dgm:pt modelId="{488A9191-6A5B-4364-BA81-9EFB2DED2514}">
      <dgm:prSet phldrT="[טקסט]" custT="1"/>
      <dgm:spPr/>
      <dgm:t>
        <a:bodyPr/>
        <a:lstStyle/>
        <a:p>
          <a:pPr rtl="1"/>
          <a:r>
            <a:rPr lang="en-US" sz="1200" b="1" err="1">
              <a:latin typeface="Calibri" panose="020F0502020204030204" pitchFamily="34" charset="0"/>
              <a:ea typeface="Calibri" panose="020F0502020204030204" pitchFamily="34" charset="0"/>
              <a:cs typeface="Calibri" panose="020F0502020204030204" pitchFamily="34" charset="0"/>
            </a:rPr>
            <a:t>Envirotainer</a:t>
          </a:r>
          <a:r>
            <a:rPr lang="en-US" sz="1200" b="1">
              <a:latin typeface="Calibri" panose="020F0502020204030204" pitchFamily="34" charset="0"/>
              <a:ea typeface="Calibri" panose="020F0502020204030204" pitchFamily="34" charset="0"/>
              <a:cs typeface="Calibri" panose="020F0502020204030204" pitchFamily="34" charset="0"/>
            </a:rPr>
            <a:t> GSA</a:t>
          </a:r>
          <a:endParaRPr lang="he-IL" sz="1200" b="1">
            <a:latin typeface="Calibri" panose="020F0502020204030204" pitchFamily="34" charset="0"/>
            <a:ea typeface="Calibri" panose="020F0502020204030204" pitchFamily="34" charset="0"/>
            <a:cs typeface="Calibri" panose="020F0502020204030204" pitchFamily="34" charset="0"/>
          </a:endParaRPr>
        </a:p>
      </dgm:t>
    </dgm:pt>
    <dgm:pt modelId="{3E6F1055-718C-4A7F-8C74-B7A12CC12CD7}" type="parTrans" cxnId="{895359A3-D7F6-4EF4-8DD0-1836A268EFE1}">
      <dgm:prSet/>
      <dgm:spPr/>
      <dgm:t>
        <a:bodyPr/>
        <a:lstStyle/>
        <a:p>
          <a:pPr rtl="1"/>
          <a:endParaRPr lang="he-IL" sz="1800" b="0">
            <a:latin typeface="Calibri" panose="020F0502020204030204" pitchFamily="34" charset="0"/>
            <a:ea typeface="Calibri" panose="020F0502020204030204" pitchFamily="34" charset="0"/>
            <a:cs typeface="Calibri" panose="020F0502020204030204" pitchFamily="34" charset="0"/>
          </a:endParaRPr>
        </a:p>
      </dgm:t>
    </dgm:pt>
    <dgm:pt modelId="{A06414DF-5BAD-4CED-8365-CC94D68AFA75}" type="sibTrans" cxnId="{895359A3-D7F6-4EF4-8DD0-1836A268EFE1}">
      <dgm:prSet/>
      <dgm:spPr/>
      <dgm:t>
        <a:bodyPr/>
        <a:lstStyle/>
        <a:p>
          <a:pPr rtl="1"/>
          <a:endParaRPr lang="he-IL" sz="1800" b="0">
            <a:latin typeface="Calibri" panose="020F0502020204030204" pitchFamily="34" charset="0"/>
            <a:ea typeface="Calibri" panose="020F0502020204030204" pitchFamily="34" charset="0"/>
            <a:cs typeface="Calibri" panose="020F0502020204030204" pitchFamily="34" charset="0"/>
          </a:endParaRPr>
        </a:p>
      </dgm:t>
    </dgm:pt>
    <dgm:pt modelId="{2D1495F3-51D6-49C4-A2C5-83079C1A153F}">
      <dgm:prSet phldrT="[טקסט]" custT="1"/>
      <dgm:spPr/>
      <dgm:t>
        <a:bodyPr/>
        <a:lstStyle/>
        <a:p>
          <a:pPr rtl="1"/>
          <a:r>
            <a:rPr lang="he-IL" sz="1200" b="1">
              <a:latin typeface="Calibri" panose="020F0502020204030204" pitchFamily="34" charset="0"/>
              <a:ea typeface="Calibri" panose="020F0502020204030204" pitchFamily="34" charset="0"/>
              <a:cs typeface="Calibri" panose="020F0502020204030204" pitchFamily="34" charset="0"/>
            </a:rPr>
            <a:t>מ. יצוא ימי</a:t>
          </a:r>
        </a:p>
      </dgm:t>
    </dgm:pt>
    <dgm:pt modelId="{6A900F1D-7493-4714-90CA-BB660CFEBC46}" type="parTrans" cxnId="{517AB6CC-2092-4DC0-AA6B-09B0DE862065}">
      <dgm:prSet/>
      <dgm:spPr/>
      <dgm:t>
        <a:bodyPr/>
        <a:lstStyle/>
        <a:p>
          <a:pPr rtl="1"/>
          <a:endParaRPr lang="he-IL" sz="1800" b="0">
            <a:latin typeface="Calibri" panose="020F0502020204030204" pitchFamily="34" charset="0"/>
            <a:ea typeface="Calibri" panose="020F0502020204030204" pitchFamily="34" charset="0"/>
            <a:cs typeface="Calibri" panose="020F0502020204030204" pitchFamily="34" charset="0"/>
          </a:endParaRPr>
        </a:p>
      </dgm:t>
    </dgm:pt>
    <dgm:pt modelId="{CA1C543E-7295-4138-B0DD-DA8CFDC9241C}" type="sibTrans" cxnId="{517AB6CC-2092-4DC0-AA6B-09B0DE862065}">
      <dgm:prSet/>
      <dgm:spPr/>
      <dgm:t>
        <a:bodyPr/>
        <a:lstStyle/>
        <a:p>
          <a:pPr rtl="1"/>
          <a:endParaRPr lang="he-IL" sz="1800" b="0">
            <a:latin typeface="Calibri" panose="020F0502020204030204" pitchFamily="34" charset="0"/>
            <a:ea typeface="Calibri" panose="020F0502020204030204" pitchFamily="34" charset="0"/>
            <a:cs typeface="Calibri" panose="020F0502020204030204" pitchFamily="34" charset="0"/>
          </a:endParaRPr>
        </a:p>
      </dgm:t>
    </dgm:pt>
    <dgm:pt modelId="{BBA7A797-17FD-42A5-81C6-8E302CEDCC0C}">
      <dgm:prSet phldrT="[טקסט]" custT="1"/>
      <dgm:spPr/>
      <dgm:t>
        <a:bodyPr/>
        <a:lstStyle/>
        <a:p>
          <a:pPr rtl="1"/>
          <a:r>
            <a:rPr lang="he-IL" sz="1200" b="1">
              <a:latin typeface="Calibri" panose="020F0502020204030204" pitchFamily="34" charset="0"/>
              <a:ea typeface="Calibri" panose="020F0502020204030204" pitchFamily="34" charset="0"/>
              <a:cs typeface="Calibri" panose="020F0502020204030204" pitchFamily="34" charset="0"/>
            </a:rPr>
            <a:t>מ. יצוא אווירי</a:t>
          </a:r>
        </a:p>
      </dgm:t>
    </dgm:pt>
    <dgm:pt modelId="{2BE6B601-79CA-4225-A64D-03CD3A410364}" type="parTrans" cxnId="{F937EA52-030F-48AE-944F-E45E894B1C3D}">
      <dgm:prSet/>
      <dgm:spPr/>
      <dgm:t>
        <a:bodyPr/>
        <a:lstStyle/>
        <a:p>
          <a:pPr rtl="1"/>
          <a:endParaRPr lang="he-IL" sz="1800" b="0">
            <a:latin typeface="Calibri" panose="020F0502020204030204" pitchFamily="34" charset="0"/>
            <a:ea typeface="Calibri" panose="020F0502020204030204" pitchFamily="34" charset="0"/>
            <a:cs typeface="Calibri" panose="020F0502020204030204" pitchFamily="34" charset="0"/>
          </a:endParaRPr>
        </a:p>
      </dgm:t>
    </dgm:pt>
    <dgm:pt modelId="{CC822FB0-BED4-4624-8E55-4C5EB6A35C59}" type="sibTrans" cxnId="{F937EA52-030F-48AE-944F-E45E894B1C3D}">
      <dgm:prSet/>
      <dgm:spPr/>
      <dgm:t>
        <a:bodyPr/>
        <a:lstStyle/>
        <a:p>
          <a:pPr rtl="1"/>
          <a:endParaRPr lang="he-IL" sz="1800" b="0">
            <a:latin typeface="Calibri" panose="020F0502020204030204" pitchFamily="34" charset="0"/>
            <a:ea typeface="Calibri" panose="020F0502020204030204" pitchFamily="34" charset="0"/>
            <a:cs typeface="Calibri" panose="020F0502020204030204" pitchFamily="34" charset="0"/>
          </a:endParaRPr>
        </a:p>
      </dgm:t>
    </dgm:pt>
    <dgm:pt modelId="{388E5E9C-8EC7-4067-B757-BE3C9900BA13}">
      <dgm:prSet phldrT="[טקסט]" custT="1"/>
      <dgm:spPr/>
      <dgm:t>
        <a:bodyPr/>
        <a:lstStyle/>
        <a:p>
          <a:pPr rtl="1"/>
          <a:r>
            <a:rPr lang="he-IL" sz="1200" b="0">
              <a:latin typeface="Calibri" panose="020F0502020204030204" pitchFamily="34" charset="0"/>
              <a:ea typeface="Calibri" panose="020F0502020204030204" pitchFamily="34" charset="0"/>
              <a:cs typeface="Calibri" panose="020F0502020204030204" pitchFamily="34" charset="0"/>
            </a:rPr>
            <a:t>יצוא ימי</a:t>
          </a:r>
        </a:p>
      </dgm:t>
    </dgm:pt>
    <dgm:pt modelId="{F234A566-5B37-41F9-A9B1-7CF93E14A071}" type="parTrans" cxnId="{A4763C15-E20C-4AB0-9089-AE8B3BCE6858}">
      <dgm:prSet/>
      <dgm:spPr/>
      <dgm:t>
        <a:bodyPr/>
        <a:lstStyle/>
        <a:p>
          <a:pPr rtl="1"/>
          <a:endParaRPr lang="he-IL" sz="1800" b="0">
            <a:latin typeface="Calibri" panose="020F0502020204030204" pitchFamily="34" charset="0"/>
            <a:ea typeface="Calibri" panose="020F0502020204030204" pitchFamily="34" charset="0"/>
            <a:cs typeface="Calibri" panose="020F0502020204030204" pitchFamily="34" charset="0"/>
          </a:endParaRPr>
        </a:p>
      </dgm:t>
    </dgm:pt>
    <dgm:pt modelId="{C2345694-BFF1-4803-B863-B57625F87F50}" type="sibTrans" cxnId="{A4763C15-E20C-4AB0-9089-AE8B3BCE6858}">
      <dgm:prSet/>
      <dgm:spPr/>
      <dgm:t>
        <a:bodyPr/>
        <a:lstStyle/>
        <a:p>
          <a:pPr rtl="1"/>
          <a:endParaRPr lang="he-IL" sz="1800" b="0">
            <a:latin typeface="Calibri" panose="020F0502020204030204" pitchFamily="34" charset="0"/>
            <a:ea typeface="Calibri" panose="020F0502020204030204" pitchFamily="34" charset="0"/>
            <a:cs typeface="Calibri" panose="020F0502020204030204" pitchFamily="34" charset="0"/>
          </a:endParaRPr>
        </a:p>
      </dgm:t>
    </dgm:pt>
    <dgm:pt modelId="{EEA1201B-FA1B-45AB-B0E9-0B3175AF9609}">
      <dgm:prSet phldrT="[טקסט]" custT="1"/>
      <dgm:spPr/>
      <dgm:t>
        <a:bodyPr/>
        <a:lstStyle/>
        <a:p>
          <a:pPr rtl="1"/>
          <a:r>
            <a:rPr lang="he-IL" sz="1200" b="0">
              <a:latin typeface="Calibri" panose="020F0502020204030204" pitchFamily="34" charset="0"/>
              <a:ea typeface="Calibri" panose="020F0502020204030204" pitchFamily="34" charset="0"/>
              <a:cs typeface="Calibri" panose="020F0502020204030204" pitchFamily="34" charset="0"/>
            </a:rPr>
            <a:t>יצוא אווירי</a:t>
          </a:r>
        </a:p>
      </dgm:t>
    </dgm:pt>
    <dgm:pt modelId="{732370EB-1901-4129-AC0B-ACEC803E1741}" type="parTrans" cxnId="{DF3115C4-8553-4F07-BFE2-07F98F3EA6FF}">
      <dgm:prSet/>
      <dgm:spPr/>
      <dgm:t>
        <a:bodyPr/>
        <a:lstStyle/>
        <a:p>
          <a:pPr rtl="1"/>
          <a:endParaRPr lang="he-IL" sz="1800" b="0">
            <a:latin typeface="Calibri" panose="020F0502020204030204" pitchFamily="34" charset="0"/>
            <a:ea typeface="Calibri" panose="020F0502020204030204" pitchFamily="34" charset="0"/>
            <a:cs typeface="Calibri" panose="020F0502020204030204" pitchFamily="34" charset="0"/>
          </a:endParaRPr>
        </a:p>
      </dgm:t>
    </dgm:pt>
    <dgm:pt modelId="{CB562712-A9CE-4FD3-958A-4FADA0BE7835}" type="sibTrans" cxnId="{DF3115C4-8553-4F07-BFE2-07F98F3EA6FF}">
      <dgm:prSet/>
      <dgm:spPr/>
      <dgm:t>
        <a:bodyPr/>
        <a:lstStyle/>
        <a:p>
          <a:pPr rtl="1"/>
          <a:endParaRPr lang="he-IL" sz="1800" b="0">
            <a:latin typeface="Calibri" panose="020F0502020204030204" pitchFamily="34" charset="0"/>
            <a:ea typeface="Calibri" panose="020F0502020204030204" pitchFamily="34" charset="0"/>
            <a:cs typeface="Calibri" panose="020F0502020204030204" pitchFamily="34" charset="0"/>
          </a:endParaRPr>
        </a:p>
      </dgm:t>
    </dgm:pt>
    <dgm:pt modelId="{50000482-5E16-4BF9-996F-8E18B2ED4CFC}" type="pres">
      <dgm:prSet presAssocID="{B7A395A7-BF34-4578-BF1C-E0F06ACA1435}" presName="hierChild1" presStyleCnt="0">
        <dgm:presLayoutVars>
          <dgm:orgChart val="1"/>
          <dgm:chPref val="1"/>
          <dgm:dir val="rev"/>
          <dgm:animOne val="branch"/>
          <dgm:animLvl val="lvl"/>
          <dgm:resizeHandles/>
        </dgm:presLayoutVars>
      </dgm:prSet>
      <dgm:spPr/>
    </dgm:pt>
    <dgm:pt modelId="{9516898B-0066-4DE7-A845-E3A751760AED}" type="pres">
      <dgm:prSet presAssocID="{30561DCE-4483-4C29-A6B7-CA8EA7A2066D}" presName="hierRoot1" presStyleCnt="0">
        <dgm:presLayoutVars>
          <dgm:hierBranch val="init"/>
        </dgm:presLayoutVars>
      </dgm:prSet>
      <dgm:spPr/>
    </dgm:pt>
    <dgm:pt modelId="{68AB4B6C-EEFA-4CD2-96F6-32C4CA2DFEF2}" type="pres">
      <dgm:prSet presAssocID="{30561DCE-4483-4C29-A6B7-CA8EA7A2066D}" presName="rootComposite1" presStyleCnt="0"/>
      <dgm:spPr/>
    </dgm:pt>
    <dgm:pt modelId="{3E49E272-47CF-48A8-B560-ED8C2F5C58BD}" type="pres">
      <dgm:prSet presAssocID="{30561DCE-4483-4C29-A6B7-CA8EA7A2066D}" presName="rootText1" presStyleLbl="node0" presStyleIdx="0" presStyleCnt="1">
        <dgm:presLayoutVars>
          <dgm:chPref val="3"/>
        </dgm:presLayoutVars>
      </dgm:prSet>
      <dgm:spPr/>
    </dgm:pt>
    <dgm:pt modelId="{53A58F63-6354-4328-896D-E76A5DF60A85}" type="pres">
      <dgm:prSet presAssocID="{30561DCE-4483-4C29-A6B7-CA8EA7A2066D}" presName="rootConnector1" presStyleLbl="node1" presStyleIdx="0" presStyleCnt="0"/>
      <dgm:spPr/>
    </dgm:pt>
    <dgm:pt modelId="{B9A1A9A4-1DC0-4CC2-B8AE-82DCC8F31D20}" type="pres">
      <dgm:prSet presAssocID="{30561DCE-4483-4C29-A6B7-CA8EA7A2066D}" presName="hierChild2" presStyleCnt="0"/>
      <dgm:spPr/>
    </dgm:pt>
    <dgm:pt modelId="{1E0B8530-249E-427E-8211-D5F266C9D3EF}" type="pres">
      <dgm:prSet presAssocID="{122B9AC8-BF19-427D-B852-3A599DCE71B4}" presName="Name37" presStyleLbl="parChTrans1D2" presStyleIdx="0" presStyleCnt="5"/>
      <dgm:spPr/>
    </dgm:pt>
    <dgm:pt modelId="{C76135CA-6863-4C5B-8E80-3A8851C08F57}" type="pres">
      <dgm:prSet presAssocID="{EF66A6B2-B65B-42FA-8C56-676E9CE4694B}" presName="hierRoot2" presStyleCnt="0">
        <dgm:presLayoutVars>
          <dgm:hierBranch val="init"/>
        </dgm:presLayoutVars>
      </dgm:prSet>
      <dgm:spPr/>
    </dgm:pt>
    <dgm:pt modelId="{32CCBA1D-F215-41B0-900E-385C012DDD54}" type="pres">
      <dgm:prSet presAssocID="{EF66A6B2-B65B-42FA-8C56-676E9CE4694B}" presName="rootComposite" presStyleCnt="0"/>
      <dgm:spPr/>
    </dgm:pt>
    <dgm:pt modelId="{88015159-1937-4E7C-AFF9-99290C8B1F71}" type="pres">
      <dgm:prSet presAssocID="{EF66A6B2-B65B-42FA-8C56-676E9CE4694B}" presName="rootText" presStyleLbl="node2" presStyleIdx="0" presStyleCnt="5" custScaleX="167002">
        <dgm:presLayoutVars>
          <dgm:chPref val="3"/>
        </dgm:presLayoutVars>
      </dgm:prSet>
      <dgm:spPr/>
    </dgm:pt>
    <dgm:pt modelId="{F1EF672F-DBDC-4360-869C-88AD0FE2D04E}" type="pres">
      <dgm:prSet presAssocID="{EF66A6B2-B65B-42FA-8C56-676E9CE4694B}" presName="rootConnector" presStyleLbl="node2" presStyleIdx="0" presStyleCnt="5"/>
      <dgm:spPr/>
    </dgm:pt>
    <dgm:pt modelId="{2E3BD170-9CD2-4F94-8B2A-9DD95EAF5BF5}" type="pres">
      <dgm:prSet presAssocID="{EF66A6B2-B65B-42FA-8C56-676E9CE4694B}" presName="hierChild4" presStyleCnt="0"/>
      <dgm:spPr/>
    </dgm:pt>
    <dgm:pt modelId="{90CD9DBD-BF5B-4E6E-B23B-B7EDD6EE1082}" type="pres">
      <dgm:prSet presAssocID="{407DD28E-6BA0-44BE-8886-618368E40878}" presName="Name37" presStyleLbl="parChTrans1D3" presStyleIdx="0" presStyleCnt="7"/>
      <dgm:spPr/>
    </dgm:pt>
    <dgm:pt modelId="{21AB867D-5FB8-4C95-99F3-59293AC21760}" type="pres">
      <dgm:prSet presAssocID="{0D60F501-9E6F-4046-85A5-67AD779493DF}" presName="hierRoot2" presStyleCnt="0">
        <dgm:presLayoutVars>
          <dgm:hierBranch val="init"/>
        </dgm:presLayoutVars>
      </dgm:prSet>
      <dgm:spPr/>
    </dgm:pt>
    <dgm:pt modelId="{35F2E224-E68E-4913-A27B-34D0AD6D3F93}" type="pres">
      <dgm:prSet presAssocID="{0D60F501-9E6F-4046-85A5-67AD779493DF}" presName="rootComposite" presStyleCnt="0"/>
      <dgm:spPr/>
    </dgm:pt>
    <dgm:pt modelId="{992B9392-4AFB-4036-9D40-50EAC128E85B}" type="pres">
      <dgm:prSet presAssocID="{0D60F501-9E6F-4046-85A5-67AD779493DF}" presName="rootText" presStyleLbl="node3" presStyleIdx="0" presStyleCnt="7">
        <dgm:presLayoutVars>
          <dgm:chPref val="3"/>
        </dgm:presLayoutVars>
      </dgm:prSet>
      <dgm:spPr/>
    </dgm:pt>
    <dgm:pt modelId="{89318645-C0F0-4F8A-9BB7-2027B24C9D2C}" type="pres">
      <dgm:prSet presAssocID="{0D60F501-9E6F-4046-85A5-67AD779493DF}" presName="rootConnector" presStyleLbl="node3" presStyleIdx="0" presStyleCnt="7"/>
      <dgm:spPr/>
    </dgm:pt>
    <dgm:pt modelId="{A4F35E8B-2E5B-459D-BE11-3946E4F62EF8}" type="pres">
      <dgm:prSet presAssocID="{0D60F501-9E6F-4046-85A5-67AD779493DF}" presName="hierChild4" presStyleCnt="0"/>
      <dgm:spPr/>
    </dgm:pt>
    <dgm:pt modelId="{1D6BC80D-FBFC-4A76-981B-F1E28E34495D}" type="pres">
      <dgm:prSet presAssocID="{0D60F501-9E6F-4046-85A5-67AD779493DF}" presName="hierChild5" presStyleCnt="0"/>
      <dgm:spPr/>
    </dgm:pt>
    <dgm:pt modelId="{B36AB756-9EED-4704-B375-19E8D65474A5}" type="pres">
      <dgm:prSet presAssocID="{BE4D14D5-76DE-4EEA-90FA-54A3632EB80D}" presName="Name37" presStyleLbl="parChTrans1D3" presStyleIdx="1" presStyleCnt="7"/>
      <dgm:spPr/>
    </dgm:pt>
    <dgm:pt modelId="{C0CF374A-4269-4CB0-97BE-38E639E88939}" type="pres">
      <dgm:prSet presAssocID="{DC55740C-6CC0-4FAE-83E8-CCBECA2DD3C3}" presName="hierRoot2" presStyleCnt="0">
        <dgm:presLayoutVars>
          <dgm:hierBranch val="init"/>
        </dgm:presLayoutVars>
      </dgm:prSet>
      <dgm:spPr/>
    </dgm:pt>
    <dgm:pt modelId="{087C3DD0-79AE-4F7F-ACD2-1B4032899E21}" type="pres">
      <dgm:prSet presAssocID="{DC55740C-6CC0-4FAE-83E8-CCBECA2DD3C3}" presName="rootComposite" presStyleCnt="0"/>
      <dgm:spPr/>
    </dgm:pt>
    <dgm:pt modelId="{44962AFD-95AC-40DD-9548-DE79A8CA3083}" type="pres">
      <dgm:prSet presAssocID="{DC55740C-6CC0-4FAE-83E8-CCBECA2DD3C3}" presName="rootText" presStyleLbl="node3" presStyleIdx="1" presStyleCnt="7">
        <dgm:presLayoutVars>
          <dgm:chPref val="3"/>
        </dgm:presLayoutVars>
      </dgm:prSet>
      <dgm:spPr/>
    </dgm:pt>
    <dgm:pt modelId="{5826B9FD-7D34-4A91-9629-ABAE50A2B261}" type="pres">
      <dgm:prSet presAssocID="{DC55740C-6CC0-4FAE-83E8-CCBECA2DD3C3}" presName="rootConnector" presStyleLbl="node3" presStyleIdx="1" presStyleCnt="7"/>
      <dgm:spPr/>
    </dgm:pt>
    <dgm:pt modelId="{82E70B62-2C08-4046-9700-A04761BE65C8}" type="pres">
      <dgm:prSet presAssocID="{DC55740C-6CC0-4FAE-83E8-CCBECA2DD3C3}" presName="hierChild4" presStyleCnt="0"/>
      <dgm:spPr/>
    </dgm:pt>
    <dgm:pt modelId="{A9082878-298B-421B-B3FA-AF47BB330CB0}" type="pres">
      <dgm:prSet presAssocID="{2E95AAC9-0F70-4897-A9F2-C12731EF200A}" presName="Name37" presStyleLbl="parChTrans1D4" presStyleIdx="0" presStyleCnt="12"/>
      <dgm:spPr/>
    </dgm:pt>
    <dgm:pt modelId="{C0684870-62D8-4F78-AB81-245604B5D840}" type="pres">
      <dgm:prSet presAssocID="{611B3485-E4E2-4223-8729-A0F4E580F326}" presName="hierRoot2" presStyleCnt="0">
        <dgm:presLayoutVars>
          <dgm:hierBranch val="init"/>
        </dgm:presLayoutVars>
      </dgm:prSet>
      <dgm:spPr/>
    </dgm:pt>
    <dgm:pt modelId="{DD047E4F-BBD7-43E9-A509-E90761990D41}" type="pres">
      <dgm:prSet presAssocID="{611B3485-E4E2-4223-8729-A0F4E580F326}" presName="rootComposite" presStyleCnt="0"/>
      <dgm:spPr/>
    </dgm:pt>
    <dgm:pt modelId="{B98AA889-9638-4D53-9CD3-F8061F87DEF1}" type="pres">
      <dgm:prSet presAssocID="{611B3485-E4E2-4223-8729-A0F4E580F326}" presName="rootText" presStyleLbl="node4" presStyleIdx="0" presStyleCnt="12">
        <dgm:presLayoutVars>
          <dgm:chPref val="3"/>
        </dgm:presLayoutVars>
      </dgm:prSet>
      <dgm:spPr/>
    </dgm:pt>
    <dgm:pt modelId="{19DBFCDA-15C5-4466-A910-E85C6E90430B}" type="pres">
      <dgm:prSet presAssocID="{611B3485-E4E2-4223-8729-A0F4E580F326}" presName="rootConnector" presStyleLbl="node4" presStyleIdx="0" presStyleCnt="12"/>
      <dgm:spPr/>
    </dgm:pt>
    <dgm:pt modelId="{5B86ABB5-BCF4-4206-B3DF-377D941C45AE}" type="pres">
      <dgm:prSet presAssocID="{611B3485-E4E2-4223-8729-A0F4E580F326}" presName="hierChild4" presStyleCnt="0"/>
      <dgm:spPr/>
    </dgm:pt>
    <dgm:pt modelId="{C381AB8D-64F1-4217-ACB7-4FCB85035629}" type="pres">
      <dgm:prSet presAssocID="{611B3485-E4E2-4223-8729-A0F4E580F326}" presName="hierChild5" presStyleCnt="0"/>
      <dgm:spPr/>
    </dgm:pt>
    <dgm:pt modelId="{45CBE3E7-A0C7-4178-8054-C7FF523AD8D1}" type="pres">
      <dgm:prSet presAssocID="{AB250A4B-C0B0-45A9-9086-3501DCE954D2}" presName="Name37" presStyleLbl="parChTrans1D4" presStyleIdx="1" presStyleCnt="12"/>
      <dgm:spPr/>
    </dgm:pt>
    <dgm:pt modelId="{F0F05650-A5F1-49A2-8255-9B9398C36B96}" type="pres">
      <dgm:prSet presAssocID="{ACC39201-A835-4B5F-BB53-41146C472319}" presName="hierRoot2" presStyleCnt="0">
        <dgm:presLayoutVars>
          <dgm:hierBranch val="init"/>
        </dgm:presLayoutVars>
      </dgm:prSet>
      <dgm:spPr/>
    </dgm:pt>
    <dgm:pt modelId="{A5B96A2C-77E2-4F6D-B9B6-D791B4AD2584}" type="pres">
      <dgm:prSet presAssocID="{ACC39201-A835-4B5F-BB53-41146C472319}" presName="rootComposite" presStyleCnt="0"/>
      <dgm:spPr/>
    </dgm:pt>
    <dgm:pt modelId="{7A91515D-87E2-44C4-A06B-B13572A54A70}" type="pres">
      <dgm:prSet presAssocID="{ACC39201-A835-4B5F-BB53-41146C472319}" presName="rootText" presStyleLbl="node4" presStyleIdx="1" presStyleCnt="12">
        <dgm:presLayoutVars>
          <dgm:chPref val="3"/>
        </dgm:presLayoutVars>
      </dgm:prSet>
      <dgm:spPr/>
    </dgm:pt>
    <dgm:pt modelId="{DEEDC21F-025D-4FA6-A665-59B15EE787D9}" type="pres">
      <dgm:prSet presAssocID="{ACC39201-A835-4B5F-BB53-41146C472319}" presName="rootConnector" presStyleLbl="node4" presStyleIdx="1" presStyleCnt="12"/>
      <dgm:spPr/>
    </dgm:pt>
    <dgm:pt modelId="{BE06C965-1ADD-4B51-A9E1-5A8A9486CAE3}" type="pres">
      <dgm:prSet presAssocID="{ACC39201-A835-4B5F-BB53-41146C472319}" presName="hierChild4" presStyleCnt="0"/>
      <dgm:spPr/>
    </dgm:pt>
    <dgm:pt modelId="{5D5A949C-41B5-4F39-8C27-A70C9F8B40EE}" type="pres">
      <dgm:prSet presAssocID="{ACC39201-A835-4B5F-BB53-41146C472319}" presName="hierChild5" presStyleCnt="0"/>
      <dgm:spPr/>
    </dgm:pt>
    <dgm:pt modelId="{021F434C-87AC-4134-B1AE-5B55D184E793}" type="pres">
      <dgm:prSet presAssocID="{DC55740C-6CC0-4FAE-83E8-CCBECA2DD3C3}" presName="hierChild5" presStyleCnt="0"/>
      <dgm:spPr/>
    </dgm:pt>
    <dgm:pt modelId="{FC028365-A9A0-4CF5-8C07-1B3BAB9FB817}" type="pres">
      <dgm:prSet presAssocID="{EF66A6B2-B65B-42FA-8C56-676E9CE4694B}" presName="hierChild5" presStyleCnt="0"/>
      <dgm:spPr/>
    </dgm:pt>
    <dgm:pt modelId="{B8829CE3-BE12-4D47-B753-FE05C42FD6E6}" type="pres">
      <dgm:prSet presAssocID="{98AC0ED1-F19E-4AA3-A5F7-3A82146B71B3}" presName="Name37" presStyleLbl="parChTrans1D2" presStyleIdx="1" presStyleCnt="5"/>
      <dgm:spPr/>
    </dgm:pt>
    <dgm:pt modelId="{E6A19FCE-6835-47E6-BA13-E164DDE5921A}" type="pres">
      <dgm:prSet presAssocID="{C6944755-19D1-4693-83C2-E047C76EF5E2}" presName="hierRoot2" presStyleCnt="0">
        <dgm:presLayoutVars>
          <dgm:hierBranch val="init"/>
        </dgm:presLayoutVars>
      </dgm:prSet>
      <dgm:spPr/>
    </dgm:pt>
    <dgm:pt modelId="{872ED379-AEDB-42F0-9C1E-54CBFCA92014}" type="pres">
      <dgm:prSet presAssocID="{C6944755-19D1-4693-83C2-E047C76EF5E2}" presName="rootComposite" presStyleCnt="0"/>
      <dgm:spPr/>
    </dgm:pt>
    <dgm:pt modelId="{1AF91A6E-70E4-43B4-AA47-7684C21C35CB}" type="pres">
      <dgm:prSet presAssocID="{C6944755-19D1-4693-83C2-E047C76EF5E2}" presName="rootText" presStyleLbl="node2" presStyleIdx="1" presStyleCnt="5" custScaleX="167002">
        <dgm:presLayoutVars>
          <dgm:chPref val="3"/>
        </dgm:presLayoutVars>
      </dgm:prSet>
      <dgm:spPr/>
    </dgm:pt>
    <dgm:pt modelId="{43678087-422E-4621-913B-1CFE6582022D}" type="pres">
      <dgm:prSet presAssocID="{C6944755-19D1-4693-83C2-E047C76EF5E2}" presName="rootConnector" presStyleLbl="node2" presStyleIdx="1" presStyleCnt="5"/>
      <dgm:spPr/>
    </dgm:pt>
    <dgm:pt modelId="{553B4E55-4ACE-4CB6-802C-7609F27B9114}" type="pres">
      <dgm:prSet presAssocID="{C6944755-19D1-4693-83C2-E047C76EF5E2}" presName="hierChild4" presStyleCnt="0"/>
      <dgm:spPr/>
    </dgm:pt>
    <dgm:pt modelId="{C3236429-4788-410D-B1CF-3E7BCAC45306}" type="pres">
      <dgm:prSet presAssocID="{C6944755-19D1-4693-83C2-E047C76EF5E2}" presName="hierChild5" presStyleCnt="0"/>
      <dgm:spPr/>
    </dgm:pt>
    <dgm:pt modelId="{1F69FF51-A9F0-4D23-86A3-4E96A23F96AE}" type="pres">
      <dgm:prSet presAssocID="{847B9672-CF3E-4C22-B1FA-9C278670BD61}" presName="Name37" presStyleLbl="parChTrans1D2" presStyleIdx="2" presStyleCnt="5"/>
      <dgm:spPr/>
    </dgm:pt>
    <dgm:pt modelId="{E0BE3CB2-4952-4BAC-902C-DB187CCC9BD5}" type="pres">
      <dgm:prSet presAssocID="{B5881CCC-D060-403D-9739-42C9D1E0E6AF}" presName="hierRoot2" presStyleCnt="0">
        <dgm:presLayoutVars>
          <dgm:hierBranch val="init"/>
        </dgm:presLayoutVars>
      </dgm:prSet>
      <dgm:spPr/>
    </dgm:pt>
    <dgm:pt modelId="{C9D781EA-0F55-4DE9-BC81-191E469CA6DD}" type="pres">
      <dgm:prSet presAssocID="{B5881CCC-D060-403D-9739-42C9D1E0E6AF}" presName="rootComposite" presStyleCnt="0"/>
      <dgm:spPr/>
    </dgm:pt>
    <dgm:pt modelId="{3B164E60-29F4-4482-AB55-1513B855163A}" type="pres">
      <dgm:prSet presAssocID="{B5881CCC-D060-403D-9739-42C9D1E0E6AF}" presName="rootText" presStyleLbl="node2" presStyleIdx="2" presStyleCnt="5" custScaleX="167002">
        <dgm:presLayoutVars>
          <dgm:chPref val="3"/>
        </dgm:presLayoutVars>
      </dgm:prSet>
      <dgm:spPr/>
    </dgm:pt>
    <dgm:pt modelId="{8AFC0432-D13D-41D2-A1AB-5342AD095CF0}" type="pres">
      <dgm:prSet presAssocID="{B5881CCC-D060-403D-9739-42C9D1E0E6AF}" presName="rootConnector" presStyleLbl="node2" presStyleIdx="2" presStyleCnt="5"/>
      <dgm:spPr/>
    </dgm:pt>
    <dgm:pt modelId="{BCDD885F-589D-4262-BF3B-AA4D7C741213}" type="pres">
      <dgm:prSet presAssocID="{B5881CCC-D060-403D-9739-42C9D1E0E6AF}" presName="hierChild4" presStyleCnt="0"/>
      <dgm:spPr/>
    </dgm:pt>
    <dgm:pt modelId="{AB94D3E3-F39D-4CA1-A613-43B11302DF88}" type="pres">
      <dgm:prSet presAssocID="{51C77A5A-5DB8-4D93-A6F4-6AE12259E7D4}" presName="Name37" presStyleLbl="parChTrans1D3" presStyleIdx="2" presStyleCnt="7"/>
      <dgm:spPr/>
    </dgm:pt>
    <dgm:pt modelId="{B0083ADB-3B53-475B-B34A-3E32CF407CD3}" type="pres">
      <dgm:prSet presAssocID="{3607DAC6-834D-44C9-ACC4-4B7AED9376F4}" presName="hierRoot2" presStyleCnt="0">
        <dgm:presLayoutVars>
          <dgm:hierBranch val="init"/>
        </dgm:presLayoutVars>
      </dgm:prSet>
      <dgm:spPr/>
    </dgm:pt>
    <dgm:pt modelId="{CE19C4B5-D291-4327-AC5A-D7DB2FCDA414}" type="pres">
      <dgm:prSet presAssocID="{3607DAC6-834D-44C9-ACC4-4B7AED9376F4}" presName="rootComposite" presStyleCnt="0"/>
      <dgm:spPr/>
    </dgm:pt>
    <dgm:pt modelId="{91CBDC6D-DCFB-4272-B057-4FEDEE1F3EF6}" type="pres">
      <dgm:prSet presAssocID="{3607DAC6-834D-44C9-ACC4-4B7AED9376F4}" presName="rootText" presStyleLbl="node3" presStyleIdx="2" presStyleCnt="7">
        <dgm:presLayoutVars>
          <dgm:chPref val="3"/>
        </dgm:presLayoutVars>
      </dgm:prSet>
      <dgm:spPr/>
    </dgm:pt>
    <dgm:pt modelId="{785E805D-25E9-4EEB-883D-4F1E1315FEA8}" type="pres">
      <dgm:prSet presAssocID="{3607DAC6-834D-44C9-ACC4-4B7AED9376F4}" presName="rootConnector" presStyleLbl="node3" presStyleIdx="2" presStyleCnt="7"/>
      <dgm:spPr/>
    </dgm:pt>
    <dgm:pt modelId="{90CEF00F-28B9-42A8-8F96-0D38D7430928}" type="pres">
      <dgm:prSet presAssocID="{3607DAC6-834D-44C9-ACC4-4B7AED9376F4}" presName="hierChild4" presStyleCnt="0"/>
      <dgm:spPr/>
    </dgm:pt>
    <dgm:pt modelId="{2C2ACEE9-82EB-47FB-BBF1-7FEC27B61108}" type="pres">
      <dgm:prSet presAssocID="{1FE3CD6A-2446-4AAE-BA4C-17D60E7A69D9}" presName="Name37" presStyleLbl="parChTrans1D4" presStyleIdx="2" presStyleCnt="12"/>
      <dgm:spPr/>
    </dgm:pt>
    <dgm:pt modelId="{EE00D229-F37F-4470-B2AF-41E15522346F}" type="pres">
      <dgm:prSet presAssocID="{06868772-6E70-407A-96D4-75D7DE0A1B2C}" presName="hierRoot2" presStyleCnt="0">
        <dgm:presLayoutVars>
          <dgm:hierBranch val="init"/>
        </dgm:presLayoutVars>
      </dgm:prSet>
      <dgm:spPr/>
    </dgm:pt>
    <dgm:pt modelId="{43CEFD81-5357-4747-AE13-6FDBC6CB17AD}" type="pres">
      <dgm:prSet presAssocID="{06868772-6E70-407A-96D4-75D7DE0A1B2C}" presName="rootComposite" presStyleCnt="0"/>
      <dgm:spPr/>
    </dgm:pt>
    <dgm:pt modelId="{233F3832-C5C7-441C-BB71-9D61DBAA5B8F}" type="pres">
      <dgm:prSet presAssocID="{06868772-6E70-407A-96D4-75D7DE0A1B2C}" presName="rootText" presStyleLbl="node4" presStyleIdx="2" presStyleCnt="12">
        <dgm:presLayoutVars>
          <dgm:chPref val="3"/>
        </dgm:presLayoutVars>
      </dgm:prSet>
      <dgm:spPr/>
    </dgm:pt>
    <dgm:pt modelId="{C9C5FEC1-BA14-4065-8115-B2740826AFCF}" type="pres">
      <dgm:prSet presAssocID="{06868772-6E70-407A-96D4-75D7DE0A1B2C}" presName="rootConnector" presStyleLbl="node4" presStyleIdx="2" presStyleCnt="12"/>
      <dgm:spPr/>
    </dgm:pt>
    <dgm:pt modelId="{7007BB53-3855-4781-A1E5-1E5B885A42D4}" type="pres">
      <dgm:prSet presAssocID="{06868772-6E70-407A-96D4-75D7DE0A1B2C}" presName="hierChild4" presStyleCnt="0"/>
      <dgm:spPr/>
    </dgm:pt>
    <dgm:pt modelId="{6402BBE1-06FD-4628-BD19-84250463FEFB}" type="pres">
      <dgm:prSet presAssocID="{06868772-6E70-407A-96D4-75D7DE0A1B2C}" presName="hierChild5" presStyleCnt="0"/>
      <dgm:spPr/>
    </dgm:pt>
    <dgm:pt modelId="{7BB09A42-3D5E-4BDD-95B3-11FBB974BEDB}" type="pres">
      <dgm:prSet presAssocID="{EF6F62E0-92DB-4FD9-9B56-9230F8493D4D}" presName="Name37" presStyleLbl="parChTrans1D4" presStyleIdx="3" presStyleCnt="12"/>
      <dgm:spPr/>
    </dgm:pt>
    <dgm:pt modelId="{30F88368-63D6-4FFB-BC64-83D738E215D8}" type="pres">
      <dgm:prSet presAssocID="{9F879225-46F7-48FA-AD71-316D16B586D6}" presName="hierRoot2" presStyleCnt="0">
        <dgm:presLayoutVars>
          <dgm:hierBranch val="init"/>
        </dgm:presLayoutVars>
      </dgm:prSet>
      <dgm:spPr/>
    </dgm:pt>
    <dgm:pt modelId="{3FBE5589-CA75-420E-B75F-1ABC8A47A29E}" type="pres">
      <dgm:prSet presAssocID="{9F879225-46F7-48FA-AD71-316D16B586D6}" presName="rootComposite" presStyleCnt="0"/>
      <dgm:spPr/>
    </dgm:pt>
    <dgm:pt modelId="{EC31DD45-2DA2-4E99-979E-9F9F0E031A2E}" type="pres">
      <dgm:prSet presAssocID="{9F879225-46F7-48FA-AD71-316D16B586D6}" presName="rootText" presStyleLbl="node4" presStyleIdx="3" presStyleCnt="12">
        <dgm:presLayoutVars>
          <dgm:chPref val="3"/>
        </dgm:presLayoutVars>
      </dgm:prSet>
      <dgm:spPr/>
    </dgm:pt>
    <dgm:pt modelId="{26763BF6-7471-4A18-9CC5-0B7C32241A7F}" type="pres">
      <dgm:prSet presAssocID="{9F879225-46F7-48FA-AD71-316D16B586D6}" presName="rootConnector" presStyleLbl="node4" presStyleIdx="3" presStyleCnt="12"/>
      <dgm:spPr/>
    </dgm:pt>
    <dgm:pt modelId="{7D5514F2-D68F-41ED-AE37-C870EADBC432}" type="pres">
      <dgm:prSet presAssocID="{9F879225-46F7-48FA-AD71-316D16B586D6}" presName="hierChild4" presStyleCnt="0"/>
      <dgm:spPr/>
    </dgm:pt>
    <dgm:pt modelId="{ACDFAF46-A8CB-47A9-BB0E-0A71EBCF347A}" type="pres">
      <dgm:prSet presAssocID="{9F879225-46F7-48FA-AD71-316D16B586D6}" presName="hierChild5" presStyleCnt="0"/>
      <dgm:spPr/>
    </dgm:pt>
    <dgm:pt modelId="{52016480-FD30-4858-84BB-924D5B73332F}" type="pres">
      <dgm:prSet presAssocID="{B6C9846A-59B4-4F8C-AAA5-595923295DF9}" presName="Name37" presStyleLbl="parChTrans1D4" presStyleIdx="4" presStyleCnt="12"/>
      <dgm:spPr/>
    </dgm:pt>
    <dgm:pt modelId="{091FBC1A-126E-4F67-AB2E-46C09957E092}" type="pres">
      <dgm:prSet presAssocID="{AE6F1A96-AD51-455B-A2F4-B3C94C3665D0}" presName="hierRoot2" presStyleCnt="0">
        <dgm:presLayoutVars>
          <dgm:hierBranch val="init"/>
        </dgm:presLayoutVars>
      </dgm:prSet>
      <dgm:spPr/>
    </dgm:pt>
    <dgm:pt modelId="{191877AD-E0A1-4C8E-972C-8D84C87FD661}" type="pres">
      <dgm:prSet presAssocID="{AE6F1A96-AD51-455B-A2F4-B3C94C3665D0}" presName="rootComposite" presStyleCnt="0"/>
      <dgm:spPr/>
    </dgm:pt>
    <dgm:pt modelId="{AED06B2E-E4B4-49B2-B134-01C1E613E987}" type="pres">
      <dgm:prSet presAssocID="{AE6F1A96-AD51-455B-A2F4-B3C94C3665D0}" presName="rootText" presStyleLbl="node4" presStyleIdx="4" presStyleCnt="12">
        <dgm:presLayoutVars>
          <dgm:chPref val="3"/>
        </dgm:presLayoutVars>
      </dgm:prSet>
      <dgm:spPr/>
    </dgm:pt>
    <dgm:pt modelId="{1DA926DF-7054-47E7-9D67-5EF8171100AF}" type="pres">
      <dgm:prSet presAssocID="{AE6F1A96-AD51-455B-A2F4-B3C94C3665D0}" presName="rootConnector" presStyleLbl="node4" presStyleIdx="4" presStyleCnt="12"/>
      <dgm:spPr/>
    </dgm:pt>
    <dgm:pt modelId="{F98F18E0-12E7-4933-9E45-28AC27E74E3B}" type="pres">
      <dgm:prSet presAssocID="{AE6F1A96-AD51-455B-A2F4-B3C94C3665D0}" presName="hierChild4" presStyleCnt="0"/>
      <dgm:spPr/>
    </dgm:pt>
    <dgm:pt modelId="{EDFA9446-E94F-430B-8706-8C09CD9B5149}" type="pres">
      <dgm:prSet presAssocID="{AE6F1A96-AD51-455B-A2F4-B3C94C3665D0}" presName="hierChild5" presStyleCnt="0"/>
      <dgm:spPr/>
    </dgm:pt>
    <dgm:pt modelId="{75265016-95E0-45B2-B7EE-27B44E46AC30}" type="pres">
      <dgm:prSet presAssocID="{3607DAC6-834D-44C9-ACC4-4B7AED9376F4}" presName="hierChild5" presStyleCnt="0"/>
      <dgm:spPr/>
    </dgm:pt>
    <dgm:pt modelId="{92B40ACA-F0EB-4C30-B7B9-048451703E97}" type="pres">
      <dgm:prSet presAssocID="{76D27EB2-493B-44B2-87C9-167E1230ABF0}" presName="Name37" presStyleLbl="parChTrans1D3" presStyleIdx="3" presStyleCnt="7"/>
      <dgm:spPr/>
    </dgm:pt>
    <dgm:pt modelId="{050E343D-471F-485E-908E-FDF057F7BE2B}" type="pres">
      <dgm:prSet presAssocID="{81EDDC1B-37D7-43AC-94D0-9F5187CF71FE}" presName="hierRoot2" presStyleCnt="0">
        <dgm:presLayoutVars>
          <dgm:hierBranch val="init"/>
        </dgm:presLayoutVars>
      </dgm:prSet>
      <dgm:spPr/>
    </dgm:pt>
    <dgm:pt modelId="{980D989B-545E-483D-8200-343A8D0999DA}" type="pres">
      <dgm:prSet presAssocID="{81EDDC1B-37D7-43AC-94D0-9F5187CF71FE}" presName="rootComposite" presStyleCnt="0"/>
      <dgm:spPr/>
    </dgm:pt>
    <dgm:pt modelId="{CD8A256E-3043-410F-996A-810840FC5468}" type="pres">
      <dgm:prSet presAssocID="{81EDDC1B-37D7-43AC-94D0-9F5187CF71FE}" presName="rootText" presStyleLbl="node3" presStyleIdx="3" presStyleCnt="7">
        <dgm:presLayoutVars>
          <dgm:chPref val="3"/>
        </dgm:presLayoutVars>
      </dgm:prSet>
      <dgm:spPr/>
    </dgm:pt>
    <dgm:pt modelId="{F8596161-B494-4C1D-BC35-C80967673E3B}" type="pres">
      <dgm:prSet presAssocID="{81EDDC1B-37D7-43AC-94D0-9F5187CF71FE}" presName="rootConnector" presStyleLbl="node3" presStyleIdx="3" presStyleCnt="7"/>
      <dgm:spPr/>
    </dgm:pt>
    <dgm:pt modelId="{4335A5B8-98F9-4423-AD4B-5B125E217274}" type="pres">
      <dgm:prSet presAssocID="{81EDDC1B-37D7-43AC-94D0-9F5187CF71FE}" presName="hierChild4" presStyleCnt="0"/>
      <dgm:spPr/>
    </dgm:pt>
    <dgm:pt modelId="{7ECB96DC-2A74-46CB-A888-D8D529EC6920}" type="pres">
      <dgm:prSet presAssocID="{B34F42BC-B343-4ADB-9F8F-9827745985EC}" presName="Name37" presStyleLbl="parChTrans1D4" presStyleIdx="5" presStyleCnt="12"/>
      <dgm:spPr/>
    </dgm:pt>
    <dgm:pt modelId="{74AD5249-B4F2-45EB-A6A4-599BE2759C8B}" type="pres">
      <dgm:prSet presAssocID="{1BFD683C-6D9A-4A8E-A96D-63609CF34E7C}" presName="hierRoot2" presStyleCnt="0">
        <dgm:presLayoutVars>
          <dgm:hierBranch/>
        </dgm:presLayoutVars>
      </dgm:prSet>
      <dgm:spPr/>
    </dgm:pt>
    <dgm:pt modelId="{9E1C376C-EED6-4918-A3B5-F654EDA38A2B}" type="pres">
      <dgm:prSet presAssocID="{1BFD683C-6D9A-4A8E-A96D-63609CF34E7C}" presName="rootComposite" presStyleCnt="0"/>
      <dgm:spPr/>
    </dgm:pt>
    <dgm:pt modelId="{CE665874-8F85-4D6D-9816-40E749AFC2C6}" type="pres">
      <dgm:prSet presAssocID="{1BFD683C-6D9A-4A8E-A96D-63609CF34E7C}" presName="rootText" presStyleLbl="node4" presStyleIdx="5" presStyleCnt="12">
        <dgm:presLayoutVars>
          <dgm:chPref val="3"/>
        </dgm:presLayoutVars>
      </dgm:prSet>
      <dgm:spPr/>
    </dgm:pt>
    <dgm:pt modelId="{08D0A565-9FE0-41E8-88E4-9ECD2EA81791}" type="pres">
      <dgm:prSet presAssocID="{1BFD683C-6D9A-4A8E-A96D-63609CF34E7C}" presName="rootConnector" presStyleLbl="node4" presStyleIdx="5" presStyleCnt="12"/>
      <dgm:spPr/>
    </dgm:pt>
    <dgm:pt modelId="{0424B9AD-0C47-44C2-BBD9-782F04001923}" type="pres">
      <dgm:prSet presAssocID="{1BFD683C-6D9A-4A8E-A96D-63609CF34E7C}" presName="hierChild4" presStyleCnt="0"/>
      <dgm:spPr/>
    </dgm:pt>
    <dgm:pt modelId="{73EE7F12-F640-402A-9C37-00DF4C3E0A97}" type="pres">
      <dgm:prSet presAssocID="{1BFD683C-6D9A-4A8E-A96D-63609CF34E7C}" presName="hierChild5" presStyleCnt="0"/>
      <dgm:spPr/>
    </dgm:pt>
    <dgm:pt modelId="{63BCD4B7-F3DD-400D-B8B1-8475202E1876}" type="pres">
      <dgm:prSet presAssocID="{B7D48DB2-7160-413F-A3BA-5C1B58EBF57D}" presName="Name37" presStyleLbl="parChTrans1D4" presStyleIdx="6" presStyleCnt="12"/>
      <dgm:spPr/>
    </dgm:pt>
    <dgm:pt modelId="{68745E53-E38C-44E9-B3FF-86D13372BC44}" type="pres">
      <dgm:prSet presAssocID="{090FBE0A-C6D0-49CD-9CBD-C182D9F4FC68}" presName="hierRoot2" presStyleCnt="0">
        <dgm:presLayoutVars>
          <dgm:hierBranch/>
        </dgm:presLayoutVars>
      </dgm:prSet>
      <dgm:spPr/>
    </dgm:pt>
    <dgm:pt modelId="{6E315718-03A2-4438-80A6-A3BBCB5FA6A2}" type="pres">
      <dgm:prSet presAssocID="{090FBE0A-C6D0-49CD-9CBD-C182D9F4FC68}" presName="rootComposite" presStyleCnt="0"/>
      <dgm:spPr/>
    </dgm:pt>
    <dgm:pt modelId="{C00ED009-FA4A-4F43-B3DD-5BD94FDA9361}" type="pres">
      <dgm:prSet presAssocID="{090FBE0A-C6D0-49CD-9CBD-C182D9F4FC68}" presName="rootText" presStyleLbl="node4" presStyleIdx="6" presStyleCnt="12">
        <dgm:presLayoutVars>
          <dgm:chPref val="3"/>
        </dgm:presLayoutVars>
      </dgm:prSet>
      <dgm:spPr/>
    </dgm:pt>
    <dgm:pt modelId="{4F331D9D-37DD-4F7A-AD72-ACD409DCF332}" type="pres">
      <dgm:prSet presAssocID="{090FBE0A-C6D0-49CD-9CBD-C182D9F4FC68}" presName="rootConnector" presStyleLbl="node4" presStyleIdx="6" presStyleCnt="12"/>
      <dgm:spPr/>
    </dgm:pt>
    <dgm:pt modelId="{66A08D9F-8A10-4139-8ED8-2416961D09F2}" type="pres">
      <dgm:prSet presAssocID="{090FBE0A-C6D0-49CD-9CBD-C182D9F4FC68}" presName="hierChild4" presStyleCnt="0"/>
      <dgm:spPr/>
    </dgm:pt>
    <dgm:pt modelId="{0ACD4B67-FF2B-41C3-867B-B152A14DCE73}" type="pres">
      <dgm:prSet presAssocID="{090FBE0A-C6D0-49CD-9CBD-C182D9F4FC68}" presName="hierChild5" presStyleCnt="0"/>
      <dgm:spPr/>
    </dgm:pt>
    <dgm:pt modelId="{40195326-FFA5-4DA0-BF48-ADB6824A6C41}" type="pres">
      <dgm:prSet presAssocID="{C225693C-AAD6-4603-A6FD-57066B75D167}" presName="Name37" presStyleLbl="parChTrans1D4" presStyleIdx="7" presStyleCnt="12"/>
      <dgm:spPr/>
    </dgm:pt>
    <dgm:pt modelId="{C4337C5F-3132-4CB5-81E4-CD71AEACBBEB}" type="pres">
      <dgm:prSet presAssocID="{B7AEF867-8257-4CAC-AE9A-24348191F111}" presName="hierRoot2" presStyleCnt="0">
        <dgm:presLayoutVars>
          <dgm:hierBranch/>
        </dgm:presLayoutVars>
      </dgm:prSet>
      <dgm:spPr/>
    </dgm:pt>
    <dgm:pt modelId="{E5CE8A76-EC98-4C31-A97C-2014BA41785F}" type="pres">
      <dgm:prSet presAssocID="{B7AEF867-8257-4CAC-AE9A-24348191F111}" presName="rootComposite" presStyleCnt="0"/>
      <dgm:spPr/>
    </dgm:pt>
    <dgm:pt modelId="{0EE7E067-5568-4AC2-816D-A7261D4D14C6}" type="pres">
      <dgm:prSet presAssocID="{B7AEF867-8257-4CAC-AE9A-24348191F111}" presName="rootText" presStyleLbl="node4" presStyleIdx="7" presStyleCnt="12">
        <dgm:presLayoutVars>
          <dgm:chPref val="3"/>
        </dgm:presLayoutVars>
      </dgm:prSet>
      <dgm:spPr/>
    </dgm:pt>
    <dgm:pt modelId="{3DEBDA55-F604-4803-A6C5-DA0C0C14C995}" type="pres">
      <dgm:prSet presAssocID="{B7AEF867-8257-4CAC-AE9A-24348191F111}" presName="rootConnector" presStyleLbl="node4" presStyleIdx="7" presStyleCnt="12"/>
      <dgm:spPr/>
    </dgm:pt>
    <dgm:pt modelId="{01E735FC-FE5B-4F70-A84E-7229A19188EE}" type="pres">
      <dgm:prSet presAssocID="{B7AEF867-8257-4CAC-AE9A-24348191F111}" presName="hierChild4" presStyleCnt="0"/>
      <dgm:spPr/>
    </dgm:pt>
    <dgm:pt modelId="{401E9CE5-EF13-40DF-960E-A74931B90F67}" type="pres">
      <dgm:prSet presAssocID="{B7AEF867-8257-4CAC-AE9A-24348191F111}" presName="hierChild5" presStyleCnt="0"/>
      <dgm:spPr/>
    </dgm:pt>
    <dgm:pt modelId="{119BA7AA-F2FA-4C98-A845-6B73A4ABBD7E}" type="pres">
      <dgm:prSet presAssocID="{1B70AA04-EBFC-4AD0-91CA-930261875266}" presName="Name37" presStyleLbl="parChTrans1D4" presStyleIdx="8" presStyleCnt="12"/>
      <dgm:spPr/>
    </dgm:pt>
    <dgm:pt modelId="{C60E80C5-B33A-4CE9-A907-8519F48386CF}" type="pres">
      <dgm:prSet presAssocID="{54D8E508-36D6-4404-ACA0-93EDFCCC11E4}" presName="hierRoot2" presStyleCnt="0">
        <dgm:presLayoutVars>
          <dgm:hierBranch/>
        </dgm:presLayoutVars>
      </dgm:prSet>
      <dgm:spPr/>
    </dgm:pt>
    <dgm:pt modelId="{C282EED3-EFD3-4527-A511-D3C37FBF1E36}" type="pres">
      <dgm:prSet presAssocID="{54D8E508-36D6-4404-ACA0-93EDFCCC11E4}" presName="rootComposite" presStyleCnt="0"/>
      <dgm:spPr/>
    </dgm:pt>
    <dgm:pt modelId="{92DDF521-C427-4F34-8ADA-5A83E465875F}" type="pres">
      <dgm:prSet presAssocID="{54D8E508-36D6-4404-ACA0-93EDFCCC11E4}" presName="rootText" presStyleLbl="node4" presStyleIdx="8" presStyleCnt="12">
        <dgm:presLayoutVars>
          <dgm:chPref val="3"/>
        </dgm:presLayoutVars>
      </dgm:prSet>
      <dgm:spPr/>
    </dgm:pt>
    <dgm:pt modelId="{ECA7E318-B25D-4A51-9A71-8054479CF3BC}" type="pres">
      <dgm:prSet presAssocID="{54D8E508-36D6-4404-ACA0-93EDFCCC11E4}" presName="rootConnector" presStyleLbl="node4" presStyleIdx="8" presStyleCnt="12"/>
      <dgm:spPr/>
    </dgm:pt>
    <dgm:pt modelId="{571BC977-AA76-4515-BDC2-2D5602686C32}" type="pres">
      <dgm:prSet presAssocID="{54D8E508-36D6-4404-ACA0-93EDFCCC11E4}" presName="hierChild4" presStyleCnt="0"/>
      <dgm:spPr/>
    </dgm:pt>
    <dgm:pt modelId="{037DCBDE-B60C-4C28-977D-D9E82F161CE6}" type="pres">
      <dgm:prSet presAssocID="{54D8E508-36D6-4404-ACA0-93EDFCCC11E4}" presName="hierChild5" presStyleCnt="0"/>
      <dgm:spPr/>
    </dgm:pt>
    <dgm:pt modelId="{F72EB824-A2C9-460D-A952-FEF669E1EBC6}" type="pres">
      <dgm:prSet presAssocID="{BAC2A9AC-B8CC-4D56-B144-D04953725E3F}" presName="Name37" presStyleLbl="parChTrans1D4" presStyleIdx="9" presStyleCnt="12"/>
      <dgm:spPr/>
    </dgm:pt>
    <dgm:pt modelId="{2C997A73-D588-4105-A5DC-61194539786D}" type="pres">
      <dgm:prSet presAssocID="{2385B612-39F0-4849-BA8D-C9E20D842717}" presName="hierRoot2" presStyleCnt="0">
        <dgm:presLayoutVars>
          <dgm:hierBranch/>
        </dgm:presLayoutVars>
      </dgm:prSet>
      <dgm:spPr/>
    </dgm:pt>
    <dgm:pt modelId="{BF20D62D-1D3D-469C-8E18-5AA76AD3E765}" type="pres">
      <dgm:prSet presAssocID="{2385B612-39F0-4849-BA8D-C9E20D842717}" presName="rootComposite" presStyleCnt="0"/>
      <dgm:spPr/>
    </dgm:pt>
    <dgm:pt modelId="{7CD4460A-DDB3-4CC8-918E-F4C7D76DE7FE}" type="pres">
      <dgm:prSet presAssocID="{2385B612-39F0-4849-BA8D-C9E20D842717}" presName="rootText" presStyleLbl="node4" presStyleIdx="9" presStyleCnt="12">
        <dgm:presLayoutVars>
          <dgm:chPref val="3"/>
        </dgm:presLayoutVars>
      </dgm:prSet>
      <dgm:spPr/>
    </dgm:pt>
    <dgm:pt modelId="{D1A70BFE-CB64-40C3-8F58-28BACD3922D3}" type="pres">
      <dgm:prSet presAssocID="{2385B612-39F0-4849-BA8D-C9E20D842717}" presName="rootConnector" presStyleLbl="node4" presStyleIdx="9" presStyleCnt="12"/>
      <dgm:spPr/>
    </dgm:pt>
    <dgm:pt modelId="{5EC02B19-16A7-4E82-A3B2-968EAEEF0A64}" type="pres">
      <dgm:prSet presAssocID="{2385B612-39F0-4849-BA8D-C9E20D842717}" presName="hierChild4" presStyleCnt="0"/>
      <dgm:spPr/>
    </dgm:pt>
    <dgm:pt modelId="{803F7E17-8940-4E6C-8A60-C4561386B579}" type="pres">
      <dgm:prSet presAssocID="{2385B612-39F0-4849-BA8D-C9E20D842717}" presName="hierChild5" presStyleCnt="0"/>
      <dgm:spPr/>
    </dgm:pt>
    <dgm:pt modelId="{466DA3FB-5E51-4065-85BC-7C2E3844DAA6}" type="pres">
      <dgm:prSet presAssocID="{81EDDC1B-37D7-43AC-94D0-9F5187CF71FE}" presName="hierChild5" presStyleCnt="0"/>
      <dgm:spPr/>
    </dgm:pt>
    <dgm:pt modelId="{0E00018A-894B-4168-8F14-9C114D285158}" type="pres">
      <dgm:prSet presAssocID="{B5881CCC-D060-403D-9739-42C9D1E0E6AF}" presName="hierChild5" presStyleCnt="0"/>
      <dgm:spPr/>
    </dgm:pt>
    <dgm:pt modelId="{744E3667-F558-44CA-B1B4-33D23BBBE072}" type="pres">
      <dgm:prSet presAssocID="{DCD10105-BAE8-469F-812B-8D2475C8E5A1}" presName="Name37" presStyleLbl="parChTrans1D2" presStyleIdx="3" presStyleCnt="5"/>
      <dgm:spPr/>
    </dgm:pt>
    <dgm:pt modelId="{8DEDC85E-E42B-4F28-8B00-FE163E4354CC}" type="pres">
      <dgm:prSet presAssocID="{6533314C-AE55-4CB0-A768-A39C76B79F5F}" presName="hierRoot2" presStyleCnt="0">
        <dgm:presLayoutVars>
          <dgm:hierBranch val="init"/>
        </dgm:presLayoutVars>
      </dgm:prSet>
      <dgm:spPr/>
    </dgm:pt>
    <dgm:pt modelId="{83AC34A1-655A-4953-B6EA-ADC7CDD08591}" type="pres">
      <dgm:prSet presAssocID="{6533314C-AE55-4CB0-A768-A39C76B79F5F}" presName="rootComposite" presStyleCnt="0"/>
      <dgm:spPr/>
    </dgm:pt>
    <dgm:pt modelId="{B79E6939-8201-4980-B028-FA93CF37503B}" type="pres">
      <dgm:prSet presAssocID="{6533314C-AE55-4CB0-A768-A39C76B79F5F}" presName="rootText" presStyleLbl="node2" presStyleIdx="3" presStyleCnt="5" custScaleX="167002">
        <dgm:presLayoutVars>
          <dgm:chPref val="3"/>
        </dgm:presLayoutVars>
      </dgm:prSet>
      <dgm:spPr/>
    </dgm:pt>
    <dgm:pt modelId="{2289E627-63E4-4C4B-A0FC-0E2A2BDC7856}" type="pres">
      <dgm:prSet presAssocID="{6533314C-AE55-4CB0-A768-A39C76B79F5F}" presName="rootConnector" presStyleLbl="node2" presStyleIdx="3" presStyleCnt="5"/>
      <dgm:spPr/>
    </dgm:pt>
    <dgm:pt modelId="{CDD141DE-F899-4B11-9C0E-3B036C8E97D4}" type="pres">
      <dgm:prSet presAssocID="{6533314C-AE55-4CB0-A768-A39C76B79F5F}" presName="hierChild4" presStyleCnt="0"/>
      <dgm:spPr/>
    </dgm:pt>
    <dgm:pt modelId="{88F84AD4-9D9E-4E85-BA26-E748CD850AC0}" type="pres">
      <dgm:prSet presAssocID="{3E6F1055-718C-4A7F-8C74-B7A12CC12CD7}" presName="Name37" presStyleLbl="parChTrans1D3" presStyleIdx="4" presStyleCnt="7"/>
      <dgm:spPr/>
    </dgm:pt>
    <dgm:pt modelId="{855BE31F-6CA3-4332-A871-007CA4460025}" type="pres">
      <dgm:prSet presAssocID="{488A9191-6A5B-4364-BA81-9EFB2DED2514}" presName="hierRoot2" presStyleCnt="0">
        <dgm:presLayoutVars>
          <dgm:hierBranch val="init"/>
        </dgm:presLayoutVars>
      </dgm:prSet>
      <dgm:spPr/>
    </dgm:pt>
    <dgm:pt modelId="{E110AAB3-C22E-4F8E-A526-25AA03826F07}" type="pres">
      <dgm:prSet presAssocID="{488A9191-6A5B-4364-BA81-9EFB2DED2514}" presName="rootComposite" presStyleCnt="0"/>
      <dgm:spPr/>
    </dgm:pt>
    <dgm:pt modelId="{DB124830-D955-41D1-90D6-302B92ECC1AD}" type="pres">
      <dgm:prSet presAssocID="{488A9191-6A5B-4364-BA81-9EFB2DED2514}" presName="rootText" presStyleLbl="node3" presStyleIdx="4" presStyleCnt="7">
        <dgm:presLayoutVars>
          <dgm:chPref val="3"/>
        </dgm:presLayoutVars>
      </dgm:prSet>
      <dgm:spPr/>
    </dgm:pt>
    <dgm:pt modelId="{076CF408-1245-4343-9FDC-0DC6D0F9CB81}" type="pres">
      <dgm:prSet presAssocID="{488A9191-6A5B-4364-BA81-9EFB2DED2514}" presName="rootConnector" presStyleLbl="node3" presStyleIdx="4" presStyleCnt="7"/>
      <dgm:spPr/>
    </dgm:pt>
    <dgm:pt modelId="{2866ED4D-485F-4983-84BD-6BCBB7EF842B}" type="pres">
      <dgm:prSet presAssocID="{488A9191-6A5B-4364-BA81-9EFB2DED2514}" presName="hierChild4" presStyleCnt="0"/>
      <dgm:spPr/>
    </dgm:pt>
    <dgm:pt modelId="{ACC8BA50-57B7-4D77-B5E4-7015F5997B02}" type="pres">
      <dgm:prSet presAssocID="{488A9191-6A5B-4364-BA81-9EFB2DED2514}" presName="hierChild5" presStyleCnt="0"/>
      <dgm:spPr/>
    </dgm:pt>
    <dgm:pt modelId="{042F7CC8-7032-45AD-A9CC-CEF4082B2A3C}" type="pres">
      <dgm:prSet presAssocID="{6A900F1D-7493-4714-90CA-BB660CFEBC46}" presName="Name37" presStyleLbl="parChTrans1D3" presStyleIdx="5" presStyleCnt="7"/>
      <dgm:spPr/>
    </dgm:pt>
    <dgm:pt modelId="{36D162EA-7522-4ACF-85D5-8E0F0613BE65}" type="pres">
      <dgm:prSet presAssocID="{2D1495F3-51D6-49C4-A2C5-83079C1A153F}" presName="hierRoot2" presStyleCnt="0">
        <dgm:presLayoutVars>
          <dgm:hierBranch val="init"/>
        </dgm:presLayoutVars>
      </dgm:prSet>
      <dgm:spPr/>
    </dgm:pt>
    <dgm:pt modelId="{A658C597-BB9D-41EC-83D2-D0B605383320}" type="pres">
      <dgm:prSet presAssocID="{2D1495F3-51D6-49C4-A2C5-83079C1A153F}" presName="rootComposite" presStyleCnt="0"/>
      <dgm:spPr/>
    </dgm:pt>
    <dgm:pt modelId="{162A3530-9EA8-4208-89ED-A3EAD5C23F27}" type="pres">
      <dgm:prSet presAssocID="{2D1495F3-51D6-49C4-A2C5-83079C1A153F}" presName="rootText" presStyleLbl="node3" presStyleIdx="5" presStyleCnt="7">
        <dgm:presLayoutVars>
          <dgm:chPref val="3"/>
        </dgm:presLayoutVars>
      </dgm:prSet>
      <dgm:spPr/>
    </dgm:pt>
    <dgm:pt modelId="{3EABC786-1E50-4D58-93F8-A0F8D3252704}" type="pres">
      <dgm:prSet presAssocID="{2D1495F3-51D6-49C4-A2C5-83079C1A153F}" presName="rootConnector" presStyleLbl="node3" presStyleIdx="5" presStyleCnt="7"/>
      <dgm:spPr/>
    </dgm:pt>
    <dgm:pt modelId="{DAF748A9-9BC8-460C-9406-6BCEB718ADE3}" type="pres">
      <dgm:prSet presAssocID="{2D1495F3-51D6-49C4-A2C5-83079C1A153F}" presName="hierChild4" presStyleCnt="0"/>
      <dgm:spPr/>
    </dgm:pt>
    <dgm:pt modelId="{3C76D54E-54B9-491E-8203-BDBCA465229F}" type="pres">
      <dgm:prSet presAssocID="{F234A566-5B37-41F9-A9B1-7CF93E14A071}" presName="Name37" presStyleLbl="parChTrans1D4" presStyleIdx="10" presStyleCnt="12"/>
      <dgm:spPr/>
    </dgm:pt>
    <dgm:pt modelId="{23FEC17E-8C97-4D78-8DFA-CE33A8B29B8C}" type="pres">
      <dgm:prSet presAssocID="{388E5E9C-8EC7-4067-B757-BE3C9900BA13}" presName="hierRoot2" presStyleCnt="0">
        <dgm:presLayoutVars>
          <dgm:hierBranch val="init"/>
        </dgm:presLayoutVars>
      </dgm:prSet>
      <dgm:spPr/>
    </dgm:pt>
    <dgm:pt modelId="{820C650E-3E81-427A-AE3E-0CFB6EBFF512}" type="pres">
      <dgm:prSet presAssocID="{388E5E9C-8EC7-4067-B757-BE3C9900BA13}" presName="rootComposite" presStyleCnt="0"/>
      <dgm:spPr/>
    </dgm:pt>
    <dgm:pt modelId="{0949D80A-7400-4A28-B70F-7B72AF6435F6}" type="pres">
      <dgm:prSet presAssocID="{388E5E9C-8EC7-4067-B757-BE3C9900BA13}" presName="rootText" presStyleLbl="node4" presStyleIdx="10" presStyleCnt="12">
        <dgm:presLayoutVars>
          <dgm:chPref val="3"/>
        </dgm:presLayoutVars>
      </dgm:prSet>
      <dgm:spPr/>
    </dgm:pt>
    <dgm:pt modelId="{4D4974B4-7CF0-4C6B-B3C5-BF2D59BFBD36}" type="pres">
      <dgm:prSet presAssocID="{388E5E9C-8EC7-4067-B757-BE3C9900BA13}" presName="rootConnector" presStyleLbl="node4" presStyleIdx="10" presStyleCnt="12"/>
      <dgm:spPr/>
    </dgm:pt>
    <dgm:pt modelId="{1E1A0618-A572-4AB5-88BB-C40836EFA80F}" type="pres">
      <dgm:prSet presAssocID="{388E5E9C-8EC7-4067-B757-BE3C9900BA13}" presName="hierChild4" presStyleCnt="0"/>
      <dgm:spPr/>
    </dgm:pt>
    <dgm:pt modelId="{379CD718-9587-41A8-BE14-D3C18AC2A276}" type="pres">
      <dgm:prSet presAssocID="{388E5E9C-8EC7-4067-B757-BE3C9900BA13}" presName="hierChild5" presStyleCnt="0"/>
      <dgm:spPr/>
    </dgm:pt>
    <dgm:pt modelId="{A455D7F3-7167-4149-A61D-93868E6A35B6}" type="pres">
      <dgm:prSet presAssocID="{2D1495F3-51D6-49C4-A2C5-83079C1A153F}" presName="hierChild5" presStyleCnt="0"/>
      <dgm:spPr/>
    </dgm:pt>
    <dgm:pt modelId="{670F6A45-4DD3-4609-A847-099006DCA29F}" type="pres">
      <dgm:prSet presAssocID="{2BE6B601-79CA-4225-A64D-03CD3A410364}" presName="Name37" presStyleLbl="parChTrans1D3" presStyleIdx="6" presStyleCnt="7"/>
      <dgm:spPr/>
    </dgm:pt>
    <dgm:pt modelId="{981B68C5-EBCF-4349-8584-FEDFAD373C28}" type="pres">
      <dgm:prSet presAssocID="{BBA7A797-17FD-42A5-81C6-8E302CEDCC0C}" presName="hierRoot2" presStyleCnt="0">
        <dgm:presLayoutVars>
          <dgm:hierBranch val="init"/>
        </dgm:presLayoutVars>
      </dgm:prSet>
      <dgm:spPr/>
    </dgm:pt>
    <dgm:pt modelId="{DF14785C-DF94-4452-8380-D38BEB078848}" type="pres">
      <dgm:prSet presAssocID="{BBA7A797-17FD-42A5-81C6-8E302CEDCC0C}" presName="rootComposite" presStyleCnt="0"/>
      <dgm:spPr/>
    </dgm:pt>
    <dgm:pt modelId="{A88671D5-4A52-46AA-90B8-0756A808B488}" type="pres">
      <dgm:prSet presAssocID="{BBA7A797-17FD-42A5-81C6-8E302CEDCC0C}" presName="rootText" presStyleLbl="node3" presStyleIdx="6" presStyleCnt="7">
        <dgm:presLayoutVars>
          <dgm:chPref val="3"/>
        </dgm:presLayoutVars>
      </dgm:prSet>
      <dgm:spPr/>
    </dgm:pt>
    <dgm:pt modelId="{0C345AB6-B6B6-4E13-980F-CFFBF66DC217}" type="pres">
      <dgm:prSet presAssocID="{BBA7A797-17FD-42A5-81C6-8E302CEDCC0C}" presName="rootConnector" presStyleLbl="node3" presStyleIdx="6" presStyleCnt="7"/>
      <dgm:spPr/>
    </dgm:pt>
    <dgm:pt modelId="{809A7086-BA15-4D4A-B756-547D11B5BBF5}" type="pres">
      <dgm:prSet presAssocID="{BBA7A797-17FD-42A5-81C6-8E302CEDCC0C}" presName="hierChild4" presStyleCnt="0"/>
      <dgm:spPr/>
    </dgm:pt>
    <dgm:pt modelId="{8B871AE4-7A3B-46DF-80A5-E86F745802A9}" type="pres">
      <dgm:prSet presAssocID="{732370EB-1901-4129-AC0B-ACEC803E1741}" presName="Name37" presStyleLbl="parChTrans1D4" presStyleIdx="11" presStyleCnt="12"/>
      <dgm:spPr/>
    </dgm:pt>
    <dgm:pt modelId="{C58D88C4-C76B-402B-B5E9-AB006EB89AB6}" type="pres">
      <dgm:prSet presAssocID="{EEA1201B-FA1B-45AB-B0E9-0B3175AF9609}" presName="hierRoot2" presStyleCnt="0">
        <dgm:presLayoutVars>
          <dgm:hierBranch val="init"/>
        </dgm:presLayoutVars>
      </dgm:prSet>
      <dgm:spPr/>
    </dgm:pt>
    <dgm:pt modelId="{A1E1E460-5635-484B-910B-9F061C886C0C}" type="pres">
      <dgm:prSet presAssocID="{EEA1201B-FA1B-45AB-B0E9-0B3175AF9609}" presName="rootComposite" presStyleCnt="0"/>
      <dgm:spPr/>
    </dgm:pt>
    <dgm:pt modelId="{CE7C7BB5-4148-4195-B25B-F6C7FADBB923}" type="pres">
      <dgm:prSet presAssocID="{EEA1201B-FA1B-45AB-B0E9-0B3175AF9609}" presName="rootText" presStyleLbl="node4" presStyleIdx="11" presStyleCnt="12">
        <dgm:presLayoutVars>
          <dgm:chPref val="3"/>
        </dgm:presLayoutVars>
      </dgm:prSet>
      <dgm:spPr/>
    </dgm:pt>
    <dgm:pt modelId="{FFCF75AE-BAA4-49E8-8EB7-6A223E14840C}" type="pres">
      <dgm:prSet presAssocID="{EEA1201B-FA1B-45AB-B0E9-0B3175AF9609}" presName="rootConnector" presStyleLbl="node4" presStyleIdx="11" presStyleCnt="12"/>
      <dgm:spPr/>
    </dgm:pt>
    <dgm:pt modelId="{E8B4E04F-C758-4032-9BAC-0496AEB7EAC3}" type="pres">
      <dgm:prSet presAssocID="{EEA1201B-FA1B-45AB-B0E9-0B3175AF9609}" presName="hierChild4" presStyleCnt="0"/>
      <dgm:spPr/>
    </dgm:pt>
    <dgm:pt modelId="{90B65C13-84E6-4467-8150-95967CB6907A}" type="pres">
      <dgm:prSet presAssocID="{EEA1201B-FA1B-45AB-B0E9-0B3175AF9609}" presName="hierChild5" presStyleCnt="0"/>
      <dgm:spPr/>
    </dgm:pt>
    <dgm:pt modelId="{774ED406-50E2-4538-8236-42BE101E815C}" type="pres">
      <dgm:prSet presAssocID="{BBA7A797-17FD-42A5-81C6-8E302CEDCC0C}" presName="hierChild5" presStyleCnt="0"/>
      <dgm:spPr/>
    </dgm:pt>
    <dgm:pt modelId="{409C2ACA-F8BA-4898-8C70-417C38923679}" type="pres">
      <dgm:prSet presAssocID="{6533314C-AE55-4CB0-A768-A39C76B79F5F}" presName="hierChild5" presStyleCnt="0"/>
      <dgm:spPr/>
    </dgm:pt>
    <dgm:pt modelId="{63CFBF27-E0E6-4F7C-8A7E-33BE152321D3}" type="pres">
      <dgm:prSet presAssocID="{B2CDD310-DBE8-4D18-ABA4-57EE43183A44}" presName="Name37" presStyleLbl="parChTrans1D2" presStyleIdx="4" presStyleCnt="5"/>
      <dgm:spPr/>
    </dgm:pt>
    <dgm:pt modelId="{761B060F-9284-4338-B5D6-11C2A80D4FC6}" type="pres">
      <dgm:prSet presAssocID="{2F89A8F6-E781-4076-8ACE-A664ACF1D069}" presName="hierRoot2" presStyleCnt="0">
        <dgm:presLayoutVars>
          <dgm:hierBranch val="init"/>
        </dgm:presLayoutVars>
      </dgm:prSet>
      <dgm:spPr/>
    </dgm:pt>
    <dgm:pt modelId="{87E39F3C-ABA8-4C0E-9E36-1D89A01F48A4}" type="pres">
      <dgm:prSet presAssocID="{2F89A8F6-E781-4076-8ACE-A664ACF1D069}" presName="rootComposite" presStyleCnt="0"/>
      <dgm:spPr/>
    </dgm:pt>
    <dgm:pt modelId="{1B9E64F6-4788-46D9-A1F3-3087465CC3B7}" type="pres">
      <dgm:prSet presAssocID="{2F89A8F6-E781-4076-8ACE-A664ACF1D069}" presName="rootText" presStyleLbl="node2" presStyleIdx="4" presStyleCnt="5" custScaleX="167002">
        <dgm:presLayoutVars>
          <dgm:chPref val="3"/>
        </dgm:presLayoutVars>
      </dgm:prSet>
      <dgm:spPr/>
    </dgm:pt>
    <dgm:pt modelId="{F9DA208C-8CF6-4754-856F-21A09C323A08}" type="pres">
      <dgm:prSet presAssocID="{2F89A8F6-E781-4076-8ACE-A664ACF1D069}" presName="rootConnector" presStyleLbl="node2" presStyleIdx="4" presStyleCnt="5"/>
      <dgm:spPr/>
    </dgm:pt>
    <dgm:pt modelId="{DE747CE8-209C-4A96-A688-838084F7553F}" type="pres">
      <dgm:prSet presAssocID="{2F89A8F6-E781-4076-8ACE-A664ACF1D069}" presName="hierChild4" presStyleCnt="0"/>
      <dgm:spPr/>
    </dgm:pt>
    <dgm:pt modelId="{67AB4711-81AC-4E58-9616-1E25DEB40E7D}" type="pres">
      <dgm:prSet presAssocID="{2F89A8F6-E781-4076-8ACE-A664ACF1D069}" presName="hierChild5" presStyleCnt="0"/>
      <dgm:spPr/>
    </dgm:pt>
    <dgm:pt modelId="{7E16E0D3-B907-4E53-9F09-F08B2E08336F}" type="pres">
      <dgm:prSet presAssocID="{30561DCE-4483-4C29-A6B7-CA8EA7A2066D}" presName="hierChild3" presStyleCnt="0"/>
      <dgm:spPr/>
    </dgm:pt>
  </dgm:ptLst>
  <dgm:cxnLst>
    <dgm:cxn modelId="{E7A32603-497A-4181-BA7C-DEA4EFEF06AC}" type="presOf" srcId="{51C77A5A-5DB8-4D93-A6F4-6AE12259E7D4}" destId="{AB94D3E3-F39D-4CA1-A613-43B11302DF88}" srcOrd="0" destOrd="0" presId="urn:microsoft.com/office/officeart/2005/8/layout/orgChart1"/>
    <dgm:cxn modelId="{A6BAB104-382A-4C75-8152-F4A6FA20A153}" srcId="{30561DCE-4483-4C29-A6B7-CA8EA7A2066D}" destId="{B5881CCC-D060-403D-9739-42C9D1E0E6AF}" srcOrd="2" destOrd="0" parTransId="{847B9672-CF3E-4C22-B1FA-9C278670BD61}" sibTransId="{B9B8D7E3-5481-4CAB-B3F3-2380F5EEA9F8}"/>
    <dgm:cxn modelId="{BA72CB06-73C3-49C7-A16B-BEEB77B73EAD}" srcId="{DC55740C-6CC0-4FAE-83E8-CCBECA2DD3C3}" destId="{611B3485-E4E2-4223-8729-A0F4E580F326}" srcOrd="0" destOrd="0" parTransId="{2E95AAC9-0F70-4897-A9F2-C12731EF200A}" sibTransId="{6E675AFD-32BE-449D-8556-287670992C74}"/>
    <dgm:cxn modelId="{898A4A08-8C35-4EB1-9281-07B93FD77ED7}" type="presOf" srcId="{2D1495F3-51D6-49C4-A2C5-83079C1A153F}" destId="{162A3530-9EA8-4208-89ED-A3EAD5C23F27}" srcOrd="0" destOrd="0" presId="urn:microsoft.com/office/officeart/2005/8/layout/orgChart1"/>
    <dgm:cxn modelId="{AABE8308-04DC-42E9-AF6A-C6D12AA3847A}" type="presOf" srcId="{C225693C-AAD6-4603-A6FD-57066B75D167}" destId="{40195326-FFA5-4DA0-BF48-ADB6824A6C41}" srcOrd="0" destOrd="0" presId="urn:microsoft.com/office/officeart/2005/8/layout/orgChart1"/>
    <dgm:cxn modelId="{6E40E50C-0323-4432-9FAE-7333AA820C17}" srcId="{B5881CCC-D060-403D-9739-42C9D1E0E6AF}" destId="{81EDDC1B-37D7-43AC-94D0-9F5187CF71FE}" srcOrd="1" destOrd="0" parTransId="{76D27EB2-493B-44B2-87C9-167E1230ABF0}" sibTransId="{BDC91417-FB59-4F1A-B137-BFA8C9EAE40B}"/>
    <dgm:cxn modelId="{2390910E-7CBB-4842-BEE1-0682162B08EE}" type="presOf" srcId="{EF6F62E0-92DB-4FD9-9B56-9230F8493D4D}" destId="{7BB09A42-3D5E-4BDD-95B3-11FBB974BEDB}" srcOrd="0" destOrd="0" presId="urn:microsoft.com/office/officeart/2005/8/layout/orgChart1"/>
    <dgm:cxn modelId="{F12EDB10-DEDE-4C10-B8F4-09B58C1F9260}" type="presOf" srcId="{2385B612-39F0-4849-BA8D-C9E20D842717}" destId="{7CD4460A-DDB3-4CC8-918E-F4C7D76DE7FE}" srcOrd="0" destOrd="0" presId="urn:microsoft.com/office/officeart/2005/8/layout/orgChart1"/>
    <dgm:cxn modelId="{A4763C15-E20C-4AB0-9089-AE8B3BCE6858}" srcId="{2D1495F3-51D6-49C4-A2C5-83079C1A153F}" destId="{388E5E9C-8EC7-4067-B757-BE3C9900BA13}" srcOrd="0" destOrd="0" parTransId="{F234A566-5B37-41F9-A9B1-7CF93E14A071}" sibTransId="{C2345694-BFF1-4803-B863-B57625F87F50}"/>
    <dgm:cxn modelId="{3498B416-32F2-4B6B-8D6D-FC1859B25D5B}" type="presOf" srcId="{6533314C-AE55-4CB0-A768-A39C76B79F5F}" destId="{B79E6939-8201-4980-B028-FA93CF37503B}" srcOrd="0" destOrd="0" presId="urn:microsoft.com/office/officeart/2005/8/layout/orgChart1"/>
    <dgm:cxn modelId="{CFF0BB1D-A1B5-454A-A04D-7EC59F1EFF30}" type="presOf" srcId="{6A900F1D-7493-4714-90CA-BB660CFEBC46}" destId="{042F7CC8-7032-45AD-A9CC-CEF4082B2A3C}" srcOrd="0" destOrd="0" presId="urn:microsoft.com/office/officeart/2005/8/layout/orgChart1"/>
    <dgm:cxn modelId="{F4FB4429-1CD9-497B-8562-55175CFCB8BE}" type="presOf" srcId="{9F879225-46F7-48FA-AD71-316D16B586D6}" destId="{EC31DD45-2DA2-4E99-979E-9F9F0E031A2E}" srcOrd="0" destOrd="0" presId="urn:microsoft.com/office/officeart/2005/8/layout/orgChart1"/>
    <dgm:cxn modelId="{14EAB62A-BCAB-4EEF-9AF1-F05DFB882B62}" type="presOf" srcId="{0D60F501-9E6F-4046-85A5-67AD779493DF}" destId="{89318645-C0F0-4F8A-9BB7-2027B24C9D2C}" srcOrd="1" destOrd="0" presId="urn:microsoft.com/office/officeart/2005/8/layout/orgChart1"/>
    <dgm:cxn modelId="{84C2132C-179F-4745-B223-D152E681E1E9}" type="presOf" srcId="{C6944755-19D1-4693-83C2-E047C76EF5E2}" destId="{1AF91A6E-70E4-43B4-AA47-7684C21C35CB}" srcOrd="0" destOrd="0" presId="urn:microsoft.com/office/officeart/2005/8/layout/orgChart1"/>
    <dgm:cxn modelId="{78CBF82C-421B-45CB-9F09-D38824948A3D}" srcId="{B5881CCC-D060-403D-9739-42C9D1E0E6AF}" destId="{3607DAC6-834D-44C9-ACC4-4B7AED9376F4}" srcOrd="0" destOrd="0" parTransId="{51C77A5A-5DB8-4D93-A6F4-6AE12259E7D4}" sibTransId="{8CF3F857-CDAB-48BC-9457-1DB436A75CBB}"/>
    <dgm:cxn modelId="{980ED838-5FD7-49C8-A181-DE2AFD6433A6}" type="presOf" srcId="{1BFD683C-6D9A-4A8E-A96D-63609CF34E7C}" destId="{CE665874-8F85-4D6D-9816-40E749AFC2C6}" srcOrd="0" destOrd="0" presId="urn:microsoft.com/office/officeart/2005/8/layout/orgChart1"/>
    <dgm:cxn modelId="{623B103B-D476-4837-BD45-A5E660077A21}" type="presOf" srcId="{488A9191-6A5B-4364-BA81-9EFB2DED2514}" destId="{076CF408-1245-4343-9FDC-0DC6D0F9CB81}" srcOrd="1" destOrd="0" presId="urn:microsoft.com/office/officeart/2005/8/layout/orgChart1"/>
    <dgm:cxn modelId="{8C09055D-5A55-4627-A6A0-692C37CD3016}" srcId="{81EDDC1B-37D7-43AC-94D0-9F5187CF71FE}" destId="{1BFD683C-6D9A-4A8E-A96D-63609CF34E7C}" srcOrd="0" destOrd="0" parTransId="{B34F42BC-B343-4ADB-9F8F-9827745985EC}" sibTransId="{52528140-0ECF-4A0A-8A7C-EC7AEE036308}"/>
    <dgm:cxn modelId="{31C42A5D-5FBD-4252-9DB2-E8469531C2D9}" type="presOf" srcId="{B6C9846A-59B4-4F8C-AAA5-595923295DF9}" destId="{52016480-FD30-4858-84BB-924D5B73332F}" srcOrd="0" destOrd="0" presId="urn:microsoft.com/office/officeart/2005/8/layout/orgChart1"/>
    <dgm:cxn modelId="{CFA50064-1217-4568-BD0A-243BC69D1302}" srcId="{81EDDC1B-37D7-43AC-94D0-9F5187CF71FE}" destId="{090FBE0A-C6D0-49CD-9CBD-C182D9F4FC68}" srcOrd="1" destOrd="0" parTransId="{B7D48DB2-7160-413F-A3BA-5C1B58EBF57D}" sibTransId="{EA4B5F60-B844-419F-A6AE-58A1298E9782}"/>
    <dgm:cxn modelId="{D2F56665-5897-4A40-9304-D19F14C07292}" type="presOf" srcId="{B5881CCC-D060-403D-9739-42C9D1E0E6AF}" destId="{8AFC0432-D13D-41D2-A1AB-5342AD095CF0}" srcOrd="1" destOrd="0" presId="urn:microsoft.com/office/officeart/2005/8/layout/orgChart1"/>
    <dgm:cxn modelId="{AC4D5348-B791-4200-91CC-770022FC7F38}" type="presOf" srcId="{B7A395A7-BF34-4578-BF1C-E0F06ACA1435}" destId="{50000482-5E16-4BF9-996F-8E18B2ED4CFC}" srcOrd="0" destOrd="0" presId="urn:microsoft.com/office/officeart/2005/8/layout/orgChart1"/>
    <dgm:cxn modelId="{1A82FB48-DF42-43E3-BB1B-E8E827E32FCF}" type="presOf" srcId="{488A9191-6A5B-4364-BA81-9EFB2DED2514}" destId="{DB124830-D955-41D1-90D6-302B92ECC1AD}" srcOrd="0" destOrd="0" presId="urn:microsoft.com/office/officeart/2005/8/layout/orgChart1"/>
    <dgm:cxn modelId="{91620749-E8E8-4DD0-9A61-904C19B9C72A}" type="presOf" srcId="{BE4D14D5-76DE-4EEA-90FA-54A3632EB80D}" destId="{B36AB756-9EED-4704-B375-19E8D65474A5}" srcOrd="0" destOrd="0" presId="urn:microsoft.com/office/officeart/2005/8/layout/orgChart1"/>
    <dgm:cxn modelId="{CA876969-95E4-4285-A217-4D6D1AF090B3}" type="presOf" srcId="{732370EB-1901-4129-AC0B-ACEC803E1741}" destId="{8B871AE4-7A3B-46DF-80A5-E86F745802A9}" srcOrd="0" destOrd="0" presId="urn:microsoft.com/office/officeart/2005/8/layout/orgChart1"/>
    <dgm:cxn modelId="{1CEE8B69-8C8D-4D49-B891-47EDAE52108D}" type="presOf" srcId="{1FE3CD6A-2446-4AAE-BA4C-17D60E7A69D9}" destId="{2C2ACEE9-82EB-47FB-BBF1-7FEC27B61108}" srcOrd="0" destOrd="0" presId="urn:microsoft.com/office/officeart/2005/8/layout/orgChart1"/>
    <dgm:cxn modelId="{D58AEA4A-DE07-432B-8E69-BECCF72128A3}" type="presOf" srcId="{B2CDD310-DBE8-4D18-ABA4-57EE43183A44}" destId="{63CFBF27-E0E6-4F7C-8A7E-33BE152321D3}" srcOrd="0" destOrd="0" presId="urn:microsoft.com/office/officeart/2005/8/layout/orgChart1"/>
    <dgm:cxn modelId="{3398F06B-FE5C-4AFC-BCCB-F67C9D5ECD54}" type="presOf" srcId="{1B70AA04-EBFC-4AD0-91CA-930261875266}" destId="{119BA7AA-F2FA-4C98-A845-6B73A4ABBD7E}" srcOrd="0" destOrd="0" presId="urn:microsoft.com/office/officeart/2005/8/layout/orgChart1"/>
    <dgm:cxn modelId="{B476944E-B52D-4781-8B67-9C9A102D6B0D}" type="presOf" srcId="{1BFD683C-6D9A-4A8E-A96D-63609CF34E7C}" destId="{08D0A565-9FE0-41E8-88E4-9ECD2EA81791}" srcOrd="1" destOrd="0" presId="urn:microsoft.com/office/officeart/2005/8/layout/orgChart1"/>
    <dgm:cxn modelId="{AA51164F-AE7A-43AC-B1EB-D2DC1822056E}" srcId="{3607DAC6-834D-44C9-ACC4-4B7AED9376F4}" destId="{9F879225-46F7-48FA-AD71-316D16B586D6}" srcOrd="1" destOrd="0" parTransId="{EF6F62E0-92DB-4FD9-9B56-9230F8493D4D}" sibTransId="{E095CA44-245F-48A5-A15A-C994F10B2C38}"/>
    <dgm:cxn modelId="{E59D5F4F-578B-4679-BA55-FC60B6B61B16}" type="presOf" srcId="{090FBE0A-C6D0-49CD-9CBD-C182D9F4FC68}" destId="{C00ED009-FA4A-4F43-B3DD-5BD94FDA9361}" srcOrd="0" destOrd="0" presId="urn:microsoft.com/office/officeart/2005/8/layout/orgChart1"/>
    <dgm:cxn modelId="{1A4D964F-EA30-4E0B-84B0-8F13B732E2B2}" type="presOf" srcId="{6533314C-AE55-4CB0-A768-A39C76B79F5F}" destId="{2289E627-63E4-4C4B-A0FC-0E2A2BDC7856}" srcOrd="1" destOrd="0" presId="urn:microsoft.com/office/officeart/2005/8/layout/orgChart1"/>
    <dgm:cxn modelId="{07675250-2C61-4A2B-A2EB-915F89F532B6}" type="presOf" srcId="{9F879225-46F7-48FA-AD71-316D16B586D6}" destId="{26763BF6-7471-4A18-9CC5-0B7C32241A7F}" srcOrd="1" destOrd="0" presId="urn:microsoft.com/office/officeart/2005/8/layout/orgChart1"/>
    <dgm:cxn modelId="{0F22B370-0975-4E00-A759-A744BA32821C}" type="presOf" srcId="{0D60F501-9E6F-4046-85A5-67AD779493DF}" destId="{992B9392-4AFB-4036-9D40-50EAC128E85B}" srcOrd="0" destOrd="0" presId="urn:microsoft.com/office/officeart/2005/8/layout/orgChart1"/>
    <dgm:cxn modelId="{E9A89351-2496-4231-A98F-1167AD98661C}" type="presOf" srcId="{DC55740C-6CC0-4FAE-83E8-CCBECA2DD3C3}" destId="{5826B9FD-7D34-4A91-9629-ABAE50A2B261}" srcOrd="1" destOrd="0" presId="urn:microsoft.com/office/officeart/2005/8/layout/orgChart1"/>
    <dgm:cxn modelId="{F937EA52-030F-48AE-944F-E45E894B1C3D}" srcId="{6533314C-AE55-4CB0-A768-A39C76B79F5F}" destId="{BBA7A797-17FD-42A5-81C6-8E302CEDCC0C}" srcOrd="2" destOrd="0" parTransId="{2BE6B601-79CA-4225-A64D-03CD3A410364}" sibTransId="{CC822FB0-BED4-4624-8E55-4C5EB6A35C59}"/>
    <dgm:cxn modelId="{DA853754-6F50-4F1A-AF86-F7B3B06655B9}" srcId="{EF66A6B2-B65B-42FA-8C56-676E9CE4694B}" destId="{0D60F501-9E6F-4046-85A5-67AD779493DF}" srcOrd="0" destOrd="0" parTransId="{407DD28E-6BA0-44BE-8886-618368E40878}" sibTransId="{15605098-DB79-430D-BD55-36D33381741C}"/>
    <dgm:cxn modelId="{6B405874-3AE1-4E43-8124-015878C176FB}" type="presOf" srcId="{B34F42BC-B343-4ADB-9F8F-9827745985EC}" destId="{7ECB96DC-2A74-46CB-A888-D8D529EC6920}" srcOrd="0" destOrd="0" presId="urn:microsoft.com/office/officeart/2005/8/layout/orgChart1"/>
    <dgm:cxn modelId="{3A3FCC54-9F68-4FFB-8305-7FF1B26F41DB}" type="presOf" srcId="{81EDDC1B-37D7-43AC-94D0-9F5187CF71FE}" destId="{F8596161-B494-4C1D-BC35-C80967673E3B}" srcOrd="1" destOrd="0" presId="urn:microsoft.com/office/officeart/2005/8/layout/orgChart1"/>
    <dgm:cxn modelId="{7B465D56-5FDD-4F65-AFA6-01C9ED53CE5F}" srcId="{EF66A6B2-B65B-42FA-8C56-676E9CE4694B}" destId="{DC55740C-6CC0-4FAE-83E8-CCBECA2DD3C3}" srcOrd="1" destOrd="0" parTransId="{BE4D14D5-76DE-4EEA-90FA-54A3632EB80D}" sibTransId="{26D052C7-C4A6-4BED-8783-8CE484A1E099}"/>
    <dgm:cxn modelId="{0638D277-29BB-485F-8A36-4D9E95250D9F}" type="presOf" srcId="{EF66A6B2-B65B-42FA-8C56-676E9CE4694B}" destId="{88015159-1937-4E7C-AFF9-99290C8B1F71}" srcOrd="0" destOrd="0" presId="urn:microsoft.com/office/officeart/2005/8/layout/orgChart1"/>
    <dgm:cxn modelId="{43EA3859-E65E-4B80-AEFF-E0E67B8F0F48}" srcId="{30561DCE-4483-4C29-A6B7-CA8EA7A2066D}" destId="{C6944755-19D1-4693-83C2-E047C76EF5E2}" srcOrd="1" destOrd="0" parTransId="{98AC0ED1-F19E-4AA3-A5F7-3A82146B71B3}" sibTransId="{4576B68F-C5F2-4697-98DA-2924BA9D7017}"/>
    <dgm:cxn modelId="{0B1C5782-01C9-475F-8515-E736B11791EF}" type="presOf" srcId="{3607DAC6-834D-44C9-ACC4-4B7AED9376F4}" destId="{91CBDC6D-DCFB-4272-B057-4FEDEE1F3EF6}" srcOrd="0" destOrd="0" presId="urn:microsoft.com/office/officeart/2005/8/layout/orgChart1"/>
    <dgm:cxn modelId="{993F0591-E163-4B50-8CF4-758260614FC3}" srcId="{3607DAC6-834D-44C9-ACC4-4B7AED9376F4}" destId="{AE6F1A96-AD51-455B-A2F4-B3C94C3665D0}" srcOrd="2" destOrd="0" parTransId="{B6C9846A-59B4-4F8C-AAA5-595923295DF9}" sibTransId="{FB5FC277-E69E-42D4-B4A7-01C354CDAFDD}"/>
    <dgm:cxn modelId="{3ACD5491-A9B1-4AE3-875B-CA4EF648D604}" type="presOf" srcId="{EEA1201B-FA1B-45AB-B0E9-0B3175AF9609}" destId="{FFCF75AE-BAA4-49E8-8EB7-6A223E14840C}" srcOrd="1" destOrd="0" presId="urn:microsoft.com/office/officeart/2005/8/layout/orgChart1"/>
    <dgm:cxn modelId="{FCD1B494-65E8-4F73-A08B-D69F0FF51488}" srcId="{DC55740C-6CC0-4FAE-83E8-CCBECA2DD3C3}" destId="{ACC39201-A835-4B5F-BB53-41146C472319}" srcOrd="1" destOrd="0" parTransId="{AB250A4B-C0B0-45A9-9086-3501DCE954D2}" sibTransId="{D04E86BA-92A7-4A1D-A839-A9A5D3F09112}"/>
    <dgm:cxn modelId="{884F8498-D2ED-420B-99E7-48F76F4C5F03}" srcId="{81EDDC1B-37D7-43AC-94D0-9F5187CF71FE}" destId="{B7AEF867-8257-4CAC-AE9A-24348191F111}" srcOrd="2" destOrd="0" parTransId="{C225693C-AAD6-4603-A6FD-57066B75D167}" sibTransId="{C6F75183-3483-4286-87FD-556B38464EB9}"/>
    <dgm:cxn modelId="{C28EE599-D5DD-43F4-B86E-ED22D685018F}" type="presOf" srcId="{B5881CCC-D060-403D-9739-42C9D1E0E6AF}" destId="{3B164E60-29F4-4482-AB55-1513B855163A}" srcOrd="0" destOrd="0" presId="urn:microsoft.com/office/officeart/2005/8/layout/orgChart1"/>
    <dgm:cxn modelId="{7CB7879B-9BC6-4A5F-B001-8B2745B0A42B}" srcId="{30561DCE-4483-4C29-A6B7-CA8EA7A2066D}" destId="{EF66A6B2-B65B-42FA-8C56-676E9CE4694B}" srcOrd="0" destOrd="0" parTransId="{122B9AC8-BF19-427D-B852-3A599DCE71B4}" sibTransId="{2B0C59F4-1ADF-48B2-BE22-F661631EEE93}"/>
    <dgm:cxn modelId="{B44EDE9C-6648-4BF7-AA50-6309A42627BA}" type="presOf" srcId="{30561DCE-4483-4C29-A6B7-CA8EA7A2066D}" destId="{3E49E272-47CF-48A8-B560-ED8C2F5C58BD}" srcOrd="0" destOrd="0" presId="urn:microsoft.com/office/officeart/2005/8/layout/orgChart1"/>
    <dgm:cxn modelId="{8D78279D-1E1A-40FF-9DD5-39440216C0C0}" type="presOf" srcId="{B7AEF867-8257-4CAC-AE9A-24348191F111}" destId="{0EE7E067-5568-4AC2-816D-A7261D4D14C6}" srcOrd="0" destOrd="0" presId="urn:microsoft.com/office/officeart/2005/8/layout/orgChart1"/>
    <dgm:cxn modelId="{DC958C9D-E471-4EB8-9C87-041D4532ECEB}" type="presOf" srcId="{DC55740C-6CC0-4FAE-83E8-CCBECA2DD3C3}" destId="{44962AFD-95AC-40DD-9548-DE79A8CA3083}" srcOrd="0" destOrd="0" presId="urn:microsoft.com/office/officeart/2005/8/layout/orgChart1"/>
    <dgm:cxn modelId="{15DF2CA1-E29A-4F90-B5D7-00FE1E672A2F}" type="presOf" srcId="{ACC39201-A835-4B5F-BB53-41146C472319}" destId="{DEEDC21F-025D-4FA6-A665-59B15EE787D9}" srcOrd="1" destOrd="0" presId="urn:microsoft.com/office/officeart/2005/8/layout/orgChart1"/>
    <dgm:cxn modelId="{895359A3-D7F6-4EF4-8DD0-1836A268EFE1}" srcId="{6533314C-AE55-4CB0-A768-A39C76B79F5F}" destId="{488A9191-6A5B-4364-BA81-9EFB2DED2514}" srcOrd="0" destOrd="0" parTransId="{3E6F1055-718C-4A7F-8C74-B7A12CC12CD7}" sibTransId="{A06414DF-5BAD-4CED-8365-CC94D68AFA75}"/>
    <dgm:cxn modelId="{DEE9FFA3-FDDB-4B9E-905F-D38AE9124068}" type="presOf" srcId="{AB250A4B-C0B0-45A9-9086-3501DCE954D2}" destId="{45CBE3E7-A0C7-4178-8054-C7FF523AD8D1}" srcOrd="0" destOrd="0" presId="urn:microsoft.com/office/officeart/2005/8/layout/orgChart1"/>
    <dgm:cxn modelId="{CDEA65A4-15A3-4BA1-AFB7-464EDAB10DB4}" type="presOf" srcId="{54D8E508-36D6-4404-ACA0-93EDFCCC11E4}" destId="{92DDF521-C427-4F34-8ADA-5A83E465875F}" srcOrd="0" destOrd="0" presId="urn:microsoft.com/office/officeart/2005/8/layout/orgChart1"/>
    <dgm:cxn modelId="{F9BC5BA5-EDCF-4BDA-8212-A8C21A4EA487}" type="presOf" srcId="{98AC0ED1-F19E-4AA3-A5F7-3A82146B71B3}" destId="{B8829CE3-BE12-4D47-B753-FE05C42FD6E6}" srcOrd="0" destOrd="0" presId="urn:microsoft.com/office/officeart/2005/8/layout/orgChart1"/>
    <dgm:cxn modelId="{AF15C0A8-363A-4399-873E-B89561538D65}" type="presOf" srcId="{388E5E9C-8EC7-4067-B757-BE3C9900BA13}" destId="{0949D80A-7400-4A28-B70F-7B72AF6435F6}" srcOrd="0" destOrd="0" presId="urn:microsoft.com/office/officeart/2005/8/layout/orgChart1"/>
    <dgm:cxn modelId="{B55F10AD-6FF4-4616-A578-394648320D18}" type="presOf" srcId="{C6944755-19D1-4693-83C2-E047C76EF5E2}" destId="{43678087-422E-4621-913B-1CFE6582022D}" srcOrd="1" destOrd="0" presId="urn:microsoft.com/office/officeart/2005/8/layout/orgChart1"/>
    <dgm:cxn modelId="{F49D6DB0-06DD-4FAC-8114-78BCCB02BA0B}" type="presOf" srcId="{BAC2A9AC-B8CC-4D56-B144-D04953725E3F}" destId="{F72EB824-A2C9-460D-A952-FEF669E1EBC6}" srcOrd="0" destOrd="0" presId="urn:microsoft.com/office/officeart/2005/8/layout/orgChart1"/>
    <dgm:cxn modelId="{DBC7C5B1-A26E-46E0-9C38-3C5BBDCBB5B2}" type="presOf" srcId="{EEA1201B-FA1B-45AB-B0E9-0B3175AF9609}" destId="{CE7C7BB5-4148-4195-B25B-F6C7FADBB923}" srcOrd="0" destOrd="0" presId="urn:microsoft.com/office/officeart/2005/8/layout/orgChart1"/>
    <dgm:cxn modelId="{5D7C2EB2-C3CF-4EC1-BC0B-56B23DA1AFFD}" type="presOf" srcId="{611B3485-E4E2-4223-8729-A0F4E580F326}" destId="{19DBFCDA-15C5-4466-A910-E85C6E90430B}" srcOrd="1" destOrd="0" presId="urn:microsoft.com/office/officeart/2005/8/layout/orgChart1"/>
    <dgm:cxn modelId="{D2D407B3-7066-42FA-8905-F26626399592}" srcId="{81EDDC1B-37D7-43AC-94D0-9F5187CF71FE}" destId="{2385B612-39F0-4849-BA8D-C9E20D842717}" srcOrd="4" destOrd="0" parTransId="{BAC2A9AC-B8CC-4D56-B144-D04953725E3F}" sibTransId="{3DFEBC2F-2387-4E1A-B9EB-EB3A2B90F21F}"/>
    <dgm:cxn modelId="{766A9DB3-69C6-4EA6-B153-5175A7552095}" type="presOf" srcId="{BBA7A797-17FD-42A5-81C6-8E302CEDCC0C}" destId="{0C345AB6-B6B6-4E13-980F-CFFBF66DC217}" srcOrd="1" destOrd="0" presId="urn:microsoft.com/office/officeart/2005/8/layout/orgChart1"/>
    <dgm:cxn modelId="{D6C0A3B4-5A07-44C5-A15E-E533CCC22C42}" type="presOf" srcId="{2F89A8F6-E781-4076-8ACE-A664ACF1D069}" destId="{1B9E64F6-4788-46D9-A1F3-3087465CC3B7}" srcOrd="0" destOrd="0" presId="urn:microsoft.com/office/officeart/2005/8/layout/orgChart1"/>
    <dgm:cxn modelId="{53ED6CB5-1D55-4AFC-AF81-BC670252B489}" type="presOf" srcId="{76D27EB2-493B-44B2-87C9-167E1230ABF0}" destId="{92B40ACA-F0EB-4C30-B7B9-048451703E97}" srcOrd="0" destOrd="0" presId="urn:microsoft.com/office/officeart/2005/8/layout/orgChart1"/>
    <dgm:cxn modelId="{6657FCB9-9AFD-4CCE-A215-60D77263DDAD}" type="presOf" srcId="{2E95AAC9-0F70-4897-A9F2-C12731EF200A}" destId="{A9082878-298B-421B-B3FA-AF47BB330CB0}" srcOrd="0" destOrd="0" presId="urn:microsoft.com/office/officeart/2005/8/layout/orgChart1"/>
    <dgm:cxn modelId="{0AA95DBD-26BF-4258-B208-AC152AB143CF}" type="presOf" srcId="{3E6F1055-718C-4A7F-8C74-B7A12CC12CD7}" destId="{88F84AD4-9D9E-4E85-BA26-E748CD850AC0}" srcOrd="0" destOrd="0" presId="urn:microsoft.com/office/officeart/2005/8/layout/orgChart1"/>
    <dgm:cxn modelId="{7253BEBF-FFEC-4640-99D6-BC694559CAC8}" type="presOf" srcId="{AE6F1A96-AD51-455B-A2F4-B3C94C3665D0}" destId="{1DA926DF-7054-47E7-9D67-5EF8171100AF}" srcOrd="1" destOrd="0" presId="urn:microsoft.com/office/officeart/2005/8/layout/orgChart1"/>
    <dgm:cxn modelId="{255C97C1-4C8D-4E30-A95D-59882F7B637A}" srcId="{3607DAC6-834D-44C9-ACC4-4B7AED9376F4}" destId="{06868772-6E70-407A-96D4-75D7DE0A1B2C}" srcOrd="0" destOrd="0" parTransId="{1FE3CD6A-2446-4AAE-BA4C-17D60E7A69D9}" sibTransId="{005C60C7-0878-41A0-9569-F1E77CA9590B}"/>
    <dgm:cxn modelId="{DF3115C4-8553-4F07-BFE2-07F98F3EA6FF}" srcId="{BBA7A797-17FD-42A5-81C6-8E302CEDCC0C}" destId="{EEA1201B-FA1B-45AB-B0E9-0B3175AF9609}" srcOrd="0" destOrd="0" parTransId="{732370EB-1901-4129-AC0B-ACEC803E1741}" sibTransId="{CB562712-A9CE-4FD3-958A-4FADA0BE7835}"/>
    <dgm:cxn modelId="{57963AC6-D118-4110-82C0-2DC35CBE53E6}" type="presOf" srcId="{847B9672-CF3E-4C22-B1FA-9C278670BD61}" destId="{1F69FF51-A9F0-4D23-86A3-4E96A23F96AE}" srcOrd="0" destOrd="0" presId="urn:microsoft.com/office/officeart/2005/8/layout/orgChart1"/>
    <dgm:cxn modelId="{FED3BBCB-76A3-4D9C-B8AA-E56FAB0058AF}" type="presOf" srcId="{B7AEF867-8257-4CAC-AE9A-24348191F111}" destId="{3DEBDA55-F604-4803-A6C5-DA0C0C14C995}" srcOrd="1" destOrd="0" presId="urn:microsoft.com/office/officeart/2005/8/layout/orgChart1"/>
    <dgm:cxn modelId="{517AB6CC-2092-4DC0-AA6B-09B0DE862065}" srcId="{6533314C-AE55-4CB0-A768-A39C76B79F5F}" destId="{2D1495F3-51D6-49C4-A2C5-83079C1A153F}" srcOrd="1" destOrd="0" parTransId="{6A900F1D-7493-4714-90CA-BB660CFEBC46}" sibTransId="{CA1C543E-7295-4138-B0DD-DA8CFDC9241C}"/>
    <dgm:cxn modelId="{364963D0-10A9-40C3-A237-0A0B40E607D8}" type="presOf" srcId="{ACC39201-A835-4B5F-BB53-41146C472319}" destId="{7A91515D-87E2-44C4-A06B-B13572A54A70}" srcOrd="0" destOrd="0" presId="urn:microsoft.com/office/officeart/2005/8/layout/orgChart1"/>
    <dgm:cxn modelId="{1B5ACFD0-7F17-40A9-B2AF-38D3BC36A3E1}" type="presOf" srcId="{2D1495F3-51D6-49C4-A2C5-83079C1A153F}" destId="{3EABC786-1E50-4D58-93F8-A0F8D3252704}" srcOrd="1" destOrd="0" presId="urn:microsoft.com/office/officeart/2005/8/layout/orgChart1"/>
    <dgm:cxn modelId="{5D198FD2-D688-4E08-8AE2-02A8A8B720EC}" type="presOf" srcId="{06868772-6E70-407A-96D4-75D7DE0A1B2C}" destId="{233F3832-C5C7-441C-BB71-9D61DBAA5B8F}" srcOrd="0" destOrd="0" presId="urn:microsoft.com/office/officeart/2005/8/layout/orgChart1"/>
    <dgm:cxn modelId="{D2A554D3-1FF4-43B0-9DD9-C409B62CD775}" type="presOf" srcId="{AE6F1A96-AD51-455B-A2F4-B3C94C3665D0}" destId="{AED06B2E-E4B4-49B2-B134-01C1E613E987}" srcOrd="0" destOrd="0" presId="urn:microsoft.com/office/officeart/2005/8/layout/orgChart1"/>
    <dgm:cxn modelId="{D5C997D3-661E-4CC0-BD36-04FED971FE7E}" type="presOf" srcId="{30561DCE-4483-4C29-A6B7-CA8EA7A2066D}" destId="{53A58F63-6354-4328-896D-E76A5DF60A85}" srcOrd="1" destOrd="0" presId="urn:microsoft.com/office/officeart/2005/8/layout/orgChart1"/>
    <dgm:cxn modelId="{0F1FE7D9-81E9-4127-92AB-CA36624355CD}" type="presOf" srcId="{407DD28E-6BA0-44BE-8886-618368E40878}" destId="{90CD9DBD-BF5B-4E6E-B23B-B7EDD6EE1082}" srcOrd="0" destOrd="0" presId="urn:microsoft.com/office/officeart/2005/8/layout/orgChart1"/>
    <dgm:cxn modelId="{8C0842DB-03E3-4177-A198-735D8A2DA4AF}" srcId="{30561DCE-4483-4C29-A6B7-CA8EA7A2066D}" destId="{2F89A8F6-E781-4076-8ACE-A664ACF1D069}" srcOrd="4" destOrd="0" parTransId="{B2CDD310-DBE8-4D18-ABA4-57EE43183A44}" sibTransId="{EE9D55DF-02D0-43B5-BAE7-8711C4C9DB36}"/>
    <dgm:cxn modelId="{907ECBDC-DC34-4623-A100-E27F96412519}" type="presOf" srcId="{B7D48DB2-7160-413F-A3BA-5C1B58EBF57D}" destId="{63BCD4B7-F3DD-400D-B8B1-8475202E1876}" srcOrd="0" destOrd="0" presId="urn:microsoft.com/office/officeart/2005/8/layout/orgChart1"/>
    <dgm:cxn modelId="{646991DF-C853-4669-8E76-04970884312F}" type="presOf" srcId="{DCD10105-BAE8-469F-812B-8D2475C8E5A1}" destId="{744E3667-F558-44CA-B1B4-33D23BBBE072}" srcOrd="0" destOrd="0" presId="urn:microsoft.com/office/officeart/2005/8/layout/orgChart1"/>
    <dgm:cxn modelId="{25395CE5-3920-4D98-A9C2-63908FE9F9F1}" type="presOf" srcId="{06868772-6E70-407A-96D4-75D7DE0A1B2C}" destId="{C9C5FEC1-BA14-4065-8115-B2740826AFCF}" srcOrd="1" destOrd="0" presId="urn:microsoft.com/office/officeart/2005/8/layout/orgChart1"/>
    <dgm:cxn modelId="{4F8986E5-3050-4391-8554-A5D84AB8D7CC}" type="presOf" srcId="{2F89A8F6-E781-4076-8ACE-A664ACF1D069}" destId="{F9DA208C-8CF6-4754-856F-21A09C323A08}" srcOrd="1" destOrd="0" presId="urn:microsoft.com/office/officeart/2005/8/layout/orgChart1"/>
    <dgm:cxn modelId="{8A8D2AE8-CC7F-47AD-98A3-13688BB62DBC}" type="presOf" srcId="{F234A566-5B37-41F9-A9B1-7CF93E14A071}" destId="{3C76D54E-54B9-491E-8203-BDBCA465229F}" srcOrd="0" destOrd="0" presId="urn:microsoft.com/office/officeart/2005/8/layout/orgChart1"/>
    <dgm:cxn modelId="{E13A35E9-E088-4BFA-B1CF-B805CE0F027B}" type="presOf" srcId="{54D8E508-36D6-4404-ACA0-93EDFCCC11E4}" destId="{ECA7E318-B25D-4A51-9A71-8054479CF3BC}" srcOrd="1" destOrd="0" presId="urn:microsoft.com/office/officeart/2005/8/layout/orgChart1"/>
    <dgm:cxn modelId="{148EC8EA-1B40-4761-A424-F598A925AC69}" type="presOf" srcId="{611B3485-E4E2-4223-8729-A0F4E580F326}" destId="{B98AA889-9638-4D53-9CD3-F8061F87DEF1}" srcOrd="0" destOrd="0" presId="urn:microsoft.com/office/officeart/2005/8/layout/orgChart1"/>
    <dgm:cxn modelId="{DBA97AEB-EE4F-4771-8136-C85C1E03428A}" type="presOf" srcId="{388E5E9C-8EC7-4067-B757-BE3C9900BA13}" destId="{4D4974B4-7CF0-4C6B-B3C5-BF2D59BFBD36}" srcOrd="1" destOrd="0" presId="urn:microsoft.com/office/officeart/2005/8/layout/orgChart1"/>
    <dgm:cxn modelId="{1CA6F3EB-DB18-4C42-89FA-3CD3A221734A}" type="presOf" srcId="{2385B612-39F0-4849-BA8D-C9E20D842717}" destId="{D1A70BFE-CB64-40C3-8F58-28BACD3922D3}" srcOrd="1" destOrd="0" presId="urn:microsoft.com/office/officeart/2005/8/layout/orgChart1"/>
    <dgm:cxn modelId="{A2EFBCEE-E918-4568-855B-B1F07E85ADB4}" type="presOf" srcId="{122B9AC8-BF19-427D-B852-3A599DCE71B4}" destId="{1E0B8530-249E-427E-8211-D5F266C9D3EF}" srcOrd="0" destOrd="0" presId="urn:microsoft.com/office/officeart/2005/8/layout/orgChart1"/>
    <dgm:cxn modelId="{CBD7BFEE-BF7E-4264-A6BB-E9BE2157EFE2}" type="presOf" srcId="{EF66A6B2-B65B-42FA-8C56-676E9CE4694B}" destId="{F1EF672F-DBDC-4360-869C-88AD0FE2D04E}" srcOrd="1" destOrd="0" presId="urn:microsoft.com/office/officeart/2005/8/layout/orgChart1"/>
    <dgm:cxn modelId="{973426F2-B2D4-4E45-8C6D-9F92C42DD67B}" type="presOf" srcId="{090FBE0A-C6D0-49CD-9CBD-C182D9F4FC68}" destId="{4F331D9D-37DD-4F7A-AD72-ACD409DCF332}" srcOrd="1" destOrd="0" presId="urn:microsoft.com/office/officeart/2005/8/layout/orgChart1"/>
    <dgm:cxn modelId="{2FCC38F2-9453-4654-B1AE-4310BE0B2128}" srcId="{81EDDC1B-37D7-43AC-94D0-9F5187CF71FE}" destId="{54D8E508-36D6-4404-ACA0-93EDFCCC11E4}" srcOrd="3" destOrd="0" parTransId="{1B70AA04-EBFC-4AD0-91CA-930261875266}" sibTransId="{CA917C22-4587-4522-A0E1-09871F6FD246}"/>
    <dgm:cxn modelId="{D109BEF2-7156-4D46-B0A3-30EF6082DB32}" srcId="{30561DCE-4483-4C29-A6B7-CA8EA7A2066D}" destId="{6533314C-AE55-4CB0-A768-A39C76B79F5F}" srcOrd="3" destOrd="0" parTransId="{DCD10105-BAE8-469F-812B-8D2475C8E5A1}" sibTransId="{51B2126B-9CCF-4CC2-AEC8-0B625B2E6993}"/>
    <dgm:cxn modelId="{52819EF4-AFC7-4DAB-A498-AEC84348A66C}" type="presOf" srcId="{2BE6B601-79CA-4225-A64D-03CD3A410364}" destId="{670F6A45-4DD3-4609-A847-099006DCA29F}" srcOrd="0" destOrd="0" presId="urn:microsoft.com/office/officeart/2005/8/layout/orgChart1"/>
    <dgm:cxn modelId="{34C504FB-1585-4EC1-AD47-EA279E30F596}" type="presOf" srcId="{81EDDC1B-37D7-43AC-94D0-9F5187CF71FE}" destId="{CD8A256E-3043-410F-996A-810840FC5468}" srcOrd="0" destOrd="0" presId="urn:microsoft.com/office/officeart/2005/8/layout/orgChart1"/>
    <dgm:cxn modelId="{DBE158FE-92DD-4817-9C34-9A053A60570B}" type="presOf" srcId="{3607DAC6-834D-44C9-ACC4-4B7AED9376F4}" destId="{785E805D-25E9-4EEB-883D-4F1E1315FEA8}" srcOrd="1" destOrd="0" presId="urn:microsoft.com/office/officeart/2005/8/layout/orgChart1"/>
    <dgm:cxn modelId="{D18315FF-818D-4302-B64E-F21C7A41F8CB}" type="presOf" srcId="{BBA7A797-17FD-42A5-81C6-8E302CEDCC0C}" destId="{A88671D5-4A52-46AA-90B8-0756A808B488}" srcOrd="0" destOrd="0" presId="urn:microsoft.com/office/officeart/2005/8/layout/orgChart1"/>
    <dgm:cxn modelId="{FEAAFBFF-D520-4CD0-97CA-ACA8868E8524}" srcId="{B7A395A7-BF34-4578-BF1C-E0F06ACA1435}" destId="{30561DCE-4483-4C29-A6B7-CA8EA7A2066D}" srcOrd="0" destOrd="0" parTransId="{049D136C-1F98-4FE8-85CA-3E1AC1985599}" sibTransId="{43995639-9A0D-4A13-9E35-89D65E6B7212}"/>
    <dgm:cxn modelId="{E2753623-C24D-4F0E-A9A1-0BA16033708E}" type="presParOf" srcId="{50000482-5E16-4BF9-996F-8E18B2ED4CFC}" destId="{9516898B-0066-4DE7-A845-E3A751760AED}" srcOrd="0" destOrd="0" presId="urn:microsoft.com/office/officeart/2005/8/layout/orgChart1"/>
    <dgm:cxn modelId="{84EB4CEE-AB25-4F32-A266-E53D9E98CE08}" type="presParOf" srcId="{9516898B-0066-4DE7-A845-E3A751760AED}" destId="{68AB4B6C-EEFA-4CD2-96F6-32C4CA2DFEF2}" srcOrd="0" destOrd="0" presId="urn:microsoft.com/office/officeart/2005/8/layout/orgChart1"/>
    <dgm:cxn modelId="{8C8CAC26-56C6-47E6-B22F-3192496F085C}" type="presParOf" srcId="{68AB4B6C-EEFA-4CD2-96F6-32C4CA2DFEF2}" destId="{3E49E272-47CF-48A8-B560-ED8C2F5C58BD}" srcOrd="0" destOrd="0" presId="urn:microsoft.com/office/officeart/2005/8/layout/orgChart1"/>
    <dgm:cxn modelId="{BD0BBC64-E5F6-47C8-86C5-D1CF4E72C367}" type="presParOf" srcId="{68AB4B6C-EEFA-4CD2-96F6-32C4CA2DFEF2}" destId="{53A58F63-6354-4328-896D-E76A5DF60A85}" srcOrd="1" destOrd="0" presId="urn:microsoft.com/office/officeart/2005/8/layout/orgChart1"/>
    <dgm:cxn modelId="{BCB1AF59-2406-42D6-9B74-CDF27278FCD5}" type="presParOf" srcId="{9516898B-0066-4DE7-A845-E3A751760AED}" destId="{B9A1A9A4-1DC0-4CC2-B8AE-82DCC8F31D20}" srcOrd="1" destOrd="0" presId="urn:microsoft.com/office/officeart/2005/8/layout/orgChart1"/>
    <dgm:cxn modelId="{98BCFED0-00B0-467B-A06C-E39362AD3069}" type="presParOf" srcId="{B9A1A9A4-1DC0-4CC2-B8AE-82DCC8F31D20}" destId="{1E0B8530-249E-427E-8211-D5F266C9D3EF}" srcOrd="0" destOrd="0" presId="urn:microsoft.com/office/officeart/2005/8/layout/orgChart1"/>
    <dgm:cxn modelId="{F9E8D92C-75FA-4EB7-997C-13FE32AE80F3}" type="presParOf" srcId="{B9A1A9A4-1DC0-4CC2-B8AE-82DCC8F31D20}" destId="{C76135CA-6863-4C5B-8E80-3A8851C08F57}" srcOrd="1" destOrd="0" presId="urn:microsoft.com/office/officeart/2005/8/layout/orgChart1"/>
    <dgm:cxn modelId="{80CBE198-9ACF-4BDC-96C8-962DECD14EE0}" type="presParOf" srcId="{C76135CA-6863-4C5B-8E80-3A8851C08F57}" destId="{32CCBA1D-F215-41B0-900E-385C012DDD54}" srcOrd="0" destOrd="0" presId="urn:microsoft.com/office/officeart/2005/8/layout/orgChart1"/>
    <dgm:cxn modelId="{5BBA64C8-7C8E-4797-B0A9-D4931FB5DDDE}" type="presParOf" srcId="{32CCBA1D-F215-41B0-900E-385C012DDD54}" destId="{88015159-1937-4E7C-AFF9-99290C8B1F71}" srcOrd="0" destOrd="0" presId="urn:microsoft.com/office/officeart/2005/8/layout/orgChart1"/>
    <dgm:cxn modelId="{0650440B-B0AD-4363-8FFE-7E304BF87998}" type="presParOf" srcId="{32CCBA1D-F215-41B0-900E-385C012DDD54}" destId="{F1EF672F-DBDC-4360-869C-88AD0FE2D04E}" srcOrd="1" destOrd="0" presId="urn:microsoft.com/office/officeart/2005/8/layout/orgChart1"/>
    <dgm:cxn modelId="{0612AA11-B734-4931-86C2-856E186342FE}" type="presParOf" srcId="{C76135CA-6863-4C5B-8E80-3A8851C08F57}" destId="{2E3BD170-9CD2-4F94-8B2A-9DD95EAF5BF5}" srcOrd="1" destOrd="0" presId="urn:microsoft.com/office/officeart/2005/8/layout/orgChart1"/>
    <dgm:cxn modelId="{E31618D0-6CFC-4183-81BD-E59E76F8F191}" type="presParOf" srcId="{2E3BD170-9CD2-4F94-8B2A-9DD95EAF5BF5}" destId="{90CD9DBD-BF5B-4E6E-B23B-B7EDD6EE1082}" srcOrd="0" destOrd="0" presId="urn:microsoft.com/office/officeart/2005/8/layout/orgChart1"/>
    <dgm:cxn modelId="{7D46321B-0375-4CB8-89B2-7E7839828AB1}" type="presParOf" srcId="{2E3BD170-9CD2-4F94-8B2A-9DD95EAF5BF5}" destId="{21AB867D-5FB8-4C95-99F3-59293AC21760}" srcOrd="1" destOrd="0" presId="urn:microsoft.com/office/officeart/2005/8/layout/orgChart1"/>
    <dgm:cxn modelId="{AC73AC21-2560-4099-AC61-8E13C9F81B5D}" type="presParOf" srcId="{21AB867D-5FB8-4C95-99F3-59293AC21760}" destId="{35F2E224-E68E-4913-A27B-34D0AD6D3F93}" srcOrd="0" destOrd="0" presId="urn:microsoft.com/office/officeart/2005/8/layout/orgChart1"/>
    <dgm:cxn modelId="{77293887-F9A7-4B3F-B0ED-6F03255CB6ED}" type="presParOf" srcId="{35F2E224-E68E-4913-A27B-34D0AD6D3F93}" destId="{992B9392-4AFB-4036-9D40-50EAC128E85B}" srcOrd="0" destOrd="0" presId="urn:microsoft.com/office/officeart/2005/8/layout/orgChart1"/>
    <dgm:cxn modelId="{B6F8EE23-9C73-484E-99F2-9BC4BCBFC626}" type="presParOf" srcId="{35F2E224-E68E-4913-A27B-34D0AD6D3F93}" destId="{89318645-C0F0-4F8A-9BB7-2027B24C9D2C}" srcOrd="1" destOrd="0" presId="urn:microsoft.com/office/officeart/2005/8/layout/orgChart1"/>
    <dgm:cxn modelId="{9734F3E6-21BC-4E31-B396-C4EDD3AEB67A}" type="presParOf" srcId="{21AB867D-5FB8-4C95-99F3-59293AC21760}" destId="{A4F35E8B-2E5B-459D-BE11-3946E4F62EF8}" srcOrd="1" destOrd="0" presId="urn:microsoft.com/office/officeart/2005/8/layout/orgChart1"/>
    <dgm:cxn modelId="{5FF682DF-9EBF-4E31-8A4F-525545AB5719}" type="presParOf" srcId="{21AB867D-5FB8-4C95-99F3-59293AC21760}" destId="{1D6BC80D-FBFC-4A76-981B-F1E28E34495D}" srcOrd="2" destOrd="0" presId="urn:microsoft.com/office/officeart/2005/8/layout/orgChart1"/>
    <dgm:cxn modelId="{9D1343CB-AB0C-4152-9A09-567FD44B186C}" type="presParOf" srcId="{2E3BD170-9CD2-4F94-8B2A-9DD95EAF5BF5}" destId="{B36AB756-9EED-4704-B375-19E8D65474A5}" srcOrd="2" destOrd="0" presId="urn:microsoft.com/office/officeart/2005/8/layout/orgChart1"/>
    <dgm:cxn modelId="{E75DCA04-0B74-4B07-8756-6294027FFF85}" type="presParOf" srcId="{2E3BD170-9CD2-4F94-8B2A-9DD95EAF5BF5}" destId="{C0CF374A-4269-4CB0-97BE-38E639E88939}" srcOrd="3" destOrd="0" presId="urn:microsoft.com/office/officeart/2005/8/layout/orgChart1"/>
    <dgm:cxn modelId="{04ADF3D7-1943-4B34-B64E-162DD702AF53}" type="presParOf" srcId="{C0CF374A-4269-4CB0-97BE-38E639E88939}" destId="{087C3DD0-79AE-4F7F-ACD2-1B4032899E21}" srcOrd="0" destOrd="0" presId="urn:microsoft.com/office/officeart/2005/8/layout/orgChart1"/>
    <dgm:cxn modelId="{CE2D4361-F8A0-44BB-8C79-9043F39C09DB}" type="presParOf" srcId="{087C3DD0-79AE-4F7F-ACD2-1B4032899E21}" destId="{44962AFD-95AC-40DD-9548-DE79A8CA3083}" srcOrd="0" destOrd="0" presId="urn:microsoft.com/office/officeart/2005/8/layout/orgChart1"/>
    <dgm:cxn modelId="{4DBD65D2-FB1A-46C6-831E-96B1832E4BF5}" type="presParOf" srcId="{087C3DD0-79AE-4F7F-ACD2-1B4032899E21}" destId="{5826B9FD-7D34-4A91-9629-ABAE50A2B261}" srcOrd="1" destOrd="0" presId="urn:microsoft.com/office/officeart/2005/8/layout/orgChart1"/>
    <dgm:cxn modelId="{E0A283B1-F17F-4703-A79A-AE641214B642}" type="presParOf" srcId="{C0CF374A-4269-4CB0-97BE-38E639E88939}" destId="{82E70B62-2C08-4046-9700-A04761BE65C8}" srcOrd="1" destOrd="0" presId="urn:microsoft.com/office/officeart/2005/8/layout/orgChart1"/>
    <dgm:cxn modelId="{6D079689-6301-4938-A9DB-B197A5389D57}" type="presParOf" srcId="{82E70B62-2C08-4046-9700-A04761BE65C8}" destId="{A9082878-298B-421B-B3FA-AF47BB330CB0}" srcOrd="0" destOrd="0" presId="urn:microsoft.com/office/officeart/2005/8/layout/orgChart1"/>
    <dgm:cxn modelId="{97AF147E-6ADA-42A4-AC0A-DA272A886AEF}" type="presParOf" srcId="{82E70B62-2C08-4046-9700-A04761BE65C8}" destId="{C0684870-62D8-4F78-AB81-245604B5D840}" srcOrd="1" destOrd="0" presId="urn:microsoft.com/office/officeart/2005/8/layout/orgChart1"/>
    <dgm:cxn modelId="{0FAF443F-3636-4154-AA3C-E81036AA14D4}" type="presParOf" srcId="{C0684870-62D8-4F78-AB81-245604B5D840}" destId="{DD047E4F-BBD7-43E9-A509-E90761990D41}" srcOrd="0" destOrd="0" presId="urn:microsoft.com/office/officeart/2005/8/layout/orgChart1"/>
    <dgm:cxn modelId="{C2010B89-9B49-4B09-879C-41F197F11F3D}" type="presParOf" srcId="{DD047E4F-BBD7-43E9-A509-E90761990D41}" destId="{B98AA889-9638-4D53-9CD3-F8061F87DEF1}" srcOrd="0" destOrd="0" presId="urn:microsoft.com/office/officeart/2005/8/layout/orgChart1"/>
    <dgm:cxn modelId="{8710C406-8961-41E3-B02F-10759A3BD354}" type="presParOf" srcId="{DD047E4F-BBD7-43E9-A509-E90761990D41}" destId="{19DBFCDA-15C5-4466-A910-E85C6E90430B}" srcOrd="1" destOrd="0" presId="urn:microsoft.com/office/officeart/2005/8/layout/orgChart1"/>
    <dgm:cxn modelId="{58B4BF3E-4B23-4200-AB5E-2F5BB87E16EF}" type="presParOf" srcId="{C0684870-62D8-4F78-AB81-245604B5D840}" destId="{5B86ABB5-BCF4-4206-B3DF-377D941C45AE}" srcOrd="1" destOrd="0" presId="urn:microsoft.com/office/officeart/2005/8/layout/orgChart1"/>
    <dgm:cxn modelId="{85C4678B-78F7-4684-B78A-917ACDD532DF}" type="presParOf" srcId="{C0684870-62D8-4F78-AB81-245604B5D840}" destId="{C381AB8D-64F1-4217-ACB7-4FCB85035629}" srcOrd="2" destOrd="0" presId="urn:microsoft.com/office/officeart/2005/8/layout/orgChart1"/>
    <dgm:cxn modelId="{F636E9F5-F121-441A-A13D-3039A9B0D6CF}" type="presParOf" srcId="{82E70B62-2C08-4046-9700-A04761BE65C8}" destId="{45CBE3E7-A0C7-4178-8054-C7FF523AD8D1}" srcOrd="2" destOrd="0" presId="urn:microsoft.com/office/officeart/2005/8/layout/orgChart1"/>
    <dgm:cxn modelId="{0A6E7EE7-7E18-41E2-9B1B-2E98EDC9DED0}" type="presParOf" srcId="{82E70B62-2C08-4046-9700-A04761BE65C8}" destId="{F0F05650-A5F1-49A2-8255-9B9398C36B96}" srcOrd="3" destOrd="0" presId="urn:microsoft.com/office/officeart/2005/8/layout/orgChart1"/>
    <dgm:cxn modelId="{B2209074-D17D-455A-8BBB-D154ED4C8F11}" type="presParOf" srcId="{F0F05650-A5F1-49A2-8255-9B9398C36B96}" destId="{A5B96A2C-77E2-4F6D-B9B6-D791B4AD2584}" srcOrd="0" destOrd="0" presId="urn:microsoft.com/office/officeart/2005/8/layout/orgChart1"/>
    <dgm:cxn modelId="{20FD3706-3B8E-48E0-91B7-1EF0CEC64F3B}" type="presParOf" srcId="{A5B96A2C-77E2-4F6D-B9B6-D791B4AD2584}" destId="{7A91515D-87E2-44C4-A06B-B13572A54A70}" srcOrd="0" destOrd="0" presId="urn:microsoft.com/office/officeart/2005/8/layout/orgChart1"/>
    <dgm:cxn modelId="{6A5A7E80-7A9D-4CE1-9BB8-29C179DBF340}" type="presParOf" srcId="{A5B96A2C-77E2-4F6D-B9B6-D791B4AD2584}" destId="{DEEDC21F-025D-4FA6-A665-59B15EE787D9}" srcOrd="1" destOrd="0" presId="urn:microsoft.com/office/officeart/2005/8/layout/orgChart1"/>
    <dgm:cxn modelId="{F9D19CA0-CC9A-4850-9D9C-24483029CDE1}" type="presParOf" srcId="{F0F05650-A5F1-49A2-8255-9B9398C36B96}" destId="{BE06C965-1ADD-4B51-A9E1-5A8A9486CAE3}" srcOrd="1" destOrd="0" presId="urn:microsoft.com/office/officeart/2005/8/layout/orgChart1"/>
    <dgm:cxn modelId="{1A7F235C-B159-4076-A642-426D44412C14}" type="presParOf" srcId="{F0F05650-A5F1-49A2-8255-9B9398C36B96}" destId="{5D5A949C-41B5-4F39-8C27-A70C9F8B40EE}" srcOrd="2" destOrd="0" presId="urn:microsoft.com/office/officeart/2005/8/layout/orgChart1"/>
    <dgm:cxn modelId="{1E234E03-DAB6-4C96-957E-5D523C034536}" type="presParOf" srcId="{C0CF374A-4269-4CB0-97BE-38E639E88939}" destId="{021F434C-87AC-4134-B1AE-5B55D184E793}" srcOrd="2" destOrd="0" presId="urn:microsoft.com/office/officeart/2005/8/layout/orgChart1"/>
    <dgm:cxn modelId="{5BE8CF3A-A1EB-4803-B00A-2D2D0AF0CD81}" type="presParOf" srcId="{C76135CA-6863-4C5B-8E80-3A8851C08F57}" destId="{FC028365-A9A0-4CF5-8C07-1B3BAB9FB817}" srcOrd="2" destOrd="0" presId="urn:microsoft.com/office/officeart/2005/8/layout/orgChart1"/>
    <dgm:cxn modelId="{B4D14882-C381-4031-8DF4-2901C15085AF}" type="presParOf" srcId="{B9A1A9A4-1DC0-4CC2-B8AE-82DCC8F31D20}" destId="{B8829CE3-BE12-4D47-B753-FE05C42FD6E6}" srcOrd="2" destOrd="0" presId="urn:microsoft.com/office/officeart/2005/8/layout/orgChart1"/>
    <dgm:cxn modelId="{8D9E2580-29A4-4F35-B79D-C0E28DF93EB7}" type="presParOf" srcId="{B9A1A9A4-1DC0-4CC2-B8AE-82DCC8F31D20}" destId="{E6A19FCE-6835-47E6-BA13-E164DDE5921A}" srcOrd="3" destOrd="0" presId="urn:microsoft.com/office/officeart/2005/8/layout/orgChart1"/>
    <dgm:cxn modelId="{F14DDAE2-C6D8-4EEC-93A6-E7FA57663C42}" type="presParOf" srcId="{E6A19FCE-6835-47E6-BA13-E164DDE5921A}" destId="{872ED379-AEDB-42F0-9C1E-54CBFCA92014}" srcOrd="0" destOrd="0" presId="urn:microsoft.com/office/officeart/2005/8/layout/orgChart1"/>
    <dgm:cxn modelId="{AE8CF8E5-F157-48BB-BFC7-1A48BAD3FE25}" type="presParOf" srcId="{872ED379-AEDB-42F0-9C1E-54CBFCA92014}" destId="{1AF91A6E-70E4-43B4-AA47-7684C21C35CB}" srcOrd="0" destOrd="0" presId="urn:microsoft.com/office/officeart/2005/8/layout/orgChart1"/>
    <dgm:cxn modelId="{A01DDE16-070A-47C6-B010-6550A5E50D2D}" type="presParOf" srcId="{872ED379-AEDB-42F0-9C1E-54CBFCA92014}" destId="{43678087-422E-4621-913B-1CFE6582022D}" srcOrd="1" destOrd="0" presId="urn:microsoft.com/office/officeart/2005/8/layout/orgChart1"/>
    <dgm:cxn modelId="{C124C4D7-8FD1-4F19-B05D-3FA0AB09FD1C}" type="presParOf" srcId="{E6A19FCE-6835-47E6-BA13-E164DDE5921A}" destId="{553B4E55-4ACE-4CB6-802C-7609F27B9114}" srcOrd="1" destOrd="0" presId="urn:microsoft.com/office/officeart/2005/8/layout/orgChart1"/>
    <dgm:cxn modelId="{E01FC48C-C18D-46A9-8033-FB7AA73C5118}" type="presParOf" srcId="{E6A19FCE-6835-47E6-BA13-E164DDE5921A}" destId="{C3236429-4788-410D-B1CF-3E7BCAC45306}" srcOrd="2" destOrd="0" presId="urn:microsoft.com/office/officeart/2005/8/layout/orgChart1"/>
    <dgm:cxn modelId="{B2698D34-DD6D-4C65-9E40-7DC8BE0BCC22}" type="presParOf" srcId="{B9A1A9A4-1DC0-4CC2-B8AE-82DCC8F31D20}" destId="{1F69FF51-A9F0-4D23-86A3-4E96A23F96AE}" srcOrd="4" destOrd="0" presId="urn:microsoft.com/office/officeart/2005/8/layout/orgChart1"/>
    <dgm:cxn modelId="{DC36529E-3DEA-4658-A8FF-D41861559633}" type="presParOf" srcId="{B9A1A9A4-1DC0-4CC2-B8AE-82DCC8F31D20}" destId="{E0BE3CB2-4952-4BAC-902C-DB187CCC9BD5}" srcOrd="5" destOrd="0" presId="urn:microsoft.com/office/officeart/2005/8/layout/orgChart1"/>
    <dgm:cxn modelId="{A43F8C3E-5733-429D-8FA2-101DE5773B86}" type="presParOf" srcId="{E0BE3CB2-4952-4BAC-902C-DB187CCC9BD5}" destId="{C9D781EA-0F55-4DE9-BC81-191E469CA6DD}" srcOrd="0" destOrd="0" presId="urn:microsoft.com/office/officeart/2005/8/layout/orgChart1"/>
    <dgm:cxn modelId="{D0DEBDE9-89C9-4442-A2F5-75E2D77FE363}" type="presParOf" srcId="{C9D781EA-0F55-4DE9-BC81-191E469CA6DD}" destId="{3B164E60-29F4-4482-AB55-1513B855163A}" srcOrd="0" destOrd="0" presId="urn:microsoft.com/office/officeart/2005/8/layout/orgChart1"/>
    <dgm:cxn modelId="{8DC92426-D3DE-4163-AEE6-DF6D415350C6}" type="presParOf" srcId="{C9D781EA-0F55-4DE9-BC81-191E469CA6DD}" destId="{8AFC0432-D13D-41D2-A1AB-5342AD095CF0}" srcOrd="1" destOrd="0" presId="urn:microsoft.com/office/officeart/2005/8/layout/orgChart1"/>
    <dgm:cxn modelId="{A76D7616-CDD3-4C53-A5C5-561F320ACD1A}" type="presParOf" srcId="{E0BE3CB2-4952-4BAC-902C-DB187CCC9BD5}" destId="{BCDD885F-589D-4262-BF3B-AA4D7C741213}" srcOrd="1" destOrd="0" presId="urn:microsoft.com/office/officeart/2005/8/layout/orgChart1"/>
    <dgm:cxn modelId="{F5F148BB-8FCA-4521-8A28-63CEAC9AD010}" type="presParOf" srcId="{BCDD885F-589D-4262-BF3B-AA4D7C741213}" destId="{AB94D3E3-F39D-4CA1-A613-43B11302DF88}" srcOrd="0" destOrd="0" presId="urn:microsoft.com/office/officeart/2005/8/layout/orgChart1"/>
    <dgm:cxn modelId="{9538FFF4-661E-4AE9-A55A-F4C1BC090F0B}" type="presParOf" srcId="{BCDD885F-589D-4262-BF3B-AA4D7C741213}" destId="{B0083ADB-3B53-475B-B34A-3E32CF407CD3}" srcOrd="1" destOrd="0" presId="urn:microsoft.com/office/officeart/2005/8/layout/orgChart1"/>
    <dgm:cxn modelId="{64C627F1-11F6-4F44-B327-8351ADE81407}" type="presParOf" srcId="{B0083ADB-3B53-475B-B34A-3E32CF407CD3}" destId="{CE19C4B5-D291-4327-AC5A-D7DB2FCDA414}" srcOrd="0" destOrd="0" presId="urn:microsoft.com/office/officeart/2005/8/layout/orgChart1"/>
    <dgm:cxn modelId="{FBA7AF55-3B69-40A0-9DE3-E5F95E94109D}" type="presParOf" srcId="{CE19C4B5-D291-4327-AC5A-D7DB2FCDA414}" destId="{91CBDC6D-DCFB-4272-B057-4FEDEE1F3EF6}" srcOrd="0" destOrd="0" presId="urn:microsoft.com/office/officeart/2005/8/layout/orgChart1"/>
    <dgm:cxn modelId="{09EFD0B5-436B-4BED-BAB5-C3995B0B8211}" type="presParOf" srcId="{CE19C4B5-D291-4327-AC5A-D7DB2FCDA414}" destId="{785E805D-25E9-4EEB-883D-4F1E1315FEA8}" srcOrd="1" destOrd="0" presId="urn:microsoft.com/office/officeart/2005/8/layout/orgChart1"/>
    <dgm:cxn modelId="{B0B85BF2-0A5B-4192-ACCD-8CB6183A7A1B}" type="presParOf" srcId="{B0083ADB-3B53-475B-B34A-3E32CF407CD3}" destId="{90CEF00F-28B9-42A8-8F96-0D38D7430928}" srcOrd="1" destOrd="0" presId="urn:microsoft.com/office/officeart/2005/8/layout/orgChart1"/>
    <dgm:cxn modelId="{E0E0DD18-5770-428B-ADE2-610C0C48A5BC}" type="presParOf" srcId="{90CEF00F-28B9-42A8-8F96-0D38D7430928}" destId="{2C2ACEE9-82EB-47FB-BBF1-7FEC27B61108}" srcOrd="0" destOrd="0" presId="urn:microsoft.com/office/officeart/2005/8/layout/orgChart1"/>
    <dgm:cxn modelId="{E43B9704-774B-4BD1-8F2A-FA6BA084A469}" type="presParOf" srcId="{90CEF00F-28B9-42A8-8F96-0D38D7430928}" destId="{EE00D229-F37F-4470-B2AF-41E15522346F}" srcOrd="1" destOrd="0" presId="urn:microsoft.com/office/officeart/2005/8/layout/orgChart1"/>
    <dgm:cxn modelId="{E1DBA06F-3487-4FE9-B578-A5279B93FD0B}" type="presParOf" srcId="{EE00D229-F37F-4470-B2AF-41E15522346F}" destId="{43CEFD81-5357-4747-AE13-6FDBC6CB17AD}" srcOrd="0" destOrd="0" presId="urn:microsoft.com/office/officeart/2005/8/layout/orgChart1"/>
    <dgm:cxn modelId="{CD53ACEA-E7E6-4053-83BE-4043DA7204D9}" type="presParOf" srcId="{43CEFD81-5357-4747-AE13-6FDBC6CB17AD}" destId="{233F3832-C5C7-441C-BB71-9D61DBAA5B8F}" srcOrd="0" destOrd="0" presId="urn:microsoft.com/office/officeart/2005/8/layout/orgChart1"/>
    <dgm:cxn modelId="{6A2AE7AC-1A12-4CDA-9A2D-AD76442466A3}" type="presParOf" srcId="{43CEFD81-5357-4747-AE13-6FDBC6CB17AD}" destId="{C9C5FEC1-BA14-4065-8115-B2740826AFCF}" srcOrd="1" destOrd="0" presId="urn:microsoft.com/office/officeart/2005/8/layout/orgChart1"/>
    <dgm:cxn modelId="{0861922F-8A97-409F-B5FC-A13199D23276}" type="presParOf" srcId="{EE00D229-F37F-4470-B2AF-41E15522346F}" destId="{7007BB53-3855-4781-A1E5-1E5B885A42D4}" srcOrd="1" destOrd="0" presId="urn:microsoft.com/office/officeart/2005/8/layout/orgChart1"/>
    <dgm:cxn modelId="{E08EDF4D-FA47-4E99-AAF3-9D0E5DA827BE}" type="presParOf" srcId="{EE00D229-F37F-4470-B2AF-41E15522346F}" destId="{6402BBE1-06FD-4628-BD19-84250463FEFB}" srcOrd="2" destOrd="0" presId="urn:microsoft.com/office/officeart/2005/8/layout/orgChart1"/>
    <dgm:cxn modelId="{8EA520E0-E0ED-44F0-BC9A-762B3A34B91F}" type="presParOf" srcId="{90CEF00F-28B9-42A8-8F96-0D38D7430928}" destId="{7BB09A42-3D5E-4BDD-95B3-11FBB974BEDB}" srcOrd="2" destOrd="0" presId="urn:microsoft.com/office/officeart/2005/8/layout/orgChart1"/>
    <dgm:cxn modelId="{917E3AD0-EC6F-41B0-9737-A8583E14CC2F}" type="presParOf" srcId="{90CEF00F-28B9-42A8-8F96-0D38D7430928}" destId="{30F88368-63D6-4FFB-BC64-83D738E215D8}" srcOrd="3" destOrd="0" presId="urn:microsoft.com/office/officeart/2005/8/layout/orgChart1"/>
    <dgm:cxn modelId="{D9310160-8D53-4597-84E3-61C14A6AEC9F}" type="presParOf" srcId="{30F88368-63D6-4FFB-BC64-83D738E215D8}" destId="{3FBE5589-CA75-420E-B75F-1ABC8A47A29E}" srcOrd="0" destOrd="0" presId="urn:microsoft.com/office/officeart/2005/8/layout/orgChart1"/>
    <dgm:cxn modelId="{C68F9891-C0C1-4274-BC95-A908B4B9216B}" type="presParOf" srcId="{3FBE5589-CA75-420E-B75F-1ABC8A47A29E}" destId="{EC31DD45-2DA2-4E99-979E-9F9F0E031A2E}" srcOrd="0" destOrd="0" presId="urn:microsoft.com/office/officeart/2005/8/layout/orgChart1"/>
    <dgm:cxn modelId="{3D2CB747-C045-430C-9D82-B8574C418069}" type="presParOf" srcId="{3FBE5589-CA75-420E-B75F-1ABC8A47A29E}" destId="{26763BF6-7471-4A18-9CC5-0B7C32241A7F}" srcOrd="1" destOrd="0" presId="urn:microsoft.com/office/officeart/2005/8/layout/orgChart1"/>
    <dgm:cxn modelId="{13C054FC-7A05-4497-B593-27D3E294567B}" type="presParOf" srcId="{30F88368-63D6-4FFB-BC64-83D738E215D8}" destId="{7D5514F2-D68F-41ED-AE37-C870EADBC432}" srcOrd="1" destOrd="0" presId="urn:microsoft.com/office/officeart/2005/8/layout/orgChart1"/>
    <dgm:cxn modelId="{93FC9D14-691D-4E0E-9897-45B596C364B1}" type="presParOf" srcId="{30F88368-63D6-4FFB-BC64-83D738E215D8}" destId="{ACDFAF46-A8CB-47A9-BB0E-0A71EBCF347A}" srcOrd="2" destOrd="0" presId="urn:microsoft.com/office/officeart/2005/8/layout/orgChart1"/>
    <dgm:cxn modelId="{F4F9C32A-A3A6-4F8F-927E-3F6375DB4075}" type="presParOf" srcId="{90CEF00F-28B9-42A8-8F96-0D38D7430928}" destId="{52016480-FD30-4858-84BB-924D5B73332F}" srcOrd="4" destOrd="0" presId="urn:microsoft.com/office/officeart/2005/8/layout/orgChart1"/>
    <dgm:cxn modelId="{484D94B7-7CEC-4174-A870-563CD6A2AFC0}" type="presParOf" srcId="{90CEF00F-28B9-42A8-8F96-0D38D7430928}" destId="{091FBC1A-126E-4F67-AB2E-46C09957E092}" srcOrd="5" destOrd="0" presId="urn:microsoft.com/office/officeart/2005/8/layout/orgChart1"/>
    <dgm:cxn modelId="{14C22D91-5742-4EE6-8343-78AFDE923D33}" type="presParOf" srcId="{091FBC1A-126E-4F67-AB2E-46C09957E092}" destId="{191877AD-E0A1-4C8E-972C-8D84C87FD661}" srcOrd="0" destOrd="0" presId="urn:microsoft.com/office/officeart/2005/8/layout/orgChart1"/>
    <dgm:cxn modelId="{28EBDE16-CB94-4F62-BDB3-DF0D91A044B9}" type="presParOf" srcId="{191877AD-E0A1-4C8E-972C-8D84C87FD661}" destId="{AED06B2E-E4B4-49B2-B134-01C1E613E987}" srcOrd="0" destOrd="0" presId="urn:microsoft.com/office/officeart/2005/8/layout/orgChart1"/>
    <dgm:cxn modelId="{60F82D7C-C81D-442F-B863-DFFF67C78BDA}" type="presParOf" srcId="{191877AD-E0A1-4C8E-972C-8D84C87FD661}" destId="{1DA926DF-7054-47E7-9D67-5EF8171100AF}" srcOrd="1" destOrd="0" presId="urn:microsoft.com/office/officeart/2005/8/layout/orgChart1"/>
    <dgm:cxn modelId="{BD318149-EE78-4449-AB4C-C132F15C39E2}" type="presParOf" srcId="{091FBC1A-126E-4F67-AB2E-46C09957E092}" destId="{F98F18E0-12E7-4933-9E45-28AC27E74E3B}" srcOrd="1" destOrd="0" presId="urn:microsoft.com/office/officeart/2005/8/layout/orgChart1"/>
    <dgm:cxn modelId="{0B0C130C-C591-4F43-BEC3-F0A689F98D45}" type="presParOf" srcId="{091FBC1A-126E-4F67-AB2E-46C09957E092}" destId="{EDFA9446-E94F-430B-8706-8C09CD9B5149}" srcOrd="2" destOrd="0" presId="urn:microsoft.com/office/officeart/2005/8/layout/orgChart1"/>
    <dgm:cxn modelId="{5E33F7B4-0930-4244-BCD7-C67643369F7B}" type="presParOf" srcId="{B0083ADB-3B53-475B-B34A-3E32CF407CD3}" destId="{75265016-95E0-45B2-B7EE-27B44E46AC30}" srcOrd="2" destOrd="0" presId="urn:microsoft.com/office/officeart/2005/8/layout/orgChart1"/>
    <dgm:cxn modelId="{BEF66A6E-FB26-4D6D-80B2-05F48085AF0D}" type="presParOf" srcId="{BCDD885F-589D-4262-BF3B-AA4D7C741213}" destId="{92B40ACA-F0EB-4C30-B7B9-048451703E97}" srcOrd="2" destOrd="0" presId="urn:microsoft.com/office/officeart/2005/8/layout/orgChart1"/>
    <dgm:cxn modelId="{4327758B-9785-4184-8DE0-96869FC79AAC}" type="presParOf" srcId="{BCDD885F-589D-4262-BF3B-AA4D7C741213}" destId="{050E343D-471F-485E-908E-FDF057F7BE2B}" srcOrd="3" destOrd="0" presId="urn:microsoft.com/office/officeart/2005/8/layout/orgChart1"/>
    <dgm:cxn modelId="{F838816C-198B-4437-89E4-78DAABF99873}" type="presParOf" srcId="{050E343D-471F-485E-908E-FDF057F7BE2B}" destId="{980D989B-545E-483D-8200-343A8D0999DA}" srcOrd="0" destOrd="0" presId="urn:microsoft.com/office/officeart/2005/8/layout/orgChart1"/>
    <dgm:cxn modelId="{09D9187C-3081-4437-8DAF-B17E7874CB4B}" type="presParOf" srcId="{980D989B-545E-483D-8200-343A8D0999DA}" destId="{CD8A256E-3043-410F-996A-810840FC5468}" srcOrd="0" destOrd="0" presId="urn:microsoft.com/office/officeart/2005/8/layout/orgChart1"/>
    <dgm:cxn modelId="{15691AB6-C8B6-4494-A26F-E1B26394236D}" type="presParOf" srcId="{980D989B-545E-483D-8200-343A8D0999DA}" destId="{F8596161-B494-4C1D-BC35-C80967673E3B}" srcOrd="1" destOrd="0" presId="urn:microsoft.com/office/officeart/2005/8/layout/orgChart1"/>
    <dgm:cxn modelId="{0DC12D0F-B2C2-4D59-9C55-D1A0519A1AC5}" type="presParOf" srcId="{050E343D-471F-485E-908E-FDF057F7BE2B}" destId="{4335A5B8-98F9-4423-AD4B-5B125E217274}" srcOrd="1" destOrd="0" presId="urn:microsoft.com/office/officeart/2005/8/layout/orgChart1"/>
    <dgm:cxn modelId="{5088AD13-87E7-4292-A281-95FA789A20FC}" type="presParOf" srcId="{4335A5B8-98F9-4423-AD4B-5B125E217274}" destId="{7ECB96DC-2A74-46CB-A888-D8D529EC6920}" srcOrd="0" destOrd="0" presId="urn:microsoft.com/office/officeart/2005/8/layout/orgChart1"/>
    <dgm:cxn modelId="{D4BB3CC7-ADF2-4C2E-B764-CA2289FDAA6A}" type="presParOf" srcId="{4335A5B8-98F9-4423-AD4B-5B125E217274}" destId="{74AD5249-B4F2-45EB-A6A4-599BE2759C8B}" srcOrd="1" destOrd="0" presId="urn:microsoft.com/office/officeart/2005/8/layout/orgChart1"/>
    <dgm:cxn modelId="{D30CAF9A-2A0F-4E63-9B81-7558BD1063A4}" type="presParOf" srcId="{74AD5249-B4F2-45EB-A6A4-599BE2759C8B}" destId="{9E1C376C-EED6-4918-A3B5-F654EDA38A2B}" srcOrd="0" destOrd="0" presId="urn:microsoft.com/office/officeart/2005/8/layout/orgChart1"/>
    <dgm:cxn modelId="{6BECE8A8-6C90-4435-8C07-49AE2948880E}" type="presParOf" srcId="{9E1C376C-EED6-4918-A3B5-F654EDA38A2B}" destId="{CE665874-8F85-4D6D-9816-40E749AFC2C6}" srcOrd="0" destOrd="0" presId="urn:microsoft.com/office/officeart/2005/8/layout/orgChart1"/>
    <dgm:cxn modelId="{6EC006C0-C921-4CC3-90A7-1DFE4156D1A4}" type="presParOf" srcId="{9E1C376C-EED6-4918-A3B5-F654EDA38A2B}" destId="{08D0A565-9FE0-41E8-88E4-9ECD2EA81791}" srcOrd="1" destOrd="0" presId="urn:microsoft.com/office/officeart/2005/8/layout/orgChart1"/>
    <dgm:cxn modelId="{EA182E97-A4F8-4A6B-A900-C4AD95CACB61}" type="presParOf" srcId="{74AD5249-B4F2-45EB-A6A4-599BE2759C8B}" destId="{0424B9AD-0C47-44C2-BBD9-782F04001923}" srcOrd="1" destOrd="0" presId="urn:microsoft.com/office/officeart/2005/8/layout/orgChart1"/>
    <dgm:cxn modelId="{A5106C2B-6313-444B-9E49-40C9FCE0E81C}" type="presParOf" srcId="{74AD5249-B4F2-45EB-A6A4-599BE2759C8B}" destId="{73EE7F12-F640-402A-9C37-00DF4C3E0A97}" srcOrd="2" destOrd="0" presId="urn:microsoft.com/office/officeart/2005/8/layout/orgChart1"/>
    <dgm:cxn modelId="{D18EF251-9331-445C-8CAE-48BEEFE55970}" type="presParOf" srcId="{4335A5B8-98F9-4423-AD4B-5B125E217274}" destId="{63BCD4B7-F3DD-400D-B8B1-8475202E1876}" srcOrd="2" destOrd="0" presId="urn:microsoft.com/office/officeart/2005/8/layout/orgChart1"/>
    <dgm:cxn modelId="{CF7CF370-6C4A-4ACA-965E-F33E22DCDE67}" type="presParOf" srcId="{4335A5B8-98F9-4423-AD4B-5B125E217274}" destId="{68745E53-E38C-44E9-B3FF-86D13372BC44}" srcOrd="3" destOrd="0" presId="urn:microsoft.com/office/officeart/2005/8/layout/orgChart1"/>
    <dgm:cxn modelId="{3042F867-29A0-4938-A9E4-0C112CB6BD04}" type="presParOf" srcId="{68745E53-E38C-44E9-B3FF-86D13372BC44}" destId="{6E315718-03A2-4438-80A6-A3BBCB5FA6A2}" srcOrd="0" destOrd="0" presId="urn:microsoft.com/office/officeart/2005/8/layout/orgChart1"/>
    <dgm:cxn modelId="{0E0BCA6A-0410-43F4-91C4-8440CC67105F}" type="presParOf" srcId="{6E315718-03A2-4438-80A6-A3BBCB5FA6A2}" destId="{C00ED009-FA4A-4F43-B3DD-5BD94FDA9361}" srcOrd="0" destOrd="0" presId="urn:microsoft.com/office/officeart/2005/8/layout/orgChart1"/>
    <dgm:cxn modelId="{14F17CBE-FF63-4517-8DFB-BBBE362170F2}" type="presParOf" srcId="{6E315718-03A2-4438-80A6-A3BBCB5FA6A2}" destId="{4F331D9D-37DD-4F7A-AD72-ACD409DCF332}" srcOrd="1" destOrd="0" presId="urn:microsoft.com/office/officeart/2005/8/layout/orgChart1"/>
    <dgm:cxn modelId="{C93B0F52-49B5-4E91-98F1-FC905970567B}" type="presParOf" srcId="{68745E53-E38C-44E9-B3FF-86D13372BC44}" destId="{66A08D9F-8A10-4139-8ED8-2416961D09F2}" srcOrd="1" destOrd="0" presId="urn:microsoft.com/office/officeart/2005/8/layout/orgChart1"/>
    <dgm:cxn modelId="{D2412516-14EF-4A9E-A3B8-29F96708EE13}" type="presParOf" srcId="{68745E53-E38C-44E9-B3FF-86D13372BC44}" destId="{0ACD4B67-FF2B-41C3-867B-B152A14DCE73}" srcOrd="2" destOrd="0" presId="urn:microsoft.com/office/officeart/2005/8/layout/orgChart1"/>
    <dgm:cxn modelId="{43AC8BBA-1DD2-4681-AE39-5C3565514185}" type="presParOf" srcId="{4335A5B8-98F9-4423-AD4B-5B125E217274}" destId="{40195326-FFA5-4DA0-BF48-ADB6824A6C41}" srcOrd="4" destOrd="0" presId="urn:microsoft.com/office/officeart/2005/8/layout/orgChart1"/>
    <dgm:cxn modelId="{31C1CF31-B771-4E24-B0E9-D6314B59D391}" type="presParOf" srcId="{4335A5B8-98F9-4423-AD4B-5B125E217274}" destId="{C4337C5F-3132-4CB5-81E4-CD71AEACBBEB}" srcOrd="5" destOrd="0" presId="urn:microsoft.com/office/officeart/2005/8/layout/orgChart1"/>
    <dgm:cxn modelId="{88702C1F-04F6-4E87-AE57-BAC3F6D2DC90}" type="presParOf" srcId="{C4337C5F-3132-4CB5-81E4-CD71AEACBBEB}" destId="{E5CE8A76-EC98-4C31-A97C-2014BA41785F}" srcOrd="0" destOrd="0" presId="urn:microsoft.com/office/officeart/2005/8/layout/orgChart1"/>
    <dgm:cxn modelId="{CDCC9964-527A-48CF-867A-BBE7389A2170}" type="presParOf" srcId="{E5CE8A76-EC98-4C31-A97C-2014BA41785F}" destId="{0EE7E067-5568-4AC2-816D-A7261D4D14C6}" srcOrd="0" destOrd="0" presId="urn:microsoft.com/office/officeart/2005/8/layout/orgChart1"/>
    <dgm:cxn modelId="{40BAA6A2-068D-4A1D-A8EB-384A7763896A}" type="presParOf" srcId="{E5CE8A76-EC98-4C31-A97C-2014BA41785F}" destId="{3DEBDA55-F604-4803-A6C5-DA0C0C14C995}" srcOrd="1" destOrd="0" presId="urn:microsoft.com/office/officeart/2005/8/layout/orgChart1"/>
    <dgm:cxn modelId="{A4520C25-B46B-40FB-8FF8-7C640AD5D5D9}" type="presParOf" srcId="{C4337C5F-3132-4CB5-81E4-CD71AEACBBEB}" destId="{01E735FC-FE5B-4F70-A84E-7229A19188EE}" srcOrd="1" destOrd="0" presId="urn:microsoft.com/office/officeart/2005/8/layout/orgChart1"/>
    <dgm:cxn modelId="{4C248D7E-C9E7-4B4D-904F-66919A7550AB}" type="presParOf" srcId="{C4337C5F-3132-4CB5-81E4-CD71AEACBBEB}" destId="{401E9CE5-EF13-40DF-960E-A74931B90F67}" srcOrd="2" destOrd="0" presId="urn:microsoft.com/office/officeart/2005/8/layout/orgChart1"/>
    <dgm:cxn modelId="{506075A5-D61B-480A-835D-0D6A66CD5F9B}" type="presParOf" srcId="{4335A5B8-98F9-4423-AD4B-5B125E217274}" destId="{119BA7AA-F2FA-4C98-A845-6B73A4ABBD7E}" srcOrd="6" destOrd="0" presId="urn:microsoft.com/office/officeart/2005/8/layout/orgChart1"/>
    <dgm:cxn modelId="{D060EBFC-C1BF-40C0-91FB-E37C49F71C70}" type="presParOf" srcId="{4335A5B8-98F9-4423-AD4B-5B125E217274}" destId="{C60E80C5-B33A-4CE9-A907-8519F48386CF}" srcOrd="7" destOrd="0" presId="urn:microsoft.com/office/officeart/2005/8/layout/orgChart1"/>
    <dgm:cxn modelId="{7A15E502-5B26-4A5A-8BD3-137B69CE937C}" type="presParOf" srcId="{C60E80C5-B33A-4CE9-A907-8519F48386CF}" destId="{C282EED3-EFD3-4527-A511-D3C37FBF1E36}" srcOrd="0" destOrd="0" presId="urn:microsoft.com/office/officeart/2005/8/layout/orgChart1"/>
    <dgm:cxn modelId="{41E656D8-4874-41CC-9321-3A04717EACFD}" type="presParOf" srcId="{C282EED3-EFD3-4527-A511-D3C37FBF1E36}" destId="{92DDF521-C427-4F34-8ADA-5A83E465875F}" srcOrd="0" destOrd="0" presId="urn:microsoft.com/office/officeart/2005/8/layout/orgChart1"/>
    <dgm:cxn modelId="{FC3D1F4E-2571-4767-8781-0B449F8C229A}" type="presParOf" srcId="{C282EED3-EFD3-4527-A511-D3C37FBF1E36}" destId="{ECA7E318-B25D-4A51-9A71-8054479CF3BC}" srcOrd="1" destOrd="0" presId="urn:microsoft.com/office/officeart/2005/8/layout/orgChart1"/>
    <dgm:cxn modelId="{E46EE003-A220-47ED-8175-246FFE48E851}" type="presParOf" srcId="{C60E80C5-B33A-4CE9-A907-8519F48386CF}" destId="{571BC977-AA76-4515-BDC2-2D5602686C32}" srcOrd="1" destOrd="0" presId="urn:microsoft.com/office/officeart/2005/8/layout/orgChart1"/>
    <dgm:cxn modelId="{F2B71AFB-72F8-445D-866F-1672D5C08AC0}" type="presParOf" srcId="{C60E80C5-B33A-4CE9-A907-8519F48386CF}" destId="{037DCBDE-B60C-4C28-977D-D9E82F161CE6}" srcOrd="2" destOrd="0" presId="urn:microsoft.com/office/officeart/2005/8/layout/orgChart1"/>
    <dgm:cxn modelId="{A4511FAB-0A36-4893-AF8A-15556C2ECEBF}" type="presParOf" srcId="{4335A5B8-98F9-4423-AD4B-5B125E217274}" destId="{F72EB824-A2C9-460D-A952-FEF669E1EBC6}" srcOrd="8" destOrd="0" presId="urn:microsoft.com/office/officeart/2005/8/layout/orgChart1"/>
    <dgm:cxn modelId="{FDD03083-B94E-4595-819B-B9DEC7379CF6}" type="presParOf" srcId="{4335A5B8-98F9-4423-AD4B-5B125E217274}" destId="{2C997A73-D588-4105-A5DC-61194539786D}" srcOrd="9" destOrd="0" presId="urn:microsoft.com/office/officeart/2005/8/layout/orgChart1"/>
    <dgm:cxn modelId="{AC43161E-0472-447F-93B8-288710AAE4EB}" type="presParOf" srcId="{2C997A73-D588-4105-A5DC-61194539786D}" destId="{BF20D62D-1D3D-469C-8E18-5AA76AD3E765}" srcOrd="0" destOrd="0" presId="urn:microsoft.com/office/officeart/2005/8/layout/orgChart1"/>
    <dgm:cxn modelId="{15F41EE5-2133-4BAA-BC8F-FEE413E28BF9}" type="presParOf" srcId="{BF20D62D-1D3D-469C-8E18-5AA76AD3E765}" destId="{7CD4460A-DDB3-4CC8-918E-F4C7D76DE7FE}" srcOrd="0" destOrd="0" presId="urn:microsoft.com/office/officeart/2005/8/layout/orgChart1"/>
    <dgm:cxn modelId="{47D807A0-CFF3-4493-96C9-20BA5C8F18DA}" type="presParOf" srcId="{BF20D62D-1D3D-469C-8E18-5AA76AD3E765}" destId="{D1A70BFE-CB64-40C3-8F58-28BACD3922D3}" srcOrd="1" destOrd="0" presId="urn:microsoft.com/office/officeart/2005/8/layout/orgChart1"/>
    <dgm:cxn modelId="{6CB0458F-0278-406A-87B2-4618BF6B690A}" type="presParOf" srcId="{2C997A73-D588-4105-A5DC-61194539786D}" destId="{5EC02B19-16A7-4E82-A3B2-968EAEEF0A64}" srcOrd="1" destOrd="0" presId="urn:microsoft.com/office/officeart/2005/8/layout/orgChart1"/>
    <dgm:cxn modelId="{A7CD9485-65E4-47F0-A27D-5F44B4839BFD}" type="presParOf" srcId="{2C997A73-D588-4105-A5DC-61194539786D}" destId="{803F7E17-8940-4E6C-8A60-C4561386B579}" srcOrd="2" destOrd="0" presId="urn:microsoft.com/office/officeart/2005/8/layout/orgChart1"/>
    <dgm:cxn modelId="{B9D86976-0974-416A-B366-162E8D516A2C}" type="presParOf" srcId="{050E343D-471F-485E-908E-FDF057F7BE2B}" destId="{466DA3FB-5E51-4065-85BC-7C2E3844DAA6}" srcOrd="2" destOrd="0" presId="urn:microsoft.com/office/officeart/2005/8/layout/orgChart1"/>
    <dgm:cxn modelId="{B672B318-B6D2-413B-8839-141CF3D421B8}" type="presParOf" srcId="{E0BE3CB2-4952-4BAC-902C-DB187CCC9BD5}" destId="{0E00018A-894B-4168-8F14-9C114D285158}" srcOrd="2" destOrd="0" presId="urn:microsoft.com/office/officeart/2005/8/layout/orgChart1"/>
    <dgm:cxn modelId="{266466B0-882A-4D60-93AF-0E44D8D964B8}" type="presParOf" srcId="{B9A1A9A4-1DC0-4CC2-B8AE-82DCC8F31D20}" destId="{744E3667-F558-44CA-B1B4-33D23BBBE072}" srcOrd="6" destOrd="0" presId="urn:microsoft.com/office/officeart/2005/8/layout/orgChart1"/>
    <dgm:cxn modelId="{7464D2D4-457F-485D-A248-DEDF25BB771B}" type="presParOf" srcId="{B9A1A9A4-1DC0-4CC2-B8AE-82DCC8F31D20}" destId="{8DEDC85E-E42B-4F28-8B00-FE163E4354CC}" srcOrd="7" destOrd="0" presId="urn:microsoft.com/office/officeart/2005/8/layout/orgChart1"/>
    <dgm:cxn modelId="{788745F3-B991-4468-B6C9-4468FC4FF739}" type="presParOf" srcId="{8DEDC85E-E42B-4F28-8B00-FE163E4354CC}" destId="{83AC34A1-655A-4953-B6EA-ADC7CDD08591}" srcOrd="0" destOrd="0" presId="urn:microsoft.com/office/officeart/2005/8/layout/orgChart1"/>
    <dgm:cxn modelId="{B36AEA82-4A0D-4005-AABC-D04B4E60E404}" type="presParOf" srcId="{83AC34A1-655A-4953-B6EA-ADC7CDD08591}" destId="{B79E6939-8201-4980-B028-FA93CF37503B}" srcOrd="0" destOrd="0" presId="urn:microsoft.com/office/officeart/2005/8/layout/orgChart1"/>
    <dgm:cxn modelId="{99557C96-E41B-43E8-A120-F7E808066561}" type="presParOf" srcId="{83AC34A1-655A-4953-B6EA-ADC7CDD08591}" destId="{2289E627-63E4-4C4B-A0FC-0E2A2BDC7856}" srcOrd="1" destOrd="0" presId="urn:microsoft.com/office/officeart/2005/8/layout/orgChart1"/>
    <dgm:cxn modelId="{BED7B3C3-0C0E-490F-8D49-3FB4A7898CCE}" type="presParOf" srcId="{8DEDC85E-E42B-4F28-8B00-FE163E4354CC}" destId="{CDD141DE-F899-4B11-9C0E-3B036C8E97D4}" srcOrd="1" destOrd="0" presId="urn:microsoft.com/office/officeart/2005/8/layout/orgChart1"/>
    <dgm:cxn modelId="{750477DD-F7E2-40D8-A1EF-F64E6CEE49B6}" type="presParOf" srcId="{CDD141DE-F899-4B11-9C0E-3B036C8E97D4}" destId="{88F84AD4-9D9E-4E85-BA26-E748CD850AC0}" srcOrd="0" destOrd="0" presId="urn:microsoft.com/office/officeart/2005/8/layout/orgChart1"/>
    <dgm:cxn modelId="{33878EB9-049A-44A2-952A-636E631E1B2B}" type="presParOf" srcId="{CDD141DE-F899-4B11-9C0E-3B036C8E97D4}" destId="{855BE31F-6CA3-4332-A871-007CA4460025}" srcOrd="1" destOrd="0" presId="urn:microsoft.com/office/officeart/2005/8/layout/orgChart1"/>
    <dgm:cxn modelId="{113D67B2-1643-4D13-BEDC-FF7AF7EEF337}" type="presParOf" srcId="{855BE31F-6CA3-4332-A871-007CA4460025}" destId="{E110AAB3-C22E-4F8E-A526-25AA03826F07}" srcOrd="0" destOrd="0" presId="urn:microsoft.com/office/officeart/2005/8/layout/orgChart1"/>
    <dgm:cxn modelId="{06906027-3B99-4F16-BF4A-5981034499F8}" type="presParOf" srcId="{E110AAB3-C22E-4F8E-A526-25AA03826F07}" destId="{DB124830-D955-41D1-90D6-302B92ECC1AD}" srcOrd="0" destOrd="0" presId="urn:microsoft.com/office/officeart/2005/8/layout/orgChart1"/>
    <dgm:cxn modelId="{B48D608B-0371-4111-8A60-DF1862ED4D89}" type="presParOf" srcId="{E110AAB3-C22E-4F8E-A526-25AA03826F07}" destId="{076CF408-1245-4343-9FDC-0DC6D0F9CB81}" srcOrd="1" destOrd="0" presId="urn:microsoft.com/office/officeart/2005/8/layout/orgChart1"/>
    <dgm:cxn modelId="{5E423027-8E42-475E-BB7B-1A004E720717}" type="presParOf" srcId="{855BE31F-6CA3-4332-A871-007CA4460025}" destId="{2866ED4D-485F-4983-84BD-6BCBB7EF842B}" srcOrd="1" destOrd="0" presId="urn:microsoft.com/office/officeart/2005/8/layout/orgChart1"/>
    <dgm:cxn modelId="{7DFDC025-83E5-4898-9B54-DE78640E0571}" type="presParOf" srcId="{855BE31F-6CA3-4332-A871-007CA4460025}" destId="{ACC8BA50-57B7-4D77-B5E4-7015F5997B02}" srcOrd="2" destOrd="0" presId="urn:microsoft.com/office/officeart/2005/8/layout/orgChart1"/>
    <dgm:cxn modelId="{C532F04A-F45E-4A11-973A-616E40E15F9B}" type="presParOf" srcId="{CDD141DE-F899-4B11-9C0E-3B036C8E97D4}" destId="{042F7CC8-7032-45AD-A9CC-CEF4082B2A3C}" srcOrd="2" destOrd="0" presId="urn:microsoft.com/office/officeart/2005/8/layout/orgChart1"/>
    <dgm:cxn modelId="{85171403-6329-4A1D-8E3A-DCF81974D629}" type="presParOf" srcId="{CDD141DE-F899-4B11-9C0E-3B036C8E97D4}" destId="{36D162EA-7522-4ACF-85D5-8E0F0613BE65}" srcOrd="3" destOrd="0" presId="urn:microsoft.com/office/officeart/2005/8/layout/orgChart1"/>
    <dgm:cxn modelId="{51803080-47A2-450F-9616-B8C564B95B1E}" type="presParOf" srcId="{36D162EA-7522-4ACF-85D5-8E0F0613BE65}" destId="{A658C597-BB9D-41EC-83D2-D0B605383320}" srcOrd="0" destOrd="0" presId="urn:microsoft.com/office/officeart/2005/8/layout/orgChart1"/>
    <dgm:cxn modelId="{86620F49-6DBA-4B7C-BFCA-DDFFB342E4CB}" type="presParOf" srcId="{A658C597-BB9D-41EC-83D2-D0B605383320}" destId="{162A3530-9EA8-4208-89ED-A3EAD5C23F27}" srcOrd="0" destOrd="0" presId="urn:microsoft.com/office/officeart/2005/8/layout/orgChart1"/>
    <dgm:cxn modelId="{978CEE12-EBE1-4FC1-A89E-61E2D5DF5567}" type="presParOf" srcId="{A658C597-BB9D-41EC-83D2-D0B605383320}" destId="{3EABC786-1E50-4D58-93F8-A0F8D3252704}" srcOrd="1" destOrd="0" presId="urn:microsoft.com/office/officeart/2005/8/layout/orgChart1"/>
    <dgm:cxn modelId="{D268E838-7599-4AC5-A165-B9B18765ECBC}" type="presParOf" srcId="{36D162EA-7522-4ACF-85D5-8E0F0613BE65}" destId="{DAF748A9-9BC8-460C-9406-6BCEB718ADE3}" srcOrd="1" destOrd="0" presId="urn:microsoft.com/office/officeart/2005/8/layout/orgChart1"/>
    <dgm:cxn modelId="{BC3D495D-6922-4D01-87E8-6ADE8F02478B}" type="presParOf" srcId="{DAF748A9-9BC8-460C-9406-6BCEB718ADE3}" destId="{3C76D54E-54B9-491E-8203-BDBCA465229F}" srcOrd="0" destOrd="0" presId="urn:microsoft.com/office/officeart/2005/8/layout/orgChart1"/>
    <dgm:cxn modelId="{29E17A94-A2B1-48DB-B0DC-F4B8A2A0DB83}" type="presParOf" srcId="{DAF748A9-9BC8-460C-9406-6BCEB718ADE3}" destId="{23FEC17E-8C97-4D78-8DFA-CE33A8B29B8C}" srcOrd="1" destOrd="0" presId="urn:microsoft.com/office/officeart/2005/8/layout/orgChart1"/>
    <dgm:cxn modelId="{808B35BC-4A20-4323-B05E-05FF1FC6DFCA}" type="presParOf" srcId="{23FEC17E-8C97-4D78-8DFA-CE33A8B29B8C}" destId="{820C650E-3E81-427A-AE3E-0CFB6EBFF512}" srcOrd="0" destOrd="0" presId="urn:microsoft.com/office/officeart/2005/8/layout/orgChart1"/>
    <dgm:cxn modelId="{D6F90120-98AE-456B-831E-17B0E690A3EB}" type="presParOf" srcId="{820C650E-3E81-427A-AE3E-0CFB6EBFF512}" destId="{0949D80A-7400-4A28-B70F-7B72AF6435F6}" srcOrd="0" destOrd="0" presId="urn:microsoft.com/office/officeart/2005/8/layout/orgChart1"/>
    <dgm:cxn modelId="{CC46D4B3-FC4E-4A41-B442-0A6CB46A4EFB}" type="presParOf" srcId="{820C650E-3E81-427A-AE3E-0CFB6EBFF512}" destId="{4D4974B4-7CF0-4C6B-B3C5-BF2D59BFBD36}" srcOrd="1" destOrd="0" presId="urn:microsoft.com/office/officeart/2005/8/layout/orgChart1"/>
    <dgm:cxn modelId="{8B9253FA-0968-4817-B18E-16ABFD12D764}" type="presParOf" srcId="{23FEC17E-8C97-4D78-8DFA-CE33A8B29B8C}" destId="{1E1A0618-A572-4AB5-88BB-C40836EFA80F}" srcOrd="1" destOrd="0" presId="urn:microsoft.com/office/officeart/2005/8/layout/orgChart1"/>
    <dgm:cxn modelId="{1E2E6F72-A9DF-43AB-B881-ED03A69AF557}" type="presParOf" srcId="{23FEC17E-8C97-4D78-8DFA-CE33A8B29B8C}" destId="{379CD718-9587-41A8-BE14-D3C18AC2A276}" srcOrd="2" destOrd="0" presId="urn:microsoft.com/office/officeart/2005/8/layout/orgChart1"/>
    <dgm:cxn modelId="{1CC24D5B-1F85-4937-94B3-0AA971B304F3}" type="presParOf" srcId="{36D162EA-7522-4ACF-85D5-8E0F0613BE65}" destId="{A455D7F3-7167-4149-A61D-93868E6A35B6}" srcOrd="2" destOrd="0" presId="urn:microsoft.com/office/officeart/2005/8/layout/orgChart1"/>
    <dgm:cxn modelId="{EF466244-C055-42F6-938D-5D31E4D1774A}" type="presParOf" srcId="{CDD141DE-F899-4B11-9C0E-3B036C8E97D4}" destId="{670F6A45-4DD3-4609-A847-099006DCA29F}" srcOrd="4" destOrd="0" presId="urn:microsoft.com/office/officeart/2005/8/layout/orgChart1"/>
    <dgm:cxn modelId="{B296A80B-95EA-49F1-B708-1700AD7932AF}" type="presParOf" srcId="{CDD141DE-F899-4B11-9C0E-3B036C8E97D4}" destId="{981B68C5-EBCF-4349-8584-FEDFAD373C28}" srcOrd="5" destOrd="0" presId="urn:microsoft.com/office/officeart/2005/8/layout/orgChart1"/>
    <dgm:cxn modelId="{C22E4C74-551B-4571-B353-592AEEDD9031}" type="presParOf" srcId="{981B68C5-EBCF-4349-8584-FEDFAD373C28}" destId="{DF14785C-DF94-4452-8380-D38BEB078848}" srcOrd="0" destOrd="0" presId="urn:microsoft.com/office/officeart/2005/8/layout/orgChart1"/>
    <dgm:cxn modelId="{69EAF6AF-99A0-4ADB-AB06-073FBBD284E2}" type="presParOf" srcId="{DF14785C-DF94-4452-8380-D38BEB078848}" destId="{A88671D5-4A52-46AA-90B8-0756A808B488}" srcOrd="0" destOrd="0" presId="urn:microsoft.com/office/officeart/2005/8/layout/orgChart1"/>
    <dgm:cxn modelId="{2ABAA548-D16C-43BA-9A54-43A24D157629}" type="presParOf" srcId="{DF14785C-DF94-4452-8380-D38BEB078848}" destId="{0C345AB6-B6B6-4E13-980F-CFFBF66DC217}" srcOrd="1" destOrd="0" presId="urn:microsoft.com/office/officeart/2005/8/layout/orgChart1"/>
    <dgm:cxn modelId="{834ACFD6-21F7-4F6D-B31C-92F94A4CED6B}" type="presParOf" srcId="{981B68C5-EBCF-4349-8584-FEDFAD373C28}" destId="{809A7086-BA15-4D4A-B756-547D11B5BBF5}" srcOrd="1" destOrd="0" presId="urn:microsoft.com/office/officeart/2005/8/layout/orgChart1"/>
    <dgm:cxn modelId="{116594D3-FE3D-4EDF-B51C-0D52C5F03C89}" type="presParOf" srcId="{809A7086-BA15-4D4A-B756-547D11B5BBF5}" destId="{8B871AE4-7A3B-46DF-80A5-E86F745802A9}" srcOrd="0" destOrd="0" presId="urn:microsoft.com/office/officeart/2005/8/layout/orgChart1"/>
    <dgm:cxn modelId="{176AD913-AD10-48B1-8EF1-6252A6AA5E42}" type="presParOf" srcId="{809A7086-BA15-4D4A-B756-547D11B5BBF5}" destId="{C58D88C4-C76B-402B-B5E9-AB006EB89AB6}" srcOrd="1" destOrd="0" presId="urn:microsoft.com/office/officeart/2005/8/layout/orgChart1"/>
    <dgm:cxn modelId="{46A69DC9-E4BA-459D-83F5-12137484F675}" type="presParOf" srcId="{C58D88C4-C76B-402B-B5E9-AB006EB89AB6}" destId="{A1E1E460-5635-484B-910B-9F061C886C0C}" srcOrd="0" destOrd="0" presId="urn:microsoft.com/office/officeart/2005/8/layout/orgChart1"/>
    <dgm:cxn modelId="{9A95176D-0498-4FAE-9020-7CACEA746CED}" type="presParOf" srcId="{A1E1E460-5635-484B-910B-9F061C886C0C}" destId="{CE7C7BB5-4148-4195-B25B-F6C7FADBB923}" srcOrd="0" destOrd="0" presId="urn:microsoft.com/office/officeart/2005/8/layout/orgChart1"/>
    <dgm:cxn modelId="{ACA799D6-7B5D-49D5-9CA5-15C69D33914C}" type="presParOf" srcId="{A1E1E460-5635-484B-910B-9F061C886C0C}" destId="{FFCF75AE-BAA4-49E8-8EB7-6A223E14840C}" srcOrd="1" destOrd="0" presId="urn:microsoft.com/office/officeart/2005/8/layout/orgChart1"/>
    <dgm:cxn modelId="{F8CDA37D-7804-4404-8918-10EF02B2968B}" type="presParOf" srcId="{C58D88C4-C76B-402B-B5E9-AB006EB89AB6}" destId="{E8B4E04F-C758-4032-9BAC-0496AEB7EAC3}" srcOrd="1" destOrd="0" presId="urn:microsoft.com/office/officeart/2005/8/layout/orgChart1"/>
    <dgm:cxn modelId="{665FBF82-8E4A-48FE-85C4-18600A15E8CB}" type="presParOf" srcId="{C58D88C4-C76B-402B-B5E9-AB006EB89AB6}" destId="{90B65C13-84E6-4467-8150-95967CB6907A}" srcOrd="2" destOrd="0" presId="urn:microsoft.com/office/officeart/2005/8/layout/orgChart1"/>
    <dgm:cxn modelId="{CCA5820B-9C7C-4E18-86F6-90EC28A5879D}" type="presParOf" srcId="{981B68C5-EBCF-4349-8584-FEDFAD373C28}" destId="{774ED406-50E2-4538-8236-42BE101E815C}" srcOrd="2" destOrd="0" presId="urn:microsoft.com/office/officeart/2005/8/layout/orgChart1"/>
    <dgm:cxn modelId="{BF1857EA-E498-4D04-BA79-C18CFD15EB4E}" type="presParOf" srcId="{8DEDC85E-E42B-4F28-8B00-FE163E4354CC}" destId="{409C2ACA-F8BA-4898-8C70-417C38923679}" srcOrd="2" destOrd="0" presId="urn:microsoft.com/office/officeart/2005/8/layout/orgChart1"/>
    <dgm:cxn modelId="{CAFEE937-F9D6-46B4-A862-5DE12CFD840E}" type="presParOf" srcId="{B9A1A9A4-1DC0-4CC2-B8AE-82DCC8F31D20}" destId="{63CFBF27-E0E6-4F7C-8A7E-33BE152321D3}" srcOrd="8" destOrd="0" presId="urn:microsoft.com/office/officeart/2005/8/layout/orgChart1"/>
    <dgm:cxn modelId="{B4A7DA25-1BDA-4B1F-A0A4-28771D55C8CA}" type="presParOf" srcId="{B9A1A9A4-1DC0-4CC2-B8AE-82DCC8F31D20}" destId="{761B060F-9284-4338-B5D6-11C2A80D4FC6}" srcOrd="9" destOrd="0" presId="urn:microsoft.com/office/officeart/2005/8/layout/orgChart1"/>
    <dgm:cxn modelId="{8953ABA6-4E23-4ABD-9848-637F0C7386A2}" type="presParOf" srcId="{761B060F-9284-4338-B5D6-11C2A80D4FC6}" destId="{87E39F3C-ABA8-4C0E-9E36-1D89A01F48A4}" srcOrd="0" destOrd="0" presId="urn:microsoft.com/office/officeart/2005/8/layout/orgChart1"/>
    <dgm:cxn modelId="{14A56578-4153-49D7-833F-3976D39721CA}" type="presParOf" srcId="{87E39F3C-ABA8-4C0E-9E36-1D89A01F48A4}" destId="{1B9E64F6-4788-46D9-A1F3-3087465CC3B7}" srcOrd="0" destOrd="0" presId="urn:microsoft.com/office/officeart/2005/8/layout/orgChart1"/>
    <dgm:cxn modelId="{E17C923F-4710-44CB-9CDB-FA0D4F94B620}" type="presParOf" srcId="{87E39F3C-ABA8-4C0E-9E36-1D89A01F48A4}" destId="{F9DA208C-8CF6-4754-856F-21A09C323A08}" srcOrd="1" destOrd="0" presId="urn:microsoft.com/office/officeart/2005/8/layout/orgChart1"/>
    <dgm:cxn modelId="{9D9AE15E-E624-4A0D-BEAF-C83EABDAD598}" type="presParOf" srcId="{761B060F-9284-4338-B5D6-11C2A80D4FC6}" destId="{DE747CE8-209C-4A96-A688-838084F7553F}" srcOrd="1" destOrd="0" presId="urn:microsoft.com/office/officeart/2005/8/layout/orgChart1"/>
    <dgm:cxn modelId="{EA98B40F-D67D-4477-9A20-90C4D7795343}" type="presParOf" srcId="{761B060F-9284-4338-B5D6-11C2A80D4FC6}" destId="{67AB4711-81AC-4E58-9616-1E25DEB40E7D}" srcOrd="2" destOrd="0" presId="urn:microsoft.com/office/officeart/2005/8/layout/orgChart1"/>
    <dgm:cxn modelId="{FCD1EFAB-BCD6-47BC-A070-D6447ED25802}" type="presParOf" srcId="{9516898B-0066-4DE7-A845-E3A751760AED}" destId="{7E16E0D3-B907-4E53-9F09-F08B2E08336F}"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3CFBF27-E0E6-4F7C-8A7E-33BE152321D3}">
      <dsp:nvSpPr>
        <dsp:cNvPr id="0" name=""/>
        <dsp:cNvSpPr/>
      </dsp:nvSpPr>
      <dsp:spPr>
        <a:xfrm>
          <a:off x="2100079" y="514372"/>
          <a:ext cx="4444900" cy="215446"/>
        </a:xfrm>
        <a:custGeom>
          <a:avLst/>
          <a:gdLst/>
          <a:ahLst/>
          <a:cxnLst/>
          <a:rect l="0" t="0" r="0" b="0"/>
          <a:pathLst>
            <a:path>
              <a:moveTo>
                <a:pt x="4444900" y="0"/>
              </a:moveTo>
              <a:lnTo>
                <a:pt x="4444900" y="107723"/>
              </a:lnTo>
              <a:lnTo>
                <a:pt x="0" y="107723"/>
              </a:lnTo>
              <a:lnTo>
                <a:pt x="0" y="215446"/>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B871AE4-7A3B-46DF-80A5-E86F745802A9}">
      <dsp:nvSpPr>
        <dsp:cNvPr id="0" name=""/>
        <dsp:cNvSpPr/>
      </dsp:nvSpPr>
      <dsp:spPr>
        <a:xfrm>
          <a:off x="2377103" y="1971202"/>
          <a:ext cx="153890" cy="471930"/>
        </a:xfrm>
        <a:custGeom>
          <a:avLst/>
          <a:gdLst/>
          <a:ahLst/>
          <a:cxnLst/>
          <a:rect l="0" t="0" r="0" b="0"/>
          <a:pathLst>
            <a:path>
              <a:moveTo>
                <a:pt x="0" y="0"/>
              </a:moveTo>
              <a:lnTo>
                <a:pt x="0" y="471930"/>
              </a:lnTo>
              <a:lnTo>
                <a:pt x="153890" y="471930"/>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70F6A45-4DD3-4609-A847-099006DCA29F}">
      <dsp:nvSpPr>
        <dsp:cNvPr id="0" name=""/>
        <dsp:cNvSpPr/>
      </dsp:nvSpPr>
      <dsp:spPr>
        <a:xfrm>
          <a:off x="2787477" y="1242787"/>
          <a:ext cx="1241383" cy="215446"/>
        </a:xfrm>
        <a:custGeom>
          <a:avLst/>
          <a:gdLst/>
          <a:ahLst/>
          <a:cxnLst/>
          <a:rect l="0" t="0" r="0" b="0"/>
          <a:pathLst>
            <a:path>
              <a:moveTo>
                <a:pt x="1241383" y="0"/>
              </a:moveTo>
              <a:lnTo>
                <a:pt x="1241383" y="107723"/>
              </a:lnTo>
              <a:lnTo>
                <a:pt x="0" y="107723"/>
              </a:lnTo>
              <a:lnTo>
                <a:pt x="0" y="215446"/>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C76D54E-54B9-491E-8203-BDBCA465229F}">
      <dsp:nvSpPr>
        <dsp:cNvPr id="0" name=""/>
        <dsp:cNvSpPr/>
      </dsp:nvSpPr>
      <dsp:spPr>
        <a:xfrm>
          <a:off x="3618486" y="1971202"/>
          <a:ext cx="153890" cy="471930"/>
        </a:xfrm>
        <a:custGeom>
          <a:avLst/>
          <a:gdLst/>
          <a:ahLst/>
          <a:cxnLst/>
          <a:rect l="0" t="0" r="0" b="0"/>
          <a:pathLst>
            <a:path>
              <a:moveTo>
                <a:pt x="0" y="0"/>
              </a:moveTo>
              <a:lnTo>
                <a:pt x="0" y="471930"/>
              </a:lnTo>
              <a:lnTo>
                <a:pt x="153890" y="471930"/>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42F7CC8-7032-45AD-A9CC-CEF4082B2A3C}">
      <dsp:nvSpPr>
        <dsp:cNvPr id="0" name=""/>
        <dsp:cNvSpPr/>
      </dsp:nvSpPr>
      <dsp:spPr>
        <a:xfrm>
          <a:off x="3983141" y="1242787"/>
          <a:ext cx="91440" cy="215446"/>
        </a:xfrm>
        <a:custGeom>
          <a:avLst/>
          <a:gdLst/>
          <a:ahLst/>
          <a:cxnLst/>
          <a:rect l="0" t="0" r="0" b="0"/>
          <a:pathLst>
            <a:path>
              <a:moveTo>
                <a:pt x="45720" y="0"/>
              </a:moveTo>
              <a:lnTo>
                <a:pt x="45720" y="215446"/>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8F84AD4-9D9E-4E85-BA26-E748CD850AC0}">
      <dsp:nvSpPr>
        <dsp:cNvPr id="0" name=""/>
        <dsp:cNvSpPr/>
      </dsp:nvSpPr>
      <dsp:spPr>
        <a:xfrm>
          <a:off x="4028861" y="1242787"/>
          <a:ext cx="1241383" cy="215446"/>
        </a:xfrm>
        <a:custGeom>
          <a:avLst/>
          <a:gdLst/>
          <a:ahLst/>
          <a:cxnLst/>
          <a:rect l="0" t="0" r="0" b="0"/>
          <a:pathLst>
            <a:path>
              <a:moveTo>
                <a:pt x="0" y="0"/>
              </a:moveTo>
              <a:lnTo>
                <a:pt x="0" y="107723"/>
              </a:lnTo>
              <a:lnTo>
                <a:pt x="1241383" y="107723"/>
              </a:lnTo>
              <a:lnTo>
                <a:pt x="1241383" y="215446"/>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44E3667-F558-44CA-B1B4-33D23BBBE072}">
      <dsp:nvSpPr>
        <dsp:cNvPr id="0" name=""/>
        <dsp:cNvSpPr/>
      </dsp:nvSpPr>
      <dsp:spPr>
        <a:xfrm>
          <a:off x="4028861" y="514372"/>
          <a:ext cx="2516119" cy="215446"/>
        </a:xfrm>
        <a:custGeom>
          <a:avLst/>
          <a:gdLst/>
          <a:ahLst/>
          <a:cxnLst/>
          <a:rect l="0" t="0" r="0" b="0"/>
          <a:pathLst>
            <a:path>
              <a:moveTo>
                <a:pt x="2516119" y="0"/>
              </a:moveTo>
              <a:lnTo>
                <a:pt x="2516119" y="107723"/>
              </a:lnTo>
              <a:lnTo>
                <a:pt x="0" y="107723"/>
              </a:lnTo>
              <a:lnTo>
                <a:pt x="0" y="215446"/>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72EB824-A2C9-460D-A952-FEF669E1EBC6}">
      <dsp:nvSpPr>
        <dsp:cNvPr id="0" name=""/>
        <dsp:cNvSpPr/>
      </dsp:nvSpPr>
      <dsp:spPr>
        <a:xfrm>
          <a:off x="6101252" y="1971202"/>
          <a:ext cx="153890" cy="3385590"/>
        </a:xfrm>
        <a:custGeom>
          <a:avLst/>
          <a:gdLst/>
          <a:ahLst/>
          <a:cxnLst/>
          <a:rect l="0" t="0" r="0" b="0"/>
          <a:pathLst>
            <a:path>
              <a:moveTo>
                <a:pt x="0" y="0"/>
              </a:moveTo>
              <a:lnTo>
                <a:pt x="0" y="3385590"/>
              </a:lnTo>
              <a:lnTo>
                <a:pt x="153890" y="3385590"/>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19BA7AA-F2FA-4C98-A845-6B73A4ABBD7E}">
      <dsp:nvSpPr>
        <dsp:cNvPr id="0" name=""/>
        <dsp:cNvSpPr/>
      </dsp:nvSpPr>
      <dsp:spPr>
        <a:xfrm>
          <a:off x="6101252" y="1971202"/>
          <a:ext cx="153890" cy="2657175"/>
        </a:xfrm>
        <a:custGeom>
          <a:avLst/>
          <a:gdLst/>
          <a:ahLst/>
          <a:cxnLst/>
          <a:rect l="0" t="0" r="0" b="0"/>
          <a:pathLst>
            <a:path>
              <a:moveTo>
                <a:pt x="0" y="0"/>
              </a:moveTo>
              <a:lnTo>
                <a:pt x="0" y="2657175"/>
              </a:lnTo>
              <a:lnTo>
                <a:pt x="153890" y="2657175"/>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0195326-FFA5-4DA0-BF48-ADB6824A6C41}">
      <dsp:nvSpPr>
        <dsp:cNvPr id="0" name=""/>
        <dsp:cNvSpPr/>
      </dsp:nvSpPr>
      <dsp:spPr>
        <a:xfrm>
          <a:off x="6101252" y="1971202"/>
          <a:ext cx="153890" cy="1928760"/>
        </a:xfrm>
        <a:custGeom>
          <a:avLst/>
          <a:gdLst/>
          <a:ahLst/>
          <a:cxnLst/>
          <a:rect l="0" t="0" r="0" b="0"/>
          <a:pathLst>
            <a:path>
              <a:moveTo>
                <a:pt x="0" y="0"/>
              </a:moveTo>
              <a:lnTo>
                <a:pt x="0" y="1928760"/>
              </a:lnTo>
              <a:lnTo>
                <a:pt x="153890" y="1928760"/>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3BCD4B7-F3DD-400D-B8B1-8475202E1876}">
      <dsp:nvSpPr>
        <dsp:cNvPr id="0" name=""/>
        <dsp:cNvSpPr/>
      </dsp:nvSpPr>
      <dsp:spPr>
        <a:xfrm>
          <a:off x="6101252" y="1971202"/>
          <a:ext cx="153890" cy="1200345"/>
        </a:xfrm>
        <a:custGeom>
          <a:avLst/>
          <a:gdLst/>
          <a:ahLst/>
          <a:cxnLst/>
          <a:rect l="0" t="0" r="0" b="0"/>
          <a:pathLst>
            <a:path>
              <a:moveTo>
                <a:pt x="0" y="0"/>
              </a:moveTo>
              <a:lnTo>
                <a:pt x="0" y="1200345"/>
              </a:lnTo>
              <a:lnTo>
                <a:pt x="153890" y="1200345"/>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ECB96DC-2A74-46CB-A888-D8D529EC6920}">
      <dsp:nvSpPr>
        <dsp:cNvPr id="0" name=""/>
        <dsp:cNvSpPr/>
      </dsp:nvSpPr>
      <dsp:spPr>
        <a:xfrm>
          <a:off x="6101252" y="1971202"/>
          <a:ext cx="153890" cy="471930"/>
        </a:xfrm>
        <a:custGeom>
          <a:avLst/>
          <a:gdLst/>
          <a:ahLst/>
          <a:cxnLst/>
          <a:rect l="0" t="0" r="0" b="0"/>
          <a:pathLst>
            <a:path>
              <a:moveTo>
                <a:pt x="0" y="0"/>
              </a:moveTo>
              <a:lnTo>
                <a:pt x="0" y="471930"/>
              </a:lnTo>
              <a:lnTo>
                <a:pt x="153890" y="471930"/>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2B40ACA-F0EB-4C30-B7B9-048451703E97}">
      <dsp:nvSpPr>
        <dsp:cNvPr id="0" name=""/>
        <dsp:cNvSpPr/>
      </dsp:nvSpPr>
      <dsp:spPr>
        <a:xfrm>
          <a:off x="6511627" y="1242787"/>
          <a:ext cx="620691" cy="215446"/>
        </a:xfrm>
        <a:custGeom>
          <a:avLst/>
          <a:gdLst/>
          <a:ahLst/>
          <a:cxnLst/>
          <a:rect l="0" t="0" r="0" b="0"/>
          <a:pathLst>
            <a:path>
              <a:moveTo>
                <a:pt x="620691" y="0"/>
              </a:moveTo>
              <a:lnTo>
                <a:pt x="620691" y="107723"/>
              </a:lnTo>
              <a:lnTo>
                <a:pt x="0" y="107723"/>
              </a:lnTo>
              <a:lnTo>
                <a:pt x="0" y="215446"/>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2016480-FD30-4858-84BB-924D5B73332F}">
      <dsp:nvSpPr>
        <dsp:cNvPr id="0" name=""/>
        <dsp:cNvSpPr/>
      </dsp:nvSpPr>
      <dsp:spPr>
        <a:xfrm>
          <a:off x="7342636" y="1971202"/>
          <a:ext cx="153890" cy="1928760"/>
        </a:xfrm>
        <a:custGeom>
          <a:avLst/>
          <a:gdLst/>
          <a:ahLst/>
          <a:cxnLst/>
          <a:rect l="0" t="0" r="0" b="0"/>
          <a:pathLst>
            <a:path>
              <a:moveTo>
                <a:pt x="0" y="0"/>
              </a:moveTo>
              <a:lnTo>
                <a:pt x="0" y="1928760"/>
              </a:lnTo>
              <a:lnTo>
                <a:pt x="153890" y="1928760"/>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BB09A42-3D5E-4BDD-95B3-11FBB974BEDB}">
      <dsp:nvSpPr>
        <dsp:cNvPr id="0" name=""/>
        <dsp:cNvSpPr/>
      </dsp:nvSpPr>
      <dsp:spPr>
        <a:xfrm>
          <a:off x="7342636" y="1971202"/>
          <a:ext cx="153890" cy="1200345"/>
        </a:xfrm>
        <a:custGeom>
          <a:avLst/>
          <a:gdLst/>
          <a:ahLst/>
          <a:cxnLst/>
          <a:rect l="0" t="0" r="0" b="0"/>
          <a:pathLst>
            <a:path>
              <a:moveTo>
                <a:pt x="0" y="0"/>
              </a:moveTo>
              <a:lnTo>
                <a:pt x="0" y="1200345"/>
              </a:lnTo>
              <a:lnTo>
                <a:pt x="153890" y="1200345"/>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C2ACEE9-82EB-47FB-BBF1-7FEC27B61108}">
      <dsp:nvSpPr>
        <dsp:cNvPr id="0" name=""/>
        <dsp:cNvSpPr/>
      </dsp:nvSpPr>
      <dsp:spPr>
        <a:xfrm>
          <a:off x="7342636" y="1971202"/>
          <a:ext cx="153890" cy="471930"/>
        </a:xfrm>
        <a:custGeom>
          <a:avLst/>
          <a:gdLst/>
          <a:ahLst/>
          <a:cxnLst/>
          <a:rect l="0" t="0" r="0" b="0"/>
          <a:pathLst>
            <a:path>
              <a:moveTo>
                <a:pt x="0" y="0"/>
              </a:moveTo>
              <a:lnTo>
                <a:pt x="0" y="471930"/>
              </a:lnTo>
              <a:lnTo>
                <a:pt x="153890" y="471930"/>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B94D3E3-F39D-4CA1-A613-43B11302DF88}">
      <dsp:nvSpPr>
        <dsp:cNvPr id="0" name=""/>
        <dsp:cNvSpPr/>
      </dsp:nvSpPr>
      <dsp:spPr>
        <a:xfrm>
          <a:off x="7132319" y="1242787"/>
          <a:ext cx="620691" cy="215446"/>
        </a:xfrm>
        <a:custGeom>
          <a:avLst/>
          <a:gdLst/>
          <a:ahLst/>
          <a:cxnLst/>
          <a:rect l="0" t="0" r="0" b="0"/>
          <a:pathLst>
            <a:path>
              <a:moveTo>
                <a:pt x="0" y="0"/>
              </a:moveTo>
              <a:lnTo>
                <a:pt x="0" y="107723"/>
              </a:lnTo>
              <a:lnTo>
                <a:pt x="620691" y="107723"/>
              </a:lnTo>
              <a:lnTo>
                <a:pt x="620691" y="215446"/>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F69FF51-A9F0-4D23-86A3-4E96A23F96AE}">
      <dsp:nvSpPr>
        <dsp:cNvPr id="0" name=""/>
        <dsp:cNvSpPr/>
      </dsp:nvSpPr>
      <dsp:spPr>
        <a:xfrm>
          <a:off x="6544980" y="514372"/>
          <a:ext cx="587338" cy="215446"/>
        </a:xfrm>
        <a:custGeom>
          <a:avLst/>
          <a:gdLst/>
          <a:ahLst/>
          <a:cxnLst/>
          <a:rect l="0" t="0" r="0" b="0"/>
          <a:pathLst>
            <a:path>
              <a:moveTo>
                <a:pt x="0" y="0"/>
              </a:moveTo>
              <a:lnTo>
                <a:pt x="0" y="107723"/>
              </a:lnTo>
              <a:lnTo>
                <a:pt x="587338" y="107723"/>
              </a:lnTo>
              <a:lnTo>
                <a:pt x="587338" y="215446"/>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8829CE3-BE12-4D47-B753-FE05C42FD6E6}">
      <dsp:nvSpPr>
        <dsp:cNvPr id="0" name=""/>
        <dsp:cNvSpPr/>
      </dsp:nvSpPr>
      <dsp:spPr>
        <a:xfrm>
          <a:off x="6544980" y="514372"/>
          <a:ext cx="2516119" cy="215446"/>
        </a:xfrm>
        <a:custGeom>
          <a:avLst/>
          <a:gdLst/>
          <a:ahLst/>
          <a:cxnLst/>
          <a:rect l="0" t="0" r="0" b="0"/>
          <a:pathLst>
            <a:path>
              <a:moveTo>
                <a:pt x="0" y="0"/>
              </a:moveTo>
              <a:lnTo>
                <a:pt x="0" y="107723"/>
              </a:lnTo>
              <a:lnTo>
                <a:pt x="2516119" y="107723"/>
              </a:lnTo>
              <a:lnTo>
                <a:pt x="2516119" y="215446"/>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5CBE3E7-A0C7-4178-8054-C7FF523AD8D1}">
      <dsp:nvSpPr>
        <dsp:cNvPr id="0" name=""/>
        <dsp:cNvSpPr/>
      </dsp:nvSpPr>
      <dsp:spPr>
        <a:xfrm>
          <a:off x="9958815" y="1971202"/>
          <a:ext cx="153890" cy="1200345"/>
        </a:xfrm>
        <a:custGeom>
          <a:avLst/>
          <a:gdLst/>
          <a:ahLst/>
          <a:cxnLst/>
          <a:rect l="0" t="0" r="0" b="0"/>
          <a:pathLst>
            <a:path>
              <a:moveTo>
                <a:pt x="0" y="0"/>
              </a:moveTo>
              <a:lnTo>
                <a:pt x="0" y="1200345"/>
              </a:lnTo>
              <a:lnTo>
                <a:pt x="153890" y="1200345"/>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9082878-298B-421B-B3FA-AF47BB330CB0}">
      <dsp:nvSpPr>
        <dsp:cNvPr id="0" name=""/>
        <dsp:cNvSpPr/>
      </dsp:nvSpPr>
      <dsp:spPr>
        <a:xfrm>
          <a:off x="9958815" y="1971202"/>
          <a:ext cx="153890" cy="471930"/>
        </a:xfrm>
        <a:custGeom>
          <a:avLst/>
          <a:gdLst/>
          <a:ahLst/>
          <a:cxnLst/>
          <a:rect l="0" t="0" r="0" b="0"/>
          <a:pathLst>
            <a:path>
              <a:moveTo>
                <a:pt x="0" y="0"/>
              </a:moveTo>
              <a:lnTo>
                <a:pt x="0" y="471930"/>
              </a:lnTo>
              <a:lnTo>
                <a:pt x="153890" y="471930"/>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36AB756-9EED-4704-B375-19E8D65474A5}">
      <dsp:nvSpPr>
        <dsp:cNvPr id="0" name=""/>
        <dsp:cNvSpPr/>
      </dsp:nvSpPr>
      <dsp:spPr>
        <a:xfrm>
          <a:off x="10369190" y="1242787"/>
          <a:ext cx="620691" cy="215446"/>
        </a:xfrm>
        <a:custGeom>
          <a:avLst/>
          <a:gdLst/>
          <a:ahLst/>
          <a:cxnLst/>
          <a:rect l="0" t="0" r="0" b="0"/>
          <a:pathLst>
            <a:path>
              <a:moveTo>
                <a:pt x="620691" y="0"/>
              </a:moveTo>
              <a:lnTo>
                <a:pt x="620691" y="107723"/>
              </a:lnTo>
              <a:lnTo>
                <a:pt x="0" y="107723"/>
              </a:lnTo>
              <a:lnTo>
                <a:pt x="0" y="215446"/>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0CD9DBD-BF5B-4E6E-B23B-B7EDD6EE1082}">
      <dsp:nvSpPr>
        <dsp:cNvPr id="0" name=""/>
        <dsp:cNvSpPr/>
      </dsp:nvSpPr>
      <dsp:spPr>
        <a:xfrm>
          <a:off x="10989881" y="1242787"/>
          <a:ext cx="620691" cy="215446"/>
        </a:xfrm>
        <a:custGeom>
          <a:avLst/>
          <a:gdLst/>
          <a:ahLst/>
          <a:cxnLst/>
          <a:rect l="0" t="0" r="0" b="0"/>
          <a:pathLst>
            <a:path>
              <a:moveTo>
                <a:pt x="0" y="0"/>
              </a:moveTo>
              <a:lnTo>
                <a:pt x="0" y="107723"/>
              </a:lnTo>
              <a:lnTo>
                <a:pt x="620691" y="107723"/>
              </a:lnTo>
              <a:lnTo>
                <a:pt x="620691" y="215446"/>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E0B8530-249E-427E-8211-D5F266C9D3EF}">
      <dsp:nvSpPr>
        <dsp:cNvPr id="0" name=""/>
        <dsp:cNvSpPr/>
      </dsp:nvSpPr>
      <dsp:spPr>
        <a:xfrm>
          <a:off x="6544980" y="514372"/>
          <a:ext cx="4444900" cy="215446"/>
        </a:xfrm>
        <a:custGeom>
          <a:avLst/>
          <a:gdLst/>
          <a:ahLst/>
          <a:cxnLst/>
          <a:rect l="0" t="0" r="0" b="0"/>
          <a:pathLst>
            <a:path>
              <a:moveTo>
                <a:pt x="0" y="0"/>
              </a:moveTo>
              <a:lnTo>
                <a:pt x="0" y="107723"/>
              </a:lnTo>
              <a:lnTo>
                <a:pt x="4444900" y="107723"/>
              </a:lnTo>
              <a:lnTo>
                <a:pt x="4444900" y="215446"/>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E49E272-47CF-48A8-B560-ED8C2F5C58BD}">
      <dsp:nvSpPr>
        <dsp:cNvPr id="0" name=""/>
        <dsp:cNvSpPr/>
      </dsp:nvSpPr>
      <dsp:spPr>
        <a:xfrm>
          <a:off x="6032012" y="1404"/>
          <a:ext cx="1025936" cy="512968"/>
        </a:xfrm>
        <a:prstGeom prst="rect">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rtl="1">
            <a:lnSpc>
              <a:spcPct val="90000"/>
            </a:lnSpc>
            <a:spcBef>
              <a:spcPct val="0"/>
            </a:spcBef>
            <a:spcAft>
              <a:spcPct val="35000"/>
            </a:spcAft>
            <a:buNone/>
          </a:pPr>
          <a:r>
            <a:rPr lang="he-IL" sz="2400" b="1" kern="1200">
              <a:latin typeface="Calibri" panose="020F0502020204030204" pitchFamily="34" charset="0"/>
              <a:ea typeface="Calibri" panose="020F0502020204030204" pitchFamily="34" charset="0"/>
              <a:cs typeface="Calibri" panose="020F0502020204030204" pitchFamily="34" charset="0"/>
            </a:rPr>
            <a:t>הנהלה</a:t>
          </a:r>
          <a:endParaRPr lang="he-IL" sz="1200" b="1" kern="1200">
            <a:latin typeface="Calibri" panose="020F0502020204030204" pitchFamily="34" charset="0"/>
            <a:ea typeface="Calibri" panose="020F0502020204030204" pitchFamily="34" charset="0"/>
            <a:cs typeface="Calibri" panose="020F0502020204030204" pitchFamily="34" charset="0"/>
          </a:endParaRPr>
        </a:p>
      </dsp:txBody>
      <dsp:txXfrm>
        <a:off x="6032012" y="1404"/>
        <a:ext cx="1025936" cy="512968"/>
      </dsp:txXfrm>
    </dsp:sp>
    <dsp:sp modelId="{88015159-1937-4E7C-AFF9-99290C8B1F71}">
      <dsp:nvSpPr>
        <dsp:cNvPr id="0" name=""/>
        <dsp:cNvSpPr/>
      </dsp:nvSpPr>
      <dsp:spPr>
        <a:xfrm>
          <a:off x="10133214" y="729819"/>
          <a:ext cx="1713334" cy="512968"/>
        </a:xfrm>
        <a:prstGeom prst="rect">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rtl="1">
            <a:lnSpc>
              <a:spcPct val="90000"/>
            </a:lnSpc>
            <a:spcBef>
              <a:spcPct val="0"/>
            </a:spcBef>
            <a:spcAft>
              <a:spcPct val="35000"/>
            </a:spcAft>
            <a:buNone/>
          </a:pPr>
          <a:r>
            <a:rPr lang="he-IL" sz="1600" b="1" kern="1200">
              <a:latin typeface="Calibri" panose="020F0502020204030204" pitchFamily="34" charset="0"/>
              <a:ea typeface="Calibri" panose="020F0502020204030204" pitchFamily="34" charset="0"/>
              <a:cs typeface="Calibri" panose="020F0502020204030204" pitchFamily="34" charset="0"/>
            </a:rPr>
            <a:t>סמנכ"ל יבוא ומכירות</a:t>
          </a:r>
        </a:p>
      </dsp:txBody>
      <dsp:txXfrm>
        <a:off x="10133214" y="729819"/>
        <a:ext cx="1713334" cy="512968"/>
      </dsp:txXfrm>
    </dsp:sp>
    <dsp:sp modelId="{992B9392-4AFB-4036-9D40-50EAC128E85B}">
      <dsp:nvSpPr>
        <dsp:cNvPr id="0" name=""/>
        <dsp:cNvSpPr/>
      </dsp:nvSpPr>
      <dsp:spPr>
        <a:xfrm>
          <a:off x="11097604" y="1458234"/>
          <a:ext cx="1025936" cy="512968"/>
        </a:xfrm>
        <a:prstGeom prst="rect">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rtl="1">
            <a:lnSpc>
              <a:spcPct val="90000"/>
            </a:lnSpc>
            <a:spcBef>
              <a:spcPct val="0"/>
            </a:spcBef>
            <a:spcAft>
              <a:spcPct val="35000"/>
            </a:spcAft>
            <a:buNone/>
          </a:pPr>
          <a:r>
            <a:rPr lang="he-IL" sz="1200" b="1" kern="1200">
              <a:latin typeface="Calibri" panose="020F0502020204030204" pitchFamily="34" charset="0"/>
              <a:ea typeface="Calibri" panose="020F0502020204030204" pitchFamily="34" charset="0"/>
              <a:cs typeface="Calibri" panose="020F0502020204030204" pitchFamily="34" charset="0"/>
            </a:rPr>
            <a:t>שיווק ומכירות</a:t>
          </a:r>
        </a:p>
      </dsp:txBody>
      <dsp:txXfrm>
        <a:off x="11097604" y="1458234"/>
        <a:ext cx="1025936" cy="512968"/>
      </dsp:txXfrm>
    </dsp:sp>
    <dsp:sp modelId="{44962AFD-95AC-40DD-9548-DE79A8CA3083}">
      <dsp:nvSpPr>
        <dsp:cNvPr id="0" name=""/>
        <dsp:cNvSpPr/>
      </dsp:nvSpPr>
      <dsp:spPr>
        <a:xfrm>
          <a:off x="9856221" y="1458234"/>
          <a:ext cx="1025936" cy="512968"/>
        </a:xfrm>
        <a:prstGeom prst="rect">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rtl="1">
            <a:lnSpc>
              <a:spcPct val="90000"/>
            </a:lnSpc>
            <a:spcBef>
              <a:spcPct val="0"/>
            </a:spcBef>
            <a:spcAft>
              <a:spcPct val="35000"/>
            </a:spcAft>
            <a:buNone/>
          </a:pPr>
          <a:r>
            <a:rPr lang="he-IL" sz="1200" b="1" kern="1200">
              <a:latin typeface="Calibri" panose="020F0502020204030204" pitchFamily="34" charset="0"/>
              <a:ea typeface="Calibri" panose="020F0502020204030204" pitchFamily="34" charset="0"/>
              <a:cs typeface="Calibri" panose="020F0502020204030204" pitchFamily="34" charset="0"/>
            </a:rPr>
            <a:t>מ. יבוא</a:t>
          </a:r>
        </a:p>
      </dsp:txBody>
      <dsp:txXfrm>
        <a:off x="9856221" y="1458234"/>
        <a:ext cx="1025936" cy="512968"/>
      </dsp:txXfrm>
    </dsp:sp>
    <dsp:sp modelId="{B98AA889-9638-4D53-9CD3-F8061F87DEF1}">
      <dsp:nvSpPr>
        <dsp:cNvPr id="0" name=""/>
        <dsp:cNvSpPr/>
      </dsp:nvSpPr>
      <dsp:spPr>
        <a:xfrm>
          <a:off x="10112705" y="2186649"/>
          <a:ext cx="1025936" cy="512968"/>
        </a:xfrm>
        <a:prstGeom prst="rect">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rtl="1">
            <a:lnSpc>
              <a:spcPct val="90000"/>
            </a:lnSpc>
            <a:spcBef>
              <a:spcPct val="0"/>
            </a:spcBef>
            <a:spcAft>
              <a:spcPct val="35000"/>
            </a:spcAft>
            <a:buNone/>
          </a:pPr>
          <a:r>
            <a:rPr lang="he-IL" sz="1200" b="0" kern="1200">
              <a:latin typeface="Calibri" panose="020F0502020204030204" pitchFamily="34" charset="0"/>
              <a:ea typeface="Calibri" panose="020F0502020204030204" pitchFamily="34" charset="0"/>
              <a:cs typeface="Calibri" panose="020F0502020204030204" pitchFamily="34" charset="0"/>
            </a:rPr>
            <a:t>מ. יבוא ימי</a:t>
          </a:r>
        </a:p>
      </dsp:txBody>
      <dsp:txXfrm>
        <a:off x="10112705" y="2186649"/>
        <a:ext cx="1025936" cy="512968"/>
      </dsp:txXfrm>
    </dsp:sp>
    <dsp:sp modelId="{7A91515D-87E2-44C4-A06B-B13572A54A70}">
      <dsp:nvSpPr>
        <dsp:cNvPr id="0" name=""/>
        <dsp:cNvSpPr/>
      </dsp:nvSpPr>
      <dsp:spPr>
        <a:xfrm>
          <a:off x="10112705" y="2915064"/>
          <a:ext cx="1025936" cy="512968"/>
        </a:xfrm>
        <a:prstGeom prst="rect">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rtl="1">
            <a:lnSpc>
              <a:spcPct val="90000"/>
            </a:lnSpc>
            <a:spcBef>
              <a:spcPct val="0"/>
            </a:spcBef>
            <a:spcAft>
              <a:spcPct val="35000"/>
            </a:spcAft>
            <a:buNone/>
          </a:pPr>
          <a:r>
            <a:rPr lang="he-IL" sz="1200" b="0" kern="1200">
              <a:latin typeface="Calibri" panose="020F0502020204030204" pitchFamily="34" charset="0"/>
              <a:ea typeface="Calibri" panose="020F0502020204030204" pitchFamily="34" charset="0"/>
              <a:cs typeface="Calibri" panose="020F0502020204030204" pitchFamily="34" charset="0"/>
            </a:rPr>
            <a:t>מ. יבוא אווירי</a:t>
          </a:r>
        </a:p>
      </dsp:txBody>
      <dsp:txXfrm>
        <a:off x="10112705" y="2915064"/>
        <a:ext cx="1025936" cy="512968"/>
      </dsp:txXfrm>
    </dsp:sp>
    <dsp:sp modelId="{1AF91A6E-70E4-43B4-AA47-7684C21C35CB}">
      <dsp:nvSpPr>
        <dsp:cNvPr id="0" name=""/>
        <dsp:cNvSpPr/>
      </dsp:nvSpPr>
      <dsp:spPr>
        <a:xfrm>
          <a:off x="8204433" y="729819"/>
          <a:ext cx="1713334" cy="512968"/>
        </a:xfrm>
        <a:prstGeom prst="rect">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rtl="1">
            <a:lnSpc>
              <a:spcPct val="90000"/>
            </a:lnSpc>
            <a:spcBef>
              <a:spcPct val="0"/>
            </a:spcBef>
            <a:spcAft>
              <a:spcPct val="35000"/>
            </a:spcAft>
            <a:buNone/>
          </a:pPr>
          <a:r>
            <a:rPr lang="he-IL" sz="1600" b="1" kern="1200">
              <a:latin typeface="Calibri" panose="020F0502020204030204" pitchFamily="34" charset="0"/>
              <a:ea typeface="Calibri" panose="020F0502020204030204" pitchFamily="34" charset="0"/>
              <a:cs typeface="Calibri" panose="020F0502020204030204" pitchFamily="34" charset="0"/>
            </a:rPr>
            <a:t>כספים והנה"ח</a:t>
          </a:r>
        </a:p>
      </dsp:txBody>
      <dsp:txXfrm>
        <a:off x="8204433" y="729819"/>
        <a:ext cx="1713334" cy="512968"/>
      </dsp:txXfrm>
    </dsp:sp>
    <dsp:sp modelId="{3B164E60-29F4-4482-AB55-1513B855163A}">
      <dsp:nvSpPr>
        <dsp:cNvPr id="0" name=""/>
        <dsp:cNvSpPr/>
      </dsp:nvSpPr>
      <dsp:spPr>
        <a:xfrm>
          <a:off x="6275651" y="729819"/>
          <a:ext cx="1713334" cy="512968"/>
        </a:xfrm>
        <a:prstGeom prst="rect">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rtl="1">
            <a:lnSpc>
              <a:spcPct val="90000"/>
            </a:lnSpc>
            <a:spcBef>
              <a:spcPct val="0"/>
            </a:spcBef>
            <a:spcAft>
              <a:spcPct val="35000"/>
            </a:spcAft>
            <a:buNone/>
          </a:pPr>
          <a:r>
            <a:rPr lang="he-IL" sz="1600" b="1" kern="1200">
              <a:latin typeface="Calibri" panose="020F0502020204030204" pitchFamily="34" charset="0"/>
              <a:ea typeface="Calibri" panose="020F0502020204030204" pitchFamily="34" charset="0"/>
              <a:cs typeface="Calibri" panose="020F0502020204030204" pitchFamily="34" charset="0"/>
            </a:rPr>
            <a:t>סמנכ"ל עמילות ותפעול</a:t>
          </a:r>
        </a:p>
      </dsp:txBody>
      <dsp:txXfrm>
        <a:off x="6275651" y="729819"/>
        <a:ext cx="1713334" cy="512968"/>
      </dsp:txXfrm>
    </dsp:sp>
    <dsp:sp modelId="{91CBDC6D-DCFB-4272-B057-4FEDEE1F3EF6}">
      <dsp:nvSpPr>
        <dsp:cNvPr id="0" name=""/>
        <dsp:cNvSpPr/>
      </dsp:nvSpPr>
      <dsp:spPr>
        <a:xfrm>
          <a:off x="7240042" y="1458234"/>
          <a:ext cx="1025936" cy="512968"/>
        </a:xfrm>
        <a:prstGeom prst="rect">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rtl="1">
            <a:lnSpc>
              <a:spcPct val="90000"/>
            </a:lnSpc>
            <a:spcBef>
              <a:spcPct val="0"/>
            </a:spcBef>
            <a:spcAft>
              <a:spcPct val="35000"/>
            </a:spcAft>
            <a:buNone/>
          </a:pPr>
          <a:r>
            <a:rPr lang="he-IL" sz="1200" b="1" kern="1200">
              <a:latin typeface="Calibri" panose="020F0502020204030204" pitchFamily="34" charset="0"/>
              <a:ea typeface="Calibri" panose="020F0502020204030204" pitchFamily="34" charset="0"/>
              <a:cs typeface="Calibri" panose="020F0502020204030204" pitchFamily="34" charset="0"/>
            </a:rPr>
            <a:t>תפעול עמילות:</a:t>
          </a:r>
        </a:p>
      </dsp:txBody>
      <dsp:txXfrm>
        <a:off x="7240042" y="1458234"/>
        <a:ext cx="1025936" cy="512968"/>
      </dsp:txXfrm>
    </dsp:sp>
    <dsp:sp modelId="{233F3832-C5C7-441C-BB71-9D61DBAA5B8F}">
      <dsp:nvSpPr>
        <dsp:cNvPr id="0" name=""/>
        <dsp:cNvSpPr/>
      </dsp:nvSpPr>
      <dsp:spPr>
        <a:xfrm>
          <a:off x="7496526" y="2186649"/>
          <a:ext cx="1025936" cy="512968"/>
        </a:xfrm>
        <a:prstGeom prst="rect">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rtl="1">
            <a:lnSpc>
              <a:spcPct val="90000"/>
            </a:lnSpc>
            <a:spcBef>
              <a:spcPct val="0"/>
            </a:spcBef>
            <a:spcAft>
              <a:spcPct val="35000"/>
            </a:spcAft>
            <a:buNone/>
          </a:pPr>
          <a:r>
            <a:rPr lang="he-IL" sz="1200" b="0" kern="1200">
              <a:latin typeface="Calibri" panose="020F0502020204030204" pitchFamily="34" charset="0"/>
              <a:ea typeface="Calibri" panose="020F0502020204030204" pitchFamily="34" charset="0"/>
              <a:cs typeface="Calibri" panose="020F0502020204030204" pitchFamily="34" charset="0"/>
            </a:rPr>
            <a:t>סיווג וביקורת</a:t>
          </a:r>
        </a:p>
      </dsp:txBody>
      <dsp:txXfrm>
        <a:off x="7496526" y="2186649"/>
        <a:ext cx="1025936" cy="512968"/>
      </dsp:txXfrm>
    </dsp:sp>
    <dsp:sp modelId="{EC31DD45-2DA2-4E99-979E-9F9F0E031A2E}">
      <dsp:nvSpPr>
        <dsp:cNvPr id="0" name=""/>
        <dsp:cNvSpPr/>
      </dsp:nvSpPr>
      <dsp:spPr>
        <a:xfrm>
          <a:off x="7496526" y="2915064"/>
          <a:ext cx="1025936" cy="512968"/>
        </a:xfrm>
        <a:prstGeom prst="rect">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rtl="1">
            <a:lnSpc>
              <a:spcPct val="90000"/>
            </a:lnSpc>
            <a:spcBef>
              <a:spcPct val="0"/>
            </a:spcBef>
            <a:spcAft>
              <a:spcPct val="35000"/>
            </a:spcAft>
            <a:buNone/>
          </a:pPr>
          <a:r>
            <a:rPr lang="he-IL" sz="1200" b="0" kern="1200" dirty="0">
              <a:latin typeface="Calibri" panose="020F0502020204030204" pitchFamily="34" charset="0"/>
              <a:ea typeface="Calibri" panose="020F0502020204030204" pitchFamily="34" charset="0"/>
              <a:cs typeface="Calibri" panose="020F0502020204030204" pitchFamily="34" charset="0"/>
            </a:rPr>
            <a:t>צוות 1</a:t>
          </a:r>
        </a:p>
      </dsp:txBody>
      <dsp:txXfrm>
        <a:off x="7496526" y="2915064"/>
        <a:ext cx="1025936" cy="512968"/>
      </dsp:txXfrm>
    </dsp:sp>
    <dsp:sp modelId="{AED06B2E-E4B4-49B2-B134-01C1E613E987}">
      <dsp:nvSpPr>
        <dsp:cNvPr id="0" name=""/>
        <dsp:cNvSpPr/>
      </dsp:nvSpPr>
      <dsp:spPr>
        <a:xfrm>
          <a:off x="7496526" y="3643479"/>
          <a:ext cx="1025936" cy="512968"/>
        </a:xfrm>
        <a:prstGeom prst="rect">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rtl="1">
            <a:lnSpc>
              <a:spcPct val="90000"/>
            </a:lnSpc>
            <a:spcBef>
              <a:spcPct val="0"/>
            </a:spcBef>
            <a:spcAft>
              <a:spcPct val="35000"/>
            </a:spcAft>
            <a:buNone/>
          </a:pPr>
          <a:r>
            <a:rPr lang="he-IL" sz="1200" b="0" kern="1200" dirty="0">
              <a:latin typeface="Calibri" panose="020F0502020204030204" pitchFamily="34" charset="0"/>
              <a:ea typeface="Calibri" panose="020F0502020204030204" pitchFamily="34" charset="0"/>
              <a:cs typeface="Calibri" panose="020F0502020204030204" pitchFamily="34" charset="0"/>
            </a:rPr>
            <a:t>צוות 2</a:t>
          </a:r>
        </a:p>
      </dsp:txBody>
      <dsp:txXfrm>
        <a:off x="7496526" y="3643479"/>
        <a:ext cx="1025936" cy="512968"/>
      </dsp:txXfrm>
    </dsp:sp>
    <dsp:sp modelId="{CD8A256E-3043-410F-996A-810840FC5468}">
      <dsp:nvSpPr>
        <dsp:cNvPr id="0" name=""/>
        <dsp:cNvSpPr/>
      </dsp:nvSpPr>
      <dsp:spPr>
        <a:xfrm>
          <a:off x="5998659" y="1458234"/>
          <a:ext cx="1025936" cy="512968"/>
        </a:xfrm>
        <a:prstGeom prst="rect">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rtl="1">
            <a:lnSpc>
              <a:spcPct val="90000"/>
            </a:lnSpc>
            <a:spcBef>
              <a:spcPct val="0"/>
            </a:spcBef>
            <a:spcAft>
              <a:spcPct val="35000"/>
            </a:spcAft>
            <a:buNone/>
          </a:pPr>
          <a:r>
            <a:rPr lang="he-IL" sz="1200" b="1" kern="1200">
              <a:latin typeface="Calibri" panose="020F0502020204030204" pitchFamily="34" charset="0"/>
              <a:ea typeface="Calibri" panose="020F0502020204030204" pitchFamily="34" charset="0"/>
              <a:cs typeface="Calibri" panose="020F0502020204030204" pitchFamily="34" charset="0"/>
            </a:rPr>
            <a:t>סניפים תפעוליים:</a:t>
          </a:r>
        </a:p>
      </dsp:txBody>
      <dsp:txXfrm>
        <a:off x="5998659" y="1458234"/>
        <a:ext cx="1025936" cy="512968"/>
      </dsp:txXfrm>
    </dsp:sp>
    <dsp:sp modelId="{CE665874-8F85-4D6D-9816-40E749AFC2C6}">
      <dsp:nvSpPr>
        <dsp:cNvPr id="0" name=""/>
        <dsp:cNvSpPr/>
      </dsp:nvSpPr>
      <dsp:spPr>
        <a:xfrm>
          <a:off x="6255143" y="2186649"/>
          <a:ext cx="1025936" cy="512968"/>
        </a:xfrm>
        <a:prstGeom prst="rect">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rtl="1">
            <a:lnSpc>
              <a:spcPct val="90000"/>
            </a:lnSpc>
            <a:spcBef>
              <a:spcPct val="0"/>
            </a:spcBef>
            <a:spcAft>
              <a:spcPct val="35000"/>
            </a:spcAft>
            <a:buNone/>
          </a:pPr>
          <a:r>
            <a:rPr lang="he-IL" sz="1200" b="0" kern="1200">
              <a:latin typeface="Calibri" panose="020F0502020204030204" pitchFamily="34" charset="0"/>
              <a:ea typeface="Calibri" panose="020F0502020204030204" pitchFamily="34" charset="0"/>
              <a:cs typeface="Calibri" panose="020F0502020204030204" pitchFamily="34" charset="0"/>
            </a:rPr>
            <a:t>נתב"ג</a:t>
          </a:r>
        </a:p>
      </dsp:txBody>
      <dsp:txXfrm>
        <a:off x="6255143" y="2186649"/>
        <a:ext cx="1025936" cy="512968"/>
      </dsp:txXfrm>
    </dsp:sp>
    <dsp:sp modelId="{C00ED009-FA4A-4F43-B3DD-5BD94FDA9361}">
      <dsp:nvSpPr>
        <dsp:cNvPr id="0" name=""/>
        <dsp:cNvSpPr/>
      </dsp:nvSpPr>
      <dsp:spPr>
        <a:xfrm>
          <a:off x="6255143" y="2915064"/>
          <a:ext cx="1025936" cy="512968"/>
        </a:xfrm>
        <a:prstGeom prst="rect">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rtl="1">
            <a:lnSpc>
              <a:spcPct val="90000"/>
            </a:lnSpc>
            <a:spcBef>
              <a:spcPct val="0"/>
            </a:spcBef>
            <a:spcAft>
              <a:spcPct val="35000"/>
            </a:spcAft>
            <a:buNone/>
          </a:pPr>
          <a:r>
            <a:rPr lang="he-IL" sz="1200" b="0" kern="1200">
              <a:latin typeface="Calibri" panose="020F0502020204030204" pitchFamily="34" charset="0"/>
              <a:ea typeface="Calibri" panose="020F0502020204030204" pitchFamily="34" charset="0"/>
              <a:cs typeface="Calibri" panose="020F0502020204030204" pitchFamily="34" charset="0"/>
            </a:rPr>
            <a:t>אשדוד</a:t>
          </a:r>
        </a:p>
      </dsp:txBody>
      <dsp:txXfrm>
        <a:off x="6255143" y="2915064"/>
        <a:ext cx="1025936" cy="512968"/>
      </dsp:txXfrm>
    </dsp:sp>
    <dsp:sp modelId="{0EE7E067-5568-4AC2-816D-A7261D4D14C6}">
      <dsp:nvSpPr>
        <dsp:cNvPr id="0" name=""/>
        <dsp:cNvSpPr/>
      </dsp:nvSpPr>
      <dsp:spPr>
        <a:xfrm>
          <a:off x="6255143" y="3643479"/>
          <a:ext cx="1025936" cy="512968"/>
        </a:xfrm>
        <a:prstGeom prst="rect">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rtl="1">
            <a:lnSpc>
              <a:spcPct val="90000"/>
            </a:lnSpc>
            <a:spcBef>
              <a:spcPct val="0"/>
            </a:spcBef>
            <a:spcAft>
              <a:spcPct val="35000"/>
            </a:spcAft>
            <a:buNone/>
          </a:pPr>
          <a:r>
            <a:rPr lang="he-IL" sz="1200" b="0" kern="1200">
              <a:latin typeface="Calibri" panose="020F0502020204030204" pitchFamily="34" charset="0"/>
              <a:ea typeface="Calibri" panose="020F0502020204030204" pitchFamily="34" charset="0"/>
              <a:cs typeface="Calibri" panose="020F0502020204030204" pitchFamily="34" charset="0"/>
            </a:rPr>
            <a:t>חיפה</a:t>
          </a:r>
        </a:p>
      </dsp:txBody>
      <dsp:txXfrm>
        <a:off x="6255143" y="3643479"/>
        <a:ext cx="1025936" cy="512968"/>
      </dsp:txXfrm>
    </dsp:sp>
    <dsp:sp modelId="{92DDF521-C427-4F34-8ADA-5A83E465875F}">
      <dsp:nvSpPr>
        <dsp:cNvPr id="0" name=""/>
        <dsp:cNvSpPr/>
      </dsp:nvSpPr>
      <dsp:spPr>
        <a:xfrm>
          <a:off x="6255143" y="4371894"/>
          <a:ext cx="1025936" cy="512968"/>
        </a:xfrm>
        <a:prstGeom prst="rect">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rtl="1">
            <a:lnSpc>
              <a:spcPct val="90000"/>
            </a:lnSpc>
            <a:spcBef>
              <a:spcPct val="0"/>
            </a:spcBef>
            <a:spcAft>
              <a:spcPct val="35000"/>
            </a:spcAft>
            <a:buNone/>
          </a:pPr>
          <a:r>
            <a:rPr lang="he-IL" sz="1200" b="0" kern="1200">
              <a:latin typeface="Calibri" panose="020F0502020204030204" pitchFamily="34" charset="0"/>
              <a:ea typeface="Calibri" panose="020F0502020204030204" pitchFamily="34" charset="0"/>
              <a:cs typeface="Calibri" panose="020F0502020204030204" pitchFamily="34" charset="0"/>
            </a:rPr>
            <a:t>נהר הירדן</a:t>
          </a:r>
        </a:p>
      </dsp:txBody>
      <dsp:txXfrm>
        <a:off x="6255143" y="4371894"/>
        <a:ext cx="1025936" cy="512968"/>
      </dsp:txXfrm>
    </dsp:sp>
    <dsp:sp modelId="{7CD4460A-DDB3-4CC8-918E-F4C7D76DE7FE}">
      <dsp:nvSpPr>
        <dsp:cNvPr id="0" name=""/>
        <dsp:cNvSpPr/>
      </dsp:nvSpPr>
      <dsp:spPr>
        <a:xfrm>
          <a:off x="6255143" y="5100309"/>
          <a:ext cx="1025936" cy="512968"/>
        </a:xfrm>
        <a:prstGeom prst="rect">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rtl="1">
            <a:lnSpc>
              <a:spcPct val="90000"/>
            </a:lnSpc>
            <a:spcBef>
              <a:spcPct val="0"/>
            </a:spcBef>
            <a:spcAft>
              <a:spcPct val="35000"/>
            </a:spcAft>
            <a:buNone/>
          </a:pPr>
          <a:r>
            <a:rPr lang="he-IL" sz="1200" b="0" kern="1200">
              <a:latin typeface="Calibri" panose="020F0502020204030204" pitchFamily="34" charset="0"/>
              <a:ea typeface="Calibri" panose="020F0502020204030204" pitchFamily="34" charset="0"/>
              <a:cs typeface="Calibri" panose="020F0502020204030204" pitchFamily="34" charset="0"/>
            </a:rPr>
            <a:t>גשר אלנבי</a:t>
          </a:r>
        </a:p>
      </dsp:txBody>
      <dsp:txXfrm>
        <a:off x="6255143" y="5100309"/>
        <a:ext cx="1025936" cy="512968"/>
      </dsp:txXfrm>
    </dsp:sp>
    <dsp:sp modelId="{B79E6939-8201-4980-B028-FA93CF37503B}">
      <dsp:nvSpPr>
        <dsp:cNvPr id="0" name=""/>
        <dsp:cNvSpPr/>
      </dsp:nvSpPr>
      <dsp:spPr>
        <a:xfrm>
          <a:off x="3172193" y="729819"/>
          <a:ext cx="1713334" cy="512968"/>
        </a:xfrm>
        <a:prstGeom prst="rect">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rtl="1">
            <a:lnSpc>
              <a:spcPct val="90000"/>
            </a:lnSpc>
            <a:spcBef>
              <a:spcPct val="0"/>
            </a:spcBef>
            <a:spcAft>
              <a:spcPct val="35000"/>
            </a:spcAft>
            <a:buNone/>
          </a:pPr>
          <a:r>
            <a:rPr lang="he-IL" sz="1600" b="1" kern="1200">
              <a:latin typeface="Calibri" panose="020F0502020204030204" pitchFamily="34" charset="0"/>
              <a:ea typeface="Calibri" panose="020F0502020204030204" pitchFamily="34" charset="0"/>
              <a:cs typeface="Calibri" panose="020F0502020204030204" pitchFamily="34" charset="0"/>
            </a:rPr>
            <a:t>סמנכ"ל יצוא</a:t>
          </a:r>
        </a:p>
      </dsp:txBody>
      <dsp:txXfrm>
        <a:off x="3172193" y="729819"/>
        <a:ext cx="1713334" cy="512968"/>
      </dsp:txXfrm>
    </dsp:sp>
    <dsp:sp modelId="{DB124830-D955-41D1-90D6-302B92ECC1AD}">
      <dsp:nvSpPr>
        <dsp:cNvPr id="0" name=""/>
        <dsp:cNvSpPr/>
      </dsp:nvSpPr>
      <dsp:spPr>
        <a:xfrm>
          <a:off x="4757275" y="1458234"/>
          <a:ext cx="1025936" cy="512968"/>
        </a:xfrm>
        <a:prstGeom prst="rect">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rtl="1">
            <a:lnSpc>
              <a:spcPct val="90000"/>
            </a:lnSpc>
            <a:spcBef>
              <a:spcPct val="0"/>
            </a:spcBef>
            <a:spcAft>
              <a:spcPct val="35000"/>
            </a:spcAft>
            <a:buNone/>
          </a:pPr>
          <a:r>
            <a:rPr lang="en-US" sz="1200" b="1" kern="1200" err="1">
              <a:latin typeface="Calibri" panose="020F0502020204030204" pitchFamily="34" charset="0"/>
              <a:ea typeface="Calibri" panose="020F0502020204030204" pitchFamily="34" charset="0"/>
              <a:cs typeface="Calibri" panose="020F0502020204030204" pitchFamily="34" charset="0"/>
            </a:rPr>
            <a:t>Envirotainer</a:t>
          </a:r>
          <a:r>
            <a:rPr lang="en-US" sz="1200" b="1" kern="1200">
              <a:latin typeface="Calibri" panose="020F0502020204030204" pitchFamily="34" charset="0"/>
              <a:ea typeface="Calibri" panose="020F0502020204030204" pitchFamily="34" charset="0"/>
              <a:cs typeface="Calibri" panose="020F0502020204030204" pitchFamily="34" charset="0"/>
            </a:rPr>
            <a:t> GSA</a:t>
          </a:r>
          <a:endParaRPr lang="he-IL" sz="1200" b="1" kern="1200">
            <a:latin typeface="Calibri" panose="020F0502020204030204" pitchFamily="34" charset="0"/>
            <a:ea typeface="Calibri" panose="020F0502020204030204" pitchFamily="34" charset="0"/>
            <a:cs typeface="Calibri" panose="020F0502020204030204" pitchFamily="34" charset="0"/>
          </a:endParaRPr>
        </a:p>
      </dsp:txBody>
      <dsp:txXfrm>
        <a:off x="4757275" y="1458234"/>
        <a:ext cx="1025936" cy="512968"/>
      </dsp:txXfrm>
    </dsp:sp>
    <dsp:sp modelId="{162A3530-9EA8-4208-89ED-A3EAD5C23F27}">
      <dsp:nvSpPr>
        <dsp:cNvPr id="0" name=""/>
        <dsp:cNvSpPr/>
      </dsp:nvSpPr>
      <dsp:spPr>
        <a:xfrm>
          <a:off x="3515892" y="1458234"/>
          <a:ext cx="1025936" cy="512968"/>
        </a:xfrm>
        <a:prstGeom prst="rect">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rtl="1">
            <a:lnSpc>
              <a:spcPct val="90000"/>
            </a:lnSpc>
            <a:spcBef>
              <a:spcPct val="0"/>
            </a:spcBef>
            <a:spcAft>
              <a:spcPct val="35000"/>
            </a:spcAft>
            <a:buNone/>
          </a:pPr>
          <a:r>
            <a:rPr lang="he-IL" sz="1200" b="1" kern="1200">
              <a:latin typeface="Calibri" panose="020F0502020204030204" pitchFamily="34" charset="0"/>
              <a:ea typeface="Calibri" panose="020F0502020204030204" pitchFamily="34" charset="0"/>
              <a:cs typeface="Calibri" panose="020F0502020204030204" pitchFamily="34" charset="0"/>
            </a:rPr>
            <a:t>מ. יצוא ימי</a:t>
          </a:r>
        </a:p>
      </dsp:txBody>
      <dsp:txXfrm>
        <a:off x="3515892" y="1458234"/>
        <a:ext cx="1025936" cy="512968"/>
      </dsp:txXfrm>
    </dsp:sp>
    <dsp:sp modelId="{0949D80A-7400-4A28-B70F-7B72AF6435F6}">
      <dsp:nvSpPr>
        <dsp:cNvPr id="0" name=""/>
        <dsp:cNvSpPr/>
      </dsp:nvSpPr>
      <dsp:spPr>
        <a:xfrm>
          <a:off x="3772376" y="2186649"/>
          <a:ext cx="1025936" cy="512968"/>
        </a:xfrm>
        <a:prstGeom prst="rect">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rtl="1">
            <a:lnSpc>
              <a:spcPct val="90000"/>
            </a:lnSpc>
            <a:spcBef>
              <a:spcPct val="0"/>
            </a:spcBef>
            <a:spcAft>
              <a:spcPct val="35000"/>
            </a:spcAft>
            <a:buNone/>
          </a:pPr>
          <a:r>
            <a:rPr lang="he-IL" sz="1200" b="0" kern="1200">
              <a:latin typeface="Calibri" panose="020F0502020204030204" pitchFamily="34" charset="0"/>
              <a:ea typeface="Calibri" panose="020F0502020204030204" pitchFamily="34" charset="0"/>
              <a:cs typeface="Calibri" panose="020F0502020204030204" pitchFamily="34" charset="0"/>
            </a:rPr>
            <a:t>יצוא ימי</a:t>
          </a:r>
        </a:p>
      </dsp:txBody>
      <dsp:txXfrm>
        <a:off x="3772376" y="2186649"/>
        <a:ext cx="1025936" cy="512968"/>
      </dsp:txXfrm>
    </dsp:sp>
    <dsp:sp modelId="{A88671D5-4A52-46AA-90B8-0756A808B488}">
      <dsp:nvSpPr>
        <dsp:cNvPr id="0" name=""/>
        <dsp:cNvSpPr/>
      </dsp:nvSpPr>
      <dsp:spPr>
        <a:xfrm>
          <a:off x="2274509" y="1458234"/>
          <a:ext cx="1025936" cy="512968"/>
        </a:xfrm>
        <a:prstGeom prst="rect">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rtl="1">
            <a:lnSpc>
              <a:spcPct val="90000"/>
            </a:lnSpc>
            <a:spcBef>
              <a:spcPct val="0"/>
            </a:spcBef>
            <a:spcAft>
              <a:spcPct val="35000"/>
            </a:spcAft>
            <a:buNone/>
          </a:pPr>
          <a:r>
            <a:rPr lang="he-IL" sz="1200" b="1" kern="1200">
              <a:latin typeface="Calibri" panose="020F0502020204030204" pitchFamily="34" charset="0"/>
              <a:ea typeface="Calibri" panose="020F0502020204030204" pitchFamily="34" charset="0"/>
              <a:cs typeface="Calibri" panose="020F0502020204030204" pitchFamily="34" charset="0"/>
            </a:rPr>
            <a:t>מ. יצוא אווירי</a:t>
          </a:r>
        </a:p>
      </dsp:txBody>
      <dsp:txXfrm>
        <a:off x="2274509" y="1458234"/>
        <a:ext cx="1025936" cy="512968"/>
      </dsp:txXfrm>
    </dsp:sp>
    <dsp:sp modelId="{CE7C7BB5-4148-4195-B25B-F6C7FADBB923}">
      <dsp:nvSpPr>
        <dsp:cNvPr id="0" name=""/>
        <dsp:cNvSpPr/>
      </dsp:nvSpPr>
      <dsp:spPr>
        <a:xfrm>
          <a:off x="2530993" y="2186649"/>
          <a:ext cx="1025936" cy="512968"/>
        </a:xfrm>
        <a:prstGeom prst="rect">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rtl="1">
            <a:lnSpc>
              <a:spcPct val="90000"/>
            </a:lnSpc>
            <a:spcBef>
              <a:spcPct val="0"/>
            </a:spcBef>
            <a:spcAft>
              <a:spcPct val="35000"/>
            </a:spcAft>
            <a:buNone/>
          </a:pPr>
          <a:r>
            <a:rPr lang="he-IL" sz="1200" b="0" kern="1200">
              <a:latin typeface="Calibri" panose="020F0502020204030204" pitchFamily="34" charset="0"/>
              <a:ea typeface="Calibri" panose="020F0502020204030204" pitchFamily="34" charset="0"/>
              <a:cs typeface="Calibri" panose="020F0502020204030204" pitchFamily="34" charset="0"/>
            </a:rPr>
            <a:t>יצוא אווירי</a:t>
          </a:r>
        </a:p>
      </dsp:txBody>
      <dsp:txXfrm>
        <a:off x="2530993" y="2186649"/>
        <a:ext cx="1025936" cy="512968"/>
      </dsp:txXfrm>
    </dsp:sp>
    <dsp:sp modelId="{1B9E64F6-4788-46D9-A1F3-3087465CC3B7}">
      <dsp:nvSpPr>
        <dsp:cNvPr id="0" name=""/>
        <dsp:cNvSpPr/>
      </dsp:nvSpPr>
      <dsp:spPr>
        <a:xfrm>
          <a:off x="1243412" y="729819"/>
          <a:ext cx="1713334" cy="512968"/>
        </a:xfrm>
        <a:prstGeom prst="rect">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rtl="1">
            <a:lnSpc>
              <a:spcPct val="90000"/>
            </a:lnSpc>
            <a:spcBef>
              <a:spcPct val="0"/>
            </a:spcBef>
            <a:spcAft>
              <a:spcPct val="35000"/>
            </a:spcAft>
            <a:buNone/>
          </a:pPr>
          <a:r>
            <a:rPr lang="he-IL" sz="1600" b="1" kern="1200">
              <a:latin typeface="Calibri" panose="020F0502020204030204" pitchFamily="34" charset="0"/>
              <a:ea typeface="Calibri" panose="020F0502020204030204" pitchFamily="34" charset="0"/>
              <a:cs typeface="Calibri" panose="020F0502020204030204" pitchFamily="34" charset="0"/>
            </a:rPr>
            <a:t>מערכות מידע</a:t>
          </a:r>
        </a:p>
      </dsp:txBody>
      <dsp:txXfrm>
        <a:off x="1243412" y="729819"/>
        <a:ext cx="1713334" cy="512968"/>
      </dsp:txXfrm>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FF21EFC-BE42-4EF8-9302-D358CDA5583A}" type="datetimeFigureOut">
              <a:rPr lang="de-DE" smtClean="0"/>
              <a:t>06.04.2026</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F80D452-E41A-4F87-AE11-46FDE45B7292}" type="slidenum">
              <a:rPr lang="de-DE" smtClean="0"/>
              <a:t>‹#›</a:t>
            </a:fld>
            <a:endParaRPr lang="de-DE"/>
          </a:p>
        </p:txBody>
      </p:sp>
    </p:spTree>
    <p:extLst>
      <p:ext uri="{BB962C8B-B14F-4D97-AF65-F5344CB8AC3E}">
        <p14:creationId xmlns:p14="http://schemas.microsoft.com/office/powerpoint/2010/main" val="261394952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תמונת שקופית 1"/>
          <p:cNvSpPr>
            <a:spLocks noGrp="1" noRot="1" noChangeAspect="1"/>
          </p:cNvSpPr>
          <p:nvPr>
            <p:ph type="sldImg"/>
          </p:nvPr>
        </p:nvSpPr>
        <p:spPr/>
      </p:sp>
      <p:sp>
        <p:nvSpPr>
          <p:cNvPr id="3" name="מציין מיקום של הערות 2"/>
          <p:cNvSpPr>
            <a:spLocks noGrp="1"/>
          </p:cNvSpPr>
          <p:nvPr>
            <p:ph type="body" idx="1"/>
          </p:nvPr>
        </p:nvSpPr>
        <p:spPr/>
        <p:txBody>
          <a:bodyPr/>
          <a:lstStyle/>
          <a:p>
            <a:endParaRPr lang="he-IL"/>
          </a:p>
        </p:txBody>
      </p:sp>
      <p:sp>
        <p:nvSpPr>
          <p:cNvPr id="4" name="מציין מיקום של מספר שקופית 3"/>
          <p:cNvSpPr>
            <a:spLocks noGrp="1"/>
          </p:cNvSpPr>
          <p:nvPr>
            <p:ph type="sldNum" sz="quarter" idx="5"/>
          </p:nvPr>
        </p:nvSpPr>
        <p:spPr/>
        <p:txBody>
          <a:bodyPr/>
          <a:lstStyle/>
          <a:p>
            <a:fld id="{5F80D452-E41A-4F87-AE11-46FDE45B7292}" type="slidenum">
              <a:rPr lang="de-DE" smtClean="0"/>
              <a:t>10</a:t>
            </a:fld>
            <a:endParaRPr lang="de-DE"/>
          </a:p>
        </p:txBody>
      </p:sp>
    </p:spTree>
    <p:extLst>
      <p:ext uri="{BB962C8B-B14F-4D97-AF65-F5344CB8AC3E}">
        <p14:creationId xmlns:p14="http://schemas.microsoft.com/office/powerpoint/2010/main" val="3084840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תמונת שקופית 1"/>
          <p:cNvSpPr>
            <a:spLocks noGrp="1" noRot="1" noChangeAspect="1"/>
          </p:cNvSpPr>
          <p:nvPr>
            <p:ph type="sldImg"/>
          </p:nvPr>
        </p:nvSpPr>
        <p:spPr/>
      </p:sp>
      <p:sp>
        <p:nvSpPr>
          <p:cNvPr id="3" name="מציין מיקום של הערות 2"/>
          <p:cNvSpPr>
            <a:spLocks noGrp="1"/>
          </p:cNvSpPr>
          <p:nvPr>
            <p:ph type="body" idx="1"/>
          </p:nvPr>
        </p:nvSpPr>
        <p:spPr/>
        <p:txBody>
          <a:bodyPr/>
          <a:lstStyle/>
          <a:p>
            <a:endParaRPr lang="he-IL"/>
          </a:p>
        </p:txBody>
      </p:sp>
      <p:sp>
        <p:nvSpPr>
          <p:cNvPr id="4" name="מציין מיקום של מספר שקופית 3"/>
          <p:cNvSpPr>
            <a:spLocks noGrp="1"/>
          </p:cNvSpPr>
          <p:nvPr>
            <p:ph type="sldNum" sz="quarter" idx="5"/>
          </p:nvPr>
        </p:nvSpPr>
        <p:spPr/>
        <p:txBody>
          <a:bodyPr/>
          <a:lstStyle/>
          <a:p>
            <a:fld id="{5F80D452-E41A-4F87-AE11-46FDE45B7292}" type="slidenum">
              <a:rPr lang="de-DE" smtClean="0"/>
              <a:t>11</a:t>
            </a:fld>
            <a:endParaRPr lang="de-DE"/>
          </a:p>
        </p:txBody>
      </p:sp>
    </p:spTree>
    <p:extLst>
      <p:ext uri="{BB962C8B-B14F-4D97-AF65-F5344CB8AC3E}">
        <p14:creationId xmlns:p14="http://schemas.microsoft.com/office/powerpoint/2010/main" val="277284884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תמונת שקופית 1"/>
          <p:cNvSpPr>
            <a:spLocks noGrp="1" noRot="1" noChangeAspect="1"/>
          </p:cNvSpPr>
          <p:nvPr>
            <p:ph type="sldImg"/>
          </p:nvPr>
        </p:nvSpPr>
        <p:spPr/>
      </p:sp>
      <p:sp>
        <p:nvSpPr>
          <p:cNvPr id="3" name="מציין מיקום של הערות 2"/>
          <p:cNvSpPr>
            <a:spLocks noGrp="1"/>
          </p:cNvSpPr>
          <p:nvPr>
            <p:ph type="body" idx="1"/>
          </p:nvPr>
        </p:nvSpPr>
        <p:spPr/>
        <p:txBody>
          <a:bodyPr/>
          <a:lstStyle/>
          <a:p>
            <a:endParaRPr lang="he-IL"/>
          </a:p>
        </p:txBody>
      </p:sp>
      <p:sp>
        <p:nvSpPr>
          <p:cNvPr id="4" name="מציין מיקום של מספר שקופית 3"/>
          <p:cNvSpPr>
            <a:spLocks noGrp="1"/>
          </p:cNvSpPr>
          <p:nvPr>
            <p:ph type="sldNum" sz="quarter" idx="5"/>
          </p:nvPr>
        </p:nvSpPr>
        <p:spPr/>
        <p:txBody>
          <a:bodyPr/>
          <a:lstStyle/>
          <a:p>
            <a:fld id="{5F80D452-E41A-4F87-AE11-46FDE45B7292}" type="slidenum">
              <a:rPr lang="de-DE" smtClean="0"/>
              <a:t>12</a:t>
            </a:fld>
            <a:endParaRPr lang="de-DE"/>
          </a:p>
        </p:txBody>
      </p:sp>
    </p:spTree>
    <p:extLst>
      <p:ext uri="{BB962C8B-B14F-4D97-AF65-F5344CB8AC3E}">
        <p14:creationId xmlns:p14="http://schemas.microsoft.com/office/powerpoint/2010/main" val="6753598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תמונת שקופית 1"/>
          <p:cNvSpPr>
            <a:spLocks noGrp="1" noRot="1" noChangeAspect="1"/>
          </p:cNvSpPr>
          <p:nvPr>
            <p:ph type="sldImg"/>
          </p:nvPr>
        </p:nvSpPr>
        <p:spPr/>
      </p:sp>
      <p:sp>
        <p:nvSpPr>
          <p:cNvPr id="3" name="מציין מיקום של הערות 2"/>
          <p:cNvSpPr>
            <a:spLocks noGrp="1"/>
          </p:cNvSpPr>
          <p:nvPr>
            <p:ph type="body" idx="1"/>
          </p:nvPr>
        </p:nvSpPr>
        <p:spPr/>
        <p:txBody>
          <a:bodyPr/>
          <a:lstStyle/>
          <a:p>
            <a:endParaRPr lang="he-IL"/>
          </a:p>
        </p:txBody>
      </p:sp>
      <p:sp>
        <p:nvSpPr>
          <p:cNvPr id="4" name="מציין מיקום של מספר שקופית 3"/>
          <p:cNvSpPr>
            <a:spLocks noGrp="1"/>
          </p:cNvSpPr>
          <p:nvPr>
            <p:ph type="sldNum" sz="quarter" idx="5"/>
          </p:nvPr>
        </p:nvSpPr>
        <p:spPr/>
        <p:txBody>
          <a:bodyPr/>
          <a:lstStyle/>
          <a:p>
            <a:fld id="{5F80D452-E41A-4F87-AE11-46FDE45B7292}" type="slidenum">
              <a:rPr lang="de-DE" smtClean="0"/>
              <a:t>18</a:t>
            </a:fld>
            <a:endParaRPr lang="de-DE"/>
          </a:p>
        </p:txBody>
      </p:sp>
    </p:spTree>
    <p:extLst>
      <p:ext uri="{BB962C8B-B14F-4D97-AF65-F5344CB8AC3E}">
        <p14:creationId xmlns:p14="http://schemas.microsoft.com/office/powerpoint/2010/main" val="17545377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תמונת שקופית 1"/>
          <p:cNvSpPr>
            <a:spLocks noGrp="1" noRot="1" noChangeAspect="1"/>
          </p:cNvSpPr>
          <p:nvPr>
            <p:ph type="sldImg"/>
          </p:nvPr>
        </p:nvSpPr>
        <p:spPr/>
      </p:sp>
      <p:sp>
        <p:nvSpPr>
          <p:cNvPr id="3" name="מציין מיקום של הערות 2"/>
          <p:cNvSpPr>
            <a:spLocks noGrp="1"/>
          </p:cNvSpPr>
          <p:nvPr>
            <p:ph type="body" idx="1"/>
          </p:nvPr>
        </p:nvSpPr>
        <p:spPr/>
        <p:txBody>
          <a:bodyPr/>
          <a:lstStyle/>
          <a:p>
            <a:endParaRPr lang="he-IL"/>
          </a:p>
        </p:txBody>
      </p:sp>
      <p:sp>
        <p:nvSpPr>
          <p:cNvPr id="4" name="מציין מיקום של מספר שקופית 3"/>
          <p:cNvSpPr>
            <a:spLocks noGrp="1"/>
          </p:cNvSpPr>
          <p:nvPr>
            <p:ph type="sldNum" sz="quarter" idx="5"/>
          </p:nvPr>
        </p:nvSpPr>
        <p:spPr/>
        <p:txBody>
          <a:bodyPr/>
          <a:lstStyle/>
          <a:p>
            <a:fld id="{5F80D452-E41A-4F87-AE11-46FDE45B7292}" type="slidenum">
              <a:rPr lang="de-DE" smtClean="0"/>
              <a:t>23</a:t>
            </a:fld>
            <a:endParaRPr lang="de-DE"/>
          </a:p>
        </p:txBody>
      </p:sp>
    </p:spTree>
    <p:extLst>
      <p:ext uri="{BB962C8B-B14F-4D97-AF65-F5344CB8AC3E}">
        <p14:creationId xmlns:p14="http://schemas.microsoft.com/office/powerpoint/2010/main" val="8529694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תמונת שקופית 1"/>
          <p:cNvSpPr>
            <a:spLocks noGrp="1" noRot="1" noChangeAspect="1"/>
          </p:cNvSpPr>
          <p:nvPr>
            <p:ph type="sldImg"/>
          </p:nvPr>
        </p:nvSpPr>
        <p:spPr/>
      </p:sp>
      <p:sp>
        <p:nvSpPr>
          <p:cNvPr id="3" name="מציין מיקום של הערות 2"/>
          <p:cNvSpPr>
            <a:spLocks noGrp="1"/>
          </p:cNvSpPr>
          <p:nvPr>
            <p:ph type="body" idx="1"/>
          </p:nvPr>
        </p:nvSpPr>
        <p:spPr/>
        <p:txBody>
          <a:bodyPr/>
          <a:lstStyle/>
          <a:p>
            <a:endParaRPr lang="he-IL"/>
          </a:p>
        </p:txBody>
      </p:sp>
      <p:sp>
        <p:nvSpPr>
          <p:cNvPr id="4" name="מציין מיקום של מספר שקופית 3"/>
          <p:cNvSpPr>
            <a:spLocks noGrp="1"/>
          </p:cNvSpPr>
          <p:nvPr>
            <p:ph type="sldNum" sz="quarter" idx="5"/>
          </p:nvPr>
        </p:nvSpPr>
        <p:spPr/>
        <p:txBody>
          <a:bodyPr/>
          <a:lstStyle/>
          <a:p>
            <a:fld id="{5F80D452-E41A-4F87-AE11-46FDE45B7292}" type="slidenum">
              <a:rPr lang="de-DE" smtClean="0"/>
              <a:t>24</a:t>
            </a:fld>
            <a:endParaRPr lang="de-DE"/>
          </a:p>
        </p:txBody>
      </p:sp>
    </p:spTree>
    <p:extLst>
      <p:ext uri="{BB962C8B-B14F-4D97-AF65-F5344CB8AC3E}">
        <p14:creationId xmlns:p14="http://schemas.microsoft.com/office/powerpoint/2010/main" val="415736508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תמונת שקופית 1"/>
          <p:cNvSpPr>
            <a:spLocks noGrp="1" noRot="1" noChangeAspect="1"/>
          </p:cNvSpPr>
          <p:nvPr>
            <p:ph type="sldImg"/>
          </p:nvPr>
        </p:nvSpPr>
        <p:spPr/>
      </p:sp>
      <p:sp>
        <p:nvSpPr>
          <p:cNvPr id="3" name="מציין מיקום של הערות 2"/>
          <p:cNvSpPr>
            <a:spLocks noGrp="1"/>
          </p:cNvSpPr>
          <p:nvPr>
            <p:ph type="body" idx="1"/>
          </p:nvPr>
        </p:nvSpPr>
        <p:spPr/>
        <p:txBody>
          <a:bodyPr/>
          <a:lstStyle/>
          <a:p>
            <a:endParaRPr lang="he-IL" dirty="0"/>
          </a:p>
        </p:txBody>
      </p:sp>
      <p:sp>
        <p:nvSpPr>
          <p:cNvPr id="4" name="מציין מיקום של מספר שקופית 3"/>
          <p:cNvSpPr>
            <a:spLocks noGrp="1"/>
          </p:cNvSpPr>
          <p:nvPr>
            <p:ph type="sldNum" sz="quarter" idx="5"/>
          </p:nvPr>
        </p:nvSpPr>
        <p:spPr/>
        <p:txBody>
          <a:bodyPr/>
          <a:lstStyle/>
          <a:p>
            <a:fld id="{5F80D452-E41A-4F87-AE11-46FDE45B7292}" type="slidenum">
              <a:rPr lang="de-DE" smtClean="0"/>
              <a:t>28</a:t>
            </a:fld>
            <a:endParaRPr lang="de-DE"/>
          </a:p>
        </p:txBody>
      </p:sp>
    </p:spTree>
    <p:extLst>
      <p:ext uri="{BB962C8B-B14F-4D97-AF65-F5344CB8AC3E}">
        <p14:creationId xmlns:p14="http://schemas.microsoft.com/office/powerpoint/2010/main" val="315452751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2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3.jpeg"/><Relationship Id="rId1" Type="http://schemas.openxmlformats.org/officeDocument/2006/relationships/slideMaster" Target="../slideMasters/slideMaster4.xml"/></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8.svg"/><Relationship Id="rId1" Type="http://schemas.openxmlformats.org/officeDocument/2006/relationships/slideMaster" Target="../slideMasters/slideMaster5.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7.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7.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7.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7.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7.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7.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7.xml"/></Relationships>
</file>

<file path=ppt/slideLayouts/_rels/slideLayout29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7.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7.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7.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7.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7.xml"/></Relationships>
</file>

<file path=ppt/slideLayouts/_rels/slideLayout302.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7.xml"/></Relationships>
</file>

<file path=ppt/slideLayouts/_rels/slideLayout30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7.xml"/></Relationships>
</file>

<file path=ppt/slideLayouts/_rels/slideLayout30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7.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7.xml"/></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7.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7.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7.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7.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7.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7.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7.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7.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7.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7.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8.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3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9.xml"/><Relationship Id="rId1" Type="http://schemas.openxmlformats.org/officeDocument/2006/relationships/tags" Target="../tags/tag3.xml"/><Relationship Id="rId4" Type="http://schemas.openxmlformats.org/officeDocument/2006/relationships/image" Target="../media/image21.emf"/></Relationships>
</file>

<file path=ppt/slideLayouts/_rels/slideLayout33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9.xml"/><Relationship Id="rId1" Type="http://schemas.openxmlformats.org/officeDocument/2006/relationships/tags" Target="../tags/tag4.xml"/><Relationship Id="rId4" Type="http://schemas.openxmlformats.org/officeDocument/2006/relationships/image" Target="../media/image21.emf"/></Relationships>
</file>

<file path=ppt/slideLayouts/_rels/slideLayout33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9.xml"/><Relationship Id="rId1" Type="http://schemas.openxmlformats.org/officeDocument/2006/relationships/tags" Target="../tags/tag5.xml"/><Relationship Id="rId6" Type="http://schemas.openxmlformats.org/officeDocument/2006/relationships/image" Target="../media/image23.svg"/><Relationship Id="rId5" Type="http://schemas.openxmlformats.org/officeDocument/2006/relationships/image" Target="../media/image22.jpeg"/><Relationship Id="rId4" Type="http://schemas.openxmlformats.org/officeDocument/2006/relationships/image" Target="../media/image21.emf"/></Relationships>
</file>

<file path=ppt/slideLayouts/_rels/slideLayout334.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slideMaster" Target="../slideMasters/slideMaster9.xml"/><Relationship Id="rId1" Type="http://schemas.openxmlformats.org/officeDocument/2006/relationships/tags" Target="../tags/tag6.xml"/><Relationship Id="rId6" Type="http://schemas.openxmlformats.org/officeDocument/2006/relationships/image" Target="../media/image15.png"/><Relationship Id="rId5" Type="http://schemas.openxmlformats.org/officeDocument/2006/relationships/image" Target="../media/image21.emf"/><Relationship Id="rId4" Type="http://schemas.openxmlformats.org/officeDocument/2006/relationships/oleObject" Target="../embeddings/oleObject5.bin"/></Relationships>
</file>

<file path=ppt/slideLayouts/_rels/slideLayout33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9.xml"/><Relationship Id="rId1" Type="http://schemas.openxmlformats.org/officeDocument/2006/relationships/tags" Target="../tags/tag7.xml"/><Relationship Id="rId6" Type="http://schemas.openxmlformats.org/officeDocument/2006/relationships/image" Target="../media/image3.png"/><Relationship Id="rId5" Type="http://schemas.openxmlformats.org/officeDocument/2006/relationships/image" Target="../media/image25.png"/><Relationship Id="rId4" Type="http://schemas.openxmlformats.org/officeDocument/2006/relationships/image" Target="../media/image21.emf"/></Relationships>
</file>

<file path=ppt/slideLayouts/_rels/slideLayout33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9.xml"/><Relationship Id="rId1" Type="http://schemas.openxmlformats.org/officeDocument/2006/relationships/tags" Target="../tags/tag8.xml"/><Relationship Id="rId5" Type="http://schemas.openxmlformats.org/officeDocument/2006/relationships/image" Target="../media/image3.png"/><Relationship Id="rId4" Type="http://schemas.openxmlformats.org/officeDocument/2006/relationships/image" Target="../media/image21.emf"/></Relationships>
</file>

<file path=ppt/slideLayouts/_rels/slideLayout33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9.xml"/><Relationship Id="rId1" Type="http://schemas.openxmlformats.org/officeDocument/2006/relationships/tags" Target="../tags/tag9.xml"/><Relationship Id="rId5" Type="http://schemas.openxmlformats.org/officeDocument/2006/relationships/image" Target="../media/image3.png"/><Relationship Id="rId4" Type="http://schemas.openxmlformats.org/officeDocument/2006/relationships/image" Target="../media/image21.emf"/></Relationships>
</file>

<file path=ppt/slideLayouts/_rels/slideLayout33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9.xml"/><Relationship Id="rId1" Type="http://schemas.openxmlformats.org/officeDocument/2006/relationships/tags" Target="../tags/tag10.xml"/><Relationship Id="rId5" Type="http://schemas.openxmlformats.org/officeDocument/2006/relationships/image" Target="../media/image3.png"/><Relationship Id="rId4" Type="http://schemas.openxmlformats.org/officeDocument/2006/relationships/image" Target="../media/image21.emf"/></Relationships>
</file>

<file path=ppt/slideLayouts/_rels/slideLayout339.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9.xml"/><Relationship Id="rId1" Type="http://schemas.openxmlformats.org/officeDocument/2006/relationships/tags" Target="../tags/tag11.xml"/><Relationship Id="rId4" Type="http://schemas.openxmlformats.org/officeDocument/2006/relationships/image" Target="../media/image21.emf"/></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9.xml"/><Relationship Id="rId1" Type="http://schemas.openxmlformats.org/officeDocument/2006/relationships/tags" Target="../tags/tag12.xml"/><Relationship Id="rId6" Type="http://schemas.openxmlformats.org/officeDocument/2006/relationships/image" Target="../media/image3.png"/><Relationship Id="rId5" Type="http://schemas.openxmlformats.org/officeDocument/2006/relationships/image" Target="../media/image4.jpeg"/><Relationship Id="rId4" Type="http://schemas.openxmlformats.org/officeDocument/2006/relationships/image" Target="../media/image21.emf"/></Relationships>
</file>

<file path=ppt/slideLayouts/_rels/slideLayout341.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9.xml"/><Relationship Id="rId1" Type="http://schemas.openxmlformats.org/officeDocument/2006/relationships/tags" Target="../tags/tag13.xml"/><Relationship Id="rId4" Type="http://schemas.openxmlformats.org/officeDocument/2006/relationships/image" Target="../media/image21.emf"/></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ELCOME SLIDE">
    <p:spTree>
      <p:nvGrpSpPr>
        <p:cNvPr id="1" name=""/>
        <p:cNvGrpSpPr/>
        <p:nvPr/>
      </p:nvGrpSpPr>
      <p:grpSpPr>
        <a:xfrm>
          <a:off x="0" y="0"/>
          <a:ext cx="0" cy="0"/>
          <a:chOff x="0" y="0"/>
          <a:chExt cx="0" cy="0"/>
        </a:xfrm>
      </p:grpSpPr>
      <p:sp>
        <p:nvSpPr>
          <p:cNvPr id="33" name="Rechteck 32">
            <a:extLst>
              <a:ext uri="{FF2B5EF4-FFF2-40B4-BE49-F238E27FC236}">
                <a16:creationId xmlns:a16="http://schemas.microsoft.com/office/drawing/2014/main" id="{95791B20-6611-4BC3-9643-F8853AFBD8B7}"/>
              </a:ext>
            </a:extLst>
          </p:cNvPr>
          <p:cNvSpPr/>
          <p:nvPr userDrawn="1"/>
        </p:nvSpPr>
        <p:spPr>
          <a:xfrm>
            <a:off x="0" y="0"/>
            <a:ext cx="5772243" cy="990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5" name="Titel 1">
            <a:extLst>
              <a:ext uri="{FF2B5EF4-FFF2-40B4-BE49-F238E27FC236}">
                <a16:creationId xmlns:a16="http://schemas.microsoft.com/office/drawing/2014/main" id="{E49B6C10-9696-4A20-A390-BBF8A02CA45E}"/>
              </a:ext>
            </a:extLst>
          </p:cNvPr>
          <p:cNvSpPr>
            <a:spLocks noGrp="1"/>
          </p:cNvSpPr>
          <p:nvPr>
            <p:ph type="title" hasCustomPrompt="1"/>
          </p:nvPr>
        </p:nvSpPr>
        <p:spPr>
          <a:xfrm>
            <a:off x="815952" y="3728788"/>
            <a:ext cx="10560096" cy="1148012"/>
          </a:xfrm>
        </p:spPr>
        <p:txBody>
          <a:bodyPr anchor="t">
            <a:normAutofit/>
          </a:bodyPr>
          <a:lstStyle>
            <a:lvl1pPr algn="ctr">
              <a:lnSpc>
                <a:spcPct val="100000"/>
              </a:lnSpc>
              <a:defRPr sz="3600">
                <a:solidFill>
                  <a:schemeClr val="bg1"/>
                </a:solidFill>
              </a:defRPr>
            </a:lvl1pPr>
          </a:lstStyle>
          <a:p>
            <a:r>
              <a:rPr lang="de-DE"/>
              <a:t>Headline</a:t>
            </a:r>
          </a:p>
        </p:txBody>
      </p:sp>
    </p:spTree>
    <p:extLst>
      <p:ext uri="{BB962C8B-B14F-4D97-AF65-F5344CB8AC3E}">
        <p14:creationId xmlns:p14="http://schemas.microsoft.com/office/powerpoint/2010/main" val="37139130"/>
      </p:ext>
    </p:extLst>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526DC72-FA1D-422D-8055-3374742D122B}"/>
              </a:ext>
            </a:extLst>
          </p:cNvPr>
          <p:cNvSpPr>
            <a:spLocks noGrp="1"/>
          </p:cNvSpPr>
          <p:nvPr>
            <p:ph type="title"/>
          </p:nvPr>
        </p:nvSpPr>
        <p:spPr/>
        <p:txBody>
          <a:bodyPr/>
          <a:lstStyle>
            <a:lvl1pPr>
              <a:lnSpc>
                <a:spcPct val="100000"/>
              </a:lnSpc>
              <a:defRPr/>
            </a:lvl1pPr>
          </a:lstStyle>
          <a:p>
            <a:r>
              <a:rPr lang="de-DE"/>
              <a:t>Mastertitelformat bearbeiten</a:t>
            </a:r>
          </a:p>
        </p:txBody>
      </p:sp>
      <p:sp>
        <p:nvSpPr>
          <p:cNvPr id="3" name="Foliennummernplatzhalter 2">
            <a:extLst>
              <a:ext uri="{FF2B5EF4-FFF2-40B4-BE49-F238E27FC236}">
                <a16:creationId xmlns:a16="http://schemas.microsoft.com/office/drawing/2014/main" id="{5B327254-466C-4606-8589-BCC72CBDADDF}"/>
              </a:ext>
            </a:extLst>
          </p:cNvPr>
          <p:cNvSpPr>
            <a:spLocks noGrp="1"/>
          </p:cNvSpPr>
          <p:nvPr>
            <p:ph type="sldNum" sz="quarter" idx="10"/>
          </p:nvPr>
        </p:nvSpPr>
        <p:spPr/>
        <p:txBody>
          <a:bodyPr/>
          <a:lstStyle/>
          <a:p>
            <a:fld id="{A04BEB4F-8CE1-4F18-986F-6CE0A0BE9470}" type="slidenum">
              <a:rPr lang="de-DE" smtClean="0"/>
              <a:t>‹#›</a:t>
            </a:fld>
            <a:endParaRPr lang="de-DE"/>
          </a:p>
        </p:txBody>
      </p:sp>
      <p:sp>
        <p:nvSpPr>
          <p:cNvPr id="6" name="Inhaltsplatzhalter 5">
            <a:extLst>
              <a:ext uri="{FF2B5EF4-FFF2-40B4-BE49-F238E27FC236}">
                <a16:creationId xmlns:a16="http://schemas.microsoft.com/office/drawing/2014/main" id="{2D621650-8C9C-4343-8E11-492A5CE05422}"/>
              </a:ext>
            </a:extLst>
          </p:cNvPr>
          <p:cNvSpPr>
            <a:spLocks noGrp="1"/>
          </p:cNvSpPr>
          <p:nvPr>
            <p:ph sz="quarter" idx="12"/>
          </p:nvPr>
        </p:nvSpPr>
        <p:spPr>
          <a:xfrm>
            <a:off x="815951" y="1975612"/>
            <a:ext cx="10560096" cy="434664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4276307219"/>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8" dur="1000" decel="10000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0-#ppt_w/2"/>
                                          </p:val>
                                        </p:tav>
                                        <p:tav tm="100000">
                                          <p:val>
                                            <p:strVal val="#ppt_x"/>
                                          </p:val>
                                        </p:tav>
                                      </p:tavLst>
                                    </p:anim>
                                    <p:anim calcmode="lin" valueType="num">
                                      <p:cBhvr additive="base">
                                        <p:cTn id="8" dur="1000" fill="hold"/>
                                        <p:tgtEl>
                                          <p:spTgt spid="2"/>
                                        </p:tgtEl>
                                        <p:attrNameLst>
                                          <p:attrName>ppt_y</p:attrName>
                                        </p:attrNameLst>
                                      </p:cBhvr>
                                      <p:tavLst>
                                        <p:tav tm="0">
                                          <p:val>
                                            <p:strVal val="#ppt_y"/>
                                          </p:val>
                                        </p:tav>
                                        <p:tav tm="100000">
                                          <p:val>
                                            <p:strVal val="#ppt_y"/>
                                          </p:val>
                                        </p:tav>
                                      </p:tavLst>
                                    </p:anim>
                                  </p:childTnLst>
                                </p:cTn>
                              </p:par>
                              <p:par>
                                <p:cTn id="9" presetID="2" presetClass="entr" presetSubtype="8" dur="1000" decel="100000" fill="hold" grpId="0" nodeType="withEffect">
                                  <p:stCondLst>
                                    <p:cond delay="250"/>
                                  </p:stCondLst>
                                  <p:childTnLst>
                                    <p:set>
                                      <p:cBhvr>
                                        <p:cTn id="10" dur="1" fill="hold">
                                          <p:stCondLst>
                                            <p:cond delay="0"/>
                                          </p:stCondLst>
                                        </p:cTn>
                                        <p:tgtEl>
                                          <p:spTgt spid="6"/>
                                        </p:tgtEl>
                                        <p:attrNameLst>
                                          <p:attrName>style.visibility</p:attrName>
                                        </p:attrNameLst>
                                      </p:cBhvr>
                                      <p:to>
                                        <p:strVal val="visible"/>
                                      </p:to>
                                    </p:set>
                                    <p:anim calcmode="lin" valueType="num">
                                      <p:cBhvr additive="base">
                                        <p:cTn id="11" dur="1000" fill="hold"/>
                                        <p:tgtEl>
                                          <p:spTgt spid="6"/>
                                        </p:tgtEl>
                                        <p:attrNameLst>
                                          <p:attrName>ppt_x</p:attrName>
                                        </p:attrNameLst>
                                      </p:cBhvr>
                                      <p:tavLst>
                                        <p:tav tm="0">
                                          <p:val>
                                            <p:strVal val="0-#ppt_w/2"/>
                                          </p:val>
                                        </p:tav>
                                        <p:tav tm="100000">
                                          <p:val>
                                            <p:strVal val="#ppt_x"/>
                                          </p:val>
                                        </p:tav>
                                      </p:tavLst>
                                    </p:anim>
                                    <p:anim calcmode="lin" valueType="num">
                                      <p:cBhvr additive="base">
                                        <p:cTn id="12" dur="10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6" grpId="0">
        <p:tmplLst>
          <p:tmpl>
            <p:tnLst>
              <p:par>
                <p:cTn presetID="2" presetClass="entr" presetSubtype="8" decel="100000" fill="hold" nodeType="withEffect">
                  <p:stCondLst>
                    <p:cond delay="250"/>
                  </p:stCondLst>
                  <p:childTnLst>
                    <p:set>
                      <p:cBhvr>
                        <p:cTn dur="1" fill="hold">
                          <p:stCondLst>
                            <p:cond delay="0"/>
                          </p:stCondLst>
                        </p:cTn>
                        <p:tgtEl>
                          <p:spTgt spid="6"/>
                        </p:tgtEl>
                        <p:attrNameLst>
                          <p:attrName>style.visibility</p:attrName>
                        </p:attrNameLst>
                      </p:cBhvr>
                      <p:to>
                        <p:strVal val="visible"/>
                      </p:to>
                    </p:set>
                    <p:anim calcmode="lin" valueType="num">
                      <p:cBhvr additive="base">
                        <p:cTn dur="1000" fill="hold"/>
                        <p:tgtEl>
                          <p:spTgt spid="6"/>
                        </p:tgtEl>
                        <p:attrNameLst>
                          <p:attrName>ppt_x</p:attrName>
                        </p:attrNameLst>
                      </p:cBhvr>
                      <p:tavLst>
                        <p:tav tm="0">
                          <p:val>
                            <p:strVal val="0-#ppt_w/2"/>
                          </p:val>
                        </p:tav>
                        <p:tav tm="100000">
                          <p:val>
                            <p:strVal val="#ppt_x"/>
                          </p:val>
                        </p:tav>
                      </p:tavLst>
                    </p:anim>
                    <p:anim calcmode="lin" valueType="num">
                      <p:cBhvr additive="base">
                        <p:cTn dur="1000" fill="hold"/>
                        <p:tgtEl>
                          <p:spTgt spid="6"/>
                        </p:tgtEl>
                        <p:attrNameLst>
                          <p:attrName>ppt_y</p:attrName>
                        </p:attrNameLst>
                      </p:cBhvr>
                      <p:tavLst>
                        <p:tav tm="0">
                          <p:val>
                            <p:strVal val="#ppt_y"/>
                          </p:val>
                        </p:tav>
                        <p:tav tm="100000">
                          <p:val>
                            <p:strVal val="#ppt_y"/>
                          </p:val>
                        </p:tav>
                      </p:tavLst>
                    </p:anim>
                  </p:childTnLst>
                </p:cTn>
              </p:par>
            </p:tnLst>
          </p:tmpl>
        </p:tmplLst>
      </p:bldP>
    </p:bld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0B984625-FC00-409A-89CA-74509D2E04EF}"/>
              </a:ext>
            </a:extLst>
          </p:cNvPr>
          <p:cNvSpPr>
            <a:spLocks noGrp="1"/>
          </p:cNvSpPr>
          <p:nvPr>
            <p:ph type="pic" sz="quarter" idx="13"/>
          </p:nvPr>
        </p:nvSpPr>
        <p:spPr>
          <a:xfrm>
            <a:off x="822325" y="3591529"/>
            <a:ext cx="2594922" cy="2595260"/>
          </a:xfrm>
          <a:custGeom>
            <a:avLst/>
            <a:gdLst>
              <a:gd name="connsiteX0" fmla="*/ 0 w 5190519"/>
              <a:gd name="connsiteY0" fmla="*/ 0 h 5190519"/>
              <a:gd name="connsiteX1" fmla="*/ 5190519 w 5190519"/>
              <a:gd name="connsiteY1" fmla="*/ 0 h 5190519"/>
              <a:gd name="connsiteX2" fmla="*/ 5190519 w 5190519"/>
              <a:gd name="connsiteY2" fmla="*/ 5190519 h 5190519"/>
              <a:gd name="connsiteX3" fmla="*/ 0 w 5190519"/>
              <a:gd name="connsiteY3" fmla="*/ 5190519 h 5190519"/>
            </a:gdLst>
            <a:ahLst/>
            <a:cxnLst>
              <a:cxn ang="0">
                <a:pos x="connsiteX0" y="connsiteY0"/>
              </a:cxn>
              <a:cxn ang="0">
                <a:pos x="connsiteX1" y="connsiteY1"/>
              </a:cxn>
              <a:cxn ang="0">
                <a:pos x="connsiteX2" y="connsiteY2"/>
              </a:cxn>
              <a:cxn ang="0">
                <a:pos x="connsiteX3" y="connsiteY3"/>
              </a:cxn>
            </a:cxnLst>
            <a:rect l="l" t="t" r="r" b="b"/>
            <a:pathLst>
              <a:path w="5190519" h="5190519">
                <a:moveTo>
                  <a:pt x="0" y="0"/>
                </a:moveTo>
                <a:lnTo>
                  <a:pt x="5190519" y="0"/>
                </a:lnTo>
                <a:lnTo>
                  <a:pt x="5190519" y="5190519"/>
                </a:lnTo>
                <a:lnTo>
                  <a:pt x="0" y="5190519"/>
                </a:ln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
        <p:nvSpPr>
          <p:cNvPr id="10" name="Picture Placeholder 9">
            <a:extLst>
              <a:ext uri="{FF2B5EF4-FFF2-40B4-BE49-F238E27FC236}">
                <a16:creationId xmlns:a16="http://schemas.microsoft.com/office/drawing/2014/main" id="{A8A64EF6-6AAD-4A8E-A2BA-D31872C0F165}"/>
              </a:ext>
            </a:extLst>
          </p:cNvPr>
          <p:cNvSpPr>
            <a:spLocks noGrp="1"/>
          </p:cNvSpPr>
          <p:nvPr>
            <p:ph type="pic" sz="quarter" idx="14"/>
          </p:nvPr>
        </p:nvSpPr>
        <p:spPr>
          <a:xfrm>
            <a:off x="822325" y="871840"/>
            <a:ext cx="2594922" cy="2595260"/>
          </a:xfrm>
          <a:custGeom>
            <a:avLst/>
            <a:gdLst>
              <a:gd name="connsiteX0" fmla="*/ 0 w 5190519"/>
              <a:gd name="connsiteY0" fmla="*/ 0 h 5190519"/>
              <a:gd name="connsiteX1" fmla="*/ 5190519 w 5190519"/>
              <a:gd name="connsiteY1" fmla="*/ 0 h 5190519"/>
              <a:gd name="connsiteX2" fmla="*/ 5190519 w 5190519"/>
              <a:gd name="connsiteY2" fmla="*/ 5190519 h 5190519"/>
              <a:gd name="connsiteX3" fmla="*/ 0 w 5190519"/>
              <a:gd name="connsiteY3" fmla="*/ 5190519 h 5190519"/>
            </a:gdLst>
            <a:ahLst/>
            <a:cxnLst>
              <a:cxn ang="0">
                <a:pos x="connsiteX0" y="connsiteY0"/>
              </a:cxn>
              <a:cxn ang="0">
                <a:pos x="connsiteX1" y="connsiteY1"/>
              </a:cxn>
              <a:cxn ang="0">
                <a:pos x="connsiteX2" y="connsiteY2"/>
              </a:cxn>
              <a:cxn ang="0">
                <a:pos x="connsiteX3" y="connsiteY3"/>
              </a:cxn>
            </a:cxnLst>
            <a:rect l="l" t="t" r="r" b="b"/>
            <a:pathLst>
              <a:path w="5190519" h="5190519">
                <a:moveTo>
                  <a:pt x="0" y="0"/>
                </a:moveTo>
                <a:lnTo>
                  <a:pt x="5190519" y="0"/>
                </a:lnTo>
                <a:lnTo>
                  <a:pt x="5190519" y="5190519"/>
                </a:lnTo>
                <a:lnTo>
                  <a:pt x="0" y="5190519"/>
                </a:ln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
        <p:nvSpPr>
          <p:cNvPr id="8" name="Picture Placeholder 7">
            <a:extLst>
              <a:ext uri="{FF2B5EF4-FFF2-40B4-BE49-F238E27FC236}">
                <a16:creationId xmlns:a16="http://schemas.microsoft.com/office/drawing/2014/main" id="{CB58EF59-6144-4377-881E-7F3DA3CB9356}"/>
              </a:ext>
            </a:extLst>
          </p:cNvPr>
          <p:cNvSpPr>
            <a:spLocks noGrp="1"/>
          </p:cNvSpPr>
          <p:nvPr>
            <p:ph type="pic" sz="quarter" idx="15"/>
          </p:nvPr>
        </p:nvSpPr>
        <p:spPr>
          <a:xfrm>
            <a:off x="6210887" y="871538"/>
            <a:ext cx="5171855" cy="5305426"/>
          </a:xfrm>
          <a:custGeom>
            <a:avLst/>
            <a:gdLst>
              <a:gd name="connsiteX0" fmla="*/ 0 w 10345056"/>
              <a:gd name="connsiteY0" fmla="*/ 0 h 10610851"/>
              <a:gd name="connsiteX1" fmla="*/ 10345056 w 10345056"/>
              <a:gd name="connsiteY1" fmla="*/ 0 h 10610851"/>
              <a:gd name="connsiteX2" fmla="*/ 10345056 w 10345056"/>
              <a:gd name="connsiteY2" fmla="*/ 10610851 h 10610851"/>
              <a:gd name="connsiteX3" fmla="*/ 0 w 10345056"/>
              <a:gd name="connsiteY3" fmla="*/ 10610851 h 10610851"/>
            </a:gdLst>
            <a:ahLst/>
            <a:cxnLst>
              <a:cxn ang="0">
                <a:pos x="connsiteX0" y="connsiteY0"/>
              </a:cxn>
              <a:cxn ang="0">
                <a:pos x="connsiteX1" y="connsiteY1"/>
              </a:cxn>
              <a:cxn ang="0">
                <a:pos x="connsiteX2" y="connsiteY2"/>
              </a:cxn>
              <a:cxn ang="0">
                <a:pos x="connsiteX3" y="connsiteY3"/>
              </a:cxn>
            </a:cxnLst>
            <a:rect l="l" t="t" r="r" b="b"/>
            <a:pathLst>
              <a:path w="10345056" h="10610851">
                <a:moveTo>
                  <a:pt x="0" y="0"/>
                </a:moveTo>
                <a:lnTo>
                  <a:pt x="10345056" y="0"/>
                </a:lnTo>
                <a:lnTo>
                  <a:pt x="10345056" y="10610851"/>
                </a:lnTo>
                <a:lnTo>
                  <a:pt x="0" y="10610851"/>
                </a:ln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Tree>
    <p:extLst>
      <p:ext uri="{BB962C8B-B14F-4D97-AF65-F5344CB8AC3E}">
        <p14:creationId xmlns:p14="http://schemas.microsoft.com/office/powerpoint/2010/main" val="4028344506"/>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4" dur="2000" decel="10000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2000" fill="hold"/>
                                        <p:tgtEl>
                                          <p:spTgt spid="8"/>
                                        </p:tgtEl>
                                        <p:attrNameLst>
                                          <p:attrName>ppt_x</p:attrName>
                                        </p:attrNameLst>
                                      </p:cBhvr>
                                      <p:tavLst>
                                        <p:tav tm="0">
                                          <p:val>
                                            <p:strVal val="#ppt_x"/>
                                          </p:val>
                                        </p:tav>
                                        <p:tav tm="100000">
                                          <p:val>
                                            <p:strVal val="#ppt_x"/>
                                          </p:val>
                                        </p:tav>
                                      </p:tavLst>
                                    </p:anim>
                                    <p:anim calcmode="lin" valueType="num">
                                      <p:cBhvr additive="base">
                                        <p:cTn id="8" dur="2000" fill="hold"/>
                                        <p:tgtEl>
                                          <p:spTgt spid="8"/>
                                        </p:tgtEl>
                                        <p:attrNameLst>
                                          <p:attrName>ppt_y</p:attrName>
                                        </p:attrNameLst>
                                      </p:cBhvr>
                                      <p:tavLst>
                                        <p:tav tm="0">
                                          <p:val>
                                            <p:strVal val="1+#ppt_h/2"/>
                                          </p:val>
                                        </p:tav>
                                        <p:tav tm="100000">
                                          <p:val>
                                            <p:strVal val="#ppt_y"/>
                                          </p:val>
                                        </p:tav>
                                      </p:tavLst>
                                    </p:anim>
                                  </p:childTnLst>
                                </p:cTn>
                              </p:par>
                              <p:par>
                                <p:cTn id="9" presetID="2" presetClass="entr" presetSubtype="4" dur="2000" decel="100000" fill="hold" grpId="0" nodeType="withEffect">
                                  <p:stCondLst>
                                    <p:cond delay="20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2000" fill="hold"/>
                                        <p:tgtEl>
                                          <p:spTgt spid="10"/>
                                        </p:tgtEl>
                                        <p:attrNameLst>
                                          <p:attrName>ppt_x</p:attrName>
                                        </p:attrNameLst>
                                      </p:cBhvr>
                                      <p:tavLst>
                                        <p:tav tm="0">
                                          <p:val>
                                            <p:strVal val="#ppt_x"/>
                                          </p:val>
                                        </p:tav>
                                        <p:tav tm="100000">
                                          <p:val>
                                            <p:strVal val="#ppt_x"/>
                                          </p:val>
                                        </p:tav>
                                      </p:tavLst>
                                    </p:anim>
                                    <p:anim calcmode="lin" valueType="num">
                                      <p:cBhvr additive="base">
                                        <p:cTn id="12" dur="2000" fill="hold"/>
                                        <p:tgtEl>
                                          <p:spTgt spid="10"/>
                                        </p:tgtEl>
                                        <p:attrNameLst>
                                          <p:attrName>ppt_y</p:attrName>
                                        </p:attrNameLst>
                                      </p:cBhvr>
                                      <p:tavLst>
                                        <p:tav tm="0">
                                          <p:val>
                                            <p:strVal val="1+#ppt_h/2"/>
                                          </p:val>
                                        </p:tav>
                                        <p:tav tm="100000">
                                          <p:val>
                                            <p:strVal val="#ppt_y"/>
                                          </p:val>
                                        </p:tav>
                                      </p:tavLst>
                                    </p:anim>
                                  </p:childTnLst>
                                </p:cTn>
                              </p:par>
                              <p:par>
                                <p:cTn id="13" presetID="2" presetClass="entr" presetSubtype="4" dur="2000" decel="100000" fill="hold" grpId="0" nodeType="withEffect">
                                  <p:stCondLst>
                                    <p:cond delay="400"/>
                                  </p:stCondLst>
                                  <p:childTnLst>
                                    <p:set>
                                      <p:cBhvr>
                                        <p:cTn id="14" dur="1" fill="hold">
                                          <p:stCondLst>
                                            <p:cond delay="0"/>
                                          </p:stCondLst>
                                        </p:cTn>
                                        <p:tgtEl>
                                          <p:spTgt spid="9"/>
                                        </p:tgtEl>
                                        <p:attrNameLst>
                                          <p:attrName>style.visibility</p:attrName>
                                        </p:attrNameLst>
                                      </p:cBhvr>
                                      <p:to>
                                        <p:strVal val="visible"/>
                                      </p:to>
                                    </p:set>
                                    <p:anim calcmode="lin" valueType="num">
                                      <p:cBhvr additive="base">
                                        <p:cTn id="15" dur="2000" fill="hold"/>
                                        <p:tgtEl>
                                          <p:spTgt spid="9"/>
                                        </p:tgtEl>
                                        <p:attrNameLst>
                                          <p:attrName>ppt_x</p:attrName>
                                        </p:attrNameLst>
                                      </p:cBhvr>
                                      <p:tavLst>
                                        <p:tav tm="0">
                                          <p:val>
                                            <p:strVal val="#ppt_x"/>
                                          </p:val>
                                        </p:tav>
                                        <p:tav tm="100000">
                                          <p:val>
                                            <p:strVal val="#ppt_x"/>
                                          </p:val>
                                        </p:tav>
                                      </p:tavLst>
                                    </p:anim>
                                    <p:anim calcmode="lin" valueType="num">
                                      <p:cBhvr additive="base">
                                        <p:cTn id="16" dur="20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8" grpId="0" animBg="1"/>
    </p:bld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893E20B-4C8A-4F59-B087-3A11D128B2F1}"/>
              </a:ext>
            </a:extLst>
          </p:cNvPr>
          <p:cNvSpPr>
            <a:spLocks noGrp="1"/>
          </p:cNvSpPr>
          <p:nvPr>
            <p:ph type="pic" sz="quarter" idx="14"/>
          </p:nvPr>
        </p:nvSpPr>
        <p:spPr>
          <a:xfrm>
            <a:off x="4767126" y="2160248"/>
            <a:ext cx="2659907" cy="2539669"/>
          </a:xfrm>
          <a:custGeom>
            <a:avLst/>
            <a:gdLst>
              <a:gd name="connsiteX0" fmla="*/ 272846 w 5320506"/>
              <a:gd name="connsiteY0" fmla="*/ 0 h 5079337"/>
              <a:gd name="connsiteX1" fmla="*/ 5047660 w 5320506"/>
              <a:gd name="connsiteY1" fmla="*/ 0 h 5079337"/>
              <a:gd name="connsiteX2" fmla="*/ 5320506 w 5320506"/>
              <a:gd name="connsiteY2" fmla="*/ 272716 h 5079337"/>
              <a:gd name="connsiteX3" fmla="*/ 5320506 w 5320506"/>
              <a:gd name="connsiteY3" fmla="*/ 4806621 h 5079337"/>
              <a:gd name="connsiteX4" fmla="*/ 5047660 w 5320506"/>
              <a:gd name="connsiteY4" fmla="*/ 5079337 h 5079337"/>
              <a:gd name="connsiteX5" fmla="*/ 272846 w 5320506"/>
              <a:gd name="connsiteY5" fmla="*/ 5079337 h 5079337"/>
              <a:gd name="connsiteX6" fmla="*/ 0 w 5320506"/>
              <a:gd name="connsiteY6" fmla="*/ 4806621 h 5079337"/>
              <a:gd name="connsiteX7" fmla="*/ 0 w 5320506"/>
              <a:gd name="connsiteY7" fmla="*/ 272716 h 5079337"/>
              <a:gd name="connsiteX8" fmla="*/ 272846 w 5320506"/>
              <a:gd name="connsiteY8" fmla="*/ 0 h 5079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20506" h="5079337">
                <a:moveTo>
                  <a:pt x="272846" y="0"/>
                </a:moveTo>
                <a:cubicBezTo>
                  <a:pt x="5047660" y="0"/>
                  <a:pt x="5047660" y="0"/>
                  <a:pt x="5047660" y="0"/>
                </a:cubicBezTo>
                <a:cubicBezTo>
                  <a:pt x="5197725" y="0"/>
                  <a:pt x="5320506" y="122722"/>
                  <a:pt x="5320506" y="272716"/>
                </a:cubicBezTo>
                <a:cubicBezTo>
                  <a:pt x="5320506" y="4806621"/>
                  <a:pt x="5320506" y="4806621"/>
                  <a:pt x="5320506" y="4806621"/>
                </a:cubicBezTo>
                <a:cubicBezTo>
                  <a:pt x="5320506" y="4956615"/>
                  <a:pt x="5197725" y="5079337"/>
                  <a:pt x="5047660" y="5079337"/>
                </a:cubicBezTo>
                <a:cubicBezTo>
                  <a:pt x="272846" y="5079337"/>
                  <a:pt x="272846" y="5079337"/>
                  <a:pt x="272846" y="5079337"/>
                </a:cubicBezTo>
                <a:cubicBezTo>
                  <a:pt x="122781" y="5079337"/>
                  <a:pt x="0" y="4956615"/>
                  <a:pt x="0" y="4806621"/>
                </a:cubicBezTo>
                <a:cubicBezTo>
                  <a:pt x="0" y="272716"/>
                  <a:pt x="0" y="272716"/>
                  <a:pt x="0" y="272716"/>
                </a:cubicBezTo>
                <a:cubicBezTo>
                  <a:pt x="0" y="122722"/>
                  <a:pt x="122781" y="0"/>
                  <a:pt x="272846" y="0"/>
                </a:cubicBezTo>
                <a:close/>
              </a:path>
            </a:pathLst>
          </a:custGeom>
          <a:pattFill prst="pct60">
            <a:fgClr>
              <a:schemeClr val="bg1"/>
            </a:fgClr>
            <a:bgClr>
              <a:schemeClr val="bg1">
                <a:lumMod val="85000"/>
              </a:schemeClr>
            </a:bgClr>
          </a:pattFill>
          <a:effectLst>
            <a:outerShdw blurRad="723900" dist="228600" dir="8100000" algn="tr" rotWithShape="0">
              <a:schemeClr val="accent1">
                <a:alpha val="40000"/>
              </a:schemeClr>
            </a:outerShdw>
          </a:effectLst>
        </p:spPr>
        <p:txBody>
          <a:bodyPr wrap="square" anchor="ctr">
            <a:noAutofit/>
          </a:bodyPr>
          <a:lstStyle>
            <a:lvl1pPr marL="0" indent="0" algn="ctr">
              <a:buFontTx/>
              <a:buNone/>
              <a:defRPr sz="1200"/>
            </a:lvl1pPr>
          </a:lstStyle>
          <a:p>
            <a:endParaRPr lang="en-US"/>
          </a:p>
        </p:txBody>
      </p:sp>
    </p:spTree>
    <p:extLst>
      <p:ext uri="{BB962C8B-B14F-4D97-AF65-F5344CB8AC3E}">
        <p14:creationId xmlns:p14="http://schemas.microsoft.com/office/powerpoint/2010/main" val="289865568"/>
      </p:ext>
    </p:extLst>
  </p:cSld>
  <p:clrMapOvr>
    <a:masterClrMapping/>
  </p:clrMapOvr>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2" name="Picture Placeholder 7">
            <a:extLst>
              <a:ext uri="{FF2B5EF4-FFF2-40B4-BE49-F238E27FC236}">
                <a16:creationId xmlns:a16="http://schemas.microsoft.com/office/drawing/2014/main" id="{2025C71F-F630-406C-A334-0B61D0F62D84}"/>
              </a:ext>
            </a:extLst>
          </p:cNvPr>
          <p:cNvSpPr>
            <a:spLocks noGrp="1"/>
          </p:cNvSpPr>
          <p:nvPr>
            <p:ph type="pic" sz="quarter" idx="15"/>
          </p:nvPr>
        </p:nvSpPr>
        <p:spPr>
          <a:xfrm>
            <a:off x="6096000" y="0"/>
            <a:ext cx="5314259" cy="6858000"/>
          </a:xfrm>
          <a:custGeom>
            <a:avLst/>
            <a:gdLst>
              <a:gd name="connsiteX0" fmla="*/ 0 w 10345056"/>
              <a:gd name="connsiteY0" fmla="*/ 0 h 10610851"/>
              <a:gd name="connsiteX1" fmla="*/ 10345056 w 10345056"/>
              <a:gd name="connsiteY1" fmla="*/ 0 h 10610851"/>
              <a:gd name="connsiteX2" fmla="*/ 10345056 w 10345056"/>
              <a:gd name="connsiteY2" fmla="*/ 10610851 h 10610851"/>
              <a:gd name="connsiteX3" fmla="*/ 0 w 10345056"/>
              <a:gd name="connsiteY3" fmla="*/ 10610851 h 10610851"/>
            </a:gdLst>
            <a:ahLst/>
            <a:cxnLst>
              <a:cxn ang="0">
                <a:pos x="connsiteX0" y="connsiteY0"/>
              </a:cxn>
              <a:cxn ang="0">
                <a:pos x="connsiteX1" y="connsiteY1"/>
              </a:cxn>
              <a:cxn ang="0">
                <a:pos x="connsiteX2" y="connsiteY2"/>
              </a:cxn>
              <a:cxn ang="0">
                <a:pos x="connsiteX3" y="connsiteY3"/>
              </a:cxn>
            </a:cxnLst>
            <a:rect l="l" t="t" r="r" b="b"/>
            <a:pathLst>
              <a:path w="10345056" h="10610851">
                <a:moveTo>
                  <a:pt x="0" y="0"/>
                </a:moveTo>
                <a:lnTo>
                  <a:pt x="10345056" y="0"/>
                </a:lnTo>
                <a:lnTo>
                  <a:pt x="10345056" y="10610851"/>
                </a:lnTo>
                <a:lnTo>
                  <a:pt x="0" y="10610851"/>
                </a:ln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Tree>
    <p:extLst>
      <p:ext uri="{BB962C8B-B14F-4D97-AF65-F5344CB8AC3E}">
        <p14:creationId xmlns:p14="http://schemas.microsoft.com/office/powerpoint/2010/main" val="255995993"/>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2" dur="2000" decel="10000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2000" fill="hold"/>
                                        <p:tgtEl>
                                          <p:spTgt spid="2"/>
                                        </p:tgtEl>
                                        <p:attrNameLst>
                                          <p:attrName>ppt_x</p:attrName>
                                        </p:attrNameLst>
                                      </p:cBhvr>
                                      <p:tavLst>
                                        <p:tav tm="0">
                                          <p:val>
                                            <p:strVal val="1+#ppt_w/2"/>
                                          </p:val>
                                        </p:tav>
                                        <p:tav tm="100000">
                                          <p:val>
                                            <p:strVal val="#ppt_x"/>
                                          </p:val>
                                        </p:tav>
                                      </p:tavLst>
                                    </p:anim>
                                    <p:anim calcmode="lin" valueType="num">
                                      <p:cBhvr additive="base">
                                        <p:cTn id="8" dur="200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AE7DC9F4-9F6B-497B-AAC3-9E8DE27E9050}"/>
              </a:ext>
            </a:extLst>
          </p:cNvPr>
          <p:cNvSpPr>
            <a:spLocks noGrp="1"/>
          </p:cNvSpPr>
          <p:nvPr>
            <p:ph type="pic" sz="quarter" idx="13"/>
          </p:nvPr>
        </p:nvSpPr>
        <p:spPr>
          <a:xfrm>
            <a:off x="2233376" y="3216359"/>
            <a:ext cx="940720" cy="940842"/>
          </a:xfrm>
          <a:custGeom>
            <a:avLst/>
            <a:gdLst>
              <a:gd name="connsiteX0" fmla="*/ 940842 w 1881684"/>
              <a:gd name="connsiteY0" fmla="*/ 0 h 1881684"/>
              <a:gd name="connsiteX1" fmla="*/ 1881684 w 1881684"/>
              <a:gd name="connsiteY1" fmla="*/ 940842 h 1881684"/>
              <a:gd name="connsiteX2" fmla="*/ 940842 w 1881684"/>
              <a:gd name="connsiteY2" fmla="*/ 1881684 h 1881684"/>
              <a:gd name="connsiteX3" fmla="*/ 0 w 1881684"/>
              <a:gd name="connsiteY3" fmla="*/ 940842 h 1881684"/>
              <a:gd name="connsiteX4" fmla="*/ 940842 w 1881684"/>
              <a:gd name="connsiteY4" fmla="*/ 0 h 18816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1683" h="1881683">
                <a:moveTo>
                  <a:pt x="940842" y="0"/>
                </a:moveTo>
                <a:cubicBezTo>
                  <a:pt x="1460455" y="0"/>
                  <a:pt x="1881684" y="421229"/>
                  <a:pt x="1881684" y="940842"/>
                </a:cubicBezTo>
                <a:cubicBezTo>
                  <a:pt x="1881684" y="1460455"/>
                  <a:pt x="1460455" y="1881684"/>
                  <a:pt x="940842" y="1881684"/>
                </a:cubicBezTo>
                <a:cubicBezTo>
                  <a:pt x="421229" y="1881684"/>
                  <a:pt x="0" y="1460455"/>
                  <a:pt x="0" y="940842"/>
                </a:cubicBezTo>
                <a:cubicBezTo>
                  <a:pt x="0" y="421229"/>
                  <a:pt x="421229" y="0"/>
                  <a:pt x="940842" y="0"/>
                </a:cubicBez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
        <p:nvSpPr>
          <p:cNvPr id="15" name="Picture Placeholder 14">
            <a:extLst>
              <a:ext uri="{FF2B5EF4-FFF2-40B4-BE49-F238E27FC236}">
                <a16:creationId xmlns:a16="http://schemas.microsoft.com/office/drawing/2014/main" id="{32995364-51BD-4985-8454-19E8A6AB8079}"/>
              </a:ext>
            </a:extLst>
          </p:cNvPr>
          <p:cNvSpPr>
            <a:spLocks noGrp="1"/>
          </p:cNvSpPr>
          <p:nvPr>
            <p:ph type="pic" sz="quarter" idx="14"/>
          </p:nvPr>
        </p:nvSpPr>
        <p:spPr>
          <a:xfrm>
            <a:off x="3917742" y="2708357"/>
            <a:ext cx="940720" cy="940842"/>
          </a:xfrm>
          <a:custGeom>
            <a:avLst/>
            <a:gdLst>
              <a:gd name="connsiteX0" fmla="*/ 940842 w 1881684"/>
              <a:gd name="connsiteY0" fmla="*/ 0 h 1881684"/>
              <a:gd name="connsiteX1" fmla="*/ 1881684 w 1881684"/>
              <a:gd name="connsiteY1" fmla="*/ 940842 h 1881684"/>
              <a:gd name="connsiteX2" fmla="*/ 940842 w 1881684"/>
              <a:gd name="connsiteY2" fmla="*/ 1881684 h 1881684"/>
              <a:gd name="connsiteX3" fmla="*/ 0 w 1881684"/>
              <a:gd name="connsiteY3" fmla="*/ 940842 h 1881684"/>
              <a:gd name="connsiteX4" fmla="*/ 940842 w 1881684"/>
              <a:gd name="connsiteY4" fmla="*/ 0 h 18816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1683" h="1881683">
                <a:moveTo>
                  <a:pt x="940842" y="0"/>
                </a:moveTo>
                <a:cubicBezTo>
                  <a:pt x="1460455" y="0"/>
                  <a:pt x="1881684" y="421229"/>
                  <a:pt x="1881684" y="940842"/>
                </a:cubicBezTo>
                <a:cubicBezTo>
                  <a:pt x="1881684" y="1460455"/>
                  <a:pt x="1460455" y="1881684"/>
                  <a:pt x="940842" y="1881684"/>
                </a:cubicBezTo>
                <a:cubicBezTo>
                  <a:pt x="421229" y="1881684"/>
                  <a:pt x="0" y="1460455"/>
                  <a:pt x="0" y="940842"/>
                </a:cubicBezTo>
                <a:cubicBezTo>
                  <a:pt x="0" y="421229"/>
                  <a:pt x="421229" y="0"/>
                  <a:pt x="940842" y="0"/>
                </a:cubicBez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
        <p:nvSpPr>
          <p:cNvPr id="16" name="Picture Placeholder 15">
            <a:extLst>
              <a:ext uri="{FF2B5EF4-FFF2-40B4-BE49-F238E27FC236}">
                <a16:creationId xmlns:a16="http://schemas.microsoft.com/office/drawing/2014/main" id="{07915F63-D1C5-4E30-8D74-897BEDC3A77E}"/>
              </a:ext>
            </a:extLst>
          </p:cNvPr>
          <p:cNvSpPr>
            <a:spLocks noGrp="1"/>
          </p:cNvSpPr>
          <p:nvPr>
            <p:ph type="pic" sz="quarter" idx="15"/>
          </p:nvPr>
        </p:nvSpPr>
        <p:spPr>
          <a:xfrm>
            <a:off x="5637379" y="3216359"/>
            <a:ext cx="940720" cy="940842"/>
          </a:xfrm>
          <a:custGeom>
            <a:avLst/>
            <a:gdLst>
              <a:gd name="connsiteX0" fmla="*/ 940842 w 1881684"/>
              <a:gd name="connsiteY0" fmla="*/ 0 h 1881684"/>
              <a:gd name="connsiteX1" fmla="*/ 1881684 w 1881684"/>
              <a:gd name="connsiteY1" fmla="*/ 940842 h 1881684"/>
              <a:gd name="connsiteX2" fmla="*/ 940842 w 1881684"/>
              <a:gd name="connsiteY2" fmla="*/ 1881684 h 1881684"/>
              <a:gd name="connsiteX3" fmla="*/ 0 w 1881684"/>
              <a:gd name="connsiteY3" fmla="*/ 940842 h 1881684"/>
              <a:gd name="connsiteX4" fmla="*/ 940842 w 1881684"/>
              <a:gd name="connsiteY4" fmla="*/ 0 h 18816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1683" h="1881683">
                <a:moveTo>
                  <a:pt x="940842" y="0"/>
                </a:moveTo>
                <a:cubicBezTo>
                  <a:pt x="1460455" y="0"/>
                  <a:pt x="1881684" y="421229"/>
                  <a:pt x="1881684" y="940842"/>
                </a:cubicBezTo>
                <a:cubicBezTo>
                  <a:pt x="1881684" y="1460455"/>
                  <a:pt x="1460455" y="1881684"/>
                  <a:pt x="940842" y="1881684"/>
                </a:cubicBezTo>
                <a:cubicBezTo>
                  <a:pt x="421229" y="1881684"/>
                  <a:pt x="0" y="1460455"/>
                  <a:pt x="0" y="940842"/>
                </a:cubicBezTo>
                <a:cubicBezTo>
                  <a:pt x="0" y="421229"/>
                  <a:pt x="421229" y="0"/>
                  <a:pt x="940842" y="0"/>
                </a:cubicBez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
        <p:nvSpPr>
          <p:cNvPr id="17" name="Picture Placeholder 16">
            <a:extLst>
              <a:ext uri="{FF2B5EF4-FFF2-40B4-BE49-F238E27FC236}">
                <a16:creationId xmlns:a16="http://schemas.microsoft.com/office/drawing/2014/main" id="{8039340C-5876-416E-AF2A-C528D6F8B7D0}"/>
              </a:ext>
            </a:extLst>
          </p:cNvPr>
          <p:cNvSpPr>
            <a:spLocks noGrp="1"/>
          </p:cNvSpPr>
          <p:nvPr>
            <p:ph type="pic" sz="quarter" idx="16"/>
          </p:nvPr>
        </p:nvSpPr>
        <p:spPr>
          <a:xfrm>
            <a:off x="7321745" y="2708357"/>
            <a:ext cx="940720" cy="940842"/>
          </a:xfrm>
          <a:custGeom>
            <a:avLst/>
            <a:gdLst>
              <a:gd name="connsiteX0" fmla="*/ 940842 w 1881684"/>
              <a:gd name="connsiteY0" fmla="*/ 0 h 1881684"/>
              <a:gd name="connsiteX1" fmla="*/ 1881684 w 1881684"/>
              <a:gd name="connsiteY1" fmla="*/ 940842 h 1881684"/>
              <a:gd name="connsiteX2" fmla="*/ 940842 w 1881684"/>
              <a:gd name="connsiteY2" fmla="*/ 1881684 h 1881684"/>
              <a:gd name="connsiteX3" fmla="*/ 0 w 1881684"/>
              <a:gd name="connsiteY3" fmla="*/ 940842 h 1881684"/>
              <a:gd name="connsiteX4" fmla="*/ 940842 w 1881684"/>
              <a:gd name="connsiteY4" fmla="*/ 0 h 18816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1683" h="1881683">
                <a:moveTo>
                  <a:pt x="940842" y="0"/>
                </a:moveTo>
                <a:cubicBezTo>
                  <a:pt x="1460455" y="0"/>
                  <a:pt x="1881684" y="421229"/>
                  <a:pt x="1881684" y="940842"/>
                </a:cubicBezTo>
                <a:cubicBezTo>
                  <a:pt x="1881684" y="1460455"/>
                  <a:pt x="1460455" y="1881684"/>
                  <a:pt x="940842" y="1881684"/>
                </a:cubicBezTo>
                <a:cubicBezTo>
                  <a:pt x="421229" y="1881684"/>
                  <a:pt x="0" y="1460455"/>
                  <a:pt x="0" y="940842"/>
                </a:cubicBezTo>
                <a:cubicBezTo>
                  <a:pt x="0" y="421229"/>
                  <a:pt x="421229" y="0"/>
                  <a:pt x="940842" y="0"/>
                </a:cubicBez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
        <p:nvSpPr>
          <p:cNvPr id="18" name="Picture Placeholder 17">
            <a:extLst>
              <a:ext uri="{FF2B5EF4-FFF2-40B4-BE49-F238E27FC236}">
                <a16:creationId xmlns:a16="http://schemas.microsoft.com/office/drawing/2014/main" id="{D02425C2-6AD1-470A-9A0D-69A86B1DDF45}"/>
              </a:ext>
            </a:extLst>
          </p:cNvPr>
          <p:cNvSpPr>
            <a:spLocks noGrp="1"/>
          </p:cNvSpPr>
          <p:nvPr>
            <p:ph type="pic" sz="quarter" idx="17"/>
          </p:nvPr>
        </p:nvSpPr>
        <p:spPr>
          <a:xfrm>
            <a:off x="9031322" y="3216359"/>
            <a:ext cx="940720" cy="940842"/>
          </a:xfrm>
          <a:custGeom>
            <a:avLst/>
            <a:gdLst>
              <a:gd name="connsiteX0" fmla="*/ 940842 w 1881684"/>
              <a:gd name="connsiteY0" fmla="*/ 0 h 1881684"/>
              <a:gd name="connsiteX1" fmla="*/ 1881684 w 1881684"/>
              <a:gd name="connsiteY1" fmla="*/ 940842 h 1881684"/>
              <a:gd name="connsiteX2" fmla="*/ 940842 w 1881684"/>
              <a:gd name="connsiteY2" fmla="*/ 1881684 h 1881684"/>
              <a:gd name="connsiteX3" fmla="*/ 0 w 1881684"/>
              <a:gd name="connsiteY3" fmla="*/ 940842 h 1881684"/>
              <a:gd name="connsiteX4" fmla="*/ 940842 w 1881684"/>
              <a:gd name="connsiteY4" fmla="*/ 0 h 18816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1683" h="1881683">
                <a:moveTo>
                  <a:pt x="940842" y="0"/>
                </a:moveTo>
                <a:cubicBezTo>
                  <a:pt x="1460454" y="0"/>
                  <a:pt x="1881684" y="421229"/>
                  <a:pt x="1881684" y="940842"/>
                </a:cubicBezTo>
                <a:cubicBezTo>
                  <a:pt x="1881684" y="1460455"/>
                  <a:pt x="1460454" y="1881684"/>
                  <a:pt x="940842" y="1881684"/>
                </a:cubicBezTo>
                <a:cubicBezTo>
                  <a:pt x="421230" y="1881684"/>
                  <a:pt x="0" y="1460455"/>
                  <a:pt x="0" y="940842"/>
                </a:cubicBezTo>
                <a:cubicBezTo>
                  <a:pt x="0" y="421229"/>
                  <a:pt x="421230" y="0"/>
                  <a:pt x="940842" y="0"/>
                </a:cubicBez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Tree>
    <p:extLst>
      <p:ext uri="{BB962C8B-B14F-4D97-AF65-F5344CB8AC3E}">
        <p14:creationId xmlns:p14="http://schemas.microsoft.com/office/powerpoint/2010/main" val="160844938"/>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1" dur="1500" decel="100000" fill="hold" grpId="0" nodeType="withEffect">
                                  <p:stCondLst>
                                    <p:cond delay="50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1500" fill="hold"/>
                                        <p:tgtEl>
                                          <p:spTgt spid="14"/>
                                        </p:tgtEl>
                                        <p:attrNameLst>
                                          <p:attrName>ppt_x</p:attrName>
                                        </p:attrNameLst>
                                      </p:cBhvr>
                                      <p:tavLst>
                                        <p:tav tm="0">
                                          <p:val>
                                            <p:strVal val="#ppt_x"/>
                                          </p:val>
                                        </p:tav>
                                        <p:tav tm="100000">
                                          <p:val>
                                            <p:strVal val="#ppt_x"/>
                                          </p:val>
                                        </p:tav>
                                      </p:tavLst>
                                    </p:anim>
                                    <p:anim calcmode="lin" valueType="num">
                                      <p:cBhvr additive="base">
                                        <p:cTn id="8" dur="1500" fill="hold"/>
                                        <p:tgtEl>
                                          <p:spTgt spid="14"/>
                                        </p:tgtEl>
                                        <p:attrNameLst>
                                          <p:attrName>ppt_y</p:attrName>
                                        </p:attrNameLst>
                                      </p:cBhvr>
                                      <p:tavLst>
                                        <p:tav tm="0">
                                          <p:val>
                                            <p:strVal val="0-#ppt_h/2"/>
                                          </p:val>
                                        </p:tav>
                                        <p:tav tm="100000">
                                          <p:val>
                                            <p:strVal val="#ppt_y"/>
                                          </p:val>
                                        </p:tav>
                                      </p:tavLst>
                                    </p:anim>
                                  </p:childTnLst>
                                </p:cTn>
                              </p:par>
                              <p:par>
                                <p:cTn id="9" presetID="2" presetClass="entr" presetSubtype="4" dur="1500" decel="100000" fill="hold" grpId="0" nodeType="withEffect">
                                  <p:stCondLst>
                                    <p:cond delay="800"/>
                                  </p:stCondLst>
                                  <p:childTnLst>
                                    <p:set>
                                      <p:cBhvr>
                                        <p:cTn id="10" dur="1" fill="hold">
                                          <p:stCondLst>
                                            <p:cond delay="0"/>
                                          </p:stCondLst>
                                        </p:cTn>
                                        <p:tgtEl>
                                          <p:spTgt spid="15"/>
                                        </p:tgtEl>
                                        <p:attrNameLst>
                                          <p:attrName>style.visibility</p:attrName>
                                        </p:attrNameLst>
                                      </p:cBhvr>
                                      <p:to>
                                        <p:strVal val="visible"/>
                                      </p:to>
                                    </p:set>
                                    <p:anim calcmode="lin" valueType="num">
                                      <p:cBhvr additive="base">
                                        <p:cTn id="11" dur="1500" fill="hold"/>
                                        <p:tgtEl>
                                          <p:spTgt spid="15"/>
                                        </p:tgtEl>
                                        <p:attrNameLst>
                                          <p:attrName>ppt_x</p:attrName>
                                        </p:attrNameLst>
                                      </p:cBhvr>
                                      <p:tavLst>
                                        <p:tav tm="0">
                                          <p:val>
                                            <p:strVal val="#ppt_x"/>
                                          </p:val>
                                        </p:tav>
                                        <p:tav tm="100000">
                                          <p:val>
                                            <p:strVal val="#ppt_x"/>
                                          </p:val>
                                        </p:tav>
                                      </p:tavLst>
                                    </p:anim>
                                    <p:anim calcmode="lin" valueType="num">
                                      <p:cBhvr additive="base">
                                        <p:cTn id="12" dur="1500" fill="hold"/>
                                        <p:tgtEl>
                                          <p:spTgt spid="15"/>
                                        </p:tgtEl>
                                        <p:attrNameLst>
                                          <p:attrName>ppt_y</p:attrName>
                                        </p:attrNameLst>
                                      </p:cBhvr>
                                      <p:tavLst>
                                        <p:tav tm="0">
                                          <p:val>
                                            <p:strVal val="1+#ppt_h/2"/>
                                          </p:val>
                                        </p:tav>
                                        <p:tav tm="100000">
                                          <p:val>
                                            <p:strVal val="#ppt_y"/>
                                          </p:val>
                                        </p:tav>
                                      </p:tavLst>
                                    </p:anim>
                                  </p:childTnLst>
                                </p:cTn>
                              </p:par>
                              <p:par>
                                <p:cTn id="13" presetID="2" presetClass="entr" presetSubtype="1" dur="1500" decel="100000" fill="hold" grpId="0" nodeType="withEffect">
                                  <p:stCondLst>
                                    <p:cond delay="1100"/>
                                  </p:stCondLst>
                                  <p:childTnLst>
                                    <p:set>
                                      <p:cBhvr>
                                        <p:cTn id="14" dur="1" fill="hold">
                                          <p:stCondLst>
                                            <p:cond delay="0"/>
                                          </p:stCondLst>
                                        </p:cTn>
                                        <p:tgtEl>
                                          <p:spTgt spid="16"/>
                                        </p:tgtEl>
                                        <p:attrNameLst>
                                          <p:attrName>style.visibility</p:attrName>
                                        </p:attrNameLst>
                                      </p:cBhvr>
                                      <p:to>
                                        <p:strVal val="visible"/>
                                      </p:to>
                                    </p:set>
                                    <p:anim calcmode="lin" valueType="num">
                                      <p:cBhvr additive="base">
                                        <p:cTn id="15" dur="1500" fill="hold"/>
                                        <p:tgtEl>
                                          <p:spTgt spid="16"/>
                                        </p:tgtEl>
                                        <p:attrNameLst>
                                          <p:attrName>ppt_x</p:attrName>
                                        </p:attrNameLst>
                                      </p:cBhvr>
                                      <p:tavLst>
                                        <p:tav tm="0">
                                          <p:val>
                                            <p:strVal val="#ppt_x"/>
                                          </p:val>
                                        </p:tav>
                                        <p:tav tm="100000">
                                          <p:val>
                                            <p:strVal val="#ppt_x"/>
                                          </p:val>
                                        </p:tav>
                                      </p:tavLst>
                                    </p:anim>
                                    <p:anim calcmode="lin" valueType="num">
                                      <p:cBhvr additive="base">
                                        <p:cTn id="16" dur="1500" fill="hold"/>
                                        <p:tgtEl>
                                          <p:spTgt spid="16"/>
                                        </p:tgtEl>
                                        <p:attrNameLst>
                                          <p:attrName>ppt_y</p:attrName>
                                        </p:attrNameLst>
                                      </p:cBhvr>
                                      <p:tavLst>
                                        <p:tav tm="0">
                                          <p:val>
                                            <p:strVal val="0-#ppt_h/2"/>
                                          </p:val>
                                        </p:tav>
                                        <p:tav tm="100000">
                                          <p:val>
                                            <p:strVal val="#ppt_y"/>
                                          </p:val>
                                        </p:tav>
                                      </p:tavLst>
                                    </p:anim>
                                  </p:childTnLst>
                                </p:cTn>
                              </p:par>
                              <p:par>
                                <p:cTn id="17" presetID="2" presetClass="entr" presetSubtype="4" dur="1500" decel="100000" fill="hold" grpId="0" nodeType="withEffect">
                                  <p:stCondLst>
                                    <p:cond delay="1400"/>
                                  </p:stCondLst>
                                  <p:childTnLst>
                                    <p:set>
                                      <p:cBhvr>
                                        <p:cTn id="18" dur="1" fill="hold">
                                          <p:stCondLst>
                                            <p:cond delay="0"/>
                                          </p:stCondLst>
                                        </p:cTn>
                                        <p:tgtEl>
                                          <p:spTgt spid="17"/>
                                        </p:tgtEl>
                                        <p:attrNameLst>
                                          <p:attrName>style.visibility</p:attrName>
                                        </p:attrNameLst>
                                      </p:cBhvr>
                                      <p:to>
                                        <p:strVal val="visible"/>
                                      </p:to>
                                    </p:set>
                                    <p:anim calcmode="lin" valueType="num">
                                      <p:cBhvr additive="base">
                                        <p:cTn id="19" dur="1500" fill="hold"/>
                                        <p:tgtEl>
                                          <p:spTgt spid="17"/>
                                        </p:tgtEl>
                                        <p:attrNameLst>
                                          <p:attrName>ppt_x</p:attrName>
                                        </p:attrNameLst>
                                      </p:cBhvr>
                                      <p:tavLst>
                                        <p:tav tm="0">
                                          <p:val>
                                            <p:strVal val="#ppt_x"/>
                                          </p:val>
                                        </p:tav>
                                        <p:tav tm="100000">
                                          <p:val>
                                            <p:strVal val="#ppt_x"/>
                                          </p:val>
                                        </p:tav>
                                      </p:tavLst>
                                    </p:anim>
                                    <p:anim calcmode="lin" valueType="num">
                                      <p:cBhvr additive="base">
                                        <p:cTn id="20" dur="1500" fill="hold"/>
                                        <p:tgtEl>
                                          <p:spTgt spid="17"/>
                                        </p:tgtEl>
                                        <p:attrNameLst>
                                          <p:attrName>ppt_y</p:attrName>
                                        </p:attrNameLst>
                                      </p:cBhvr>
                                      <p:tavLst>
                                        <p:tav tm="0">
                                          <p:val>
                                            <p:strVal val="1+#ppt_h/2"/>
                                          </p:val>
                                        </p:tav>
                                        <p:tav tm="100000">
                                          <p:val>
                                            <p:strVal val="#ppt_y"/>
                                          </p:val>
                                        </p:tav>
                                      </p:tavLst>
                                    </p:anim>
                                  </p:childTnLst>
                                </p:cTn>
                              </p:par>
                              <p:par>
                                <p:cTn id="21" presetID="2" presetClass="entr" presetSubtype="1" dur="1500" decel="100000" fill="hold" grpId="0" nodeType="withEffect">
                                  <p:stCondLst>
                                    <p:cond delay="1700"/>
                                  </p:stCondLst>
                                  <p:childTnLst>
                                    <p:set>
                                      <p:cBhvr>
                                        <p:cTn id="22" dur="1" fill="hold">
                                          <p:stCondLst>
                                            <p:cond delay="0"/>
                                          </p:stCondLst>
                                        </p:cTn>
                                        <p:tgtEl>
                                          <p:spTgt spid="18"/>
                                        </p:tgtEl>
                                        <p:attrNameLst>
                                          <p:attrName>style.visibility</p:attrName>
                                        </p:attrNameLst>
                                      </p:cBhvr>
                                      <p:to>
                                        <p:strVal val="visible"/>
                                      </p:to>
                                    </p:set>
                                    <p:anim calcmode="lin" valueType="num">
                                      <p:cBhvr additive="base">
                                        <p:cTn id="23" dur="1500" fill="hold"/>
                                        <p:tgtEl>
                                          <p:spTgt spid="18"/>
                                        </p:tgtEl>
                                        <p:attrNameLst>
                                          <p:attrName>ppt_x</p:attrName>
                                        </p:attrNameLst>
                                      </p:cBhvr>
                                      <p:tavLst>
                                        <p:tav tm="0">
                                          <p:val>
                                            <p:strVal val="#ppt_x"/>
                                          </p:val>
                                        </p:tav>
                                        <p:tav tm="100000">
                                          <p:val>
                                            <p:strVal val="#ppt_x"/>
                                          </p:val>
                                        </p:tav>
                                      </p:tavLst>
                                    </p:anim>
                                    <p:anim calcmode="lin" valueType="num">
                                      <p:cBhvr additive="base">
                                        <p:cTn id="24" dur="1500" fill="hold"/>
                                        <p:tgtEl>
                                          <p:spTgt spid="18"/>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animBg="1"/>
      <p:bldP spid="16" grpId="0" animBg="1"/>
      <p:bldP spid="17" grpId="0" animBg="1"/>
      <p:bldP spid="18" grpId="0" animBg="1"/>
    </p:bld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D891C536-C71D-43CE-BF4D-B9B329D1B407}"/>
              </a:ext>
            </a:extLst>
          </p:cNvPr>
          <p:cNvSpPr>
            <a:spLocks noGrp="1"/>
          </p:cNvSpPr>
          <p:nvPr>
            <p:ph type="pic" sz="quarter" idx="15"/>
          </p:nvPr>
        </p:nvSpPr>
        <p:spPr>
          <a:xfrm>
            <a:off x="1147470" y="2745873"/>
            <a:ext cx="955706" cy="955830"/>
          </a:xfrm>
          <a:custGeom>
            <a:avLst/>
            <a:gdLst>
              <a:gd name="connsiteX0" fmla="*/ 955830 w 1911660"/>
              <a:gd name="connsiteY0" fmla="*/ 0 h 1911660"/>
              <a:gd name="connsiteX1" fmla="*/ 1911660 w 1911660"/>
              <a:gd name="connsiteY1" fmla="*/ 955830 h 1911660"/>
              <a:gd name="connsiteX2" fmla="*/ 955830 w 1911660"/>
              <a:gd name="connsiteY2" fmla="*/ 1911660 h 1911660"/>
              <a:gd name="connsiteX3" fmla="*/ 0 w 1911660"/>
              <a:gd name="connsiteY3" fmla="*/ 955830 h 1911660"/>
              <a:gd name="connsiteX4" fmla="*/ 955830 w 1911660"/>
              <a:gd name="connsiteY4" fmla="*/ 0 h 19116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1659" h="1911659">
                <a:moveTo>
                  <a:pt x="955830" y="0"/>
                </a:moveTo>
                <a:cubicBezTo>
                  <a:pt x="1483720" y="0"/>
                  <a:pt x="1911660" y="427940"/>
                  <a:pt x="1911660" y="955830"/>
                </a:cubicBezTo>
                <a:cubicBezTo>
                  <a:pt x="1911660" y="1483720"/>
                  <a:pt x="1483720" y="1911660"/>
                  <a:pt x="955830" y="1911660"/>
                </a:cubicBezTo>
                <a:cubicBezTo>
                  <a:pt x="427940" y="1911660"/>
                  <a:pt x="0" y="1483720"/>
                  <a:pt x="0" y="955830"/>
                </a:cubicBezTo>
                <a:cubicBezTo>
                  <a:pt x="0" y="427940"/>
                  <a:pt x="427940" y="0"/>
                  <a:pt x="955830" y="0"/>
                </a:cubicBez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
        <p:nvSpPr>
          <p:cNvPr id="14" name="Picture Placeholder 13">
            <a:extLst>
              <a:ext uri="{FF2B5EF4-FFF2-40B4-BE49-F238E27FC236}">
                <a16:creationId xmlns:a16="http://schemas.microsoft.com/office/drawing/2014/main" id="{6EB235DB-2D95-4CB0-8307-58A1C6583880}"/>
              </a:ext>
            </a:extLst>
          </p:cNvPr>
          <p:cNvSpPr>
            <a:spLocks noGrp="1"/>
          </p:cNvSpPr>
          <p:nvPr>
            <p:ph type="pic" sz="quarter" idx="16"/>
          </p:nvPr>
        </p:nvSpPr>
        <p:spPr>
          <a:xfrm>
            <a:off x="3382809" y="2745873"/>
            <a:ext cx="955706" cy="955830"/>
          </a:xfrm>
          <a:custGeom>
            <a:avLst/>
            <a:gdLst>
              <a:gd name="connsiteX0" fmla="*/ 955830 w 1911660"/>
              <a:gd name="connsiteY0" fmla="*/ 0 h 1911660"/>
              <a:gd name="connsiteX1" fmla="*/ 1911660 w 1911660"/>
              <a:gd name="connsiteY1" fmla="*/ 955830 h 1911660"/>
              <a:gd name="connsiteX2" fmla="*/ 955830 w 1911660"/>
              <a:gd name="connsiteY2" fmla="*/ 1911660 h 1911660"/>
              <a:gd name="connsiteX3" fmla="*/ 0 w 1911660"/>
              <a:gd name="connsiteY3" fmla="*/ 955830 h 1911660"/>
              <a:gd name="connsiteX4" fmla="*/ 955830 w 1911660"/>
              <a:gd name="connsiteY4" fmla="*/ 0 h 19116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1659" h="1911659">
                <a:moveTo>
                  <a:pt x="955830" y="0"/>
                </a:moveTo>
                <a:cubicBezTo>
                  <a:pt x="1483720" y="0"/>
                  <a:pt x="1911660" y="427940"/>
                  <a:pt x="1911660" y="955830"/>
                </a:cubicBezTo>
                <a:cubicBezTo>
                  <a:pt x="1911660" y="1483720"/>
                  <a:pt x="1483720" y="1911660"/>
                  <a:pt x="955830" y="1911660"/>
                </a:cubicBezTo>
                <a:cubicBezTo>
                  <a:pt x="427940" y="1911660"/>
                  <a:pt x="0" y="1483720"/>
                  <a:pt x="0" y="955830"/>
                </a:cubicBezTo>
                <a:cubicBezTo>
                  <a:pt x="0" y="427940"/>
                  <a:pt x="427940" y="0"/>
                  <a:pt x="955830" y="0"/>
                </a:cubicBez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
        <p:nvSpPr>
          <p:cNvPr id="15" name="Picture Placeholder 14">
            <a:extLst>
              <a:ext uri="{FF2B5EF4-FFF2-40B4-BE49-F238E27FC236}">
                <a16:creationId xmlns:a16="http://schemas.microsoft.com/office/drawing/2014/main" id="{D228DFF4-14CD-4364-BC23-932EEA85A154}"/>
              </a:ext>
            </a:extLst>
          </p:cNvPr>
          <p:cNvSpPr>
            <a:spLocks noGrp="1"/>
          </p:cNvSpPr>
          <p:nvPr>
            <p:ph type="pic" sz="quarter" idx="17"/>
          </p:nvPr>
        </p:nvSpPr>
        <p:spPr>
          <a:xfrm>
            <a:off x="5618147" y="2745873"/>
            <a:ext cx="955706" cy="955830"/>
          </a:xfrm>
          <a:custGeom>
            <a:avLst/>
            <a:gdLst>
              <a:gd name="connsiteX0" fmla="*/ 955830 w 1911660"/>
              <a:gd name="connsiteY0" fmla="*/ 0 h 1911660"/>
              <a:gd name="connsiteX1" fmla="*/ 1911660 w 1911660"/>
              <a:gd name="connsiteY1" fmla="*/ 955830 h 1911660"/>
              <a:gd name="connsiteX2" fmla="*/ 955830 w 1911660"/>
              <a:gd name="connsiteY2" fmla="*/ 1911660 h 1911660"/>
              <a:gd name="connsiteX3" fmla="*/ 0 w 1911660"/>
              <a:gd name="connsiteY3" fmla="*/ 955830 h 1911660"/>
              <a:gd name="connsiteX4" fmla="*/ 955830 w 1911660"/>
              <a:gd name="connsiteY4" fmla="*/ 0 h 19116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1659" h="1911659">
                <a:moveTo>
                  <a:pt x="955830" y="0"/>
                </a:moveTo>
                <a:cubicBezTo>
                  <a:pt x="1483720" y="0"/>
                  <a:pt x="1911660" y="427940"/>
                  <a:pt x="1911660" y="955830"/>
                </a:cubicBezTo>
                <a:cubicBezTo>
                  <a:pt x="1911660" y="1483720"/>
                  <a:pt x="1483720" y="1911660"/>
                  <a:pt x="955830" y="1911660"/>
                </a:cubicBezTo>
                <a:cubicBezTo>
                  <a:pt x="427940" y="1911660"/>
                  <a:pt x="0" y="1483720"/>
                  <a:pt x="0" y="955830"/>
                </a:cubicBezTo>
                <a:cubicBezTo>
                  <a:pt x="0" y="427940"/>
                  <a:pt x="427940" y="0"/>
                  <a:pt x="955830" y="0"/>
                </a:cubicBez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
        <p:nvSpPr>
          <p:cNvPr id="16" name="Picture Placeholder 15">
            <a:extLst>
              <a:ext uri="{FF2B5EF4-FFF2-40B4-BE49-F238E27FC236}">
                <a16:creationId xmlns:a16="http://schemas.microsoft.com/office/drawing/2014/main" id="{005DBB6D-5C8B-4551-88AB-55D90B681B26}"/>
              </a:ext>
            </a:extLst>
          </p:cNvPr>
          <p:cNvSpPr>
            <a:spLocks noGrp="1"/>
          </p:cNvSpPr>
          <p:nvPr>
            <p:ph type="pic" sz="quarter" idx="18"/>
          </p:nvPr>
        </p:nvSpPr>
        <p:spPr>
          <a:xfrm>
            <a:off x="7853486" y="2745873"/>
            <a:ext cx="955705" cy="955830"/>
          </a:xfrm>
          <a:custGeom>
            <a:avLst/>
            <a:gdLst>
              <a:gd name="connsiteX0" fmla="*/ 955830 w 1911659"/>
              <a:gd name="connsiteY0" fmla="*/ 0 h 1911660"/>
              <a:gd name="connsiteX1" fmla="*/ 1911659 w 1911659"/>
              <a:gd name="connsiteY1" fmla="*/ 955830 h 1911660"/>
              <a:gd name="connsiteX2" fmla="*/ 955830 w 1911659"/>
              <a:gd name="connsiteY2" fmla="*/ 1911660 h 1911660"/>
              <a:gd name="connsiteX3" fmla="*/ 0 w 1911659"/>
              <a:gd name="connsiteY3" fmla="*/ 955830 h 1911660"/>
              <a:gd name="connsiteX4" fmla="*/ 955830 w 1911659"/>
              <a:gd name="connsiteY4" fmla="*/ 0 h 19116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1659" h="1911659">
                <a:moveTo>
                  <a:pt x="955830" y="0"/>
                </a:moveTo>
                <a:cubicBezTo>
                  <a:pt x="1483719" y="0"/>
                  <a:pt x="1911659" y="427940"/>
                  <a:pt x="1911659" y="955830"/>
                </a:cubicBezTo>
                <a:cubicBezTo>
                  <a:pt x="1911659" y="1483720"/>
                  <a:pt x="1483719" y="1911660"/>
                  <a:pt x="955830" y="1911660"/>
                </a:cubicBezTo>
                <a:cubicBezTo>
                  <a:pt x="427940" y="1911660"/>
                  <a:pt x="0" y="1483720"/>
                  <a:pt x="0" y="955830"/>
                </a:cubicBezTo>
                <a:cubicBezTo>
                  <a:pt x="0" y="427940"/>
                  <a:pt x="427940" y="0"/>
                  <a:pt x="955830" y="0"/>
                </a:cubicBez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
        <p:nvSpPr>
          <p:cNvPr id="17" name="Picture Placeholder 16">
            <a:extLst>
              <a:ext uri="{FF2B5EF4-FFF2-40B4-BE49-F238E27FC236}">
                <a16:creationId xmlns:a16="http://schemas.microsoft.com/office/drawing/2014/main" id="{2403ED0C-CEF4-4ED5-9432-B1D0EFE4B495}"/>
              </a:ext>
            </a:extLst>
          </p:cNvPr>
          <p:cNvSpPr>
            <a:spLocks noGrp="1"/>
          </p:cNvSpPr>
          <p:nvPr>
            <p:ph type="pic" sz="quarter" idx="19"/>
          </p:nvPr>
        </p:nvSpPr>
        <p:spPr>
          <a:xfrm>
            <a:off x="10088824" y="2745873"/>
            <a:ext cx="955706" cy="955830"/>
          </a:xfrm>
          <a:custGeom>
            <a:avLst/>
            <a:gdLst>
              <a:gd name="connsiteX0" fmla="*/ 955828 w 1911660"/>
              <a:gd name="connsiteY0" fmla="*/ 0 h 1911660"/>
              <a:gd name="connsiteX1" fmla="*/ 1911660 w 1911660"/>
              <a:gd name="connsiteY1" fmla="*/ 955830 h 1911660"/>
              <a:gd name="connsiteX2" fmla="*/ 955828 w 1911660"/>
              <a:gd name="connsiteY2" fmla="*/ 1911660 h 1911660"/>
              <a:gd name="connsiteX3" fmla="*/ 0 w 1911660"/>
              <a:gd name="connsiteY3" fmla="*/ 955830 h 1911660"/>
              <a:gd name="connsiteX4" fmla="*/ 955828 w 1911660"/>
              <a:gd name="connsiteY4" fmla="*/ 0 h 19116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1659" h="1911659">
                <a:moveTo>
                  <a:pt x="955828" y="0"/>
                </a:moveTo>
                <a:cubicBezTo>
                  <a:pt x="1483720" y="0"/>
                  <a:pt x="1911660" y="427940"/>
                  <a:pt x="1911660" y="955830"/>
                </a:cubicBezTo>
                <a:cubicBezTo>
                  <a:pt x="1911660" y="1483720"/>
                  <a:pt x="1483720" y="1911660"/>
                  <a:pt x="955828" y="1911660"/>
                </a:cubicBezTo>
                <a:cubicBezTo>
                  <a:pt x="427940" y="1911660"/>
                  <a:pt x="0" y="1483720"/>
                  <a:pt x="0" y="955830"/>
                </a:cubicBezTo>
                <a:cubicBezTo>
                  <a:pt x="0" y="427940"/>
                  <a:pt x="427940" y="0"/>
                  <a:pt x="955828" y="0"/>
                </a:cubicBez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Tree>
    <p:extLst>
      <p:ext uri="{BB962C8B-B14F-4D97-AF65-F5344CB8AC3E}">
        <p14:creationId xmlns:p14="http://schemas.microsoft.com/office/powerpoint/2010/main" val="384705970"/>
      </p:ext>
    </p:extLst>
  </p:cSld>
  <p:clrMapOvr>
    <a:masterClrMapping/>
  </p:clrMapOvr>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ED8B4229-4B33-4A0A-AF4B-FF49C5161567}"/>
              </a:ext>
            </a:extLst>
          </p:cNvPr>
          <p:cNvSpPr>
            <a:spLocks noGrp="1"/>
          </p:cNvSpPr>
          <p:nvPr>
            <p:ph type="pic" sz="quarter" idx="13"/>
          </p:nvPr>
        </p:nvSpPr>
        <p:spPr>
          <a:xfrm>
            <a:off x="6096000" y="647700"/>
            <a:ext cx="6096000" cy="5524500"/>
          </a:xfrm>
          <a:custGeom>
            <a:avLst/>
            <a:gdLst>
              <a:gd name="connsiteX0" fmla="*/ 2264824 w 12193588"/>
              <a:gd name="connsiteY0" fmla="*/ 0 h 11049000"/>
              <a:gd name="connsiteX1" fmla="*/ 12193588 w 12193588"/>
              <a:gd name="connsiteY1" fmla="*/ 0 h 11049000"/>
              <a:gd name="connsiteX2" fmla="*/ 12193588 w 12193588"/>
              <a:gd name="connsiteY2" fmla="*/ 11049000 h 11049000"/>
              <a:gd name="connsiteX3" fmla="*/ 2264824 w 12193588"/>
              <a:gd name="connsiteY3" fmla="*/ 11049000 h 11049000"/>
              <a:gd name="connsiteX4" fmla="*/ 0 w 12193588"/>
              <a:gd name="connsiteY4" fmla="*/ 5524500 h 11049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3588" h="11049000">
                <a:moveTo>
                  <a:pt x="2264824" y="0"/>
                </a:moveTo>
                <a:lnTo>
                  <a:pt x="12193588" y="0"/>
                </a:lnTo>
                <a:lnTo>
                  <a:pt x="12193588" y="11049000"/>
                </a:lnTo>
                <a:lnTo>
                  <a:pt x="2264824" y="11049000"/>
                </a:lnTo>
                <a:lnTo>
                  <a:pt x="0" y="5524500"/>
                </a:lnTo>
                <a:close/>
              </a:path>
            </a:pathLst>
          </a:custGeom>
          <a:pattFill prst="pct60">
            <a:fgClr>
              <a:schemeClr val="bg1"/>
            </a:fgClr>
            <a:bgClr>
              <a:schemeClr val="bg1">
                <a:lumMod val="85000"/>
              </a:schemeClr>
            </a:bgClr>
          </a:pattFill>
          <a:effectLst>
            <a:outerShdw blurRad="711200" dist="863600" dir="10800000" sx="94000" sy="94000" algn="r" rotWithShape="0">
              <a:schemeClr val="accent1">
                <a:lumMod val="50000"/>
                <a:alpha val="63000"/>
              </a:schemeClr>
            </a:outerShdw>
          </a:effectLst>
        </p:spPr>
        <p:txBody>
          <a:bodyPr wrap="square" anchor="ctr">
            <a:noAutofit/>
          </a:bodyPr>
          <a:lstStyle>
            <a:lvl1pPr marL="0" indent="0" algn="ctr">
              <a:buFontTx/>
              <a:buNone/>
              <a:defRPr sz="1200"/>
            </a:lvl1pPr>
          </a:lstStyle>
          <a:p>
            <a:endParaRPr lang="en-US"/>
          </a:p>
        </p:txBody>
      </p:sp>
    </p:spTree>
    <p:extLst>
      <p:ext uri="{BB962C8B-B14F-4D97-AF65-F5344CB8AC3E}">
        <p14:creationId xmlns:p14="http://schemas.microsoft.com/office/powerpoint/2010/main" val="1894572531"/>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2" dur="1300" decel="100000"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1300" fill="hold"/>
                                        <p:tgtEl>
                                          <p:spTgt spid="12"/>
                                        </p:tgtEl>
                                        <p:attrNameLst>
                                          <p:attrName>ppt_x</p:attrName>
                                        </p:attrNameLst>
                                      </p:cBhvr>
                                      <p:tavLst>
                                        <p:tav tm="0">
                                          <p:val>
                                            <p:strVal val="1+#ppt_w/2"/>
                                          </p:val>
                                        </p:tav>
                                        <p:tav tm="100000">
                                          <p:val>
                                            <p:strVal val="#ppt_x"/>
                                          </p:val>
                                        </p:tav>
                                      </p:tavLst>
                                    </p:anim>
                                    <p:anim calcmode="lin" valueType="num">
                                      <p:cBhvr additive="base">
                                        <p:cTn id="8" dur="130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3_Custom Layout">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A1483D13-6DD3-40B5-B94A-22A72B88E395}"/>
              </a:ext>
            </a:extLst>
          </p:cNvPr>
          <p:cNvSpPr>
            <a:spLocks noGrp="1"/>
          </p:cNvSpPr>
          <p:nvPr>
            <p:ph type="pic" sz="quarter" idx="15"/>
          </p:nvPr>
        </p:nvSpPr>
        <p:spPr>
          <a:xfrm>
            <a:off x="1538960" y="3617088"/>
            <a:ext cx="1281061" cy="1542737"/>
          </a:xfrm>
          <a:custGeom>
            <a:avLst/>
            <a:gdLst>
              <a:gd name="connsiteX0" fmla="*/ 0 w 2562456"/>
              <a:gd name="connsiteY0" fmla="*/ 0 h 3085473"/>
              <a:gd name="connsiteX1" fmla="*/ 2562456 w 2562456"/>
              <a:gd name="connsiteY1" fmla="*/ 0 h 3085473"/>
              <a:gd name="connsiteX2" fmla="*/ 2562456 w 2562456"/>
              <a:gd name="connsiteY2" fmla="*/ 3085473 h 3085473"/>
              <a:gd name="connsiteX3" fmla="*/ 0 w 2562456"/>
              <a:gd name="connsiteY3" fmla="*/ 3085473 h 3085473"/>
            </a:gdLst>
            <a:ahLst/>
            <a:cxnLst>
              <a:cxn ang="0">
                <a:pos x="connsiteX0" y="connsiteY0"/>
              </a:cxn>
              <a:cxn ang="0">
                <a:pos x="connsiteX1" y="connsiteY1"/>
              </a:cxn>
              <a:cxn ang="0">
                <a:pos x="connsiteX2" y="connsiteY2"/>
              </a:cxn>
              <a:cxn ang="0">
                <a:pos x="connsiteX3" y="connsiteY3"/>
              </a:cxn>
            </a:cxnLst>
            <a:rect l="l" t="t" r="r" b="b"/>
            <a:pathLst>
              <a:path w="2562456" h="3085473">
                <a:moveTo>
                  <a:pt x="0" y="0"/>
                </a:moveTo>
                <a:lnTo>
                  <a:pt x="2562456" y="0"/>
                </a:lnTo>
                <a:lnTo>
                  <a:pt x="2562456" y="3085473"/>
                </a:lnTo>
                <a:lnTo>
                  <a:pt x="0" y="3085473"/>
                </a:ln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
        <p:nvSpPr>
          <p:cNvPr id="11" name="Picture Placeholder 10">
            <a:extLst>
              <a:ext uri="{FF2B5EF4-FFF2-40B4-BE49-F238E27FC236}">
                <a16:creationId xmlns:a16="http://schemas.microsoft.com/office/drawing/2014/main" id="{C223C6C0-40B2-4B91-8B1C-E3376A7BC535}"/>
              </a:ext>
            </a:extLst>
          </p:cNvPr>
          <p:cNvSpPr>
            <a:spLocks noGrp="1"/>
          </p:cNvSpPr>
          <p:nvPr>
            <p:ph type="pic" sz="quarter" idx="16"/>
          </p:nvPr>
        </p:nvSpPr>
        <p:spPr>
          <a:xfrm>
            <a:off x="5949199" y="503585"/>
            <a:ext cx="1869580" cy="1855686"/>
          </a:xfrm>
          <a:custGeom>
            <a:avLst/>
            <a:gdLst>
              <a:gd name="connsiteX0" fmla="*/ 0 w 3739647"/>
              <a:gd name="connsiteY0" fmla="*/ 0 h 3711371"/>
              <a:gd name="connsiteX1" fmla="*/ 3739647 w 3739647"/>
              <a:gd name="connsiteY1" fmla="*/ 0 h 3711371"/>
              <a:gd name="connsiteX2" fmla="*/ 3739647 w 3739647"/>
              <a:gd name="connsiteY2" fmla="*/ 3711371 h 3711371"/>
              <a:gd name="connsiteX3" fmla="*/ 0 w 3739647"/>
              <a:gd name="connsiteY3" fmla="*/ 3711371 h 3711371"/>
            </a:gdLst>
            <a:ahLst/>
            <a:cxnLst>
              <a:cxn ang="0">
                <a:pos x="connsiteX0" y="connsiteY0"/>
              </a:cxn>
              <a:cxn ang="0">
                <a:pos x="connsiteX1" y="connsiteY1"/>
              </a:cxn>
              <a:cxn ang="0">
                <a:pos x="connsiteX2" y="connsiteY2"/>
              </a:cxn>
              <a:cxn ang="0">
                <a:pos x="connsiteX3" y="connsiteY3"/>
              </a:cxn>
            </a:cxnLst>
            <a:rect l="l" t="t" r="r" b="b"/>
            <a:pathLst>
              <a:path w="3739647" h="3711371">
                <a:moveTo>
                  <a:pt x="0" y="0"/>
                </a:moveTo>
                <a:lnTo>
                  <a:pt x="3739647" y="0"/>
                </a:lnTo>
                <a:lnTo>
                  <a:pt x="3739647" y="3711371"/>
                </a:lnTo>
                <a:lnTo>
                  <a:pt x="0" y="3711371"/>
                </a:ln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
        <p:nvSpPr>
          <p:cNvPr id="12" name="Picture Placeholder 11">
            <a:extLst>
              <a:ext uri="{FF2B5EF4-FFF2-40B4-BE49-F238E27FC236}">
                <a16:creationId xmlns:a16="http://schemas.microsoft.com/office/drawing/2014/main" id="{D0AAA611-0D8A-4CBD-84B9-375447BB51AB}"/>
              </a:ext>
            </a:extLst>
          </p:cNvPr>
          <p:cNvSpPr>
            <a:spLocks noGrp="1"/>
          </p:cNvSpPr>
          <p:nvPr>
            <p:ph type="pic" sz="quarter" idx="17"/>
          </p:nvPr>
        </p:nvSpPr>
        <p:spPr>
          <a:xfrm>
            <a:off x="5570055" y="4461938"/>
            <a:ext cx="1869580" cy="1084781"/>
          </a:xfrm>
          <a:custGeom>
            <a:avLst/>
            <a:gdLst>
              <a:gd name="connsiteX0" fmla="*/ 0 w 3739647"/>
              <a:gd name="connsiteY0" fmla="*/ 0 h 2169562"/>
              <a:gd name="connsiteX1" fmla="*/ 3739647 w 3739647"/>
              <a:gd name="connsiteY1" fmla="*/ 0 h 2169562"/>
              <a:gd name="connsiteX2" fmla="*/ 3739647 w 3739647"/>
              <a:gd name="connsiteY2" fmla="*/ 2169562 h 2169562"/>
              <a:gd name="connsiteX3" fmla="*/ 0 w 3739647"/>
              <a:gd name="connsiteY3" fmla="*/ 2169562 h 2169562"/>
            </a:gdLst>
            <a:ahLst/>
            <a:cxnLst>
              <a:cxn ang="0">
                <a:pos x="connsiteX0" y="connsiteY0"/>
              </a:cxn>
              <a:cxn ang="0">
                <a:pos x="connsiteX1" y="connsiteY1"/>
              </a:cxn>
              <a:cxn ang="0">
                <a:pos x="connsiteX2" y="connsiteY2"/>
              </a:cxn>
              <a:cxn ang="0">
                <a:pos x="connsiteX3" y="connsiteY3"/>
              </a:cxn>
            </a:cxnLst>
            <a:rect l="l" t="t" r="r" b="b"/>
            <a:pathLst>
              <a:path w="3739647" h="2169562">
                <a:moveTo>
                  <a:pt x="0" y="0"/>
                </a:moveTo>
                <a:lnTo>
                  <a:pt x="3739647" y="0"/>
                </a:lnTo>
                <a:lnTo>
                  <a:pt x="3739647" y="2169562"/>
                </a:lnTo>
                <a:lnTo>
                  <a:pt x="0" y="2169562"/>
                </a:ln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
        <p:nvSpPr>
          <p:cNvPr id="13" name="Picture Placeholder 12">
            <a:extLst>
              <a:ext uri="{FF2B5EF4-FFF2-40B4-BE49-F238E27FC236}">
                <a16:creationId xmlns:a16="http://schemas.microsoft.com/office/drawing/2014/main" id="{9EE5DA75-D57A-445B-800D-4D886BEE4E5A}"/>
              </a:ext>
            </a:extLst>
          </p:cNvPr>
          <p:cNvSpPr>
            <a:spLocks noGrp="1"/>
          </p:cNvSpPr>
          <p:nvPr>
            <p:ph type="pic" sz="quarter" idx="18"/>
          </p:nvPr>
        </p:nvSpPr>
        <p:spPr>
          <a:xfrm>
            <a:off x="8314024" y="3731007"/>
            <a:ext cx="1231893" cy="1205416"/>
          </a:xfrm>
          <a:custGeom>
            <a:avLst/>
            <a:gdLst>
              <a:gd name="connsiteX0" fmla="*/ 0 w 2464106"/>
              <a:gd name="connsiteY0" fmla="*/ 0 h 2410831"/>
              <a:gd name="connsiteX1" fmla="*/ 2464106 w 2464106"/>
              <a:gd name="connsiteY1" fmla="*/ 0 h 2410831"/>
              <a:gd name="connsiteX2" fmla="*/ 2464106 w 2464106"/>
              <a:gd name="connsiteY2" fmla="*/ 2410831 h 2410831"/>
              <a:gd name="connsiteX3" fmla="*/ 0 w 2464106"/>
              <a:gd name="connsiteY3" fmla="*/ 2410831 h 2410831"/>
            </a:gdLst>
            <a:ahLst/>
            <a:cxnLst>
              <a:cxn ang="0">
                <a:pos x="connsiteX0" y="connsiteY0"/>
              </a:cxn>
              <a:cxn ang="0">
                <a:pos x="connsiteX1" y="connsiteY1"/>
              </a:cxn>
              <a:cxn ang="0">
                <a:pos x="connsiteX2" y="connsiteY2"/>
              </a:cxn>
              <a:cxn ang="0">
                <a:pos x="connsiteX3" y="connsiteY3"/>
              </a:cxn>
            </a:cxnLst>
            <a:rect l="l" t="t" r="r" b="b"/>
            <a:pathLst>
              <a:path w="2464106" h="2410831">
                <a:moveTo>
                  <a:pt x="0" y="0"/>
                </a:moveTo>
                <a:lnTo>
                  <a:pt x="2464106" y="0"/>
                </a:lnTo>
                <a:lnTo>
                  <a:pt x="2464106" y="2410831"/>
                </a:lnTo>
                <a:lnTo>
                  <a:pt x="0" y="2410831"/>
                </a:ln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Tree>
    <p:extLst>
      <p:ext uri="{BB962C8B-B14F-4D97-AF65-F5344CB8AC3E}">
        <p14:creationId xmlns:p14="http://schemas.microsoft.com/office/powerpoint/2010/main" val="58179055"/>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10" presetClass="entr" presetSubtype="0" dur="30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300"/>
                                        <p:tgtEl>
                                          <p:spTgt spid="10"/>
                                        </p:tgtEl>
                                      </p:cBhvr>
                                    </p:animEffect>
                                  </p:childTnLst>
                                </p:cTn>
                              </p:par>
                              <p:par>
                                <p:cTn id="8" presetID="10" presetClass="entr" presetSubtype="0" dur="300" fill="hold" grpId="0" nodeType="withEffect">
                                  <p:stCondLst>
                                    <p:cond delay="30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300"/>
                                        <p:tgtEl>
                                          <p:spTgt spid="12"/>
                                        </p:tgtEl>
                                      </p:cBhvr>
                                    </p:animEffect>
                                  </p:childTnLst>
                                </p:cTn>
                              </p:par>
                              <p:par>
                                <p:cTn id="11" presetID="10" presetClass="entr" presetSubtype="0" dur="300" fill="hold" grpId="0" nodeType="withEffect">
                                  <p:stCondLst>
                                    <p:cond delay="600"/>
                                  </p:stCondLst>
                                  <p:childTnLst>
                                    <p:set>
                                      <p:cBhvr>
                                        <p:cTn id="12" dur="1" fill="hold">
                                          <p:stCondLst>
                                            <p:cond delay="0"/>
                                          </p:stCondLst>
                                        </p:cTn>
                                        <p:tgtEl>
                                          <p:spTgt spid="11"/>
                                        </p:tgtEl>
                                        <p:attrNameLst>
                                          <p:attrName>style.visibility</p:attrName>
                                        </p:attrNameLst>
                                      </p:cBhvr>
                                      <p:to>
                                        <p:strVal val="visible"/>
                                      </p:to>
                                    </p:set>
                                    <p:animEffect transition="in" filter="fade">
                                      <p:cBhvr>
                                        <p:cTn id="13" dur="300"/>
                                        <p:tgtEl>
                                          <p:spTgt spid="11"/>
                                        </p:tgtEl>
                                      </p:cBhvr>
                                    </p:animEffect>
                                  </p:childTnLst>
                                </p:cTn>
                              </p:par>
                              <p:par>
                                <p:cTn id="14" presetID="10" presetClass="entr" presetSubtype="0" dur="300" fill="hold" grpId="0" nodeType="withEffect">
                                  <p:stCondLst>
                                    <p:cond delay="900"/>
                                  </p:stCondLst>
                                  <p:childTnLst>
                                    <p:set>
                                      <p:cBhvr>
                                        <p:cTn id="15" dur="1" fill="hold">
                                          <p:stCondLst>
                                            <p:cond delay="0"/>
                                          </p:stCondLst>
                                        </p:cTn>
                                        <p:tgtEl>
                                          <p:spTgt spid="13"/>
                                        </p:tgtEl>
                                        <p:attrNameLst>
                                          <p:attrName>style.visibility</p:attrName>
                                        </p:attrNameLst>
                                      </p:cBhvr>
                                      <p:to>
                                        <p:strVal val="visible"/>
                                      </p:to>
                                    </p:set>
                                    <p:animEffect transition="in" filter="fade">
                                      <p:cBhvr>
                                        <p:cTn id="16" dur="3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3" grpId="0" animBg="1"/>
    </p:bld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Picture Placeholder 7">
            <a:extLst>
              <a:ext uri="{FF2B5EF4-FFF2-40B4-BE49-F238E27FC236}">
                <a16:creationId xmlns:a16="http://schemas.microsoft.com/office/drawing/2014/main" id="{9BE362C5-03AE-447C-8B47-3D5F40463679}"/>
              </a:ext>
            </a:extLst>
          </p:cNvPr>
          <p:cNvSpPr>
            <a:spLocks noGrp="1"/>
          </p:cNvSpPr>
          <p:nvPr>
            <p:ph type="pic" sz="quarter" idx="15"/>
          </p:nvPr>
        </p:nvSpPr>
        <p:spPr>
          <a:xfrm>
            <a:off x="0" y="0"/>
            <a:ext cx="12192000" cy="6858000"/>
          </a:xfrm>
          <a:custGeom>
            <a:avLst/>
            <a:gdLst>
              <a:gd name="connsiteX0" fmla="*/ 0 w 10345056"/>
              <a:gd name="connsiteY0" fmla="*/ 0 h 10610851"/>
              <a:gd name="connsiteX1" fmla="*/ 10345056 w 10345056"/>
              <a:gd name="connsiteY1" fmla="*/ 0 h 10610851"/>
              <a:gd name="connsiteX2" fmla="*/ 10345056 w 10345056"/>
              <a:gd name="connsiteY2" fmla="*/ 10610851 h 10610851"/>
              <a:gd name="connsiteX3" fmla="*/ 0 w 10345056"/>
              <a:gd name="connsiteY3" fmla="*/ 10610851 h 10610851"/>
            </a:gdLst>
            <a:ahLst/>
            <a:cxnLst>
              <a:cxn ang="0">
                <a:pos x="connsiteX0" y="connsiteY0"/>
              </a:cxn>
              <a:cxn ang="0">
                <a:pos x="connsiteX1" y="connsiteY1"/>
              </a:cxn>
              <a:cxn ang="0">
                <a:pos x="connsiteX2" y="connsiteY2"/>
              </a:cxn>
              <a:cxn ang="0">
                <a:pos x="connsiteX3" y="connsiteY3"/>
              </a:cxn>
            </a:cxnLst>
            <a:rect l="l" t="t" r="r" b="b"/>
            <a:pathLst>
              <a:path w="10345056" h="10610851">
                <a:moveTo>
                  <a:pt x="0" y="0"/>
                </a:moveTo>
                <a:lnTo>
                  <a:pt x="10345056" y="0"/>
                </a:lnTo>
                <a:lnTo>
                  <a:pt x="10345056" y="10610851"/>
                </a:lnTo>
                <a:lnTo>
                  <a:pt x="0" y="10610851"/>
                </a:lnTo>
                <a:close/>
              </a:path>
            </a:pathLst>
          </a:custGeom>
          <a:blipFill dpi="0" rotWithShape="1">
            <a:blip r:embed="rId2"/>
            <a:stretch>
              <a:fillRect/>
            </a:stretch>
          </a:blipFill>
          <a:effectLst/>
        </p:spPr>
        <p:txBody>
          <a:bodyPr wrap="square" anchor="ctr">
            <a:noAutofit/>
          </a:bodyPr>
          <a:lstStyle>
            <a:lvl1pPr marL="0" indent="0" algn="ctr">
              <a:buFontTx/>
              <a:buNone/>
              <a:defRPr sz="1200"/>
            </a:lvl1pPr>
          </a:lstStyle>
          <a:p>
            <a:endParaRPr lang="en-US"/>
          </a:p>
        </p:txBody>
      </p:sp>
    </p:spTree>
    <p:extLst>
      <p:ext uri="{BB962C8B-B14F-4D97-AF65-F5344CB8AC3E}">
        <p14:creationId xmlns:p14="http://schemas.microsoft.com/office/powerpoint/2010/main" val="1471595589"/>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4" dur="2000" decel="10000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2000" fill="hold"/>
                                        <p:tgtEl>
                                          <p:spTgt spid="2"/>
                                        </p:tgtEl>
                                        <p:attrNameLst>
                                          <p:attrName>ppt_x</p:attrName>
                                        </p:attrNameLst>
                                      </p:cBhvr>
                                      <p:tavLst>
                                        <p:tav tm="0">
                                          <p:val>
                                            <p:strVal val="#ppt_x"/>
                                          </p:val>
                                        </p:tav>
                                        <p:tav tm="100000">
                                          <p:val>
                                            <p:strVal val="#ppt_x"/>
                                          </p:val>
                                        </p:tav>
                                      </p:tavLst>
                                    </p:anim>
                                    <p:anim calcmode="lin" valueType="num">
                                      <p:cBhvr additive="base">
                                        <p:cTn id="8" dur="2000" fill="hold"/>
                                        <p:tgtEl>
                                          <p:spTgt spid="2"/>
                                        </p:tgtEl>
                                        <p:attrNameLst>
                                          <p:attrName>ppt_y</p:attrName>
                                        </p:attrNameLst>
                                      </p:cBhvr>
                                      <p:tavLst>
                                        <p:tav tm="0">
                                          <p:val>
                                            <p:strVal val="1+#ppt_h/2"/>
                                          </p:val>
                                        </p:tav>
                                        <p:tav tm="100000">
                                          <p:val>
                                            <p:strVal val="#ppt_y"/>
                                          </p:val>
                                        </p:tav>
                                      </p:tavLst>
                                    </p:anim>
                                  </p:childTnLst>
                                </p:cTn>
                              </p:par>
                              <p:par>
                                <p:cTn id="9" presetID="6" presetClass="emph" presetSubtype="0" dur="500" accel="100000" fill="hold" grpId="1" nodeType="withEffect">
                                  <p:stCondLst>
                                    <p:cond delay="2000"/>
                                  </p:stCondLst>
                                  <p:childTnLst>
                                    <p:animScale>
                                      <p:cBhvr>
                                        <p:cTn id="10" dur="500" fill="hold"/>
                                        <p:tgtEl>
                                          <p:spTgt spid="2"/>
                                        </p:tgtEl>
                                      </p:cBhvr>
                                      <p:by x="90000" y="9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2" name="Picture Placeholder 75">
            <a:extLst>
              <a:ext uri="{FF2B5EF4-FFF2-40B4-BE49-F238E27FC236}">
                <a16:creationId xmlns:a16="http://schemas.microsoft.com/office/drawing/2014/main" id="{35C81404-E27E-4F36-A623-E57FC83C04C2}"/>
              </a:ext>
            </a:extLst>
          </p:cNvPr>
          <p:cNvSpPr>
            <a:spLocks noGrp="1"/>
          </p:cNvSpPr>
          <p:nvPr>
            <p:ph type="pic" sz="quarter" idx="24"/>
          </p:nvPr>
        </p:nvSpPr>
        <p:spPr>
          <a:xfrm>
            <a:off x="2960575" y="2512573"/>
            <a:ext cx="3973245" cy="2235242"/>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tx1">
              <a:alpha val="4000"/>
            </a:schemeClr>
          </a:solidFill>
          <a:effectLst>
            <a:outerShdw blurRad="876300" dist="787400" dir="2400000" algn="ctr" rotWithShape="0">
              <a:schemeClr val="tx1">
                <a:alpha val="34000"/>
              </a:schemeClr>
            </a:outerShdw>
          </a:effectLst>
          <a:scene3d>
            <a:camera prst="orthographicFront">
              <a:rot lat="19848000" lon="3234000" rev="17862000"/>
            </a:camera>
            <a:lightRig rig="soft" dir="t"/>
          </a:scene3d>
          <a:sp3d extrusionH="95250" prstMaterial="plastic"/>
        </p:spPr>
        <p:txBody>
          <a:bodyPr wrap="square" anchor="ctr">
            <a:noAutofit/>
          </a:bodyPr>
          <a:lstStyle>
            <a:lvl1pPr algn="ctr">
              <a:defRPr/>
            </a:lvl1pPr>
          </a:lstStyle>
          <a:p>
            <a:endParaRPr lang="en-US"/>
          </a:p>
        </p:txBody>
      </p:sp>
      <p:sp>
        <p:nvSpPr>
          <p:cNvPr id="3" name="Picture Placeholder 75">
            <a:extLst>
              <a:ext uri="{FF2B5EF4-FFF2-40B4-BE49-F238E27FC236}">
                <a16:creationId xmlns:a16="http://schemas.microsoft.com/office/drawing/2014/main" id="{B73DCDD3-849B-48E9-9914-DC8C6C493025}"/>
              </a:ext>
            </a:extLst>
          </p:cNvPr>
          <p:cNvSpPr>
            <a:spLocks noGrp="1"/>
          </p:cNvSpPr>
          <p:nvPr>
            <p:ph type="pic" sz="quarter" idx="25"/>
          </p:nvPr>
        </p:nvSpPr>
        <p:spPr>
          <a:xfrm>
            <a:off x="-177423" y="2845786"/>
            <a:ext cx="3973245" cy="2235242"/>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tx1">
              <a:alpha val="4000"/>
            </a:schemeClr>
          </a:solidFill>
          <a:effectLst>
            <a:outerShdw blurRad="876300" dist="787400" dir="2400000" algn="ctr" rotWithShape="0">
              <a:schemeClr val="tx1">
                <a:alpha val="34000"/>
              </a:schemeClr>
            </a:outerShdw>
          </a:effectLst>
          <a:scene3d>
            <a:camera prst="orthographicFront">
              <a:rot lat="19848000" lon="3234000" rev="17862000"/>
            </a:camera>
            <a:lightRig rig="soft" dir="t"/>
          </a:scene3d>
          <a:sp3d extrusionH="95250" prstMaterial="plastic"/>
        </p:spPr>
        <p:txBody>
          <a:bodyPr wrap="square" anchor="ctr">
            <a:noAutofit/>
          </a:bodyPr>
          <a:lstStyle>
            <a:lvl1pPr algn="ctr">
              <a:defRPr/>
            </a:lvl1pPr>
          </a:lstStyle>
          <a:p>
            <a:endParaRPr lang="en-US"/>
          </a:p>
        </p:txBody>
      </p:sp>
      <p:sp>
        <p:nvSpPr>
          <p:cNvPr id="4" name="Picture Placeholder 75">
            <a:extLst>
              <a:ext uri="{FF2B5EF4-FFF2-40B4-BE49-F238E27FC236}">
                <a16:creationId xmlns:a16="http://schemas.microsoft.com/office/drawing/2014/main" id="{8083A199-38E5-4ACB-BD72-CEC6E71018D7}"/>
              </a:ext>
            </a:extLst>
          </p:cNvPr>
          <p:cNvSpPr>
            <a:spLocks noGrp="1"/>
          </p:cNvSpPr>
          <p:nvPr>
            <p:ph type="pic" sz="quarter" idx="26"/>
          </p:nvPr>
        </p:nvSpPr>
        <p:spPr>
          <a:xfrm>
            <a:off x="2480191" y="4288872"/>
            <a:ext cx="3973245" cy="2235242"/>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tx1">
              <a:alpha val="4000"/>
            </a:schemeClr>
          </a:solidFill>
          <a:effectLst>
            <a:outerShdw blurRad="876300" dist="787400" dir="2400000" algn="ctr" rotWithShape="0">
              <a:schemeClr val="tx1">
                <a:alpha val="34000"/>
              </a:schemeClr>
            </a:outerShdw>
          </a:effectLst>
          <a:scene3d>
            <a:camera prst="orthographicFront">
              <a:rot lat="19848000" lon="3234000" rev="17862000"/>
            </a:camera>
            <a:lightRig rig="soft" dir="t"/>
          </a:scene3d>
          <a:sp3d extrusionH="95250" prstMaterial="plastic"/>
        </p:spPr>
        <p:txBody>
          <a:bodyPr wrap="square" anchor="ctr">
            <a:noAutofit/>
          </a:bodyPr>
          <a:lstStyle>
            <a:lvl1pPr algn="ctr">
              <a:defRPr/>
            </a:lvl1pPr>
          </a:lstStyle>
          <a:p>
            <a:endParaRPr lang="en-US"/>
          </a:p>
        </p:txBody>
      </p:sp>
      <p:sp>
        <p:nvSpPr>
          <p:cNvPr id="7" name="Picture Placeholder 75">
            <a:extLst>
              <a:ext uri="{FF2B5EF4-FFF2-40B4-BE49-F238E27FC236}">
                <a16:creationId xmlns:a16="http://schemas.microsoft.com/office/drawing/2014/main" id="{30F15E57-04C6-4909-ACB4-7ACAA591DE37}"/>
              </a:ext>
            </a:extLst>
          </p:cNvPr>
          <p:cNvSpPr>
            <a:spLocks noGrp="1"/>
          </p:cNvSpPr>
          <p:nvPr>
            <p:ph type="pic" sz="quarter" idx="29"/>
          </p:nvPr>
        </p:nvSpPr>
        <p:spPr>
          <a:xfrm>
            <a:off x="-3446134" y="3087109"/>
            <a:ext cx="3973245" cy="2235242"/>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tx1">
              <a:alpha val="4000"/>
            </a:schemeClr>
          </a:solidFill>
          <a:effectLst>
            <a:outerShdw blurRad="876300" dist="787400" dir="2400000" algn="ctr" rotWithShape="0">
              <a:schemeClr val="tx1">
                <a:alpha val="34000"/>
              </a:schemeClr>
            </a:outerShdw>
          </a:effectLst>
          <a:scene3d>
            <a:camera prst="orthographicFront">
              <a:rot lat="19848000" lon="3234000" rev="17862000"/>
            </a:camera>
            <a:lightRig rig="soft" dir="t"/>
          </a:scene3d>
          <a:sp3d extrusionH="95250" prstMaterial="plastic"/>
        </p:spPr>
        <p:txBody>
          <a:bodyPr wrap="square" anchor="ctr">
            <a:noAutofit/>
          </a:bodyPr>
          <a:lstStyle>
            <a:lvl1pPr algn="ctr">
              <a:defRPr/>
            </a:lvl1pPr>
          </a:lstStyle>
          <a:p>
            <a:endParaRPr lang="en-US"/>
          </a:p>
        </p:txBody>
      </p:sp>
      <p:sp>
        <p:nvSpPr>
          <p:cNvPr id="5" name="Picture Placeholder 75">
            <a:extLst>
              <a:ext uri="{FF2B5EF4-FFF2-40B4-BE49-F238E27FC236}">
                <a16:creationId xmlns:a16="http://schemas.microsoft.com/office/drawing/2014/main" id="{86FBEEA4-D851-4A6C-878E-E42016D4A514}"/>
              </a:ext>
            </a:extLst>
          </p:cNvPr>
          <p:cNvSpPr>
            <a:spLocks noGrp="1"/>
          </p:cNvSpPr>
          <p:nvPr>
            <p:ph type="pic" sz="quarter" idx="27"/>
          </p:nvPr>
        </p:nvSpPr>
        <p:spPr>
          <a:xfrm>
            <a:off x="-805022" y="4557089"/>
            <a:ext cx="3973245" cy="2235242"/>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tx1">
              <a:alpha val="4000"/>
            </a:schemeClr>
          </a:solidFill>
          <a:effectLst>
            <a:outerShdw blurRad="876300" dist="787400" dir="2400000" algn="ctr" rotWithShape="0">
              <a:schemeClr val="tx1">
                <a:alpha val="34000"/>
              </a:schemeClr>
            </a:outerShdw>
          </a:effectLst>
          <a:scene3d>
            <a:camera prst="orthographicFront">
              <a:rot lat="19848000" lon="3234000" rev="17862000"/>
            </a:camera>
            <a:lightRig rig="soft" dir="t"/>
          </a:scene3d>
          <a:sp3d extrusionH="95250" prstMaterial="plastic"/>
        </p:spPr>
        <p:txBody>
          <a:bodyPr wrap="square" anchor="ctr">
            <a:noAutofit/>
          </a:bodyPr>
          <a:lstStyle>
            <a:lvl1pPr algn="ctr">
              <a:defRPr/>
            </a:lvl1pPr>
          </a:lstStyle>
          <a:p>
            <a:endParaRPr lang="en-US"/>
          </a:p>
        </p:txBody>
      </p:sp>
      <p:sp>
        <p:nvSpPr>
          <p:cNvPr id="6" name="Picture Placeholder 75">
            <a:extLst>
              <a:ext uri="{FF2B5EF4-FFF2-40B4-BE49-F238E27FC236}">
                <a16:creationId xmlns:a16="http://schemas.microsoft.com/office/drawing/2014/main" id="{204CD476-3BC2-488C-9229-A7DD254475EA}"/>
              </a:ext>
            </a:extLst>
          </p:cNvPr>
          <p:cNvSpPr>
            <a:spLocks noGrp="1"/>
          </p:cNvSpPr>
          <p:nvPr>
            <p:ph type="pic" sz="quarter" idx="28"/>
          </p:nvPr>
        </p:nvSpPr>
        <p:spPr>
          <a:xfrm>
            <a:off x="1840192" y="5995429"/>
            <a:ext cx="3973245" cy="2235242"/>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tx1">
              <a:alpha val="4000"/>
            </a:schemeClr>
          </a:solidFill>
          <a:effectLst>
            <a:outerShdw blurRad="876300" dist="787400" dir="2400000" algn="ctr" rotWithShape="0">
              <a:schemeClr val="tx1">
                <a:alpha val="34000"/>
              </a:schemeClr>
            </a:outerShdw>
          </a:effectLst>
          <a:scene3d>
            <a:camera prst="orthographicFront">
              <a:rot lat="19848000" lon="3234000" rev="17862000"/>
            </a:camera>
            <a:lightRig rig="soft" dir="t"/>
          </a:scene3d>
          <a:sp3d extrusionH="95250" prstMaterial="plastic"/>
        </p:spPr>
        <p:txBody>
          <a:bodyPr wrap="square" anchor="ctr">
            <a:noAutofit/>
          </a:bodyPr>
          <a:lstStyle>
            <a:lvl1pPr algn="ctr">
              <a:defRPr/>
            </a:lvl1pPr>
          </a:lstStyle>
          <a:p>
            <a:endParaRPr lang="en-US"/>
          </a:p>
        </p:txBody>
      </p:sp>
    </p:spTree>
    <p:extLst>
      <p:ext uri="{BB962C8B-B14F-4D97-AF65-F5344CB8AC3E}">
        <p14:creationId xmlns:p14="http://schemas.microsoft.com/office/powerpoint/2010/main" val="3434360295"/>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12" dur="1500" decel="100000" fill="hold" grpId="0" nodeType="withEffect">
                                  <p:stCondLst>
                                    <p:cond delay="60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500" fill="hold"/>
                                        <p:tgtEl>
                                          <p:spTgt spid="2"/>
                                        </p:tgtEl>
                                        <p:attrNameLst>
                                          <p:attrName>ppt_x</p:attrName>
                                        </p:attrNameLst>
                                      </p:cBhvr>
                                      <p:tavLst>
                                        <p:tav tm="0">
                                          <p:val>
                                            <p:strVal val="0-#ppt_w/2"/>
                                          </p:val>
                                        </p:tav>
                                        <p:tav tm="100000">
                                          <p:val>
                                            <p:strVal val="#ppt_x"/>
                                          </p:val>
                                        </p:tav>
                                      </p:tavLst>
                                    </p:anim>
                                    <p:anim calcmode="lin" valueType="num">
                                      <p:cBhvr additive="base">
                                        <p:cTn id="8" dur="1500" fill="hold"/>
                                        <p:tgtEl>
                                          <p:spTgt spid="2"/>
                                        </p:tgtEl>
                                        <p:attrNameLst>
                                          <p:attrName>ppt_y</p:attrName>
                                        </p:attrNameLst>
                                      </p:cBhvr>
                                      <p:tavLst>
                                        <p:tav tm="0">
                                          <p:val>
                                            <p:strVal val="1+#ppt_h/2"/>
                                          </p:val>
                                        </p:tav>
                                        <p:tav tm="100000">
                                          <p:val>
                                            <p:strVal val="#ppt_y"/>
                                          </p:val>
                                        </p:tav>
                                      </p:tavLst>
                                    </p:anim>
                                  </p:childTnLst>
                                </p:cTn>
                              </p:par>
                              <p:par>
                                <p:cTn id="9" presetID="2" presetClass="entr" presetSubtype="12" dur="1500" decel="100000" fill="hold" grpId="0" nodeType="withEffect">
                                  <p:stCondLst>
                                    <p:cond delay="70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1500" fill="hold"/>
                                        <p:tgtEl>
                                          <p:spTgt spid="3"/>
                                        </p:tgtEl>
                                        <p:attrNameLst>
                                          <p:attrName>ppt_x</p:attrName>
                                        </p:attrNameLst>
                                      </p:cBhvr>
                                      <p:tavLst>
                                        <p:tav tm="0">
                                          <p:val>
                                            <p:strVal val="0-#ppt_w/2"/>
                                          </p:val>
                                        </p:tav>
                                        <p:tav tm="100000">
                                          <p:val>
                                            <p:strVal val="#ppt_x"/>
                                          </p:val>
                                        </p:tav>
                                      </p:tavLst>
                                    </p:anim>
                                    <p:anim calcmode="lin" valueType="num">
                                      <p:cBhvr additive="base">
                                        <p:cTn id="12" dur="1500" fill="hold"/>
                                        <p:tgtEl>
                                          <p:spTgt spid="3"/>
                                        </p:tgtEl>
                                        <p:attrNameLst>
                                          <p:attrName>ppt_y</p:attrName>
                                        </p:attrNameLst>
                                      </p:cBhvr>
                                      <p:tavLst>
                                        <p:tav tm="0">
                                          <p:val>
                                            <p:strVal val="1+#ppt_h/2"/>
                                          </p:val>
                                        </p:tav>
                                        <p:tav tm="100000">
                                          <p:val>
                                            <p:strVal val="#ppt_y"/>
                                          </p:val>
                                        </p:tav>
                                      </p:tavLst>
                                    </p:anim>
                                  </p:childTnLst>
                                </p:cTn>
                              </p:par>
                              <p:par>
                                <p:cTn id="13" presetID="2" presetClass="entr" presetSubtype="12" dur="1500" decel="100000" fill="hold" grpId="0" nodeType="withEffect">
                                  <p:stCondLst>
                                    <p:cond delay="800"/>
                                  </p:stCondLst>
                                  <p:childTnLst>
                                    <p:set>
                                      <p:cBhvr>
                                        <p:cTn id="14" dur="1" fill="hold">
                                          <p:stCondLst>
                                            <p:cond delay="0"/>
                                          </p:stCondLst>
                                        </p:cTn>
                                        <p:tgtEl>
                                          <p:spTgt spid="4"/>
                                        </p:tgtEl>
                                        <p:attrNameLst>
                                          <p:attrName>style.visibility</p:attrName>
                                        </p:attrNameLst>
                                      </p:cBhvr>
                                      <p:to>
                                        <p:strVal val="visible"/>
                                      </p:to>
                                    </p:set>
                                    <p:anim calcmode="lin" valueType="num">
                                      <p:cBhvr additive="base">
                                        <p:cTn id="15" dur="1500" fill="hold"/>
                                        <p:tgtEl>
                                          <p:spTgt spid="4"/>
                                        </p:tgtEl>
                                        <p:attrNameLst>
                                          <p:attrName>ppt_x</p:attrName>
                                        </p:attrNameLst>
                                      </p:cBhvr>
                                      <p:tavLst>
                                        <p:tav tm="0">
                                          <p:val>
                                            <p:strVal val="0-#ppt_w/2"/>
                                          </p:val>
                                        </p:tav>
                                        <p:tav tm="100000">
                                          <p:val>
                                            <p:strVal val="#ppt_x"/>
                                          </p:val>
                                        </p:tav>
                                      </p:tavLst>
                                    </p:anim>
                                    <p:anim calcmode="lin" valueType="num">
                                      <p:cBhvr additive="base">
                                        <p:cTn id="16" dur="1500" fill="hold"/>
                                        <p:tgtEl>
                                          <p:spTgt spid="4"/>
                                        </p:tgtEl>
                                        <p:attrNameLst>
                                          <p:attrName>ppt_y</p:attrName>
                                        </p:attrNameLst>
                                      </p:cBhvr>
                                      <p:tavLst>
                                        <p:tav tm="0">
                                          <p:val>
                                            <p:strVal val="1+#ppt_h/2"/>
                                          </p:val>
                                        </p:tav>
                                        <p:tav tm="100000">
                                          <p:val>
                                            <p:strVal val="#ppt_y"/>
                                          </p:val>
                                        </p:tav>
                                      </p:tavLst>
                                    </p:anim>
                                  </p:childTnLst>
                                </p:cTn>
                              </p:par>
                              <p:par>
                                <p:cTn id="17" presetID="2" presetClass="entr" presetSubtype="12" dur="1500" decel="100000" fill="hold" grpId="0" nodeType="withEffect">
                                  <p:stCondLst>
                                    <p:cond delay="900"/>
                                  </p:stCondLst>
                                  <p:childTnLst>
                                    <p:set>
                                      <p:cBhvr>
                                        <p:cTn id="18" dur="1" fill="hold">
                                          <p:stCondLst>
                                            <p:cond delay="0"/>
                                          </p:stCondLst>
                                        </p:cTn>
                                        <p:tgtEl>
                                          <p:spTgt spid="7"/>
                                        </p:tgtEl>
                                        <p:attrNameLst>
                                          <p:attrName>style.visibility</p:attrName>
                                        </p:attrNameLst>
                                      </p:cBhvr>
                                      <p:to>
                                        <p:strVal val="visible"/>
                                      </p:to>
                                    </p:set>
                                    <p:anim calcmode="lin" valueType="num">
                                      <p:cBhvr additive="base">
                                        <p:cTn id="19" dur="1500" fill="hold"/>
                                        <p:tgtEl>
                                          <p:spTgt spid="7"/>
                                        </p:tgtEl>
                                        <p:attrNameLst>
                                          <p:attrName>ppt_x</p:attrName>
                                        </p:attrNameLst>
                                      </p:cBhvr>
                                      <p:tavLst>
                                        <p:tav tm="0">
                                          <p:val>
                                            <p:strVal val="0-#ppt_w/2"/>
                                          </p:val>
                                        </p:tav>
                                        <p:tav tm="100000">
                                          <p:val>
                                            <p:strVal val="#ppt_x"/>
                                          </p:val>
                                        </p:tav>
                                      </p:tavLst>
                                    </p:anim>
                                    <p:anim calcmode="lin" valueType="num">
                                      <p:cBhvr additive="base">
                                        <p:cTn id="20" dur="1500" fill="hold"/>
                                        <p:tgtEl>
                                          <p:spTgt spid="7"/>
                                        </p:tgtEl>
                                        <p:attrNameLst>
                                          <p:attrName>ppt_y</p:attrName>
                                        </p:attrNameLst>
                                      </p:cBhvr>
                                      <p:tavLst>
                                        <p:tav tm="0">
                                          <p:val>
                                            <p:strVal val="1+#ppt_h/2"/>
                                          </p:val>
                                        </p:tav>
                                        <p:tav tm="100000">
                                          <p:val>
                                            <p:strVal val="#ppt_y"/>
                                          </p:val>
                                        </p:tav>
                                      </p:tavLst>
                                    </p:anim>
                                  </p:childTnLst>
                                </p:cTn>
                              </p:par>
                              <p:par>
                                <p:cTn id="21" presetID="2" presetClass="entr" presetSubtype="12" dur="1500" decel="100000" fill="hold" grpId="0" nodeType="withEffect">
                                  <p:stCondLst>
                                    <p:cond delay="1000"/>
                                  </p:stCondLst>
                                  <p:childTnLst>
                                    <p:set>
                                      <p:cBhvr>
                                        <p:cTn id="22" dur="1" fill="hold">
                                          <p:stCondLst>
                                            <p:cond delay="0"/>
                                          </p:stCondLst>
                                        </p:cTn>
                                        <p:tgtEl>
                                          <p:spTgt spid="5"/>
                                        </p:tgtEl>
                                        <p:attrNameLst>
                                          <p:attrName>style.visibility</p:attrName>
                                        </p:attrNameLst>
                                      </p:cBhvr>
                                      <p:to>
                                        <p:strVal val="visible"/>
                                      </p:to>
                                    </p:set>
                                    <p:anim calcmode="lin" valueType="num">
                                      <p:cBhvr additive="base">
                                        <p:cTn id="23" dur="1500" fill="hold"/>
                                        <p:tgtEl>
                                          <p:spTgt spid="5"/>
                                        </p:tgtEl>
                                        <p:attrNameLst>
                                          <p:attrName>ppt_x</p:attrName>
                                        </p:attrNameLst>
                                      </p:cBhvr>
                                      <p:tavLst>
                                        <p:tav tm="0">
                                          <p:val>
                                            <p:strVal val="0-#ppt_w/2"/>
                                          </p:val>
                                        </p:tav>
                                        <p:tav tm="100000">
                                          <p:val>
                                            <p:strVal val="#ppt_x"/>
                                          </p:val>
                                        </p:tav>
                                      </p:tavLst>
                                    </p:anim>
                                    <p:anim calcmode="lin" valueType="num">
                                      <p:cBhvr additive="base">
                                        <p:cTn id="24" dur="1500" fill="hold"/>
                                        <p:tgtEl>
                                          <p:spTgt spid="5"/>
                                        </p:tgtEl>
                                        <p:attrNameLst>
                                          <p:attrName>ppt_y</p:attrName>
                                        </p:attrNameLst>
                                      </p:cBhvr>
                                      <p:tavLst>
                                        <p:tav tm="0">
                                          <p:val>
                                            <p:strVal val="1+#ppt_h/2"/>
                                          </p:val>
                                        </p:tav>
                                        <p:tav tm="100000">
                                          <p:val>
                                            <p:strVal val="#ppt_y"/>
                                          </p:val>
                                        </p:tav>
                                      </p:tavLst>
                                    </p:anim>
                                  </p:childTnLst>
                                </p:cTn>
                              </p:par>
                              <p:par>
                                <p:cTn id="25" presetID="2" presetClass="entr" presetSubtype="12" dur="1500" decel="100000" fill="hold" grpId="0" nodeType="withEffect">
                                  <p:stCondLst>
                                    <p:cond delay="1100"/>
                                  </p:stCondLst>
                                  <p:childTnLst>
                                    <p:set>
                                      <p:cBhvr>
                                        <p:cTn id="26" dur="1" fill="hold">
                                          <p:stCondLst>
                                            <p:cond delay="0"/>
                                          </p:stCondLst>
                                        </p:cTn>
                                        <p:tgtEl>
                                          <p:spTgt spid="6"/>
                                        </p:tgtEl>
                                        <p:attrNameLst>
                                          <p:attrName>style.visibility</p:attrName>
                                        </p:attrNameLst>
                                      </p:cBhvr>
                                      <p:to>
                                        <p:strVal val="visible"/>
                                      </p:to>
                                    </p:set>
                                    <p:anim calcmode="lin" valueType="num">
                                      <p:cBhvr additive="base">
                                        <p:cTn id="27" dur="1500" fill="hold"/>
                                        <p:tgtEl>
                                          <p:spTgt spid="6"/>
                                        </p:tgtEl>
                                        <p:attrNameLst>
                                          <p:attrName>ppt_x</p:attrName>
                                        </p:attrNameLst>
                                      </p:cBhvr>
                                      <p:tavLst>
                                        <p:tav tm="0">
                                          <p:val>
                                            <p:strVal val="0-#ppt_w/2"/>
                                          </p:val>
                                        </p:tav>
                                        <p:tav tm="100000">
                                          <p:val>
                                            <p:strVal val="#ppt_x"/>
                                          </p:val>
                                        </p:tav>
                                      </p:tavLst>
                                    </p:anim>
                                    <p:anim calcmode="lin" valueType="num">
                                      <p:cBhvr additive="base">
                                        <p:cTn id="28" dur="1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4" grpId="0" animBg="1"/>
      <p:bldP spid="7" grpId="0" animBg="1"/>
      <p:bldP spid="5" grpId="0" animBg="1"/>
      <p:bldP spid="6" grpId="0" animBg="1"/>
    </p:bld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4_Custom Layout">
    <p:spTree>
      <p:nvGrpSpPr>
        <p:cNvPr id="1" name=""/>
        <p:cNvGrpSpPr/>
        <p:nvPr/>
      </p:nvGrpSpPr>
      <p:grpSpPr>
        <a:xfrm>
          <a:off x="0" y="0"/>
          <a:ext cx="0" cy="0"/>
          <a:chOff x="0" y="0"/>
          <a:chExt cx="0" cy="0"/>
        </a:xfrm>
      </p:grpSpPr>
      <p:sp>
        <p:nvSpPr>
          <p:cNvPr id="17" name="Picture Placeholder 75">
            <a:extLst>
              <a:ext uri="{FF2B5EF4-FFF2-40B4-BE49-F238E27FC236}">
                <a16:creationId xmlns:a16="http://schemas.microsoft.com/office/drawing/2014/main" id="{DE1F0CA1-994C-4B15-BD61-C1FC8BE244E3}"/>
              </a:ext>
            </a:extLst>
          </p:cNvPr>
          <p:cNvSpPr>
            <a:spLocks noGrp="1"/>
          </p:cNvSpPr>
          <p:nvPr>
            <p:ph type="pic" sz="quarter" idx="34"/>
          </p:nvPr>
        </p:nvSpPr>
        <p:spPr>
          <a:xfrm>
            <a:off x="5795324" y="-2019910"/>
            <a:ext cx="3973245" cy="2235242"/>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tx1">
              <a:alpha val="4000"/>
            </a:schemeClr>
          </a:solidFill>
          <a:effectLst>
            <a:outerShdw blurRad="876300" dist="787400" dir="2400000" algn="ctr" rotWithShape="0">
              <a:schemeClr val="tx1">
                <a:alpha val="34000"/>
              </a:schemeClr>
            </a:outerShdw>
            <a:reflection blurRad="76200" stA="48000" endPos="98000" dir="5400000" sy="-100000" algn="bl" rotWithShape="0"/>
          </a:effectLst>
          <a:scene3d>
            <a:camera prst="orthographicFront">
              <a:rot lat="19848000" lon="3234000" rev="17862000"/>
            </a:camera>
            <a:lightRig rig="soft" dir="t"/>
          </a:scene3d>
          <a:sp3d extrusionH="95250" prstMaterial="plastic"/>
        </p:spPr>
        <p:txBody>
          <a:bodyPr wrap="square" anchor="ctr">
            <a:noAutofit/>
          </a:bodyPr>
          <a:lstStyle>
            <a:lvl1pPr algn="ctr">
              <a:defRPr sz="1200"/>
            </a:lvl1pPr>
          </a:lstStyle>
          <a:p>
            <a:endParaRPr lang="en-US"/>
          </a:p>
        </p:txBody>
      </p:sp>
      <p:sp>
        <p:nvSpPr>
          <p:cNvPr id="18" name="Picture Placeholder 75">
            <a:extLst>
              <a:ext uri="{FF2B5EF4-FFF2-40B4-BE49-F238E27FC236}">
                <a16:creationId xmlns:a16="http://schemas.microsoft.com/office/drawing/2014/main" id="{CCDC6E92-1B4E-4F2A-BD85-917834D7D1BF}"/>
              </a:ext>
            </a:extLst>
          </p:cNvPr>
          <p:cNvSpPr>
            <a:spLocks noGrp="1"/>
          </p:cNvSpPr>
          <p:nvPr>
            <p:ph type="pic" sz="quarter" idx="35"/>
          </p:nvPr>
        </p:nvSpPr>
        <p:spPr>
          <a:xfrm>
            <a:off x="8398700" y="-594066"/>
            <a:ext cx="3973245" cy="2235242"/>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tx1">
              <a:alpha val="4000"/>
            </a:schemeClr>
          </a:solidFill>
          <a:effectLst>
            <a:outerShdw blurRad="876300" dist="787400" dir="2400000" algn="ctr" rotWithShape="0">
              <a:schemeClr val="tx1">
                <a:alpha val="34000"/>
              </a:schemeClr>
            </a:outerShdw>
            <a:reflection blurRad="76200" stA="48000" endPos="98000" dir="5400000" sy="-100000" algn="bl" rotWithShape="0"/>
          </a:effectLst>
          <a:scene3d>
            <a:camera prst="orthographicFront">
              <a:rot lat="19848000" lon="3234000" rev="17862000"/>
            </a:camera>
            <a:lightRig rig="soft" dir="t"/>
          </a:scene3d>
          <a:sp3d extrusionH="95250" prstMaterial="plastic"/>
        </p:spPr>
        <p:txBody>
          <a:bodyPr wrap="square" anchor="ctr">
            <a:noAutofit/>
          </a:bodyPr>
          <a:lstStyle>
            <a:lvl1pPr algn="ctr">
              <a:defRPr sz="1200"/>
            </a:lvl1pPr>
          </a:lstStyle>
          <a:p>
            <a:endParaRPr lang="en-US"/>
          </a:p>
        </p:txBody>
      </p:sp>
      <p:sp>
        <p:nvSpPr>
          <p:cNvPr id="19" name="Picture Placeholder 75">
            <a:extLst>
              <a:ext uri="{FF2B5EF4-FFF2-40B4-BE49-F238E27FC236}">
                <a16:creationId xmlns:a16="http://schemas.microsoft.com/office/drawing/2014/main" id="{60FE58BF-2882-4922-8BE2-DC5C806999A3}"/>
              </a:ext>
            </a:extLst>
          </p:cNvPr>
          <p:cNvSpPr>
            <a:spLocks noGrp="1"/>
          </p:cNvSpPr>
          <p:nvPr>
            <p:ph type="pic" sz="quarter" idx="36"/>
          </p:nvPr>
        </p:nvSpPr>
        <p:spPr>
          <a:xfrm>
            <a:off x="11002077" y="831779"/>
            <a:ext cx="3973245" cy="2235242"/>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tx1">
              <a:alpha val="4000"/>
            </a:schemeClr>
          </a:solidFill>
          <a:effectLst>
            <a:outerShdw blurRad="876300" dist="787400" dir="2400000" algn="ctr" rotWithShape="0">
              <a:schemeClr val="tx1">
                <a:alpha val="34000"/>
              </a:schemeClr>
            </a:outerShdw>
            <a:reflection blurRad="76200" stA="48000" endPos="98000" dir="5400000" sy="-100000" algn="bl" rotWithShape="0"/>
          </a:effectLst>
          <a:scene3d>
            <a:camera prst="orthographicFront">
              <a:rot lat="19848000" lon="3234000" rev="17862000"/>
            </a:camera>
            <a:lightRig rig="soft" dir="t"/>
          </a:scene3d>
          <a:sp3d extrusionH="95250" prstMaterial="plastic"/>
        </p:spPr>
        <p:txBody>
          <a:bodyPr wrap="square" anchor="ctr">
            <a:noAutofit/>
          </a:bodyPr>
          <a:lstStyle>
            <a:lvl1pPr algn="ctr">
              <a:defRPr sz="1200"/>
            </a:lvl1pPr>
          </a:lstStyle>
          <a:p>
            <a:endParaRPr lang="en-US"/>
          </a:p>
        </p:txBody>
      </p:sp>
      <p:sp>
        <p:nvSpPr>
          <p:cNvPr id="13" name="Picture Placeholder 75">
            <a:extLst>
              <a:ext uri="{FF2B5EF4-FFF2-40B4-BE49-F238E27FC236}">
                <a16:creationId xmlns:a16="http://schemas.microsoft.com/office/drawing/2014/main" id="{DFC0A416-BD43-4889-A746-153B68F952A1}"/>
              </a:ext>
            </a:extLst>
          </p:cNvPr>
          <p:cNvSpPr>
            <a:spLocks noGrp="1"/>
          </p:cNvSpPr>
          <p:nvPr>
            <p:ph type="pic" sz="quarter" idx="30"/>
          </p:nvPr>
        </p:nvSpPr>
        <p:spPr>
          <a:xfrm>
            <a:off x="3092594" y="-1470698"/>
            <a:ext cx="3973245" cy="2235242"/>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tx1">
              <a:alpha val="4000"/>
            </a:schemeClr>
          </a:solidFill>
          <a:effectLst>
            <a:outerShdw blurRad="876300" dist="787400" dir="2400000" algn="ctr" rotWithShape="0">
              <a:schemeClr val="tx1">
                <a:alpha val="34000"/>
              </a:schemeClr>
            </a:outerShdw>
            <a:reflection blurRad="76200" stA="48000" endPos="98000" dir="5400000" sy="-100000" algn="bl" rotWithShape="0"/>
          </a:effectLst>
          <a:scene3d>
            <a:camera prst="orthographicFront">
              <a:rot lat="19848000" lon="3234000" rev="17862000"/>
            </a:camera>
            <a:lightRig rig="soft" dir="t"/>
          </a:scene3d>
          <a:sp3d extrusionH="95250" prstMaterial="plastic"/>
        </p:spPr>
        <p:txBody>
          <a:bodyPr wrap="square" anchor="ctr">
            <a:noAutofit/>
          </a:bodyPr>
          <a:lstStyle>
            <a:lvl1pPr algn="ctr">
              <a:defRPr sz="1200"/>
            </a:lvl1pPr>
          </a:lstStyle>
          <a:p>
            <a:endParaRPr lang="en-US"/>
          </a:p>
        </p:txBody>
      </p:sp>
      <p:sp>
        <p:nvSpPr>
          <p:cNvPr id="14" name="Picture Placeholder 75">
            <a:extLst>
              <a:ext uri="{FF2B5EF4-FFF2-40B4-BE49-F238E27FC236}">
                <a16:creationId xmlns:a16="http://schemas.microsoft.com/office/drawing/2014/main" id="{0B4C680D-3D96-4F02-8FDE-6C344B4EA949}"/>
              </a:ext>
            </a:extLst>
          </p:cNvPr>
          <p:cNvSpPr>
            <a:spLocks noGrp="1"/>
          </p:cNvSpPr>
          <p:nvPr>
            <p:ph type="pic" sz="quarter" idx="31"/>
          </p:nvPr>
        </p:nvSpPr>
        <p:spPr>
          <a:xfrm>
            <a:off x="5695970" y="-44854"/>
            <a:ext cx="3973245" cy="2235242"/>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tx1">
              <a:alpha val="4000"/>
            </a:schemeClr>
          </a:solidFill>
          <a:effectLst>
            <a:outerShdw blurRad="876300" dist="787400" dir="2400000" algn="ctr" rotWithShape="0">
              <a:schemeClr val="tx1">
                <a:alpha val="34000"/>
              </a:schemeClr>
            </a:outerShdw>
            <a:reflection blurRad="76200" stA="48000" endPos="98000" dir="5400000" sy="-100000" algn="bl" rotWithShape="0"/>
          </a:effectLst>
          <a:scene3d>
            <a:camera prst="orthographicFront">
              <a:rot lat="19848000" lon="3234000" rev="17862000"/>
            </a:camera>
            <a:lightRig rig="soft" dir="t"/>
          </a:scene3d>
          <a:sp3d extrusionH="95250" prstMaterial="plastic"/>
        </p:spPr>
        <p:txBody>
          <a:bodyPr wrap="square" anchor="ctr">
            <a:noAutofit/>
          </a:bodyPr>
          <a:lstStyle>
            <a:lvl1pPr algn="ctr">
              <a:defRPr sz="1200"/>
            </a:lvl1pPr>
          </a:lstStyle>
          <a:p>
            <a:endParaRPr lang="en-US"/>
          </a:p>
        </p:txBody>
      </p:sp>
      <p:sp>
        <p:nvSpPr>
          <p:cNvPr id="15" name="Picture Placeholder 75">
            <a:extLst>
              <a:ext uri="{FF2B5EF4-FFF2-40B4-BE49-F238E27FC236}">
                <a16:creationId xmlns:a16="http://schemas.microsoft.com/office/drawing/2014/main" id="{0136ECC1-14F7-404A-BB65-765B022634A5}"/>
              </a:ext>
            </a:extLst>
          </p:cNvPr>
          <p:cNvSpPr>
            <a:spLocks noGrp="1"/>
          </p:cNvSpPr>
          <p:nvPr>
            <p:ph type="pic" sz="quarter" idx="32"/>
          </p:nvPr>
        </p:nvSpPr>
        <p:spPr>
          <a:xfrm>
            <a:off x="8307095" y="1365493"/>
            <a:ext cx="3973245" cy="2235242"/>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tx1">
              <a:alpha val="4000"/>
            </a:schemeClr>
          </a:solidFill>
          <a:effectLst>
            <a:outerShdw blurRad="876300" dist="787400" dir="2400000" algn="ctr" rotWithShape="0">
              <a:schemeClr val="tx1">
                <a:alpha val="34000"/>
              </a:schemeClr>
            </a:outerShdw>
            <a:reflection blurRad="76200" stA="48000" endPos="98000" dir="5400000" sy="-100000" algn="bl" rotWithShape="0"/>
          </a:effectLst>
          <a:scene3d>
            <a:camera prst="orthographicFront">
              <a:rot lat="19848000" lon="3234000" rev="17862000"/>
            </a:camera>
            <a:lightRig rig="soft" dir="t"/>
          </a:scene3d>
          <a:sp3d extrusionH="95250" prstMaterial="plastic"/>
        </p:spPr>
        <p:txBody>
          <a:bodyPr wrap="square" anchor="ctr">
            <a:noAutofit/>
          </a:bodyPr>
          <a:lstStyle>
            <a:lvl1pPr algn="ctr">
              <a:defRPr sz="1200"/>
            </a:lvl1pPr>
          </a:lstStyle>
          <a:p>
            <a:endParaRPr lang="en-US"/>
          </a:p>
        </p:txBody>
      </p:sp>
      <p:sp>
        <p:nvSpPr>
          <p:cNvPr id="16" name="Picture Placeholder 75">
            <a:extLst>
              <a:ext uri="{FF2B5EF4-FFF2-40B4-BE49-F238E27FC236}">
                <a16:creationId xmlns:a16="http://schemas.microsoft.com/office/drawing/2014/main" id="{61F32264-5F7E-4A46-97AB-AABAB86F1EA9}"/>
              </a:ext>
            </a:extLst>
          </p:cNvPr>
          <p:cNvSpPr>
            <a:spLocks noGrp="1"/>
          </p:cNvSpPr>
          <p:nvPr>
            <p:ph type="pic" sz="quarter" idx="33"/>
          </p:nvPr>
        </p:nvSpPr>
        <p:spPr>
          <a:xfrm>
            <a:off x="10911794" y="2784466"/>
            <a:ext cx="3973245" cy="2235242"/>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tx1">
              <a:alpha val="4000"/>
            </a:schemeClr>
          </a:solidFill>
          <a:effectLst>
            <a:outerShdw blurRad="876300" dist="787400" dir="2400000" algn="ctr" rotWithShape="0">
              <a:schemeClr val="tx1">
                <a:alpha val="34000"/>
              </a:schemeClr>
            </a:outerShdw>
            <a:reflection blurRad="76200" stA="48000" endPos="98000" dir="5400000" sy="-100000" algn="bl" rotWithShape="0"/>
          </a:effectLst>
          <a:scene3d>
            <a:camera prst="orthographicFront">
              <a:rot lat="19848000" lon="3234000" rev="17862000"/>
            </a:camera>
            <a:lightRig rig="soft" dir="t"/>
          </a:scene3d>
          <a:sp3d extrusionH="95250" prstMaterial="plastic"/>
        </p:spPr>
        <p:txBody>
          <a:bodyPr wrap="square" anchor="ctr">
            <a:noAutofit/>
          </a:bodyPr>
          <a:lstStyle>
            <a:lvl1pPr algn="ctr">
              <a:defRPr sz="1200"/>
            </a:lvl1pPr>
          </a:lstStyle>
          <a:p>
            <a:endParaRPr lang="en-US"/>
          </a:p>
        </p:txBody>
      </p:sp>
      <p:sp>
        <p:nvSpPr>
          <p:cNvPr id="2" name="Picture Placeholder 75">
            <a:extLst>
              <a:ext uri="{FF2B5EF4-FFF2-40B4-BE49-F238E27FC236}">
                <a16:creationId xmlns:a16="http://schemas.microsoft.com/office/drawing/2014/main" id="{35C81404-E27E-4F36-A623-E57FC83C04C2}"/>
              </a:ext>
            </a:extLst>
          </p:cNvPr>
          <p:cNvSpPr>
            <a:spLocks noGrp="1"/>
          </p:cNvSpPr>
          <p:nvPr>
            <p:ph type="pic" sz="quarter" idx="24"/>
          </p:nvPr>
        </p:nvSpPr>
        <p:spPr>
          <a:xfrm>
            <a:off x="151309" y="-1058251"/>
            <a:ext cx="3973245" cy="2235242"/>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tx1">
              <a:alpha val="4000"/>
            </a:schemeClr>
          </a:solidFill>
          <a:effectLst>
            <a:outerShdw blurRad="876300" dist="787400" dir="2400000" algn="ctr" rotWithShape="0">
              <a:schemeClr val="tx1">
                <a:alpha val="34000"/>
              </a:schemeClr>
            </a:outerShdw>
            <a:reflection blurRad="76200" stA="48000" endPos="98000" dir="5400000" sy="-100000" algn="bl" rotWithShape="0"/>
          </a:effectLst>
          <a:scene3d>
            <a:camera prst="orthographicFront">
              <a:rot lat="19848000" lon="3234000" rev="17862000"/>
            </a:camera>
            <a:lightRig rig="soft" dir="t"/>
          </a:scene3d>
          <a:sp3d extrusionH="95250" prstMaterial="plastic"/>
        </p:spPr>
        <p:txBody>
          <a:bodyPr wrap="square" anchor="ctr">
            <a:noAutofit/>
          </a:bodyPr>
          <a:lstStyle>
            <a:lvl1pPr algn="ctr">
              <a:defRPr sz="1200"/>
            </a:lvl1pPr>
          </a:lstStyle>
          <a:p>
            <a:endParaRPr lang="en-US"/>
          </a:p>
        </p:txBody>
      </p:sp>
      <p:sp>
        <p:nvSpPr>
          <p:cNvPr id="8" name="Picture Placeholder 75">
            <a:extLst>
              <a:ext uri="{FF2B5EF4-FFF2-40B4-BE49-F238E27FC236}">
                <a16:creationId xmlns:a16="http://schemas.microsoft.com/office/drawing/2014/main" id="{65B77482-57E1-46FD-913A-0092573AC5F1}"/>
              </a:ext>
            </a:extLst>
          </p:cNvPr>
          <p:cNvSpPr>
            <a:spLocks noGrp="1"/>
          </p:cNvSpPr>
          <p:nvPr>
            <p:ph type="pic" sz="quarter" idx="25"/>
          </p:nvPr>
        </p:nvSpPr>
        <p:spPr>
          <a:xfrm>
            <a:off x="2754685" y="367594"/>
            <a:ext cx="3973245" cy="2235242"/>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tx1">
              <a:alpha val="4000"/>
            </a:schemeClr>
          </a:solidFill>
          <a:effectLst>
            <a:outerShdw blurRad="876300" dist="787400" dir="2400000" algn="ctr" rotWithShape="0">
              <a:schemeClr val="tx1">
                <a:alpha val="34000"/>
              </a:schemeClr>
            </a:outerShdw>
            <a:reflection blurRad="76200" stA="48000" endPos="98000" dir="5400000" sy="-100000" algn="bl" rotWithShape="0"/>
          </a:effectLst>
          <a:scene3d>
            <a:camera prst="orthographicFront">
              <a:rot lat="19848000" lon="3234000" rev="17862000"/>
            </a:camera>
            <a:lightRig rig="soft" dir="t"/>
          </a:scene3d>
          <a:sp3d extrusionH="95250" prstMaterial="plastic"/>
        </p:spPr>
        <p:txBody>
          <a:bodyPr wrap="square" anchor="ctr">
            <a:noAutofit/>
          </a:bodyPr>
          <a:lstStyle>
            <a:lvl1pPr algn="ctr">
              <a:defRPr sz="1200"/>
            </a:lvl1pPr>
          </a:lstStyle>
          <a:p>
            <a:endParaRPr lang="en-US"/>
          </a:p>
        </p:txBody>
      </p:sp>
      <p:sp>
        <p:nvSpPr>
          <p:cNvPr id="9" name="Picture Placeholder 75">
            <a:extLst>
              <a:ext uri="{FF2B5EF4-FFF2-40B4-BE49-F238E27FC236}">
                <a16:creationId xmlns:a16="http://schemas.microsoft.com/office/drawing/2014/main" id="{B37A391A-9563-4D8D-9F81-AF2A558906BA}"/>
              </a:ext>
            </a:extLst>
          </p:cNvPr>
          <p:cNvSpPr>
            <a:spLocks noGrp="1"/>
          </p:cNvSpPr>
          <p:nvPr>
            <p:ph type="pic" sz="quarter" idx="26"/>
          </p:nvPr>
        </p:nvSpPr>
        <p:spPr>
          <a:xfrm>
            <a:off x="5358062" y="1793439"/>
            <a:ext cx="3973245" cy="2235242"/>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tx1">
              <a:alpha val="4000"/>
            </a:schemeClr>
          </a:solidFill>
          <a:effectLst>
            <a:outerShdw blurRad="876300" dist="787400" dir="2400000" algn="ctr" rotWithShape="0">
              <a:schemeClr val="tx1">
                <a:alpha val="34000"/>
              </a:schemeClr>
            </a:outerShdw>
            <a:reflection blurRad="76200" stA="48000" endPos="98000" dir="5400000" sy="-100000" algn="bl" rotWithShape="0"/>
          </a:effectLst>
          <a:scene3d>
            <a:camera prst="orthographicFront">
              <a:rot lat="19848000" lon="3234000" rev="17862000"/>
            </a:camera>
            <a:lightRig rig="soft" dir="t"/>
          </a:scene3d>
          <a:sp3d extrusionH="95250" prstMaterial="plastic"/>
        </p:spPr>
        <p:txBody>
          <a:bodyPr wrap="square" anchor="ctr">
            <a:noAutofit/>
          </a:bodyPr>
          <a:lstStyle>
            <a:lvl1pPr algn="ctr">
              <a:defRPr sz="1200"/>
            </a:lvl1pPr>
          </a:lstStyle>
          <a:p>
            <a:endParaRPr lang="en-US"/>
          </a:p>
        </p:txBody>
      </p:sp>
      <p:sp>
        <p:nvSpPr>
          <p:cNvPr id="10" name="Picture Placeholder 75">
            <a:extLst>
              <a:ext uri="{FF2B5EF4-FFF2-40B4-BE49-F238E27FC236}">
                <a16:creationId xmlns:a16="http://schemas.microsoft.com/office/drawing/2014/main" id="{905913FF-40D6-422E-AE96-62587D32CE1B}"/>
              </a:ext>
            </a:extLst>
          </p:cNvPr>
          <p:cNvSpPr>
            <a:spLocks noGrp="1"/>
          </p:cNvSpPr>
          <p:nvPr>
            <p:ph type="pic" sz="quarter" idx="27"/>
          </p:nvPr>
        </p:nvSpPr>
        <p:spPr>
          <a:xfrm>
            <a:off x="7969186" y="3203785"/>
            <a:ext cx="3973245" cy="2235242"/>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tx1">
              <a:alpha val="4000"/>
            </a:schemeClr>
          </a:solidFill>
          <a:effectLst>
            <a:outerShdw blurRad="876300" dist="787400" dir="2400000" algn="ctr" rotWithShape="0">
              <a:schemeClr val="tx1">
                <a:alpha val="34000"/>
              </a:schemeClr>
            </a:outerShdw>
            <a:reflection blurRad="76200" stA="48000" endPos="98000" dir="5400000" sy="-100000" algn="bl" rotWithShape="0"/>
          </a:effectLst>
          <a:scene3d>
            <a:camera prst="orthographicFront">
              <a:rot lat="19848000" lon="3234000" rev="17862000"/>
            </a:camera>
            <a:lightRig rig="soft" dir="t"/>
          </a:scene3d>
          <a:sp3d extrusionH="95250" prstMaterial="plastic"/>
        </p:spPr>
        <p:txBody>
          <a:bodyPr wrap="square" anchor="ctr">
            <a:noAutofit/>
          </a:bodyPr>
          <a:lstStyle>
            <a:lvl1pPr algn="ctr">
              <a:defRPr sz="1200"/>
            </a:lvl1pPr>
          </a:lstStyle>
          <a:p>
            <a:endParaRPr lang="en-US"/>
          </a:p>
        </p:txBody>
      </p:sp>
      <p:sp>
        <p:nvSpPr>
          <p:cNvPr id="11" name="Picture Placeholder 75">
            <a:extLst>
              <a:ext uri="{FF2B5EF4-FFF2-40B4-BE49-F238E27FC236}">
                <a16:creationId xmlns:a16="http://schemas.microsoft.com/office/drawing/2014/main" id="{139B3716-743D-4E4C-8E9E-28622348549F}"/>
              </a:ext>
            </a:extLst>
          </p:cNvPr>
          <p:cNvSpPr>
            <a:spLocks noGrp="1"/>
          </p:cNvSpPr>
          <p:nvPr>
            <p:ph type="pic" sz="quarter" idx="28"/>
          </p:nvPr>
        </p:nvSpPr>
        <p:spPr>
          <a:xfrm>
            <a:off x="10573886" y="4622758"/>
            <a:ext cx="3973245" cy="2235242"/>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tx1">
              <a:alpha val="4000"/>
            </a:schemeClr>
          </a:solidFill>
          <a:effectLst>
            <a:outerShdw blurRad="876300" dist="787400" dir="2400000" algn="ctr" rotWithShape="0">
              <a:schemeClr val="tx1">
                <a:alpha val="34000"/>
              </a:schemeClr>
            </a:outerShdw>
            <a:reflection blurRad="76200" stA="48000" endPos="98000" dir="5400000" sy="-100000" algn="bl" rotWithShape="0"/>
          </a:effectLst>
          <a:scene3d>
            <a:camera prst="orthographicFront">
              <a:rot lat="19848000" lon="3234000" rev="17862000"/>
            </a:camera>
            <a:lightRig rig="soft" dir="t"/>
          </a:scene3d>
          <a:sp3d extrusionH="95250" prstMaterial="plastic"/>
        </p:spPr>
        <p:txBody>
          <a:bodyPr wrap="square" anchor="ctr">
            <a:noAutofit/>
          </a:bodyPr>
          <a:lstStyle>
            <a:lvl1pPr algn="ctr">
              <a:defRPr sz="1200"/>
            </a:lvl1pPr>
          </a:lstStyle>
          <a:p>
            <a:endParaRPr lang="en-US"/>
          </a:p>
        </p:txBody>
      </p:sp>
    </p:spTree>
    <p:extLst>
      <p:ext uri="{BB962C8B-B14F-4D97-AF65-F5344CB8AC3E}">
        <p14:creationId xmlns:p14="http://schemas.microsoft.com/office/powerpoint/2010/main" val="723775139"/>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4" dur="1500" decel="10000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 calcmode="lin" valueType="num">
                                      <p:cBhvr additive="base">
                                        <p:cTn id="7" dur="1500" fill="hold"/>
                                        <p:tgtEl>
                                          <p:spTgt spid="17"/>
                                        </p:tgtEl>
                                        <p:attrNameLst>
                                          <p:attrName>ppt_x</p:attrName>
                                        </p:attrNameLst>
                                      </p:cBhvr>
                                      <p:tavLst>
                                        <p:tav tm="0">
                                          <p:val>
                                            <p:strVal val="#ppt_x"/>
                                          </p:val>
                                        </p:tav>
                                        <p:tav tm="100000">
                                          <p:val>
                                            <p:strVal val="#ppt_x"/>
                                          </p:val>
                                        </p:tav>
                                      </p:tavLst>
                                    </p:anim>
                                    <p:anim calcmode="lin" valueType="num">
                                      <p:cBhvr additive="base">
                                        <p:cTn id="8" dur="1500" fill="hold"/>
                                        <p:tgtEl>
                                          <p:spTgt spid="17"/>
                                        </p:tgtEl>
                                        <p:attrNameLst>
                                          <p:attrName>ppt_y</p:attrName>
                                        </p:attrNameLst>
                                      </p:cBhvr>
                                      <p:tavLst>
                                        <p:tav tm="0">
                                          <p:val>
                                            <p:strVal val="1+#ppt_h/2"/>
                                          </p:val>
                                        </p:tav>
                                        <p:tav tm="100000">
                                          <p:val>
                                            <p:strVal val="#ppt_y"/>
                                          </p:val>
                                        </p:tav>
                                      </p:tavLst>
                                    </p:anim>
                                  </p:childTnLst>
                                </p:cTn>
                              </p:par>
                              <p:par>
                                <p:cTn id="9" presetID="2" presetClass="entr" presetSubtype="4" dur="1500" decel="100000" fill="hold" grpId="0" nodeType="withEffect">
                                  <p:stCondLst>
                                    <p:cond delay="100"/>
                                  </p:stCondLst>
                                  <p:childTnLst>
                                    <p:set>
                                      <p:cBhvr>
                                        <p:cTn id="10" dur="1" fill="hold">
                                          <p:stCondLst>
                                            <p:cond delay="0"/>
                                          </p:stCondLst>
                                        </p:cTn>
                                        <p:tgtEl>
                                          <p:spTgt spid="18"/>
                                        </p:tgtEl>
                                        <p:attrNameLst>
                                          <p:attrName>style.visibility</p:attrName>
                                        </p:attrNameLst>
                                      </p:cBhvr>
                                      <p:to>
                                        <p:strVal val="visible"/>
                                      </p:to>
                                    </p:set>
                                    <p:anim calcmode="lin" valueType="num">
                                      <p:cBhvr additive="base">
                                        <p:cTn id="11" dur="1500" fill="hold"/>
                                        <p:tgtEl>
                                          <p:spTgt spid="18"/>
                                        </p:tgtEl>
                                        <p:attrNameLst>
                                          <p:attrName>ppt_x</p:attrName>
                                        </p:attrNameLst>
                                      </p:cBhvr>
                                      <p:tavLst>
                                        <p:tav tm="0">
                                          <p:val>
                                            <p:strVal val="#ppt_x"/>
                                          </p:val>
                                        </p:tav>
                                        <p:tav tm="100000">
                                          <p:val>
                                            <p:strVal val="#ppt_x"/>
                                          </p:val>
                                        </p:tav>
                                      </p:tavLst>
                                    </p:anim>
                                    <p:anim calcmode="lin" valueType="num">
                                      <p:cBhvr additive="base">
                                        <p:cTn id="12" dur="1500" fill="hold"/>
                                        <p:tgtEl>
                                          <p:spTgt spid="18"/>
                                        </p:tgtEl>
                                        <p:attrNameLst>
                                          <p:attrName>ppt_y</p:attrName>
                                        </p:attrNameLst>
                                      </p:cBhvr>
                                      <p:tavLst>
                                        <p:tav tm="0">
                                          <p:val>
                                            <p:strVal val="1+#ppt_h/2"/>
                                          </p:val>
                                        </p:tav>
                                        <p:tav tm="100000">
                                          <p:val>
                                            <p:strVal val="#ppt_y"/>
                                          </p:val>
                                        </p:tav>
                                      </p:tavLst>
                                    </p:anim>
                                  </p:childTnLst>
                                </p:cTn>
                              </p:par>
                              <p:par>
                                <p:cTn id="13" presetID="2" presetClass="entr" presetSubtype="4" dur="1500" decel="100000" fill="hold" grpId="0" nodeType="withEffect">
                                  <p:stCondLst>
                                    <p:cond delay="200"/>
                                  </p:stCondLst>
                                  <p:childTnLst>
                                    <p:set>
                                      <p:cBhvr>
                                        <p:cTn id="14" dur="1" fill="hold">
                                          <p:stCondLst>
                                            <p:cond delay="0"/>
                                          </p:stCondLst>
                                        </p:cTn>
                                        <p:tgtEl>
                                          <p:spTgt spid="19"/>
                                        </p:tgtEl>
                                        <p:attrNameLst>
                                          <p:attrName>style.visibility</p:attrName>
                                        </p:attrNameLst>
                                      </p:cBhvr>
                                      <p:to>
                                        <p:strVal val="visible"/>
                                      </p:to>
                                    </p:set>
                                    <p:anim calcmode="lin" valueType="num">
                                      <p:cBhvr additive="base">
                                        <p:cTn id="15" dur="1500" fill="hold"/>
                                        <p:tgtEl>
                                          <p:spTgt spid="19"/>
                                        </p:tgtEl>
                                        <p:attrNameLst>
                                          <p:attrName>ppt_x</p:attrName>
                                        </p:attrNameLst>
                                      </p:cBhvr>
                                      <p:tavLst>
                                        <p:tav tm="0">
                                          <p:val>
                                            <p:strVal val="#ppt_x"/>
                                          </p:val>
                                        </p:tav>
                                        <p:tav tm="100000">
                                          <p:val>
                                            <p:strVal val="#ppt_x"/>
                                          </p:val>
                                        </p:tav>
                                      </p:tavLst>
                                    </p:anim>
                                    <p:anim calcmode="lin" valueType="num">
                                      <p:cBhvr additive="base">
                                        <p:cTn id="16" dur="1500" fill="hold"/>
                                        <p:tgtEl>
                                          <p:spTgt spid="19"/>
                                        </p:tgtEl>
                                        <p:attrNameLst>
                                          <p:attrName>ppt_y</p:attrName>
                                        </p:attrNameLst>
                                      </p:cBhvr>
                                      <p:tavLst>
                                        <p:tav tm="0">
                                          <p:val>
                                            <p:strVal val="1+#ppt_h/2"/>
                                          </p:val>
                                        </p:tav>
                                        <p:tav tm="100000">
                                          <p:val>
                                            <p:strVal val="#ppt_y"/>
                                          </p:val>
                                        </p:tav>
                                      </p:tavLst>
                                    </p:anim>
                                  </p:childTnLst>
                                </p:cTn>
                              </p:par>
                              <p:par>
                                <p:cTn id="17" presetID="2" presetClass="entr" presetSubtype="4" dur="1500" decel="100000" fill="hold" grpId="0" nodeType="withEffect">
                                  <p:stCondLst>
                                    <p:cond delay="300"/>
                                  </p:stCondLst>
                                  <p:childTnLst>
                                    <p:set>
                                      <p:cBhvr>
                                        <p:cTn id="18" dur="1" fill="hold">
                                          <p:stCondLst>
                                            <p:cond delay="0"/>
                                          </p:stCondLst>
                                        </p:cTn>
                                        <p:tgtEl>
                                          <p:spTgt spid="13"/>
                                        </p:tgtEl>
                                        <p:attrNameLst>
                                          <p:attrName>style.visibility</p:attrName>
                                        </p:attrNameLst>
                                      </p:cBhvr>
                                      <p:to>
                                        <p:strVal val="visible"/>
                                      </p:to>
                                    </p:set>
                                    <p:anim calcmode="lin" valueType="num">
                                      <p:cBhvr additive="base">
                                        <p:cTn id="19" dur="1500" fill="hold"/>
                                        <p:tgtEl>
                                          <p:spTgt spid="13"/>
                                        </p:tgtEl>
                                        <p:attrNameLst>
                                          <p:attrName>ppt_x</p:attrName>
                                        </p:attrNameLst>
                                      </p:cBhvr>
                                      <p:tavLst>
                                        <p:tav tm="0">
                                          <p:val>
                                            <p:strVal val="#ppt_x"/>
                                          </p:val>
                                        </p:tav>
                                        <p:tav tm="100000">
                                          <p:val>
                                            <p:strVal val="#ppt_x"/>
                                          </p:val>
                                        </p:tav>
                                      </p:tavLst>
                                    </p:anim>
                                    <p:anim calcmode="lin" valueType="num">
                                      <p:cBhvr additive="base">
                                        <p:cTn id="20" dur="1500" fill="hold"/>
                                        <p:tgtEl>
                                          <p:spTgt spid="13"/>
                                        </p:tgtEl>
                                        <p:attrNameLst>
                                          <p:attrName>ppt_y</p:attrName>
                                        </p:attrNameLst>
                                      </p:cBhvr>
                                      <p:tavLst>
                                        <p:tav tm="0">
                                          <p:val>
                                            <p:strVal val="1+#ppt_h/2"/>
                                          </p:val>
                                        </p:tav>
                                        <p:tav tm="100000">
                                          <p:val>
                                            <p:strVal val="#ppt_y"/>
                                          </p:val>
                                        </p:tav>
                                      </p:tavLst>
                                    </p:anim>
                                  </p:childTnLst>
                                </p:cTn>
                              </p:par>
                              <p:par>
                                <p:cTn id="21" presetID="2" presetClass="entr" presetSubtype="4" dur="1500" decel="100000" fill="hold" grpId="0" nodeType="withEffect">
                                  <p:stCondLst>
                                    <p:cond delay="400"/>
                                  </p:stCondLst>
                                  <p:childTnLst>
                                    <p:set>
                                      <p:cBhvr>
                                        <p:cTn id="22" dur="1" fill="hold">
                                          <p:stCondLst>
                                            <p:cond delay="0"/>
                                          </p:stCondLst>
                                        </p:cTn>
                                        <p:tgtEl>
                                          <p:spTgt spid="14"/>
                                        </p:tgtEl>
                                        <p:attrNameLst>
                                          <p:attrName>style.visibility</p:attrName>
                                        </p:attrNameLst>
                                      </p:cBhvr>
                                      <p:to>
                                        <p:strVal val="visible"/>
                                      </p:to>
                                    </p:set>
                                    <p:anim calcmode="lin" valueType="num">
                                      <p:cBhvr additive="base">
                                        <p:cTn id="23" dur="1500" fill="hold"/>
                                        <p:tgtEl>
                                          <p:spTgt spid="14"/>
                                        </p:tgtEl>
                                        <p:attrNameLst>
                                          <p:attrName>ppt_x</p:attrName>
                                        </p:attrNameLst>
                                      </p:cBhvr>
                                      <p:tavLst>
                                        <p:tav tm="0">
                                          <p:val>
                                            <p:strVal val="#ppt_x"/>
                                          </p:val>
                                        </p:tav>
                                        <p:tav tm="100000">
                                          <p:val>
                                            <p:strVal val="#ppt_x"/>
                                          </p:val>
                                        </p:tav>
                                      </p:tavLst>
                                    </p:anim>
                                    <p:anim calcmode="lin" valueType="num">
                                      <p:cBhvr additive="base">
                                        <p:cTn id="24" dur="1500" fill="hold"/>
                                        <p:tgtEl>
                                          <p:spTgt spid="14"/>
                                        </p:tgtEl>
                                        <p:attrNameLst>
                                          <p:attrName>ppt_y</p:attrName>
                                        </p:attrNameLst>
                                      </p:cBhvr>
                                      <p:tavLst>
                                        <p:tav tm="0">
                                          <p:val>
                                            <p:strVal val="1+#ppt_h/2"/>
                                          </p:val>
                                        </p:tav>
                                        <p:tav tm="100000">
                                          <p:val>
                                            <p:strVal val="#ppt_y"/>
                                          </p:val>
                                        </p:tav>
                                      </p:tavLst>
                                    </p:anim>
                                  </p:childTnLst>
                                </p:cTn>
                              </p:par>
                              <p:par>
                                <p:cTn id="25" presetID="2" presetClass="entr" presetSubtype="4" dur="1500" decel="100000" fill="hold" grpId="0" nodeType="withEffect">
                                  <p:stCondLst>
                                    <p:cond delay="500"/>
                                  </p:stCondLst>
                                  <p:childTnLst>
                                    <p:set>
                                      <p:cBhvr>
                                        <p:cTn id="26" dur="1" fill="hold">
                                          <p:stCondLst>
                                            <p:cond delay="0"/>
                                          </p:stCondLst>
                                        </p:cTn>
                                        <p:tgtEl>
                                          <p:spTgt spid="15"/>
                                        </p:tgtEl>
                                        <p:attrNameLst>
                                          <p:attrName>style.visibility</p:attrName>
                                        </p:attrNameLst>
                                      </p:cBhvr>
                                      <p:to>
                                        <p:strVal val="visible"/>
                                      </p:to>
                                    </p:set>
                                    <p:anim calcmode="lin" valueType="num">
                                      <p:cBhvr additive="base">
                                        <p:cTn id="27" dur="1500" fill="hold"/>
                                        <p:tgtEl>
                                          <p:spTgt spid="15"/>
                                        </p:tgtEl>
                                        <p:attrNameLst>
                                          <p:attrName>ppt_x</p:attrName>
                                        </p:attrNameLst>
                                      </p:cBhvr>
                                      <p:tavLst>
                                        <p:tav tm="0">
                                          <p:val>
                                            <p:strVal val="#ppt_x"/>
                                          </p:val>
                                        </p:tav>
                                        <p:tav tm="100000">
                                          <p:val>
                                            <p:strVal val="#ppt_x"/>
                                          </p:val>
                                        </p:tav>
                                      </p:tavLst>
                                    </p:anim>
                                    <p:anim calcmode="lin" valueType="num">
                                      <p:cBhvr additive="base">
                                        <p:cTn id="28" dur="1500" fill="hold"/>
                                        <p:tgtEl>
                                          <p:spTgt spid="15"/>
                                        </p:tgtEl>
                                        <p:attrNameLst>
                                          <p:attrName>ppt_y</p:attrName>
                                        </p:attrNameLst>
                                      </p:cBhvr>
                                      <p:tavLst>
                                        <p:tav tm="0">
                                          <p:val>
                                            <p:strVal val="1+#ppt_h/2"/>
                                          </p:val>
                                        </p:tav>
                                        <p:tav tm="100000">
                                          <p:val>
                                            <p:strVal val="#ppt_y"/>
                                          </p:val>
                                        </p:tav>
                                      </p:tavLst>
                                    </p:anim>
                                  </p:childTnLst>
                                </p:cTn>
                              </p:par>
                              <p:par>
                                <p:cTn id="29" presetID="2" presetClass="entr" presetSubtype="4" dur="1500" decel="100000" fill="hold" grpId="0" nodeType="withEffect">
                                  <p:stCondLst>
                                    <p:cond delay="600"/>
                                  </p:stCondLst>
                                  <p:childTnLst>
                                    <p:set>
                                      <p:cBhvr>
                                        <p:cTn id="30" dur="1" fill="hold">
                                          <p:stCondLst>
                                            <p:cond delay="0"/>
                                          </p:stCondLst>
                                        </p:cTn>
                                        <p:tgtEl>
                                          <p:spTgt spid="16"/>
                                        </p:tgtEl>
                                        <p:attrNameLst>
                                          <p:attrName>style.visibility</p:attrName>
                                        </p:attrNameLst>
                                      </p:cBhvr>
                                      <p:to>
                                        <p:strVal val="visible"/>
                                      </p:to>
                                    </p:set>
                                    <p:anim calcmode="lin" valueType="num">
                                      <p:cBhvr additive="base">
                                        <p:cTn id="31" dur="1500" fill="hold"/>
                                        <p:tgtEl>
                                          <p:spTgt spid="16"/>
                                        </p:tgtEl>
                                        <p:attrNameLst>
                                          <p:attrName>ppt_x</p:attrName>
                                        </p:attrNameLst>
                                      </p:cBhvr>
                                      <p:tavLst>
                                        <p:tav tm="0">
                                          <p:val>
                                            <p:strVal val="#ppt_x"/>
                                          </p:val>
                                        </p:tav>
                                        <p:tav tm="100000">
                                          <p:val>
                                            <p:strVal val="#ppt_x"/>
                                          </p:val>
                                        </p:tav>
                                      </p:tavLst>
                                    </p:anim>
                                    <p:anim calcmode="lin" valueType="num">
                                      <p:cBhvr additive="base">
                                        <p:cTn id="32" dur="1500" fill="hold"/>
                                        <p:tgtEl>
                                          <p:spTgt spid="16"/>
                                        </p:tgtEl>
                                        <p:attrNameLst>
                                          <p:attrName>ppt_y</p:attrName>
                                        </p:attrNameLst>
                                      </p:cBhvr>
                                      <p:tavLst>
                                        <p:tav tm="0">
                                          <p:val>
                                            <p:strVal val="1+#ppt_h/2"/>
                                          </p:val>
                                        </p:tav>
                                        <p:tav tm="100000">
                                          <p:val>
                                            <p:strVal val="#ppt_y"/>
                                          </p:val>
                                        </p:tav>
                                      </p:tavLst>
                                    </p:anim>
                                  </p:childTnLst>
                                </p:cTn>
                              </p:par>
                              <p:par>
                                <p:cTn id="33" presetID="2" presetClass="entr" presetSubtype="4" dur="1500" decel="100000" fill="hold" grpId="0" nodeType="withEffect">
                                  <p:stCondLst>
                                    <p:cond delay="700"/>
                                  </p:stCondLst>
                                  <p:childTnLst>
                                    <p:set>
                                      <p:cBhvr>
                                        <p:cTn id="34" dur="1" fill="hold">
                                          <p:stCondLst>
                                            <p:cond delay="0"/>
                                          </p:stCondLst>
                                        </p:cTn>
                                        <p:tgtEl>
                                          <p:spTgt spid="2"/>
                                        </p:tgtEl>
                                        <p:attrNameLst>
                                          <p:attrName>style.visibility</p:attrName>
                                        </p:attrNameLst>
                                      </p:cBhvr>
                                      <p:to>
                                        <p:strVal val="visible"/>
                                      </p:to>
                                    </p:set>
                                    <p:anim calcmode="lin" valueType="num">
                                      <p:cBhvr additive="base">
                                        <p:cTn id="35" dur="1500" fill="hold"/>
                                        <p:tgtEl>
                                          <p:spTgt spid="2"/>
                                        </p:tgtEl>
                                        <p:attrNameLst>
                                          <p:attrName>ppt_x</p:attrName>
                                        </p:attrNameLst>
                                      </p:cBhvr>
                                      <p:tavLst>
                                        <p:tav tm="0">
                                          <p:val>
                                            <p:strVal val="#ppt_x"/>
                                          </p:val>
                                        </p:tav>
                                        <p:tav tm="100000">
                                          <p:val>
                                            <p:strVal val="#ppt_x"/>
                                          </p:val>
                                        </p:tav>
                                      </p:tavLst>
                                    </p:anim>
                                    <p:anim calcmode="lin" valueType="num">
                                      <p:cBhvr additive="base">
                                        <p:cTn id="36" dur="1500" fill="hold"/>
                                        <p:tgtEl>
                                          <p:spTgt spid="2"/>
                                        </p:tgtEl>
                                        <p:attrNameLst>
                                          <p:attrName>ppt_y</p:attrName>
                                        </p:attrNameLst>
                                      </p:cBhvr>
                                      <p:tavLst>
                                        <p:tav tm="0">
                                          <p:val>
                                            <p:strVal val="1+#ppt_h/2"/>
                                          </p:val>
                                        </p:tav>
                                        <p:tav tm="100000">
                                          <p:val>
                                            <p:strVal val="#ppt_y"/>
                                          </p:val>
                                        </p:tav>
                                      </p:tavLst>
                                    </p:anim>
                                  </p:childTnLst>
                                </p:cTn>
                              </p:par>
                              <p:par>
                                <p:cTn id="37" presetID="2" presetClass="entr" presetSubtype="4" dur="1500" decel="100000" fill="hold" grpId="0" nodeType="withEffect">
                                  <p:stCondLst>
                                    <p:cond delay="800"/>
                                  </p:stCondLst>
                                  <p:childTnLst>
                                    <p:set>
                                      <p:cBhvr>
                                        <p:cTn id="38" dur="1" fill="hold">
                                          <p:stCondLst>
                                            <p:cond delay="0"/>
                                          </p:stCondLst>
                                        </p:cTn>
                                        <p:tgtEl>
                                          <p:spTgt spid="8"/>
                                        </p:tgtEl>
                                        <p:attrNameLst>
                                          <p:attrName>style.visibility</p:attrName>
                                        </p:attrNameLst>
                                      </p:cBhvr>
                                      <p:to>
                                        <p:strVal val="visible"/>
                                      </p:to>
                                    </p:set>
                                    <p:anim calcmode="lin" valueType="num">
                                      <p:cBhvr additive="base">
                                        <p:cTn id="39" dur="1500" fill="hold"/>
                                        <p:tgtEl>
                                          <p:spTgt spid="8"/>
                                        </p:tgtEl>
                                        <p:attrNameLst>
                                          <p:attrName>ppt_x</p:attrName>
                                        </p:attrNameLst>
                                      </p:cBhvr>
                                      <p:tavLst>
                                        <p:tav tm="0">
                                          <p:val>
                                            <p:strVal val="#ppt_x"/>
                                          </p:val>
                                        </p:tav>
                                        <p:tav tm="100000">
                                          <p:val>
                                            <p:strVal val="#ppt_x"/>
                                          </p:val>
                                        </p:tav>
                                      </p:tavLst>
                                    </p:anim>
                                    <p:anim calcmode="lin" valueType="num">
                                      <p:cBhvr additive="base">
                                        <p:cTn id="40" dur="1500" fill="hold"/>
                                        <p:tgtEl>
                                          <p:spTgt spid="8"/>
                                        </p:tgtEl>
                                        <p:attrNameLst>
                                          <p:attrName>ppt_y</p:attrName>
                                        </p:attrNameLst>
                                      </p:cBhvr>
                                      <p:tavLst>
                                        <p:tav tm="0">
                                          <p:val>
                                            <p:strVal val="1+#ppt_h/2"/>
                                          </p:val>
                                        </p:tav>
                                        <p:tav tm="100000">
                                          <p:val>
                                            <p:strVal val="#ppt_y"/>
                                          </p:val>
                                        </p:tav>
                                      </p:tavLst>
                                    </p:anim>
                                  </p:childTnLst>
                                </p:cTn>
                              </p:par>
                              <p:par>
                                <p:cTn id="41" presetID="2" presetClass="entr" presetSubtype="4" dur="1500" decel="100000" fill="hold" grpId="0" nodeType="withEffect">
                                  <p:stCondLst>
                                    <p:cond delay="900"/>
                                  </p:stCondLst>
                                  <p:childTnLst>
                                    <p:set>
                                      <p:cBhvr>
                                        <p:cTn id="42" dur="1" fill="hold">
                                          <p:stCondLst>
                                            <p:cond delay="0"/>
                                          </p:stCondLst>
                                        </p:cTn>
                                        <p:tgtEl>
                                          <p:spTgt spid="9"/>
                                        </p:tgtEl>
                                        <p:attrNameLst>
                                          <p:attrName>style.visibility</p:attrName>
                                        </p:attrNameLst>
                                      </p:cBhvr>
                                      <p:to>
                                        <p:strVal val="visible"/>
                                      </p:to>
                                    </p:set>
                                    <p:anim calcmode="lin" valueType="num">
                                      <p:cBhvr additive="base">
                                        <p:cTn id="43" dur="1500" fill="hold"/>
                                        <p:tgtEl>
                                          <p:spTgt spid="9"/>
                                        </p:tgtEl>
                                        <p:attrNameLst>
                                          <p:attrName>ppt_x</p:attrName>
                                        </p:attrNameLst>
                                      </p:cBhvr>
                                      <p:tavLst>
                                        <p:tav tm="0">
                                          <p:val>
                                            <p:strVal val="#ppt_x"/>
                                          </p:val>
                                        </p:tav>
                                        <p:tav tm="100000">
                                          <p:val>
                                            <p:strVal val="#ppt_x"/>
                                          </p:val>
                                        </p:tav>
                                      </p:tavLst>
                                    </p:anim>
                                    <p:anim calcmode="lin" valueType="num">
                                      <p:cBhvr additive="base">
                                        <p:cTn id="44" dur="1500" fill="hold"/>
                                        <p:tgtEl>
                                          <p:spTgt spid="9"/>
                                        </p:tgtEl>
                                        <p:attrNameLst>
                                          <p:attrName>ppt_y</p:attrName>
                                        </p:attrNameLst>
                                      </p:cBhvr>
                                      <p:tavLst>
                                        <p:tav tm="0">
                                          <p:val>
                                            <p:strVal val="1+#ppt_h/2"/>
                                          </p:val>
                                        </p:tav>
                                        <p:tav tm="100000">
                                          <p:val>
                                            <p:strVal val="#ppt_y"/>
                                          </p:val>
                                        </p:tav>
                                      </p:tavLst>
                                    </p:anim>
                                  </p:childTnLst>
                                </p:cTn>
                              </p:par>
                              <p:par>
                                <p:cTn id="45" presetID="2" presetClass="entr" presetSubtype="4" dur="1500" decel="100000" fill="hold" grpId="0" nodeType="withEffect">
                                  <p:stCondLst>
                                    <p:cond delay="1000"/>
                                  </p:stCondLst>
                                  <p:childTnLst>
                                    <p:set>
                                      <p:cBhvr>
                                        <p:cTn id="46" dur="1" fill="hold">
                                          <p:stCondLst>
                                            <p:cond delay="0"/>
                                          </p:stCondLst>
                                        </p:cTn>
                                        <p:tgtEl>
                                          <p:spTgt spid="10"/>
                                        </p:tgtEl>
                                        <p:attrNameLst>
                                          <p:attrName>style.visibility</p:attrName>
                                        </p:attrNameLst>
                                      </p:cBhvr>
                                      <p:to>
                                        <p:strVal val="visible"/>
                                      </p:to>
                                    </p:set>
                                    <p:anim calcmode="lin" valueType="num">
                                      <p:cBhvr additive="base">
                                        <p:cTn id="47" dur="1500" fill="hold"/>
                                        <p:tgtEl>
                                          <p:spTgt spid="10"/>
                                        </p:tgtEl>
                                        <p:attrNameLst>
                                          <p:attrName>ppt_x</p:attrName>
                                        </p:attrNameLst>
                                      </p:cBhvr>
                                      <p:tavLst>
                                        <p:tav tm="0">
                                          <p:val>
                                            <p:strVal val="#ppt_x"/>
                                          </p:val>
                                        </p:tav>
                                        <p:tav tm="100000">
                                          <p:val>
                                            <p:strVal val="#ppt_x"/>
                                          </p:val>
                                        </p:tav>
                                      </p:tavLst>
                                    </p:anim>
                                    <p:anim calcmode="lin" valueType="num">
                                      <p:cBhvr additive="base">
                                        <p:cTn id="48" dur="1500" fill="hold"/>
                                        <p:tgtEl>
                                          <p:spTgt spid="10"/>
                                        </p:tgtEl>
                                        <p:attrNameLst>
                                          <p:attrName>ppt_y</p:attrName>
                                        </p:attrNameLst>
                                      </p:cBhvr>
                                      <p:tavLst>
                                        <p:tav tm="0">
                                          <p:val>
                                            <p:strVal val="1+#ppt_h/2"/>
                                          </p:val>
                                        </p:tav>
                                        <p:tav tm="100000">
                                          <p:val>
                                            <p:strVal val="#ppt_y"/>
                                          </p:val>
                                        </p:tav>
                                      </p:tavLst>
                                    </p:anim>
                                  </p:childTnLst>
                                </p:cTn>
                              </p:par>
                              <p:par>
                                <p:cTn id="49" presetID="2" presetClass="entr" presetSubtype="4" dur="1500" decel="100000" fill="hold" grpId="0" nodeType="withEffect">
                                  <p:stCondLst>
                                    <p:cond delay="1100"/>
                                  </p:stCondLst>
                                  <p:childTnLst>
                                    <p:set>
                                      <p:cBhvr>
                                        <p:cTn id="50" dur="1" fill="hold">
                                          <p:stCondLst>
                                            <p:cond delay="0"/>
                                          </p:stCondLst>
                                        </p:cTn>
                                        <p:tgtEl>
                                          <p:spTgt spid="11"/>
                                        </p:tgtEl>
                                        <p:attrNameLst>
                                          <p:attrName>style.visibility</p:attrName>
                                        </p:attrNameLst>
                                      </p:cBhvr>
                                      <p:to>
                                        <p:strVal val="visible"/>
                                      </p:to>
                                    </p:set>
                                    <p:anim calcmode="lin" valueType="num">
                                      <p:cBhvr additive="base">
                                        <p:cTn id="51" dur="1500" fill="hold"/>
                                        <p:tgtEl>
                                          <p:spTgt spid="11"/>
                                        </p:tgtEl>
                                        <p:attrNameLst>
                                          <p:attrName>ppt_x</p:attrName>
                                        </p:attrNameLst>
                                      </p:cBhvr>
                                      <p:tavLst>
                                        <p:tav tm="0">
                                          <p:val>
                                            <p:strVal val="#ppt_x"/>
                                          </p:val>
                                        </p:tav>
                                        <p:tav tm="100000">
                                          <p:val>
                                            <p:strVal val="#ppt_x"/>
                                          </p:val>
                                        </p:tav>
                                      </p:tavLst>
                                    </p:anim>
                                    <p:anim calcmode="lin" valueType="num">
                                      <p:cBhvr additive="base">
                                        <p:cTn id="52" dur="1500" fill="hold"/>
                                        <p:tgtEl>
                                          <p:spTgt spid="1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8" grpId="0" animBg="1"/>
      <p:bldP spid="19" grpId="0" animBg="1"/>
      <p:bldP spid="13" grpId="0" animBg="1"/>
      <p:bldP spid="14" grpId="0" animBg="1"/>
      <p:bldP spid="15" grpId="0" animBg="1"/>
      <p:bldP spid="16" grpId="0" animBg="1"/>
      <p:bldP spid="2" grpId="0" animBg="1"/>
      <p:bldP spid="8" grpId="0" animBg="1"/>
      <p:bldP spid="9" grpId="0" animBg="1"/>
      <p:bldP spid="10" grpId="0" animBg="1"/>
      <p:bldP spid="11" grpId="0" animBg="1"/>
    </p:bld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267" name="Freihandform: Form 266">
            <a:extLst>
              <a:ext uri="{FF2B5EF4-FFF2-40B4-BE49-F238E27FC236}">
                <a16:creationId xmlns:a16="http://schemas.microsoft.com/office/drawing/2014/main" id="{919B2CD8-82FF-4BB7-9DCC-E8D32E59F274}"/>
              </a:ext>
            </a:extLst>
          </p:cNvPr>
          <p:cNvSpPr/>
          <p:nvPr userDrawn="1"/>
        </p:nvSpPr>
        <p:spPr>
          <a:xfrm>
            <a:off x="11841261" y="4050916"/>
            <a:ext cx="347243" cy="376374"/>
          </a:xfrm>
          <a:custGeom>
            <a:avLst/>
            <a:gdLst>
              <a:gd name="connsiteX0" fmla="*/ 158473 w 347243"/>
              <a:gd name="connsiteY0" fmla="*/ 376375 h 376374"/>
              <a:gd name="connsiteX1" fmla="*/ 0 w 347243"/>
              <a:gd name="connsiteY1" fmla="*/ 376375 h 376374"/>
              <a:gd name="connsiteX2" fmla="*/ 185274 w 347243"/>
              <a:gd name="connsiteY2" fmla="*/ 189935 h 376374"/>
              <a:gd name="connsiteX3" fmla="*/ 0 w 347243"/>
              <a:gd name="connsiteY3" fmla="*/ 0 h 376374"/>
              <a:gd name="connsiteX4" fmla="*/ 161969 w 347243"/>
              <a:gd name="connsiteY4" fmla="*/ 0 h 376374"/>
              <a:gd name="connsiteX5" fmla="*/ 347244 w 347243"/>
              <a:gd name="connsiteY5" fmla="*/ 185274 h 376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7243" h="376374">
                <a:moveTo>
                  <a:pt x="158473" y="376375"/>
                </a:moveTo>
                <a:lnTo>
                  <a:pt x="0" y="376375"/>
                </a:lnTo>
                <a:lnTo>
                  <a:pt x="185274" y="189935"/>
                </a:lnTo>
                <a:lnTo>
                  <a:pt x="0" y="0"/>
                </a:lnTo>
                <a:lnTo>
                  <a:pt x="161969" y="0"/>
                </a:lnTo>
                <a:lnTo>
                  <a:pt x="347244" y="185274"/>
                </a:lnTo>
                <a:close/>
              </a:path>
            </a:pathLst>
          </a:custGeom>
          <a:solidFill>
            <a:srgbClr val="EEF2F5"/>
          </a:solidFill>
          <a:ln w="11643" cap="flat">
            <a:noFill/>
            <a:prstDash val="solid"/>
            <a:miter/>
          </a:ln>
        </p:spPr>
        <p:txBody>
          <a:bodyPr rtlCol="0" anchor="ctr"/>
          <a:lstStyle/>
          <a:p>
            <a:endParaRPr lang="de-DE"/>
          </a:p>
        </p:txBody>
      </p:sp>
      <p:sp>
        <p:nvSpPr>
          <p:cNvPr id="268" name="Freihandform: Form 267">
            <a:extLst>
              <a:ext uri="{FF2B5EF4-FFF2-40B4-BE49-F238E27FC236}">
                <a16:creationId xmlns:a16="http://schemas.microsoft.com/office/drawing/2014/main" id="{98A7D4AE-9DAA-4684-913D-90B430C810F7}"/>
              </a:ext>
            </a:extLst>
          </p:cNvPr>
          <p:cNvSpPr/>
          <p:nvPr userDrawn="1"/>
        </p:nvSpPr>
        <p:spPr>
          <a:xfrm>
            <a:off x="11841261" y="4405152"/>
            <a:ext cx="347243" cy="377540"/>
          </a:xfrm>
          <a:custGeom>
            <a:avLst/>
            <a:gdLst>
              <a:gd name="connsiteX0" fmla="*/ 158473 w 347243"/>
              <a:gd name="connsiteY0" fmla="*/ 377540 h 377540"/>
              <a:gd name="connsiteX1" fmla="*/ 0 w 347243"/>
              <a:gd name="connsiteY1" fmla="*/ 377540 h 377540"/>
              <a:gd name="connsiteX2" fmla="*/ 185274 w 347243"/>
              <a:gd name="connsiteY2" fmla="*/ 189935 h 377540"/>
              <a:gd name="connsiteX3" fmla="*/ 0 w 347243"/>
              <a:gd name="connsiteY3" fmla="*/ 0 h 377540"/>
              <a:gd name="connsiteX4" fmla="*/ 161969 w 347243"/>
              <a:gd name="connsiteY4" fmla="*/ 0 h 377540"/>
              <a:gd name="connsiteX5" fmla="*/ 347244 w 347243"/>
              <a:gd name="connsiteY5" fmla="*/ 185274 h 377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7243" h="377540">
                <a:moveTo>
                  <a:pt x="158473" y="377540"/>
                </a:moveTo>
                <a:lnTo>
                  <a:pt x="0" y="377540"/>
                </a:lnTo>
                <a:lnTo>
                  <a:pt x="185274" y="189935"/>
                </a:lnTo>
                <a:lnTo>
                  <a:pt x="0" y="0"/>
                </a:lnTo>
                <a:lnTo>
                  <a:pt x="161969" y="0"/>
                </a:lnTo>
                <a:lnTo>
                  <a:pt x="347244" y="185274"/>
                </a:lnTo>
                <a:close/>
              </a:path>
            </a:pathLst>
          </a:custGeom>
          <a:solidFill>
            <a:srgbClr val="EEF2F5"/>
          </a:solidFill>
          <a:ln w="11643" cap="flat">
            <a:noFill/>
            <a:prstDash val="solid"/>
            <a:miter/>
          </a:ln>
        </p:spPr>
        <p:txBody>
          <a:bodyPr rtlCol="0" anchor="ctr"/>
          <a:lstStyle/>
          <a:p>
            <a:endParaRPr lang="de-DE"/>
          </a:p>
        </p:txBody>
      </p:sp>
      <p:sp>
        <p:nvSpPr>
          <p:cNvPr id="269" name="Freihandform: Form 268">
            <a:extLst>
              <a:ext uri="{FF2B5EF4-FFF2-40B4-BE49-F238E27FC236}">
                <a16:creationId xmlns:a16="http://schemas.microsoft.com/office/drawing/2014/main" id="{65205431-CA52-4417-B021-25FD0C1E33F9}"/>
              </a:ext>
            </a:extLst>
          </p:cNvPr>
          <p:cNvSpPr/>
          <p:nvPr userDrawn="1"/>
        </p:nvSpPr>
        <p:spPr>
          <a:xfrm>
            <a:off x="11494017" y="3704837"/>
            <a:ext cx="330930" cy="358896"/>
          </a:xfrm>
          <a:custGeom>
            <a:avLst/>
            <a:gdLst>
              <a:gd name="connsiteX0" fmla="*/ 151482 w 330930"/>
              <a:gd name="connsiteY0" fmla="*/ 358896 h 358896"/>
              <a:gd name="connsiteX1" fmla="*/ 0 w 330930"/>
              <a:gd name="connsiteY1" fmla="*/ 358896 h 358896"/>
              <a:gd name="connsiteX2" fmla="*/ 177118 w 330930"/>
              <a:gd name="connsiteY2" fmla="*/ 180613 h 358896"/>
              <a:gd name="connsiteX3" fmla="*/ 0 w 330930"/>
              <a:gd name="connsiteY3" fmla="*/ 0 h 358896"/>
              <a:gd name="connsiteX4" fmla="*/ 154979 w 330930"/>
              <a:gd name="connsiteY4" fmla="*/ 0 h 358896"/>
              <a:gd name="connsiteX5" fmla="*/ 330931 w 330930"/>
              <a:gd name="connsiteY5" fmla="*/ 175953 h 358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930" h="358896">
                <a:moveTo>
                  <a:pt x="151482" y="358896"/>
                </a:moveTo>
                <a:lnTo>
                  <a:pt x="0" y="358896"/>
                </a:lnTo>
                <a:lnTo>
                  <a:pt x="177118" y="180613"/>
                </a:lnTo>
                <a:lnTo>
                  <a:pt x="0" y="0"/>
                </a:lnTo>
                <a:lnTo>
                  <a:pt x="154979" y="0"/>
                </a:lnTo>
                <a:lnTo>
                  <a:pt x="330931" y="175953"/>
                </a:lnTo>
                <a:close/>
              </a:path>
            </a:pathLst>
          </a:custGeom>
          <a:solidFill>
            <a:srgbClr val="EEF2F5"/>
          </a:solidFill>
          <a:ln w="11643" cap="flat">
            <a:noFill/>
            <a:prstDash val="solid"/>
            <a:miter/>
          </a:ln>
        </p:spPr>
        <p:txBody>
          <a:bodyPr rtlCol="0" anchor="ctr"/>
          <a:lstStyle/>
          <a:p>
            <a:endParaRPr lang="de-DE"/>
          </a:p>
        </p:txBody>
      </p:sp>
      <p:sp>
        <p:nvSpPr>
          <p:cNvPr id="270" name="Freihandform: Form 269">
            <a:extLst>
              <a:ext uri="{FF2B5EF4-FFF2-40B4-BE49-F238E27FC236}">
                <a16:creationId xmlns:a16="http://schemas.microsoft.com/office/drawing/2014/main" id="{54C328D2-472D-4AAA-B765-01BBCF86507D}"/>
              </a:ext>
            </a:extLst>
          </p:cNvPr>
          <p:cNvSpPr/>
          <p:nvPr userDrawn="1"/>
        </p:nvSpPr>
        <p:spPr>
          <a:xfrm>
            <a:off x="11494017" y="4059073"/>
            <a:ext cx="330930" cy="360061"/>
          </a:xfrm>
          <a:custGeom>
            <a:avLst/>
            <a:gdLst>
              <a:gd name="connsiteX0" fmla="*/ 151482 w 330930"/>
              <a:gd name="connsiteY0" fmla="*/ 360062 h 360061"/>
              <a:gd name="connsiteX1" fmla="*/ 0 w 330930"/>
              <a:gd name="connsiteY1" fmla="*/ 360062 h 360061"/>
              <a:gd name="connsiteX2" fmla="*/ 177118 w 330930"/>
              <a:gd name="connsiteY2" fmla="*/ 181779 h 360061"/>
              <a:gd name="connsiteX3" fmla="*/ 0 w 330930"/>
              <a:gd name="connsiteY3" fmla="*/ 0 h 360061"/>
              <a:gd name="connsiteX4" fmla="*/ 154979 w 330930"/>
              <a:gd name="connsiteY4" fmla="*/ 0 h 360061"/>
              <a:gd name="connsiteX5" fmla="*/ 330931 w 330930"/>
              <a:gd name="connsiteY5" fmla="*/ 177118 h 360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930" h="360061">
                <a:moveTo>
                  <a:pt x="151482" y="360062"/>
                </a:moveTo>
                <a:lnTo>
                  <a:pt x="0" y="360062"/>
                </a:lnTo>
                <a:lnTo>
                  <a:pt x="177118" y="181779"/>
                </a:lnTo>
                <a:lnTo>
                  <a:pt x="0" y="0"/>
                </a:lnTo>
                <a:lnTo>
                  <a:pt x="154979" y="0"/>
                </a:lnTo>
                <a:lnTo>
                  <a:pt x="330931" y="177118"/>
                </a:lnTo>
                <a:close/>
              </a:path>
            </a:pathLst>
          </a:custGeom>
          <a:solidFill>
            <a:srgbClr val="EEF2F5"/>
          </a:solidFill>
          <a:ln w="11643" cap="flat">
            <a:noFill/>
            <a:prstDash val="solid"/>
            <a:miter/>
          </a:ln>
        </p:spPr>
        <p:txBody>
          <a:bodyPr rtlCol="0" anchor="ctr"/>
          <a:lstStyle/>
          <a:p>
            <a:endParaRPr lang="de-DE"/>
          </a:p>
        </p:txBody>
      </p:sp>
      <p:sp>
        <p:nvSpPr>
          <p:cNvPr id="271" name="Freihandform: Form 270">
            <a:extLst>
              <a:ext uri="{FF2B5EF4-FFF2-40B4-BE49-F238E27FC236}">
                <a16:creationId xmlns:a16="http://schemas.microsoft.com/office/drawing/2014/main" id="{58A1ADF4-67BB-4B4F-97A2-C8981295C28E}"/>
              </a:ext>
            </a:extLst>
          </p:cNvPr>
          <p:cNvSpPr/>
          <p:nvPr userDrawn="1"/>
        </p:nvSpPr>
        <p:spPr>
          <a:xfrm>
            <a:off x="11494017" y="4414474"/>
            <a:ext cx="330930" cy="358896"/>
          </a:xfrm>
          <a:custGeom>
            <a:avLst/>
            <a:gdLst>
              <a:gd name="connsiteX0" fmla="*/ 151482 w 330930"/>
              <a:gd name="connsiteY0" fmla="*/ 358896 h 358896"/>
              <a:gd name="connsiteX1" fmla="*/ 0 w 330930"/>
              <a:gd name="connsiteY1" fmla="*/ 358896 h 358896"/>
              <a:gd name="connsiteX2" fmla="*/ 177118 w 330930"/>
              <a:gd name="connsiteY2" fmla="*/ 180613 h 358896"/>
              <a:gd name="connsiteX3" fmla="*/ 0 w 330930"/>
              <a:gd name="connsiteY3" fmla="*/ 0 h 358896"/>
              <a:gd name="connsiteX4" fmla="*/ 154979 w 330930"/>
              <a:gd name="connsiteY4" fmla="*/ 0 h 358896"/>
              <a:gd name="connsiteX5" fmla="*/ 330931 w 330930"/>
              <a:gd name="connsiteY5" fmla="*/ 175952 h 358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930" h="358896">
                <a:moveTo>
                  <a:pt x="151482" y="358896"/>
                </a:moveTo>
                <a:lnTo>
                  <a:pt x="0" y="358896"/>
                </a:lnTo>
                <a:lnTo>
                  <a:pt x="177118" y="180613"/>
                </a:lnTo>
                <a:lnTo>
                  <a:pt x="0" y="0"/>
                </a:lnTo>
                <a:lnTo>
                  <a:pt x="154979" y="0"/>
                </a:lnTo>
                <a:lnTo>
                  <a:pt x="330931" y="175952"/>
                </a:lnTo>
                <a:close/>
              </a:path>
            </a:pathLst>
          </a:custGeom>
          <a:solidFill>
            <a:srgbClr val="EEF2F5"/>
          </a:solidFill>
          <a:ln w="11643" cap="flat">
            <a:noFill/>
            <a:prstDash val="solid"/>
            <a:miter/>
          </a:ln>
        </p:spPr>
        <p:txBody>
          <a:bodyPr rtlCol="0" anchor="ctr"/>
          <a:lstStyle/>
          <a:p>
            <a:endParaRPr lang="de-DE"/>
          </a:p>
        </p:txBody>
      </p:sp>
      <p:sp>
        <p:nvSpPr>
          <p:cNvPr id="272" name="Freihandform: Form 271">
            <a:extLst>
              <a:ext uri="{FF2B5EF4-FFF2-40B4-BE49-F238E27FC236}">
                <a16:creationId xmlns:a16="http://schemas.microsoft.com/office/drawing/2014/main" id="{03415443-3F41-49F3-B60C-1201D9A263D5}"/>
              </a:ext>
            </a:extLst>
          </p:cNvPr>
          <p:cNvSpPr/>
          <p:nvPr userDrawn="1"/>
        </p:nvSpPr>
        <p:spPr>
          <a:xfrm>
            <a:off x="11494017" y="4768709"/>
            <a:ext cx="330930" cy="360061"/>
          </a:xfrm>
          <a:custGeom>
            <a:avLst/>
            <a:gdLst>
              <a:gd name="connsiteX0" fmla="*/ 151482 w 330930"/>
              <a:gd name="connsiteY0" fmla="*/ 360062 h 360061"/>
              <a:gd name="connsiteX1" fmla="*/ 0 w 330930"/>
              <a:gd name="connsiteY1" fmla="*/ 360062 h 360061"/>
              <a:gd name="connsiteX2" fmla="*/ 177118 w 330930"/>
              <a:gd name="connsiteY2" fmla="*/ 181779 h 360061"/>
              <a:gd name="connsiteX3" fmla="*/ 0 w 330930"/>
              <a:gd name="connsiteY3" fmla="*/ 0 h 360061"/>
              <a:gd name="connsiteX4" fmla="*/ 154979 w 330930"/>
              <a:gd name="connsiteY4" fmla="*/ 0 h 360061"/>
              <a:gd name="connsiteX5" fmla="*/ 330931 w 330930"/>
              <a:gd name="connsiteY5" fmla="*/ 177118 h 360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930" h="360061">
                <a:moveTo>
                  <a:pt x="151482" y="360062"/>
                </a:moveTo>
                <a:lnTo>
                  <a:pt x="0" y="360062"/>
                </a:lnTo>
                <a:lnTo>
                  <a:pt x="177118" y="181779"/>
                </a:lnTo>
                <a:lnTo>
                  <a:pt x="0" y="0"/>
                </a:lnTo>
                <a:lnTo>
                  <a:pt x="154979" y="0"/>
                </a:lnTo>
                <a:lnTo>
                  <a:pt x="330931" y="177118"/>
                </a:lnTo>
                <a:close/>
              </a:path>
            </a:pathLst>
          </a:custGeom>
          <a:solidFill>
            <a:srgbClr val="EEF2F5"/>
          </a:solidFill>
          <a:ln w="11643" cap="flat">
            <a:noFill/>
            <a:prstDash val="solid"/>
            <a:miter/>
          </a:ln>
        </p:spPr>
        <p:txBody>
          <a:bodyPr rtlCol="0" anchor="ctr"/>
          <a:lstStyle/>
          <a:p>
            <a:endParaRPr lang="de-DE"/>
          </a:p>
        </p:txBody>
      </p:sp>
      <p:sp>
        <p:nvSpPr>
          <p:cNvPr id="273" name="Freihandform: Form 272">
            <a:extLst>
              <a:ext uri="{FF2B5EF4-FFF2-40B4-BE49-F238E27FC236}">
                <a16:creationId xmlns:a16="http://schemas.microsoft.com/office/drawing/2014/main" id="{B563676F-D202-4871-9820-0E475258CF51}"/>
              </a:ext>
            </a:extLst>
          </p:cNvPr>
          <p:cNvSpPr/>
          <p:nvPr userDrawn="1"/>
        </p:nvSpPr>
        <p:spPr>
          <a:xfrm>
            <a:off x="11147939" y="3358759"/>
            <a:ext cx="314616" cy="341417"/>
          </a:xfrm>
          <a:custGeom>
            <a:avLst/>
            <a:gdLst>
              <a:gd name="connsiteX0" fmla="*/ 143325 w 314616"/>
              <a:gd name="connsiteY0" fmla="*/ 341418 h 341417"/>
              <a:gd name="connsiteX1" fmla="*/ 0 w 314616"/>
              <a:gd name="connsiteY1" fmla="*/ 341418 h 341417"/>
              <a:gd name="connsiteX2" fmla="*/ 167795 w 314616"/>
              <a:gd name="connsiteY2" fmla="*/ 172457 h 341417"/>
              <a:gd name="connsiteX3" fmla="*/ 0 w 314616"/>
              <a:gd name="connsiteY3" fmla="*/ 0 h 341417"/>
              <a:gd name="connsiteX4" fmla="*/ 146821 w 314616"/>
              <a:gd name="connsiteY4" fmla="*/ 0 h 341417"/>
              <a:gd name="connsiteX5" fmla="*/ 314617 w 314616"/>
              <a:gd name="connsiteY5" fmla="*/ 167796 h 341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4616" h="341417">
                <a:moveTo>
                  <a:pt x="143325" y="341418"/>
                </a:moveTo>
                <a:lnTo>
                  <a:pt x="0" y="341418"/>
                </a:lnTo>
                <a:lnTo>
                  <a:pt x="167795" y="172457"/>
                </a:lnTo>
                <a:lnTo>
                  <a:pt x="0" y="0"/>
                </a:lnTo>
                <a:lnTo>
                  <a:pt x="146821" y="0"/>
                </a:lnTo>
                <a:lnTo>
                  <a:pt x="314617" y="167796"/>
                </a:lnTo>
                <a:close/>
              </a:path>
            </a:pathLst>
          </a:custGeom>
          <a:solidFill>
            <a:srgbClr val="EEF2F5"/>
          </a:solidFill>
          <a:ln w="11643" cap="flat">
            <a:noFill/>
            <a:prstDash val="solid"/>
            <a:miter/>
          </a:ln>
        </p:spPr>
        <p:txBody>
          <a:bodyPr rtlCol="0" anchor="ctr"/>
          <a:lstStyle/>
          <a:p>
            <a:endParaRPr lang="de-DE"/>
          </a:p>
        </p:txBody>
      </p:sp>
      <p:sp>
        <p:nvSpPr>
          <p:cNvPr id="274" name="Freihandform: Form 273">
            <a:extLst>
              <a:ext uri="{FF2B5EF4-FFF2-40B4-BE49-F238E27FC236}">
                <a16:creationId xmlns:a16="http://schemas.microsoft.com/office/drawing/2014/main" id="{5D770B4B-8FDA-4BEE-9FFB-F30316599C4D}"/>
              </a:ext>
            </a:extLst>
          </p:cNvPr>
          <p:cNvSpPr/>
          <p:nvPr userDrawn="1"/>
        </p:nvSpPr>
        <p:spPr>
          <a:xfrm>
            <a:off x="11147939" y="3714159"/>
            <a:ext cx="314616" cy="340252"/>
          </a:xfrm>
          <a:custGeom>
            <a:avLst/>
            <a:gdLst>
              <a:gd name="connsiteX0" fmla="*/ 143325 w 314616"/>
              <a:gd name="connsiteY0" fmla="*/ 340252 h 340252"/>
              <a:gd name="connsiteX1" fmla="*/ 0 w 314616"/>
              <a:gd name="connsiteY1" fmla="*/ 340252 h 340252"/>
              <a:gd name="connsiteX2" fmla="*/ 167795 w 314616"/>
              <a:gd name="connsiteY2" fmla="*/ 171291 h 340252"/>
              <a:gd name="connsiteX3" fmla="*/ 0 w 314616"/>
              <a:gd name="connsiteY3" fmla="*/ 0 h 340252"/>
              <a:gd name="connsiteX4" fmla="*/ 146821 w 314616"/>
              <a:gd name="connsiteY4" fmla="*/ 0 h 340252"/>
              <a:gd name="connsiteX5" fmla="*/ 314617 w 314616"/>
              <a:gd name="connsiteY5" fmla="*/ 166631 h 340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4616" h="340252">
                <a:moveTo>
                  <a:pt x="143325" y="340252"/>
                </a:moveTo>
                <a:lnTo>
                  <a:pt x="0" y="340252"/>
                </a:lnTo>
                <a:lnTo>
                  <a:pt x="167795" y="171291"/>
                </a:lnTo>
                <a:lnTo>
                  <a:pt x="0" y="0"/>
                </a:lnTo>
                <a:lnTo>
                  <a:pt x="146821" y="0"/>
                </a:lnTo>
                <a:lnTo>
                  <a:pt x="314617" y="166631"/>
                </a:lnTo>
                <a:close/>
              </a:path>
            </a:pathLst>
          </a:custGeom>
          <a:solidFill>
            <a:srgbClr val="EEF2F5"/>
          </a:solidFill>
          <a:ln w="11643" cap="flat">
            <a:noFill/>
            <a:prstDash val="solid"/>
            <a:miter/>
          </a:ln>
        </p:spPr>
        <p:txBody>
          <a:bodyPr rtlCol="0" anchor="ctr"/>
          <a:lstStyle/>
          <a:p>
            <a:endParaRPr lang="de-DE"/>
          </a:p>
        </p:txBody>
      </p:sp>
      <p:sp>
        <p:nvSpPr>
          <p:cNvPr id="275" name="Freihandform: Form 274">
            <a:extLst>
              <a:ext uri="{FF2B5EF4-FFF2-40B4-BE49-F238E27FC236}">
                <a16:creationId xmlns:a16="http://schemas.microsoft.com/office/drawing/2014/main" id="{81054F7A-CDD6-4293-8A5B-F202CD55CF17}"/>
              </a:ext>
            </a:extLst>
          </p:cNvPr>
          <p:cNvSpPr/>
          <p:nvPr userDrawn="1"/>
        </p:nvSpPr>
        <p:spPr>
          <a:xfrm>
            <a:off x="11147939" y="4068395"/>
            <a:ext cx="314616" cy="341417"/>
          </a:xfrm>
          <a:custGeom>
            <a:avLst/>
            <a:gdLst>
              <a:gd name="connsiteX0" fmla="*/ 143325 w 314616"/>
              <a:gd name="connsiteY0" fmla="*/ 341418 h 341417"/>
              <a:gd name="connsiteX1" fmla="*/ 0 w 314616"/>
              <a:gd name="connsiteY1" fmla="*/ 341418 h 341417"/>
              <a:gd name="connsiteX2" fmla="*/ 167795 w 314616"/>
              <a:gd name="connsiteY2" fmla="*/ 172457 h 341417"/>
              <a:gd name="connsiteX3" fmla="*/ 0 w 314616"/>
              <a:gd name="connsiteY3" fmla="*/ 0 h 341417"/>
              <a:gd name="connsiteX4" fmla="*/ 146821 w 314616"/>
              <a:gd name="connsiteY4" fmla="*/ 0 h 341417"/>
              <a:gd name="connsiteX5" fmla="*/ 314617 w 314616"/>
              <a:gd name="connsiteY5" fmla="*/ 167796 h 341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4616" h="341417">
                <a:moveTo>
                  <a:pt x="143325" y="341418"/>
                </a:moveTo>
                <a:lnTo>
                  <a:pt x="0" y="341418"/>
                </a:lnTo>
                <a:lnTo>
                  <a:pt x="167795" y="172457"/>
                </a:lnTo>
                <a:lnTo>
                  <a:pt x="0" y="0"/>
                </a:lnTo>
                <a:lnTo>
                  <a:pt x="146821" y="0"/>
                </a:lnTo>
                <a:lnTo>
                  <a:pt x="314617" y="167796"/>
                </a:lnTo>
                <a:close/>
              </a:path>
            </a:pathLst>
          </a:custGeom>
          <a:solidFill>
            <a:srgbClr val="EEF2F5"/>
          </a:solidFill>
          <a:ln w="11643" cap="flat">
            <a:noFill/>
            <a:prstDash val="solid"/>
            <a:miter/>
          </a:ln>
        </p:spPr>
        <p:txBody>
          <a:bodyPr rtlCol="0" anchor="ctr"/>
          <a:lstStyle/>
          <a:p>
            <a:endParaRPr lang="de-DE"/>
          </a:p>
        </p:txBody>
      </p:sp>
      <p:sp>
        <p:nvSpPr>
          <p:cNvPr id="276" name="Freihandform: Form 275">
            <a:extLst>
              <a:ext uri="{FF2B5EF4-FFF2-40B4-BE49-F238E27FC236}">
                <a16:creationId xmlns:a16="http://schemas.microsoft.com/office/drawing/2014/main" id="{AC7F4FB6-F7E9-413D-A12F-625B3C9B48F7}"/>
              </a:ext>
            </a:extLst>
          </p:cNvPr>
          <p:cNvSpPr/>
          <p:nvPr userDrawn="1"/>
        </p:nvSpPr>
        <p:spPr>
          <a:xfrm>
            <a:off x="11147939" y="4423796"/>
            <a:ext cx="314616" cy="340252"/>
          </a:xfrm>
          <a:custGeom>
            <a:avLst/>
            <a:gdLst>
              <a:gd name="connsiteX0" fmla="*/ 143325 w 314616"/>
              <a:gd name="connsiteY0" fmla="*/ 340252 h 340252"/>
              <a:gd name="connsiteX1" fmla="*/ 0 w 314616"/>
              <a:gd name="connsiteY1" fmla="*/ 340252 h 340252"/>
              <a:gd name="connsiteX2" fmla="*/ 167795 w 314616"/>
              <a:gd name="connsiteY2" fmla="*/ 171291 h 340252"/>
              <a:gd name="connsiteX3" fmla="*/ 0 w 314616"/>
              <a:gd name="connsiteY3" fmla="*/ 0 h 340252"/>
              <a:gd name="connsiteX4" fmla="*/ 146821 w 314616"/>
              <a:gd name="connsiteY4" fmla="*/ 0 h 340252"/>
              <a:gd name="connsiteX5" fmla="*/ 314617 w 314616"/>
              <a:gd name="connsiteY5" fmla="*/ 167796 h 340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4616" h="340252">
                <a:moveTo>
                  <a:pt x="143325" y="340252"/>
                </a:moveTo>
                <a:lnTo>
                  <a:pt x="0" y="340252"/>
                </a:lnTo>
                <a:lnTo>
                  <a:pt x="167795" y="171291"/>
                </a:lnTo>
                <a:lnTo>
                  <a:pt x="0" y="0"/>
                </a:lnTo>
                <a:lnTo>
                  <a:pt x="146821" y="0"/>
                </a:lnTo>
                <a:lnTo>
                  <a:pt x="314617" y="167796"/>
                </a:lnTo>
                <a:close/>
              </a:path>
            </a:pathLst>
          </a:custGeom>
          <a:solidFill>
            <a:srgbClr val="EEF2F5"/>
          </a:solidFill>
          <a:ln w="11643" cap="flat">
            <a:noFill/>
            <a:prstDash val="solid"/>
            <a:miter/>
          </a:ln>
        </p:spPr>
        <p:txBody>
          <a:bodyPr rtlCol="0" anchor="ctr"/>
          <a:lstStyle/>
          <a:p>
            <a:endParaRPr lang="de-DE"/>
          </a:p>
        </p:txBody>
      </p:sp>
      <p:sp>
        <p:nvSpPr>
          <p:cNvPr id="277" name="Freihandform: Form 276">
            <a:extLst>
              <a:ext uri="{FF2B5EF4-FFF2-40B4-BE49-F238E27FC236}">
                <a16:creationId xmlns:a16="http://schemas.microsoft.com/office/drawing/2014/main" id="{E0FCE453-708E-4F94-ABB2-11D8FE79AB20}"/>
              </a:ext>
            </a:extLst>
          </p:cNvPr>
          <p:cNvSpPr/>
          <p:nvPr userDrawn="1"/>
        </p:nvSpPr>
        <p:spPr>
          <a:xfrm>
            <a:off x="11147939" y="4778031"/>
            <a:ext cx="314616" cy="341417"/>
          </a:xfrm>
          <a:custGeom>
            <a:avLst/>
            <a:gdLst>
              <a:gd name="connsiteX0" fmla="*/ 143325 w 314616"/>
              <a:gd name="connsiteY0" fmla="*/ 341418 h 341417"/>
              <a:gd name="connsiteX1" fmla="*/ 0 w 314616"/>
              <a:gd name="connsiteY1" fmla="*/ 341418 h 341417"/>
              <a:gd name="connsiteX2" fmla="*/ 167795 w 314616"/>
              <a:gd name="connsiteY2" fmla="*/ 172457 h 341417"/>
              <a:gd name="connsiteX3" fmla="*/ 0 w 314616"/>
              <a:gd name="connsiteY3" fmla="*/ 0 h 341417"/>
              <a:gd name="connsiteX4" fmla="*/ 146821 w 314616"/>
              <a:gd name="connsiteY4" fmla="*/ 0 h 341417"/>
              <a:gd name="connsiteX5" fmla="*/ 314617 w 314616"/>
              <a:gd name="connsiteY5" fmla="*/ 167796 h 341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4616" h="341417">
                <a:moveTo>
                  <a:pt x="143325" y="341418"/>
                </a:moveTo>
                <a:lnTo>
                  <a:pt x="0" y="341418"/>
                </a:lnTo>
                <a:lnTo>
                  <a:pt x="167795" y="172457"/>
                </a:lnTo>
                <a:lnTo>
                  <a:pt x="0" y="0"/>
                </a:lnTo>
                <a:lnTo>
                  <a:pt x="146821" y="0"/>
                </a:lnTo>
                <a:lnTo>
                  <a:pt x="314617" y="167796"/>
                </a:lnTo>
                <a:close/>
              </a:path>
            </a:pathLst>
          </a:custGeom>
          <a:solidFill>
            <a:srgbClr val="EEF2F5"/>
          </a:solidFill>
          <a:ln w="11643" cap="flat">
            <a:noFill/>
            <a:prstDash val="solid"/>
            <a:miter/>
          </a:ln>
        </p:spPr>
        <p:txBody>
          <a:bodyPr rtlCol="0" anchor="ctr"/>
          <a:lstStyle/>
          <a:p>
            <a:endParaRPr lang="de-DE"/>
          </a:p>
        </p:txBody>
      </p:sp>
      <p:sp>
        <p:nvSpPr>
          <p:cNvPr id="278" name="Freihandform: Form 277">
            <a:extLst>
              <a:ext uri="{FF2B5EF4-FFF2-40B4-BE49-F238E27FC236}">
                <a16:creationId xmlns:a16="http://schemas.microsoft.com/office/drawing/2014/main" id="{1688DC58-ADCC-47C8-9C44-0BF9CDA63828}"/>
              </a:ext>
            </a:extLst>
          </p:cNvPr>
          <p:cNvSpPr/>
          <p:nvPr userDrawn="1"/>
        </p:nvSpPr>
        <p:spPr>
          <a:xfrm>
            <a:off x="11147939" y="5133432"/>
            <a:ext cx="314616" cy="341417"/>
          </a:xfrm>
          <a:custGeom>
            <a:avLst/>
            <a:gdLst>
              <a:gd name="connsiteX0" fmla="*/ 143325 w 314616"/>
              <a:gd name="connsiteY0" fmla="*/ 341418 h 341417"/>
              <a:gd name="connsiteX1" fmla="*/ 0 w 314616"/>
              <a:gd name="connsiteY1" fmla="*/ 341418 h 341417"/>
              <a:gd name="connsiteX2" fmla="*/ 167795 w 314616"/>
              <a:gd name="connsiteY2" fmla="*/ 171292 h 341417"/>
              <a:gd name="connsiteX3" fmla="*/ 0 w 314616"/>
              <a:gd name="connsiteY3" fmla="*/ 0 h 341417"/>
              <a:gd name="connsiteX4" fmla="*/ 146821 w 314616"/>
              <a:gd name="connsiteY4" fmla="*/ 0 h 341417"/>
              <a:gd name="connsiteX5" fmla="*/ 314617 w 314616"/>
              <a:gd name="connsiteY5" fmla="*/ 167796 h 341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4616" h="341417">
                <a:moveTo>
                  <a:pt x="143325" y="341418"/>
                </a:moveTo>
                <a:lnTo>
                  <a:pt x="0" y="341418"/>
                </a:lnTo>
                <a:lnTo>
                  <a:pt x="167795" y="171292"/>
                </a:lnTo>
                <a:lnTo>
                  <a:pt x="0" y="0"/>
                </a:lnTo>
                <a:lnTo>
                  <a:pt x="146821" y="0"/>
                </a:lnTo>
                <a:lnTo>
                  <a:pt x="314617" y="167796"/>
                </a:lnTo>
                <a:close/>
              </a:path>
            </a:pathLst>
          </a:custGeom>
          <a:solidFill>
            <a:srgbClr val="EEF2F5"/>
          </a:solidFill>
          <a:ln w="11643" cap="flat">
            <a:noFill/>
            <a:prstDash val="solid"/>
            <a:miter/>
          </a:ln>
        </p:spPr>
        <p:txBody>
          <a:bodyPr rtlCol="0" anchor="ctr"/>
          <a:lstStyle/>
          <a:p>
            <a:endParaRPr lang="de-DE"/>
          </a:p>
        </p:txBody>
      </p:sp>
      <p:sp>
        <p:nvSpPr>
          <p:cNvPr id="279" name="Freihandform: Form 278">
            <a:extLst>
              <a:ext uri="{FF2B5EF4-FFF2-40B4-BE49-F238E27FC236}">
                <a16:creationId xmlns:a16="http://schemas.microsoft.com/office/drawing/2014/main" id="{4BBABDFE-BB76-4C3E-8755-4E50356E6B42}"/>
              </a:ext>
            </a:extLst>
          </p:cNvPr>
          <p:cNvSpPr/>
          <p:nvPr userDrawn="1"/>
        </p:nvSpPr>
        <p:spPr>
          <a:xfrm>
            <a:off x="10801860" y="3012680"/>
            <a:ext cx="297138" cy="323938"/>
          </a:xfrm>
          <a:custGeom>
            <a:avLst/>
            <a:gdLst>
              <a:gd name="connsiteX0" fmla="*/ 135168 w 297138"/>
              <a:gd name="connsiteY0" fmla="*/ 323939 h 323938"/>
              <a:gd name="connsiteX1" fmla="*/ 0 w 297138"/>
              <a:gd name="connsiteY1" fmla="*/ 323939 h 323938"/>
              <a:gd name="connsiteX2" fmla="*/ 158473 w 297138"/>
              <a:gd name="connsiteY2" fmla="*/ 163135 h 323938"/>
              <a:gd name="connsiteX3" fmla="*/ 0 w 297138"/>
              <a:gd name="connsiteY3" fmla="*/ 0 h 323938"/>
              <a:gd name="connsiteX4" fmla="*/ 138664 w 297138"/>
              <a:gd name="connsiteY4" fmla="*/ 0 h 323938"/>
              <a:gd name="connsiteX5" fmla="*/ 297138 w 297138"/>
              <a:gd name="connsiteY5" fmla="*/ 159639 h 323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3938">
                <a:moveTo>
                  <a:pt x="135168" y="323939"/>
                </a:moveTo>
                <a:lnTo>
                  <a:pt x="0" y="323939"/>
                </a:lnTo>
                <a:lnTo>
                  <a:pt x="158473" y="163135"/>
                </a:lnTo>
                <a:lnTo>
                  <a:pt x="0" y="0"/>
                </a:lnTo>
                <a:lnTo>
                  <a:pt x="138664" y="0"/>
                </a:lnTo>
                <a:lnTo>
                  <a:pt x="297138" y="159639"/>
                </a:lnTo>
                <a:close/>
              </a:path>
            </a:pathLst>
          </a:custGeom>
          <a:solidFill>
            <a:srgbClr val="EEF2F5"/>
          </a:solidFill>
          <a:ln w="11643" cap="flat">
            <a:noFill/>
            <a:prstDash val="solid"/>
            <a:miter/>
          </a:ln>
        </p:spPr>
        <p:txBody>
          <a:bodyPr rtlCol="0" anchor="ctr"/>
          <a:lstStyle/>
          <a:p>
            <a:endParaRPr lang="de-DE"/>
          </a:p>
        </p:txBody>
      </p:sp>
      <p:sp>
        <p:nvSpPr>
          <p:cNvPr id="280" name="Freihandform: Form 279">
            <a:extLst>
              <a:ext uri="{FF2B5EF4-FFF2-40B4-BE49-F238E27FC236}">
                <a16:creationId xmlns:a16="http://schemas.microsoft.com/office/drawing/2014/main" id="{98875BAD-35D6-4908-B226-48D549F12C09}"/>
              </a:ext>
            </a:extLst>
          </p:cNvPr>
          <p:cNvSpPr/>
          <p:nvPr userDrawn="1"/>
        </p:nvSpPr>
        <p:spPr>
          <a:xfrm>
            <a:off x="10801860" y="3368081"/>
            <a:ext cx="297138" cy="322773"/>
          </a:xfrm>
          <a:custGeom>
            <a:avLst/>
            <a:gdLst>
              <a:gd name="connsiteX0" fmla="*/ 135168 w 297138"/>
              <a:gd name="connsiteY0" fmla="*/ 322774 h 322773"/>
              <a:gd name="connsiteX1" fmla="*/ 0 w 297138"/>
              <a:gd name="connsiteY1" fmla="*/ 322774 h 322773"/>
              <a:gd name="connsiteX2" fmla="*/ 158473 w 297138"/>
              <a:gd name="connsiteY2" fmla="*/ 163135 h 322773"/>
              <a:gd name="connsiteX3" fmla="*/ 0 w 297138"/>
              <a:gd name="connsiteY3" fmla="*/ 0 h 322773"/>
              <a:gd name="connsiteX4" fmla="*/ 138664 w 297138"/>
              <a:gd name="connsiteY4" fmla="*/ 0 h 322773"/>
              <a:gd name="connsiteX5" fmla="*/ 297138 w 297138"/>
              <a:gd name="connsiteY5" fmla="*/ 158474 h 322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2773">
                <a:moveTo>
                  <a:pt x="135168" y="322774"/>
                </a:moveTo>
                <a:lnTo>
                  <a:pt x="0" y="322774"/>
                </a:lnTo>
                <a:lnTo>
                  <a:pt x="158473" y="163135"/>
                </a:lnTo>
                <a:lnTo>
                  <a:pt x="0" y="0"/>
                </a:lnTo>
                <a:lnTo>
                  <a:pt x="138664" y="0"/>
                </a:lnTo>
                <a:lnTo>
                  <a:pt x="297138" y="158474"/>
                </a:lnTo>
                <a:close/>
              </a:path>
            </a:pathLst>
          </a:custGeom>
          <a:solidFill>
            <a:srgbClr val="EEF2F5"/>
          </a:solidFill>
          <a:ln w="11643" cap="flat">
            <a:noFill/>
            <a:prstDash val="solid"/>
            <a:miter/>
          </a:ln>
        </p:spPr>
        <p:txBody>
          <a:bodyPr rtlCol="0" anchor="ctr"/>
          <a:lstStyle/>
          <a:p>
            <a:endParaRPr lang="de-DE"/>
          </a:p>
        </p:txBody>
      </p:sp>
      <p:sp>
        <p:nvSpPr>
          <p:cNvPr id="281" name="Freihandform: Form 280">
            <a:extLst>
              <a:ext uri="{FF2B5EF4-FFF2-40B4-BE49-F238E27FC236}">
                <a16:creationId xmlns:a16="http://schemas.microsoft.com/office/drawing/2014/main" id="{A3786D8D-2CF9-4026-A5B0-E8C239DB08E8}"/>
              </a:ext>
            </a:extLst>
          </p:cNvPr>
          <p:cNvSpPr/>
          <p:nvPr userDrawn="1"/>
        </p:nvSpPr>
        <p:spPr>
          <a:xfrm>
            <a:off x="10801860" y="3722316"/>
            <a:ext cx="297138" cy="323938"/>
          </a:xfrm>
          <a:custGeom>
            <a:avLst/>
            <a:gdLst>
              <a:gd name="connsiteX0" fmla="*/ 135168 w 297138"/>
              <a:gd name="connsiteY0" fmla="*/ 323939 h 323938"/>
              <a:gd name="connsiteX1" fmla="*/ 0 w 297138"/>
              <a:gd name="connsiteY1" fmla="*/ 323939 h 323938"/>
              <a:gd name="connsiteX2" fmla="*/ 158473 w 297138"/>
              <a:gd name="connsiteY2" fmla="*/ 163135 h 323938"/>
              <a:gd name="connsiteX3" fmla="*/ 0 w 297138"/>
              <a:gd name="connsiteY3" fmla="*/ 0 h 323938"/>
              <a:gd name="connsiteX4" fmla="*/ 138664 w 297138"/>
              <a:gd name="connsiteY4" fmla="*/ 0 h 323938"/>
              <a:gd name="connsiteX5" fmla="*/ 297138 w 297138"/>
              <a:gd name="connsiteY5" fmla="*/ 159639 h 323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3938">
                <a:moveTo>
                  <a:pt x="135168" y="323939"/>
                </a:moveTo>
                <a:lnTo>
                  <a:pt x="0" y="323939"/>
                </a:lnTo>
                <a:lnTo>
                  <a:pt x="158473" y="163135"/>
                </a:lnTo>
                <a:lnTo>
                  <a:pt x="0" y="0"/>
                </a:lnTo>
                <a:lnTo>
                  <a:pt x="138664" y="0"/>
                </a:lnTo>
                <a:lnTo>
                  <a:pt x="297138" y="159639"/>
                </a:lnTo>
                <a:close/>
              </a:path>
            </a:pathLst>
          </a:custGeom>
          <a:solidFill>
            <a:srgbClr val="EEF2F5"/>
          </a:solidFill>
          <a:ln w="11643" cap="flat">
            <a:noFill/>
            <a:prstDash val="solid"/>
            <a:miter/>
          </a:ln>
        </p:spPr>
        <p:txBody>
          <a:bodyPr rtlCol="0" anchor="ctr"/>
          <a:lstStyle/>
          <a:p>
            <a:endParaRPr lang="de-DE"/>
          </a:p>
        </p:txBody>
      </p:sp>
      <p:sp>
        <p:nvSpPr>
          <p:cNvPr id="282" name="Freihandform: Form 281">
            <a:extLst>
              <a:ext uri="{FF2B5EF4-FFF2-40B4-BE49-F238E27FC236}">
                <a16:creationId xmlns:a16="http://schemas.microsoft.com/office/drawing/2014/main" id="{AEC1ECE3-8272-4B6A-A4AD-2D7BCC4A4396}"/>
              </a:ext>
            </a:extLst>
          </p:cNvPr>
          <p:cNvSpPr/>
          <p:nvPr userDrawn="1"/>
        </p:nvSpPr>
        <p:spPr>
          <a:xfrm>
            <a:off x="10801860" y="4077717"/>
            <a:ext cx="297138" cy="322773"/>
          </a:xfrm>
          <a:custGeom>
            <a:avLst/>
            <a:gdLst>
              <a:gd name="connsiteX0" fmla="*/ 135168 w 297138"/>
              <a:gd name="connsiteY0" fmla="*/ 322774 h 322773"/>
              <a:gd name="connsiteX1" fmla="*/ 0 w 297138"/>
              <a:gd name="connsiteY1" fmla="*/ 322774 h 322773"/>
              <a:gd name="connsiteX2" fmla="*/ 158473 w 297138"/>
              <a:gd name="connsiteY2" fmla="*/ 163135 h 322773"/>
              <a:gd name="connsiteX3" fmla="*/ 0 w 297138"/>
              <a:gd name="connsiteY3" fmla="*/ 0 h 322773"/>
              <a:gd name="connsiteX4" fmla="*/ 138664 w 297138"/>
              <a:gd name="connsiteY4" fmla="*/ 0 h 322773"/>
              <a:gd name="connsiteX5" fmla="*/ 297138 w 297138"/>
              <a:gd name="connsiteY5" fmla="*/ 158474 h 322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2773">
                <a:moveTo>
                  <a:pt x="135168" y="322774"/>
                </a:moveTo>
                <a:lnTo>
                  <a:pt x="0" y="322774"/>
                </a:lnTo>
                <a:lnTo>
                  <a:pt x="158473" y="163135"/>
                </a:lnTo>
                <a:lnTo>
                  <a:pt x="0" y="0"/>
                </a:lnTo>
                <a:lnTo>
                  <a:pt x="138664" y="0"/>
                </a:lnTo>
                <a:lnTo>
                  <a:pt x="297138" y="158474"/>
                </a:lnTo>
                <a:close/>
              </a:path>
            </a:pathLst>
          </a:custGeom>
          <a:solidFill>
            <a:srgbClr val="EEF2F5"/>
          </a:solidFill>
          <a:ln w="11643" cap="flat">
            <a:noFill/>
            <a:prstDash val="solid"/>
            <a:miter/>
          </a:ln>
        </p:spPr>
        <p:txBody>
          <a:bodyPr rtlCol="0" anchor="ctr"/>
          <a:lstStyle/>
          <a:p>
            <a:endParaRPr lang="de-DE"/>
          </a:p>
        </p:txBody>
      </p:sp>
      <p:sp>
        <p:nvSpPr>
          <p:cNvPr id="283" name="Freihandform: Form 282">
            <a:extLst>
              <a:ext uri="{FF2B5EF4-FFF2-40B4-BE49-F238E27FC236}">
                <a16:creationId xmlns:a16="http://schemas.microsoft.com/office/drawing/2014/main" id="{AE0C999C-538B-4F36-A290-CBF6573F3D46}"/>
              </a:ext>
            </a:extLst>
          </p:cNvPr>
          <p:cNvSpPr/>
          <p:nvPr userDrawn="1"/>
        </p:nvSpPr>
        <p:spPr>
          <a:xfrm>
            <a:off x="10801860" y="4431952"/>
            <a:ext cx="297138" cy="323938"/>
          </a:xfrm>
          <a:custGeom>
            <a:avLst/>
            <a:gdLst>
              <a:gd name="connsiteX0" fmla="*/ 135168 w 297138"/>
              <a:gd name="connsiteY0" fmla="*/ 323939 h 323938"/>
              <a:gd name="connsiteX1" fmla="*/ 0 w 297138"/>
              <a:gd name="connsiteY1" fmla="*/ 323939 h 323938"/>
              <a:gd name="connsiteX2" fmla="*/ 158473 w 297138"/>
              <a:gd name="connsiteY2" fmla="*/ 163135 h 323938"/>
              <a:gd name="connsiteX3" fmla="*/ 0 w 297138"/>
              <a:gd name="connsiteY3" fmla="*/ 0 h 323938"/>
              <a:gd name="connsiteX4" fmla="*/ 138664 w 297138"/>
              <a:gd name="connsiteY4" fmla="*/ 0 h 323938"/>
              <a:gd name="connsiteX5" fmla="*/ 297138 w 297138"/>
              <a:gd name="connsiteY5" fmla="*/ 159639 h 323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3938">
                <a:moveTo>
                  <a:pt x="135168" y="323939"/>
                </a:moveTo>
                <a:lnTo>
                  <a:pt x="0" y="323939"/>
                </a:lnTo>
                <a:lnTo>
                  <a:pt x="158473" y="163135"/>
                </a:lnTo>
                <a:lnTo>
                  <a:pt x="0" y="0"/>
                </a:lnTo>
                <a:lnTo>
                  <a:pt x="138664" y="0"/>
                </a:lnTo>
                <a:lnTo>
                  <a:pt x="297138" y="159639"/>
                </a:lnTo>
                <a:close/>
              </a:path>
            </a:pathLst>
          </a:custGeom>
          <a:solidFill>
            <a:srgbClr val="EEF2F5"/>
          </a:solidFill>
          <a:ln w="11643" cap="flat">
            <a:noFill/>
            <a:prstDash val="solid"/>
            <a:miter/>
          </a:ln>
        </p:spPr>
        <p:txBody>
          <a:bodyPr rtlCol="0" anchor="ctr"/>
          <a:lstStyle/>
          <a:p>
            <a:endParaRPr lang="de-DE"/>
          </a:p>
        </p:txBody>
      </p:sp>
      <p:sp>
        <p:nvSpPr>
          <p:cNvPr id="284" name="Freihandform: Form 283">
            <a:extLst>
              <a:ext uri="{FF2B5EF4-FFF2-40B4-BE49-F238E27FC236}">
                <a16:creationId xmlns:a16="http://schemas.microsoft.com/office/drawing/2014/main" id="{9674E7D6-971D-46D3-B314-1208718A631D}"/>
              </a:ext>
            </a:extLst>
          </p:cNvPr>
          <p:cNvSpPr/>
          <p:nvPr userDrawn="1"/>
        </p:nvSpPr>
        <p:spPr>
          <a:xfrm>
            <a:off x="10801860" y="4787353"/>
            <a:ext cx="297138" cy="322773"/>
          </a:xfrm>
          <a:custGeom>
            <a:avLst/>
            <a:gdLst>
              <a:gd name="connsiteX0" fmla="*/ 135168 w 297138"/>
              <a:gd name="connsiteY0" fmla="*/ 322774 h 322773"/>
              <a:gd name="connsiteX1" fmla="*/ 0 w 297138"/>
              <a:gd name="connsiteY1" fmla="*/ 322774 h 322773"/>
              <a:gd name="connsiteX2" fmla="*/ 158473 w 297138"/>
              <a:gd name="connsiteY2" fmla="*/ 163135 h 322773"/>
              <a:gd name="connsiteX3" fmla="*/ 0 w 297138"/>
              <a:gd name="connsiteY3" fmla="*/ 0 h 322773"/>
              <a:gd name="connsiteX4" fmla="*/ 138664 w 297138"/>
              <a:gd name="connsiteY4" fmla="*/ 0 h 322773"/>
              <a:gd name="connsiteX5" fmla="*/ 297138 w 297138"/>
              <a:gd name="connsiteY5" fmla="*/ 158474 h 322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2773">
                <a:moveTo>
                  <a:pt x="135168" y="322774"/>
                </a:moveTo>
                <a:lnTo>
                  <a:pt x="0" y="322774"/>
                </a:lnTo>
                <a:lnTo>
                  <a:pt x="158473" y="163135"/>
                </a:lnTo>
                <a:lnTo>
                  <a:pt x="0" y="0"/>
                </a:lnTo>
                <a:lnTo>
                  <a:pt x="138664" y="0"/>
                </a:lnTo>
                <a:lnTo>
                  <a:pt x="297138" y="158474"/>
                </a:lnTo>
                <a:close/>
              </a:path>
            </a:pathLst>
          </a:custGeom>
          <a:solidFill>
            <a:srgbClr val="EEF2F5"/>
          </a:solidFill>
          <a:ln w="11643" cap="flat">
            <a:noFill/>
            <a:prstDash val="solid"/>
            <a:miter/>
          </a:ln>
        </p:spPr>
        <p:txBody>
          <a:bodyPr rtlCol="0" anchor="ctr"/>
          <a:lstStyle/>
          <a:p>
            <a:endParaRPr lang="de-DE"/>
          </a:p>
        </p:txBody>
      </p:sp>
      <p:sp>
        <p:nvSpPr>
          <p:cNvPr id="285" name="Freihandform: Form 284">
            <a:extLst>
              <a:ext uri="{FF2B5EF4-FFF2-40B4-BE49-F238E27FC236}">
                <a16:creationId xmlns:a16="http://schemas.microsoft.com/office/drawing/2014/main" id="{C0A29B2A-FB03-4D46-B29E-FADF405DF664}"/>
              </a:ext>
            </a:extLst>
          </p:cNvPr>
          <p:cNvSpPr/>
          <p:nvPr userDrawn="1"/>
        </p:nvSpPr>
        <p:spPr>
          <a:xfrm>
            <a:off x="10801860" y="5141588"/>
            <a:ext cx="297138" cy="323938"/>
          </a:xfrm>
          <a:custGeom>
            <a:avLst/>
            <a:gdLst>
              <a:gd name="connsiteX0" fmla="*/ 135168 w 297138"/>
              <a:gd name="connsiteY0" fmla="*/ 323939 h 323938"/>
              <a:gd name="connsiteX1" fmla="*/ 0 w 297138"/>
              <a:gd name="connsiteY1" fmla="*/ 323939 h 323938"/>
              <a:gd name="connsiteX2" fmla="*/ 158473 w 297138"/>
              <a:gd name="connsiteY2" fmla="*/ 163135 h 323938"/>
              <a:gd name="connsiteX3" fmla="*/ 0 w 297138"/>
              <a:gd name="connsiteY3" fmla="*/ 0 h 323938"/>
              <a:gd name="connsiteX4" fmla="*/ 138664 w 297138"/>
              <a:gd name="connsiteY4" fmla="*/ 0 h 323938"/>
              <a:gd name="connsiteX5" fmla="*/ 297138 w 297138"/>
              <a:gd name="connsiteY5" fmla="*/ 159639 h 323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3938">
                <a:moveTo>
                  <a:pt x="135168" y="323939"/>
                </a:moveTo>
                <a:lnTo>
                  <a:pt x="0" y="323939"/>
                </a:lnTo>
                <a:lnTo>
                  <a:pt x="158473" y="163135"/>
                </a:lnTo>
                <a:lnTo>
                  <a:pt x="0" y="0"/>
                </a:lnTo>
                <a:lnTo>
                  <a:pt x="138664" y="0"/>
                </a:lnTo>
                <a:lnTo>
                  <a:pt x="297138" y="159639"/>
                </a:lnTo>
                <a:close/>
              </a:path>
            </a:pathLst>
          </a:custGeom>
          <a:solidFill>
            <a:srgbClr val="EEF2F5"/>
          </a:solidFill>
          <a:ln w="11643" cap="flat">
            <a:noFill/>
            <a:prstDash val="solid"/>
            <a:miter/>
          </a:ln>
        </p:spPr>
        <p:txBody>
          <a:bodyPr rtlCol="0" anchor="ctr"/>
          <a:lstStyle/>
          <a:p>
            <a:endParaRPr lang="de-DE"/>
          </a:p>
        </p:txBody>
      </p:sp>
      <p:sp>
        <p:nvSpPr>
          <p:cNvPr id="286" name="Freihandform: Form 285">
            <a:extLst>
              <a:ext uri="{FF2B5EF4-FFF2-40B4-BE49-F238E27FC236}">
                <a16:creationId xmlns:a16="http://schemas.microsoft.com/office/drawing/2014/main" id="{76B80CB3-70F6-43A2-8457-55ED0DB8131D}"/>
              </a:ext>
            </a:extLst>
          </p:cNvPr>
          <p:cNvSpPr/>
          <p:nvPr userDrawn="1"/>
        </p:nvSpPr>
        <p:spPr>
          <a:xfrm>
            <a:off x="10801860" y="5496989"/>
            <a:ext cx="297138" cy="322773"/>
          </a:xfrm>
          <a:custGeom>
            <a:avLst/>
            <a:gdLst>
              <a:gd name="connsiteX0" fmla="*/ 135168 w 297138"/>
              <a:gd name="connsiteY0" fmla="*/ 322773 h 322773"/>
              <a:gd name="connsiteX1" fmla="*/ 0 w 297138"/>
              <a:gd name="connsiteY1" fmla="*/ 322773 h 322773"/>
              <a:gd name="connsiteX2" fmla="*/ 158473 w 297138"/>
              <a:gd name="connsiteY2" fmla="*/ 163135 h 322773"/>
              <a:gd name="connsiteX3" fmla="*/ 0 w 297138"/>
              <a:gd name="connsiteY3" fmla="*/ 0 h 322773"/>
              <a:gd name="connsiteX4" fmla="*/ 138664 w 297138"/>
              <a:gd name="connsiteY4" fmla="*/ 0 h 322773"/>
              <a:gd name="connsiteX5" fmla="*/ 297138 w 297138"/>
              <a:gd name="connsiteY5" fmla="*/ 158473 h 322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2773">
                <a:moveTo>
                  <a:pt x="135168" y="322773"/>
                </a:moveTo>
                <a:lnTo>
                  <a:pt x="0" y="322773"/>
                </a:lnTo>
                <a:lnTo>
                  <a:pt x="158473" y="163135"/>
                </a:lnTo>
                <a:lnTo>
                  <a:pt x="0" y="0"/>
                </a:lnTo>
                <a:lnTo>
                  <a:pt x="138664" y="0"/>
                </a:lnTo>
                <a:lnTo>
                  <a:pt x="297138" y="158473"/>
                </a:lnTo>
                <a:close/>
              </a:path>
            </a:pathLst>
          </a:custGeom>
          <a:solidFill>
            <a:srgbClr val="EEF2F5"/>
          </a:solidFill>
          <a:ln w="11643" cap="flat">
            <a:noFill/>
            <a:prstDash val="solid"/>
            <a:miter/>
          </a:ln>
        </p:spPr>
        <p:txBody>
          <a:bodyPr rtlCol="0" anchor="ctr"/>
          <a:lstStyle/>
          <a:p>
            <a:endParaRPr lang="de-DE"/>
          </a:p>
        </p:txBody>
      </p:sp>
      <p:sp>
        <p:nvSpPr>
          <p:cNvPr id="287" name="Freihandform: Form 286">
            <a:extLst>
              <a:ext uri="{FF2B5EF4-FFF2-40B4-BE49-F238E27FC236}">
                <a16:creationId xmlns:a16="http://schemas.microsoft.com/office/drawing/2014/main" id="{51E8753E-88FE-4F15-A45C-78FC0A40E063}"/>
              </a:ext>
            </a:extLst>
          </p:cNvPr>
          <p:cNvSpPr/>
          <p:nvPr userDrawn="1"/>
        </p:nvSpPr>
        <p:spPr>
          <a:xfrm>
            <a:off x="10454616" y="2667767"/>
            <a:ext cx="280824" cy="304129"/>
          </a:xfrm>
          <a:custGeom>
            <a:avLst/>
            <a:gdLst>
              <a:gd name="connsiteX0" fmla="*/ 129343 w 280824"/>
              <a:gd name="connsiteY0" fmla="*/ 304130 h 304129"/>
              <a:gd name="connsiteX1" fmla="*/ 0 w 280824"/>
              <a:gd name="connsiteY1" fmla="*/ 304130 h 304129"/>
              <a:gd name="connsiteX2" fmla="*/ 150317 w 280824"/>
              <a:gd name="connsiteY2" fmla="*/ 153813 h 304129"/>
              <a:gd name="connsiteX3" fmla="*/ 0 w 280824"/>
              <a:gd name="connsiteY3" fmla="*/ 0 h 304129"/>
              <a:gd name="connsiteX4" fmla="*/ 131673 w 280824"/>
              <a:gd name="connsiteY4" fmla="*/ 0 h 304129"/>
              <a:gd name="connsiteX5" fmla="*/ 280825 w 280824"/>
              <a:gd name="connsiteY5" fmla="*/ 149152 h 304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4129">
                <a:moveTo>
                  <a:pt x="129343" y="304130"/>
                </a:moveTo>
                <a:lnTo>
                  <a:pt x="0" y="304130"/>
                </a:lnTo>
                <a:lnTo>
                  <a:pt x="150317" y="153813"/>
                </a:lnTo>
                <a:lnTo>
                  <a:pt x="0" y="0"/>
                </a:lnTo>
                <a:lnTo>
                  <a:pt x="131673" y="0"/>
                </a:lnTo>
                <a:lnTo>
                  <a:pt x="280825" y="149152"/>
                </a:lnTo>
                <a:close/>
              </a:path>
            </a:pathLst>
          </a:custGeom>
          <a:solidFill>
            <a:srgbClr val="EEF2F5"/>
          </a:solidFill>
          <a:ln w="11643" cap="flat">
            <a:noFill/>
            <a:prstDash val="solid"/>
            <a:miter/>
          </a:ln>
        </p:spPr>
        <p:txBody>
          <a:bodyPr rtlCol="0" anchor="ctr"/>
          <a:lstStyle/>
          <a:p>
            <a:endParaRPr lang="de-DE"/>
          </a:p>
        </p:txBody>
      </p:sp>
      <p:sp>
        <p:nvSpPr>
          <p:cNvPr id="288" name="Freihandform: Form 287">
            <a:extLst>
              <a:ext uri="{FF2B5EF4-FFF2-40B4-BE49-F238E27FC236}">
                <a16:creationId xmlns:a16="http://schemas.microsoft.com/office/drawing/2014/main" id="{DDA6218D-1A23-4223-8FA4-6C66FF0014BF}"/>
              </a:ext>
            </a:extLst>
          </p:cNvPr>
          <p:cNvSpPr/>
          <p:nvPr userDrawn="1"/>
        </p:nvSpPr>
        <p:spPr>
          <a:xfrm>
            <a:off x="10454616" y="3022002"/>
            <a:ext cx="280824" cy="305294"/>
          </a:xfrm>
          <a:custGeom>
            <a:avLst/>
            <a:gdLst>
              <a:gd name="connsiteX0" fmla="*/ 129343 w 280824"/>
              <a:gd name="connsiteY0" fmla="*/ 305295 h 305294"/>
              <a:gd name="connsiteX1" fmla="*/ 0 w 280824"/>
              <a:gd name="connsiteY1" fmla="*/ 305295 h 305294"/>
              <a:gd name="connsiteX2" fmla="*/ 150317 w 280824"/>
              <a:gd name="connsiteY2" fmla="*/ 153813 h 305294"/>
              <a:gd name="connsiteX3" fmla="*/ 0 w 280824"/>
              <a:gd name="connsiteY3" fmla="*/ 0 h 305294"/>
              <a:gd name="connsiteX4" fmla="*/ 131673 w 280824"/>
              <a:gd name="connsiteY4" fmla="*/ 0 h 305294"/>
              <a:gd name="connsiteX5" fmla="*/ 280825 w 280824"/>
              <a:gd name="connsiteY5" fmla="*/ 150317 h 305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5294">
                <a:moveTo>
                  <a:pt x="129343" y="305295"/>
                </a:moveTo>
                <a:lnTo>
                  <a:pt x="0" y="305295"/>
                </a:lnTo>
                <a:lnTo>
                  <a:pt x="150317" y="153813"/>
                </a:lnTo>
                <a:lnTo>
                  <a:pt x="0" y="0"/>
                </a:lnTo>
                <a:lnTo>
                  <a:pt x="131673" y="0"/>
                </a:lnTo>
                <a:lnTo>
                  <a:pt x="280825" y="150317"/>
                </a:lnTo>
                <a:close/>
              </a:path>
            </a:pathLst>
          </a:custGeom>
          <a:solidFill>
            <a:srgbClr val="EEF2F5"/>
          </a:solidFill>
          <a:ln w="11643" cap="flat">
            <a:noFill/>
            <a:prstDash val="solid"/>
            <a:miter/>
          </a:ln>
        </p:spPr>
        <p:txBody>
          <a:bodyPr rtlCol="0" anchor="ctr"/>
          <a:lstStyle/>
          <a:p>
            <a:endParaRPr lang="de-DE"/>
          </a:p>
        </p:txBody>
      </p:sp>
      <p:sp>
        <p:nvSpPr>
          <p:cNvPr id="289" name="Freihandform: Form 288">
            <a:extLst>
              <a:ext uri="{FF2B5EF4-FFF2-40B4-BE49-F238E27FC236}">
                <a16:creationId xmlns:a16="http://schemas.microsoft.com/office/drawing/2014/main" id="{CA02237A-C045-4677-A7CD-4AE467EBE9F6}"/>
              </a:ext>
            </a:extLst>
          </p:cNvPr>
          <p:cNvSpPr/>
          <p:nvPr userDrawn="1"/>
        </p:nvSpPr>
        <p:spPr>
          <a:xfrm>
            <a:off x="10454616" y="3377403"/>
            <a:ext cx="280824" cy="304129"/>
          </a:xfrm>
          <a:custGeom>
            <a:avLst/>
            <a:gdLst>
              <a:gd name="connsiteX0" fmla="*/ 129343 w 280824"/>
              <a:gd name="connsiteY0" fmla="*/ 304130 h 304129"/>
              <a:gd name="connsiteX1" fmla="*/ 0 w 280824"/>
              <a:gd name="connsiteY1" fmla="*/ 304130 h 304129"/>
              <a:gd name="connsiteX2" fmla="*/ 150317 w 280824"/>
              <a:gd name="connsiteY2" fmla="*/ 153813 h 304129"/>
              <a:gd name="connsiteX3" fmla="*/ 0 w 280824"/>
              <a:gd name="connsiteY3" fmla="*/ 0 h 304129"/>
              <a:gd name="connsiteX4" fmla="*/ 131673 w 280824"/>
              <a:gd name="connsiteY4" fmla="*/ 0 h 304129"/>
              <a:gd name="connsiteX5" fmla="*/ 280825 w 280824"/>
              <a:gd name="connsiteY5" fmla="*/ 149152 h 304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4129">
                <a:moveTo>
                  <a:pt x="129343" y="304130"/>
                </a:moveTo>
                <a:lnTo>
                  <a:pt x="0" y="304130"/>
                </a:lnTo>
                <a:lnTo>
                  <a:pt x="150317" y="153813"/>
                </a:lnTo>
                <a:lnTo>
                  <a:pt x="0" y="0"/>
                </a:lnTo>
                <a:lnTo>
                  <a:pt x="131673" y="0"/>
                </a:lnTo>
                <a:lnTo>
                  <a:pt x="280825" y="149152"/>
                </a:lnTo>
                <a:close/>
              </a:path>
            </a:pathLst>
          </a:custGeom>
          <a:solidFill>
            <a:srgbClr val="EEF2F5"/>
          </a:solidFill>
          <a:ln w="11643" cap="flat">
            <a:noFill/>
            <a:prstDash val="solid"/>
            <a:miter/>
          </a:ln>
        </p:spPr>
        <p:txBody>
          <a:bodyPr rtlCol="0" anchor="ctr"/>
          <a:lstStyle/>
          <a:p>
            <a:endParaRPr lang="de-DE"/>
          </a:p>
        </p:txBody>
      </p:sp>
      <p:sp>
        <p:nvSpPr>
          <p:cNvPr id="290" name="Freihandform: Form 289">
            <a:extLst>
              <a:ext uri="{FF2B5EF4-FFF2-40B4-BE49-F238E27FC236}">
                <a16:creationId xmlns:a16="http://schemas.microsoft.com/office/drawing/2014/main" id="{48D1FA81-8ADF-4419-B180-C2A93B810128}"/>
              </a:ext>
            </a:extLst>
          </p:cNvPr>
          <p:cNvSpPr/>
          <p:nvPr userDrawn="1"/>
        </p:nvSpPr>
        <p:spPr>
          <a:xfrm>
            <a:off x="10454616" y="3731638"/>
            <a:ext cx="280824" cy="305294"/>
          </a:xfrm>
          <a:custGeom>
            <a:avLst/>
            <a:gdLst>
              <a:gd name="connsiteX0" fmla="*/ 129343 w 280824"/>
              <a:gd name="connsiteY0" fmla="*/ 305295 h 305294"/>
              <a:gd name="connsiteX1" fmla="*/ 0 w 280824"/>
              <a:gd name="connsiteY1" fmla="*/ 305295 h 305294"/>
              <a:gd name="connsiteX2" fmla="*/ 150317 w 280824"/>
              <a:gd name="connsiteY2" fmla="*/ 153813 h 305294"/>
              <a:gd name="connsiteX3" fmla="*/ 0 w 280824"/>
              <a:gd name="connsiteY3" fmla="*/ 0 h 305294"/>
              <a:gd name="connsiteX4" fmla="*/ 131673 w 280824"/>
              <a:gd name="connsiteY4" fmla="*/ 0 h 305294"/>
              <a:gd name="connsiteX5" fmla="*/ 280825 w 280824"/>
              <a:gd name="connsiteY5" fmla="*/ 150317 h 305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5294">
                <a:moveTo>
                  <a:pt x="129343" y="305295"/>
                </a:moveTo>
                <a:lnTo>
                  <a:pt x="0" y="305295"/>
                </a:lnTo>
                <a:lnTo>
                  <a:pt x="150317" y="153813"/>
                </a:lnTo>
                <a:lnTo>
                  <a:pt x="0" y="0"/>
                </a:lnTo>
                <a:lnTo>
                  <a:pt x="131673" y="0"/>
                </a:lnTo>
                <a:lnTo>
                  <a:pt x="280825" y="150317"/>
                </a:lnTo>
                <a:close/>
              </a:path>
            </a:pathLst>
          </a:custGeom>
          <a:solidFill>
            <a:srgbClr val="EEF2F5"/>
          </a:solidFill>
          <a:ln w="11643" cap="flat">
            <a:noFill/>
            <a:prstDash val="solid"/>
            <a:miter/>
          </a:ln>
        </p:spPr>
        <p:txBody>
          <a:bodyPr rtlCol="0" anchor="ctr"/>
          <a:lstStyle/>
          <a:p>
            <a:endParaRPr lang="de-DE"/>
          </a:p>
        </p:txBody>
      </p:sp>
      <p:sp>
        <p:nvSpPr>
          <p:cNvPr id="291" name="Freihandform: Form 290">
            <a:extLst>
              <a:ext uri="{FF2B5EF4-FFF2-40B4-BE49-F238E27FC236}">
                <a16:creationId xmlns:a16="http://schemas.microsoft.com/office/drawing/2014/main" id="{2227A2BB-D536-4940-8682-81393A39BE65}"/>
              </a:ext>
            </a:extLst>
          </p:cNvPr>
          <p:cNvSpPr/>
          <p:nvPr userDrawn="1"/>
        </p:nvSpPr>
        <p:spPr>
          <a:xfrm>
            <a:off x="10454616" y="4087039"/>
            <a:ext cx="280824" cy="304129"/>
          </a:xfrm>
          <a:custGeom>
            <a:avLst/>
            <a:gdLst>
              <a:gd name="connsiteX0" fmla="*/ 129343 w 280824"/>
              <a:gd name="connsiteY0" fmla="*/ 304130 h 304129"/>
              <a:gd name="connsiteX1" fmla="*/ 0 w 280824"/>
              <a:gd name="connsiteY1" fmla="*/ 304130 h 304129"/>
              <a:gd name="connsiteX2" fmla="*/ 150317 w 280824"/>
              <a:gd name="connsiteY2" fmla="*/ 153813 h 304129"/>
              <a:gd name="connsiteX3" fmla="*/ 0 w 280824"/>
              <a:gd name="connsiteY3" fmla="*/ 0 h 304129"/>
              <a:gd name="connsiteX4" fmla="*/ 131673 w 280824"/>
              <a:gd name="connsiteY4" fmla="*/ 0 h 304129"/>
              <a:gd name="connsiteX5" fmla="*/ 280825 w 280824"/>
              <a:gd name="connsiteY5" fmla="*/ 149152 h 304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4129">
                <a:moveTo>
                  <a:pt x="129343" y="304130"/>
                </a:moveTo>
                <a:lnTo>
                  <a:pt x="0" y="304130"/>
                </a:lnTo>
                <a:lnTo>
                  <a:pt x="150317" y="153813"/>
                </a:lnTo>
                <a:lnTo>
                  <a:pt x="0" y="0"/>
                </a:lnTo>
                <a:lnTo>
                  <a:pt x="131673" y="0"/>
                </a:lnTo>
                <a:lnTo>
                  <a:pt x="280825" y="149152"/>
                </a:lnTo>
                <a:close/>
              </a:path>
            </a:pathLst>
          </a:custGeom>
          <a:solidFill>
            <a:srgbClr val="EEF2F5"/>
          </a:solidFill>
          <a:ln w="11643" cap="flat">
            <a:noFill/>
            <a:prstDash val="solid"/>
            <a:miter/>
          </a:ln>
        </p:spPr>
        <p:txBody>
          <a:bodyPr rtlCol="0" anchor="ctr"/>
          <a:lstStyle/>
          <a:p>
            <a:endParaRPr lang="de-DE"/>
          </a:p>
        </p:txBody>
      </p:sp>
      <p:sp>
        <p:nvSpPr>
          <p:cNvPr id="292" name="Freihandform: Form 291">
            <a:extLst>
              <a:ext uri="{FF2B5EF4-FFF2-40B4-BE49-F238E27FC236}">
                <a16:creationId xmlns:a16="http://schemas.microsoft.com/office/drawing/2014/main" id="{7E206ED0-5D6B-4CC8-968C-782E0C2238F3}"/>
              </a:ext>
            </a:extLst>
          </p:cNvPr>
          <p:cNvSpPr/>
          <p:nvPr userDrawn="1"/>
        </p:nvSpPr>
        <p:spPr>
          <a:xfrm>
            <a:off x="10454616" y="4441274"/>
            <a:ext cx="280824" cy="305294"/>
          </a:xfrm>
          <a:custGeom>
            <a:avLst/>
            <a:gdLst>
              <a:gd name="connsiteX0" fmla="*/ 129343 w 280824"/>
              <a:gd name="connsiteY0" fmla="*/ 305295 h 305294"/>
              <a:gd name="connsiteX1" fmla="*/ 0 w 280824"/>
              <a:gd name="connsiteY1" fmla="*/ 305295 h 305294"/>
              <a:gd name="connsiteX2" fmla="*/ 150317 w 280824"/>
              <a:gd name="connsiteY2" fmla="*/ 153813 h 305294"/>
              <a:gd name="connsiteX3" fmla="*/ 0 w 280824"/>
              <a:gd name="connsiteY3" fmla="*/ 0 h 305294"/>
              <a:gd name="connsiteX4" fmla="*/ 131673 w 280824"/>
              <a:gd name="connsiteY4" fmla="*/ 0 h 305294"/>
              <a:gd name="connsiteX5" fmla="*/ 280825 w 280824"/>
              <a:gd name="connsiteY5" fmla="*/ 150317 h 305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5294">
                <a:moveTo>
                  <a:pt x="129343" y="305295"/>
                </a:moveTo>
                <a:lnTo>
                  <a:pt x="0" y="305295"/>
                </a:lnTo>
                <a:lnTo>
                  <a:pt x="150317" y="153813"/>
                </a:lnTo>
                <a:lnTo>
                  <a:pt x="0" y="0"/>
                </a:lnTo>
                <a:lnTo>
                  <a:pt x="131673" y="0"/>
                </a:lnTo>
                <a:lnTo>
                  <a:pt x="280825" y="150317"/>
                </a:lnTo>
                <a:close/>
              </a:path>
            </a:pathLst>
          </a:custGeom>
          <a:solidFill>
            <a:srgbClr val="EEF2F5"/>
          </a:solidFill>
          <a:ln w="11643" cap="flat">
            <a:noFill/>
            <a:prstDash val="solid"/>
            <a:miter/>
          </a:ln>
        </p:spPr>
        <p:txBody>
          <a:bodyPr rtlCol="0" anchor="ctr"/>
          <a:lstStyle/>
          <a:p>
            <a:endParaRPr lang="de-DE"/>
          </a:p>
        </p:txBody>
      </p:sp>
      <p:sp>
        <p:nvSpPr>
          <p:cNvPr id="293" name="Freihandform: Form 292">
            <a:extLst>
              <a:ext uri="{FF2B5EF4-FFF2-40B4-BE49-F238E27FC236}">
                <a16:creationId xmlns:a16="http://schemas.microsoft.com/office/drawing/2014/main" id="{F9570349-C376-4459-9BE6-66E1EB720F97}"/>
              </a:ext>
            </a:extLst>
          </p:cNvPr>
          <p:cNvSpPr/>
          <p:nvPr userDrawn="1"/>
        </p:nvSpPr>
        <p:spPr>
          <a:xfrm>
            <a:off x="10454616" y="4796675"/>
            <a:ext cx="280824" cy="304129"/>
          </a:xfrm>
          <a:custGeom>
            <a:avLst/>
            <a:gdLst>
              <a:gd name="connsiteX0" fmla="*/ 129343 w 280824"/>
              <a:gd name="connsiteY0" fmla="*/ 304130 h 304129"/>
              <a:gd name="connsiteX1" fmla="*/ 0 w 280824"/>
              <a:gd name="connsiteY1" fmla="*/ 304130 h 304129"/>
              <a:gd name="connsiteX2" fmla="*/ 150317 w 280824"/>
              <a:gd name="connsiteY2" fmla="*/ 153813 h 304129"/>
              <a:gd name="connsiteX3" fmla="*/ 0 w 280824"/>
              <a:gd name="connsiteY3" fmla="*/ 0 h 304129"/>
              <a:gd name="connsiteX4" fmla="*/ 131673 w 280824"/>
              <a:gd name="connsiteY4" fmla="*/ 0 h 304129"/>
              <a:gd name="connsiteX5" fmla="*/ 280825 w 280824"/>
              <a:gd name="connsiteY5" fmla="*/ 149152 h 304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4129">
                <a:moveTo>
                  <a:pt x="129343" y="304130"/>
                </a:moveTo>
                <a:lnTo>
                  <a:pt x="0" y="304130"/>
                </a:lnTo>
                <a:lnTo>
                  <a:pt x="150317" y="153813"/>
                </a:lnTo>
                <a:lnTo>
                  <a:pt x="0" y="0"/>
                </a:lnTo>
                <a:lnTo>
                  <a:pt x="131673" y="0"/>
                </a:lnTo>
                <a:lnTo>
                  <a:pt x="280825" y="149152"/>
                </a:lnTo>
                <a:close/>
              </a:path>
            </a:pathLst>
          </a:custGeom>
          <a:solidFill>
            <a:srgbClr val="EEF2F5"/>
          </a:solidFill>
          <a:ln w="11643" cap="flat">
            <a:noFill/>
            <a:prstDash val="solid"/>
            <a:miter/>
          </a:ln>
        </p:spPr>
        <p:txBody>
          <a:bodyPr rtlCol="0" anchor="ctr"/>
          <a:lstStyle/>
          <a:p>
            <a:endParaRPr lang="de-DE"/>
          </a:p>
        </p:txBody>
      </p:sp>
      <p:sp>
        <p:nvSpPr>
          <p:cNvPr id="294" name="Freihandform: Form 293">
            <a:extLst>
              <a:ext uri="{FF2B5EF4-FFF2-40B4-BE49-F238E27FC236}">
                <a16:creationId xmlns:a16="http://schemas.microsoft.com/office/drawing/2014/main" id="{CE3FF337-B168-4B08-BAF8-FBBA6DDEF4B3}"/>
              </a:ext>
            </a:extLst>
          </p:cNvPr>
          <p:cNvSpPr/>
          <p:nvPr userDrawn="1"/>
        </p:nvSpPr>
        <p:spPr>
          <a:xfrm>
            <a:off x="10454616" y="5150910"/>
            <a:ext cx="280824" cy="305295"/>
          </a:xfrm>
          <a:custGeom>
            <a:avLst/>
            <a:gdLst>
              <a:gd name="connsiteX0" fmla="*/ 129343 w 280824"/>
              <a:gd name="connsiteY0" fmla="*/ 305295 h 305295"/>
              <a:gd name="connsiteX1" fmla="*/ 0 w 280824"/>
              <a:gd name="connsiteY1" fmla="*/ 305295 h 305295"/>
              <a:gd name="connsiteX2" fmla="*/ 150317 w 280824"/>
              <a:gd name="connsiteY2" fmla="*/ 153813 h 305295"/>
              <a:gd name="connsiteX3" fmla="*/ 0 w 280824"/>
              <a:gd name="connsiteY3" fmla="*/ 0 h 305295"/>
              <a:gd name="connsiteX4" fmla="*/ 131673 w 280824"/>
              <a:gd name="connsiteY4" fmla="*/ 0 h 305295"/>
              <a:gd name="connsiteX5" fmla="*/ 280825 w 280824"/>
              <a:gd name="connsiteY5" fmla="*/ 150317 h 305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5295">
                <a:moveTo>
                  <a:pt x="129343" y="305295"/>
                </a:moveTo>
                <a:lnTo>
                  <a:pt x="0" y="305295"/>
                </a:lnTo>
                <a:lnTo>
                  <a:pt x="150317" y="153813"/>
                </a:lnTo>
                <a:lnTo>
                  <a:pt x="0" y="0"/>
                </a:lnTo>
                <a:lnTo>
                  <a:pt x="131673" y="0"/>
                </a:lnTo>
                <a:lnTo>
                  <a:pt x="280825" y="150317"/>
                </a:lnTo>
                <a:close/>
              </a:path>
            </a:pathLst>
          </a:custGeom>
          <a:solidFill>
            <a:srgbClr val="EEF2F5"/>
          </a:solidFill>
          <a:ln w="11643" cap="flat">
            <a:noFill/>
            <a:prstDash val="solid"/>
            <a:miter/>
          </a:ln>
        </p:spPr>
        <p:txBody>
          <a:bodyPr rtlCol="0" anchor="ctr"/>
          <a:lstStyle/>
          <a:p>
            <a:endParaRPr lang="de-DE"/>
          </a:p>
        </p:txBody>
      </p:sp>
      <p:sp>
        <p:nvSpPr>
          <p:cNvPr id="295" name="Freihandform: Form 294">
            <a:extLst>
              <a:ext uri="{FF2B5EF4-FFF2-40B4-BE49-F238E27FC236}">
                <a16:creationId xmlns:a16="http://schemas.microsoft.com/office/drawing/2014/main" id="{C15D20DE-AD5C-488E-85D6-7F573CD6FEAE}"/>
              </a:ext>
            </a:extLst>
          </p:cNvPr>
          <p:cNvSpPr/>
          <p:nvPr userDrawn="1"/>
        </p:nvSpPr>
        <p:spPr>
          <a:xfrm>
            <a:off x="10454616" y="5506311"/>
            <a:ext cx="280824" cy="305295"/>
          </a:xfrm>
          <a:custGeom>
            <a:avLst/>
            <a:gdLst>
              <a:gd name="connsiteX0" fmla="*/ 129343 w 280824"/>
              <a:gd name="connsiteY0" fmla="*/ 305295 h 305295"/>
              <a:gd name="connsiteX1" fmla="*/ 0 w 280824"/>
              <a:gd name="connsiteY1" fmla="*/ 305295 h 305295"/>
              <a:gd name="connsiteX2" fmla="*/ 150317 w 280824"/>
              <a:gd name="connsiteY2" fmla="*/ 153813 h 305295"/>
              <a:gd name="connsiteX3" fmla="*/ 0 w 280824"/>
              <a:gd name="connsiteY3" fmla="*/ 0 h 305295"/>
              <a:gd name="connsiteX4" fmla="*/ 131673 w 280824"/>
              <a:gd name="connsiteY4" fmla="*/ 0 h 305295"/>
              <a:gd name="connsiteX5" fmla="*/ 280825 w 280824"/>
              <a:gd name="connsiteY5" fmla="*/ 149152 h 305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5295">
                <a:moveTo>
                  <a:pt x="129343" y="305295"/>
                </a:moveTo>
                <a:lnTo>
                  <a:pt x="0" y="305295"/>
                </a:lnTo>
                <a:lnTo>
                  <a:pt x="150317" y="153813"/>
                </a:lnTo>
                <a:lnTo>
                  <a:pt x="0" y="0"/>
                </a:lnTo>
                <a:lnTo>
                  <a:pt x="131673" y="0"/>
                </a:lnTo>
                <a:lnTo>
                  <a:pt x="280825" y="149152"/>
                </a:lnTo>
                <a:close/>
              </a:path>
            </a:pathLst>
          </a:custGeom>
          <a:solidFill>
            <a:srgbClr val="EEF2F5"/>
          </a:solidFill>
          <a:ln w="11643" cap="flat">
            <a:noFill/>
            <a:prstDash val="solid"/>
            <a:miter/>
          </a:ln>
        </p:spPr>
        <p:txBody>
          <a:bodyPr rtlCol="0" anchor="ctr"/>
          <a:lstStyle/>
          <a:p>
            <a:endParaRPr lang="de-DE"/>
          </a:p>
        </p:txBody>
      </p:sp>
      <p:sp>
        <p:nvSpPr>
          <p:cNvPr id="296" name="Freihandform: Form 295">
            <a:extLst>
              <a:ext uri="{FF2B5EF4-FFF2-40B4-BE49-F238E27FC236}">
                <a16:creationId xmlns:a16="http://schemas.microsoft.com/office/drawing/2014/main" id="{485159D9-1543-48AC-BE82-E6BC0D080E69}"/>
              </a:ext>
            </a:extLst>
          </p:cNvPr>
          <p:cNvSpPr/>
          <p:nvPr userDrawn="1"/>
        </p:nvSpPr>
        <p:spPr>
          <a:xfrm>
            <a:off x="10454616" y="5860546"/>
            <a:ext cx="280824" cy="305295"/>
          </a:xfrm>
          <a:custGeom>
            <a:avLst/>
            <a:gdLst>
              <a:gd name="connsiteX0" fmla="*/ 129343 w 280824"/>
              <a:gd name="connsiteY0" fmla="*/ 305295 h 305295"/>
              <a:gd name="connsiteX1" fmla="*/ 0 w 280824"/>
              <a:gd name="connsiteY1" fmla="*/ 305295 h 305295"/>
              <a:gd name="connsiteX2" fmla="*/ 150317 w 280824"/>
              <a:gd name="connsiteY2" fmla="*/ 153813 h 305295"/>
              <a:gd name="connsiteX3" fmla="*/ 0 w 280824"/>
              <a:gd name="connsiteY3" fmla="*/ 0 h 305295"/>
              <a:gd name="connsiteX4" fmla="*/ 131673 w 280824"/>
              <a:gd name="connsiteY4" fmla="*/ 0 h 305295"/>
              <a:gd name="connsiteX5" fmla="*/ 280825 w 280824"/>
              <a:gd name="connsiteY5" fmla="*/ 150317 h 305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5295">
                <a:moveTo>
                  <a:pt x="129343" y="305295"/>
                </a:moveTo>
                <a:lnTo>
                  <a:pt x="0" y="305295"/>
                </a:lnTo>
                <a:lnTo>
                  <a:pt x="150317" y="153813"/>
                </a:lnTo>
                <a:lnTo>
                  <a:pt x="0" y="0"/>
                </a:lnTo>
                <a:lnTo>
                  <a:pt x="131673" y="0"/>
                </a:lnTo>
                <a:lnTo>
                  <a:pt x="280825" y="150317"/>
                </a:lnTo>
                <a:close/>
              </a:path>
            </a:pathLst>
          </a:custGeom>
          <a:solidFill>
            <a:srgbClr val="EEF2F5"/>
          </a:solidFill>
          <a:ln w="11643" cap="flat">
            <a:noFill/>
            <a:prstDash val="solid"/>
            <a:miter/>
          </a:ln>
        </p:spPr>
        <p:txBody>
          <a:bodyPr rtlCol="0" anchor="ctr"/>
          <a:lstStyle/>
          <a:p>
            <a:endParaRPr lang="de-DE"/>
          </a:p>
        </p:txBody>
      </p:sp>
      <p:sp>
        <p:nvSpPr>
          <p:cNvPr id="297" name="Freihandform: Form 296">
            <a:extLst>
              <a:ext uri="{FF2B5EF4-FFF2-40B4-BE49-F238E27FC236}">
                <a16:creationId xmlns:a16="http://schemas.microsoft.com/office/drawing/2014/main" id="{36EBE8A7-57A4-4F1C-8091-CAEE9CB87988}"/>
              </a:ext>
            </a:extLst>
          </p:cNvPr>
          <p:cNvSpPr/>
          <p:nvPr userDrawn="1"/>
        </p:nvSpPr>
        <p:spPr>
          <a:xfrm>
            <a:off x="10108537" y="2321688"/>
            <a:ext cx="264511" cy="286650"/>
          </a:xfrm>
          <a:custGeom>
            <a:avLst/>
            <a:gdLst>
              <a:gd name="connsiteX0" fmla="*/ 121186 w 264511"/>
              <a:gd name="connsiteY0" fmla="*/ 286651 h 286650"/>
              <a:gd name="connsiteX1" fmla="*/ 0 w 264511"/>
              <a:gd name="connsiteY1" fmla="*/ 286651 h 286650"/>
              <a:gd name="connsiteX2" fmla="*/ 140995 w 264511"/>
              <a:gd name="connsiteY2" fmla="*/ 144491 h 286650"/>
              <a:gd name="connsiteX3" fmla="*/ 0 w 264511"/>
              <a:gd name="connsiteY3" fmla="*/ 0 h 286650"/>
              <a:gd name="connsiteX4" fmla="*/ 123516 w 264511"/>
              <a:gd name="connsiteY4" fmla="*/ 0 h 286650"/>
              <a:gd name="connsiteX5" fmla="*/ 264511 w 264511"/>
              <a:gd name="connsiteY5" fmla="*/ 140995 h 28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0">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298" name="Freihandform: Form 297">
            <a:extLst>
              <a:ext uri="{FF2B5EF4-FFF2-40B4-BE49-F238E27FC236}">
                <a16:creationId xmlns:a16="http://schemas.microsoft.com/office/drawing/2014/main" id="{12914A54-FA8E-4B49-A2DE-518D9ADF7310}"/>
              </a:ext>
            </a:extLst>
          </p:cNvPr>
          <p:cNvSpPr/>
          <p:nvPr userDrawn="1"/>
        </p:nvSpPr>
        <p:spPr>
          <a:xfrm>
            <a:off x="10108537" y="2675924"/>
            <a:ext cx="264511" cy="286650"/>
          </a:xfrm>
          <a:custGeom>
            <a:avLst/>
            <a:gdLst>
              <a:gd name="connsiteX0" fmla="*/ 121186 w 264511"/>
              <a:gd name="connsiteY0" fmla="*/ 286651 h 286650"/>
              <a:gd name="connsiteX1" fmla="*/ 0 w 264511"/>
              <a:gd name="connsiteY1" fmla="*/ 286651 h 286650"/>
              <a:gd name="connsiteX2" fmla="*/ 140995 w 264511"/>
              <a:gd name="connsiteY2" fmla="*/ 144491 h 286650"/>
              <a:gd name="connsiteX3" fmla="*/ 0 w 264511"/>
              <a:gd name="connsiteY3" fmla="*/ 0 h 286650"/>
              <a:gd name="connsiteX4" fmla="*/ 123516 w 264511"/>
              <a:gd name="connsiteY4" fmla="*/ 0 h 286650"/>
              <a:gd name="connsiteX5" fmla="*/ 264511 w 264511"/>
              <a:gd name="connsiteY5" fmla="*/ 140995 h 28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0">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299" name="Freihandform: Form 298">
            <a:extLst>
              <a:ext uri="{FF2B5EF4-FFF2-40B4-BE49-F238E27FC236}">
                <a16:creationId xmlns:a16="http://schemas.microsoft.com/office/drawing/2014/main" id="{97E9631F-C090-4F92-B4E6-D6A88933B227}"/>
              </a:ext>
            </a:extLst>
          </p:cNvPr>
          <p:cNvSpPr/>
          <p:nvPr userDrawn="1"/>
        </p:nvSpPr>
        <p:spPr>
          <a:xfrm>
            <a:off x="10108537" y="3031324"/>
            <a:ext cx="264511" cy="286650"/>
          </a:xfrm>
          <a:custGeom>
            <a:avLst/>
            <a:gdLst>
              <a:gd name="connsiteX0" fmla="*/ 121186 w 264511"/>
              <a:gd name="connsiteY0" fmla="*/ 286651 h 286650"/>
              <a:gd name="connsiteX1" fmla="*/ 0 w 264511"/>
              <a:gd name="connsiteY1" fmla="*/ 286651 h 286650"/>
              <a:gd name="connsiteX2" fmla="*/ 140995 w 264511"/>
              <a:gd name="connsiteY2" fmla="*/ 144491 h 286650"/>
              <a:gd name="connsiteX3" fmla="*/ 0 w 264511"/>
              <a:gd name="connsiteY3" fmla="*/ 0 h 286650"/>
              <a:gd name="connsiteX4" fmla="*/ 123516 w 264511"/>
              <a:gd name="connsiteY4" fmla="*/ 0 h 286650"/>
              <a:gd name="connsiteX5" fmla="*/ 264511 w 264511"/>
              <a:gd name="connsiteY5" fmla="*/ 140995 h 28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0">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300" name="Freihandform: Form 299">
            <a:extLst>
              <a:ext uri="{FF2B5EF4-FFF2-40B4-BE49-F238E27FC236}">
                <a16:creationId xmlns:a16="http://schemas.microsoft.com/office/drawing/2014/main" id="{D1807030-A146-49E6-AB2C-56E585B0AEE6}"/>
              </a:ext>
            </a:extLst>
          </p:cNvPr>
          <p:cNvSpPr/>
          <p:nvPr userDrawn="1"/>
        </p:nvSpPr>
        <p:spPr>
          <a:xfrm>
            <a:off x="10108537" y="3385560"/>
            <a:ext cx="264511" cy="287816"/>
          </a:xfrm>
          <a:custGeom>
            <a:avLst/>
            <a:gdLst>
              <a:gd name="connsiteX0" fmla="*/ 121186 w 264511"/>
              <a:gd name="connsiteY0" fmla="*/ 287816 h 287816"/>
              <a:gd name="connsiteX1" fmla="*/ 0 w 264511"/>
              <a:gd name="connsiteY1" fmla="*/ 287816 h 287816"/>
              <a:gd name="connsiteX2" fmla="*/ 140995 w 264511"/>
              <a:gd name="connsiteY2" fmla="*/ 145656 h 287816"/>
              <a:gd name="connsiteX3" fmla="*/ 0 w 264511"/>
              <a:gd name="connsiteY3" fmla="*/ 0 h 287816"/>
              <a:gd name="connsiteX4" fmla="*/ 123516 w 264511"/>
              <a:gd name="connsiteY4" fmla="*/ 0 h 287816"/>
              <a:gd name="connsiteX5" fmla="*/ 264511 w 264511"/>
              <a:gd name="connsiteY5" fmla="*/ 140995 h 287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7816">
                <a:moveTo>
                  <a:pt x="121186" y="287816"/>
                </a:moveTo>
                <a:lnTo>
                  <a:pt x="0" y="287816"/>
                </a:lnTo>
                <a:lnTo>
                  <a:pt x="140995" y="145656"/>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301" name="Freihandform: Form 300">
            <a:extLst>
              <a:ext uri="{FF2B5EF4-FFF2-40B4-BE49-F238E27FC236}">
                <a16:creationId xmlns:a16="http://schemas.microsoft.com/office/drawing/2014/main" id="{CCFC5FBA-0587-4C1B-8639-CB3CC05103F5}"/>
              </a:ext>
            </a:extLst>
          </p:cNvPr>
          <p:cNvSpPr/>
          <p:nvPr userDrawn="1"/>
        </p:nvSpPr>
        <p:spPr>
          <a:xfrm>
            <a:off x="10108537" y="3740960"/>
            <a:ext cx="264511" cy="286651"/>
          </a:xfrm>
          <a:custGeom>
            <a:avLst/>
            <a:gdLst>
              <a:gd name="connsiteX0" fmla="*/ 121186 w 264511"/>
              <a:gd name="connsiteY0" fmla="*/ 286651 h 286651"/>
              <a:gd name="connsiteX1" fmla="*/ 0 w 264511"/>
              <a:gd name="connsiteY1" fmla="*/ 286651 h 286651"/>
              <a:gd name="connsiteX2" fmla="*/ 140995 w 264511"/>
              <a:gd name="connsiteY2" fmla="*/ 144491 h 286651"/>
              <a:gd name="connsiteX3" fmla="*/ 0 w 264511"/>
              <a:gd name="connsiteY3" fmla="*/ 0 h 286651"/>
              <a:gd name="connsiteX4" fmla="*/ 123516 w 264511"/>
              <a:gd name="connsiteY4" fmla="*/ 0 h 286651"/>
              <a:gd name="connsiteX5" fmla="*/ 264511 w 264511"/>
              <a:gd name="connsiteY5" fmla="*/ 140995 h 286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1">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302" name="Freihandform: Form 301">
            <a:extLst>
              <a:ext uri="{FF2B5EF4-FFF2-40B4-BE49-F238E27FC236}">
                <a16:creationId xmlns:a16="http://schemas.microsoft.com/office/drawing/2014/main" id="{393FFB20-CDB2-4370-BF23-8869FAE8F232}"/>
              </a:ext>
            </a:extLst>
          </p:cNvPr>
          <p:cNvSpPr/>
          <p:nvPr userDrawn="1"/>
        </p:nvSpPr>
        <p:spPr>
          <a:xfrm>
            <a:off x="10108537" y="4095195"/>
            <a:ext cx="264511" cy="287816"/>
          </a:xfrm>
          <a:custGeom>
            <a:avLst/>
            <a:gdLst>
              <a:gd name="connsiteX0" fmla="*/ 121186 w 264511"/>
              <a:gd name="connsiteY0" fmla="*/ 287816 h 287816"/>
              <a:gd name="connsiteX1" fmla="*/ 0 w 264511"/>
              <a:gd name="connsiteY1" fmla="*/ 287816 h 287816"/>
              <a:gd name="connsiteX2" fmla="*/ 140995 w 264511"/>
              <a:gd name="connsiteY2" fmla="*/ 145656 h 287816"/>
              <a:gd name="connsiteX3" fmla="*/ 0 w 264511"/>
              <a:gd name="connsiteY3" fmla="*/ 0 h 287816"/>
              <a:gd name="connsiteX4" fmla="*/ 123516 w 264511"/>
              <a:gd name="connsiteY4" fmla="*/ 0 h 287816"/>
              <a:gd name="connsiteX5" fmla="*/ 264511 w 264511"/>
              <a:gd name="connsiteY5" fmla="*/ 140995 h 287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7816">
                <a:moveTo>
                  <a:pt x="121186" y="287816"/>
                </a:moveTo>
                <a:lnTo>
                  <a:pt x="0" y="287816"/>
                </a:lnTo>
                <a:lnTo>
                  <a:pt x="140995" y="145656"/>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303" name="Freihandform: Form 302">
            <a:extLst>
              <a:ext uri="{FF2B5EF4-FFF2-40B4-BE49-F238E27FC236}">
                <a16:creationId xmlns:a16="http://schemas.microsoft.com/office/drawing/2014/main" id="{9A02CBB0-C3FE-4C5B-8752-F2E84565BB37}"/>
              </a:ext>
            </a:extLst>
          </p:cNvPr>
          <p:cNvSpPr/>
          <p:nvPr userDrawn="1"/>
        </p:nvSpPr>
        <p:spPr>
          <a:xfrm>
            <a:off x="10108537" y="4450596"/>
            <a:ext cx="264511" cy="286651"/>
          </a:xfrm>
          <a:custGeom>
            <a:avLst/>
            <a:gdLst>
              <a:gd name="connsiteX0" fmla="*/ 121186 w 264511"/>
              <a:gd name="connsiteY0" fmla="*/ 286651 h 286651"/>
              <a:gd name="connsiteX1" fmla="*/ 0 w 264511"/>
              <a:gd name="connsiteY1" fmla="*/ 286651 h 286651"/>
              <a:gd name="connsiteX2" fmla="*/ 140995 w 264511"/>
              <a:gd name="connsiteY2" fmla="*/ 144491 h 286651"/>
              <a:gd name="connsiteX3" fmla="*/ 0 w 264511"/>
              <a:gd name="connsiteY3" fmla="*/ 0 h 286651"/>
              <a:gd name="connsiteX4" fmla="*/ 123516 w 264511"/>
              <a:gd name="connsiteY4" fmla="*/ 0 h 286651"/>
              <a:gd name="connsiteX5" fmla="*/ 264511 w 264511"/>
              <a:gd name="connsiteY5" fmla="*/ 140995 h 286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1">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304" name="Freihandform: Form 303">
            <a:extLst>
              <a:ext uri="{FF2B5EF4-FFF2-40B4-BE49-F238E27FC236}">
                <a16:creationId xmlns:a16="http://schemas.microsoft.com/office/drawing/2014/main" id="{1C43B92A-432B-470A-ABA2-5D306B91CF22}"/>
              </a:ext>
            </a:extLst>
          </p:cNvPr>
          <p:cNvSpPr/>
          <p:nvPr userDrawn="1"/>
        </p:nvSpPr>
        <p:spPr>
          <a:xfrm>
            <a:off x="10108537" y="4805997"/>
            <a:ext cx="264511" cy="286651"/>
          </a:xfrm>
          <a:custGeom>
            <a:avLst/>
            <a:gdLst>
              <a:gd name="connsiteX0" fmla="*/ 121186 w 264511"/>
              <a:gd name="connsiteY0" fmla="*/ 286651 h 286651"/>
              <a:gd name="connsiteX1" fmla="*/ 0 w 264511"/>
              <a:gd name="connsiteY1" fmla="*/ 286651 h 286651"/>
              <a:gd name="connsiteX2" fmla="*/ 140995 w 264511"/>
              <a:gd name="connsiteY2" fmla="*/ 144491 h 286651"/>
              <a:gd name="connsiteX3" fmla="*/ 0 w 264511"/>
              <a:gd name="connsiteY3" fmla="*/ 0 h 286651"/>
              <a:gd name="connsiteX4" fmla="*/ 123516 w 264511"/>
              <a:gd name="connsiteY4" fmla="*/ 0 h 286651"/>
              <a:gd name="connsiteX5" fmla="*/ 264511 w 264511"/>
              <a:gd name="connsiteY5" fmla="*/ 139830 h 286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1">
                <a:moveTo>
                  <a:pt x="121186" y="286651"/>
                </a:moveTo>
                <a:lnTo>
                  <a:pt x="0" y="286651"/>
                </a:lnTo>
                <a:lnTo>
                  <a:pt x="140995" y="144491"/>
                </a:lnTo>
                <a:lnTo>
                  <a:pt x="0" y="0"/>
                </a:lnTo>
                <a:lnTo>
                  <a:pt x="123516" y="0"/>
                </a:lnTo>
                <a:lnTo>
                  <a:pt x="264511" y="139830"/>
                </a:lnTo>
                <a:close/>
              </a:path>
            </a:pathLst>
          </a:custGeom>
          <a:solidFill>
            <a:srgbClr val="EEF2F5"/>
          </a:solidFill>
          <a:ln w="11643" cap="flat">
            <a:noFill/>
            <a:prstDash val="solid"/>
            <a:miter/>
          </a:ln>
        </p:spPr>
        <p:txBody>
          <a:bodyPr rtlCol="0" anchor="ctr"/>
          <a:lstStyle/>
          <a:p>
            <a:endParaRPr lang="de-DE"/>
          </a:p>
        </p:txBody>
      </p:sp>
      <p:sp>
        <p:nvSpPr>
          <p:cNvPr id="305" name="Freihandform: Form 304">
            <a:extLst>
              <a:ext uri="{FF2B5EF4-FFF2-40B4-BE49-F238E27FC236}">
                <a16:creationId xmlns:a16="http://schemas.microsoft.com/office/drawing/2014/main" id="{CF1224C7-9BEE-46A0-BB68-D697A73A4963}"/>
              </a:ext>
            </a:extLst>
          </p:cNvPr>
          <p:cNvSpPr/>
          <p:nvPr userDrawn="1"/>
        </p:nvSpPr>
        <p:spPr>
          <a:xfrm>
            <a:off x="10108537" y="5160232"/>
            <a:ext cx="264511" cy="286651"/>
          </a:xfrm>
          <a:custGeom>
            <a:avLst/>
            <a:gdLst>
              <a:gd name="connsiteX0" fmla="*/ 121186 w 264511"/>
              <a:gd name="connsiteY0" fmla="*/ 286651 h 286651"/>
              <a:gd name="connsiteX1" fmla="*/ 0 w 264511"/>
              <a:gd name="connsiteY1" fmla="*/ 286651 h 286651"/>
              <a:gd name="connsiteX2" fmla="*/ 140995 w 264511"/>
              <a:gd name="connsiteY2" fmla="*/ 144491 h 286651"/>
              <a:gd name="connsiteX3" fmla="*/ 0 w 264511"/>
              <a:gd name="connsiteY3" fmla="*/ 0 h 286651"/>
              <a:gd name="connsiteX4" fmla="*/ 123516 w 264511"/>
              <a:gd name="connsiteY4" fmla="*/ 0 h 286651"/>
              <a:gd name="connsiteX5" fmla="*/ 264511 w 264511"/>
              <a:gd name="connsiteY5" fmla="*/ 140995 h 286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1">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306" name="Freihandform: Form 305">
            <a:extLst>
              <a:ext uri="{FF2B5EF4-FFF2-40B4-BE49-F238E27FC236}">
                <a16:creationId xmlns:a16="http://schemas.microsoft.com/office/drawing/2014/main" id="{ADBF69A7-DE39-4CA9-B0E6-95F65333D170}"/>
              </a:ext>
            </a:extLst>
          </p:cNvPr>
          <p:cNvSpPr/>
          <p:nvPr userDrawn="1"/>
        </p:nvSpPr>
        <p:spPr>
          <a:xfrm>
            <a:off x="10108537" y="5515633"/>
            <a:ext cx="264511" cy="286651"/>
          </a:xfrm>
          <a:custGeom>
            <a:avLst/>
            <a:gdLst>
              <a:gd name="connsiteX0" fmla="*/ 121186 w 264511"/>
              <a:gd name="connsiteY0" fmla="*/ 286651 h 286651"/>
              <a:gd name="connsiteX1" fmla="*/ 0 w 264511"/>
              <a:gd name="connsiteY1" fmla="*/ 286651 h 286651"/>
              <a:gd name="connsiteX2" fmla="*/ 140995 w 264511"/>
              <a:gd name="connsiteY2" fmla="*/ 144491 h 286651"/>
              <a:gd name="connsiteX3" fmla="*/ 0 w 264511"/>
              <a:gd name="connsiteY3" fmla="*/ 0 h 286651"/>
              <a:gd name="connsiteX4" fmla="*/ 123516 w 264511"/>
              <a:gd name="connsiteY4" fmla="*/ 0 h 286651"/>
              <a:gd name="connsiteX5" fmla="*/ 264511 w 264511"/>
              <a:gd name="connsiteY5" fmla="*/ 140995 h 286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1">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307" name="Freihandform: Form 306">
            <a:extLst>
              <a:ext uri="{FF2B5EF4-FFF2-40B4-BE49-F238E27FC236}">
                <a16:creationId xmlns:a16="http://schemas.microsoft.com/office/drawing/2014/main" id="{7D9BE8A4-E861-44BD-82FB-0C83AE43E3F5}"/>
              </a:ext>
            </a:extLst>
          </p:cNvPr>
          <p:cNvSpPr/>
          <p:nvPr userDrawn="1"/>
        </p:nvSpPr>
        <p:spPr>
          <a:xfrm>
            <a:off x="10108537" y="5869868"/>
            <a:ext cx="264511" cy="286650"/>
          </a:xfrm>
          <a:custGeom>
            <a:avLst/>
            <a:gdLst>
              <a:gd name="connsiteX0" fmla="*/ 121186 w 264511"/>
              <a:gd name="connsiteY0" fmla="*/ 286651 h 286650"/>
              <a:gd name="connsiteX1" fmla="*/ 0 w 264511"/>
              <a:gd name="connsiteY1" fmla="*/ 286651 h 286650"/>
              <a:gd name="connsiteX2" fmla="*/ 140995 w 264511"/>
              <a:gd name="connsiteY2" fmla="*/ 144491 h 286650"/>
              <a:gd name="connsiteX3" fmla="*/ 0 w 264511"/>
              <a:gd name="connsiteY3" fmla="*/ 0 h 286650"/>
              <a:gd name="connsiteX4" fmla="*/ 123516 w 264511"/>
              <a:gd name="connsiteY4" fmla="*/ 0 h 286650"/>
              <a:gd name="connsiteX5" fmla="*/ 264511 w 264511"/>
              <a:gd name="connsiteY5" fmla="*/ 140995 h 28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0">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308" name="Freihandform: Form 307">
            <a:extLst>
              <a:ext uri="{FF2B5EF4-FFF2-40B4-BE49-F238E27FC236}">
                <a16:creationId xmlns:a16="http://schemas.microsoft.com/office/drawing/2014/main" id="{5F752DD3-B30C-4D0A-944E-3ED3945D0A70}"/>
              </a:ext>
            </a:extLst>
          </p:cNvPr>
          <p:cNvSpPr/>
          <p:nvPr userDrawn="1"/>
        </p:nvSpPr>
        <p:spPr>
          <a:xfrm>
            <a:off x="10108537" y="6225269"/>
            <a:ext cx="264511" cy="286650"/>
          </a:xfrm>
          <a:custGeom>
            <a:avLst/>
            <a:gdLst>
              <a:gd name="connsiteX0" fmla="*/ 121186 w 264511"/>
              <a:gd name="connsiteY0" fmla="*/ 286651 h 286650"/>
              <a:gd name="connsiteX1" fmla="*/ 0 w 264511"/>
              <a:gd name="connsiteY1" fmla="*/ 286651 h 286650"/>
              <a:gd name="connsiteX2" fmla="*/ 140995 w 264511"/>
              <a:gd name="connsiteY2" fmla="*/ 144491 h 286650"/>
              <a:gd name="connsiteX3" fmla="*/ 0 w 264511"/>
              <a:gd name="connsiteY3" fmla="*/ 0 h 286650"/>
              <a:gd name="connsiteX4" fmla="*/ 123516 w 264511"/>
              <a:gd name="connsiteY4" fmla="*/ 0 h 286650"/>
              <a:gd name="connsiteX5" fmla="*/ 264511 w 264511"/>
              <a:gd name="connsiteY5" fmla="*/ 140995 h 28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0">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309" name="Freihandform: Form 308">
            <a:extLst>
              <a:ext uri="{FF2B5EF4-FFF2-40B4-BE49-F238E27FC236}">
                <a16:creationId xmlns:a16="http://schemas.microsoft.com/office/drawing/2014/main" id="{B2C8C5D0-33C1-4654-B293-E6B9182B14E5}"/>
              </a:ext>
            </a:extLst>
          </p:cNvPr>
          <p:cNvSpPr/>
          <p:nvPr userDrawn="1"/>
        </p:nvSpPr>
        <p:spPr>
          <a:xfrm>
            <a:off x="4909201" y="2101456"/>
            <a:ext cx="16313" cy="17478"/>
          </a:xfrm>
          <a:custGeom>
            <a:avLst/>
            <a:gdLst>
              <a:gd name="connsiteX0" fmla="*/ 8157 w 16313"/>
              <a:gd name="connsiteY0" fmla="*/ 17479 h 17478"/>
              <a:gd name="connsiteX1" fmla="*/ 0 w 16313"/>
              <a:gd name="connsiteY1" fmla="*/ 17479 h 17478"/>
              <a:gd name="connsiteX2" fmla="*/ 9322 w 16313"/>
              <a:gd name="connsiteY2" fmla="*/ 8157 h 17478"/>
              <a:gd name="connsiteX3" fmla="*/ 0 w 16313"/>
              <a:gd name="connsiteY3" fmla="*/ 0 h 17478"/>
              <a:gd name="connsiteX4" fmla="*/ 8157 w 16313"/>
              <a:gd name="connsiteY4" fmla="*/ 0 h 17478"/>
              <a:gd name="connsiteX5" fmla="*/ 16313 w 16313"/>
              <a:gd name="connsiteY5" fmla="*/ 8157 h 17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13" h="17478">
                <a:moveTo>
                  <a:pt x="8157" y="17479"/>
                </a:moveTo>
                <a:lnTo>
                  <a:pt x="0" y="17479"/>
                </a:lnTo>
                <a:lnTo>
                  <a:pt x="9322" y="8157"/>
                </a:lnTo>
                <a:lnTo>
                  <a:pt x="0" y="0"/>
                </a:lnTo>
                <a:lnTo>
                  <a:pt x="8157" y="0"/>
                </a:lnTo>
                <a:lnTo>
                  <a:pt x="16313" y="8157"/>
                </a:lnTo>
                <a:close/>
              </a:path>
            </a:pathLst>
          </a:custGeom>
          <a:solidFill>
            <a:srgbClr val="EEF2F5"/>
          </a:solidFill>
          <a:ln w="11643" cap="flat">
            <a:noFill/>
            <a:prstDash val="solid"/>
            <a:miter/>
          </a:ln>
        </p:spPr>
        <p:txBody>
          <a:bodyPr rtlCol="0" anchor="ctr"/>
          <a:lstStyle/>
          <a:p>
            <a:endParaRPr lang="de-DE"/>
          </a:p>
        </p:txBody>
      </p:sp>
      <p:sp>
        <p:nvSpPr>
          <p:cNvPr id="310" name="Freihandform: Form 309">
            <a:extLst>
              <a:ext uri="{FF2B5EF4-FFF2-40B4-BE49-F238E27FC236}">
                <a16:creationId xmlns:a16="http://schemas.microsoft.com/office/drawing/2014/main" id="{329A36A9-5A2C-4AC1-96F3-AFA20EF6DDEB}"/>
              </a:ext>
            </a:extLst>
          </p:cNvPr>
          <p:cNvSpPr/>
          <p:nvPr userDrawn="1"/>
        </p:nvSpPr>
        <p:spPr>
          <a:xfrm>
            <a:off x="4909201" y="2455692"/>
            <a:ext cx="16313" cy="18643"/>
          </a:xfrm>
          <a:custGeom>
            <a:avLst/>
            <a:gdLst>
              <a:gd name="connsiteX0" fmla="*/ 8157 w 16313"/>
              <a:gd name="connsiteY0" fmla="*/ 18644 h 18643"/>
              <a:gd name="connsiteX1" fmla="*/ 0 w 16313"/>
              <a:gd name="connsiteY1" fmla="*/ 18644 h 18643"/>
              <a:gd name="connsiteX2" fmla="*/ 9322 w 16313"/>
              <a:gd name="connsiteY2" fmla="*/ 9322 h 18643"/>
              <a:gd name="connsiteX3" fmla="*/ 0 w 16313"/>
              <a:gd name="connsiteY3" fmla="*/ 0 h 18643"/>
              <a:gd name="connsiteX4" fmla="*/ 8157 w 16313"/>
              <a:gd name="connsiteY4" fmla="*/ 0 h 18643"/>
              <a:gd name="connsiteX5" fmla="*/ 16313 w 16313"/>
              <a:gd name="connsiteY5" fmla="*/ 9322 h 18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13" h="18643">
                <a:moveTo>
                  <a:pt x="8157" y="18644"/>
                </a:moveTo>
                <a:lnTo>
                  <a:pt x="0" y="18644"/>
                </a:lnTo>
                <a:lnTo>
                  <a:pt x="9322" y="9322"/>
                </a:lnTo>
                <a:lnTo>
                  <a:pt x="0" y="0"/>
                </a:lnTo>
                <a:lnTo>
                  <a:pt x="8157" y="0"/>
                </a:lnTo>
                <a:lnTo>
                  <a:pt x="16313" y="9322"/>
                </a:lnTo>
                <a:close/>
              </a:path>
            </a:pathLst>
          </a:custGeom>
          <a:solidFill>
            <a:srgbClr val="EEF2F5"/>
          </a:solidFill>
          <a:ln w="11643" cap="flat">
            <a:noFill/>
            <a:prstDash val="solid"/>
            <a:miter/>
          </a:ln>
        </p:spPr>
        <p:txBody>
          <a:bodyPr rtlCol="0" anchor="ctr"/>
          <a:lstStyle/>
          <a:p>
            <a:endParaRPr lang="de-DE"/>
          </a:p>
        </p:txBody>
      </p:sp>
      <p:sp>
        <p:nvSpPr>
          <p:cNvPr id="311" name="Freihandform: Form 310">
            <a:extLst>
              <a:ext uri="{FF2B5EF4-FFF2-40B4-BE49-F238E27FC236}">
                <a16:creationId xmlns:a16="http://schemas.microsoft.com/office/drawing/2014/main" id="{84957465-0B73-4E55-8E53-1C8F5B558178}"/>
              </a:ext>
            </a:extLst>
          </p:cNvPr>
          <p:cNvSpPr/>
          <p:nvPr userDrawn="1"/>
        </p:nvSpPr>
        <p:spPr>
          <a:xfrm>
            <a:off x="4909201" y="2811092"/>
            <a:ext cx="16313" cy="17478"/>
          </a:xfrm>
          <a:custGeom>
            <a:avLst/>
            <a:gdLst>
              <a:gd name="connsiteX0" fmla="*/ 8157 w 16313"/>
              <a:gd name="connsiteY0" fmla="*/ 17479 h 17478"/>
              <a:gd name="connsiteX1" fmla="*/ 0 w 16313"/>
              <a:gd name="connsiteY1" fmla="*/ 17479 h 17478"/>
              <a:gd name="connsiteX2" fmla="*/ 9322 w 16313"/>
              <a:gd name="connsiteY2" fmla="*/ 8157 h 17478"/>
              <a:gd name="connsiteX3" fmla="*/ 0 w 16313"/>
              <a:gd name="connsiteY3" fmla="*/ 0 h 17478"/>
              <a:gd name="connsiteX4" fmla="*/ 8157 w 16313"/>
              <a:gd name="connsiteY4" fmla="*/ 0 h 17478"/>
              <a:gd name="connsiteX5" fmla="*/ 16313 w 16313"/>
              <a:gd name="connsiteY5" fmla="*/ 8157 h 17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13" h="17478">
                <a:moveTo>
                  <a:pt x="8157" y="17479"/>
                </a:moveTo>
                <a:lnTo>
                  <a:pt x="0" y="17479"/>
                </a:lnTo>
                <a:lnTo>
                  <a:pt x="9322" y="8157"/>
                </a:lnTo>
                <a:lnTo>
                  <a:pt x="0" y="0"/>
                </a:lnTo>
                <a:lnTo>
                  <a:pt x="8157" y="0"/>
                </a:lnTo>
                <a:lnTo>
                  <a:pt x="16313" y="8157"/>
                </a:lnTo>
                <a:close/>
              </a:path>
            </a:pathLst>
          </a:custGeom>
          <a:solidFill>
            <a:srgbClr val="EEF2F5"/>
          </a:solidFill>
          <a:ln w="11643" cap="flat">
            <a:noFill/>
            <a:prstDash val="solid"/>
            <a:miter/>
          </a:ln>
        </p:spPr>
        <p:txBody>
          <a:bodyPr rtlCol="0" anchor="ctr"/>
          <a:lstStyle/>
          <a:p>
            <a:endParaRPr lang="de-DE"/>
          </a:p>
        </p:txBody>
      </p:sp>
      <p:sp>
        <p:nvSpPr>
          <p:cNvPr id="312" name="Freihandform: Form 311">
            <a:extLst>
              <a:ext uri="{FF2B5EF4-FFF2-40B4-BE49-F238E27FC236}">
                <a16:creationId xmlns:a16="http://schemas.microsoft.com/office/drawing/2014/main" id="{87FB61E4-1ACD-4B14-BC93-A9AC520FBB33}"/>
              </a:ext>
            </a:extLst>
          </p:cNvPr>
          <p:cNvSpPr/>
          <p:nvPr userDrawn="1"/>
        </p:nvSpPr>
        <p:spPr>
          <a:xfrm>
            <a:off x="4909201" y="6359273"/>
            <a:ext cx="16313" cy="18643"/>
          </a:xfrm>
          <a:custGeom>
            <a:avLst/>
            <a:gdLst>
              <a:gd name="connsiteX0" fmla="*/ 8157 w 16313"/>
              <a:gd name="connsiteY0" fmla="*/ 18644 h 18643"/>
              <a:gd name="connsiteX1" fmla="*/ 0 w 16313"/>
              <a:gd name="connsiteY1" fmla="*/ 18644 h 18643"/>
              <a:gd name="connsiteX2" fmla="*/ 9322 w 16313"/>
              <a:gd name="connsiteY2" fmla="*/ 9322 h 18643"/>
              <a:gd name="connsiteX3" fmla="*/ 0 w 16313"/>
              <a:gd name="connsiteY3" fmla="*/ 0 h 18643"/>
              <a:gd name="connsiteX4" fmla="*/ 8157 w 16313"/>
              <a:gd name="connsiteY4" fmla="*/ 0 h 18643"/>
              <a:gd name="connsiteX5" fmla="*/ 16313 w 16313"/>
              <a:gd name="connsiteY5" fmla="*/ 9322 h 18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13" h="18643">
                <a:moveTo>
                  <a:pt x="8157" y="18644"/>
                </a:moveTo>
                <a:lnTo>
                  <a:pt x="0" y="18644"/>
                </a:lnTo>
                <a:lnTo>
                  <a:pt x="9322" y="9322"/>
                </a:lnTo>
                <a:lnTo>
                  <a:pt x="0" y="0"/>
                </a:lnTo>
                <a:lnTo>
                  <a:pt x="8157" y="0"/>
                </a:lnTo>
                <a:lnTo>
                  <a:pt x="16313" y="9322"/>
                </a:lnTo>
                <a:close/>
              </a:path>
            </a:pathLst>
          </a:custGeom>
          <a:solidFill>
            <a:srgbClr val="EEF2F5"/>
          </a:solidFill>
          <a:ln w="11643" cap="flat">
            <a:noFill/>
            <a:prstDash val="solid"/>
            <a:miter/>
          </a:ln>
        </p:spPr>
        <p:txBody>
          <a:bodyPr rtlCol="0" anchor="ctr"/>
          <a:lstStyle/>
          <a:p>
            <a:endParaRPr lang="de-DE"/>
          </a:p>
        </p:txBody>
      </p:sp>
      <p:sp>
        <p:nvSpPr>
          <p:cNvPr id="313" name="Freihandform: Form 312">
            <a:extLst>
              <a:ext uri="{FF2B5EF4-FFF2-40B4-BE49-F238E27FC236}">
                <a16:creationId xmlns:a16="http://schemas.microsoft.com/office/drawing/2014/main" id="{FF52D444-9AC4-4068-BEAF-D99296A51975}"/>
              </a:ext>
            </a:extLst>
          </p:cNvPr>
          <p:cNvSpPr/>
          <p:nvPr userDrawn="1"/>
        </p:nvSpPr>
        <p:spPr>
          <a:xfrm>
            <a:off x="4909201" y="6714673"/>
            <a:ext cx="16313" cy="17478"/>
          </a:xfrm>
          <a:custGeom>
            <a:avLst/>
            <a:gdLst>
              <a:gd name="connsiteX0" fmla="*/ 8157 w 16313"/>
              <a:gd name="connsiteY0" fmla="*/ 17479 h 17478"/>
              <a:gd name="connsiteX1" fmla="*/ 0 w 16313"/>
              <a:gd name="connsiteY1" fmla="*/ 17479 h 17478"/>
              <a:gd name="connsiteX2" fmla="*/ 9322 w 16313"/>
              <a:gd name="connsiteY2" fmla="*/ 8157 h 17478"/>
              <a:gd name="connsiteX3" fmla="*/ 0 w 16313"/>
              <a:gd name="connsiteY3" fmla="*/ 0 h 17478"/>
              <a:gd name="connsiteX4" fmla="*/ 8157 w 16313"/>
              <a:gd name="connsiteY4" fmla="*/ 0 h 17478"/>
              <a:gd name="connsiteX5" fmla="*/ 16313 w 16313"/>
              <a:gd name="connsiteY5" fmla="*/ 8157 h 17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13" h="17478">
                <a:moveTo>
                  <a:pt x="8157" y="17479"/>
                </a:moveTo>
                <a:lnTo>
                  <a:pt x="0" y="17479"/>
                </a:lnTo>
                <a:lnTo>
                  <a:pt x="9322" y="8157"/>
                </a:lnTo>
                <a:lnTo>
                  <a:pt x="0" y="0"/>
                </a:lnTo>
                <a:lnTo>
                  <a:pt x="8157" y="0"/>
                </a:lnTo>
                <a:lnTo>
                  <a:pt x="16313" y="8157"/>
                </a:lnTo>
                <a:close/>
              </a:path>
            </a:pathLst>
          </a:custGeom>
          <a:solidFill>
            <a:srgbClr val="EEF2F5"/>
          </a:solidFill>
          <a:ln w="11643" cap="flat">
            <a:noFill/>
            <a:prstDash val="solid"/>
            <a:miter/>
          </a:ln>
        </p:spPr>
        <p:txBody>
          <a:bodyPr rtlCol="0" anchor="ctr"/>
          <a:lstStyle/>
          <a:p>
            <a:endParaRPr lang="de-DE"/>
          </a:p>
        </p:txBody>
      </p:sp>
      <p:sp>
        <p:nvSpPr>
          <p:cNvPr id="314" name="Freihandform: Form 313">
            <a:extLst>
              <a:ext uri="{FF2B5EF4-FFF2-40B4-BE49-F238E27FC236}">
                <a16:creationId xmlns:a16="http://schemas.microsoft.com/office/drawing/2014/main" id="{3F69FE79-2706-4C30-8966-0A2EC1910BF0}"/>
              </a:ext>
            </a:extLst>
          </p:cNvPr>
          <p:cNvSpPr/>
          <p:nvPr userDrawn="1"/>
        </p:nvSpPr>
        <p:spPr>
          <a:xfrm>
            <a:off x="5255279" y="2092134"/>
            <a:ext cx="33792" cy="36122"/>
          </a:xfrm>
          <a:custGeom>
            <a:avLst/>
            <a:gdLst>
              <a:gd name="connsiteX0" fmla="*/ 15148 w 33792"/>
              <a:gd name="connsiteY0" fmla="*/ 36123 h 36122"/>
              <a:gd name="connsiteX1" fmla="*/ 0 w 33792"/>
              <a:gd name="connsiteY1" fmla="*/ 36123 h 36122"/>
              <a:gd name="connsiteX2" fmla="*/ 18644 w 33792"/>
              <a:gd name="connsiteY2" fmla="*/ 17479 h 36122"/>
              <a:gd name="connsiteX3" fmla="*/ 0 w 33792"/>
              <a:gd name="connsiteY3" fmla="*/ 0 h 36122"/>
              <a:gd name="connsiteX4" fmla="*/ 16313 w 33792"/>
              <a:gd name="connsiteY4" fmla="*/ 0 h 36122"/>
              <a:gd name="connsiteX5" fmla="*/ 33792 w 33792"/>
              <a:gd name="connsiteY5" fmla="*/ 17479 h 3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92" h="36122">
                <a:moveTo>
                  <a:pt x="15148" y="36123"/>
                </a:moveTo>
                <a:lnTo>
                  <a:pt x="0" y="36123"/>
                </a:lnTo>
                <a:lnTo>
                  <a:pt x="18644" y="17479"/>
                </a:lnTo>
                <a:lnTo>
                  <a:pt x="0" y="0"/>
                </a:lnTo>
                <a:lnTo>
                  <a:pt x="16313" y="0"/>
                </a:lnTo>
                <a:lnTo>
                  <a:pt x="33792" y="17479"/>
                </a:lnTo>
                <a:close/>
              </a:path>
            </a:pathLst>
          </a:custGeom>
          <a:solidFill>
            <a:srgbClr val="EEF2F5"/>
          </a:solidFill>
          <a:ln w="11643" cap="flat">
            <a:noFill/>
            <a:prstDash val="solid"/>
            <a:miter/>
          </a:ln>
        </p:spPr>
        <p:txBody>
          <a:bodyPr rtlCol="0" anchor="ctr"/>
          <a:lstStyle/>
          <a:p>
            <a:endParaRPr lang="de-DE"/>
          </a:p>
        </p:txBody>
      </p:sp>
      <p:sp>
        <p:nvSpPr>
          <p:cNvPr id="315" name="Freihandform: Form 314">
            <a:extLst>
              <a:ext uri="{FF2B5EF4-FFF2-40B4-BE49-F238E27FC236}">
                <a16:creationId xmlns:a16="http://schemas.microsoft.com/office/drawing/2014/main" id="{F4B53603-3712-42FD-9602-D38612E562AF}"/>
              </a:ext>
            </a:extLst>
          </p:cNvPr>
          <p:cNvSpPr/>
          <p:nvPr userDrawn="1"/>
        </p:nvSpPr>
        <p:spPr>
          <a:xfrm>
            <a:off x="5255279" y="2446370"/>
            <a:ext cx="33792" cy="36122"/>
          </a:xfrm>
          <a:custGeom>
            <a:avLst/>
            <a:gdLst>
              <a:gd name="connsiteX0" fmla="*/ 15148 w 33792"/>
              <a:gd name="connsiteY0" fmla="*/ 36123 h 36122"/>
              <a:gd name="connsiteX1" fmla="*/ 0 w 33792"/>
              <a:gd name="connsiteY1" fmla="*/ 36123 h 36122"/>
              <a:gd name="connsiteX2" fmla="*/ 18644 w 33792"/>
              <a:gd name="connsiteY2" fmla="*/ 18644 h 36122"/>
              <a:gd name="connsiteX3" fmla="*/ 0 w 33792"/>
              <a:gd name="connsiteY3" fmla="*/ 0 h 36122"/>
              <a:gd name="connsiteX4" fmla="*/ 16313 w 33792"/>
              <a:gd name="connsiteY4" fmla="*/ 0 h 36122"/>
              <a:gd name="connsiteX5" fmla="*/ 33792 w 33792"/>
              <a:gd name="connsiteY5" fmla="*/ 18644 h 3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92" h="36122">
                <a:moveTo>
                  <a:pt x="15148" y="36123"/>
                </a:moveTo>
                <a:lnTo>
                  <a:pt x="0" y="36123"/>
                </a:lnTo>
                <a:lnTo>
                  <a:pt x="18644" y="18644"/>
                </a:lnTo>
                <a:lnTo>
                  <a:pt x="0" y="0"/>
                </a:lnTo>
                <a:lnTo>
                  <a:pt x="16313" y="0"/>
                </a:lnTo>
                <a:lnTo>
                  <a:pt x="33792" y="18644"/>
                </a:lnTo>
                <a:close/>
              </a:path>
            </a:pathLst>
          </a:custGeom>
          <a:solidFill>
            <a:srgbClr val="EEF2F5"/>
          </a:solidFill>
          <a:ln w="11643" cap="flat">
            <a:noFill/>
            <a:prstDash val="solid"/>
            <a:miter/>
          </a:ln>
        </p:spPr>
        <p:txBody>
          <a:bodyPr rtlCol="0" anchor="ctr"/>
          <a:lstStyle/>
          <a:p>
            <a:endParaRPr lang="de-DE"/>
          </a:p>
        </p:txBody>
      </p:sp>
      <p:sp>
        <p:nvSpPr>
          <p:cNvPr id="316" name="Freihandform: Form 315">
            <a:extLst>
              <a:ext uri="{FF2B5EF4-FFF2-40B4-BE49-F238E27FC236}">
                <a16:creationId xmlns:a16="http://schemas.microsoft.com/office/drawing/2014/main" id="{4E782172-F80C-4F0D-9EAC-FB60DC8E79B1}"/>
              </a:ext>
            </a:extLst>
          </p:cNvPr>
          <p:cNvSpPr/>
          <p:nvPr userDrawn="1"/>
        </p:nvSpPr>
        <p:spPr>
          <a:xfrm>
            <a:off x="5255279" y="2801770"/>
            <a:ext cx="33792" cy="36122"/>
          </a:xfrm>
          <a:custGeom>
            <a:avLst/>
            <a:gdLst>
              <a:gd name="connsiteX0" fmla="*/ 15148 w 33792"/>
              <a:gd name="connsiteY0" fmla="*/ 36123 h 36122"/>
              <a:gd name="connsiteX1" fmla="*/ 0 w 33792"/>
              <a:gd name="connsiteY1" fmla="*/ 36123 h 36122"/>
              <a:gd name="connsiteX2" fmla="*/ 18644 w 33792"/>
              <a:gd name="connsiteY2" fmla="*/ 17479 h 36122"/>
              <a:gd name="connsiteX3" fmla="*/ 0 w 33792"/>
              <a:gd name="connsiteY3" fmla="*/ 0 h 36122"/>
              <a:gd name="connsiteX4" fmla="*/ 16313 w 33792"/>
              <a:gd name="connsiteY4" fmla="*/ 0 h 36122"/>
              <a:gd name="connsiteX5" fmla="*/ 33792 w 33792"/>
              <a:gd name="connsiteY5" fmla="*/ 17479 h 3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92" h="36122">
                <a:moveTo>
                  <a:pt x="15148" y="36123"/>
                </a:moveTo>
                <a:lnTo>
                  <a:pt x="0" y="36123"/>
                </a:lnTo>
                <a:lnTo>
                  <a:pt x="18644" y="17479"/>
                </a:lnTo>
                <a:lnTo>
                  <a:pt x="0" y="0"/>
                </a:lnTo>
                <a:lnTo>
                  <a:pt x="16313" y="0"/>
                </a:lnTo>
                <a:lnTo>
                  <a:pt x="33792" y="17479"/>
                </a:lnTo>
                <a:close/>
              </a:path>
            </a:pathLst>
          </a:custGeom>
          <a:solidFill>
            <a:srgbClr val="EEF2F5"/>
          </a:solidFill>
          <a:ln w="11643" cap="flat">
            <a:noFill/>
            <a:prstDash val="solid"/>
            <a:miter/>
          </a:ln>
        </p:spPr>
        <p:txBody>
          <a:bodyPr rtlCol="0" anchor="ctr"/>
          <a:lstStyle/>
          <a:p>
            <a:endParaRPr lang="de-DE"/>
          </a:p>
        </p:txBody>
      </p:sp>
      <p:sp>
        <p:nvSpPr>
          <p:cNvPr id="317" name="Freihandform: Form 316">
            <a:extLst>
              <a:ext uri="{FF2B5EF4-FFF2-40B4-BE49-F238E27FC236}">
                <a16:creationId xmlns:a16="http://schemas.microsoft.com/office/drawing/2014/main" id="{5AC89AEE-3E21-479D-AFC6-890140A3CE25}"/>
              </a:ext>
            </a:extLst>
          </p:cNvPr>
          <p:cNvSpPr/>
          <p:nvPr userDrawn="1"/>
        </p:nvSpPr>
        <p:spPr>
          <a:xfrm>
            <a:off x="5255279" y="3156006"/>
            <a:ext cx="33792" cy="36122"/>
          </a:xfrm>
          <a:custGeom>
            <a:avLst/>
            <a:gdLst>
              <a:gd name="connsiteX0" fmla="*/ 15148 w 33792"/>
              <a:gd name="connsiteY0" fmla="*/ 36123 h 36122"/>
              <a:gd name="connsiteX1" fmla="*/ 0 w 33792"/>
              <a:gd name="connsiteY1" fmla="*/ 36123 h 36122"/>
              <a:gd name="connsiteX2" fmla="*/ 18644 w 33792"/>
              <a:gd name="connsiteY2" fmla="*/ 18644 h 36122"/>
              <a:gd name="connsiteX3" fmla="*/ 0 w 33792"/>
              <a:gd name="connsiteY3" fmla="*/ 0 h 36122"/>
              <a:gd name="connsiteX4" fmla="*/ 16313 w 33792"/>
              <a:gd name="connsiteY4" fmla="*/ 0 h 36122"/>
              <a:gd name="connsiteX5" fmla="*/ 33792 w 33792"/>
              <a:gd name="connsiteY5" fmla="*/ 18644 h 3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92" h="36122">
                <a:moveTo>
                  <a:pt x="15148" y="36123"/>
                </a:moveTo>
                <a:lnTo>
                  <a:pt x="0" y="36123"/>
                </a:lnTo>
                <a:lnTo>
                  <a:pt x="18644" y="18644"/>
                </a:lnTo>
                <a:lnTo>
                  <a:pt x="0" y="0"/>
                </a:lnTo>
                <a:lnTo>
                  <a:pt x="16313" y="0"/>
                </a:lnTo>
                <a:lnTo>
                  <a:pt x="33792" y="18644"/>
                </a:lnTo>
                <a:close/>
              </a:path>
            </a:pathLst>
          </a:custGeom>
          <a:solidFill>
            <a:srgbClr val="EEF2F5"/>
          </a:solidFill>
          <a:ln w="11643" cap="flat">
            <a:noFill/>
            <a:prstDash val="solid"/>
            <a:miter/>
          </a:ln>
        </p:spPr>
        <p:txBody>
          <a:bodyPr rtlCol="0" anchor="ctr"/>
          <a:lstStyle/>
          <a:p>
            <a:endParaRPr lang="de-DE"/>
          </a:p>
        </p:txBody>
      </p:sp>
      <p:sp>
        <p:nvSpPr>
          <p:cNvPr id="318" name="Freihandform: Form 317">
            <a:extLst>
              <a:ext uri="{FF2B5EF4-FFF2-40B4-BE49-F238E27FC236}">
                <a16:creationId xmlns:a16="http://schemas.microsoft.com/office/drawing/2014/main" id="{B49D284A-3754-4334-8ECC-958A57DEF1F2}"/>
              </a:ext>
            </a:extLst>
          </p:cNvPr>
          <p:cNvSpPr/>
          <p:nvPr userDrawn="1"/>
        </p:nvSpPr>
        <p:spPr>
          <a:xfrm>
            <a:off x="5255279" y="5995715"/>
            <a:ext cx="33792" cy="36122"/>
          </a:xfrm>
          <a:custGeom>
            <a:avLst/>
            <a:gdLst>
              <a:gd name="connsiteX0" fmla="*/ 15148 w 33792"/>
              <a:gd name="connsiteY0" fmla="*/ 36123 h 36122"/>
              <a:gd name="connsiteX1" fmla="*/ 0 w 33792"/>
              <a:gd name="connsiteY1" fmla="*/ 36123 h 36122"/>
              <a:gd name="connsiteX2" fmla="*/ 18644 w 33792"/>
              <a:gd name="connsiteY2" fmla="*/ 17479 h 36122"/>
              <a:gd name="connsiteX3" fmla="*/ 0 w 33792"/>
              <a:gd name="connsiteY3" fmla="*/ 0 h 36122"/>
              <a:gd name="connsiteX4" fmla="*/ 16313 w 33792"/>
              <a:gd name="connsiteY4" fmla="*/ 0 h 36122"/>
              <a:gd name="connsiteX5" fmla="*/ 33792 w 33792"/>
              <a:gd name="connsiteY5" fmla="*/ 17479 h 3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92" h="36122">
                <a:moveTo>
                  <a:pt x="15148" y="36123"/>
                </a:moveTo>
                <a:lnTo>
                  <a:pt x="0" y="36123"/>
                </a:lnTo>
                <a:lnTo>
                  <a:pt x="18644" y="17479"/>
                </a:lnTo>
                <a:lnTo>
                  <a:pt x="0" y="0"/>
                </a:lnTo>
                <a:lnTo>
                  <a:pt x="16313" y="0"/>
                </a:lnTo>
                <a:lnTo>
                  <a:pt x="33792" y="17479"/>
                </a:lnTo>
                <a:close/>
              </a:path>
            </a:pathLst>
          </a:custGeom>
          <a:solidFill>
            <a:srgbClr val="EEF2F5"/>
          </a:solidFill>
          <a:ln w="11643" cap="flat">
            <a:noFill/>
            <a:prstDash val="solid"/>
            <a:miter/>
          </a:ln>
        </p:spPr>
        <p:txBody>
          <a:bodyPr rtlCol="0" anchor="ctr"/>
          <a:lstStyle/>
          <a:p>
            <a:endParaRPr lang="de-DE"/>
          </a:p>
        </p:txBody>
      </p:sp>
      <p:sp>
        <p:nvSpPr>
          <p:cNvPr id="319" name="Freihandform: Form 318">
            <a:extLst>
              <a:ext uri="{FF2B5EF4-FFF2-40B4-BE49-F238E27FC236}">
                <a16:creationId xmlns:a16="http://schemas.microsoft.com/office/drawing/2014/main" id="{A69B0409-A733-4EE2-98C0-896F38B72165}"/>
              </a:ext>
            </a:extLst>
          </p:cNvPr>
          <p:cNvSpPr/>
          <p:nvPr userDrawn="1"/>
        </p:nvSpPr>
        <p:spPr>
          <a:xfrm>
            <a:off x="5255279" y="6349950"/>
            <a:ext cx="33792" cy="36122"/>
          </a:xfrm>
          <a:custGeom>
            <a:avLst/>
            <a:gdLst>
              <a:gd name="connsiteX0" fmla="*/ 15148 w 33792"/>
              <a:gd name="connsiteY0" fmla="*/ 36123 h 36122"/>
              <a:gd name="connsiteX1" fmla="*/ 0 w 33792"/>
              <a:gd name="connsiteY1" fmla="*/ 36123 h 36122"/>
              <a:gd name="connsiteX2" fmla="*/ 18644 w 33792"/>
              <a:gd name="connsiteY2" fmla="*/ 18644 h 36122"/>
              <a:gd name="connsiteX3" fmla="*/ 0 w 33792"/>
              <a:gd name="connsiteY3" fmla="*/ 0 h 36122"/>
              <a:gd name="connsiteX4" fmla="*/ 16313 w 33792"/>
              <a:gd name="connsiteY4" fmla="*/ 0 h 36122"/>
              <a:gd name="connsiteX5" fmla="*/ 33792 w 33792"/>
              <a:gd name="connsiteY5" fmla="*/ 17479 h 3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92" h="36122">
                <a:moveTo>
                  <a:pt x="15148" y="36123"/>
                </a:moveTo>
                <a:lnTo>
                  <a:pt x="0" y="36123"/>
                </a:lnTo>
                <a:lnTo>
                  <a:pt x="18644" y="18644"/>
                </a:lnTo>
                <a:lnTo>
                  <a:pt x="0" y="0"/>
                </a:lnTo>
                <a:lnTo>
                  <a:pt x="16313" y="0"/>
                </a:lnTo>
                <a:lnTo>
                  <a:pt x="33792" y="17479"/>
                </a:lnTo>
                <a:close/>
              </a:path>
            </a:pathLst>
          </a:custGeom>
          <a:solidFill>
            <a:srgbClr val="EEF2F5"/>
          </a:solidFill>
          <a:ln w="11643" cap="flat">
            <a:noFill/>
            <a:prstDash val="solid"/>
            <a:miter/>
          </a:ln>
        </p:spPr>
        <p:txBody>
          <a:bodyPr rtlCol="0" anchor="ctr"/>
          <a:lstStyle/>
          <a:p>
            <a:endParaRPr lang="de-DE"/>
          </a:p>
        </p:txBody>
      </p:sp>
      <p:sp>
        <p:nvSpPr>
          <p:cNvPr id="320" name="Freihandform: Form 319">
            <a:extLst>
              <a:ext uri="{FF2B5EF4-FFF2-40B4-BE49-F238E27FC236}">
                <a16:creationId xmlns:a16="http://schemas.microsoft.com/office/drawing/2014/main" id="{CF4A57C6-D03C-4435-9ADC-6B2A2369F87E}"/>
              </a:ext>
            </a:extLst>
          </p:cNvPr>
          <p:cNvSpPr/>
          <p:nvPr userDrawn="1"/>
        </p:nvSpPr>
        <p:spPr>
          <a:xfrm>
            <a:off x="5255279" y="6705351"/>
            <a:ext cx="33792" cy="36122"/>
          </a:xfrm>
          <a:custGeom>
            <a:avLst/>
            <a:gdLst>
              <a:gd name="connsiteX0" fmla="*/ 15148 w 33792"/>
              <a:gd name="connsiteY0" fmla="*/ 36123 h 36122"/>
              <a:gd name="connsiteX1" fmla="*/ 0 w 33792"/>
              <a:gd name="connsiteY1" fmla="*/ 36123 h 36122"/>
              <a:gd name="connsiteX2" fmla="*/ 18644 w 33792"/>
              <a:gd name="connsiteY2" fmla="*/ 17479 h 36122"/>
              <a:gd name="connsiteX3" fmla="*/ 0 w 33792"/>
              <a:gd name="connsiteY3" fmla="*/ 0 h 36122"/>
              <a:gd name="connsiteX4" fmla="*/ 16313 w 33792"/>
              <a:gd name="connsiteY4" fmla="*/ 0 h 36122"/>
              <a:gd name="connsiteX5" fmla="*/ 33792 w 33792"/>
              <a:gd name="connsiteY5" fmla="*/ 17479 h 3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92" h="36122">
                <a:moveTo>
                  <a:pt x="15148" y="36123"/>
                </a:moveTo>
                <a:lnTo>
                  <a:pt x="0" y="36123"/>
                </a:lnTo>
                <a:lnTo>
                  <a:pt x="18644" y="17479"/>
                </a:lnTo>
                <a:lnTo>
                  <a:pt x="0" y="0"/>
                </a:lnTo>
                <a:lnTo>
                  <a:pt x="16313" y="0"/>
                </a:lnTo>
                <a:lnTo>
                  <a:pt x="33792" y="17479"/>
                </a:lnTo>
                <a:close/>
              </a:path>
            </a:pathLst>
          </a:custGeom>
          <a:solidFill>
            <a:srgbClr val="EEF2F5"/>
          </a:solidFill>
          <a:ln w="11643" cap="flat">
            <a:noFill/>
            <a:prstDash val="solid"/>
            <a:miter/>
          </a:ln>
        </p:spPr>
        <p:txBody>
          <a:bodyPr rtlCol="0" anchor="ctr"/>
          <a:lstStyle/>
          <a:p>
            <a:endParaRPr lang="de-DE"/>
          </a:p>
        </p:txBody>
      </p:sp>
      <p:sp>
        <p:nvSpPr>
          <p:cNvPr id="321" name="Freihandform: Form 320">
            <a:extLst>
              <a:ext uri="{FF2B5EF4-FFF2-40B4-BE49-F238E27FC236}">
                <a16:creationId xmlns:a16="http://schemas.microsoft.com/office/drawing/2014/main" id="{1807184F-5BFC-46A4-B573-61D79451EAFB}"/>
              </a:ext>
            </a:extLst>
          </p:cNvPr>
          <p:cNvSpPr/>
          <p:nvPr userDrawn="1"/>
        </p:nvSpPr>
        <p:spPr>
          <a:xfrm>
            <a:off x="5602523" y="2082812"/>
            <a:ext cx="50105" cy="54766"/>
          </a:xfrm>
          <a:custGeom>
            <a:avLst/>
            <a:gdLst>
              <a:gd name="connsiteX0" fmla="*/ 22140 w 50105"/>
              <a:gd name="connsiteY0" fmla="*/ 54767 h 54766"/>
              <a:gd name="connsiteX1" fmla="*/ 0 w 50105"/>
              <a:gd name="connsiteY1" fmla="*/ 54767 h 54766"/>
              <a:gd name="connsiteX2" fmla="*/ 26801 w 50105"/>
              <a:gd name="connsiteY2" fmla="*/ 27966 h 54766"/>
              <a:gd name="connsiteX3" fmla="*/ 0 w 50105"/>
              <a:gd name="connsiteY3" fmla="*/ 0 h 54766"/>
              <a:gd name="connsiteX4" fmla="*/ 23305 w 50105"/>
              <a:gd name="connsiteY4" fmla="*/ 0 h 54766"/>
              <a:gd name="connsiteX5" fmla="*/ 50106 w 50105"/>
              <a:gd name="connsiteY5" fmla="*/ 26801 h 5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4765">
                <a:moveTo>
                  <a:pt x="22140" y="54767"/>
                </a:moveTo>
                <a:lnTo>
                  <a:pt x="0" y="54767"/>
                </a:lnTo>
                <a:lnTo>
                  <a:pt x="26801" y="27966"/>
                </a:lnTo>
                <a:lnTo>
                  <a:pt x="0" y="0"/>
                </a:lnTo>
                <a:lnTo>
                  <a:pt x="23305" y="0"/>
                </a:lnTo>
                <a:lnTo>
                  <a:pt x="50106" y="26801"/>
                </a:lnTo>
                <a:close/>
              </a:path>
            </a:pathLst>
          </a:custGeom>
          <a:solidFill>
            <a:srgbClr val="EEF2F5"/>
          </a:solidFill>
          <a:ln w="11643" cap="flat">
            <a:noFill/>
            <a:prstDash val="solid"/>
            <a:miter/>
          </a:ln>
        </p:spPr>
        <p:txBody>
          <a:bodyPr rtlCol="0" anchor="ctr"/>
          <a:lstStyle/>
          <a:p>
            <a:endParaRPr lang="de-DE"/>
          </a:p>
        </p:txBody>
      </p:sp>
      <p:sp>
        <p:nvSpPr>
          <p:cNvPr id="322" name="Freihandform: Form 321">
            <a:extLst>
              <a:ext uri="{FF2B5EF4-FFF2-40B4-BE49-F238E27FC236}">
                <a16:creationId xmlns:a16="http://schemas.microsoft.com/office/drawing/2014/main" id="{C0D0B83B-4824-46BE-8996-93D859654DAF}"/>
              </a:ext>
            </a:extLst>
          </p:cNvPr>
          <p:cNvSpPr/>
          <p:nvPr userDrawn="1"/>
        </p:nvSpPr>
        <p:spPr>
          <a:xfrm>
            <a:off x="5602523" y="2438213"/>
            <a:ext cx="50105" cy="53601"/>
          </a:xfrm>
          <a:custGeom>
            <a:avLst/>
            <a:gdLst>
              <a:gd name="connsiteX0" fmla="*/ 22140 w 50105"/>
              <a:gd name="connsiteY0" fmla="*/ 53601 h 53601"/>
              <a:gd name="connsiteX1" fmla="*/ 0 w 50105"/>
              <a:gd name="connsiteY1" fmla="*/ 53601 h 53601"/>
              <a:gd name="connsiteX2" fmla="*/ 26801 w 50105"/>
              <a:gd name="connsiteY2" fmla="*/ 26801 h 53601"/>
              <a:gd name="connsiteX3" fmla="*/ 0 w 50105"/>
              <a:gd name="connsiteY3" fmla="*/ 0 h 53601"/>
              <a:gd name="connsiteX4" fmla="*/ 23305 w 50105"/>
              <a:gd name="connsiteY4" fmla="*/ 0 h 53601"/>
              <a:gd name="connsiteX5" fmla="*/ 50106 w 50105"/>
              <a:gd name="connsiteY5" fmla="*/ 25635 h 53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3601">
                <a:moveTo>
                  <a:pt x="22140" y="53601"/>
                </a:moveTo>
                <a:lnTo>
                  <a:pt x="0" y="53601"/>
                </a:lnTo>
                <a:lnTo>
                  <a:pt x="26801" y="26801"/>
                </a:lnTo>
                <a:lnTo>
                  <a:pt x="0" y="0"/>
                </a:lnTo>
                <a:lnTo>
                  <a:pt x="23305" y="0"/>
                </a:lnTo>
                <a:lnTo>
                  <a:pt x="50106" y="25635"/>
                </a:lnTo>
                <a:close/>
              </a:path>
            </a:pathLst>
          </a:custGeom>
          <a:solidFill>
            <a:srgbClr val="EEF2F5"/>
          </a:solidFill>
          <a:ln w="11643" cap="flat">
            <a:noFill/>
            <a:prstDash val="solid"/>
            <a:miter/>
          </a:ln>
        </p:spPr>
        <p:txBody>
          <a:bodyPr rtlCol="0" anchor="ctr"/>
          <a:lstStyle/>
          <a:p>
            <a:endParaRPr lang="de-DE"/>
          </a:p>
        </p:txBody>
      </p:sp>
      <p:sp>
        <p:nvSpPr>
          <p:cNvPr id="323" name="Freihandform: Form 322">
            <a:extLst>
              <a:ext uri="{FF2B5EF4-FFF2-40B4-BE49-F238E27FC236}">
                <a16:creationId xmlns:a16="http://schemas.microsoft.com/office/drawing/2014/main" id="{12E80D0E-DA88-4D3B-A304-2437DDA9D26E}"/>
              </a:ext>
            </a:extLst>
          </p:cNvPr>
          <p:cNvSpPr/>
          <p:nvPr userDrawn="1"/>
        </p:nvSpPr>
        <p:spPr>
          <a:xfrm>
            <a:off x="5602523" y="2792448"/>
            <a:ext cx="50105" cy="54766"/>
          </a:xfrm>
          <a:custGeom>
            <a:avLst/>
            <a:gdLst>
              <a:gd name="connsiteX0" fmla="*/ 22140 w 50105"/>
              <a:gd name="connsiteY0" fmla="*/ 54767 h 54766"/>
              <a:gd name="connsiteX1" fmla="*/ 0 w 50105"/>
              <a:gd name="connsiteY1" fmla="*/ 54767 h 54766"/>
              <a:gd name="connsiteX2" fmla="*/ 26801 w 50105"/>
              <a:gd name="connsiteY2" fmla="*/ 27966 h 54766"/>
              <a:gd name="connsiteX3" fmla="*/ 0 w 50105"/>
              <a:gd name="connsiteY3" fmla="*/ 0 h 54766"/>
              <a:gd name="connsiteX4" fmla="*/ 23305 w 50105"/>
              <a:gd name="connsiteY4" fmla="*/ 0 h 54766"/>
              <a:gd name="connsiteX5" fmla="*/ 50106 w 50105"/>
              <a:gd name="connsiteY5" fmla="*/ 26801 h 5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4765">
                <a:moveTo>
                  <a:pt x="22140" y="54767"/>
                </a:moveTo>
                <a:lnTo>
                  <a:pt x="0" y="54767"/>
                </a:lnTo>
                <a:lnTo>
                  <a:pt x="26801" y="27966"/>
                </a:lnTo>
                <a:lnTo>
                  <a:pt x="0" y="0"/>
                </a:lnTo>
                <a:lnTo>
                  <a:pt x="23305" y="0"/>
                </a:lnTo>
                <a:lnTo>
                  <a:pt x="50106" y="26801"/>
                </a:lnTo>
                <a:close/>
              </a:path>
            </a:pathLst>
          </a:custGeom>
          <a:solidFill>
            <a:srgbClr val="EEF2F5"/>
          </a:solidFill>
          <a:ln w="11643" cap="flat">
            <a:noFill/>
            <a:prstDash val="solid"/>
            <a:miter/>
          </a:ln>
        </p:spPr>
        <p:txBody>
          <a:bodyPr rtlCol="0" anchor="ctr"/>
          <a:lstStyle/>
          <a:p>
            <a:endParaRPr lang="de-DE"/>
          </a:p>
        </p:txBody>
      </p:sp>
      <p:sp>
        <p:nvSpPr>
          <p:cNvPr id="324" name="Freihandform: Form 323">
            <a:extLst>
              <a:ext uri="{FF2B5EF4-FFF2-40B4-BE49-F238E27FC236}">
                <a16:creationId xmlns:a16="http://schemas.microsoft.com/office/drawing/2014/main" id="{75F4BC4C-9ADA-43B5-9F89-F834BAC4C3C6}"/>
              </a:ext>
            </a:extLst>
          </p:cNvPr>
          <p:cNvSpPr/>
          <p:nvPr userDrawn="1"/>
        </p:nvSpPr>
        <p:spPr>
          <a:xfrm>
            <a:off x="5602523" y="3147849"/>
            <a:ext cx="50105" cy="53601"/>
          </a:xfrm>
          <a:custGeom>
            <a:avLst/>
            <a:gdLst>
              <a:gd name="connsiteX0" fmla="*/ 22140 w 50105"/>
              <a:gd name="connsiteY0" fmla="*/ 53601 h 53601"/>
              <a:gd name="connsiteX1" fmla="*/ 0 w 50105"/>
              <a:gd name="connsiteY1" fmla="*/ 53601 h 53601"/>
              <a:gd name="connsiteX2" fmla="*/ 26801 w 50105"/>
              <a:gd name="connsiteY2" fmla="*/ 26801 h 53601"/>
              <a:gd name="connsiteX3" fmla="*/ 0 w 50105"/>
              <a:gd name="connsiteY3" fmla="*/ 0 h 53601"/>
              <a:gd name="connsiteX4" fmla="*/ 23305 w 50105"/>
              <a:gd name="connsiteY4" fmla="*/ 0 h 53601"/>
              <a:gd name="connsiteX5" fmla="*/ 50106 w 50105"/>
              <a:gd name="connsiteY5" fmla="*/ 26801 h 53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3601">
                <a:moveTo>
                  <a:pt x="22140" y="53601"/>
                </a:moveTo>
                <a:lnTo>
                  <a:pt x="0" y="53601"/>
                </a:lnTo>
                <a:lnTo>
                  <a:pt x="26801" y="26801"/>
                </a:lnTo>
                <a:lnTo>
                  <a:pt x="0" y="0"/>
                </a:lnTo>
                <a:lnTo>
                  <a:pt x="23305" y="0"/>
                </a:lnTo>
                <a:lnTo>
                  <a:pt x="50106" y="26801"/>
                </a:lnTo>
                <a:close/>
              </a:path>
            </a:pathLst>
          </a:custGeom>
          <a:solidFill>
            <a:srgbClr val="EEF2F5"/>
          </a:solidFill>
          <a:ln w="11643" cap="flat">
            <a:noFill/>
            <a:prstDash val="solid"/>
            <a:miter/>
          </a:ln>
        </p:spPr>
        <p:txBody>
          <a:bodyPr rtlCol="0" anchor="ctr"/>
          <a:lstStyle/>
          <a:p>
            <a:endParaRPr lang="de-DE"/>
          </a:p>
        </p:txBody>
      </p:sp>
      <p:sp>
        <p:nvSpPr>
          <p:cNvPr id="325" name="Freihandform: Form 324">
            <a:extLst>
              <a:ext uri="{FF2B5EF4-FFF2-40B4-BE49-F238E27FC236}">
                <a16:creationId xmlns:a16="http://schemas.microsoft.com/office/drawing/2014/main" id="{D89D440D-BCDF-43E7-B3AD-4B1C9D100423}"/>
              </a:ext>
            </a:extLst>
          </p:cNvPr>
          <p:cNvSpPr/>
          <p:nvPr userDrawn="1"/>
        </p:nvSpPr>
        <p:spPr>
          <a:xfrm>
            <a:off x="5602523" y="3502084"/>
            <a:ext cx="50105" cy="54766"/>
          </a:xfrm>
          <a:custGeom>
            <a:avLst/>
            <a:gdLst>
              <a:gd name="connsiteX0" fmla="*/ 22140 w 50105"/>
              <a:gd name="connsiteY0" fmla="*/ 54767 h 54766"/>
              <a:gd name="connsiteX1" fmla="*/ 0 w 50105"/>
              <a:gd name="connsiteY1" fmla="*/ 54767 h 54766"/>
              <a:gd name="connsiteX2" fmla="*/ 26801 w 50105"/>
              <a:gd name="connsiteY2" fmla="*/ 27966 h 54766"/>
              <a:gd name="connsiteX3" fmla="*/ 0 w 50105"/>
              <a:gd name="connsiteY3" fmla="*/ 0 h 54766"/>
              <a:gd name="connsiteX4" fmla="*/ 23305 w 50105"/>
              <a:gd name="connsiteY4" fmla="*/ 0 h 54766"/>
              <a:gd name="connsiteX5" fmla="*/ 50106 w 50105"/>
              <a:gd name="connsiteY5" fmla="*/ 26801 h 5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4765">
                <a:moveTo>
                  <a:pt x="22140" y="54767"/>
                </a:moveTo>
                <a:lnTo>
                  <a:pt x="0" y="54767"/>
                </a:lnTo>
                <a:lnTo>
                  <a:pt x="26801" y="27966"/>
                </a:lnTo>
                <a:lnTo>
                  <a:pt x="0" y="0"/>
                </a:lnTo>
                <a:lnTo>
                  <a:pt x="23305" y="0"/>
                </a:lnTo>
                <a:lnTo>
                  <a:pt x="50106" y="26801"/>
                </a:lnTo>
                <a:close/>
              </a:path>
            </a:pathLst>
          </a:custGeom>
          <a:solidFill>
            <a:srgbClr val="EEF2F5"/>
          </a:solidFill>
          <a:ln w="11643" cap="flat">
            <a:noFill/>
            <a:prstDash val="solid"/>
            <a:miter/>
          </a:ln>
        </p:spPr>
        <p:txBody>
          <a:bodyPr rtlCol="0" anchor="ctr"/>
          <a:lstStyle/>
          <a:p>
            <a:endParaRPr lang="de-DE"/>
          </a:p>
        </p:txBody>
      </p:sp>
      <p:sp>
        <p:nvSpPr>
          <p:cNvPr id="326" name="Freihandform: Form 325">
            <a:extLst>
              <a:ext uri="{FF2B5EF4-FFF2-40B4-BE49-F238E27FC236}">
                <a16:creationId xmlns:a16="http://schemas.microsoft.com/office/drawing/2014/main" id="{95E32A0E-3A5A-4B5B-A0A6-86D6905C4904}"/>
              </a:ext>
            </a:extLst>
          </p:cNvPr>
          <p:cNvSpPr/>
          <p:nvPr userDrawn="1"/>
        </p:nvSpPr>
        <p:spPr>
          <a:xfrm>
            <a:off x="5602523" y="5630993"/>
            <a:ext cx="50105" cy="54766"/>
          </a:xfrm>
          <a:custGeom>
            <a:avLst/>
            <a:gdLst>
              <a:gd name="connsiteX0" fmla="*/ 22140 w 50105"/>
              <a:gd name="connsiteY0" fmla="*/ 54766 h 54766"/>
              <a:gd name="connsiteX1" fmla="*/ 0 w 50105"/>
              <a:gd name="connsiteY1" fmla="*/ 54766 h 54766"/>
              <a:gd name="connsiteX2" fmla="*/ 26801 w 50105"/>
              <a:gd name="connsiteY2" fmla="*/ 27966 h 54766"/>
              <a:gd name="connsiteX3" fmla="*/ 0 w 50105"/>
              <a:gd name="connsiteY3" fmla="*/ 0 h 54766"/>
              <a:gd name="connsiteX4" fmla="*/ 23305 w 50105"/>
              <a:gd name="connsiteY4" fmla="*/ 0 h 54766"/>
              <a:gd name="connsiteX5" fmla="*/ 50106 w 50105"/>
              <a:gd name="connsiteY5" fmla="*/ 26801 h 5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4765">
                <a:moveTo>
                  <a:pt x="22140" y="54766"/>
                </a:moveTo>
                <a:lnTo>
                  <a:pt x="0" y="54766"/>
                </a:lnTo>
                <a:lnTo>
                  <a:pt x="26801" y="27966"/>
                </a:lnTo>
                <a:lnTo>
                  <a:pt x="0" y="0"/>
                </a:lnTo>
                <a:lnTo>
                  <a:pt x="23305" y="0"/>
                </a:lnTo>
                <a:lnTo>
                  <a:pt x="50106" y="26801"/>
                </a:lnTo>
                <a:close/>
              </a:path>
            </a:pathLst>
          </a:custGeom>
          <a:solidFill>
            <a:srgbClr val="EEF2F5"/>
          </a:solidFill>
          <a:ln w="11643" cap="flat">
            <a:noFill/>
            <a:prstDash val="solid"/>
            <a:miter/>
          </a:ln>
        </p:spPr>
        <p:txBody>
          <a:bodyPr rtlCol="0" anchor="ctr"/>
          <a:lstStyle/>
          <a:p>
            <a:endParaRPr lang="de-DE"/>
          </a:p>
        </p:txBody>
      </p:sp>
      <p:sp>
        <p:nvSpPr>
          <p:cNvPr id="327" name="Freihandform: Form 326">
            <a:extLst>
              <a:ext uri="{FF2B5EF4-FFF2-40B4-BE49-F238E27FC236}">
                <a16:creationId xmlns:a16="http://schemas.microsoft.com/office/drawing/2014/main" id="{85895A0B-5B7D-4040-8BB1-5C871FAB6EE7}"/>
              </a:ext>
            </a:extLst>
          </p:cNvPr>
          <p:cNvSpPr/>
          <p:nvPr userDrawn="1"/>
        </p:nvSpPr>
        <p:spPr>
          <a:xfrm>
            <a:off x="5602523" y="5986393"/>
            <a:ext cx="50105" cy="54766"/>
          </a:xfrm>
          <a:custGeom>
            <a:avLst/>
            <a:gdLst>
              <a:gd name="connsiteX0" fmla="*/ 22140 w 50105"/>
              <a:gd name="connsiteY0" fmla="*/ 54766 h 54766"/>
              <a:gd name="connsiteX1" fmla="*/ 0 w 50105"/>
              <a:gd name="connsiteY1" fmla="*/ 54766 h 54766"/>
              <a:gd name="connsiteX2" fmla="*/ 26801 w 50105"/>
              <a:gd name="connsiteY2" fmla="*/ 26801 h 54766"/>
              <a:gd name="connsiteX3" fmla="*/ 0 w 50105"/>
              <a:gd name="connsiteY3" fmla="*/ 0 h 54766"/>
              <a:gd name="connsiteX4" fmla="*/ 23305 w 50105"/>
              <a:gd name="connsiteY4" fmla="*/ 0 h 54766"/>
              <a:gd name="connsiteX5" fmla="*/ 50106 w 50105"/>
              <a:gd name="connsiteY5" fmla="*/ 26801 h 5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4765">
                <a:moveTo>
                  <a:pt x="22140" y="54766"/>
                </a:moveTo>
                <a:lnTo>
                  <a:pt x="0" y="54766"/>
                </a:lnTo>
                <a:lnTo>
                  <a:pt x="26801" y="26801"/>
                </a:lnTo>
                <a:lnTo>
                  <a:pt x="0" y="0"/>
                </a:lnTo>
                <a:lnTo>
                  <a:pt x="23305" y="0"/>
                </a:lnTo>
                <a:lnTo>
                  <a:pt x="50106" y="26801"/>
                </a:lnTo>
                <a:close/>
              </a:path>
            </a:pathLst>
          </a:custGeom>
          <a:solidFill>
            <a:srgbClr val="EEF2F5"/>
          </a:solidFill>
          <a:ln w="11643" cap="flat">
            <a:noFill/>
            <a:prstDash val="solid"/>
            <a:miter/>
          </a:ln>
        </p:spPr>
        <p:txBody>
          <a:bodyPr rtlCol="0" anchor="ctr"/>
          <a:lstStyle/>
          <a:p>
            <a:endParaRPr lang="de-DE"/>
          </a:p>
        </p:txBody>
      </p:sp>
      <p:sp>
        <p:nvSpPr>
          <p:cNvPr id="328" name="Freihandform: Form 327">
            <a:extLst>
              <a:ext uri="{FF2B5EF4-FFF2-40B4-BE49-F238E27FC236}">
                <a16:creationId xmlns:a16="http://schemas.microsoft.com/office/drawing/2014/main" id="{F82EB456-ACBE-4744-9452-8F06AAB03489}"/>
              </a:ext>
            </a:extLst>
          </p:cNvPr>
          <p:cNvSpPr/>
          <p:nvPr userDrawn="1"/>
        </p:nvSpPr>
        <p:spPr>
          <a:xfrm>
            <a:off x="5602523" y="6340628"/>
            <a:ext cx="50105" cy="54766"/>
          </a:xfrm>
          <a:custGeom>
            <a:avLst/>
            <a:gdLst>
              <a:gd name="connsiteX0" fmla="*/ 22140 w 50105"/>
              <a:gd name="connsiteY0" fmla="*/ 54766 h 54766"/>
              <a:gd name="connsiteX1" fmla="*/ 0 w 50105"/>
              <a:gd name="connsiteY1" fmla="*/ 54766 h 54766"/>
              <a:gd name="connsiteX2" fmla="*/ 26801 w 50105"/>
              <a:gd name="connsiteY2" fmla="*/ 27966 h 54766"/>
              <a:gd name="connsiteX3" fmla="*/ 0 w 50105"/>
              <a:gd name="connsiteY3" fmla="*/ 0 h 54766"/>
              <a:gd name="connsiteX4" fmla="*/ 23305 w 50105"/>
              <a:gd name="connsiteY4" fmla="*/ 0 h 54766"/>
              <a:gd name="connsiteX5" fmla="*/ 50106 w 50105"/>
              <a:gd name="connsiteY5" fmla="*/ 26801 h 5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4765">
                <a:moveTo>
                  <a:pt x="22140" y="54766"/>
                </a:moveTo>
                <a:lnTo>
                  <a:pt x="0" y="54766"/>
                </a:lnTo>
                <a:lnTo>
                  <a:pt x="26801" y="27966"/>
                </a:lnTo>
                <a:lnTo>
                  <a:pt x="0" y="0"/>
                </a:lnTo>
                <a:lnTo>
                  <a:pt x="23305" y="0"/>
                </a:lnTo>
                <a:lnTo>
                  <a:pt x="50106" y="26801"/>
                </a:lnTo>
                <a:close/>
              </a:path>
            </a:pathLst>
          </a:custGeom>
          <a:solidFill>
            <a:srgbClr val="EEF2F5"/>
          </a:solidFill>
          <a:ln w="11643" cap="flat">
            <a:noFill/>
            <a:prstDash val="solid"/>
            <a:miter/>
          </a:ln>
        </p:spPr>
        <p:txBody>
          <a:bodyPr rtlCol="0" anchor="ctr"/>
          <a:lstStyle/>
          <a:p>
            <a:endParaRPr lang="de-DE"/>
          </a:p>
        </p:txBody>
      </p:sp>
      <p:sp>
        <p:nvSpPr>
          <p:cNvPr id="329" name="Freihandform: Form 328">
            <a:extLst>
              <a:ext uri="{FF2B5EF4-FFF2-40B4-BE49-F238E27FC236}">
                <a16:creationId xmlns:a16="http://schemas.microsoft.com/office/drawing/2014/main" id="{4FED52AE-417D-492D-96F2-E2A5734595A3}"/>
              </a:ext>
            </a:extLst>
          </p:cNvPr>
          <p:cNvSpPr/>
          <p:nvPr userDrawn="1"/>
        </p:nvSpPr>
        <p:spPr>
          <a:xfrm>
            <a:off x="5602523" y="6696029"/>
            <a:ext cx="50105" cy="54766"/>
          </a:xfrm>
          <a:custGeom>
            <a:avLst/>
            <a:gdLst>
              <a:gd name="connsiteX0" fmla="*/ 22140 w 50105"/>
              <a:gd name="connsiteY0" fmla="*/ 54766 h 54766"/>
              <a:gd name="connsiteX1" fmla="*/ 0 w 50105"/>
              <a:gd name="connsiteY1" fmla="*/ 54766 h 54766"/>
              <a:gd name="connsiteX2" fmla="*/ 26801 w 50105"/>
              <a:gd name="connsiteY2" fmla="*/ 27966 h 54766"/>
              <a:gd name="connsiteX3" fmla="*/ 0 w 50105"/>
              <a:gd name="connsiteY3" fmla="*/ 0 h 54766"/>
              <a:gd name="connsiteX4" fmla="*/ 23305 w 50105"/>
              <a:gd name="connsiteY4" fmla="*/ 0 h 54766"/>
              <a:gd name="connsiteX5" fmla="*/ 50106 w 50105"/>
              <a:gd name="connsiteY5" fmla="*/ 26801 h 5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4765">
                <a:moveTo>
                  <a:pt x="22140" y="54766"/>
                </a:moveTo>
                <a:lnTo>
                  <a:pt x="0" y="54766"/>
                </a:lnTo>
                <a:lnTo>
                  <a:pt x="26801" y="27966"/>
                </a:lnTo>
                <a:lnTo>
                  <a:pt x="0" y="0"/>
                </a:lnTo>
                <a:lnTo>
                  <a:pt x="23305" y="0"/>
                </a:lnTo>
                <a:lnTo>
                  <a:pt x="50106" y="26801"/>
                </a:lnTo>
                <a:close/>
              </a:path>
            </a:pathLst>
          </a:custGeom>
          <a:solidFill>
            <a:srgbClr val="EEF2F5"/>
          </a:solidFill>
          <a:ln w="11643" cap="flat">
            <a:noFill/>
            <a:prstDash val="solid"/>
            <a:miter/>
          </a:ln>
        </p:spPr>
        <p:txBody>
          <a:bodyPr rtlCol="0" anchor="ctr"/>
          <a:lstStyle/>
          <a:p>
            <a:endParaRPr lang="de-DE"/>
          </a:p>
        </p:txBody>
      </p:sp>
      <p:sp>
        <p:nvSpPr>
          <p:cNvPr id="330" name="Freihandform: Form 329">
            <a:extLst>
              <a:ext uri="{FF2B5EF4-FFF2-40B4-BE49-F238E27FC236}">
                <a16:creationId xmlns:a16="http://schemas.microsoft.com/office/drawing/2014/main" id="{BA0E4B54-661A-44F6-9401-68AED3542315}"/>
              </a:ext>
            </a:extLst>
          </p:cNvPr>
          <p:cNvSpPr/>
          <p:nvPr userDrawn="1"/>
        </p:nvSpPr>
        <p:spPr>
          <a:xfrm>
            <a:off x="5948602" y="2073490"/>
            <a:ext cx="66419" cy="72245"/>
          </a:xfrm>
          <a:custGeom>
            <a:avLst/>
            <a:gdLst>
              <a:gd name="connsiteX0" fmla="*/ 30297 w 66419"/>
              <a:gd name="connsiteY0" fmla="*/ 72245 h 72245"/>
              <a:gd name="connsiteX1" fmla="*/ 0 w 66419"/>
              <a:gd name="connsiteY1" fmla="*/ 72245 h 72245"/>
              <a:gd name="connsiteX2" fmla="*/ 36123 w 66419"/>
              <a:gd name="connsiteY2" fmla="*/ 37288 h 72245"/>
              <a:gd name="connsiteX3" fmla="*/ 0 w 66419"/>
              <a:gd name="connsiteY3" fmla="*/ 0 h 72245"/>
              <a:gd name="connsiteX4" fmla="*/ 31462 w 66419"/>
              <a:gd name="connsiteY4" fmla="*/ 0 h 72245"/>
              <a:gd name="connsiteX5" fmla="*/ 66419 w 66419"/>
              <a:gd name="connsiteY5" fmla="*/ 36123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5"/>
                </a:moveTo>
                <a:lnTo>
                  <a:pt x="0" y="72245"/>
                </a:lnTo>
                <a:lnTo>
                  <a:pt x="36123" y="37288"/>
                </a:lnTo>
                <a:lnTo>
                  <a:pt x="0" y="0"/>
                </a:lnTo>
                <a:lnTo>
                  <a:pt x="31462" y="0"/>
                </a:lnTo>
                <a:lnTo>
                  <a:pt x="66419" y="36123"/>
                </a:lnTo>
                <a:close/>
              </a:path>
            </a:pathLst>
          </a:custGeom>
          <a:solidFill>
            <a:srgbClr val="EEF2F5"/>
          </a:solidFill>
          <a:ln w="11643" cap="flat">
            <a:noFill/>
            <a:prstDash val="solid"/>
            <a:miter/>
          </a:ln>
        </p:spPr>
        <p:txBody>
          <a:bodyPr rtlCol="0" anchor="ctr"/>
          <a:lstStyle/>
          <a:p>
            <a:endParaRPr lang="de-DE"/>
          </a:p>
        </p:txBody>
      </p:sp>
      <p:sp>
        <p:nvSpPr>
          <p:cNvPr id="331" name="Freihandform: Form 330">
            <a:extLst>
              <a:ext uri="{FF2B5EF4-FFF2-40B4-BE49-F238E27FC236}">
                <a16:creationId xmlns:a16="http://schemas.microsoft.com/office/drawing/2014/main" id="{AF09B959-FEBB-4D08-B203-97FE6AE60305}"/>
              </a:ext>
            </a:extLst>
          </p:cNvPr>
          <p:cNvSpPr/>
          <p:nvPr userDrawn="1"/>
        </p:nvSpPr>
        <p:spPr>
          <a:xfrm>
            <a:off x="5948602" y="2428891"/>
            <a:ext cx="66419" cy="72245"/>
          </a:xfrm>
          <a:custGeom>
            <a:avLst/>
            <a:gdLst>
              <a:gd name="connsiteX0" fmla="*/ 30297 w 66419"/>
              <a:gd name="connsiteY0" fmla="*/ 72245 h 72245"/>
              <a:gd name="connsiteX1" fmla="*/ 0 w 66419"/>
              <a:gd name="connsiteY1" fmla="*/ 72245 h 72245"/>
              <a:gd name="connsiteX2" fmla="*/ 36123 w 66419"/>
              <a:gd name="connsiteY2" fmla="*/ 36123 h 72245"/>
              <a:gd name="connsiteX3" fmla="*/ 0 w 66419"/>
              <a:gd name="connsiteY3" fmla="*/ 0 h 72245"/>
              <a:gd name="connsiteX4" fmla="*/ 31462 w 66419"/>
              <a:gd name="connsiteY4" fmla="*/ 0 h 72245"/>
              <a:gd name="connsiteX5" fmla="*/ 66419 w 66419"/>
              <a:gd name="connsiteY5" fmla="*/ 34957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5"/>
                </a:moveTo>
                <a:lnTo>
                  <a:pt x="0" y="72245"/>
                </a:lnTo>
                <a:lnTo>
                  <a:pt x="36123" y="36123"/>
                </a:lnTo>
                <a:lnTo>
                  <a:pt x="0" y="0"/>
                </a:lnTo>
                <a:lnTo>
                  <a:pt x="31462" y="0"/>
                </a:lnTo>
                <a:lnTo>
                  <a:pt x="66419" y="34957"/>
                </a:lnTo>
                <a:close/>
              </a:path>
            </a:pathLst>
          </a:custGeom>
          <a:solidFill>
            <a:srgbClr val="EEF2F5"/>
          </a:solidFill>
          <a:ln w="11643" cap="flat">
            <a:noFill/>
            <a:prstDash val="solid"/>
            <a:miter/>
          </a:ln>
        </p:spPr>
        <p:txBody>
          <a:bodyPr rtlCol="0" anchor="ctr"/>
          <a:lstStyle/>
          <a:p>
            <a:endParaRPr lang="de-DE"/>
          </a:p>
        </p:txBody>
      </p:sp>
      <p:sp>
        <p:nvSpPr>
          <p:cNvPr id="332" name="Freihandform: Form 331">
            <a:extLst>
              <a:ext uri="{FF2B5EF4-FFF2-40B4-BE49-F238E27FC236}">
                <a16:creationId xmlns:a16="http://schemas.microsoft.com/office/drawing/2014/main" id="{8BDF68B8-5B5A-4BE8-90ED-91D64FF78D61}"/>
              </a:ext>
            </a:extLst>
          </p:cNvPr>
          <p:cNvSpPr/>
          <p:nvPr userDrawn="1"/>
        </p:nvSpPr>
        <p:spPr>
          <a:xfrm>
            <a:off x="5948602" y="2783126"/>
            <a:ext cx="66419" cy="72245"/>
          </a:xfrm>
          <a:custGeom>
            <a:avLst/>
            <a:gdLst>
              <a:gd name="connsiteX0" fmla="*/ 30297 w 66419"/>
              <a:gd name="connsiteY0" fmla="*/ 72245 h 72245"/>
              <a:gd name="connsiteX1" fmla="*/ 0 w 66419"/>
              <a:gd name="connsiteY1" fmla="*/ 72245 h 72245"/>
              <a:gd name="connsiteX2" fmla="*/ 36123 w 66419"/>
              <a:gd name="connsiteY2" fmla="*/ 37288 h 72245"/>
              <a:gd name="connsiteX3" fmla="*/ 0 w 66419"/>
              <a:gd name="connsiteY3" fmla="*/ 0 h 72245"/>
              <a:gd name="connsiteX4" fmla="*/ 31462 w 66419"/>
              <a:gd name="connsiteY4" fmla="*/ 0 h 72245"/>
              <a:gd name="connsiteX5" fmla="*/ 66419 w 66419"/>
              <a:gd name="connsiteY5" fmla="*/ 36123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5"/>
                </a:moveTo>
                <a:lnTo>
                  <a:pt x="0" y="72245"/>
                </a:lnTo>
                <a:lnTo>
                  <a:pt x="36123" y="37288"/>
                </a:lnTo>
                <a:lnTo>
                  <a:pt x="0" y="0"/>
                </a:lnTo>
                <a:lnTo>
                  <a:pt x="31462" y="0"/>
                </a:lnTo>
                <a:lnTo>
                  <a:pt x="66419" y="36123"/>
                </a:lnTo>
                <a:close/>
              </a:path>
            </a:pathLst>
          </a:custGeom>
          <a:solidFill>
            <a:srgbClr val="EEF2F5"/>
          </a:solidFill>
          <a:ln w="11643" cap="flat">
            <a:noFill/>
            <a:prstDash val="solid"/>
            <a:miter/>
          </a:ln>
        </p:spPr>
        <p:txBody>
          <a:bodyPr rtlCol="0" anchor="ctr"/>
          <a:lstStyle/>
          <a:p>
            <a:endParaRPr lang="de-DE"/>
          </a:p>
        </p:txBody>
      </p:sp>
      <p:sp>
        <p:nvSpPr>
          <p:cNvPr id="333" name="Freihandform: Form 332">
            <a:extLst>
              <a:ext uri="{FF2B5EF4-FFF2-40B4-BE49-F238E27FC236}">
                <a16:creationId xmlns:a16="http://schemas.microsoft.com/office/drawing/2014/main" id="{EC037E08-87A0-4AFA-8BB8-AF8BC0B89644}"/>
              </a:ext>
            </a:extLst>
          </p:cNvPr>
          <p:cNvSpPr/>
          <p:nvPr userDrawn="1"/>
        </p:nvSpPr>
        <p:spPr>
          <a:xfrm>
            <a:off x="5948602" y="3138527"/>
            <a:ext cx="66419" cy="72245"/>
          </a:xfrm>
          <a:custGeom>
            <a:avLst/>
            <a:gdLst>
              <a:gd name="connsiteX0" fmla="*/ 30297 w 66419"/>
              <a:gd name="connsiteY0" fmla="*/ 72245 h 72245"/>
              <a:gd name="connsiteX1" fmla="*/ 0 w 66419"/>
              <a:gd name="connsiteY1" fmla="*/ 72245 h 72245"/>
              <a:gd name="connsiteX2" fmla="*/ 36123 w 66419"/>
              <a:gd name="connsiteY2" fmla="*/ 36123 h 72245"/>
              <a:gd name="connsiteX3" fmla="*/ 0 w 66419"/>
              <a:gd name="connsiteY3" fmla="*/ 0 h 72245"/>
              <a:gd name="connsiteX4" fmla="*/ 31462 w 66419"/>
              <a:gd name="connsiteY4" fmla="*/ 0 h 72245"/>
              <a:gd name="connsiteX5" fmla="*/ 66419 w 66419"/>
              <a:gd name="connsiteY5" fmla="*/ 34957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5"/>
                </a:moveTo>
                <a:lnTo>
                  <a:pt x="0" y="72245"/>
                </a:lnTo>
                <a:lnTo>
                  <a:pt x="36123" y="36123"/>
                </a:lnTo>
                <a:lnTo>
                  <a:pt x="0" y="0"/>
                </a:lnTo>
                <a:lnTo>
                  <a:pt x="31462" y="0"/>
                </a:lnTo>
                <a:lnTo>
                  <a:pt x="66419" y="34957"/>
                </a:lnTo>
                <a:close/>
              </a:path>
            </a:pathLst>
          </a:custGeom>
          <a:solidFill>
            <a:srgbClr val="EEF2F5"/>
          </a:solidFill>
          <a:ln w="11643" cap="flat">
            <a:noFill/>
            <a:prstDash val="solid"/>
            <a:miter/>
          </a:ln>
        </p:spPr>
        <p:txBody>
          <a:bodyPr rtlCol="0" anchor="ctr"/>
          <a:lstStyle/>
          <a:p>
            <a:endParaRPr lang="de-DE"/>
          </a:p>
        </p:txBody>
      </p:sp>
      <p:sp>
        <p:nvSpPr>
          <p:cNvPr id="334" name="Freihandform: Form 333">
            <a:extLst>
              <a:ext uri="{FF2B5EF4-FFF2-40B4-BE49-F238E27FC236}">
                <a16:creationId xmlns:a16="http://schemas.microsoft.com/office/drawing/2014/main" id="{296B3953-1098-4657-B23B-8935F1D2DAB8}"/>
              </a:ext>
            </a:extLst>
          </p:cNvPr>
          <p:cNvSpPr/>
          <p:nvPr userDrawn="1"/>
        </p:nvSpPr>
        <p:spPr>
          <a:xfrm>
            <a:off x="5948602" y="3492762"/>
            <a:ext cx="66419" cy="73410"/>
          </a:xfrm>
          <a:custGeom>
            <a:avLst/>
            <a:gdLst>
              <a:gd name="connsiteX0" fmla="*/ 30297 w 66419"/>
              <a:gd name="connsiteY0" fmla="*/ 73411 h 73410"/>
              <a:gd name="connsiteX1" fmla="*/ 0 w 66419"/>
              <a:gd name="connsiteY1" fmla="*/ 73411 h 73410"/>
              <a:gd name="connsiteX2" fmla="*/ 36123 w 66419"/>
              <a:gd name="connsiteY2" fmla="*/ 37288 h 73410"/>
              <a:gd name="connsiteX3" fmla="*/ 0 w 66419"/>
              <a:gd name="connsiteY3" fmla="*/ 0 h 73410"/>
              <a:gd name="connsiteX4" fmla="*/ 31462 w 66419"/>
              <a:gd name="connsiteY4" fmla="*/ 0 h 73410"/>
              <a:gd name="connsiteX5" fmla="*/ 66419 w 66419"/>
              <a:gd name="connsiteY5" fmla="*/ 36123 h 73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3410">
                <a:moveTo>
                  <a:pt x="30297" y="73411"/>
                </a:moveTo>
                <a:lnTo>
                  <a:pt x="0" y="73411"/>
                </a:lnTo>
                <a:lnTo>
                  <a:pt x="36123" y="37288"/>
                </a:lnTo>
                <a:lnTo>
                  <a:pt x="0" y="0"/>
                </a:lnTo>
                <a:lnTo>
                  <a:pt x="31462" y="0"/>
                </a:lnTo>
                <a:lnTo>
                  <a:pt x="66419" y="36123"/>
                </a:lnTo>
                <a:close/>
              </a:path>
            </a:pathLst>
          </a:custGeom>
          <a:solidFill>
            <a:srgbClr val="EEF2F5"/>
          </a:solidFill>
          <a:ln w="11643" cap="flat">
            <a:noFill/>
            <a:prstDash val="solid"/>
            <a:miter/>
          </a:ln>
        </p:spPr>
        <p:txBody>
          <a:bodyPr rtlCol="0" anchor="ctr"/>
          <a:lstStyle/>
          <a:p>
            <a:endParaRPr lang="de-DE"/>
          </a:p>
        </p:txBody>
      </p:sp>
      <p:sp>
        <p:nvSpPr>
          <p:cNvPr id="335" name="Freihandform: Form 334">
            <a:extLst>
              <a:ext uri="{FF2B5EF4-FFF2-40B4-BE49-F238E27FC236}">
                <a16:creationId xmlns:a16="http://schemas.microsoft.com/office/drawing/2014/main" id="{C606BDC9-DBDE-4ACF-8BF9-ACC957E4520D}"/>
              </a:ext>
            </a:extLst>
          </p:cNvPr>
          <p:cNvSpPr/>
          <p:nvPr userDrawn="1"/>
        </p:nvSpPr>
        <p:spPr>
          <a:xfrm>
            <a:off x="5948602" y="3848163"/>
            <a:ext cx="66419" cy="72245"/>
          </a:xfrm>
          <a:custGeom>
            <a:avLst/>
            <a:gdLst>
              <a:gd name="connsiteX0" fmla="*/ 30297 w 66419"/>
              <a:gd name="connsiteY0" fmla="*/ 72245 h 72245"/>
              <a:gd name="connsiteX1" fmla="*/ 0 w 66419"/>
              <a:gd name="connsiteY1" fmla="*/ 72245 h 72245"/>
              <a:gd name="connsiteX2" fmla="*/ 36123 w 66419"/>
              <a:gd name="connsiteY2" fmla="*/ 36123 h 72245"/>
              <a:gd name="connsiteX3" fmla="*/ 0 w 66419"/>
              <a:gd name="connsiteY3" fmla="*/ 0 h 72245"/>
              <a:gd name="connsiteX4" fmla="*/ 31462 w 66419"/>
              <a:gd name="connsiteY4" fmla="*/ 0 h 72245"/>
              <a:gd name="connsiteX5" fmla="*/ 66419 w 66419"/>
              <a:gd name="connsiteY5" fmla="*/ 34957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5"/>
                </a:moveTo>
                <a:lnTo>
                  <a:pt x="0" y="72245"/>
                </a:lnTo>
                <a:lnTo>
                  <a:pt x="36123" y="36123"/>
                </a:lnTo>
                <a:lnTo>
                  <a:pt x="0" y="0"/>
                </a:lnTo>
                <a:lnTo>
                  <a:pt x="31462" y="0"/>
                </a:lnTo>
                <a:lnTo>
                  <a:pt x="66419" y="34957"/>
                </a:lnTo>
                <a:close/>
              </a:path>
            </a:pathLst>
          </a:custGeom>
          <a:solidFill>
            <a:srgbClr val="EEF2F5"/>
          </a:solidFill>
          <a:ln w="11643" cap="flat">
            <a:noFill/>
            <a:prstDash val="solid"/>
            <a:miter/>
          </a:ln>
        </p:spPr>
        <p:txBody>
          <a:bodyPr rtlCol="0" anchor="ctr"/>
          <a:lstStyle/>
          <a:p>
            <a:endParaRPr lang="de-DE"/>
          </a:p>
        </p:txBody>
      </p:sp>
      <p:sp>
        <p:nvSpPr>
          <p:cNvPr id="336" name="Freihandform: Form 335">
            <a:extLst>
              <a:ext uri="{FF2B5EF4-FFF2-40B4-BE49-F238E27FC236}">
                <a16:creationId xmlns:a16="http://schemas.microsoft.com/office/drawing/2014/main" id="{57A6FA3E-F4B9-4859-84E1-85F5F21681EC}"/>
              </a:ext>
            </a:extLst>
          </p:cNvPr>
          <p:cNvSpPr/>
          <p:nvPr userDrawn="1"/>
        </p:nvSpPr>
        <p:spPr>
          <a:xfrm>
            <a:off x="5948602" y="5267435"/>
            <a:ext cx="66419" cy="72245"/>
          </a:xfrm>
          <a:custGeom>
            <a:avLst/>
            <a:gdLst>
              <a:gd name="connsiteX0" fmla="*/ 30297 w 66419"/>
              <a:gd name="connsiteY0" fmla="*/ 72246 h 72245"/>
              <a:gd name="connsiteX1" fmla="*/ 0 w 66419"/>
              <a:gd name="connsiteY1" fmla="*/ 72246 h 72245"/>
              <a:gd name="connsiteX2" fmla="*/ 36123 w 66419"/>
              <a:gd name="connsiteY2" fmla="*/ 36123 h 72245"/>
              <a:gd name="connsiteX3" fmla="*/ 0 w 66419"/>
              <a:gd name="connsiteY3" fmla="*/ 0 h 72245"/>
              <a:gd name="connsiteX4" fmla="*/ 31462 w 66419"/>
              <a:gd name="connsiteY4" fmla="*/ 0 h 72245"/>
              <a:gd name="connsiteX5" fmla="*/ 66419 w 66419"/>
              <a:gd name="connsiteY5" fmla="*/ 36123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6"/>
                </a:moveTo>
                <a:lnTo>
                  <a:pt x="0" y="72246"/>
                </a:lnTo>
                <a:lnTo>
                  <a:pt x="36123" y="36123"/>
                </a:lnTo>
                <a:lnTo>
                  <a:pt x="0" y="0"/>
                </a:lnTo>
                <a:lnTo>
                  <a:pt x="31462" y="0"/>
                </a:lnTo>
                <a:lnTo>
                  <a:pt x="66419" y="36123"/>
                </a:lnTo>
                <a:close/>
              </a:path>
            </a:pathLst>
          </a:custGeom>
          <a:solidFill>
            <a:srgbClr val="EEF2F5"/>
          </a:solidFill>
          <a:ln w="11643" cap="flat">
            <a:noFill/>
            <a:prstDash val="solid"/>
            <a:miter/>
          </a:ln>
        </p:spPr>
        <p:txBody>
          <a:bodyPr rtlCol="0" anchor="ctr"/>
          <a:lstStyle/>
          <a:p>
            <a:endParaRPr lang="de-DE"/>
          </a:p>
        </p:txBody>
      </p:sp>
      <p:sp>
        <p:nvSpPr>
          <p:cNvPr id="337" name="Freihandform: Form 336">
            <a:extLst>
              <a:ext uri="{FF2B5EF4-FFF2-40B4-BE49-F238E27FC236}">
                <a16:creationId xmlns:a16="http://schemas.microsoft.com/office/drawing/2014/main" id="{D4B1D857-1C19-4BB3-BEDF-7C0AF8F86DAA}"/>
              </a:ext>
            </a:extLst>
          </p:cNvPr>
          <p:cNvSpPr/>
          <p:nvPr userDrawn="1"/>
        </p:nvSpPr>
        <p:spPr>
          <a:xfrm>
            <a:off x="5948602" y="5622836"/>
            <a:ext cx="66419" cy="72245"/>
          </a:xfrm>
          <a:custGeom>
            <a:avLst/>
            <a:gdLst>
              <a:gd name="connsiteX0" fmla="*/ 30297 w 66419"/>
              <a:gd name="connsiteY0" fmla="*/ 72246 h 72245"/>
              <a:gd name="connsiteX1" fmla="*/ 0 w 66419"/>
              <a:gd name="connsiteY1" fmla="*/ 72246 h 72245"/>
              <a:gd name="connsiteX2" fmla="*/ 36123 w 66419"/>
              <a:gd name="connsiteY2" fmla="*/ 36123 h 72245"/>
              <a:gd name="connsiteX3" fmla="*/ 0 w 66419"/>
              <a:gd name="connsiteY3" fmla="*/ 0 h 72245"/>
              <a:gd name="connsiteX4" fmla="*/ 31462 w 66419"/>
              <a:gd name="connsiteY4" fmla="*/ 0 h 72245"/>
              <a:gd name="connsiteX5" fmla="*/ 66419 w 66419"/>
              <a:gd name="connsiteY5" fmla="*/ 34957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6"/>
                </a:moveTo>
                <a:lnTo>
                  <a:pt x="0" y="72246"/>
                </a:lnTo>
                <a:lnTo>
                  <a:pt x="36123" y="36123"/>
                </a:lnTo>
                <a:lnTo>
                  <a:pt x="0" y="0"/>
                </a:lnTo>
                <a:lnTo>
                  <a:pt x="31462" y="0"/>
                </a:lnTo>
                <a:lnTo>
                  <a:pt x="66419" y="34957"/>
                </a:lnTo>
                <a:close/>
              </a:path>
            </a:pathLst>
          </a:custGeom>
          <a:solidFill>
            <a:srgbClr val="EEF2F5"/>
          </a:solidFill>
          <a:ln w="11643" cap="flat">
            <a:noFill/>
            <a:prstDash val="solid"/>
            <a:miter/>
          </a:ln>
        </p:spPr>
        <p:txBody>
          <a:bodyPr rtlCol="0" anchor="ctr"/>
          <a:lstStyle/>
          <a:p>
            <a:endParaRPr lang="de-DE"/>
          </a:p>
        </p:txBody>
      </p:sp>
      <p:sp>
        <p:nvSpPr>
          <p:cNvPr id="338" name="Freihandform: Form 337">
            <a:extLst>
              <a:ext uri="{FF2B5EF4-FFF2-40B4-BE49-F238E27FC236}">
                <a16:creationId xmlns:a16="http://schemas.microsoft.com/office/drawing/2014/main" id="{4A0625DC-FF7E-46FA-85B3-D78075F3A91C}"/>
              </a:ext>
            </a:extLst>
          </p:cNvPr>
          <p:cNvSpPr/>
          <p:nvPr userDrawn="1"/>
        </p:nvSpPr>
        <p:spPr>
          <a:xfrm>
            <a:off x="5948602" y="5977071"/>
            <a:ext cx="66419" cy="72245"/>
          </a:xfrm>
          <a:custGeom>
            <a:avLst/>
            <a:gdLst>
              <a:gd name="connsiteX0" fmla="*/ 30297 w 66419"/>
              <a:gd name="connsiteY0" fmla="*/ 72246 h 72245"/>
              <a:gd name="connsiteX1" fmla="*/ 0 w 66419"/>
              <a:gd name="connsiteY1" fmla="*/ 72246 h 72245"/>
              <a:gd name="connsiteX2" fmla="*/ 36123 w 66419"/>
              <a:gd name="connsiteY2" fmla="*/ 36123 h 72245"/>
              <a:gd name="connsiteX3" fmla="*/ 0 w 66419"/>
              <a:gd name="connsiteY3" fmla="*/ 0 h 72245"/>
              <a:gd name="connsiteX4" fmla="*/ 31462 w 66419"/>
              <a:gd name="connsiteY4" fmla="*/ 0 h 72245"/>
              <a:gd name="connsiteX5" fmla="*/ 66419 w 66419"/>
              <a:gd name="connsiteY5" fmla="*/ 36123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6"/>
                </a:moveTo>
                <a:lnTo>
                  <a:pt x="0" y="72246"/>
                </a:lnTo>
                <a:lnTo>
                  <a:pt x="36123" y="36123"/>
                </a:lnTo>
                <a:lnTo>
                  <a:pt x="0" y="0"/>
                </a:lnTo>
                <a:lnTo>
                  <a:pt x="31462" y="0"/>
                </a:lnTo>
                <a:lnTo>
                  <a:pt x="66419" y="36123"/>
                </a:lnTo>
                <a:close/>
              </a:path>
            </a:pathLst>
          </a:custGeom>
          <a:solidFill>
            <a:srgbClr val="EEF2F5"/>
          </a:solidFill>
          <a:ln w="11643" cap="flat">
            <a:noFill/>
            <a:prstDash val="solid"/>
            <a:miter/>
          </a:ln>
        </p:spPr>
        <p:txBody>
          <a:bodyPr rtlCol="0" anchor="ctr"/>
          <a:lstStyle/>
          <a:p>
            <a:endParaRPr lang="de-DE"/>
          </a:p>
        </p:txBody>
      </p:sp>
      <p:sp>
        <p:nvSpPr>
          <p:cNvPr id="339" name="Freihandform: Form 338">
            <a:extLst>
              <a:ext uri="{FF2B5EF4-FFF2-40B4-BE49-F238E27FC236}">
                <a16:creationId xmlns:a16="http://schemas.microsoft.com/office/drawing/2014/main" id="{7BDD0DFC-6E9A-4DFD-896C-269B9F75D87D}"/>
              </a:ext>
            </a:extLst>
          </p:cNvPr>
          <p:cNvSpPr/>
          <p:nvPr userDrawn="1"/>
        </p:nvSpPr>
        <p:spPr>
          <a:xfrm>
            <a:off x="5948602" y="6332472"/>
            <a:ext cx="66419" cy="72245"/>
          </a:xfrm>
          <a:custGeom>
            <a:avLst/>
            <a:gdLst>
              <a:gd name="connsiteX0" fmla="*/ 30297 w 66419"/>
              <a:gd name="connsiteY0" fmla="*/ 72246 h 72245"/>
              <a:gd name="connsiteX1" fmla="*/ 0 w 66419"/>
              <a:gd name="connsiteY1" fmla="*/ 72246 h 72245"/>
              <a:gd name="connsiteX2" fmla="*/ 36123 w 66419"/>
              <a:gd name="connsiteY2" fmla="*/ 36123 h 72245"/>
              <a:gd name="connsiteX3" fmla="*/ 0 w 66419"/>
              <a:gd name="connsiteY3" fmla="*/ 0 h 72245"/>
              <a:gd name="connsiteX4" fmla="*/ 31462 w 66419"/>
              <a:gd name="connsiteY4" fmla="*/ 0 h 72245"/>
              <a:gd name="connsiteX5" fmla="*/ 66419 w 66419"/>
              <a:gd name="connsiteY5" fmla="*/ 34957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6"/>
                </a:moveTo>
                <a:lnTo>
                  <a:pt x="0" y="72246"/>
                </a:lnTo>
                <a:lnTo>
                  <a:pt x="36123" y="36123"/>
                </a:lnTo>
                <a:lnTo>
                  <a:pt x="0" y="0"/>
                </a:lnTo>
                <a:lnTo>
                  <a:pt x="31462" y="0"/>
                </a:lnTo>
                <a:lnTo>
                  <a:pt x="66419" y="34957"/>
                </a:lnTo>
                <a:close/>
              </a:path>
            </a:pathLst>
          </a:custGeom>
          <a:solidFill>
            <a:srgbClr val="EEF2F5"/>
          </a:solidFill>
          <a:ln w="11643" cap="flat">
            <a:noFill/>
            <a:prstDash val="solid"/>
            <a:miter/>
          </a:ln>
        </p:spPr>
        <p:txBody>
          <a:bodyPr rtlCol="0" anchor="ctr"/>
          <a:lstStyle/>
          <a:p>
            <a:endParaRPr lang="de-DE"/>
          </a:p>
        </p:txBody>
      </p:sp>
      <p:sp>
        <p:nvSpPr>
          <p:cNvPr id="340" name="Freihandform: Form 339">
            <a:extLst>
              <a:ext uri="{FF2B5EF4-FFF2-40B4-BE49-F238E27FC236}">
                <a16:creationId xmlns:a16="http://schemas.microsoft.com/office/drawing/2014/main" id="{CAC3908E-B3D7-4D15-B42A-11C8334C3FAE}"/>
              </a:ext>
            </a:extLst>
          </p:cNvPr>
          <p:cNvSpPr/>
          <p:nvPr userDrawn="1"/>
        </p:nvSpPr>
        <p:spPr>
          <a:xfrm>
            <a:off x="5948602" y="6686707"/>
            <a:ext cx="66419" cy="72245"/>
          </a:xfrm>
          <a:custGeom>
            <a:avLst/>
            <a:gdLst>
              <a:gd name="connsiteX0" fmla="*/ 30297 w 66419"/>
              <a:gd name="connsiteY0" fmla="*/ 72246 h 72245"/>
              <a:gd name="connsiteX1" fmla="*/ 0 w 66419"/>
              <a:gd name="connsiteY1" fmla="*/ 72246 h 72245"/>
              <a:gd name="connsiteX2" fmla="*/ 36123 w 66419"/>
              <a:gd name="connsiteY2" fmla="*/ 37288 h 72245"/>
              <a:gd name="connsiteX3" fmla="*/ 0 w 66419"/>
              <a:gd name="connsiteY3" fmla="*/ 0 h 72245"/>
              <a:gd name="connsiteX4" fmla="*/ 31462 w 66419"/>
              <a:gd name="connsiteY4" fmla="*/ 0 h 72245"/>
              <a:gd name="connsiteX5" fmla="*/ 66419 w 66419"/>
              <a:gd name="connsiteY5" fmla="*/ 36123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6"/>
                </a:moveTo>
                <a:lnTo>
                  <a:pt x="0" y="72246"/>
                </a:lnTo>
                <a:lnTo>
                  <a:pt x="36123" y="37288"/>
                </a:lnTo>
                <a:lnTo>
                  <a:pt x="0" y="0"/>
                </a:lnTo>
                <a:lnTo>
                  <a:pt x="31462" y="0"/>
                </a:lnTo>
                <a:lnTo>
                  <a:pt x="66419" y="36123"/>
                </a:lnTo>
                <a:close/>
              </a:path>
            </a:pathLst>
          </a:custGeom>
          <a:solidFill>
            <a:srgbClr val="EEF2F5"/>
          </a:solidFill>
          <a:ln w="11643" cap="flat">
            <a:noFill/>
            <a:prstDash val="solid"/>
            <a:miter/>
          </a:ln>
        </p:spPr>
        <p:txBody>
          <a:bodyPr rtlCol="0" anchor="ctr"/>
          <a:lstStyle/>
          <a:p>
            <a:endParaRPr lang="de-DE"/>
          </a:p>
        </p:txBody>
      </p:sp>
      <p:sp>
        <p:nvSpPr>
          <p:cNvPr id="341" name="Freihandform: Form 340">
            <a:extLst>
              <a:ext uri="{FF2B5EF4-FFF2-40B4-BE49-F238E27FC236}">
                <a16:creationId xmlns:a16="http://schemas.microsoft.com/office/drawing/2014/main" id="{A7FA91F1-E227-486C-9E3D-701B7ECBD358}"/>
              </a:ext>
            </a:extLst>
          </p:cNvPr>
          <p:cNvSpPr/>
          <p:nvPr userDrawn="1"/>
        </p:nvSpPr>
        <p:spPr>
          <a:xfrm>
            <a:off x="6294680" y="2064168"/>
            <a:ext cx="83897" cy="90889"/>
          </a:xfrm>
          <a:custGeom>
            <a:avLst/>
            <a:gdLst>
              <a:gd name="connsiteX0" fmla="*/ 38453 w 83897"/>
              <a:gd name="connsiteY0" fmla="*/ 90889 h 90889"/>
              <a:gd name="connsiteX1" fmla="*/ 0 w 83897"/>
              <a:gd name="connsiteY1" fmla="*/ 90889 h 90889"/>
              <a:gd name="connsiteX2" fmla="*/ 45445 w 83897"/>
              <a:gd name="connsiteY2" fmla="*/ 46610 h 90889"/>
              <a:gd name="connsiteX3" fmla="*/ 0 w 83897"/>
              <a:gd name="connsiteY3" fmla="*/ 0 h 90889"/>
              <a:gd name="connsiteX4" fmla="*/ 39618 w 83897"/>
              <a:gd name="connsiteY4" fmla="*/ 0 h 90889"/>
              <a:gd name="connsiteX5" fmla="*/ 83898 w 83897"/>
              <a:gd name="connsiteY5" fmla="*/ 45445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6610"/>
                </a:lnTo>
                <a:lnTo>
                  <a:pt x="0" y="0"/>
                </a:lnTo>
                <a:lnTo>
                  <a:pt x="39618" y="0"/>
                </a:lnTo>
                <a:lnTo>
                  <a:pt x="83898" y="45445"/>
                </a:lnTo>
                <a:close/>
              </a:path>
            </a:pathLst>
          </a:custGeom>
          <a:solidFill>
            <a:srgbClr val="EEF2F5"/>
          </a:solidFill>
          <a:ln w="11643" cap="flat">
            <a:noFill/>
            <a:prstDash val="solid"/>
            <a:miter/>
          </a:ln>
        </p:spPr>
        <p:txBody>
          <a:bodyPr rtlCol="0" anchor="ctr"/>
          <a:lstStyle/>
          <a:p>
            <a:endParaRPr lang="de-DE"/>
          </a:p>
        </p:txBody>
      </p:sp>
      <p:sp>
        <p:nvSpPr>
          <p:cNvPr id="342" name="Freihandform: Form 341">
            <a:extLst>
              <a:ext uri="{FF2B5EF4-FFF2-40B4-BE49-F238E27FC236}">
                <a16:creationId xmlns:a16="http://schemas.microsoft.com/office/drawing/2014/main" id="{84476B35-4E31-4636-A104-EFCF30564C85}"/>
              </a:ext>
            </a:extLst>
          </p:cNvPr>
          <p:cNvSpPr/>
          <p:nvPr userDrawn="1"/>
        </p:nvSpPr>
        <p:spPr>
          <a:xfrm>
            <a:off x="6294680" y="2419569"/>
            <a:ext cx="83897" cy="90889"/>
          </a:xfrm>
          <a:custGeom>
            <a:avLst/>
            <a:gdLst>
              <a:gd name="connsiteX0" fmla="*/ 38453 w 83897"/>
              <a:gd name="connsiteY0" fmla="*/ 90889 h 90889"/>
              <a:gd name="connsiteX1" fmla="*/ 0 w 83897"/>
              <a:gd name="connsiteY1" fmla="*/ 90889 h 90889"/>
              <a:gd name="connsiteX2" fmla="*/ 45445 w 83897"/>
              <a:gd name="connsiteY2" fmla="*/ 45445 h 90889"/>
              <a:gd name="connsiteX3" fmla="*/ 0 w 83897"/>
              <a:gd name="connsiteY3" fmla="*/ 0 h 90889"/>
              <a:gd name="connsiteX4" fmla="*/ 39618 w 83897"/>
              <a:gd name="connsiteY4" fmla="*/ 0 h 90889"/>
              <a:gd name="connsiteX5" fmla="*/ 83898 w 83897"/>
              <a:gd name="connsiteY5" fmla="*/ 44279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endParaRPr lang="de-DE"/>
          </a:p>
        </p:txBody>
      </p:sp>
      <p:sp>
        <p:nvSpPr>
          <p:cNvPr id="343" name="Freihandform: Form 342">
            <a:extLst>
              <a:ext uri="{FF2B5EF4-FFF2-40B4-BE49-F238E27FC236}">
                <a16:creationId xmlns:a16="http://schemas.microsoft.com/office/drawing/2014/main" id="{6E4C3BE2-5614-4053-AD7A-02597CC57C7F}"/>
              </a:ext>
            </a:extLst>
          </p:cNvPr>
          <p:cNvSpPr/>
          <p:nvPr userDrawn="1"/>
        </p:nvSpPr>
        <p:spPr>
          <a:xfrm>
            <a:off x="6294680" y="2773804"/>
            <a:ext cx="83897" cy="90889"/>
          </a:xfrm>
          <a:custGeom>
            <a:avLst/>
            <a:gdLst>
              <a:gd name="connsiteX0" fmla="*/ 38453 w 83897"/>
              <a:gd name="connsiteY0" fmla="*/ 90889 h 90889"/>
              <a:gd name="connsiteX1" fmla="*/ 0 w 83897"/>
              <a:gd name="connsiteY1" fmla="*/ 90889 h 90889"/>
              <a:gd name="connsiteX2" fmla="*/ 45445 w 83897"/>
              <a:gd name="connsiteY2" fmla="*/ 46610 h 90889"/>
              <a:gd name="connsiteX3" fmla="*/ 0 w 83897"/>
              <a:gd name="connsiteY3" fmla="*/ 0 h 90889"/>
              <a:gd name="connsiteX4" fmla="*/ 39618 w 83897"/>
              <a:gd name="connsiteY4" fmla="*/ 0 h 90889"/>
              <a:gd name="connsiteX5" fmla="*/ 83898 w 83897"/>
              <a:gd name="connsiteY5" fmla="*/ 45445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6610"/>
                </a:lnTo>
                <a:lnTo>
                  <a:pt x="0" y="0"/>
                </a:lnTo>
                <a:lnTo>
                  <a:pt x="39618" y="0"/>
                </a:lnTo>
                <a:lnTo>
                  <a:pt x="83898" y="45445"/>
                </a:lnTo>
                <a:close/>
              </a:path>
            </a:pathLst>
          </a:custGeom>
          <a:solidFill>
            <a:srgbClr val="EEF2F5"/>
          </a:solidFill>
          <a:ln w="11643" cap="flat">
            <a:noFill/>
            <a:prstDash val="solid"/>
            <a:miter/>
          </a:ln>
        </p:spPr>
        <p:txBody>
          <a:bodyPr rtlCol="0" anchor="ctr"/>
          <a:lstStyle/>
          <a:p>
            <a:endParaRPr lang="de-DE"/>
          </a:p>
        </p:txBody>
      </p:sp>
      <p:sp>
        <p:nvSpPr>
          <p:cNvPr id="344" name="Freihandform: Form 343">
            <a:extLst>
              <a:ext uri="{FF2B5EF4-FFF2-40B4-BE49-F238E27FC236}">
                <a16:creationId xmlns:a16="http://schemas.microsoft.com/office/drawing/2014/main" id="{6DD9ED1D-820B-4357-A470-36FDDF21B3EF}"/>
              </a:ext>
            </a:extLst>
          </p:cNvPr>
          <p:cNvSpPr/>
          <p:nvPr userDrawn="1"/>
        </p:nvSpPr>
        <p:spPr>
          <a:xfrm>
            <a:off x="6294680" y="3129205"/>
            <a:ext cx="83897" cy="90889"/>
          </a:xfrm>
          <a:custGeom>
            <a:avLst/>
            <a:gdLst>
              <a:gd name="connsiteX0" fmla="*/ 38453 w 83897"/>
              <a:gd name="connsiteY0" fmla="*/ 90889 h 90889"/>
              <a:gd name="connsiteX1" fmla="*/ 0 w 83897"/>
              <a:gd name="connsiteY1" fmla="*/ 90889 h 90889"/>
              <a:gd name="connsiteX2" fmla="*/ 45445 w 83897"/>
              <a:gd name="connsiteY2" fmla="*/ 45445 h 90889"/>
              <a:gd name="connsiteX3" fmla="*/ 0 w 83897"/>
              <a:gd name="connsiteY3" fmla="*/ 0 h 90889"/>
              <a:gd name="connsiteX4" fmla="*/ 39618 w 83897"/>
              <a:gd name="connsiteY4" fmla="*/ 0 h 90889"/>
              <a:gd name="connsiteX5" fmla="*/ 83898 w 83897"/>
              <a:gd name="connsiteY5" fmla="*/ 44279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endParaRPr lang="de-DE"/>
          </a:p>
        </p:txBody>
      </p:sp>
      <p:sp>
        <p:nvSpPr>
          <p:cNvPr id="345" name="Freihandform: Form 344">
            <a:extLst>
              <a:ext uri="{FF2B5EF4-FFF2-40B4-BE49-F238E27FC236}">
                <a16:creationId xmlns:a16="http://schemas.microsoft.com/office/drawing/2014/main" id="{AB5439D2-89C7-4CE8-94B8-29C5545E1F13}"/>
              </a:ext>
            </a:extLst>
          </p:cNvPr>
          <p:cNvSpPr/>
          <p:nvPr userDrawn="1"/>
        </p:nvSpPr>
        <p:spPr>
          <a:xfrm>
            <a:off x="6294680" y="3484606"/>
            <a:ext cx="83897" cy="89724"/>
          </a:xfrm>
          <a:custGeom>
            <a:avLst/>
            <a:gdLst>
              <a:gd name="connsiteX0" fmla="*/ 38453 w 83897"/>
              <a:gd name="connsiteY0" fmla="*/ 89724 h 89724"/>
              <a:gd name="connsiteX1" fmla="*/ 0 w 83897"/>
              <a:gd name="connsiteY1" fmla="*/ 89724 h 89724"/>
              <a:gd name="connsiteX2" fmla="*/ 45445 w 83897"/>
              <a:gd name="connsiteY2" fmla="*/ 45445 h 89724"/>
              <a:gd name="connsiteX3" fmla="*/ 0 w 83897"/>
              <a:gd name="connsiteY3" fmla="*/ 0 h 89724"/>
              <a:gd name="connsiteX4" fmla="*/ 39618 w 83897"/>
              <a:gd name="connsiteY4" fmla="*/ 0 h 89724"/>
              <a:gd name="connsiteX5" fmla="*/ 83898 w 83897"/>
              <a:gd name="connsiteY5" fmla="*/ 44279 h 89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89724">
                <a:moveTo>
                  <a:pt x="38453" y="89724"/>
                </a:moveTo>
                <a:lnTo>
                  <a:pt x="0" y="89724"/>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endParaRPr lang="de-DE"/>
          </a:p>
        </p:txBody>
      </p:sp>
      <p:sp>
        <p:nvSpPr>
          <p:cNvPr id="346" name="Freihandform: Form 345">
            <a:extLst>
              <a:ext uri="{FF2B5EF4-FFF2-40B4-BE49-F238E27FC236}">
                <a16:creationId xmlns:a16="http://schemas.microsoft.com/office/drawing/2014/main" id="{AF1E6C46-91F7-46BE-B34D-0F8FF181944E}"/>
              </a:ext>
            </a:extLst>
          </p:cNvPr>
          <p:cNvSpPr/>
          <p:nvPr userDrawn="1"/>
        </p:nvSpPr>
        <p:spPr>
          <a:xfrm>
            <a:off x="6294680" y="3838841"/>
            <a:ext cx="83897" cy="90889"/>
          </a:xfrm>
          <a:custGeom>
            <a:avLst/>
            <a:gdLst>
              <a:gd name="connsiteX0" fmla="*/ 38453 w 83897"/>
              <a:gd name="connsiteY0" fmla="*/ 90889 h 90889"/>
              <a:gd name="connsiteX1" fmla="*/ 0 w 83897"/>
              <a:gd name="connsiteY1" fmla="*/ 90889 h 90889"/>
              <a:gd name="connsiteX2" fmla="*/ 45445 w 83897"/>
              <a:gd name="connsiteY2" fmla="*/ 45445 h 90889"/>
              <a:gd name="connsiteX3" fmla="*/ 0 w 83897"/>
              <a:gd name="connsiteY3" fmla="*/ 0 h 90889"/>
              <a:gd name="connsiteX4" fmla="*/ 39618 w 83897"/>
              <a:gd name="connsiteY4" fmla="*/ 0 h 90889"/>
              <a:gd name="connsiteX5" fmla="*/ 83898 w 83897"/>
              <a:gd name="connsiteY5" fmla="*/ 44279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endParaRPr lang="de-DE"/>
          </a:p>
        </p:txBody>
      </p:sp>
      <p:sp>
        <p:nvSpPr>
          <p:cNvPr id="347" name="Freihandform: Form 346">
            <a:extLst>
              <a:ext uri="{FF2B5EF4-FFF2-40B4-BE49-F238E27FC236}">
                <a16:creationId xmlns:a16="http://schemas.microsoft.com/office/drawing/2014/main" id="{098A75FB-3BEC-4A6C-8897-8E57891AACC2}"/>
              </a:ext>
            </a:extLst>
          </p:cNvPr>
          <p:cNvSpPr/>
          <p:nvPr userDrawn="1"/>
        </p:nvSpPr>
        <p:spPr>
          <a:xfrm>
            <a:off x="6294680" y="4194242"/>
            <a:ext cx="83897" cy="89724"/>
          </a:xfrm>
          <a:custGeom>
            <a:avLst/>
            <a:gdLst>
              <a:gd name="connsiteX0" fmla="*/ 38453 w 83897"/>
              <a:gd name="connsiteY0" fmla="*/ 89724 h 89724"/>
              <a:gd name="connsiteX1" fmla="*/ 0 w 83897"/>
              <a:gd name="connsiteY1" fmla="*/ 89724 h 89724"/>
              <a:gd name="connsiteX2" fmla="*/ 45445 w 83897"/>
              <a:gd name="connsiteY2" fmla="*/ 45445 h 89724"/>
              <a:gd name="connsiteX3" fmla="*/ 0 w 83897"/>
              <a:gd name="connsiteY3" fmla="*/ 0 h 89724"/>
              <a:gd name="connsiteX4" fmla="*/ 39618 w 83897"/>
              <a:gd name="connsiteY4" fmla="*/ 0 h 89724"/>
              <a:gd name="connsiteX5" fmla="*/ 83898 w 83897"/>
              <a:gd name="connsiteY5" fmla="*/ 44279 h 89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89724">
                <a:moveTo>
                  <a:pt x="38453" y="89724"/>
                </a:moveTo>
                <a:lnTo>
                  <a:pt x="0" y="89724"/>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endParaRPr lang="de-DE"/>
          </a:p>
        </p:txBody>
      </p:sp>
      <p:sp>
        <p:nvSpPr>
          <p:cNvPr id="348" name="Freihandform: Form 347">
            <a:extLst>
              <a:ext uri="{FF2B5EF4-FFF2-40B4-BE49-F238E27FC236}">
                <a16:creationId xmlns:a16="http://schemas.microsoft.com/office/drawing/2014/main" id="{FB969AF5-A3F7-4A67-927C-8CDA08440EEA}"/>
              </a:ext>
            </a:extLst>
          </p:cNvPr>
          <p:cNvSpPr/>
          <p:nvPr userDrawn="1"/>
        </p:nvSpPr>
        <p:spPr>
          <a:xfrm>
            <a:off x="6294680" y="4903878"/>
            <a:ext cx="83897" cy="89724"/>
          </a:xfrm>
          <a:custGeom>
            <a:avLst/>
            <a:gdLst>
              <a:gd name="connsiteX0" fmla="*/ 38453 w 83897"/>
              <a:gd name="connsiteY0" fmla="*/ 89724 h 89724"/>
              <a:gd name="connsiteX1" fmla="*/ 0 w 83897"/>
              <a:gd name="connsiteY1" fmla="*/ 89724 h 89724"/>
              <a:gd name="connsiteX2" fmla="*/ 45445 w 83897"/>
              <a:gd name="connsiteY2" fmla="*/ 45445 h 89724"/>
              <a:gd name="connsiteX3" fmla="*/ 0 w 83897"/>
              <a:gd name="connsiteY3" fmla="*/ 0 h 89724"/>
              <a:gd name="connsiteX4" fmla="*/ 39618 w 83897"/>
              <a:gd name="connsiteY4" fmla="*/ 0 h 89724"/>
              <a:gd name="connsiteX5" fmla="*/ 83898 w 83897"/>
              <a:gd name="connsiteY5" fmla="*/ 44279 h 89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89724">
                <a:moveTo>
                  <a:pt x="38453" y="89724"/>
                </a:moveTo>
                <a:lnTo>
                  <a:pt x="0" y="89724"/>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endParaRPr lang="de-DE"/>
          </a:p>
        </p:txBody>
      </p:sp>
      <p:sp>
        <p:nvSpPr>
          <p:cNvPr id="349" name="Freihandform: Form 348">
            <a:extLst>
              <a:ext uri="{FF2B5EF4-FFF2-40B4-BE49-F238E27FC236}">
                <a16:creationId xmlns:a16="http://schemas.microsoft.com/office/drawing/2014/main" id="{2E6C2156-0A71-415E-B4B6-B6F43E9327C4}"/>
              </a:ext>
            </a:extLst>
          </p:cNvPr>
          <p:cNvSpPr/>
          <p:nvPr userDrawn="1"/>
        </p:nvSpPr>
        <p:spPr>
          <a:xfrm>
            <a:off x="6294680" y="5258113"/>
            <a:ext cx="83897" cy="90889"/>
          </a:xfrm>
          <a:custGeom>
            <a:avLst/>
            <a:gdLst>
              <a:gd name="connsiteX0" fmla="*/ 38453 w 83897"/>
              <a:gd name="connsiteY0" fmla="*/ 90889 h 90889"/>
              <a:gd name="connsiteX1" fmla="*/ 0 w 83897"/>
              <a:gd name="connsiteY1" fmla="*/ 90889 h 90889"/>
              <a:gd name="connsiteX2" fmla="*/ 45445 w 83897"/>
              <a:gd name="connsiteY2" fmla="*/ 45445 h 90889"/>
              <a:gd name="connsiteX3" fmla="*/ 0 w 83897"/>
              <a:gd name="connsiteY3" fmla="*/ 0 h 90889"/>
              <a:gd name="connsiteX4" fmla="*/ 39618 w 83897"/>
              <a:gd name="connsiteY4" fmla="*/ 0 h 90889"/>
              <a:gd name="connsiteX5" fmla="*/ 83898 w 83897"/>
              <a:gd name="connsiteY5" fmla="*/ 44279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endParaRPr lang="de-DE"/>
          </a:p>
        </p:txBody>
      </p:sp>
      <p:sp>
        <p:nvSpPr>
          <p:cNvPr id="350" name="Freihandform: Form 349">
            <a:extLst>
              <a:ext uri="{FF2B5EF4-FFF2-40B4-BE49-F238E27FC236}">
                <a16:creationId xmlns:a16="http://schemas.microsoft.com/office/drawing/2014/main" id="{ACCECFFB-F7F0-4072-9DC2-02D68E9052B1}"/>
              </a:ext>
            </a:extLst>
          </p:cNvPr>
          <p:cNvSpPr/>
          <p:nvPr userDrawn="1"/>
        </p:nvSpPr>
        <p:spPr>
          <a:xfrm>
            <a:off x="6294680" y="5613514"/>
            <a:ext cx="83897" cy="90889"/>
          </a:xfrm>
          <a:custGeom>
            <a:avLst/>
            <a:gdLst>
              <a:gd name="connsiteX0" fmla="*/ 38453 w 83897"/>
              <a:gd name="connsiteY0" fmla="*/ 90889 h 90889"/>
              <a:gd name="connsiteX1" fmla="*/ 0 w 83897"/>
              <a:gd name="connsiteY1" fmla="*/ 90889 h 90889"/>
              <a:gd name="connsiteX2" fmla="*/ 45445 w 83897"/>
              <a:gd name="connsiteY2" fmla="*/ 45445 h 90889"/>
              <a:gd name="connsiteX3" fmla="*/ 0 w 83897"/>
              <a:gd name="connsiteY3" fmla="*/ 0 h 90889"/>
              <a:gd name="connsiteX4" fmla="*/ 39618 w 83897"/>
              <a:gd name="connsiteY4" fmla="*/ 0 h 90889"/>
              <a:gd name="connsiteX5" fmla="*/ 83898 w 83897"/>
              <a:gd name="connsiteY5" fmla="*/ 44279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endParaRPr lang="de-DE"/>
          </a:p>
        </p:txBody>
      </p:sp>
      <p:sp>
        <p:nvSpPr>
          <p:cNvPr id="351" name="Freihandform: Form 350">
            <a:extLst>
              <a:ext uri="{FF2B5EF4-FFF2-40B4-BE49-F238E27FC236}">
                <a16:creationId xmlns:a16="http://schemas.microsoft.com/office/drawing/2014/main" id="{30860A54-535E-40E9-96AA-34D99A547843}"/>
              </a:ext>
            </a:extLst>
          </p:cNvPr>
          <p:cNvSpPr/>
          <p:nvPr userDrawn="1"/>
        </p:nvSpPr>
        <p:spPr>
          <a:xfrm>
            <a:off x="6294680" y="5967749"/>
            <a:ext cx="83897" cy="90889"/>
          </a:xfrm>
          <a:custGeom>
            <a:avLst/>
            <a:gdLst>
              <a:gd name="connsiteX0" fmla="*/ 38453 w 83897"/>
              <a:gd name="connsiteY0" fmla="*/ 90889 h 90889"/>
              <a:gd name="connsiteX1" fmla="*/ 0 w 83897"/>
              <a:gd name="connsiteY1" fmla="*/ 90889 h 90889"/>
              <a:gd name="connsiteX2" fmla="*/ 45445 w 83897"/>
              <a:gd name="connsiteY2" fmla="*/ 46610 h 90889"/>
              <a:gd name="connsiteX3" fmla="*/ 0 w 83897"/>
              <a:gd name="connsiteY3" fmla="*/ 0 h 90889"/>
              <a:gd name="connsiteX4" fmla="*/ 39618 w 83897"/>
              <a:gd name="connsiteY4" fmla="*/ 0 h 90889"/>
              <a:gd name="connsiteX5" fmla="*/ 83898 w 83897"/>
              <a:gd name="connsiteY5" fmla="*/ 45445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6610"/>
                </a:lnTo>
                <a:lnTo>
                  <a:pt x="0" y="0"/>
                </a:lnTo>
                <a:lnTo>
                  <a:pt x="39618" y="0"/>
                </a:lnTo>
                <a:lnTo>
                  <a:pt x="83898" y="45445"/>
                </a:lnTo>
                <a:close/>
              </a:path>
            </a:pathLst>
          </a:custGeom>
          <a:solidFill>
            <a:srgbClr val="EEF2F5"/>
          </a:solidFill>
          <a:ln w="11643" cap="flat">
            <a:noFill/>
            <a:prstDash val="solid"/>
            <a:miter/>
          </a:ln>
        </p:spPr>
        <p:txBody>
          <a:bodyPr rtlCol="0" anchor="ctr"/>
          <a:lstStyle/>
          <a:p>
            <a:endParaRPr lang="de-DE"/>
          </a:p>
        </p:txBody>
      </p:sp>
      <p:sp>
        <p:nvSpPr>
          <p:cNvPr id="352" name="Freihandform: Form 351">
            <a:extLst>
              <a:ext uri="{FF2B5EF4-FFF2-40B4-BE49-F238E27FC236}">
                <a16:creationId xmlns:a16="http://schemas.microsoft.com/office/drawing/2014/main" id="{74EA2C5C-043C-43FC-82F8-EBCDC51C4FFE}"/>
              </a:ext>
            </a:extLst>
          </p:cNvPr>
          <p:cNvSpPr/>
          <p:nvPr userDrawn="1"/>
        </p:nvSpPr>
        <p:spPr>
          <a:xfrm>
            <a:off x="6294680" y="6323150"/>
            <a:ext cx="83897" cy="90889"/>
          </a:xfrm>
          <a:custGeom>
            <a:avLst/>
            <a:gdLst>
              <a:gd name="connsiteX0" fmla="*/ 38453 w 83897"/>
              <a:gd name="connsiteY0" fmla="*/ 90889 h 90889"/>
              <a:gd name="connsiteX1" fmla="*/ 0 w 83897"/>
              <a:gd name="connsiteY1" fmla="*/ 90889 h 90889"/>
              <a:gd name="connsiteX2" fmla="*/ 45445 w 83897"/>
              <a:gd name="connsiteY2" fmla="*/ 45445 h 90889"/>
              <a:gd name="connsiteX3" fmla="*/ 0 w 83897"/>
              <a:gd name="connsiteY3" fmla="*/ 0 h 90889"/>
              <a:gd name="connsiteX4" fmla="*/ 39618 w 83897"/>
              <a:gd name="connsiteY4" fmla="*/ 0 h 90889"/>
              <a:gd name="connsiteX5" fmla="*/ 83898 w 83897"/>
              <a:gd name="connsiteY5" fmla="*/ 44279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endParaRPr lang="de-DE"/>
          </a:p>
        </p:txBody>
      </p:sp>
      <p:sp>
        <p:nvSpPr>
          <p:cNvPr id="353" name="Freihandform: Form 352">
            <a:extLst>
              <a:ext uri="{FF2B5EF4-FFF2-40B4-BE49-F238E27FC236}">
                <a16:creationId xmlns:a16="http://schemas.microsoft.com/office/drawing/2014/main" id="{C8CACB49-436D-4574-8377-C753156738F1}"/>
              </a:ext>
            </a:extLst>
          </p:cNvPr>
          <p:cNvSpPr/>
          <p:nvPr userDrawn="1"/>
        </p:nvSpPr>
        <p:spPr>
          <a:xfrm>
            <a:off x="6294680" y="6677385"/>
            <a:ext cx="83897" cy="90889"/>
          </a:xfrm>
          <a:custGeom>
            <a:avLst/>
            <a:gdLst>
              <a:gd name="connsiteX0" fmla="*/ 38453 w 83897"/>
              <a:gd name="connsiteY0" fmla="*/ 90889 h 90889"/>
              <a:gd name="connsiteX1" fmla="*/ 0 w 83897"/>
              <a:gd name="connsiteY1" fmla="*/ 90889 h 90889"/>
              <a:gd name="connsiteX2" fmla="*/ 45445 w 83897"/>
              <a:gd name="connsiteY2" fmla="*/ 46610 h 90889"/>
              <a:gd name="connsiteX3" fmla="*/ 0 w 83897"/>
              <a:gd name="connsiteY3" fmla="*/ 0 h 90889"/>
              <a:gd name="connsiteX4" fmla="*/ 39618 w 83897"/>
              <a:gd name="connsiteY4" fmla="*/ 0 h 90889"/>
              <a:gd name="connsiteX5" fmla="*/ 83898 w 83897"/>
              <a:gd name="connsiteY5" fmla="*/ 45445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6610"/>
                </a:lnTo>
                <a:lnTo>
                  <a:pt x="0" y="0"/>
                </a:lnTo>
                <a:lnTo>
                  <a:pt x="39618" y="0"/>
                </a:lnTo>
                <a:lnTo>
                  <a:pt x="83898" y="45445"/>
                </a:lnTo>
                <a:close/>
              </a:path>
            </a:pathLst>
          </a:custGeom>
          <a:solidFill>
            <a:srgbClr val="EEF2F5"/>
          </a:solidFill>
          <a:ln w="11643" cap="flat">
            <a:noFill/>
            <a:prstDash val="solid"/>
            <a:miter/>
          </a:ln>
        </p:spPr>
        <p:txBody>
          <a:bodyPr rtlCol="0" anchor="ctr"/>
          <a:lstStyle/>
          <a:p>
            <a:endParaRPr lang="de-DE"/>
          </a:p>
        </p:txBody>
      </p:sp>
      <p:sp>
        <p:nvSpPr>
          <p:cNvPr id="354" name="Freihandform: Form 353">
            <a:extLst>
              <a:ext uri="{FF2B5EF4-FFF2-40B4-BE49-F238E27FC236}">
                <a16:creationId xmlns:a16="http://schemas.microsoft.com/office/drawing/2014/main" id="{B29013A0-BCBB-40DB-8B64-C13F7A006ED1}"/>
              </a:ext>
            </a:extLst>
          </p:cNvPr>
          <p:cNvSpPr/>
          <p:nvPr userDrawn="1"/>
        </p:nvSpPr>
        <p:spPr>
          <a:xfrm>
            <a:off x="6641924" y="2056012"/>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3601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355" name="Freihandform: Form 354">
            <a:extLst>
              <a:ext uri="{FF2B5EF4-FFF2-40B4-BE49-F238E27FC236}">
                <a16:creationId xmlns:a16="http://schemas.microsoft.com/office/drawing/2014/main" id="{CFF769E7-83E6-4FFF-B7B6-43CAC363AE64}"/>
              </a:ext>
            </a:extLst>
          </p:cNvPr>
          <p:cNvSpPr/>
          <p:nvPr userDrawn="1"/>
        </p:nvSpPr>
        <p:spPr>
          <a:xfrm>
            <a:off x="6641924" y="2410247"/>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3601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356" name="Freihandform: Form 355">
            <a:extLst>
              <a:ext uri="{FF2B5EF4-FFF2-40B4-BE49-F238E27FC236}">
                <a16:creationId xmlns:a16="http://schemas.microsoft.com/office/drawing/2014/main" id="{B4DC8A4E-265A-423E-AB7E-52089C97E7ED}"/>
              </a:ext>
            </a:extLst>
          </p:cNvPr>
          <p:cNvSpPr/>
          <p:nvPr userDrawn="1"/>
        </p:nvSpPr>
        <p:spPr>
          <a:xfrm>
            <a:off x="6641924" y="2765648"/>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3601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357" name="Freihandform: Form 356">
            <a:extLst>
              <a:ext uri="{FF2B5EF4-FFF2-40B4-BE49-F238E27FC236}">
                <a16:creationId xmlns:a16="http://schemas.microsoft.com/office/drawing/2014/main" id="{8229E235-012D-4068-9887-186727B34CE4}"/>
              </a:ext>
            </a:extLst>
          </p:cNvPr>
          <p:cNvSpPr/>
          <p:nvPr userDrawn="1"/>
        </p:nvSpPr>
        <p:spPr>
          <a:xfrm>
            <a:off x="6641924" y="3119883"/>
            <a:ext cx="100211" cy="109533"/>
          </a:xfrm>
          <a:custGeom>
            <a:avLst/>
            <a:gdLst>
              <a:gd name="connsiteX0" fmla="*/ 45445 w 100211"/>
              <a:gd name="connsiteY0" fmla="*/ 109533 h 109533"/>
              <a:gd name="connsiteX1" fmla="*/ 0 w 100211"/>
              <a:gd name="connsiteY1" fmla="*/ 109533 h 109533"/>
              <a:gd name="connsiteX2" fmla="*/ 53601 w 100211"/>
              <a:gd name="connsiteY2" fmla="*/ 54767 h 109533"/>
              <a:gd name="connsiteX3" fmla="*/ 0 w 100211"/>
              <a:gd name="connsiteY3" fmla="*/ 0 h 109533"/>
              <a:gd name="connsiteX4" fmla="*/ 46610 w 100211"/>
              <a:gd name="connsiteY4" fmla="*/ 0 h 109533"/>
              <a:gd name="connsiteX5" fmla="*/ 100211 w 100211"/>
              <a:gd name="connsiteY5" fmla="*/ 53601 h 109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9533">
                <a:moveTo>
                  <a:pt x="45445" y="109533"/>
                </a:moveTo>
                <a:lnTo>
                  <a:pt x="0" y="109533"/>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358" name="Freihandform: Form 357">
            <a:extLst>
              <a:ext uri="{FF2B5EF4-FFF2-40B4-BE49-F238E27FC236}">
                <a16:creationId xmlns:a16="http://schemas.microsoft.com/office/drawing/2014/main" id="{984E28EA-AC69-4530-BB08-379D156F0B5F}"/>
              </a:ext>
            </a:extLst>
          </p:cNvPr>
          <p:cNvSpPr/>
          <p:nvPr userDrawn="1"/>
        </p:nvSpPr>
        <p:spPr>
          <a:xfrm>
            <a:off x="6641924" y="3475284"/>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3601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359" name="Freihandform: Form 358">
            <a:extLst>
              <a:ext uri="{FF2B5EF4-FFF2-40B4-BE49-F238E27FC236}">
                <a16:creationId xmlns:a16="http://schemas.microsoft.com/office/drawing/2014/main" id="{FEDFDF1D-F996-436D-95F7-5BE574FD9E43}"/>
              </a:ext>
            </a:extLst>
          </p:cNvPr>
          <p:cNvSpPr/>
          <p:nvPr userDrawn="1"/>
        </p:nvSpPr>
        <p:spPr>
          <a:xfrm>
            <a:off x="6641924" y="3829519"/>
            <a:ext cx="100211" cy="109533"/>
          </a:xfrm>
          <a:custGeom>
            <a:avLst/>
            <a:gdLst>
              <a:gd name="connsiteX0" fmla="*/ 45445 w 100211"/>
              <a:gd name="connsiteY0" fmla="*/ 109533 h 109533"/>
              <a:gd name="connsiteX1" fmla="*/ 0 w 100211"/>
              <a:gd name="connsiteY1" fmla="*/ 109533 h 109533"/>
              <a:gd name="connsiteX2" fmla="*/ 53601 w 100211"/>
              <a:gd name="connsiteY2" fmla="*/ 54767 h 109533"/>
              <a:gd name="connsiteX3" fmla="*/ 0 w 100211"/>
              <a:gd name="connsiteY3" fmla="*/ 0 h 109533"/>
              <a:gd name="connsiteX4" fmla="*/ 46610 w 100211"/>
              <a:gd name="connsiteY4" fmla="*/ 0 h 109533"/>
              <a:gd name="connsiteX5" fmla="*/ 100211 w 100211"/>
              <a:gd name="connsiteY5" fmla="*/ 53601 h 109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9533">
                <a:moveTo>
                  <a:pt x="45445" y="109533"/>
                </a:moveTo>
                <a:lnTo>
                  <a:pt x="0" y="109533"/>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360" name="Freihandform: Form 359">
            <a:extLst>
              <a:ext uri="{FF2B5EF4-FFF2-40B4-BE49-F238E27FC236}">
                <a16:creationId xmlns:a16="http://schemas.microsoft.com/office/drawing/2014/main" id="{8685CC1C-42AB-4B1F-A9DB-BA63AF39AC62}"/>
              </a:ext>
            </a:extLst>
          </p:cNvPr>
          <p:cNvSpPr/>
          <p:nvPr userDrawn="1"/>
        </p:nvSpPr>
        <p:spPr>
          <a:xfrm>
            <a:off x="6641924" y="4184920"/>
            <a:ext cx="100211" cy="108367"/>
          </a:xfrm>
          <a:custGeom>
            <a:avLst/>
            <a:gdLst>
              <a:gd name="connsiteX0" fmla="*/ 45445 w 100211"/>
              <a:gd name="connsiteY0" fmla="*/ 108368 h 108367"/>
              <a:gd name="connsiteX1" fmla="*/ 0 w 100211"/>
              <a:gd name="connsiteY1" fmla="*/ 108368 h 108367"/>
              <a:gd name="connsiteX2" fmla="*/ 53601 w 100211"/>
              <a:gd name="connsiteY2" fmla="*/ 54767 h 108367"/>
              <a:gd name="connsiteX3" fmla="*/ 0 w 100211"/>
              <a:gd name="connsiteY3" fmla="*/ 0 h 108367"/>
              <a:gd name="connsiteX4" fmla="*/ 46610 w 100211"/>
              <a:gd name="connsiteY4" fmla="*/ 0 h 108367"/>
              <a:gd name="connsiteX5" fmla="*/ 100211 w 100211"/>
              <a:gd name="connsiteY5" fmla="*/ 53601 h 108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7">
                <a:moveTo>
                  <a:pt x="45445" y="108368"/>
                </a:moveTo>
                <a:lnTo>
                  <a:pt x="0" y="108368"/>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361" name="Freihandform: Form 360">
            <a:extLst>
              <a:ext uri="{FF2B5EF4-FFF2-40B4-BE49-F238E27FC236}">
                <a16:creationId xmlns:a16="http://schemas.microsoft.com/office/drawing/2014/main" id="{48EE8789-AAA0-46DB-896E-70EAB25AAE92}"/>
              </a:ext>
            </a:extLst>
          </p:cNvPr>
          <p:cNvSpPr/>
          <p:nvPr userDrawn="1"/>
        </p:nvSpPr>
        <p:spPr>
          <a:xfrm>
            <a:off x="6641924" y="4539155"/>
            <a:ext cx="100211" cy="109533"/>
          </a:xfrm>
          <a:custGeom>
            <a:avLst/>
            <a:gdLst>
              <a:gd name="connsiteX0" fmla="*/ 45445 w 100211"/>
              <a:gd name="connsiteY0" fmla="*/ 109533 h 109533"/>
              <a:gd name="connsiteX1" fmla="*/ 0 w 100211"/>
              <a:gd name="connsiteY1" fmla="*/ 109533 h 109533"/>
              <a:gd name="connsiteX2" fmla="*/ 53601 w 100211"/>
              <a:gd name="connsiteY2" fmla="*/ 54767 h 109533"/>
              <a:gd name="connsiteX3" fmla="*/ 0 w 100211"/>
              <a:gd name="connsiteY3" fmla="*/ 0 h 109533"/>
              <a:gd name="connsiteX4" fmla="*/ 46610 w 100211"/>
              <a:gd name="connsiteY4" fmla="*/ 0 h 109533"/>
              <a:gd name="connsiteX5" fmla="*/ 100211 w 100211"/>
              <a:gd name="connsiteY5" fmla="*/ 53601 h 109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9533">
                <a:moveTo>
                  <a:pt x="45445" y="109533"/>
                </a:moveTo>
                <a:lnTo>
                  <a:pt x="0" y="109533"/>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362" name="Freihandform: Form 361">
            <a:extLst>
              <a:ext uri="{FF2B5EF4-FFF2-40B4-BE49-F238E27FC236}">
                <a16:creationId xmlns:a16="http://schemas.microsoft.com/office/drawing/2014/main" id="{102A4279-5E98-4085-A63D-1DC589536896}"/>
              </a:ext>
            </a:extLst>
          </p:cNvPr>
          <p:cNvSpPr/>
          <p:nvPr userDrawn="1"/>
        </p:nvSpPr>
        <p:spPr>
          <a:xfrm>
            <a:off x="6641924" y="4894556"/>
            <a:ext cx="100211" cy="108367"/>
          </a:xfrm>
          <a:custGeom>
            <a:avLst/>
            <a:gdLst>
              <a:gd name="connsiteX0" fmla="*/ 45445 w 100211"/>
              <a:gd name="connsiteY0" fmla="*/ 108368 h 108367"/>
              <a:gd name="connsiteX1" fmla="*/ 0 w 100211"/>
              <a:gd name="connsiteY1" fmla="*/ 108368 h 108367"/>
              <a:gd name="connsiteX2" fmla="*/ 53601 w 100211"/>
              <a:gd name="connsiteY2" fmla="*/ 54767 h 108367"/>
              <a:gd name="connsiteX3" fmla="*/ 0 w 100211"/>
              <a:gd name="connsiteY3" fmla="*/ 0 h 108367"/>
              <a:gd name="connsiteX4" fmla="*/ 46610 w 100211"/>
              <a:gd name="connsiteY4" fmla="*/ 0 h 108367"/>
              <a:gd name="connsiteX5" fmla="*/ 100211 w 100211"/>
              <a:gd name="connsiteY5" fmla="*/ 53601 h 108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7">
                <a:moveTo>
                  <a:pt x="45445" y="108368"/>
                </a:moveTo>
                <a:lnTo>
                  <a:pt x="0" y="108368"/>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363" name="Freihandform: Form 362">
            <a:extLst>
              <a:ext uri="{FF2B5EF4-FFF2-40B4-BE49-F238E27FC236}">
                <a16:creationId xmlns:a16="http://schemas.microsoft.com/office/drawing/2014/main" id="{F159DC3D-E9B7-40DC-80A5-80705CE3B859}"/>
              </a:ext>
            </a:extLst>
          </p:cNvPr>
          <p:cNvSpPr/>
          <p:nvPr userDrawn="1"/>
        </p:nvSpPr>
        <p:spPr>
          <a:xfrm>
            <a:off x="6641924" y="5249956"/>
            <a:ext cx="100211" cy="108367"/>
          </a:xfrm>
          <a:custGeom>
            <a:avLst/>
            <a:gdLst>
              <a:gd name="connsiteX0" fmla="*/ 45445 w 100211"/>
              <a:gd name="connsiteY0" fmla="*/ 108368 h 108367"/>
              <a:gd name="connsiteX1" fmla="*/ 0 w 100211"/>
              <a:gd name="connsiteY1" fmla="*/ 108368 h 108367"/>
              <a:gd name="connsiteX2" fmla="*/ 53601 w 100211"/>
              <a:gd name="connsiteY2" fmla="*/ 54767 h 108367"/>
              <a:gd name="connsiteX3" fmla="*/ 0 w 100211"/>
              <a:gd name="connsiteY3" fmla="*/ 0 h 108367"/>
              <a:gd name="connsiteX4" fmla="*/ 46610 w 100211"/>
              <a:gd name="connsiteY4" fmla="*/ 0 h 108367"/>
              <a:gd name="connsiteX5" fmla="*/ 100211 w 100211"/>
              <a:gd name="connsiteY5" fmla="*/ 52436 h 108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7">
                <a:moveTo>
                  <a:pt x="45445" y="108368"/>
                </a:moveTo>
                <a:lnTo>
                  <a:pt x="0" y="108368"/>
                </a:lnTo>
                <a:lnTo>
                  <a:pt x="53601" y="54767"/>
                </a:lnTo>
                <a:lnTo>
                  <a:pt x="0" y="0"/>
                </a:lnTo>
                <a:lnTo>
                  <a:pt x="46610" y="0"/>
                </a:lnTo>
                <a:lnTo>
                  <a:pt x="100211" y="52436"/>
                </a:lnTo>
                <a:close/>
              </a:path>
            </a:pathLst>
          </a:custGeom>
          <a:solidFill>
            <a:srgbClr val="EEF2F5"/>
          </a:solidFill>
          <a:ln w="11643" cap="flat">
            <a:noFill/>
            <a:prstDash val="solid"/>
            <a:miter/>
          </a:ln>
        </p:spPr>
        <p:txBody>
          <a:bodyPr rtlCol="0" anchor="ctr"/>
          <a:lstStyle/>
          <a:p>
            <a:endParaRPr lang="de-DE"/>
          </a:p>
        </p:txBody>
      </p:sp>
      <p:sp>
        <p:nvSpPr>
          <p:cNvPr id="364" name="Freihandform: Form 363">
            <a:extLst>
              <a:ext uri="{FF2B5EF4-FFF2-40B4-BE49-F238E27FC236}">
                <a16:creationId xmlns:a16="http://schemas.microsoft.com/office/drawing/2014/main" id="{72A08ED3-7BD7-47B4-8793-76366AD64EE4}"/>
              </a:ext>
            </a:extLst>
          </p:cNvPr>
          <p:cNvSpPr/>
          <p:nvPr userDrawn="1"/>
        </p:nvSpPr>
        <p:spPr>
          <a:xfrm>
            <a:off x="6641924" y="5604192"/>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3601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365" name="Freihandform: Form 364">
            <a:extLst>
              <a:ext uri="{FF2B5EF4-FFF2-40B4-BE49-F238E27FC236}">
                <a16:creationId xmlns:a16="http://schemas.microsoft.com/office/drawing/2014/main" id="{C895AAFE-E256-4007-9B16-BC9198849207}"/>
              </a:ext>
            </a:extLst>
          </p:cNvPr>
          <p:cNvSpPr/>
          <p:nvPr userDrawn="1"/>
        </p:nvSpPr>
        <p:spPr>
          <a:xfrm>
            <a:off x="6641924" y="5959592"/>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2436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2436"/>
                </a:lnTo>
                <a:close/>
              </a:path>
            </a:pathLst>
          </a:custGeom>
          <a:solidFill>
            <a:srgbClr val="EEF2F5"/>
          </a:solidFill>
          <a:ln w="11643" cap="flat">
            <a:noFill/>
            <a:prstDash val="solid"/>
            <a:miter/>
          </a:ln>
        </p:spPr>
        <p:txBody>
          <a:bodyPr rtlCol="0" anchor="ctr"/>
          <a:lstStyle/>
          <a:p>
            <a:endParaRPr lang="de-DE"/>
          </a:p>
        </p:txBody>
      </p:sp>
      <p:sp>
        <p:nvSpPr>
          <p:cNvPr id="366" name="Freihandform: Form 365">
            <a:extLst>
              <a:ext uri="{FF2B5EF4-FFF2-40B4-BE49-F238E27FC236}">
                <a16:creationId xmlns:a16="http://schemas.microsoft.com/office/drawing/2014/main" id="{6C173860-BF8F-4E2F-BCFC-7F292BAC3A01}"/>
              </a:ext>
            </a:extLst>
          </p:cNvPr>
          <p:cNvSpPr/>
          <p:nvPr userDrawn="1"/>
        </p:nvSpPr>
        <p:spPr>
          <a:xfrm>
            <a:off x="6641924" y="6313828"/>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3601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367" name="Freihandform: Form 366">
            <a:extLst>
              <a:ext uri="{FF2B5EF4-FFF2-40B4-BE49-F238E27FC236}">
                <a16:creationId xmlns:a16="http://schemas.microsoft.com/office/drawing/2014/main" id="{73853278-27BF-4E81-94D6-486931097CE6}"/>
              </a:ext>
            </a:extLst>
          </p:cNvPr>
          <p:cNvSpPr/>
          <p:nvPr userDrawn="1"/>
        </p:nvSpPr>
        <p:spPr>
          <a:xfrm>
            <a:off x="6641924" y="6669228"/>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2436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2436"/>
                </a:lnTo>
                <a:close/>
              </a:path>
            </a:pathLst>
          </a:custGeom>
          <a:solidFill>
            <a:srgbClr val="EEF2F5"/>
          </a:solidFill>
          <a:ln w="11643" cap="flat">
            <a:noFill/>
            <a:prstDash val="solid"/>
            <a:miter/>
          </a:ln>
        </p:spPr>
        <p:txBody>
          <a:bodyPr rtlCol="0" anchor="ctr"/>
          <a:lstStyle/>
          <a:p>
            <a:endParaRPr lang="de-DE"/>
          </a:p>
        </p:txBody>
      </p:sp>
      <p:sp>
        <p:nvSpPr>
          <p:cNvPr id="368" name="Freihandform: Form 367">
            <a:extLst>
              <a:ext uri="{FF2B5EF4-FFF2-40B4-BE49-F238E27FC236}">
                <a16:creationId xmlns:a16="http://schemas.microsoft.com/office/drawing/2014/main" id="{94E5B3F3-1943-4AAC-A8E5-78E273FC1825}"/>
              </a:ext>
            </a:extLst>
          </p:cNvPr>
          <p:cNvSpPr/>
          <p:nvPr userDrawn="1"/>
        </p:nvSpPr>
        <p:spPr>
          <a:xfrm>
            <a:off x="6988003" y="2046690"/>
            <a:ext cx="117690" cy="127012"/>
          </a:xfrm>
          <a:custGeom>
            <a:avLst/>
            <a:gdLst>
              <a:gd name="connsiteX0" fmla="*/ 53601 w 117690"/>
              <a:gd name="connsiteY0" fmla="*/ 127012 h 127012"/>
              <a:gd name="connsiteX1" fmla="*/ 0 w 117690"/>
              <a:gd name="connsiteY1" fmla="*/ 127012 h 127012"/>
              <a:gd name="connsiteX2" fmla="*/ 62924 w 117690"/>
              <a:gd name="connsiteY2" fmla="*/ 64089 h 127012"/>
              <a:gd name="connsiteX3" fmla="*/ 0 w 117690"/>
              <a:gd name="connsiteY3" fmla="*/ 0 h 127012"/>
              <a:gd name="connsiteX4" fmla="*/ 54767 w 117690"/>
              <a:gd name="connsiteY4" fmla="*/ 0 h 127012"/>
              <a:gd name="connsiteX5" fmla="*/ 117690 w 117690"/>
              <a:gd name="connsiteY5" fmla="*/ 61758 h 12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2">
                <a:moveTo>
                  <a:pt x="53601" y="127012"/>
                </a:moveTo>
                <a:lnTo>
                  <a:pt x="0" y="127012"/>
                </a:lnTo>
                <a:lnTo>
                  <a:pt x="62924" y="64089"/>
                </a:lnTo>
                <a:lnTo>
                  <a:pt x="0" y="0"/>
                </a:lnTo>
                <a:lnTo>
                  <a:pt x="54767" y="0"/>
                </a:lnTo>
                <a:lnTo>
                  <a:pt x="117690" y="61758"/>
                </a:lnTo>
                <a:close/>
              </a:path>
            </a:pathLst>
          </a:custGeom>
          <a:solidFill>
            <a:srgbClr val="EEF2F5"/>
          </a:solidFill>
          <a:ln w="11643" cap="flat">
            <a:noFill/>
            <a:prstDash val="solid"/>
            <a:miter/>
          </a:ln>
        </p:spPr>
        <p:txBody>
          <a:bodyPr rtlCol="0" anchor="ctr"/>
          <a:lstStyle/>
          <a:p>
            <a:endParaRPr lang="de-DE"/>
          </a:p>
        </p:txBody>
      </p:sp>
      <p:sp>
        <p:nvSpPr>
          <p:cNvPr id="369" name="Freihandform: Form 368">
            <a:extLst>
              <a:ext uri="{FF2B5EF4-FFF2-40B4-BE49-F238E27FC236}">
                <a16:creationId xmlns:a16="http://schemas.microsoft.com/office/drawing/2014/main" id="{EDD934F7-8866-497B-BDDF-333CE12CC342}"/>
              </a:ext>
            </a:extLst>
          </p:cNvPr>
          <p:cNvSpPr/>
          <p:nvPr userDrawn="1"/>
        </p:nvSpPr>
        <p:spPr>
          <a:xfrm>
            <a:off x="6988003" y="2400925"/>
            <a:ext cx="117690" cy="127012"/>
          </a:xfrm>
          <a:custGeom>
            <a:avLst/>
            <a:gdLst>
              <a:gd name="connsiteX0" fmla="*/ 53601 w 117690"/>
              <a:gd name="connsiteY0" fmla="*/ 127012 h 127012"/>
              <a:gd name="connsiteX1" fmla="*/ 0 w 117690"/>
              <a:gd name="connsiteY1" fmla="*/ 127012 h 127012"/>
              <a:gd name="connsiteX2" fmla="*/ 62924 w 117690"/>
              <a:gd name="connsiteY2" fmla="*/ 64089 h 127012"/>
              <a:gd name="connsiteX3" fmla="*/ 0 w 117690"/>
              <a:gd name="connsiteY3" fmla="*/ 0 h 127012"/>
              <a:gd name="connsiteX4" fmla="*/ 54767 w 117690"/>
              <a:gd name="connsiteY4" fmla="*/ 0 h 127012"/>
              <a:gd name="connsiteX5" fmla="*/ 117690 w 117690"/>
              <a:gd name="connsiteY5" fmla="*/ 62923 h 12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2">
                <a:moveTo>
                  <a:pt x="53601" y="127012"/>
                </a:moveTo>
                <a:lnTo>
                  <a:pt x="0" y="127012"/>
                </a:lnTo>
                <a:lnTo>
                  <a:pt x="62924" y="64089"/>
                </a:lnTo>
                <a:lnTo>
                  <a:pt x="0" y="0"/>
                </a:lnTo>
                <a:lnTo>
                  <a:pt x="54767" y="0"/>
                </a:lnTo>
                <a:lnTo>
                  <a:pt x="117690" y="62923"/>
                </a:lnTo>
                <a:close/>
              </a:path>
            </a:pathLst>
          </a:custGeom>
          <a:solidFill>
            <a:srgbClr val="EEF2F5"/>
          </a:solidFill>
          <a:ln w="11643" cap="flat">
            <a:noFill/>
            <a:prstDash val="solid"/>
            <a:miter/>
          </a:ln>
        </p:spPr>
        <p:txBody>
          <a:bodyPr rtlCol="0" anchor="ctr"/>
          <a:lstStyle/>
          <a:p>
            <a:endParaRPr lang="de-DE"/>
          </a:p>
        </p:txBody>
      </p:sp>
      <p:sp>
        <p:nvSpPr>
          <p:cNvPr id="370" name="Freihandform: Form 369">
            <a:extLst>
              <a:ext uri="{FF2B5EF4-FFF2-40B4-BE49-F238E27FC236}">
                <a16:creationId xmlns:a16="http://schemas.microsoft.com/office/drawing/2014/main" id="{56DAFA73-B8F0-4EB9-8D0E-120ABAAAC29F}"/>
              </a:ext>
            </a:extLst>
          </p:cNvPr>
          <p:cNvSpPr/>
          <p:nvPr userDrawn="1"/>
        </p:nvSpPr>
        <p:spPr>
          <a:xfrm>
            <a:off x="6988003" y="2756326"/>
            <a:ext cx="117690" cy="127012"/>
          </a:xfrm>
          <a:custGeom>
            <a:avLst/>
            <a:gdLst>
              <a:gd name="connsiteX0" fmla="*/ 53601 w 117690"/>
              <a:gd name="connsiteY0" fmla="*/ 127012 h 127012"/>
              <a:gd name="connsiteX1" fmla="*/ 0 w 117690"/>
              <a:gd name="connsiteY1" fmla="*/ 127012 h 127012"/>
              <a:gd name="connsiteX2" fmla="*/ 62924 w 117690"/>
              <a:gd name="connsiteY2" fmla="*/ 64089 h 127012"/>
              <a:gd name="connsiteX3" fmla="*/ 0 w 117690"/>
              <a:gd name="connsiteY3" fmla="*/ 0 h 127012"/>
              <a:gd name="connsiteX4" fmla="*/ 54767 w 117690"/>
              <a:gd name="connsiteY4" fmla="*/ 0 h 127012"/>
              <a:gd name="connsiteX5" fmla="*/ 117690 w 117690"/>
              <a:gd name="connsiteY5" fmla="*/ 61758 h 12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2">
                <a:moveTo>
                  <a:pt x="53601" y="127012"/>
                </a:moveTo>
                <a:lnTo>
                  <a:pt x="0" y="127012"/>
                </a:lnTo>
                <a:lnTo>
                  <a:pt x="62924" y="64089"/>
                </a:lnTo>
                <a:lnTo>
                  <a:pt x="0" y="0"/>
                </a:lnTo>
                <a:lnTo>
                  <a:pt x="54767" y="0"/>
                </a:lnTo>
                <a:lnTo>
                  <a:pt x="117690" y="61758"/>
                </a:lnTo>
                <a:close/>
              </a:path>
            </a:pathLst>
          </a:custGeom>
          <a:solidFill>
            <a:srgbClr val="EEF2F5"/>
          </a:solidFill>
          <a:ln w="11643" cap="flat">
            <a:noFill/>
            <a:prstDash val="solid"/>
            <a:miter/>
          </a:ln>
        </p:spPr>
        <p:txBody>
          <a:bodyPr rtlCol="0" anchor="ctr"/>
          <a:lstStyle/>
          <a:p>
            <a:endParaRPr lang="de-DE"/>
          </a:p>
        </p:txBody>
      </p:sp>
      <p:sp>
        <p:nvSpPr>
          <p:cNvPr id="371" name="Freihandform: Form 370">
            <a:extLst>
              <a:ext uri="{FF2B5EF4-FFF2-40B4-BE49-F238E27FC236}">
                <a16:creationId xmlns:a16="http://schemas.microsoft.com/office/drawing/2014/main" id="{240F5A60-B565-4874-BFA1-B6F0B7F354EE}"/>
              </a:ext>
            </a:extLst>
          </p:cNvPr>
          <p:cNvSpPr/>
          <p:nvPr userDrawn="1"/>
        </p:nvSpPr>
        <p:spPr>
          <a:xfrm>
            <a:off x="6988003" y="3111726"/>
            <a:ext cx="117690" cy="125846"/>
          </a:xfrm>
          <a:custGeom>
            <a:avLst/>
            <a:gdLst>
              <a:gd name="connsiteX0" fmla="*/ 53601 w 117690"/>
              <a:gd name="connsiteY0" fmla="*/ 125847 h 125846"/>
              <a:gd name="connsiteX1" fmla="*/ 0 w 117690"/>
              <a:gd name="connsiteY1" fmla="*/ 125847 h 125846"/>
              <a:gd name="connsiteX2" fmla="*/ 62924 w 117690"/>
              <a:gd name="connsiteY2" fmla="*/ 62923 h 125846"/>
              <a:gd name="connsiteX3" fmla="*/ 0 w 117690"/>
              <a:gd name="connsiteY3" fmla="*/ 0 h 125846"/>
              <a:gd name="connsiteX4" fmla="*/ 54767 w 117690"/>
              <a:gd name="connsiteY4" fmla="*/ 0 h 125846"/>
              <a:gd name="connsiteX5" fmla="*/ 117690 w 117690"/>
              <a:gd name="connsiteY5" fmla="*/ 61758 h 125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5846">
                <a:moveTo>
                  <a:pt x="53601" y="125847"/>
                </a:moveTo>
                <a:lnTo>
                  <a:pt x="0" y="125847"/>
                </a:lnTo>
                <a:lnTo>
                  <a:pt x="62924" y="62923"/>
                </a:lnTo>
                <a:lnTo>
                  <a:pt x="0" y="0"/>
                </a:lnTo>
                <a:lnTo>
                  <a:pt x="54767" y="0"/>
                </a:lnTo>
                <a:lnTo>
                  <a:pt x="117690" y="61758"/>
                </a:lnTo>
                <a:close/>
              </a:path>
            </a:pathLst>
          </a:custGeom>
          <a:solidFill>
            <a:srgbClr val="EEF2F5"/>
          </a:solidFill>
          <a:ln w="11643" cap="flat">
            <a:noFill/>
            <a:prstDash val="solid"/>
            <a:miter/>
          </a:ln>
        </p:spPr>
        <p:txBody>
          <a:bodyPr rtlCol="0" anchor="ctr"/>
          <a:lstStyle/>
          <a:p>
            <a:endParaRPr lang="de-DE"/>
          </a:p>
        </p:txBody>
      </p:sp>
      <p:sp>
        <p:nvSpPr>
          <p:cNvPr id="372" name="Freihandform: Form 371">
            <a:extLst>
              <a:ext uri="{FF2B5EF4-FFF2-40B4-BE49-F238E27FC236}">
                <a16:creationId xmlns:a16="http://schemas.microsoft.com/office/drawing/2014/main" id="{3C037353-0135-47CD-AF22-880B75EBAC3E}"/>
              </a:ext>
            </a:extLst>
          </p:cNvPr>
          <p:cNvSpPr/>
          <p:nvPr userDrawn="1"/>
        </p:nvSpPr>
        <p:spPr>
          <a:xfrm>
            <a:off x="6988003" y="3465962"/>
            <a:ext cx="117690" cy="127012"/>
          </a:xfrm>
          <a:custGeom>
            <a:avLst/>
            <a:gdLst>
              <a:gd name="connsiteX0" fmla="*/ 53601 w 117690"/>
              <a:gd name="connsiteY0" fmla="*/ 127012 h 127012"/>
              <a:gd name="connsiteX1" fmla="*/ 0 w 117690"/>
              <a:gd name="connsiteY1" fmla="*/ 127012 h 127012"/>
              <a:gd name="connsiteX2" fmla="*/ 62924 w 117690"/>
              <a:gd name="connsiteY2" fmla="*/ 64089 h 127012"/>
              <a:gd name="connsiteX3" fmla="*/ 0 w 117690"/>
              <a:gd name="connsiteY3" fmla="*/ 0 h 127012"/>
              <a:gd name="connsiteX4" fmla="*/ 54767 w 117690"/>
              <a:gd name="connsiteY4" fmla="*/ 0 h 127012"/>
              <a:gd name="connsiteX5" fmla="*/ 117690 w 117690"/>
              <a:gd name="connsiteY5" fmla="*/ 62923 h 12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2">
                <a:moveTo>
                  <a:pt x="53601" y="127012"/>
                </a:moveTo>
                <a:lnTo>
                  <a:pt x="0" y="127012"/>
                </a:lnTo>
                <a:lnTo>
                  <a:pt x="62924" y="64089"/>
                </a:lnTo>
                <a:lnTo>
                  <a:pt x="0" y="0"/>
                </a:lnTo>
                <a:lnTo>
                  <a:pt x="54767" y="0"/>
                </a:lnTo>
                <a:lnTo>
                  <a:pt x="117690" y="62923"/>
                </a:lnTo>
                <a:close/>
              </a:path>
            </a:pathLst>
          </a:custGeom>
          <a:solidFill>
            <a:srgbClr val="EEF2F5"/>
          </a:solidFill>
          <a:ln w="11643" cap="flat">
            <a:noFill/>
            <a:prstDash val="solid"/>
            <a:miter/>
          </a:ln>
        </p:spPr>
        <p:txBody>
          <a:bodyPr rtlCol="0" anchor="ctr"/>
          <a:lstStyle/>
          <a:p>
            <a:endParaRPr lang="de-DE"/>
          </a:p>
        </p:txBody>
      </p:sp>
      <p:sp>
        <p:nvSpPr>
          <p:cNvPr id="373" name="Freihandform: Form 372">
            <a:extLst>
              <a:ext uri="{FF2B5EF4-FFF2-40B4-BE49-F238E27FC236}">
                <a16:creationId xmlns:a16="http://schemas.microsoft.com/office/drawing/2014/main" id="{213D6103-FD9E-4D62-B7C4-1F08EA89236E}"/>
              </a:ext>
            </a:extLst>
          </p:cNvPr>
          <p:cNvSpPr/>
          <p:nvPr userDrawn="1"/>
        </p:nvSpPr>
        <p:spPr>
          <a:xfrm>
            <a:off x="6988003" y="3821362"/>
            <a:ext cx="117690" cy="125846"/>
          </a:xfrm>
          <a:custGeom>
            <a:avLst/>
            <a:gdLst>
              <a:gd name="connsiteX0" fmla="*/ 53601 w 117690"/>
              <a:gd name="connsiteY0" fmla="*/ 125847 h 125846"/>
              <a:gd name="connsiteX1" fmla="*/ 0 w 117690"/>
              <a:gd name="connsiteY1" fmla="*/ 125847 h 125846"/>
              <a:gd name="connsiteX2" fmla="*/ 62924 w 117690"/>
              <a:gd name="connsiteY2" fmla="*/ 62923 h 125846"/>
              <a:gd name="connsiteX3" fmla="*/ 0 w 117690"/>
              <a:gd name="connsiteY3" fmla="*/ 0 h 125846"/>
              <a:gd name="connsiteX4" fmla="*/ 54767 w 117690"/>
              <a:gd name="connsiteY4" fmla="*/ 0 h 125846"/>
              <a:gd name="connsiteX5" fmla="*/ 117690 w 117690"/>
              <a:gd name="connsiteY5" fmla="*/ 61758 h 125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5846">
                <a:moveTo>
                  <a:pt x="53601" y="125847"/>
                </a:moveTo>
                <a:lnTo>
                  <a:pt x="0" y="125847"/>
                </a:lnTo>
                <a:lnTo>
                  <a:pt x="62924" y="62923"/>
                </a:lnTo>
                <a:lnTo>
                  <a:pt x="0" y="0"/>
                </a:lnTo>
                <a:lnTo>
                  <a:pt x="54767" y="0"/>
                </a:lnTo>
                <a:lnTo>
                  <a:pt x="117690" y="61758"/>
                </a:lnTo>
                <a:close/>
              </a:path>
            </a:pathLst>
          </a:custGeom>
          <a:solidFill>
            <a:srgbClr val="EEF2F5"/>
          </a:solidFill>
          <a:ln w="11643" cap="flat">
            <a:noFill/>
            <a:prstDash val="solid"/>
            <a:miter/>
          </a:ln>
        </p:spPr>
        <p:txBody>
          <a:bodyPr rtlCol="0" anchor="ctr"/>
          <a:lstStyle/>
          <a:p>
            <a:endParaRPr lang="de-DE"/>
          </a:p>
        </p:txBody>
      </p:sp>
      <p:sp>
        <p:nvSpPr>
          <p:cNvPr id="374" name="Freihandform: Form 373">
            <a:extLst>
              <a:ext uri="{FF2B5EF4-FFF2-40B4-BE49-F238E27FC236}">
                <a16:creationId xmlns:a16="http://schemas.microsoft.com/office/drawing/2014/main" id="{BFE4BB97-0A78-4555-A56A-0CE8A922BBB4}"/>
              </a:ext>
            </a:extLst>
          </p:cNvPr>
          <p:cNvSpPr/>
          <p:nvPr userDrawn="1"/>
        </p:nvSpPr>
        <p:spPr>
          <a:xfrm>
            <a:off x="6988003" y="4175598"/>
            <a:ext cx="117690" cy="127011"/>
          </a:xfrm>
          <a:custGeom>
            <a:avLst/>
            <a:gdLst>
              <a:gd name="connsiteX0" fmla="*/ 53601 w 117690"/>
              <a:gd name="connsiteY0" fmla="*/ 127012 h 127011"/>
              <a:gd name="connsiteX1" fmla="*/ 0 w 117690"/>
              <a:gd name="connsiteY1" fmla="*/ 127012 h 127011"/>
              <a:gd name="connsiteX2" fmla="*/ 62924 w 117690"/>
              <a:gd name="connsiteY2" fmla="*/ 64089 h 127011"/>
              <a:gd name="connsiteX3" fmla="*/ 0 w 117690"/>
              <a:gd name="connsiteY3" fmla="*/ 0 h 127011"/>
              <a:gd name="connsiteX4" fmla="*/ 54767 w 117690"/>
              <a:gd name="connsiteY4" fmla="*/ 0 h 127011"/>
              <a:gd name="connsiteX5" fmla="*/ 117690 w 117690"/>
              <a:gd name="connsiteY5" fmla="*/ 62923 h 12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1">
                <a:moveTo>
                  <a:pt x="53601" y="127012"/>
                </a:moveTo>
                <a:lnTo>
                  <a:pt x="0" y="127012"/>
                </a:lnTo>
                <a:lnTo>
                  <a:pt x="62924" y="64089"/>
                </a:lnTo>
                <a:lnTo>
                  <a:pt x="0" y="0"/>
                </a:lnTo>
                <a:lnTo>
                  <a:pt x="54767" y="0"/>
                </a:lnTo>
                <a:lnTo>
                  <a:pt x="117690" y="62923"/>
                </a:lnTo>
                <a:close/>
              </a:path>
            </a:pathLst>
          </a:custGeom>
          <a:solidFill>
            <a:srgbClr val="EEF2F5"/>
          </a:solidFill>
          <a:ln w="11643" cap="flat">
            <a:noFill/>
            <a:prstDash val="solid"/>
            <a:miter/>
          </a:ln>
        </p:spPr>
        <p:txBody>
          <a:bodyPr rtlCol="0" anchor="ctr"/>
          <a:lstStyle/>
          <a:p>
            <a:endParaRPr lang="de-DE"/>
          </a:p>
        </p:txBody>
      </p:sp>
      <p:sp>
        <p:nvSpPr>
          <p:cNvPr id="375" name="Freihandform: Form 374">
            <a:extLst>
              <a:ext uri="{FF2B5EF4-FFF2-40B4-BE49-F238E27FC236}">
                <a16:creationId xmlns:a16="http://schemas.microsoft.com/office/drawing/2014/main" id="{A1B20E53-2B21-486E-9646-2EC1DD80CFC0}"/>
              </a:ext>
            </a:extLst>
          </p:cNvPr>
          <p:cNvSpPr/>
          <p:nvPr userDrawn="1"/>
        </p:nvSpPr>
        <p:spPr>
          <a:xfrm>
            <a:off x="6988003" y="4530998"/>
            <a:ext cx="117690" cy="125846"/>
          </a:xfrm>
          <a:custGeom>
            <a:avLst/>
            <a:gdLst>
              <a:gd name="connsiteX0" fmla="*/ 53601 w 117690"/>
              <a:gd name="connsiteY0" fmla="*/ 125847 h 125846"/>
              <a:gd name="connsiteX1" fmla="*/ 0 w 117690"/>
              <a:gd name="connsiteY1" fmla="*/ 125847 h 125846"/>
              <a:gd name="connsiteX2" fmla="*/ 62924 w 117690"/>
              <a:gd name="connsiteY2" fmla="*/ 64089 h 125846"/>
              <a:gd name="connsiteX3" fmla="*/ 0 w 117690"/>
              <a:gd name="connsiteY3" fmla="*/ 0 h 125846"/>
              <a:gd name="connsiteX4" fmla="*/ 54767 w 117690"/>
              <a:gd name="connsiteY4" fmla="*/ 0 h 125846"/>
              <a:gd name="connsiteX5" fmla="*/ 117690 w 117690"/>
              <a:gd name="connsiteY5" fmla="*/ 61758 h 125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5846">
                <a:moveTo>
                  <a:pt x="53601" y="125847"/>
                </a:moveTo>
                <a:lnTo>
                  <a:pt x="0" y="125847"/>
                </a:lnTo>
                <a:lnTo>
                  <a:pt x="62924" y="64089"/>
                </a:lnTo>
                <a:lnTo>
                  <a:pt x="0" y="0"/>
                </a:lnTo>
                <a:lnTo>
                  <a:pt x="54767" y="0"/>
                </a:lnTo>
                <a:lnTo>
                  <a:pt x="117690" y="61758"/>
                </a:lnTo>
                <a:close/>
              </a:path>
            </a:pathLst>
          </a:custGeom>
          <a:solidFill>
            <a:srgbClr val="EEF2F5"/>
          </a:solidFill>
          <a:ln w="11643" cap="flat">
            <a:noFill/>
            <a:prstDash val="solid"/>
            <a:miter/>
          </a:ln>
        </p:spPr>
        <p:txBody>
          <a:bodyPr rtlCol="0" anchor="ctr"/>
          <a:lstStyle/>
          <a:p>
            <a:endParaRPr lang="de-DE"/>
          </a:p>
        </p:txBody>
      </p:sp>
      <p:sp>
        <p:nvSpPr>
          <p:cNvPr id="376" name="Freihandform: Form 375">
            <a:extLst>
              <a:ext uri="{FF2B5EF4-FFF2-40B4-BE49-F238E27FC236}">
                <a16:creationId xmlns:a16="http://schemas.microsoft.com/office/drawing/2014/main" id="{4147BD00-94B9-4CCC-BFE6-30FC48042AA5}"/>
              </a:ext>
            </a:extLst>
          </p:cNvPr>
          <p:cNvSpPr/>
          <p:nvPr userDrawn="1"/>
        </p:nvSpPr>
        <p:spPr>
          <a:xfrm>
            <a:off x="6988003" y="4885234"/>
            <a:ext cx="117690" cy="127012"/>
          </a:xfrm>
          <a:custGeom>
            <a:avLst/>
            <a:gdLst>
              <a:gd name="connsiteX0" fmla="*/ 53601 w 117690"/>
              <a:gd name="connsiteY0" fmla="*/ 127012 h 127012"/>
              <a:gd name="connsiteX1" fmla="*/ 0 w 117690"/>
              <a:gd name="connsiteY1" fmla="*/ 127012 h 127012"/>
              <a:gd name="connsiteX2" fmla="*/ 62924 w 117690"/>
              <a:gd name="connsiteY2" fmla="*/ 64089 h 127012"/>
              <a:gd name="connsiteX3" fmla="*/ 0 w 117690"/>
              <a:gd name="connsiteY3" fmla="*/ 0 h 127012"/>
              <a:gd name="connsiteX4" fmla="*/ 54767 w 117690"/>
              <a:gd name="connsiteY4" fmla="*/ 0 h 127012"/>
              <a:gd name="connsiteX5" fmla="*/ 117690 w 117690"/>
              <a:gd name="connsiteY5" fmla="*/ 62923 h 12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2">
                <a:moveTo>
                  <a:pt x="53601" y="127012"/>
                </a:moveTo>
                <a:lnTo>
                  <a:pt x="0" y="127012"/>
                </a:lnTo>
                <a:lnTo>
                  <a:pt x="62924" y="64089"/>
                </a:lnTo>
                <a:lnTo>
                  <a:pt x="0" y="0"/>
                </a:lnTo>
                <a:lnTo>
                  <a:pt x="54767" y="0"/>
                </a:lnTo>
                <a:lnTo>
                  <a:pt x="117690" y="62923"/>
                </a:lnTo>
                <a:close/>
              </a:path>
            </a:pathLst>
          </a:custGeom>
          <a:solidFill>
            <a:srgbClr val="EEF2F5"/>
          </a:solidFill>
          <a:ln w="11643" cap="flat">
            <a:noFill/>
            <a:prstDash val="solid"/>
            <a:miter/>
          </a:ln>
        </p:spPr>
        <p:txBody>
          <a:bodyPr rtlCol="0" anchor="ctr"/>
          <a:lstStyle/>
          <a:p>
            <a:endParaRPr lang="de-DE"/>
          </a:p>
        </p:txBody>
      </p:sp>
      <p:sp>
        <p:nvSpPr>
          <p:cNvPr id="377" name="Freihandform: Form 376">
            <a:extLst>
              <a:ext uri="{FF2B5EF4-FFF2-40B4-BE49-F238E27FC236}">
                <a16:creationId xmlns:a16="http://schemas.microsoft.com/office/drawing/2014/main" id="{6FD55161-C60E-4123-94C6-998E3F0CBDAE}"/>
              </a:ext>
            </a:extLst>
          </p:cNvPr>
          <p:cNvSpPr/>
          <p:nvPr userDrawn="1"/>
        </p:nvSpPr>
        <p:spPr>
          <a:xfrm>
            <a:off x="6988003" y="5240634"/>
            <a:ext cx="117690" cy="127011"/>
          </a:xfrm>
          <a:custGeom>
            <a:avLst/>
            <a:gdLst>
              <a:gd name="connsiteX0" fmla="*/ 53601 w 117690"/>
              <a:gd name="connsiteY0" fmla="*/ 127012 h 127011"/>
              <a:gd name="connsiteX1" fmla="*/ 0 w 117690"/>
              <a:gd name="connsiteY1" fmla="*/ 127012 h 127011"/>
              <a:gd name="connsiteX2" fmla="*/ 62924 w 117690"/>
              <a:gd name="connsiteY2" fmla="*/ 64089 h 127011"/>
              <a:gd name="connsiteX3" fmla="*/ 0 w 117690"/>
              <a:gd name="connsiteY3" fmla="*/ 0 h 127011"/>
              <a:gd name="connsiteX4" fmla="*/ 54767 w 117690"/>
              <a:gd name="connsiteY4" fmla="*/ 0 h 127011"/>
              <a:gd name="connsiteX5" fmla="*/ 117690 w 117690"/>
              <a:gd name="connsiteY5" fmla="*/ 61758 h 12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1">
                <a:moveTo>
                  <a:pt x="53601" y="127012"/>
                </a:moveTo>
                <a:lnTo>
                  <a:pt x="0" y="127012"/>
                </a:lnTo>
                <a:lnTo>
                  <a:pt x="62924" y="64089"/>
                </a:lnTo>
                <a:lnTo>
                  <a:pt x="0" y="0"/>
                </a:lnTo>
                <a:lnTo>
                  <a:pt x="54767" y="0"/>
                </a:lnTo>
                <a:lnTo>
                  <a:pt x="117690" y="61758"/>
                </a:lnTo>
                <a:close/>
              </a:path>
            </a:pathLst>
          </a:custGeom>
          <a:solidFill>
            <a:srgbClr val="EEF2F5"/>
          </a:solidFill>
          <a:ln w="11643" cap="flat">
            <a:noFill/>
            <a:prstDash val="solid"/>
            <a:miter/>
          </a:ln>
        </p:spPr>
        <p:txBody>
          <a:bodyPr rtlCol="0" anchor="ctr"/>
          <a:lstStyle/>
          <a:p>
            <a:endParaRPr lang="de-DE"/>
          </a:p>
        </p:txBody>
      </p:sp>
      <p:sp>
        <p:nvSpPr>
          <p:cNvPr id="378" name="Freihandform: Form 377">
            <a:extLst>
              <a:ext uri="{FF2B5EF4-FFF2-40B4-BE49-F238E27FC236}">
                <a16:creationId xmlns:a16="http://schemas.microsoft.com/office/drawing/2014/main" id="{F3C8ECE6-A2EF-41DE-A87C-3FB86FCA1031}"/>
              </a:ext>
            </a:extLst>
          </p:cNvPr>
          <p:cNvSpPr/>
          <p:nvPr userDrawn="1"/>
        </p:nvSpPr>
        <p:spPr>
          <a:xfrm>
            <a:off x="6988003" y="5594870"/>
            <a:ext cx="117690" cy="127011"/>
          </a:xfrm>
          <a:custGeom>
            <a:avLst/>
            <a:gdLst>
              <a:gd name="connsiteX0" fmla="*/ 53601 w 117690"/>
              <a:gd name="connsiteY0" fmla="*/ 127012 h 127011"/>
              <a:gd name="connsiteX1" fmla="*/ 0 w 117690"/>
              <a:gd name="connsiteY1" fmla="*/ 127012 h 127011"/>
              <a:gd name="connsiteX2" fmla="*/ 62924 w 117690"/>
              <a:gd name="connsiteY2" fmla="*/ 64089 h 127011"/>
              <a:gd name="connsiteX3" fmla="*/ 0 w 117690"/>
              <a:gd name="connsiteY3" fmla="*/ 0 h 127011"/>
              <a:gd name="connsiteX4" fmla="*/ 54767 w 117690"/>
              <a:gd name="connsiteY4" fmla="*/ 0 h 127011"/>
              <a:gd name="connsiteX5" fmla="*/ 117690 w 117690"/>
              <a:gd name="connsiteY5" fmla="*/ 62923 h 12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1">
                <a:moveTo>
                  <a:pt x="53601" y="127012"/>
                </a:moveTo>
                <a:lnTo>
                  <a:pt x="0" y="127012"/>
                </a:lnTo>
                <a:lnTo>
                  <a:pt x="62924" y="64089"/>
                </a:lnTo>
                <a:lnTo>
                  <a:pt x="0" y="0"/>
                </a:lnTo>
                <a:lnTo>
                  <a:pt x="54767" y="0"/>
                </a:lnTo>
                <a:lnTo>
                  <a:pt x="117690" y="62923"/>
                </a:lnTo>
                <a:close/>
              </a:path>
            </a:pathLst>
          </a:custGeom>
          <a:solidFill>
            <a:srgbClr val="EEF2F5"/>
          </a:solidFill>
          <a:ln w="11643" cap="flat">
            <a:noFill/>
            <a:prstDash val="solid"/>
            <a:miter/>
          </a:ln>
        </p:spPr>
        <p:txBody>
          <a:bodyPr rtlCol="0" anchor="ctr"/>
          <a:lstStyle/>
          <a:p>
            <a:endParaRPr lang="de-DE"/>
          </a:p>
        </p:txBody>
      </p:sp>
      <p:sp>
        <p:nvSpPr>
          <p:cNvPr id="379" name="Freihandform: Form 378">
            <a:extLst>
              <a:ext uri="{FF2B5EF4-FFF2-40B4-BE49-F238E27FC236}">
                <a16:creationId xmlns:a16="http://schemas.microsoft.com/office/drawing/2014/main" id="{B757F792-E71A-486E-A79E-007A9729854D}"/>
              </a:ext>
            </a:extLst>
          </p:cNvPr>
          <p:cNvSpPr/>
          <p:nvPr userDrawn="1"/>
        </p:nvSpPr>
        <p:spPr>
          <a:xfrm>
            <a:off x="6988003" y="5950270"/>
            <a:ext cx="117690" cy="127011"/>
          </a:xfrm>
          <a:custGeom>
            <a:avLst/>
            <a:gdLst>
              <a:gd name="connsiteX0" fmla="*/ 53601 w 117690"/>
              <a:gd name="connsiteY0" fmla="*/ 127012 h 127011"/>
              <a:gd name="connsiteX1" fmla="*/ 0 w 117690"/>
              <a:gd name="connsiteY1" fmla="*/ 127012 h 127011"/>
              <a:gd name="connsiteX2" fmla="*/ 62924 w 117690"/>
              <a:gd name="connsiteY2" fmla="*/ 64089 h 127011"/>
              <a:gd name="connsiteX3" fmla="*/ 0 w 117690"/>
              <a:gd name="connsiteY3" fmla="*/ 0 h 127011"/>
              <a:gd name="connsiteX4" fmla="*/ 54767 w 117690"/>
              <a:gd name="connsiteY4" fmla="*/ 0 h 127011"/>
              <a:gd name="connsiteX5" fmla="*/ 117690 w 117690"/>
              <a:gd name="connsiteY5" fmla="*/ 61758 h 12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1">
                <a:moveTo>
                  <a:pt x="53601" y="127012"/>
                </a:moveTo>
                <a:lnTo>
                  <a:pt x="0" y="127012"/>
                </a:lnTo>
                <a:lnTo>
                  <a:pt x="62924" y="64089"/>
                </a:lnTo>
                <a:lnTo>
                  <a:pt x="0" y="0"/>
                </a:lnTo>
                <a:lnTo>
                  <a:pt x="54767" y="0"/>
                </a:lnTo>
                <a:lnTo>
                  <a:pt x="117690" y="61758"/>
                </a:lnTo>
                <a:close/>
              </a:path>
            </a:pathLst>
          </a:custGeom>
          <a:solidFill>
            <a:srgbClr val="EEF2F5"/>
          </a:solidFill>
          <a:ln w="11643" cap="flat">
            <a:noFill/>
            <a:prstDash val="solid"/>
            <a:miter/>
          </a:ln>
        </p:spPr>
        <p:txBody>
          <a:bodyPr rtlCol="0" anchor="ctr"/>
          <a:lstStyle/>
          <a:p>
            <a:endParaRPr lang="de-DE"/>
          </a:p>
        </p:txBody>
      </p:sp>
      <p:sp>
        <p:nvSpPr>
          <p:cNvPr id="380" name="Freihandform: Form 379">
            <a:extLst>
              <a:ext uri="{FF2B5EF4-FFF2-40B4-BE49-F238E27FC236}">
                <a16:creationId xmlns:a16="http://schemas.microsoft.com/office/drawing/2014/main" id="{15F4D627-864D-47BE-9457-2AFE1454DAE3}"/>
              </a:ext>
            </a:extLst>
          </p:cNvPr>
          <p:cNvSpPr/>
          <p:nvPr userDrawn="1"/>
        </p:nvSpPr>
        <p:spPr>
          <a:xfrm>
            <a:off x="6988003" y="6304506"/>
            <a:ext cx="117690" cy="127011"/>
          </a:xfrm>
          <a:custGeom>
            <a:avLst/>
            <a:gdLst>
              <a:gd name="connsiteX0" fmla="*/ 53601 w 117690"/>
              <a:gd name="connsiteY0" fmla="*/ 127012 h 127011"/>
              <a:gd name="connsiteX1" fmla="*/ 0 w 117690"/>
              <a:gd name="connsiteY1" fmla="*/ 127012 h 127011"/>
              <a:gd name="connsiteX2" fmla="*/ 62924 w 117690"/>
              <a:gd name="connsiteY2" fmla="*/ 64089 h 127011"/>
              <a:gd name="connsiteX3" fmla="*/ 0 w 117690"/>
              <a:gd name="connsiteY3" fmla="*/ 0 h 127011"/>
              <a:gd name="connsiteX4" fmla="*/ 54767 w 117690"/>
              <a:gd name="connsiteY4" fmla="*/ 0 h 127011"/>
              <a:gd name="connsiteX5" fmla="*/ 117690 w 117690"/>
              <a:gd name="connsiteY5" fmla="*/ 62923 h 12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1">
                <a:moveTo>
                  <a:pt x="53601" y="127012"/>
                </a:moveTo>
                <a:lnTo>
                  <a:pt x="0" y="127012"/>
                </a:lnTo>
                <a:lnTo>
                  <a:pt x="62924" y="64089"/>
                </a:lnTo>
                <a:lnTo>
                  <a:pt x="0" y="0"/>
                </a:lnTo>
                <a:lnTo>
                  <a:pt x="54767" y="0"/>
                </a:lnTo>
                <a:lnTo>
                  <a:pt x="117690" y="62923"/>
                </a:lnTo>
                <a:close/>
              </a:path>
            </a:pathLst>
          </a:custGeom>
          <a:solidFill>
            <a:srgbClr val="EEF2F5"/>
          </a:solidFill>
          <a:ln w="11643" cap="flat">
            <a:noFill/>
            <a:prstDash val="solid"/>
            <a:miter/>
          </a:ln>
        </p:spPr>
        <p:txBody>
          <a:bodyPr rtlCol="0" anchor="ctr"/>
          <a:lstStyle/>
          <a:p>
            <a:endParaRPr lang="de-DE"/>
          </a:p>
        </p:txBody>
      </p:sp>
      <p:sp>
        <p:nvSpPr>
          <p:cNvPr id="381" name="Freihandform: Form 380">
            <a:extLst>
              <a:ext uri="{FF2B5EF4-FFF2-40B4-BE49-F238E27FC236}">
                <a16:creationId xmlns:a16="http://schemas.microsoft.com/office/drawing/2014/main" id="{5B9A1A98-26A6-4C1D-928E-D24F433024ED}"/>
              </a:ext>
            </a:extLst>
          </p:cNvPr>
          <p:cNvSpPr/>
          <p:nvPr userDrawn="1"/>
        </p:nvSpPr>
        <p:spPr>
          <a:xfrm>
            <a:off x="6988003" y="6659906"/>
            <a:ext cx="117690" cy="127011"/>
          </a:xfrm>
          <a:custGeom>
            <a:avLst/>
            <a:gdLst>
              <a:gd name="connsiteX0" fmla="*/ 53601 w 117690"/>
              <a:gd name="connsiteY0" fmla="*/ 127012 h 127011"/>
              <a:gd name="connsiteX1" fmla="*/ 0 w 117690"/>
              <a:gd name="connsiteY1" fmla="*/ 127012 h 127011"/>
              <a:gd name="connsiteX2" fmla="*/ 62924 w 117690"/>
              <a:gd name="connsiteY2" fmla="*/ 64089 h 127011"/>
              <a:gd name="connsiteX3" fmla="*/ 0 w 117690"/>
              <a:gd name="connsiteY3" fmla="*/ 0 h 127011"/>
              <a:gd name="connsiteX4" fmla="*/ 54767 w 117690"/>
              <a:gd name="connsiteY4" fmla="*/ 0 h 127011"/>
              <a:gd name="connsiteX5" fmla="*/ 117690 w 117690"/>
              <a:gd name="connsiteY5" fmla="*/ 61758 h 12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1">
                <a:moveTo>
                  <a:pt x="53601" y="127012"/>
                </a:moveTo>
                <a:lnTo>
                  <a:pt x="0" y="127012"/>
                </a:lnTo>
                <a:lnTo>
                  <a:pt x="62924" y="64089"/>
                </a:lnTo>
                <a:lnTo>
                  <a:pt x="0" y="0"/>
                </a:lnTo>
                <a:lnTo>
                  <a:pt x="54767" y="0"/>
                </a:lnTo>
                <a:lnTo>
                  <a:pt x="117690" y="61758"/>
                </a:lnTo>
                <a:close/>
              </a:path>
            </a:pathLst>
          </a:custGeom>
          <a:solidFill>
            <a:srgbClr val="EEF2F5"/>
          </a:solidFill>
          <a:ln w="11643" cap="flat">
            <a:noFill/>
            <a:prstDash val="solid"/>
            <a:miter/>
          </a:ln>
        </p:spPr>
        <p:txBody>
          <a:bodyPr rtlCol="0" anchor="ctr"/>
          <a:lstStyle/>
          <a:p>
            <a:endParaRPr lang="de-DE"/>
          </a:p>
        </p:txBody>
      </p:sp>
      <p:sp>
        <p:nvSpPr>
          <p:cNvPr id="382" name="Freihandform: Form 381">
            <a:extLst>
              <a:ext uri="{FF2B5EF4-FFF2-40B4-BE49-F238E27FC236}">
                <a16:creationId xmlns:a16="http://schemas.microsoft.com/office/drawing/2014/main" id="{82A4EEA7-5CFB-4E90-9AD2-D5ED8D09BC3C}"/>
              </a:ext>
            </a:extLst>
          </p:cNvPr>
          <p:cNvSpPr/>
          <p:nvPr userDrawn="1"/>
        </p:nvSpPr>
        <p:spPr>
          <a:xfrm>
            <a:off x="7335247" y="2038533"/>
            <a:ext cx="132838" cy="143325"/>
          </a:xfrm>
          <a:custGeom>
            <a:avLst/>
            <a:gdLst>
              <a:gd name="connsiteX0" fmla="*/ 60593 w 132838"/>
              <a:gd name="connsiteY0" fmla="*/ 143326 h 143325"/>
              <a:gd name="connsiteX1" fmla="*/ 0 w 132838"/>
              <a:gd name="connsiteY1" fmla="*/ 143326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6"/>
                </a:moveTo>
                <a:lnTo>
                  <a:pt x="0" y="143326"/>
                </a:lnTo>
                <a:lnTo>
                  <a:pt x="71080" y="72245"/>
                </a:lnTo>
                <a:lnTo>
                  <a:pt x="0" y="0"/>
                </a:lnTo>
                <a:lnTo>
                  <a:pt x="61758" y="0"/>
                </a:lnTo>
                <a:lnTo>
                  <a:pt x="132838" y="69915"/>
                </a:lnTo>
                <a:close/>
              </a:path>
            </a:pathLst>
          </a:custGeom>
          <a:solidFill>
            <a:srgbClr val="EEF2F5"/>
          </a:solidFill>
          <a:ln w="11643" cap="flat">
            <a:noFill/>
            <a:prstDash val="solid"/>
            <a:miter/>
          </a:ln>
        </p:spPr>
        <p:txBody>
          <a:bodyPr rtlCol="0" anchor="ctr"/>
          <a:lstStyle/>
          <a:p>
            <a:endParaRPr lang="de-DE"/>
          </a:p>
        </p:txBody>
      </p:sp>
      <p:sp>
        <p:nvSpPr>
          <p:cNvPr id="383" name="Freihandform: Form 382">
            <a:extLst>
              <a:ext uri="{FF2B5EF4-FFF2-40B4-BE49-F238E27FC236}">
                <a16:creationId xmlns:a16="http://schemas.microsoft.com/office/drawing/2014/main" id="{6C9D3BF2-6E80-41A7-A83F-18F86CB24C49}"/>
              </a:ext>
            </a:extLst>
          </p:cNvPr>
          <p:cNvSpPr/>
          <p:nvPr userDrawn="1"/>
        </p:nvSpPr>
        <p:spPr>
          <a:xfrm>
            <a:off x="7335247" y="2392768"/>
            <a:ext cx="132838" cy="143325"/>
          </a:xfrm>
          <a:custGeom>
            <a:avLst/>
            <a:gdLst>
              <a:gd name="connsiteX0" fmla="*/ 60593 w 132838"/>
              <a:gd name="connsiteY0" fmla="*/ 143325 h 143325"/>
              <a:gd name="connsiteX1" fmla="*/ 0 w 132838"/>
              <a:gd name="connsiteY1" fmla="*/ 143325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71080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5"/>
                </a:moveTo>
                <a:lnTo>
                  <a:pt x="0" y="143325"/>
                </a:lnTo>
                <a:lnTo>
                  <a:pt x="71080" y="72245"/>
                </a:lnTo>
                <a:lnTo>
                  <a:pt x="0" y="0"/>
                </a:lnTo>
                <a:lnTo>
                  <a:pt x="61758" y="0"/>
                </a:lnTo>
                <a:lnTo>
                  <a:pt x="132838" y="71080"/>
                </a:lnTo>
                <a:close/>
              </a:path>
            </a:pathLst>
          </a:custGeom>
          <a:solidFill>
            <a:srgbClr val="EEF2F5"/>
          </a:solidFill>
          <a:ln w="11643" cap="flat">
            <a:noFill/>
            <a:prstDash val="solid"/>
            <a:miter/>
          </a:ln>
        </p:spPr>
        <p:txBody>
          <a:bodyPr rtlCol="0" anchor="ctr"/>
          <a:lstStyle/>
          <a:p>
            <a:endParaRPr lang="de-DE"/>
          </a:p>
        </p:txBody>
      </p:sp>
      <p:sp>
        <p:nvSpPr>
          <p:cNvPr id="384" name="Freihandform: Form 383">
            <a:extLst>
              <a:ext uri="{FF2B5EF4-FFF2-40B4-BE49-F238E27FC236}">
                <a16:creationId xmlns:a16="http://schemas.microsoft.com/office/drawing/2014/main" id="{DBA45F13-8F61-4402-AA92-16AA0BF673F4}"/>
              </a:ext>
            </a:extLst>
          </p:cNvPr>
          <p:cNvSpPr/>
          <p:nvPr userDrawn="1"/>
        </p:nvSpPr>
        <p:spPr>
          <a:xfrm>
            <a:off x="7335247" y="2748169"/>
            <a:ext cx="132838" cy="143325"/>
          </a:xfrm>
          <a:custGeom>
            <a:avLst/>
            <a:gdLst>
              <a:gd name="connsiteX0" fmla="*/ 60593 w 132838"/>
              <a:gd name="connsiteY0" fmla="*/ 143325 h 143325"/>
              <a:gd name="connsiteX1" fmla="*/ 0 w 132838"/>
              <a:gd name="connsiteY1" fmla="*/ 143325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5"/>
                </a:moveTo>
                <a:lnTo>
                  <a:pt x="0" y="143325"/>
                </a:lnTo>
                <a:lnTo>
                  <a:pt x="71080" y="72245"/>
                </a:lnTo>
                <a:lnTo>
                  <a:pt x="0" y="0"/>
                </a:lnTo>
                <a:lnTo>
                  <a:pt x="61758" y="0"/>
                </a:lnTo>
                <a:lnTo>
                  <a:pt x="132838" y="69915"/>
                </a:lnTo>
                <a:close/>
              </a:path>
            </a:pathLst>
          </a:custGeom>
          <a:solidFill>
            <a:srgbClr val="EEF2F5"/>
          </a:solidFill>
          <a:ln w="11643" cap="flat">
            <a:noFill/>
            <a:prstDash val="solid"/>
            <a:miter/>
          </a:ln>
        </p:spPr>
        <p:txBody>
          <a:bodyPr rtlCol="0" anchor="ctr"/>
          <a:lstStyle/>
          <a:p>
            <a:endParaRPr lang="de-DE"/>
          </a:p>
        </p:txBody>
      </p:sp>
      <p:sp>
        <p:nvSpPr>
          <p:cNvPr id="385" name="Freihandform: Form 384">
            <a:extLst>
              <a:ext uri="{FF2B5EF4-FFF2-40B4-BE49-F238E27FC236}">
                <a16:creationId xmlns:a16="http://schemas.microsoft.com/office/drawing/2014/main" id="{C75C3C28-90BF-4A16-BD17-5BEF223EA73E}"/>
              </a:ext>
            </a:extLst>
          </p:cNvPr>
          <p:cNvSpPr/>
          <p:nvPr userDrawn="1"/>
        </p:nvSpPr>
        <p:spPr>
          <a:xfrm>
            <a:off x="7335247" y="3102404"/>
            <a:ext cx="132838" cy="143325"/>
          </a:xfrm>
          <a:custGeom>
            <a:avLst/>
            <a:gdLst>
              <a:gd name="connsiteX0" fmla="*/ 60593 w 132838"/>
              <a:gd name="connsiteY0" fmla="*/ 143326 h 143325"/>
              <a:gd name="connsiteX1" fmla="*/ 0 w 132838"/>
              <a:gd name="connsiteY1" fmla="*/ 143326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71080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6"/>
                </a:moveTo>
                <a:lnTo>
                  <a:pt x="0" y="143326"/>
                </a:lnTo>
                <a:lnTo>
                  <a:pt x="71080" y="72245"/>
                </a:lnTo>
                <a:lnTo>
                  <a:pt x="0" y="0"/>
                </a:lnTo>
                <a:lnTo>
                  <a:pt x="61758" y="0"/>
                </a:lnTo>
                <a:lnTo>
                  <a:pt x="132838" y="71080"/>
                </a:lnTo>
                <a:close/>
              </a:path>
            </a:pathLst>
          </a:custGeom>
          <a:solidFill>
            <a:srgbClr val="EEF2F5"/>
          </a:solidFill>
          <a:ln w="11643" cap="flat">
            <a:noFill/>
            <a:prstDash val="solid"/>
            <a:miter/>
          </a:ln>
        </p:spPr>
        <p:txBody>
          <a:bodyPr rtlCol="0" anchor="ctr"/>
          <a:lstStyle/>
          <a:p>
            <a:endParaRPr lang="de-DE"/>
          </a:p>
        </p:txBody>
      </p:sp>
      <p:sp>
        <p:nvSpPr>
          <p:cNvPr id="386" name="Freihandform: Form 385">
            <a:extLst>
              <a:ext uri="{FF2B5EF4-FFF2-40B4-BE49-F238E27FC236}">
                <a16:creationId xmlns:a16="http://schemas.microsoft.com/office/drawing/2014/main" id="{1170380C-68A1-44F1-B1A8-DF05F90C065C}"/>
              </a:ext>
            </a:extLst>
          </p:cNvPr>
          <p:cNvSpPr/>
          <p:nvPr userDrawn="1"/>
        </p:nvSpPr>
        <p:spPr>
          <a:xfrm>
            <a:off x="7335247" y="3457805"/>
            <a:ext cx="132838" cy="143325"/>
          </a:xfrm>
          <a:custGeom>
            <a:avLst/>
            <a:gdLst>
              <a:gd name="connsiteX0" fmla="*/ 60593 w 132838"/>
              <a:gd name="connsiteY0" fmla="*/ 143326 h 143325"/>
              <a:gd name="connsiteX1" fmla="*/ 0 w 132838"/>
              <a:gd name="connsiteY1" fmla="*/ 143326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6"/>
                </a:moveTo>
                <a:lnTo>
                  <a:pt x="0" y="143326"/>
                </a:lnTo>
                <a:lnTo>
                  <a:pt x="71080" y="72245"/>
                </a:lnTo>
                <a:lnTo>
                  <a:pt x="0" y="0"/>
                </a:lnTo>
                <a:lnTo>
                  <a:pt x="61758" y="0"/>
                </a:lnTo>
                <a:lnTo>
                  <a:pt x="132838" y="69915"/>
                </a:lnTo>
                <a:close/>
              </a:path>
            </a:pathLst>
          </a:custGeom>
          <a:solidFill>
            <a:srgbClr val="EEF2F5"/>
          </a:solidFill>
          <a:ln w="11643" cap="flat">
            <a:noFill/>
            <a:prstDash val="solid"/>
            <a:miter/>
          </a:ln>
        </p:spPr>
        <p:txBody>
          <a:bodyPr rtlCol="0" anchor="ctr"/>
          <a:lstStyle/>
          <a:p>
            <a:endParaRPr lang="de-DE"/>
          </a:p>
        </p:txBody>
      </p:sp>
      <p:sp>
        <p:nvSpPr>
          <p:cNvPr id="387" name="Freihandform: Form 386">
            <a:extLst>
              <a:ext uri="{FF2B5EF4-FFF2-40B4-BE49-F238E27FC236}">
                <a16:creationId xmlns:a16="http://schemas.microsoft.com/office/drawing/2014/main" id="{553EF259-97B4-4E0D-B27F-A6E4D2E18BEB}"/>
              </a:ext>
            </a:extLst>
          </p:cNvPr>
          <p:cNvSpPr/>
          <p:nvPr userDrawn="1"/>
        </p:nvSpPr>
        <p:spPr>
          <a:xfrm>
            <a:off x="7335247" y="3812040"/>
            <a:ext cx="132838" cy="144490"/>
          </a:xfrm>
          <a:custGeom>
            <a:avLst/>
            <a:gdLst>
              <a:gd name="connsiteX0" fmla="*/ 60593 w 132838"/>
              <a:gd name="connsiteY0" fmla="*/ 144491 h 144490"/>
              <a:gd name="connsiteX1" fmla="*/ 0 w 132838"/>
              <a:gd name="connsiteY1" fmla="*/ 144491 h 144490"/>
              <a:gd name="connsiteX2" fmla="*/ 71080 w 132838"/>
              <a:gd name="connsiteY2" fmla="*/ 73410 h 144490"/>
              <a:gd name="connsiteX3" fmla="*/ 0 w 132838"/>
              <a:gd name="connsiteY3" fmla="*/ 0 h 144490"/>
              <a:gd name="connsiteX4" fmla="*/ 61758 w 132838"/>
              <a:gd name="connsiteY4" fmla="*/ 0 h 144490"/>
              <a:gd name="connsiteX5" fmla="*/ 132838 w 132838"/>
              <a:gd name="connsiteY5" fmla="*/ 71080 h 144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4490">
                <a:moveTo>
                  <a:pt x="60593" y="144491"/>
                </a:moveTo>
                <a:lnTo>
                  <a:pt x="0" y="144491"/>
                </a:lnTo>
                <a:lnTo>
                  <a:pt x="71080" y="73410"/>
                </a:lnTo>
                <a:lnTo>
                  <a:pt x="0" y="0"/>
                </a:lnTo>
                <a:lnTo>
                  <a:pt x="61758" y="0"/>
                </a:lnTo>
                <a:lnTo>
                  <a:pt x="132838" y="71080"/>
                </a:lnTo>
                <a:close/>
              </a:path>
            </a:pathLst>
          </a:custGeom>
          <a:solidFill>
            <a:srgbClr val="EEF2F5"/>
          </a:solidFill>
          <a:ln w="11643" cap="flat">
            <a:noFill/>
            <a:prstDash val="solid"/>
            <a:miter/>
          </a:ln>
        </p:spPr>
        <p:txBody>
          <a:bodyPr rtlCol="0" anchor="ctr"/>
          <a:lstStyle/>
          <a:p>
            <a:endParaRPr lang="de-DE"/>
          </a:p>
        </p:txBody>
      </p:sp>
      <p:sp>
        <p:nvSpPr>
          <p:cNvPr id="388" name="Freihandform: Form 387">
            <a:extLst>
              <a:ext uri="{FF2B5EF4-FFF2-40B4-BE49-F238E27FC236}">
                <a16:creationId xmlns:a16="http://schemas.microsoft.com/office/drawing/2014/main" id="{EB5F5B5A-9CB5-47D1-91FC-556189A9F9A6}"/>
              </a:ext>
            </a:extLst>
          </p:cNvPr>
          <p:cNvSpPr/>
          <p:nvPr userDrawn="1"/>
        </p:nvSpPr>
        <p:spPr>
          <a:xfrm>
            <a:off x="7335247" y="4167441"/>
            <a:ext cx="132838" cy="143325"/>
          </a:xfrm>
          <a:custGeom>
            <a:avLst/>
            <a:gdLst>
              <a:gd name="connsiteX0" fmla="*/ 60593 w 132838"/>
              <a:gd name="connsiteY0" fmla="*/ 143325 h 143325"/>
              <a:gd name="connsiteX1" fmla="*/ 0 w 132838"/>
              <a:gd name="connsiteY1" fmla="*/ 143325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5"/>
                </a:moveTo>
                <a:lnTo>
                  <a:pt x="0" y="143325"/>
                </a:lnTo>
                <a:lnTo>
                  <a:pt x="71080" y="72245"/>
                </a:lnTo>
                <a:lnTo>
                  <a:pt x="0" y="0"/>
                </a:lnTo>
                <a:lnTo>
                  <a:pt x="61758" y="0"/>
                </a:lnTo>
                <a:lnTo>
                  <a:pt x="132838" y="69915"/>
                </a:lnTo>
                <a:close/>
              </a:path>
            </a:pathLst>
          </a:custGeom>
          <a:solidFill>
            <a:srgbClr val="EEF2F5"/>
          </a:solidFill>
          <a:ln w="11643" cap="flat">
            <a:noFill/>
            <a:prstDash val="solid"/>
            <a:miter/>
          </a:ln>
        </p:spPr>
        <p:txBody>
          <a:bodyPr rtlCol="0" anchor="ctr"/>
          <a:lstStyle/>
          <a:p>
            <a:endParaRPr lang="de-DE"/>
          </a:p>
        </p:txBody>
      </p:sp>
      <p:sp>
        <p:nvSpPr>
          <p:cNvPr id="389" name="Freihandform: Form 388">
            <a:extLst>
              <a:ext uri="{FF2B5EF4-FFF2-40B4-BE49-F238E27FC236}">
                <a16:creationId xmlns:a16="http://schemas.microsoft.com/office/drawing/2014/main" id="{01DDC0E0-D1C4-4A00-B92F-DF0D19F49DE5}"/>
              </a:ext>
            </a:extLst>
          </p:cNvPr>
          <p:cNvSpPr/>
          <p:nvPr userDrawn="1"/>
        </p:nvSpPr>
        <p:spPr>
          <a:xfrm>
            <a:off x="7335247" y="4522842"/>
            <a:ext cx="132838" cy="143325"/>
          </a:xfrm>
          <a:custGeom>
            <a:avLst/>
            <a:gdLst>
              <a:gd name="connsiteX0" fmla="*/ 60593 w 132838"/>
              <a:gd name="connsiteY0" fmla="*/ 143325 h 143325"/>
              <a:gd name="connsiteX1" fmla="*/ 0 w 132838"/>
              <a:gd name="connsiteY1" fmla="*/ 143325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5"/>
                </a:moveTo>
                <a:lnTo>
                  <a:pt x="0" y="143325"/>
                </a:lnTo>
                <a:lnTo>
                  <a:pt x="71080" y="72245"/>
                </a:lnTo>
                <a:lnTo>
                  <a:pt x="0" y="0"/>
                </a:lnTo>
                <a:lnTo>
                  <a:pt x="61758" y="0"/>
                </a:lnTo>
                <a:lnTo>
                  <a:pt x="132838" y="69915"/>
                </a:lnTo>
                <a:close/>
              </a:path>
            </a:pathLst>
          </a:custGeom>
          <a:solidFill>
            <a:srgbClr val="EEF2F5"/>
          </a:solidFill>
          <a:ln w="11643" cap="flat">
            <a:noFill/>
            <a:prstDash val="solid"/>
            <a:miter/>
          </a:ln>
        </p:spPr>
        <p:txBody>
          <a:bodyPr rtlCol="0" anchor="ctr"/>
          <a:lstStyle/>
          <a:p>
            <a:endParaRPr lang="de-DE"/>
          </a:p>
        </p:txBody>
      </p:sp>
      <p:sp>
        <p:nvSpPr>
          <p:cNvPr id="390" name="Freihandform: Form 389">
            <a:extLst>
              <a:ext uri="{FF2B5EF4-FFF2-40B4-BE49-F238E27FC236}">
                <a16:creationId xmlns:a16="http://schemas.microsoft.com/office/drawing/2014/main" id="{F05542B7-5A13-43F4-A6B6-3D91FBE8F247}"/>
              </a:ext>
            </a:extLst>
          </p:cNvPr>
          <p:cNvSpPr/>
          <p:nvPr userDrawn="1"/>
        </p:nvSpPr>
        <p:spPr>
          <a:xfrm>
            <a:off x="7335247" y="4877077"/>
            <a:ext cx="132838" cy="143325"/>
          </a:xfrm>
          <a:custGeom>
            <a:avLst/>
            <a:gdLst>
              <a:gd name="connsiteX0" fmla="*/ 60593 w 132838"/>
              <a:gd name="connsiteY0" fmla="*/ 143325 h 143325"/>
              <a:gd name="connsiteX1" fmla="*/ 0 w 132838"/>
              <a:gd name="connsiteY1" fmla="*/ 143325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71080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5"/>
                </a:moveTo>
                <a:lnTo>
                  <a:pt x="0" y="143325"/>
                </a:lnTo>
                <a:lnTo>
                  <a:pt x="71080" y="72245"/>
                </a:lnTo>
                <a:lnTo>
                  <a:pt x="0" y="0"/>
                </a:lnTo>
                <a:lnTo>
                  <a:pt x="61758" y="0"/>
                </a:lnTo>
                <a:lnTo>
                  <a:pt x="132838" y="71080"/>
                </a:lnTo>
                <a:close/>
              </a:path>
            </a:pathLst>
          </a:custGeom>
          <a:solidFill>
            <a:srgbClr val="EEF2F5"/>
          </a:solidFill>
          <a:ln w="11643" cap="flat">
            <a:noFill/>
            <a:prstDash val="solid"/>
            <a:miter/>
          </a:ln>
        </p:spPr>
        <p:txBody>
          <a:bodyPr rtlCol="0" anchor="ctr"/>
          <a:lstStyle/>
          <a:p>
            <a:endParaRPr lang="de-DE"/>
          </a:p>
        </p:txBody>
      </p:sp>
      <p:sp>
        <p:nvSpPr>
          <p:cNvPr id="391" name="Freihandform: Form 390">
            <a:extLst>
              <a:ext uri="{FF2B5EF4-FFF2-40B4-BE49-F238E27FC236}">
                <a16:creationId xmlns:a16="http://schemas.microsoft.com/office/drawing/2014/main" id="{4A5DEDF6-969D-405A-A7AC-2CF3502C1348}"/>
              </a:ext>
            </a:extLst>
          </p:cNvPr>
          <p:cNvSpPr/>
          <p:nvPr userDrawn="1"/>
        </p:nvSpPr>
        <p:spPr>
          <a:xfrm>
            <a:off x="7335247" y="5232478"/>
            <a:ext cx="132838" cy="143325"/>
          </a:xfrm>
          <a:custGeom>
            <a:avLst/>
            <a:gdLst>
              <a:gd name="connsiteX0" fmla="*/ 60593 w 132838"/>
              <a:gd name="connsiteY0" fmla="*/ 143325 h 143325"/>
              <a:gd name="connsiteX1" fmla="*/ 0 w 132838"/>
              <a:gd name="connsiteY1" fmla="*/ 143325 h 143325"/>
              <a:gd name="connsiteX2" fmla="*/ 71080 w 132838"/>
              <a:gd name="connsiteY2" fmla="*/ 72246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5"/>
                </a:moveTo>
                <a:lnTo>
                  <a:pt x="0" y="143325"/>
                </a:lnTo>
                <a:lnTo>
                  <a:pt x="71080" y="72246"/>
                </a:lnTo>
                <a:lnTo>
                  <a:pt x="0" y="0"/>
                </a:lnTo>
                <a:lnTo>
                  <a:pt x="61758" y="0"/>
                </a:lnTo>
                <a:lnTo>
                  <a:pt x="132838" y="69915"/>
                </a:lnTo>
                <a:close/>
              </a:path>
            </a:pathLst>
          </a:custGeom>
          <a:solidFill>
            <a:srgbClr val="EEF2F5"/>
          </a:solidFill>
          <a:ln w="11643" cap="flat">
            <a:noFill/>
            <a:prstDash val="solid"/>
            <a:miter/>
          </a:ln>
        </p:spPr>
        <p:txBody>
          <a:bodyPr rtlCol="0" anchor="ctr"/>
          <a:lstStyle/>
          <a:p>
            <a:endParaRPr lang="de-DE"/>
          </a:p>
        </p:txBody>
      </p:sp>
      <p:sp>
        <p:nvSpPr>
          <p:cNvPr id="392" name="Freihandform: Form 391">
            <a:extLst>
              <a:ext uri="{FF2B5EF4-FFF2-40B4-BE49-F238E27FC236}">
                <a16:creationId xmlns:a16="http://schemas.microsoft.com/office/drawing/2014/main" id="{992F37D0-9AF3-405A-84A6-76CAAC63FCC5}"/>
              </a:ext>
            </a:extLst>
          </p:cNvPr>
          <p:cNvSpPr/>
          <p:nvPr userDrawn="1"/>
        </p:nvSpPr>
        <p:spPr>
          <a:xfrm>
            <a:off x="7335247" y="5586713"/>
            <a:ext cx="132838" cy="143325"/>
          </a:xfrm>
          <a:custGeom>
            <a:avLst/>
            <a:gdLst>
              <a:gd name="connsiteX0" fmla="*/ 60593 w 132838"/>
              <a:gd name="connsiteY0" fmla="*/ 143326 h 143325"/>
              <a:gd name="connsiteX1" fmla="*/ 0 w 132838"/>
              <a:gd name="connsiteY1" fmla="*/ 143326 h 143325"/>
              <a:gd name="connsiteX2" fmla="*/ 71080 w 132838"/>
              <a:gd name="connsiteY2" fmla="*/ 72246 h 143325"/>
              <a:gd name="connsiteX3" fmla="*/ 0 w 132838"/>
              <a:gd name="connsiteY3" fmla="*/ 0 h 143325"/>
              <a:gd name="connsiteX4" fmla="*/ 61758 w 132838"/>
              <a:gd name="connsiteY4" fmla="*/ 0 h 143325"/>
              <a:gd name="connsiteX5" fmla="*/ 132838 w 132838"/>
              <a:gd name="connsiteY5" fmla="*/ 71080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6"/>
                </a:moveTo>
                <a:lnTo>
                  <a:pt x="0" y="143326"/>
                </a:lnTo>
                <a:lnTo>
                  <a:pt x="71080" y="72246"/>
                </a:lnTo>
                <a:lnTo>
                  <a:pt x="0" y="0"/>
                </a:lnTo>
                <a:lnTo>
                  <a:pt x="61758" y="0"/>
                </a:lnTo>
                <a:lnTo>
                  <a:pt x="132838" y="71080"/>
                </a:lnTo>
                <a:close/>
              </a:path>
            </a:pathLst>
          </a:custGeom>
          <a:solidFill>
            <a:srgbClr val="EEF2F5"/>
          </a:solidFill>
          <a:ln w="11643" cap="flat">
            <a:noFill/>
            <a:prstDash val="solid"/>
            <a:miter/>
          </a:ln>
        </p:spPr>
        <p:txBody>
          <a:bodyPr rtlCol="0" anchor="ctr"/>
          <a:lstStyle/>
          <a:p>
            <a:endParaRPr lang="de-DE"/>
          </a:p>
        </p:txBody>
      </p:sp>
      <p:sp>
        <p:nvSpPr>
          <p:cNvPr id="393" name="Freihandform: Form 392">
            <a:extLst>
              <a:ext uri="{FF2B5EF4-FFF2-40B4-BE49-F238E27FC236}">
                <a16:creationId xmlns:a16="http://schemas.microsoft.com/office/drawing/2014/main" id="{A123B81C-0D5B-44AC-9677-41B2CE41672D}"/>
              </a:ext>
            </a:extLst>
          </p:cNvPr>
          <p:cNvSpPr/>
          <p:nvPr userDrawn="1"/>
        </p:nvSpPr>
        <p:spPr>
          <a:xfrm>
            <a:off x="7335247" y="5942114"/>
            <a:ext cx="132838" cy="143325"/>
          </a:xfrm>
          <a:custGeom>
            <a:avLst/>
            <a:gdLst>
              <a:gd name="connsiteX0" fmla="*/ 60593 w 132838"/>
              <a:gd name="connsiteY0" fmla="*/ 143326 h 143325"/>
              <a:gd name="connsiteX1" fmla="*/ 0 w 132838"/>
              <a:gd name="connsiteY1" fmla="*/ 143326 h 143325"/>
              <a:gd name="connsiteX2" fmla="*/ 71080 w 132838"/>
              <a:gd name="connsiteY2" fmla="*/ 72246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6"/>
                </a:moveTo>
                <a:lnTo>
                  <a:pt x="0" y="143326"/>
                </a:lnTo>
                <a:lnTo>
                  <a:pt x="71080" y="72246"/>
                </a:lnTo>
                <a:lnTo>
                  <a:pt x="0" y="0"/>
                </a:lnTo>
                <a:lnTo>
                  <a:pt x="61758" y="0"/>
                </a:lnTo>
                <a:lnTo>
                  <a:pt x="132838" y="69915"/>
                </a:lnTo>
                <a:close/>
              </a:path>
            </a:pathLst>
          </a:custGeom>
          <a:solidFill>
            <a:srgbClr val="EEF2F5"/>
          </a:solidFill>
          <a:ln w="11643" cap="flat">
            <a:noFill/>
            <a:prstDash val="solid"/>
            <a:miter/>
          </a:ln>
        </p:spPr>
        <p:txBody>
          <a:bodyPr rtlCol="0" anchor="ctr"/>
          <a:lstStyle/>
          <a:p>
            <a:endParaRPr lang="de-DE"/>
          </a:p>
        </p:txBody>
      </p:sp>
      <p:sp>
        <p:nvSpPr>
          <p:cNvPr id="394" name="Freihandform: Form 393">
            <a:extLst>
              <a:ext uri="{FF2B5EF4-FFF2-40B4-BE49-F238E27FC236}">
                <a16:creationId xmlns:a16="http://schemas.microsoft.com/office/drawing/2014/main" id="{10F8A7E4-CB0C-4156-A180-E4F1A603A10E}"/>
              </a:ext>
            </a:extLst>
          </p:cNvPr>
          <p:cNvSpPr/>
          <p:nvPr userDrawn="1"/>
        </p:nvSpPr>
        <p:spPr>
          <a:xfrm>
            <a:off x="7335247" y="6296349"/>
            <a:ext cx="132838" cy="143325"/>
          </a:xfrm>
          <a:custGeom>
            <a:avLst/>
            <a:gdLst>
              <a:gd name="connsiteX0" fmla="*/ 60593 w 132838"/>
              <a:gd name="connsiteY0" fmla="*/ 143326 h 143325"/>
              <a:gd name="connsiteX1" fmla="*/ 0 w 132838"/>
              <a:gd name="connsiteY1" fmla="*/ 143326 h 143325"/>
              <a:gd name="connsiteX2" fmla="*/ 71080 w 132838"/>
              <a:gd name="connsiteY2" fmla="*/ 72246 h 143325"/>
              <a:gd name="connsiteX3" fmla="*/ 0 w 132838"/>
              <a:gd name="connsiteY3" fmla="*/ 0 h 143325"/>
              <a:gd name="connsiteX4" fmla="*/ 61758 w 132838"/>
              <a:gd name="connsiteY4" fmla="*/ 0 h 143325"/>
              <a:gd name="connsiteX5" fmla="*/ 132838 w 132838"/>
              <a:gd name="connsiteY5" fmla="*/ 71080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6"/>
                </a:moveTo>
                <a:lnTo>
                  <a:pt x="0" y="143326"/>
                </a:lnTo>
                <a:lnTo>
                  <a:pt x="71080" y="72246"/>
                </a:lnTo>
                <a:lnTo>
                  <a:pt x="0" y="0"/>
                </a:lnTo>
                <a:lnTo>
                  <a:pt x="61758" y="0"/>
                </a:lnTo>
                <a:lnTo>
                  <a:pt x="132838" y="71080"/>
                </a:lnTo>
                <a:close/>
              </a:path>
            </a:pathLst>
          </a:custGeom>
          <a:solidFill>
            <a:srgbClr val="EEF2F5"/>
          </a:solidFill>
          <a:ln w="11643" cap="flat">
            <a:noFill/>
            <a:prstDash val="solid"/>
            <a:miter/>
          </a:ln>
        </p:spPr>
        <p:txBody>
          <a:bodyPr rtlCol="0" anchor="ctr"/>
          <a:lstStyle/>
          <a:p>
            <a:endParaRPr lang="de-DE"/>
          </a:p>
        </p:txBody>
      </p:sp>
      <p:sp>
        <p:nvSpPr>
          <p:cNvPr id="395" name="Freihandform: Form 394">
            <a:extLst>
              <a:ext uri="{FF2B5EF4-FFF2-40B4-BE49-F238E27FC236}">
                <a16:creationId xmlns:a16="http://schemas.microsoft.com/office/drawing/2014/main" id="{2595AD4F-3613-411F-AF5E-490AA23115BA}"/>
              </a:ext>
            </a:extLst>
          </p:cNvPr>
          <p:cNvSpPr/>
          <p:nvPr userDrawn="1"/>
        </p:nvSpPr>
        <p:spPr>
          <a:xfrm>
            <a:off x="7335247" y="6651749"/>
            <a:ext cx="132838" cy="143325"/>
          </a:xfrm>
          <a:custGeom>
            <a:avLst/>
            <a:gdLst>
              <a:gd name="connsiteX0" fmla="*/ 60593 w 132838"/>
              <a:gd name="connsiteY0" fmla="*/ 143326 h 143325"/>
              <a:gd name="connsiteX1" fmla="*/ 0 w 132838"/>
              <a:gd name="connsiteY1" fmla="*/ 143326 h 143325"/>
              <a:gd name="connsiteX2" fmla="*/ 71080 w 132838"/>
              <a:gd name="connsiteY2" fmla="*/ 72246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6"/>
                </a:moveTo>
                <a:lnTo>
                  <a:pt x="0" y="143326"/>
                </a:lnTo>
                <a:lnTo>
                  <a:pt x="71080" y="72246"/>
                </a:lnTo>
                <a:lnTo>
                  <a:pt x="0" y="0"/>
                </a:lnTo>
                <a:lnTo>
                  <a:pt x="61758" y="0"/>
                </a:lnTo>
                <a:lnTo>
                  <a:pt x="132838" y="69915"/>
                </a:lnTo>
                <a:close/>
              </a:path>
            </a:pathLst>
          </a:custGeom>
          <a:solidFill>
            <a:srgbClr val="EEF2F5"/>
          </a:solidFill>
          <a:ln w="11643" cap="flat">
            <a:noFill/>
            <a:prstDash val="solid"/>
            <a:miter/>
          </a:ln>
        </p:spPr>
        <p:txBody>
          <a:bodyPr rtlCol="0" anchor="ctr"/>
          <a:lstStyle/>
          <a:p>
            <a:endParaRPr lang="de-DE"/>
          </a:p>
        </p:txBody>
      </p:sp>
      <p:sp>
        <p:nvSpPr>
          <p:cNvPr id="396" name="Freihandform: Form 395">
            <a:extLst>
              <a:ext uri="{FF2B5EF4-FFF2-40B4-BE49-F238E27FC236}">
                <a16:creationId xmlns:a16="http://schemas.microsoft.com/office/drawing/2014/main" id="{9EBD3A98-044D-4031-AC35-3BF914F7302F}"/>
              </a:ext>
            </a:extLst>
          </p:cNvPr>
          <p:cNvSpPr/>
          <p:nvPr userDrawn="1"/>
        </p:nvSpPr>
        <p:spPr>
          <a:xfrm>
            <a:off x="7682491" y="2029211"/>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397" name="Freihandform: Form 396">
            <a:extLst>
              <a:ext uri="{FF2B5EF4-FFF2-40B4-BE49-F238E27FC236}">
                <a16:creationId xmlns:a16="http://schemas.microsoft.com/office/drawing/2014/main" id="{43C53F6D-4828-4940-97F4-B626CD126756}"/>
              </a:ext>
            </a:extLst>
          </p:cNvPr>
          <p:cNvSpPr/>
          <p:nvPr userDrawn="1"/>
        </p:nvSpPr>
        <p:spPr>
          <a:xfrm>
            <a:off x="7682491" y="2384612"/>
            <a:ext cx="147986" cy="160804"/>
          </a:xfrm>
          <a:custGeom>
            <a:avLst/>
            <a:gdLst>
              <a:gd name="connsiteX0" fmla="*/ 67584 w 147986"/>
              <a:gd name="connsiteY0" fmla="*/ 160804 h 160804"/>
              <a:gd name="connsiteX1" fmla="*/ 0 w 147986"/>
              <a:gd name="connsiteY1" fmla="*/ 160804 h 160804"/>
              <a:gd name="connsiteX2" fmla="*/ 79237 w 147986"/>
              <a:gd name="connsiteY2" fmla="*/ 80402 h 160804"/>
              <a:gd name="connsiteX3" fmla="*/ 0 w 147986"/>
              <a:gd name="connsiteY3" fmla="*/ 0 h 160804"/>
              <a:gd name="connsiteX4" fmla="*/ 68750 w 147986"/>
              <a:gd name="connsiteY4" fmla="*/ 0 h 160804"/>
              <a:gd name="connsiteX5" fmla="*/ 147986 w 147986"/>
              <a:gd name="connsiteY5" fmla="*/ 79237 h 160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0804">
                <a:moveTo>
                  <a:pt x="67584" y="160804"/>
                </a:moveTo>
                <a:lnTo>
                  <a:pt x="0" y="160804"/>
                </a:lnTo>
                <a:lnTo>
                  <a:pt x="79237" y="80402"/>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398" name="Freihandform: Form 397">
            <a:extLst>
              <a:ext uri="{FF2B5EF4-FFF2-40B4-BE49-F238E27FC236}">
                <a16:creationId xmlns:a16="http://schemas.microsoft.com/office/drawing/2014/main" id="{120E8F27-6892-406B-90DB-A43FCDE80878}"/>
              </a:ext>
            </a:extLst>
          </p:cNvPr>
          <p:cNvSpPr/>
          <p:nvPr userDrawn="1"/>
        </p:nvSpPr>
        <p:spPr>
          <a:xfrm>
            <a:off x="7682491" y="2738847"/>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399" name="Freihandform: Form 398">
            <a:extLst>
              <a:ext uri="{FF2B5EF4-FFF2-40B4-BE49-F238E27FC236}">
                <a16:creationId xmlns:a16="http://schemas.microsoft.com/office/drawing/2014/main" id="{5C717E3E-F6BC-42B4-A350-C1DEE9C442C9}"/>
              </a:ext>
            </a:extLst>
          </p:cNvPr>
          <p:cNvSpPr/>
          <p:nvPr userDrawn="1"/>
        </p:nvSpPr>
        <p:spPr>
          <a:xfrm>
            <a:off x="7682491" y="3094248"/>
            <a:ext cx="147986" cy="160804"/>
          </a:xfrm>
          <a:custGeom>
            <a:avLst/>
            <a:gdLst>
              <a:gd name="connsiteX0" fmla="*/ 67584 w 147986"/>
              <a:gd name="connsiteY0" fmla="*/ 160804 h 160804"/>
              <a:gd name="connsiteX1" fmla="*/ 0 w 147986"/>
              <a:gd name="connsiteY1" fmla="*/ 160804 h 160804"/>
              <a:gd name="connsiteX2" fmla="*/ 79237 w 147986"/>
              <a:gd name="connsiteY2" fmla="*/ 81567 h 160804"/>
              <a:gd name="connsiteX3" fmla="*/ 0 w 147986"/>
              <a:gd name="connsiteY3" fmla="*/ 0 h 160804"/>
              <a:gd name="connsiteX4" fmla="*/ 68750 w 147986"/>
              <a:gd name="connsiteY4" fmla="*/ 0 h 160804"/>
              <a:gd name="connsiteX5" fmla="*/ 147986 w 147986"/>
              <a:gd name="connsiteY5" fmla="*/ 79237 h 160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0804">
                <a:moveTo>
                  <a:pt x="67584" y="160804"/>
                </a:moveTo>
                <a:lnTo>
                  <a:pt x="0" y="160804"/>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400" name="Freihandform: Form 399">
            <a:extLst>
              <a:ext uri="{FF2B5EF4-FFF2-40B4-BE49-F238E27FC236}">
                <a16:creationId xmlns:a16="http://schemas.microsoft.com/office/drawing/2014/main" id="{4F410CDD-2620-4397-B84B-BC98C66C7973}"/>
              </a:ext>
            </a:extLst>
          </p:cNvPr>
          <p:cNvSpPr/>
          <p:nvPr userDrawn="1"/>
        </p:nvSpPr>
        <p:spPr>
          <a:xfrm>
            <a:off x="7682491" y="3448483"/>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401" name="Freihandform: Form 400">
            <a:extLst>
              <a:ext uri="{FF2B5EF4-FFF2-40B4-BE49-F238E27FC236}">
                <a16:creationId xmlns:a16="http://schemas.microsoft.com/office/drawing/2014/main" id="{02172315-7916-4D70-BD29-FC5BB87983F8}"/>
              </a:ext>
            </a:extLst>
          </p:cNvPr>
          <p:cNvSpPr/>
          <p:nvPr userDrawn="1"/>
        </p:nvSpPr>
        <p:spPr>
          <a:xfrm>
            <a:off x="7682491" y="3803883"/>
            <a:ext cx="147986" cy="160804"/>
          </a:xfrm>
          <a:custGeom>
            <a:avLst/>
            <a:gdLst>
              <a:gd name="connsiteX0" fmla="*/ 67584 w 147986"/>
              <a:gd name="connsiteY0" fmla="*/ 160804 h 160804"/>
              <a:gd name="connsiteX1" fmla="*/ 0 w 147986"/>
              <a:gd name="connsiteY1" fmla="*/ 160804 h 160804"/>
              <a:gd name="connsiteX2" fmla="*/ 79237 w 147986"/>
              <a:gd name="connsiteY2" fmla="*/ 81567 h 160804"/>
              <a:gd name="connsiteX3" fmla="*/ 0 w 147986"/>
              <a:gd name="connsiteY3" fmla="*/ 0 h 160804"/>
              <a:gd name="connsiteX4" fmla="*/ 68750 w 147986"/>
              <a:gd name="connsiteY4" fmla="*/ 0 h 160804"/>
              <a:gd name="connsiteX5" fmla="*/ 147986 w 147986"/>
              <a:gd name="connsiteY5" fmla="*/ 79237 h 160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0804">
                <a:moveTo>
                  <a:pt x="67584" y="160804"/>
                </a:moveTo>
                <a:lnTo>
                  <a:pt x="0" y="160804"/>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402" name="Freihandform: Form 401">
            <a:extLst>
              <a:ext uri="{FF2B5EF4-FFF2-40B4-BE49-F238E27FC236}">
                <a16:creationId xmlns:a16="http://schemas.microsoft.com/office/drawing/2014/main" id="{675200BF-627C-42A4-9F53-4A172D52E39B}"/>
              </a:ext>
            </a:extLst>
          </p:cNvPr>
          <p:cNvSpPr/>
          <p:nvPr userDrawn="1"/>
        </p:nvSpPr>
        <p:spPr>
          <a:xfrm>
            <a:off x="7682491" y="4158119"/>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403" name="Freihandform: Form 402">
            <a:extLst>
              <a:ext uri="{FF2B5EF4-FFF2-40B4-BE49-F238E27FC236}">
                <a16:creationId xmlns:a16="http://schemas.microsoft.com/office/drawing/2014/main" id="{CAF5CE73-97E8-49F4-906D-4FDA8880D376}"/>
              </a:ext>
            </a:extLst>
          </p:cNvPr>
          <p:cNvSpPr/>
          <p:nvPr userDrawn="1"/>
        </p:nvSpPr>
        <p:spPr>
          <a:xfrm>
            <a:off x="7682491" y="4513520"/>
            <a:ext cx="147986" cy="160804"/>
          </a:xfrm>
          <a:custGeom>
            <a:avLst/>
            <a:gdLst>
              <a:gd name="connsiteX0" fmla="*/ 67584 w 147986"/>
              <a:gd name="connsiteY0" fmla="*/ 160804 h 160804"/>
              <a:gd name="connsiteX1" fmla="*/ 0 w 147986"/>
              <a:gd name="connsiteY1" fmla="*/ 160804 h 160804"/>
              <a:gd name="connsiteX2" fmla="*/ 79237 w 147986"/>
              <a:gd name="connsiteY2" fmla="*/ 81567 h 160804"/>
              <a:gd name="connsiteX3" fmla="*/ 0 w 147986"/>
              <a:gd name="connsiteY3" fmla="*/ 0 h 160804"/>
              <a:gd name="connsiteX4" fmla="*/ 68750 w 147986"/>
              <a:gd name="connsiteY4" fmla="*/ 0 h 160804"/>
              <a:gd name="connsiteX5" fmla="*/ 147986 w 147986"/>
              <a:gd name="connsiteY5" fmla="*/ 79237 h 160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0804">
                <a:moveTo>
                  <a:pt x="67584" y="160804"/>
                </a:moveTo>
                <a:lnTo>
                  <a:pt x="0" y="160804"/>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404" name="Freihandform: Form 403">
            <a:extLst>
              <a:ext uri="{FF2B5EF4-FFF2-40B4-BE49-F238E27FC236}">
                <a16:creationId xmlns:a16="http://schemas.microsoft.com/office/drawing/2014/main" id="{218DF139-4DC1-4BCB-9F4E-581AFD9F6331}"/>
              </a:ext>
            </a:extLst>
          </p:cNvPr>
          <p:cNvSpPr/>
          <p:nvPr userDrawn="1"/>
        </p:nvSpPr>
        <p:spPr>
          <a:xfrm>
            <a:off x="7682491" y="4867755"/>
            <a:ext cx="147986" cy="161969"/>
          </a:xfrm>
          <a:custGeom>
            <a:avLst/>
            <a:gdLst>
              <a:gd name="connsiteX0" fmla="*/ 67584 w 147986"/>
              <a:gd name="connsiteY0" fmla="*/ 161970 h 161969"/>
              <a:gd name="connsiteX1" fmla="*/ 0 w 147986"/>
              <a:gd name="connsiteY1" fmla="*/ 161970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70"/>
                </a:moveTo>
                <a:lnTo>
                  <a:pt x="0" y="161970"/>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405" name="Freihandform: Form 404">
            <a:extLst>
              <a:ext uri="{FF2B5EF4-FFF2-40B4-BE49-F238E27FC236}">
                <a16:creationId xmlns:a16="http://schemas.microsoft.com/office/drawing/2014/main" id="{0A37C202-DA7A-49FE-8C7A-70FAA46867C6}"/>
              </a:ext>
            </a:extLst>
          </p:cNvPr>
          <p:cNvSpPr/>
          <p:nvPr userDrawn="1"/>
        </p:nvSpPr>
        <p:spPr>
          <a:xfrm>
            <a:off x="7682491" y="5223156"/>
            <a:ext cx="147986" cy="160804"/>
          </a:xfrm>
          <a:custGeom>
            <a:avLst/>
            <a:gdLst>
              <a:gd name="connsiteX0" fmla="*/ 67584 w 147986"/>
              <a:gd name="connsiteY0" fmla="*/ 160804 h 160804"/>
              <a:gd name="connsiteX1" fmla="*/ 0 w 147986"/>
              <a:gd name="connsiteY1" fmla="*/ 160804 h 160804"/>
              <a:gd name="connsiteX2" fmla="*/ 79237 w 147986"/>
              <a:gd name="connsiteY2" fmla="*/ 81567 h 160804"/>
              <a:gd name="connsiteX3" fmla="*/ 0 w 147986"/>
              <a:gd name="connsiteY3" fmla="*/ 0 h 160804"/>
              <a:gd name="connsiteX4" fmla="*/ 68750 w 147986"/>
              <a:gd name="connsiteY4" fmla="*/ 0 h 160804"/>
              <a:gd name="connsiteX5" fmla="*/ 147986 w 147986"/>
              <a:gd name="connsiteY5" fmla="*/ 79237 h 160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0804">
                <a:moveTo>
                  <a:pt x="67584" y="160804"/>
                </a:moveTo>
                <a:lnTo>
                  <a:pt x="0" y="160804"/>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406" name="Freihandform: Form 405">
            <a:extLst>
              <a:ext uri="{FF2B5EF4-FFF2-40B4-BE49-F238E27FC236}">
                <a16:creationId xmlns:a16="http://schemas.microsoft.com/office/drawing/2014/main" id="{9C4CC063-F063-49A1-A191-445FCAA404F3}"/>
              </a:ext>
            </a:extLst>
          </p:cNvPr>
          <p:cNvSpPr/>
          <p:nvPr userDrawn="1"/>
        </p:nvSpPr>
        <p:spPr>
          <a:xfrm>
            <a:off x="7682491" y="5577391"/>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407" name="Freihandform: Form 406">
            <a:extLst>
              <a:ext uri="{FF2B5EF4-FFF2-40B4-BE49-F238E27FC236}">
                <a16:creationId xmlns:a16="http://schemas.microsoft.com/office/drawing/2014/main" id="{E4A5A0CA-718E-4526-8905-36FE802C3C3C}"/>
              </a:ext>
            </a:extLst>
          </p:cNvPr>
          <p:cNvSpPr/>
          <p:nvPr userDrawn="1"/>
        </p:nvSpPr>
        <p:spPr>
          <a:xfrm>
            <a:off x="7682491" y="5932792"/>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408" name="Freihandform: Form 407">
            <a:extLst>
              <a:ext uri="{FF2B5EF4-FFF2-40B4-BE49-F238E27FC236}">
                <a16:creationId xmlns:a16="http://schemas.microsoft.com/office/drawing/2014/main" id="{F21B4889-030D-4F50-9502-7C167A1D25E3}"/>
              </a:ext>
            </a:extLst>
          </p:cNvPr>
          <p:cNvSpPr/>
          <p:nvPr userDrawn="1"/>
        </p:nvSpPr>
        <p:spPr>
          <a:xfrm>
            <a:off x="7682491" y="6287027"/>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80402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80402"/>
                </a:lnTo>
                <a:close/>
              </a:path>
            </a:pathLst>
          </a:custGeom>
          <a:solidFill>
            <a:srgbClr val="EEF2F5"/>
          </a:solidFill>
          <a:ln w="11643" cap="flat">
            <a:noFill/>
            <a:prstDash val="solid"/>
            <a:miter/>
          </a:ln>
        </p:spPr>
        <p:txBody>
          <a:bodyPr rtlCol="0" anchor="ctr"/>
          <a:lstStyle/>
          <a:p>
            <a:endParaRPr lang="de-DE"/>
          </a:p>
        </p:txBody>
      </p:sp>
      <p:sp>
        <p:nvSpPr>
          <p:cNvPr id="409" name="Freihandform: Form 408">
            <a:extLst>
              <a:ext uri="{FF2B5EF4-FFF2-40B4-BE49-F238E27FC236}">
                <a16:creationId xmlns:a16="http://schemas.microsoft.com/office/drawing/2014/main" id="{F20E497A-F5DB-4F96-B341-3DF47EDCD66D}"/>
              </a:ext>
            </a:extLst>
          </p:cNvPr>
          <p:cNvSpPr/>
          <p:nvPr userDrawn="1"/>
        </p:nvSpPr>
        <p:spPr>
          <a:xfrm>
            <a:off x="7682491" y="6642428"/>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410" name="Freihandform: Form 409">
            <a:extLst>
              <a:ext uri="{FF2B5EF4-FFF2-40B4-BE49-F238E27FC236}">
                <a16:creationId xmlns:a16="http://schemas.microsoft.com/office/drawing/2014/main" id="{20D583A8-A99E-46DB-A41A-3E08431963F8}"/>
              </a:ext>
            </a:extLst>
          </p:cNvPr>
          <p:cNvSpPr/>
          <p:nvPr userDrawn="1"/>
        </p:nvSpPr>
        <p:spPr>
          <a:xfrm>
            <a:off x="8028570" y="2019889"/>
            <a:ext cx="165465" cy="179448"/>
          </a:xfrm>
          <a:custGeom>
            <a:avLst/>
            <a:gdLst>
              <a:gd name="connsiteX0" fmla="*/ 75741 w 165465"/>
              <a:gd name="connsiteY0" fmla="*/ 179448 h 179448"/>
              <a:gd name="connsiteX1" fmla="*/ 0 w 165465"/>
              <a:gd name="connsiteY1" fmla="*/ 179448 h 179448"/>
              <a:gd name="connsiteX2" fmla="*/ 88559 w 165465"/>
              <a:gd name="connsiteY2" fmla="*/ 90889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411" name="Freihandform: Form 410">
            <a:extLst>
              <a:ext uri="{FF2B5EF4-FFF2-40B4-BE49-F238E27FC236}">
                <a16:creationId xmlns:a16="http://schemas.microsoft.com/office/drawing/2014/main" id="{09B60DC3-4079-4CF1-9FA2-3667E3169BE5}"/>
              </a:ext>
            </a:extLst>
          </p:cNvPr>
          <p:cNvSpPr/>
          <p:nvPr userDrawn="1"/>
        </p:nvSpPr>
        <p:spPr>
          <a:xfrm>
            <a:off x="8028570" y="2375290"/>
            <a:ext cx="165465" cy="179448"/>
          </a:xfrm>
          <a:custGeom>
            <a:avLst/>
            <a:gdLst>
              <a:gd name="connsiteX0" fmla="*/ 75741 w 165465"/>
              <a:gd name="connsiteY0" fmla="*/ 179448 h 179448"/>
              <a:gd name="connsiteX1" fmla="*/ 0 w 165465"/>
              <a:gd name="connsiteY1" fmla="*/ 179448 h 179448"/>
              <a:gd name="connsiteX2" fmla="*/ 88559 w 165465"/>
              <a:gd name="connsiteY2" fmla="*/ 90889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412" name="Freihandform: Form 411">
            <a:extLst>
              <a:ext uri="{FF2B5EF4-FFF2-40B4-BE49-F238E27FC236}">
                <a16:creationId xmlns:a16="http://schemas.microsoft.com/office/drawing/2014/main" id="{A28ECBD0-0C03-43BC-B913-C56FBFD468AD}"/>
              </a:ext>
            </a:extLst>
          </p:cNvPr>
          <p:cNvSpPr/>
          <p:nvPr userDrawn="1"/>
        </p:nvSpPr>
        <p:spPr>
          <a:xfrm>
            <a:off x="8028570" y="2729525"/>
            <a:ext cx="165465" cy="179448"/>
          </a:xfrm>
          <a:custGeom>
            <a:avLst/>
            <a:gdLst>
              <a:gd name="connsiteX0" fmla="*/ 75741 w 165465"/>
              <a:gd name="connsiteY0" fmla="*/ 179448 h 179448"/>
              <a:gd name="connsiteX1" fmla="*/ 0 w 165465"/>
              <a:gd name="connsiteY1" fmla="*/ 179448 h 179448"/>
              <a:gd name="connsiteX2" fmla="*/ 88559 w 165465"/>
              <a:gd name="connsiteY2" fmla="*/ 90889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413" name="Freihandform: Form 412">
            <a:extLst>
              <a:ext uri="{FF2B5EF4-FFF2-40B4-BE49-F238E27FC236}">
                <a16:creationId xmlns:a16="http://schemas.microsoft.com/office/drawing/2014/main" id="{81865AF8-BEB5-4A5A-A20B-57F13A2AC867}"/>
              </a:ext>
            </a:extLst>
          </p:cNvPr>
          <p:cNvSpPr/>
          <p:nvPr userDrawn="1"/>
        </p:nvSpPr>
        <p:spPr>
          <a:xfrm>
            <a:off x="8028570" y="3084926"/>
            <a:ext cx="165465" cy="179448"/>
          </a:xfrm>
          <a:custGeom>
            <a:avLst/>
            <a:gdLst>
              <a:gd name="connsiteX0" fmla="*/ 75741 w 165465"/>
              <a:gd name="connsiteY0" fmla="*/ 179448 h 179448"/>
              <a:gd name="connsiteX1" fmla="*/ 0 w 165465"/>
              <a:gd name="connsiteY1" fmla="*/ 179448 h 179448"/>
              <a:gd name="connsiteX2" fmla="*/ 88559 w 165465"/>
              <a:gd name="connsiteY2" fmla="*/ 90889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414" name="Freihandform: Form 413">
            <a:extLst>
              <a:ext uri="{FF2B5EF4-FFF2-40B4-BE49-F238E27FC236}">
                <a16:creationId xmlns:a16="http://schemas.microsoft.com/office/drawing/2014/main" id="{A77752D8-E05F-4500-BE69-EE4B76C596D4}"/>
              </a:ext>
            </a:extLst>
          </p:cNvPr>
          <p:cNvSpPr/>
          <p:nvPr userDrawn="1"/>
        </p:nvSpPr>
        <p:spPr>
          <a:xfrm>
            <a:off x="8028570" y="3439161"/>
            <a:ext cx="165465" cy="180613"/>
          </a:xfrm>
          <a:custGeom>
            <a:avLst/>
            <a:gdLst>
              <a:gd name="connsiteX0" fmla="*/ 75741 w 165465"/>
              <a:gd name="connsiteY0" fmla="*/ 180614 h 180613"/>
              <a:gd name="connsiteX1" fmla="*/ 0 w 165465"/>
              <a:gd name="connsiteY1" fmla="*/ 180614 h 180613"/>
              <a:gd name="connsiteX2" fmla="*/ 88559 w 165465"/>
              <a:gd name="connsiteY2" fmla="*/ 90889 h 180613"/>
              <a:gd name="connsiteX3" fmla="*/ 0 w 165465"/>
              <a:gd name="connsiteY3" fmla="*/ 0 h 180613"/>
              <a:gd name="connsiteX4" fmla="*/ 76906 w 165465"/>
              <a:gd name="connsiteY4" fmla="*/ 0 h 180613"/>
              <a:gd name="connsiteX5" fmla="*/ 165465 w 165465"/>
              <a:gd name="connsiteY5" fmla="*/ 88559 h 180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80613">
                <a:moveTo>
                  <a:pt x="75741" y="180614"/>
                </a:moveTo>
                <a:lnTo>
                  <a:pt x="0" y="180614"/>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415" name="Freihandform: Form 414">
            <a:extLst>
              <a:ext uri="{FF2B5EF4-FFF2-40B4-BE49-F238E27FC236}">
                <a16:creationId xmlns:a16="http://schemas.microsoft.com/office/drawing/2014/main" id="{5946384E-284D-4976-A3EC-765399D6C96E}"/>
              </a:ext>
            </a:extLst>
          </p:cNvPr>
          <p:cNvSpPr/>
          <p:nvPr userDrawn="1"/>
        </p:nvSpPr>
        <p:spPr>
          <a:xfrm>
            <a:off x="8028570" y="3794562"/>
            <a:ext cx="165465" cy="179448"/>
          </a:xfrm>
          <a:custGeom>
            <a:avLst/>
            <a:gdLst>
              <a:gd name="connsiteX0" fmla="*/ 75741 w 165465"/>
              <a:gd name="connsiteY0" fmla="*/ 179448 h 179448"/>
              <a:gd name="connsiteX1" fmla="*/ 0 w 165465"/>
              <a:gd name="connsiteY1" fmla="*/ 179448 h 179448"/>
              <a:gd name="connsiteX2" fmla="*/ 88559 w 165465"/>
              <a:gd name="connsiteY2" fmla="*/ 90889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416" name="Freihandform: Form 415">
            <a:extLst>
              <a:ext uri="{FF2B5EF4-FFF2-40B4-BE49-F238E27FC236}">
                <a16:creationId xmlns:a16="http://schemas.microsoft.com/office/drawing/2014/main" id="{90800565-457C-44CA-B5C7-654275474468}"/>
              </a:ext>
            </a:extLst>
          </p:cNvPr>
          <p:cNvSpPr/>
          <p:nvPr userDrawn="1"/>
        </p:nvSpPr>
        <p:spPr>
          <a:xfrm>
            <a:off x="8028570" y="4148797"/>
            <a:ext cx="165465" cy="180613"/>
          </a:xfrm>
          <a:custGeom>
            <a:avLst/>
            <a:gdLst>
              <a:gd name="connsiteX0" fmla="*/ 75741 w 165465"/>
              <a:gd name="connsiteY0" fmla="*/ 180613 h 180613"/>
              <a:gd name="connsiteX1" fmla="*/ 0 w 165465"/>
              <a:gd name="connsiteY1" fmla="*/ 180613 h 180613"/>
              <a:gd name="connsiteX2" fmla="*/ 88559 w 165465"/>
              <a:gd name="connsiteY2" fmla="*/ 90889 h 180613"/>
              <a:gd name="connsiteX3" fmla="*/ 0 w 165465"/>
              <a:gd name="connsiteY3" fmla="*/ 0 h 180613"/>
              <a:gd name="connsiteX4" fmla="*/ 76906 w 165465"/>
              <a:gd name="connsiteY4" fmla="*/ 0 h 180613"/>
              <a:gd name="connsiteX5" fmla="*/ 165465 w 165465"/>
              <a:gd name="connsiteY5" fmla="*/ 88559 h 180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80613">
                <a:moveTo>
                  <a:pt x="75741" y="180613"/>
                </a:moveTo>
                <a:lnTo>
                  <a:pt x="0" y="180613"/>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417" name="Freihandform: Form 416">
            <a:extLst>
              <a:ext uri="{FF2B5EF4-FFF2-40B4-BE49-F238E27FC236}">
                <a16:creationId xmlns:a16="http://schemas.microsoft.com/office/drawing/2014/main" id="{F42B60A2-B724-49DF-B9C1-DF590E07CED7}"/>
              </a:ext>
            </a:extLst>
          </p:cNvPr>
          <p:cNvSpPr/>
          <p:nvPr userDrawn="1"/>
        </p:nvSpPr>
        <p:spPr>
          <a:xfrm>
            <a:off x="8028570" y="4504198"/>
            <a:ext cx="165465" cy="179448"/>
          </a:xfrm>
          <a:custGeom>
            <a:avLst/>
            <a:gdLst>
              <a:gd name="connsiteX0" fmla="*/ 75741 w 165465"/>
              <a:gd name="connsiteY0" fmla="*/ 179448 h 179448"/>
              <a:gd name="connsiteX1" fmla="*/ 0 w 165465"/>
              <a:gd name="connsiteY1" fmla="*/ 179448 h 179448"/>
              <a:gd name="connsiteX2" fmla="*/ 88559 w 165465"/>
              <a:gd name="connsiteY2" fmla="*/ 90889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418" name="Freihandform: Form 417">
            <a:extLst>
              <a:ext uri="{FF2B5EF4-FFF2-40B4-BE49-F238E27FC236}">
                <a16:creationId xmlns:a16="http://schemas.microsoft.com/office/drawing/2014/main" id="{918786C3-E0C0-40D3-AEEC-2B0928087F67}"/>
              </a:ext>
            </a:extLst>
          </p:cNvPr>
          <p:cNvSpPr/>
          <p:nvPr userDrawn="1"/>
        </p:nvSpPr>
        <p:spPr>
          <a:xfrm>
            <a:off x="8028570" y="4859598"/>
            <a:ext cx="165465" cy="179448"/>
          </a:xfrm>
          <a:custGeom>
            <a:avLst/>
            <a:gdLst>
              <a:gd name="connsiteX0" fmla="*/ 75741 w 165465"/>
              <a:gd name="connsiteY0" fmla="*/ 179448 h 179448"/>
              <a:gd name="connsiteX1" fmla="*/ 0 w 165465"/>
              <a:gd name="connsiteY1" fmla="*/ 179448 h 179448"/>
              <a:gd name="connsiteX2" fmla="*/ 88559 w 165465"/>
              <a:gd name="connsiteY2" fmla="*/ 89724 h 179448"/>
              <a:gd name="connsiteX3" fmla="*/ 0 w 165465"/>
              <a:gd name="connsiteY3" fmla="*/ 0 h 179448"/>
              <a:gd name="connsiteX4" fmla="*/ 76906 w 165465"/>
              <a:gd name="connsiteY4" fmla="*/ 0 h 179448"/>
              <a:gd name="connsiteX5" fmla="*/ 165465 w 165465"/>
              <a:gd name="connsiteY5" fmla="*/ 87394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89724"/>
                </a:lnTo>
                <a:lnTo>
                  <a:pt x="0" y="0"/>
                </a:lnTo>
                <a:lnTo>
                  <a:pt x="76906" y="0"/>
                </a:lnTo>
                <a:lnTo>
                  <a:pt x="165465" y="87394"/>
                </a:lnTo>
                <a:close/>
              </a:path>
            </a:pathLst>
          </a:custGeom>
          <a:solidFill>
            <a:srgbClr val="EEF2F5"/>
          </a:solidFill>
          <a:ln w="11643" cap="flat">
            <a:noFill/>
            <a:prstDash val="solid"/>
            <a:miter/>
          </a:ln>
        </p:spPr>
        <p:txBody>
          <a:bodyPr rtlCol="0" anchor="ctr"/>
          <a:lstStyle/>
          <a:p>
            <a:endParaRPr lang="de-DE"/>
          </a:p>
        </p:txBody>
      </p:sp>
      <p:sp>
        <p:nvSpPr>
          <p:cNvPr id="419" name="Freihandform: Form 418">
            <a:extLst>
              <a:ext uri="{FF2B5EF4-FFF2-40B4-BE49-F238E27FC236}">
                <a16:creationId xmlns:a16="http://schemas.microsoft.com/office/drawing/2014/main" id="{5A95C5AF-A7DE-46D9-BD81-B38E5EE66F36}"/>
              </a:ext>
            </a:extLst>
          </p:cNvPr>
          <p:cNvSpPr/>
          <p:nvPr userDrawn="1"/>
        </p:nvSpPr>
        <p:spPr>
          <a:xfrm>
            <a:off x="8028570" y="5213834"/>
            <a:ext cx="165465" cy="179448"/>
          </a:xfrm>
          <a:custGeom>
            <a:avLst/>
            <a:gdLst>
              <a:gd name="connsiteX0" fmla="*/ 75741 w 165465"/>
              <a:gd name="connsiteY0" fmla="*/ 179448 h 179448"/>
              <a:gd name="connsiteX1" fmla="*/ 0 w 165465"/>
              <a:gd name="connsiteY1" fmla="*/ 179448 h 179448"/>
              <a:gd name="connsiteX2" fmla="*/ 88559 w 165465"/>
              <a:gd name="connsiteY2" fmla="*/ 90890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90"/>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420" name="Freihandform: Form 419">
            <a:extLst>
              <a:ext uri="{FF2B5EF4-FFF2-40B4-BE49-F238E27FC236}">
                <a16:creationId xmlns:a16="http://schemas.microsoft.com/office/drawing/2014/main" id="{E84E62F6-ABA2-4007-8DEC-26ABA65D4FD4}"/>
              </a:ext>
            </a:extLst>
          </p:cNvPr>
          <p:cNvSpPr/>
          <p:nvPr userDrawn="1"/>
        </p:nvSpPr>
        <p:spPr>
          <a:xfrm>
            <a:off x="8028570" y="5569234"/>
            <a:ext cx="165465" cy="179448"/>
          </a:xfrm>
          <a:custGeom>
            <a:avLst/>
            <a:gdLst>
              <a:gd name="connsiteX0" fmla="*/ 75741 w 165465"/>
              <a:gd name="connsiteY0" fmla="*/ 179448 h 179448"/>
              <a:gd name="connsiteX1" fmla="*/ 0 w 165465"/>
              <a:gd name="connsiteY1" fmla="*/ 179448 h 179448"/>
              <a:gd name="connsiteX2" fmla="*/ 88559 w 165465"/>
              <a:gd name="connsiteY2" fmla="*/ 89724 h 179448"/>
              <a:gd name="connsiteX3" fmla="*/ 0 w 165465"/>
              <a:gd name="connsiteY3" fmla="*/ 0 h 179448"/>
              <a:gd name="connsiteX4" fmla="*/ 76906 w 165465"/>
              <a:gd name="connsiteY4" fmla="*/ 0 h 179448"/>
              <a:gd name="connsiteX5" fmla="*/ 165465 w 165465"/>
              <a:gd name="connsiteY5" fmla="*/ 87394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89724"/>
                </a:lnTo>
                <a:lnTo>
                  <a:pt x="0" y="0"/>
                </a:lnTo>
                <a:lnTo>
                  <a:pt x="76906" y="0"/>
                </a:lnTo>
                <a:lnTo>
                  <a:pt x="165465" y="87394"/>
                </a:lnTo>
                <a:close/>
              </a:path>
            </a:pathLst>
          </a:custGeom>
          <a:solidFill>
            <a:srgbClr val="EEF2F5"/>
          </a:solidFill>
          <a:ln w="11643" cap="flat">
            <a:noFill/>
            <a:prstDash val="solid"/>
            <a:miter/>
          </a:ln>
        </p:spPr>
        <p:txBody>
          <a:bodyPr rtlCol="0" anchor="ctr"/>
          <a:lstStyle/>
          <a:p>
            <a:endParaRPr lang="de-DE"/>
          </a:p>
        </p:txBody>
      </p:sp>
      <p:sp>
        <p:nvSpPr>
          <p:cNvPr id="421" name="Freihandform: Form 420">
            <a:extLst>
              <a:ext uri="{FF2B5EF4-FFF2-40B4-BE49-F238E27FC236}">
                <a16:creationId xmlns:a16="http://schemas.microsoft.com/office/drawing/2014/main" id="{BA0B5D5D-DD77-4EAC-9B17-FCAA6E650A70}"/>
              </a:ext>
            </a:extLst>
          </p:cNvPr>
          <p:cNvSpPr/>
          <p:nvPr userDrawn="1"/>
        </p:nvSpPr>
        <p:spPr>
          <a:xfrm>
            <a:off x="8028570" y="5923469"/>
            <a:ext cx="165465" cy="179448"/>
          </a:xfrm>
          <a:custGeom>
            <a:avLst/>
            <a:gdLst>
              <a:gd name="connsiteX0" fmla="*/ 75741 w 165465"/>
              <a:gd name="connsiteY0" fmla="*/ 179448 h 179448"/>
              <a:gd name="connsiteX1" fmla="*/ 0 w 165465"/>
              <a:gd name="connsiteY1" fmla="*/ 179448 h 179448"/>
              <a:gd name="connsiteX2" fmla="*/ 88559 w 165465"/>
              <a:gd name="connsiteY2" fmla="*/ 90890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90"/>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422" name="Freihandform: Form 421">
            <a:extLst>
              <a:ext uri="{FF2B5EF4-FFF2-40B4-BE49-F238E27FC236}">
                <a16:creationId xmlns:a16="http://schemas.microsoft.com/office/drawing/2014/main" id="{5ED5F732-E2A1-428A-B725-5499FA571055}"/>
              </a:ext>
            </a:extLst>
          </p:cNvPr>
          <p:cNvSpPr/>
          <p:nvPr userDrawn="1"/>
        </p:nvSpPr>
        <p:spPr>
          <a:xfrm>
            <a:off x="8028570" y="6278870"/>
            <a:ext cx="165465" cy="179448"/>
          </a:xfrm>
          <a:custGeom>
            <a:avLst/>
            <a:gdLst>
              <a:gd name="connsiteX0" fmla="*/ 75741 w 165465"/>
              <a:gd name="connsiteY0" fmla="*/ 179448 h 179448"/>
              <a:gd name="connsiteX1" fmla="*/ 0 w 165465"/>
              <a:gd name="connsiteY1" fmla="*/ 179448 h 179448"/>
              <a:gd name="connsiteX2" fmla="*/ 88559 w 165465"/>
              <a:gd name="connsiteY2" fmla="*/ 89724 h 179448"/>
              <a:gd name="connsiteX3" fmla="*/ 0 w 165465"/>
              <a:gd name="connsiteY3" fmla="*/ 0 h 179448"/>
              <a:gd name="connsiteX4" fmla="*/ 76906 w 165465"/>
              <a:gd name="connsiteY4" fmla="*/ 0 h 179448"/>
              <a:gd name="connsiteX5" fmla="*/ 165465 w 165465"/>
              <a:gd name="connsiteY5" fmla="*/ 87394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89724"/>
                </a:lnTo>
                <a:lnTo>
                  <a:pt x="0" y="0"/>
                </a:lnTo>
                <a:lnTo>
                  <a:pt x="76906" y="0"/>
                </a:lnTo>
                <a:lnTo>
                  <a:pt x="165465" y="87394"/>
                </a:lnTo>
                <a:close/>
              </a:path>
            </a:pathLst>
          </a:custGeom>
          <a:solidFill>
            <a:srgbClr val="EEF2F5"/>
          </a:solidFill>
          <a:ln w="11643" cap="flat">
            <a:noFill/>
            <a:prstDash val="solid"/>
            <a:miter/>
          </a:ln>
        </p:spPr>
        <p:txBody>
          <a:bodyPr rtlCol="0" anchor="ctr"/>
          <a:lstStyle/>
          <a:p>
            <a:endParaRPr lang="de-DE"/>
          </a:p>
        </p:txBody>
      </p:sp>
      <p:sp>
        <p:nvSpPr>
          <p:cNvPr id="423" name="Freihandform: Form 422">
            <a:extLst>
              <a:ext uri="{FF2B5EF4-FFF2-40B4-BE49-F238E27FC236}">
                <a16:creationId xmlns:a16="http://schemas.microsoft.com/office/drawing/2014/main" id="{7CB387CA-4891-4983-8E5A-E36398952292}"/>
              </a:ext>
            </a:extLst>
          </p:cNvPr>
          <p:cNvSpPr/>
          <p:nvPr userDrawn="1"/>
        </p:nvSpPr>
        <p:spPr>
          <a:xfrm>
            <a:off x="8028570" y="6633106"/>
            <a:ext cx="165465" cy="179448"/>
          </a:xfrm>
          <a:custGeom>
            <a:avLst/>
            <a:gdLst>
              <a:gd name="connsiteX0" fmla="*/ 75741 w 165465"/>
              <a:gd name="connsiteY0" fmla="*/ 179448 h 179448"/>
              <a:gd name="connsiteX1" fmla="*/ 0 w 165465"/>
              <a:gd name="connsiteY1" fmla="*/ 179448 h 179448"/>
              <a:gd name="connsiteX2" fmla="*/ 88559 w 165465"/>
              <a:gd name="connsiteY2" fmla="*/ 90889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424" name="Freihandform: Form 423">
            <a:extLst>
              <a:ext uri="{FF2B5EF4-FFF2-40B4-BE49-F238E27FC236}">
                <a16:creationId xmlns:a16="http://schemas.microsoft.com/office/drawing/2014/main" id="{12CEA374-A1E4-4EDF-A88E-97BA00CE075E}"/>
              </a:ext>
            </a:extLst>
          </p:cNvPr>
          <p:cNvSpPr/>
          <p:nvPr userDrawn="1"/>
        </p:nvSpPr>
        <p:spPr>
          <a:xfrm>
            <a:off x="8375813" y="2011732"/>
            <a:ext cx="180613" cy="196926"/>
          </a:xfrm>
          <a:custGeom>
            <a:avLst/>
            <a:gdLst>
              <a:gd name="connsiteX0" fmla="*/ 82733 w 180613"/>
              <a:gd name="connsiteY0" fmla="*/ 196927 h 196926"/>
              <a:gd name="connsiteX1" fmla="*/ 0 w 180613"/>
              <a:gd name="connsiteY1" fmla="*/ 196927 h 196926"/>
              <a:gd name="connsiteX2" fmla="*/ 96715 w 180613"/>
              <a:gd name="connsiteY2" fmla="*/ 99046 h 196926"/>
              <a:gd name="connsiteX3" fmla="*/ 0 w 180613"/>
              <a:gd name="connsiteY3" fmla="*/ 0 h 196926"/>
              <a:gd name="connsiteX4" fmla="*/ 83898 w 180613"/>
              <a:gd name="connsiteY4" fmla="*/ 0 h 196926"/>
              <a:gd name="connsiteX5" fmla="*/ 180613 w 180613"/>
              <a:gd name="connsiteY5" fmla="*/ 96716 h 196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6926">
                <a:moveTo>
                  <a:pt x="82733" y="196927"/>
                </a:moveTo>
                <a:lnTo>
                  <a:pt x="0" y="196927"/>
                </a:lnTo>
                <a:lnTo>
                  <a:pt x="96715" y="99046"/>
                </a:lnTo>
                <a:lnTo>
                  <a:pt x="0" y="0"/>
                </a:lnTo>
                <a:lnTo>
                  <a:pt x="83898" y="0"/>
                </a:lnTo>
                <a:lnTo>
                  <a:pt x="180613" y="96716"/>
                </a:lnTo>
                <a:close/>
              </a:path>
            </a:pathLst>
          </a:custGeom>
          <a:solidFill>
            <a:srgbClr val="EEF2F5"/>
          </a:solidFill>
          <a:ln w="11643" cap="flat">
            <a:noFill/>
            <a:prstDash val="solid"/>
            <a:miter/>
          </a:ln>
        </p:spPr>
        <p:txBody>
          <a:bodyPr rtlCol="0" anchor="ctr"/>
          <a:lstStyle/>
          <a:p>
            <a:endParaRPr lang="de-DE"/>
          </a:p>
        </p:txBody>
      </p:sp>
      <p:sp>
        <p:nvSpPr>
          <p:cNvPr id="425" name="Freihandform: Form 424">
            <a:extLst>
              <a:ext uri="{FF2B5EF4-FFF2-40B4-BE49-F238E27FC236}">
                <a16:creationId xmlns:a16="http://schemas.microsoft.com/office/drawing/2014/main" id="{56C3244B-93A0-4C8E-AF15-1B7B4B778A1C}"/>
              </a:ext>
            </a:extLst>
          </p:cNvPr>
          <p:cNvSpPr/>
          <p:nvPr userDrawn="1"/>
        </p:nvSpPr>
        <p:spPr>
          <a:xfrm>
            <a:off x="8375813" y="2367133"/>
            <a:ext cx="180613" cy="195761"/>
          </a:xfrm>
          <a:custGeom>
            <a:avLst/>
            <a:gdLst>
              <a:gd name="connsiteX0" fmla="*/ 82733 w 180613"/>
              <a:gd name="connsiteY0" fmla="*/ 195762 h 195761"/>
              <a:gd name="connsiteX1" fmla="*/ 0 w 180613"/>
              <a:gd name="connsiteY1" fmla="*/ 195762 h 195761"/>
              <a:gd name="connsiteX2" fmla="*/ 96715 w 180613"/>
              <a:gd name="connsiteY2" fmla="*/ 99046 h 195761"/>
              <a:gd name="connsiteX3" fmla="*/ 0 w 180613"/>
              <a:gd name="connsiteY3" fmla="*/ 0 h 195761"/>
              <a:gd name="connsiteX4" fmla="*/ 83898 w 180613"/>
              <a:gd name="connsiteY4" fmla="*/ 0 h 195761"/>
              <a:gd name="connsiteX5" fmla="*/ 180613 w 180613"/>
              <a:gd name="connsiteY5" fmla="*/ 95550 h 19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5761">
                <a:moveTo>
                  <a:pt x="82733" y="195762"/>
                </a:moveTo>
                <a:lnTo>
                  <a:pt x="0" y="195762"/>
                </a:lnTo>
                <a:lnTo>
                  <a:pt x="96715" y="99046"/>
                </a:lnTo>
                <a:lnTo>
                  <a:pt x="0" y="0"/>
                </a:lnTo>
                <a:lnTo>
                  <a:pt x="83898" y="0"/>
                </a:lnTo>
                <a:lnTo>
                  <a:pt x="180613" y="95550"/>
                </a:lnTo>
                <a:close/>
              </a:path>
            </a:pathLst>
          </a:custGeom>
          <a:solidFill>
            <a:srgbClr val="EEF2F5"/>
          </a:solidFill>
          <a:ln w="11643" cap="flat">
            <a:noFill/>
            <a:prstDash val="solid"/>
            <a:miter/>
          </a:ln>
        </p:spPr>
        <p:txBody>
          <a:bodyPr rtlCol="0" anchor="ctr"/>
          <a:lstStyle/>
          <a:p>
            <a:endParaRPr lang="de-DE"/>
          </a:p>
        </p:txBody>
      </p:sp>
      <p:sp>
        <p:nvSpPr>
          <p:cNvPr id="426" name="Freihandform: Form 425">
            <a:extLst>
              <a:ext uri="{FF2B5EF4-FFF2-40B4-BE49-F238E27FC236}">
                <a16:creationId xmlns:a16="http://schemas.microsoft.com/office/drawing/2014/main" id="{5EF2422E-3B65-405D-A92A-FC38539348AE}"/>
              </a:ext>
            </a:extLst>
          </p:cNvPr>
          <p:cNvSpPr/>
          <p:nvPr userDrawn="1"/>
        </p:nvSpPr>
        <p:spPr>
          <a:xfrm>
            <a:off x="8375813" y="2721368"/>
            <a:ext cx="180613" cy="196926"/>
          </a:xfrm>
          <a:custGeom>
            <a:avLst/>
            <a:gdLst>
              <a:gd name="connsiteX0" fmla="*/ 82733 w 180613"/>
              <a:gd name="connsiteY0" fmla="*/ 196927 h 196926"/>
              <a:gd name="connsiteX1" fmla="*/ 0 w 180613"/>
              <a:gd name="connsiteY1" fmla="*/ 196927 h 196926"/>
              <a:gd name="connsiteX2" fmla="*/ 96715 w 180613"/>
              <a:gd name="connsiteY2" fmla="*/ 99046 h 196926"/>
              <a:gd name="connsiteX3" fmla="*/ 0 w 180613"/>
              <a:gd name="connsiteY3" fmla="*/ 0 h 196926"/>
              <a:gd name="connsiteX4" fmla="*/ 83898 w 180613"/>
              <a:gd name="connsiteY4" fmla="*/ 0 h 196926"/>
              <a:gd name="connsiteX5" fmla="*/ 180613 w 180613"/>
              <a:gd name="connsiteY5" fmla="*/ 96716 h 196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6926">
                <a:moveTo>
                  <a:pt x="82733" y="196927"/>
                </a:moveTo>
                <a:lnTo>
                  <a:pt x="0" y="196927"/>
                </a:lnTo>
                <a:lnTo>
                  <a:pt x="96715" y="99046"/>
                </a:lnTo>
                <a:lnTo>
                  <a:pt x="0" y="0"/>
                </a:lnTo>
                <a:lnTo>
                  <a:pt x="83898" y="0"/>
                </a:lnTo>
                <a:lnTo>
                  <a:pt x="180613" y="96716"/>
                </a:lnTo>
                <a:close/>
              </a:path>
            </a:pathLst>
          </a:custGeom>
          <a:solidFill>
            <a:srgbClr val="EEF2F5"/>
          </a:solidFill>
          <a:ln w="11643" cap="flat">
            <a:noFill/>
            <a:prstDash val="solid"/>
            <a:miter/>
          </a:ln>
        </p:spPr>
        <p:txBody>
          <a:bodyPr rtlCol="0" anchor="ctr"/>
          <a:lstStyle/>
          <a:p>
            <a:endParaRPr lang="de-DE"/>
          </a:p>
        </p:txBody>
      </p:sp>
      <p:sp>
        <p:nvSpPr>
          <p:cNvPr id="427" name="Freihandform: Form 426">
            <a:extLst>
              <a:ext uri="{FF2B5EF4-FFF2-40B4-BE49-F238E27FC236}">
                <a16:creationId xmlns:a16="http://schemas.microsoft.com/office/drawing/2014/main" id="{7C3432CB-7D40-43FB-A958-E3C261C7469F}"/>
              </a:ext>
            </a:extLst>
          </p:cNvPr>
          <p:cNvSpPr/>
          <p:nvPr userDrawn="1"/>
        </p:nvSpPr>
        <p:spPr>
          <a:xfrm>
            <a:off x="8375813" y="3076769"/>
            <a:ext cx="180613" cy="195761"/>
          </a:xfrm>
          <a:custGeom>
            <a:avLst/>
            <a:gdLst>
              <a:gd name="connsiteX0" fmla="*/ 82733 w 180613"/>
              <a:gd name="connsiteY0" fmla="*/ 195762 h 195761"/>
              <a:gd name="connsiteX1" fmla="*/ 0 w 180613"/>
              <a:gd name="connsiteY1" fmla="*/ 195762 h 195761"/>
              <a:gd name="connsiteX2" fmla="*/ 96715 w 180613"/>
              <a:gd name="connsiteY2" fmla="*/ 99046 h 195761"/>
              <a:gd name="connsiteX3" fmla="*/ 0 w 180613"/>
              <a:gd name="connsiteY3" fmla="*/ 0 h 195761"/>
              <a:gd name="connsiteX4" fmla="*/ 83898 w 180613"/>
              <a:gd name="connsiteY4" fmla="*/ 0 h 195761"/>
              <a:gd name="connsiteX5" fmla="*/ 180613 w 180613"/>
              <a:gd name="connsiteY5" fmla="*/ 95550 h 19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5761">
                <a:moveTo>
                  <a:pt x="82733" y="195762"/>
                </a:moveTo>
                <a:lnTo>
                  <a:pt x="0" y="195762"/>
                </a:lnTo>
                <a:lnTo>
                  <a:pt x="96715" y="99046"/>
                </a:lnTo>
                <a:lnTo>
                  <a:pt x="0" y="0"/>
                </a:lnTo>
                <a:lnTo>
                  <a:pt x="83898" y="0"/>
                </a:lnTo>
                <a:lnTo>
                  <a:pt x="180613" y="95550"/>
                </a:lnTo>
                <a:close/>
              </a:path>
            </a:pathLst>
          </a:custGeom>
          <a:solidFill>
            <a:srgbClr val="EEF2F5"/>
          </a:solidFill>
          <a:ln w="11643" cap="flat">
            <a:noFill/>
            <a:prstDash val="solid"/>
            <a:miter/>
          </a:ln>
        </p:spPr>
        <p:txBody>
          <a:bodyPr rtlCol="0" anchor="ctr"/>
          <a:lstStyle/>
          <a:p>
            <a:endParaRPr lang="de-DE"/>
          </a:p>
        </p:txBody>
      </p:sp>
      <p:sp>
        <p:nvSpPr>
          <p:cNvPr id="428" name="Freihandform: Form 427">
            <a:extLst>
              <a:ext uri="{FF2B5EF4-FFF2-40B4-BE49-F238E27FC236}">
                <a16:creationId xmlns:a16="http://schemas.microsoft.com/office/drawing/2014/main" id="{95CDAEC0-EF92-40D9-B669-FB01CC74ECF7}"/>
              </a:ext>
            </a:extLst>
          </p:cNvPr>
          <p:cNvSpPr/>
          <p:nvPr userDrawn="1"/>
        </p:nvSpPr>
        <p:spPr>
          <a:xfrm>
            <a:off x="8375813" y="3431004"/>
            <a:ext cx="180613" cy="196926"/>
          </a:xfrm>
          <a:custGeom>
            <a:avLst/>
            <a:gdLst>
              <a:gd name="connsiteX0" fmla="*/ 82733 w 180613"/>
              <a:gd name="connsiteY0" fmla="*/ 196927 h 196926"/>
              <a:gd name="connsiteX1" fmla="*/ 0 w 180613"/>
              <a:gd name="connsiteY1" fmla="*/ 196927 h 196926"/>
              <a:gd name="connsiteX2" fmla="*/ 96715 w 180613"/>
              <a:gd name="connsiteY2" fmla="*/ 99046 h 196926"/>
              <a:gd name="connsiteX3" fmla="*/ 0 w 180613"/>
              <a:gd name="connsiteY3" fmla="*/ 0 h 196926"/>
              <a:gd name="connsiteX4" fmla="*/ 83898 w 180613"/>
              <a:gd name="connsiteY4" fmla="*/ 0 h 196926"/>
              <a:gd name="connsiteX5" fmla="*/ 180613 w 180613"/>
              <a:gd name="connsiteY5" fmla="*/ 96716 h 196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6926">
                <a:moveTo>
                  <a:pt x="82733" y="196927"/>
                </a:moveTo>
                <a:lnTo>
                  <a:pt x="0" y="196927"/>
                </a:lnTo>
                <a:lnTo>
                  <a:pt x="96715" y="99046"/>
                </a:lnTo>
                <a:lnTo>
                  <a:pt x="0" y="0"/>
                </a:lnTo>
                <a:lnTo>
                  <a:pt x="83898" y="0"/>
                </a:lnTo>
                <a:lnTo>
                  <a:pt x="180613" y="96716"/>
                </a:lnTo>
                <a:close/>
              </a:path>
            </a:pathLst>
          </a:custGeom>
          <a:solidFill>
            <a:srgbClr val="EEF2F5"/>
          </a:solidFill>
          <a:ln w="11643" cap="flat">
            <a:noFill/>
            <a:prstDash val="solid"/>
            <a:miter/>
          </a:ln>
        </p:spPr>
        <p:txBody>
          <a:bodyPr rtlCol="0" anchor="ctr"/>
          <a:lstStyle/>
          <a:p>
            <a:endParaRPr lang="de-DE"/>
          </a:p>
        </p:txBody>
      </p:sp>
      <p:sp>
        <p:nvSpPr>
          <p:cNvPr id="429" name="Freihandform: Form 428">
            <a:extLst>
              <a:ext uri="{FF2B5EF4-FFF2-40B4-BE49-F238E27FC236}">
                <a16:creationId xmlns:a16="http://schemas.microsoft.com/office/drawing/2014/main" id="{B918A736-A720-49F8-86AD-DB321FB14B75}"/>
              </a:ext>
            </a:extLst>
          </p:cNvPr>
          <p:cNvSpPr/>
          <p:nvPr userDrawn="1"/>
        </p:nvSpPr>
        <p:spPr>
          <a:xfrm>
            <a:off x="8375813" y="3786405"/>
            <a:ext cx="180613" cy="195761"/>
          </a:xfrm>
          <a:custGeom>
            <a:avLst/>
            <a:gdLst>
              <a:gd name="connsiteX0" fmla="*/ 82733 w 180613"/>
              <a:gd name="connsiteY0" fmla="*/ 195762 h 195761"/>
              <a:gd name="connsiteX1" fmla="*/ 0 w 180613"/>
              <a:gd name="connsiteY1" fmla="*/ 195762 h 195761"/>
              <a:gd name="connsiteX2" fmla="*/ 96715 w 180613"/>
              <a:gd name="connsiteY2" fmla="*/ 99046 h 195761"/>
              <a:gd name="connsiteX3" fmla="*/ 0 w 180613"/>
              <a:gd name="connsiteY3" fmla="*/ 0 h 195761"/>
              <a:gd name="connsiteX4" fmla="*/ 83898 w 180613"/>
              <a:gd name="connsiteY4" fmla="*/ 0 h 195761"/>
              <a:gd name="connsiteX5" fmla="*/ 180613 w 180613"/>
              <a:gd name="connsiteY5" fmla="*/ 96716 h 19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5761">
                <a:moveTo>
                  <a:pt x="82733" y="195762"/>
                </a:moveTo>
                <a:lnTo>
                  <a:pt x="0" y="195762"/>
                </a:lnTo>
                <a:lnTo>
                  <a:pt x="96715" y="99046"/>
                </a:lnTo>
                <a:lnTo>
                  <a:pt x="0" y="0"/>
                </a:lnTo>
                <a:lnTo>
                  <a:pt x="83898" y="0"/>
                </a:lnTo>
                <a:lnTo>
                  <a:pt x="180613" y="96716"/>
                </a:lnTo>
                <a:close/>
              </a:path>
            </a:pathLst>
          </a:custGeom>
          <a:solidFill>
            <a:srgbClr val="EEF2F5"/>
          </a:solidFill>
          <a:ln w="11643" cap="flat">
            <a:noFill/>
            <a:prstDash val="solid"/>
            <a:miter/>
          </a:ln>
        </p:spPr>
        <p:txBody>
          <a:bodyPr rtlCol="0" anchor="ctr"/>
          <a:lstStyle/>
          <a:p>
            <a:endParaRPr lang="de-DE"/>
          </a:p>
        </p:txBody>
      </p:sp>
      <p:sp>
        <p:nvSpPr>
          <p:cNvPr id="430" name="Freihandform: Form 429">
            <a:extLst>
              <a:ext uri="{FF2B5EF4-FFF2-40B4-BE49-F238E27FC236}">
                <a16:creationId xmlns:a16="http://schemas.microsoft.com/office/drawing/2014/main" id="{CC0A0D46-E810-4C74-8A3D-EF4F2E9D55A7}"/>
              </a:ext>
            </a:extLst>
          </p:cNvPr>
          <p:cNvSpPr/>
          <p:nvPr userDrawn="1"/>
        </p:nvSpPr>
        <p:spPr>
          <a:xfrm>
            <a:off x="8375813" y="4140640"/>
            <a:ext cx="180613" cy="196926"/>
          </a:xfrm>
          <a:custGeom>
            <a:avLst/>
            <a:gdLst>
              <a:gd name="connsiteX0" fmla="*/ 82733 w 180613"/>
              <a:gd name="connsiteY0" fmla="*/ 196927 h 196926"/>
              <a:gd name="connsiteX1" fmla="*/ 0 w 180613"/>
              <a:gd name="connsiteY1" fmla="*/ 196927 h 196926"/>
              <a:gd name="connsiteX2" fmla="*/ 96715 w 180613"/>
              <a:gd name="connsiteY2" fmla="*/ 99046 h 196926"/>
              <a:gd name="connsiteX3" fmla="*/ 0 w 180613"/>
              <a:gd name="connsiteY3" fmla="*/ 0 h 196926"/>
              <a:gd name="connsiteX4" fmla="*/ 83898 w 180613"/>
              <a:gd name="connsiteY4" fmla="*/ 0 h 196926"/>
              <a:gd name="connsiteX5" fmla="*/ 180613 w 180613"/>
              <a:gd name="connsiteY5" fmla="*/ 96716 h 196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6926">
                <a:moveTo>
                  <a:pt x="82733" y="196927"/>
                </a:moveTo>
                <a:lnTo>
                  <a:pt x="0" y="196927"/>
                </a:lnTo>
                <a:lnTo>
                  <a:pt x="96715" y="99046"/>
                </a:lnTo>
                <a:lnTo>
                  <a:pt x="0" y="0"/>
                </a:lnTo>
                <a:lnTo>
                  <a:pt x="83898" y="0"/>
                </a:lnTo>
                <a:lnTo>
                  <a:pt x="180613" y="96716"/>
                </a:lnTo>
                <a:close/>
              </a:path>
            </a:pathLst>
          </a:custGeom>
          <a:solidFill>
            <a:srgbClr val="EEF2F5"/>
          </a:solidFill>
          <a:ln w="11643" cap="flat">
            <a:noFill/>
            <a:prstDash val="solid"/>
            <a:miter/>
          </a:ln>
        </p:spPr>
        <p:txBody>
          <a:bodyPr rtlCol="0" anchor="ctr"/>
          <a:lstStyle/>
          <a:p>
            <a:endParaRPr lang="de-DE"/>
          </a:p>
        </p:txBody>
      </p:sp>
      <p:sp>
        <p:nvSpPr>
          <p:cNvPr id="431" name="Freihandform: Form 430">
            <a:extLst>
              <a:ext uri="{FF2B5EF4-FFF2-40B4-BE49-F238E27FC236}">
                <a16:creationId xmlns:a16="http://schemas.microsoft.com/office/drawing/2014/main" id="{34C0EB52-123E-44D9-9EC9-7D7BEF0ABD80}"/>
              </a:ext>
            </a:extLst>
          </p:cNvPr>
          <p:cNvSpPr/>
          <p:nvPr userDrawn="1"/>
        </p:nvSpPr>
        <p:spPr>
          <a:xfrm>
            <a:off x="8375813" y="4496041"/>
            <a:ext cx="180613" cy="195761"/>
          </a:xfrm>
          <a:custGeom>
            <a:avLst/>
            <a:gdLst>
              <a:gd name="connsiteX0" fmla="*/ 82733 w 180613"/>
              <a:gd name="connsiteY0" fmla="*/ 195762 h 195761"/>
              <a:gd name="connsiteX1" fmla="*/ 0 w 180613"/>
              <a:gd name="connsiteY1" fmla="*/ 195762 h 195761"/>
              <a:gd name="connsiteX2" fmla="*/ 96715 w 180613"/>
              <a:gd name="connsiteY2" fmla="*/ 99046 h 195761"/>
              <a:gd name="connsiteX3" fmla="*/ 0 w 180613"/>
              <a:gd name="connsiteY3" fmla="*/ 0 h 195761"/>
              <a:gd name="connsiteX4" fmla="*/ 83898 w 180613"/>
              <a:gd name="connsiteY4" fmla="*/ 0 h 195761"/>
              <a:gd name="connsiteX5" fmla="*/ 180613 w 180613"/>
              <a:gd name="connsiteY5" fmla="*/ 96716 h 19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5761">
                <a:moveTo>
                  <a:pt x="82733" y="195762"/>
                </a:moveTo>
                <a:lnTo>
                  <a:pt x="0" y="195762"/>
                </a:lnTo>
                <a:lnTo>
                  <a:pt x="96715" y="99046"/>
                </a:lnTo>
                <a:lnTo>
                  <a:pt x="0" y="0"/>
                </a:lnTo>
                <a:lnTo>
                  <a:pt x="83898" y="0"/>
                </a:lnTo>
                <a:lnTo>
                  <a:pt x="180613" y="96716"/>
                </a:lnTo>
                <a:close/>
              </a:path>
            </a:pathLst>
          </a:custGeom>
          <a:solidFill>
            <a:srgbClr val="EEF2F5"/>
          </a:solidFill>
          <a:ln w="11643" cap="flat">
            <a:noFill/>
            <a:prstDash val="solid"/>
            <a:miter/>
          </a:ln>
        </p:spPr>
        <p:txBody>
          <a:bodyPr rtlCol="0" anchor="ctr"/>
          <a:lstStyle/>
          <a:p>
            <a:endParaRPr lang="de-DE"/>
          </a:p>
        </p:txBody>
      </p:sp>
      <p:sp>
        <p:nvSpPr>
          <p:cNvPr id="432" name="Freihandform: Form 431">
            <a:extLst>
              <a:ext uri="{FF2B5EF4-FFF2-40B4-BE49-F238E27FC236}">
                <a16:creationId xmlns:a16="http://schemas.microsoft.com/office/drawing/2014/main" id="{5219E8F1-626A-4690-864E-3909F2395641}"/>
              </a:ext>
            </a:extLst>
          </p:cNvPr>
          <p:cNvSpPr/>
          <p:nvPr userDrawn="1"/>
        </p:nvSpPr>
        <p:spPr>
          <a:xfrm>
            <a:off x="8375813" y="4850276"/>
            <a:ext cx="180613" cy="196927"/>
          </a:xfrm>
          <a:custGeom>
            <a:avLst/>
            <a:gdLst>
              <a:gd name="connsiteX0" fmla="*/ 82733 w 180613"/>
              <a:gd name="connsiteY0" fmla="*/ 196927 h 196927"/>
              <a:gd name="connsiteX1" fmla="*/ 0 w 180613"/>
              <a:gd name="connsiteY1" fmla="*/ 196927 h 196927"/>
              <a:gd name="connsiteX2" fmla="*/ 96715 w 180613"/>
              <a:gd name="connsiteY2" fmla="*/ 99046 h 196927"/>
              <a:gd name="connsiteX3" fmla="*/ 0 w 180613"/>
              <a:gd name="connsiteY3" fmla="*/ 0 h 196927"/>
              <a:gd name="connsiteX4" fmla="*/ 83898 w 180613"/>
              <a:gd name="connsiteY4" fmla="*/ 0 h 196927"/>
              <a:gd name="connsiteX5" fmla="*/ 180613 w 180613"/>
              <a:gd name="connsiteY5" fmla="*/ 96716 h 196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6927">
                <a:moveTo>
                  <a:pt x="82733" y="196927"/>
                </a:moveTo>
                <a:lnTo>
                  <a:pt x="0" y="196927"/>
                </a:lnTo>
                <a:lnTo>
                  <a:pt x="96715" y="99046"/>
                </a:lnTo>
                <a:lnTo>
                  <a:pt x="0" y="0"/>
                </a:lnTo>
                <a:lnTo>
                  <a:pt x="83898" y="0"/>
                </a:lnTo>
                <a:lnTo>
                  <a:pt x="180613" y="96716"/>
                </a:lnTo>
                <a:close/>
              </a:path>
            </a:pathLst>
          </a:custGeom>
          <a:solidFill>
            <a:srgbClr val="EEF2F5"/>
          </a:solidFill>
          <a:ln w="11643" cap="flat">
            <a:noFill/>
            <a:prstDash val="solid"/>
            <a:miter/>
          </a:ln>
        </p:spPr>
        <p:txBody>
          <a:bodyPr rtlCol="0" anchor="ctr"/>
          <a:lstStyle/>
          <a:p>
            <a:endParaRPr lang="de-DE"/>
          </a:p>
        </p:txBody>
      </p:sp>
      <p:sp>
        <p:nvSpPr>
          <p:cNvPr id="433" name="Freihandform: Form 432">
            <a:extLst>
              <a:ext uri="{FF2B5EF4-FFF2-40B4-BE49-F238E27FC236}">
                <a16:creationId xmlns:a16="http://schemas.microsoft.com/office/drawing/2014/main" id="{D51309D8-1401-412C-AF26-DDF972F4A03F}"/>
              </a:ext>
            </a:extLst>
          </p:cNvPr>
          <p:cNvSpPr/>
          <p:nvPr userDrawn="1"/>
        </p:nvSpPr>
        <p:spPr>
          <a:xfrm>
            <a:off x="8375813" y="5205677"/>
            <a:ext cx="180613" cy="195761"/>
          </a:xfrm>
          <a:custGeom>
            <a:avLst/>
            <a:gdLst>
              <a:gd name="connsiteX0" fmla="*/ 82733 w 180613"/>
              <a:gd name="connsiteY0" fmla="*/ 195762 h 195761"/>
              <a:gd name="connsiteX1" fmla="*/ 0 w 180613"/>
              <a:gd name="connsiteY1" fmla="*/ 195762 h 195761"/>
              <a:gd name="connsiteX2" fmla="*/ 96715 w 180613"/>
              <a:gd name="connsiteY2" fmla="*/ 99046 h 195761"/>
              <a:gd name="connsiteX3" fmla="*/ 0 w 180613"/>
              <a:gd name="connsiteY3" fmla="*/ 0 h 195761"/>
              <a:gd name="connsiteX4" fmla="*/ 83898 w 180613"/>
              <a:gd name="connsiteY4" fmla="*/ 0 h 195761"/>
              <a:gd name="connsiteX5" fmla="*/ 180613 w 180613"/>
              <a:gd name="connsiteY5" fmla="*/ 96715 h 19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5761">
                <a:moveTo>
                  <a:pt x="82733" y="195762"/>
                </a:moveTo>
                <a:lnTo>
                  <a:pt x="0" y="195762"/>
                </a:lnTo>
                <a:lnTo>
                  <a:pt x="96715" y="99046"/>
                </a:lnTo>
                <a:lnTo>
                  <a:pt x="0" y="0"/>
                </a:lnTo>
                <a:lnTo>
                  <a:pt x="83898" y="0"/>
                </a:lnTo>
                <a:lnTo>
                  <a:pt x="180613" y="96715"/>
                </a:lnTo>
                <a:close/>
              </a:path>
            </a:pathLst>
          </a:custGeom>
          <a:solidFill>
            <a:srgbClr val="EEF2F5"/>
          </a:solidFill>
          <a:ln w="11643" cap="flat">
            <a:noFill/>
            <a:prstDash val="solid"/>
            <a:miter/>
          </a:ln>
        </p:spPr>
        <p:txBody>
          <a:bodyPr rtlCol="0" anchor="ctr"/>
          <a:lstStyle/>
          <a:p>
            <a:endParaRPr lang="de-DE"/>
          </a:p>
        </p:txBody>
      </p:sp>
      <p:sp>
        <p:nvSpPr>
          <p:cNvPr id="434" name="Freihandform: Form 433">
            <a:extLst>
              <a:ext uri="{FF2B5EF4-FFF2-40B4-BE49-F238E27FC236}">
                <a16:creationId xmlns:a16="http://schemas.microsoft.com/office/drawing/2014/main" id="{18C115C5-2AC9-4E5E-BDA3-03481CD7237E}"/>
              </a:ext>
            </a:extLst>
          </p:cNvPr>
          <p:cNvSpPr/>
          <p:nvPr userDrawn="1"/>
        </p:nvSpPr>
        <p:spPr>
          <a:xfrm>
            <a:off x="8375813" y="5559912"/>
            <a:ext cx="180613" cy="196926"/>
          </a:xfrm>
          <a:custGeom>
            <a:avLst/>
            <a:gdLst>
              <a:gd name="connsiteX0" fmla="*/ 82733 w 180613"/>
              <a:gd name="connsiteY0" fmla="*/ 196927 h 196926"/>
              <a:gd name="connsiteX1" fmla="*/ 0 w 180613"/>
              <a:gd name="connsiteY1" fmla="*/ 196927 h 196926"/>
              <a:gd name="connsiteX2" fmla="*/ 96715 w 180613"/>
              <a:gd name="connsiteY2" fmla="*/ 99046 h 196926"/>
              <a:gd name="connsiteX3" fmla="*/ 0 w 180613"/>
              <a:gd name="connsiteY3" fmla="*/ 0 h 196926"/>
              <a:gd name="connsiteX4" fmla="*/ 83898 w 180613"/>
              <a:gd name="connsiteY4" fmla="*/ 0 h 196926"/>
              <a:gd name="connsiteX5" fmla="*/ 180613 w 180613"/>
              <a:gd name="connsiteY5" fmla="*/ 96715 h 196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6926">
                <a:moveTo>
                  <a:pt x="82733" y="196927"/>
                </a:moveTo>
                <a:lnTo>
                  <a:pt x="0" y="196927"/>
                </a:lnTo>
                <a:lnTo>
                  <a:pt x="96715" y="99046"/>
                </a:lnTo>
                <a:lnTo>
                  <a:pt x="0" y="0"/>
                </a:lnTo>
                <a:lnTo>
                  <a:pt x="83898" y="0"/>
                </a:lnTo>
                <a:lnTo>
                  <a:pt x="180613" y="96715"/>
                </a:lnTo>
                <a:close/>
              </a:path>
            </a:pathLst>
          </a:custGeom>
          <a:solidFill>
            <a:srgbClr val="EEF2F5"/>
          </a:solidFill>
          <a:ln w="11643" cap="flat">
            <a:noFill/>
            <a:prstDash val="solid"/>
            <a:miter/>
          </a:ln>
        </p:spPr>
        <p:txBody>
          <a:bodyPr rtlCol="0" anchor="ctr"/>
          <a:lstStyle/>
          <a:p>
            <a:endParaRPr lang="de-DE"/>
          </a:p>
        </p:txBody>
      </p:sp>
      <p:sp>
        <p:nvSpPr>
          <p:cNvPr id="435" name="Freihandform: Form 434">
            <a:extLst>
              <a:ext uri="{FF2B5EF4-FFF2-40B4-BE49-F238E27FC236}">
                <a16:creationId xmlns:a16="http://schemas.microsoft.com/office/drawing/2014/main" id="{6AF44250-C7AA-4392-96AF-9FBE14A0A151}"/>
              </a:ext>
            </a:extLst>
          </p:cNvPr>
          <p:cNvSpPr/>
          <p:nvPr userDrawn="1"/>
        </p:nvSpPr>
        <p:spPr>
          <a:xfrm>
            <a:off x="8375813" y="5915313"/>
            <a:ext cx="180613" cy="195761"/>
          </a:xfrm>
          <a:custGeom>
            <a:avLst/>
            <a:gdLst>
              <a:gd name="connsiteX0" fmla="*/ 82733 w 180613"/>
              <a:gd name="connsiteY0" fmla="*/ 195762 h 195761"/>
              <a:gd name="connsiteX1" fmla="*/ 0 w 180613"/>
              <a:gd name="connsiteY1" fmla="*/ 195762 h 195761"/>
              <a:gd name="connsiteX2" fmla="*/ 96715 w 180613"/>
              <a:gd name="connsiteY2" fmla="*/ 99046 h 195761"/>
              <a:gd name="connsiteX3" fmla="*/ 0 w 180613"/>
              <a:gd name="connsiteY3" fmla="*/ 0 h 195761"/>
              <a:gd name="connsiteX4" fmla="*/ 83898 w 180613"/>
              <a:gd name="connsiteY4" fmla="*/ 0 h 195761"/>
              <a:gd name="connsiteX5" fmla="*/ 180613 w 180613"/>
              <a:gd name="connsiteY5" fmla="*/ 96715 h 19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5761">
                <a:moveTo>
                  <a:pt x="82733" y="195762"/>
                </a:moveTo>
                <a:lnTo>
                  <a:pt x="0" y="195762"/>
                </a:lnTo>
                <a:lnTo>
                  <a:pt x="96715" y="99046"/>
                </a:lnTo>
                <a:lnTo>
                  <a:pt x="0" y="0"/>
                </a:lnTo>
                <a:lnTo>
                  <a:pt x="83898" y="0"/>
                </a:lnTo>
                <a:lnTo>
                  <a:pt x="180613" y="96715"/>
                </a:lnTo>
                <a:close/>
              </a:path>
            </a:pathLst>
          </a:custGeom>
          <a:solidFill>
            <a:srgbClr val="EEF2F5"/>
          </a:solidFill>
          <a:ln w="11643" cap="flat">
            <a:noFill/>
            <a:prstDash val="solid"/>
            <a:miter/>
          </a:ln>
        </p:spPr>
        <p:txBody>
          <a:bodyPr rtlCol="0" anchor="ctr"/>
          <a:lstStyle/>
          <a:p>
            <a:endParaRPr lang="de-DE"/>
          </a:p>
        </p:txBody>
      </p:sp>
      <p:sp>
        <p:nvSpPr>
          <p:cNvPr id="436" name="Freihandform: Form 435">
            <a:extLst>
              <a:ext uri="{FF2B5EF4-FFF2-40B4-BE49-F238E27FC236}">
                <a16:creationId xmlns:a16="http://schemas.microsoft.com/office/drawing/2014/main" id="{FC7422D5-7BFD-49F1-8CF8-41977E51E586}"/>
              </a:ext>
            </a:extLst>
          </p:cNvPr>
          <p:cNvSpPr/>
          <p:nvPr userDrawn="1"/>
        </p:nvSpPr>
        <p:spPr>
          <a:xfrm>
            <a:off x="8375813" y="6270714"/>
            <a:ext cx="180613" cy="195761"/>
          </a:xfrm>
          <a:custGeom>
            <a:avLst/>
            <a:gdLst>
              <a:gd name="connsiteX0" fmla="*/ 82733 w 180613"/>
              <a:gd name="connsiteY0" fmla="*/ 195762 h 195761"/>
              <a:gd name="connsiteX1" fmla="*/ 0 w 180613"/>
              <a:gd name="connsiteY1" fmla="*/ 195762 h 195761"/>
              <a:gd name="connsiteX2" fmla="*/ 96715 w 180613"/>
              <a:gd name="connsiteY2" fmla="*/ 97881 h 195761"/>
              <a:gd name="connsiteX3" fmla="*/ 0 w 180613"/>
              <a:gd name="connsiteY3" fmla="*/ 0 h 195761"/>
              <a:gd name="connsiteX4" fmla="*/ 83898 w 180613"/>
              <a:gd name="connsiteY4" fmla="*/ 0 h 195761"/>
              <a:gd name="connsiteX5" fmla="*/ 180613 w 180613"/>
              <a:gd name="connsiteY5" fmla="*/ 95550 h 19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5761">
                <a:moveTo>
                  <a:pt x="82733" y="195762"/>
                </a:moveTo>
                <a:lnTo>
                  <a:pt x="0" y="195762"/>
                </a:lnTo>
                <a:lnTo>
                  <a:pt x="96715" y="97881"/>
                </a:lnTo>
                <a:lnTo>
                  <a:pt x="0" y="0"/>
                </a:lnTo>
                <a:lnTo>
                  <a:pt x="83898" y="0"/>
                </a:lnTo>
                <a:lnTo>
                  <a:pt x="180613" y="95550"/>
                </a:lnTo>
                <a:close/>
              </a:path>
            </a:pathLst>
          </a:custGeom>
          <a:solidFill>
            <a:srgbClr val="EEF2F5"/>
          </a:solidFill>
          <a:ln w="11643" cap="flat">
            <a:noFill/>
            <a:prstDash val="solid"/>
            <a:miter/>
          </a:ln>
        </p:spPr>
        <p:txBody>
          <a:bodyPr rtlCol="0" anchor="ctr"/>
          <a:lstStyle/>
          <a:p>
            <a:endParaRPr lang="de-DE"/>
          </a:p>
        </p:txBody>
      </p:sp>
      <p:sp>
        <p:nvSpPr>
          <p:cNvPr id="437" name="Freihandform: Form 436">
            <a:extLst>
              <a:ext uri="{FF2B5EF4-FFF2-40B4-BE49-F238E27FC236}">
                <a16:creationId xmlns:a16="http://schemas.microsoft.com/office/drawing/2014/main" id="{E943456F-C9D7-440F-BAE7-3340B9DC6330}"/>
              </a:ext>
            </a:extLst>
          </p:cNvPr>
          <p:cNvSpPr/>
          <p:nvPr userDrawn="1"/>
        </p:nvSpPr>
        <p:spPr>
          <a:xfrm>
            <a:off x="8375813" y="6624949"/>
            <a:ext cx="180613" cy="196926"/>
          </a:xfrm>
          <a:custGeom>
            <a:avLst/>
            <a:gdLst>
              <a:gd name="connsiteX0" fmla="*/ 82733 w 180613"/>
              <a:gd name="connsiteY0" fmla="*/ 196927 h 196926"/>
              <a:gd name="connsiteX1" fmla="*/ 0 w 180613"/>
              <a:gd name="connsiteY1" fmla="*/ 196927 h 196926"/>
              <a:gd name="connsiteX2" fmla="*/ 96715 w 180613"/>
              <a:gd name="connsiteY2" fmla="*/ 99046 h 196926"/>
              <a:gd name="connsiteX3" fmla="*/ 0 w 180613"/>
              <a:gd name="connsiteY3" fmla="*/ 0 h 196926"/>
              <a:gd name="connsiteX4" fmla="*/ 83898 w 180613"/>
              <a:gd name="connsiteY4" fmla="*/ 0 h 196926"/>
              <a:gd name="connsiteX5" fmla="*/ 180613 w 180613"/>
              <a:gd name="connsiteY5" fmla="*/ 96715 h 196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6926">
                <a:moveTo>
                  <a:pt x="82733" y="196927"/>
                </a:moveTo>
                <a:lnTo>
                  <a:pt x="0" y="196927"/>
                </a:lnTo>
                <a:lnTo>
                  <a:pt x="96715" y="99046"/>
                </a:lnTo>
                <a:lnTo>
                  <a:pt x="0" y="0"/>
                </a:lnTo>
                <a:lnTo>
                  <a:pt x="83898" y="0"/>
                </a:lnTo>
                <a:lnTo>
                  <a:pt x="180613" y="96715"/>
                </a:lnTo>
                <a:close/>
              </a:path>
            </a:pathLst>
          </a:custGeom>
          <a:solidFill>
            <a:srgbClr val="EEF2F5"/>
          </a:solidFill>
          <a:ln w="11643" cap="flat">
            <a:noFill/>
            <a:prstDash val="solid"/>
            <a:miter/>
          </a:ln>
        </p:spPr>
        <p:txBody>
          <a:bodyPr rtlCol="0" anchor="ctr"/>
          <a:lstStyle/>
          <a:p>
            <a:endParaRPr lang="de-DE"/>
          </a:p>
        </p:txBody>
      </p:sp>
      <p:sp>
        <p:nvSpPr>
          <p:cNvPr id="438" name="Freihandform: Form 437">
            <a:extLst>
              <a:ext uri="{FF2B5EF4-FFF2-40B4-BE49-F238E27FC236}">
                <a16:creationId xmlns:a16="http://schemas.microsoft.com/office/drawing/2014/main" id="{51CAB98F-4CBB-4D06-A263-949D791C9F0B}"/>
              </a:ext>
            </a:extLst>
          </p:cNvPr>
          <p:cNvSpPr/>
          <p:nvPr userDrawn="1"/>
        </p:nvSpPr>
        <p:spPr>
          <a:xfrm>
            <a:off x="8721892" y="2002410"/>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6038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6038"/>
                </a:lnTo>
                <a:close/>
              </a:path>
            </a:pathLst>
          </a:custGeom>
          <a:solidFill>
            <a:srgbClr val="EEF2F5"/>
          </a:solidFill>
          <a:ln w="11643" cap="flat">
            <a:noFill/>
            <a:prstDash val="solid"/>
            <a:miter/>
          </a:ln>
        </p:spPr>
        <p:txBody>
          <a:bodyPr rtlCol="0" anchor="ctr"/>
          <a:lstStyle/>
          <a:p>
            <a:endParaRPr lang="de-DE"/>
          </a:p>
        </p:txBody>
      </p:sp>
      <p:sp>
        <p:nvSpPr>
          <p:cNvPr id="439" name="Freihandform: Form 438">
            <a:extLst>
              <a:ext uri="{FF2B5EF4-FFF2-40B4-BE49-F238E27FC236}">
                <a16:creationId xmlns:a16="http://schemas.microsoft.com/office/drawing/2014/main" id="{62F4C308-3870-47E2-8215-AAF8FAAB7155}"/>
              </a:ext>
            </a:extLst>
          </p:cNvPr>
          <p:cNvSpPr/>
          <p:nvPr userDrawn="1"/>
        </p:nvSpPr>
        <p:spPr>
          <a:xfrm>
            <a:off x="8721892" y="2357811"/>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4872"/>
                </a:lnTo>
                <a:close/>
              </a:path>
            </a:pathLst>
          </a:custGeom>
          <a:solidFill>
            <a:srgbClr val="EEF2F5"/>
          </a:solidFill>
          <a:ln w="11643" cap="flat">
            <a:noFill/>
            <a:prstDash val="solid"/>
            <a:miter/>
          </a:ln>
        </p:spPr>
        <p:txBody>
          <a:bodyPr rtlCol="0" anchor="ctr"/>
          <a:lstStyle/>
          <a:p>
            <a:endParaRPr lang="de-DE"/>
          </a:p>
        </p:txBody>
      </p:sp>
      <p:sp>
        <p:nvSpPr>
          <p:cNvPr id="440" name="Freihandform: Form 439">
            <a:extLst>
              <a:ext uri="{FF2B5EF4-FFF2-40B4-BE49-F238E27FC236}">
                <a16:creationId xmlns:a16="http://schemas.microsoft.com/office/drawing/2014/main" id="{D7322EBB-EAEE-4A42-9AD7-53B76C52A248}"/>
              </a:ext>
            </a:extLst>
          </p:cNvPr>
          <p:cNvSpPr/>
          <p:nvPr userDrawn="1"/>
        </p:nvSpPr>
        <p:spPr>
          <a:xfrm>
            <a:off x="8721892" y="2712046"/>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6038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6038"/>
                </a:lnTo>
                <a:close/>
              </a:path>
            </a:pathLst>
          </a:custGeom>
          <a:solidFill>
            <a:srgbClr val="EEF2F5"/>
          </a:solidFill>
          <a:ln w="11643" cap="flat">
            <a:noFill/>
            <a:prstDash val="solid"/>
            <a:miter/>
          </a:ln>
        </p:spPr>
        <p:txBody>
          <a:bodyPr rtlCol="0" anchor="ctr"/>
          <a:lstStyle/>
          <a:p>
            <a:endParaRPr lang="de-DE"/>
          </a:p>
        </p:txBody>
      </p:sp>
      <p:sp>
        <p:nvSpPr>
          <p:cNvPr id="441" name="Freihandform: Form 440">
            <a:extLst>
              <a:ext uri="{FF2B5EF4-FFF2-40B4-BE49-F238E27FC236}">
                <a16:creationId xmlns:a16="http://schemas.microsoft.com/office/drawing/2014/main" id="{2F1B8135-9A4E-476E-8711-64C2C031A7D4}"/>
              </a:ext>
            </a:extLst>
          </p:cNvPr>
          <p:cNvSpPr/>
          <p:nvPr userDrawn="1"/>
        </p:nvSpPr>
        <p:spPr>
          <a:xfrm>
            <a:off x="8721892" y="3067447"/>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4872"/>
                </a:lnTo>
                <a:close/>
              </a:path>
            </a:pathLst>
          </a:custGeom>
          <a:solidFill>
            <a:srgbClr val="EEF2F5"/>
          </a:solidFill>
          <a:ln w="11643" cap="flat">
            <a:noFill/>
            <a:prstDash val="solid"/>
            <a:miter/>
          </a:ln>
        </p:spPr>
        <p:txBody>
          <a:bodyPr rtlCol="0" anchor="ctr"/>
          <a:lstStyle/>
          <a:p>
            <a:endParaRPr lang="de-DE"/>
          </a:p>
        </p:txBody>
      </p:sp>
      <p:sp>
        <p:nvSpPr>
          <p:cNvPr id="442" name="Freihandform: Form 441">
            <a:extLst>
              <a:ext uri="{FF2B5EF4-FFF2-40B4-BE49-F238E27FC236}">
                <a16:creationId xmlns:a16="http://schemas.microsoft.com/office/drawing/2014/main" id="{6FC17601-18E6-4BF7-A8D1-2826F0BE14DB}"/>
              </a:ext>
            </a:extLst>
          </p:cNvPr>
          <p:cNvSpPr/>
          <p:nvPr userDrawn="1"/>
        </p:nvSpPr>
        <p:spPr>
          <a:xfrm>
            <a:off x="8721892" y="3421682"/>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6038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6038"/>
                </a:lnTo>
                <a:close/>
              </a:path>
            </a:pathLst>
          </a:custGeom>
          <a:solidFill>
            <a:srgbClr val="EEF2F5"/>
          </a:solidFill>
          <a:ln w="11643" cap="flat">
            <a:noFill/>
            <a:prstDash val="solid"/>
            <a:miter/>
          </a:ln>
        </p:spPr>
        <p:txBody>
          <a:bodyPr rtlCol="0" anchor="ctr"/>
          <a:lstStyle/>
          <a:p>
            <a:endParaRPr lang="de-DE"/>
          </a:p>
        </p:txBody>
      </p:sp>
      <p:sp>
        <p:nvSpPr>
          <p:cNvPr id="443" name="Freihandform: Form 442">
            <a:extLst>
              <a:ext uri="{FF2B5EF4-FFF2-40B4-BE49-F238E27FC236}">
                <a16:creationId xmlns:a16="http://schemas.microsoft.com/office/drawing/2014/main" id="{14285465-FDDA-4690-A394-8C87D559E31D}"/>
              </a:ext>
            </a:extLst>
          </p:cNvPr>
          <p:cNvSpPr/>
          <p:nvPr userDrawn="1"/>
        </p:nvSpPr>
        <p:spPr>
          <a:xfrm>
            <a:off x="8721892" y="3777083"/>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4872"/>
                </a:lnTo>
                <a:close/>
              </a:path>
            </a:pathLst>
          </a:custGeom>
          <a:solidFill>
            <a:srgbClr val="EEF2F5"/>
          </a:solidFill>
          <a:ln w="11643" cap="flat">
            <a:noFill/>
            <a:prstDash val="solid"/>
            <a:miter/>
          </a:ln>
        </p:spPr>
        <p:txBody>
          <a:bodyPr rtlCol="0" anchor="ctr"/>
          <a:lstStyle/>
          <a:p>
            <a:endParaRPr lang="de-DE"/>
          </a:p>
        </p:txBody>
      </p:sp>
      <p:sp>
        <p:nvSpPr>
          <p:cNvPr id="444" name="Freihandform: Form 443">
            <a:extLst>
              <a:ext uri="{FF2B5EF4-FFF2-40B4-BE49-F238E27FC236}">
                <a16:creationId xmlns:a16="http://schemas.microsoft.com/office/drawing/2014/main" id="{EF5CE05F-09D9-4E8A-A64E-CC6C5BB6F1A5}"/>
              </a:ext>
            </a:extLst>
          </p:cNvPr>
          <p:cNvSpPr/>
          <p:nvPr userDrawn="1"/>
        </p:nvSpPr>
        <p:spPr>
          <a:xfrm>
            <a:off x="8721892" y="4132484"/>
            <a:ext cx="198092" cy="214405"/>
          </a:xfrm>
          <a:custGeom>
            <a:avLst/>
            <a:gdLst>
              <a:gd name="connsiteX0" fmla="*/ 90889 w 198092"/>
              <a:gd name="connsiteY0" fmla="*/ 214406 h 214405"/>
              <a:gd name="connsiteX1" fmla="*/ 0 w 198092"/>
              <a:gd name="connsiteY1" fmla="*/ 214406 h 214405"/>
              <a:gd name="connsiteX2" fmla="*/ 106037 w 198092"/>
              <a:gd name="connsiteY2" fmla="*/ 107203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7203"/>
                </a:lnTo>
                <a:lnTo>
                  <a:pt x="0" y="0"/>
                </a:lnTo>
                <a:lnTo>
                  <a:pt x="92055" y="0"/>
                </a:lnTo>
                <a:lnTo>
                  <a:pt x="198092" y="104872"/>
                </a:lnTo>
                <a:close/>
              </a:path>
            </a:pathLst>
          </a:custGeom>
          <a:solidFill>
            <a:srgbClr val="EEF2F5"/>
          </a:solidFill>
          <a:ln w="11643" cap="flat">
            <a:noFill/>
            <a:prstDash val="solid"/>
            <a:miter/>
          </a:ln>
        </p:spPr>
        <p:txBody>
          <a:bodyPr rtlCol="0" anchor="ctr"/>
          <a:lstStyle/>
          <a:p>
            <a:endParaRPr lang="de-DE"/>
          </a:p>
        </p:txBody>
      </p:sp>
      <p:sp>
        <p:nvSpPr>
          <p:cNvPr id="445" name="Freihandform: Form 444">
            <a:extLst>
              <a:ext uri="{FF2B5EF4-FFF2-40B4-BE49-F238E27FC236}">
                <a16:creationId xmlns:a16="http://schemas.microsoft.com/office/drawing/2014/main" id="{252B6EA4-1D20-403F-A67B-8BCEBA7181EA}"/>
              </a:ext>
            </a:extLst>
          </p:cNvPr>
          <p:cNvSpPr/>
          <p:nvPr userDrawn="1"/>
        </p:nvSpPr>
        <p:spPr>
          <a:xfrm>
            <a:off x="8721892" y="4486719"/>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4872"/>
                </a:lnTo>
                <a:close/>
              </a:path>
            </a:pathLst>
          </a:custGeom>
          <a:solidFill>
            <a:srgbClr val="EEF2F5"/>
          </a:solidFill>
          <a:ln w="11643" cap="flat">
            <a:noFill/>
            <a:prstDash val="solid"/>
            <a:miter/>
          </a:ln>
        </p:spPr>
        <p:txBody>
          <a:bodyPr rtlCol="0" anchor="ctr"/>
          <a:lstStyle/>
          <a:p>
            <a:endParaRPr lang="de-DE"/>
          </a:p>
        </p:txBody>
      </p:sp>
      <p:sp>
        <p:nvSpPr>
          <p:cNvPr id="446" name="Freihandform: Form 445">
            <a:extLst>
              <a:ext uri="{FF2B5EF4-FFF2-40B4-BE49-F238E27FC236}">
                <a16:creationId xmlns:a16="http://schemas.microsoft.com/office/drawing/2014/main" id="{B34E7EF8-659D-41D0-A7E6-F80D2A72E4F5}"/>
              </a:ext>
            </a:extLst>
          </p:cNvPr>
          <p:cNvSpPr/>
          <p:nvPr userDrawn="1"/>
        </p:nvSpPr>
        <p:spPr>
          <a:xfrm>
            <a:off x="8721892" y="4842120"/>
            <a:ext cx="198092" cy="214405"/>
          </a:xfrm>
          <a:custGeom>
            <a:avLst/>
            <a:gdLst>
              <a:gd name="connsiteX0" fmla="*/ 90889 w 198092"/>
              <a:gd name="connsiteY0" fmla="*/ 214406 h 214405"/>
              <a:gd name="connsiteX1" fmla="*/ 0 w 198092"/>
              <a:gd name="connsiteY1" fmla="*/ 214406 h 214405"/>
              <a:gd name="connsiteX2" fmla="*/ 106037 w 198092"/>
              <a:gd name="connsiteY2" fmla="*/ 107203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7203"/>
                </a:lnTo>
                <a:lnTo>
                  <a:pt x="0" y="0"/>
                </a:lnTo>
                <a:lnTo>
                  <a:pt x="92055" y="0"/>
                </a:lnTo>
                <a:lnTo>
                  <a:pt x="198092" y="104872"/>
                </a:lnTo>
                <a:close/>
              </a:path>
            </a:pathLst>
          </a:custGeom>
          <a:solidFill>
            <a:srgbClr val="EEF2F5"/>
          </a:solidFill>
          <a:ln w="11643" cap="flat">
            <a:noFill/>
            <a:prstDash val="solid"/>
            <a:miter/>
          </a:ln>
        </p:spPr>
        <p:txBody>
          <a:bodyPr rtlCol="0" anchor="ctr"/>
          <a:lstStyle/>
          <a:p>
            <a:endParaRPr lang="de-DE"/>
          </a:p>
        </p:txBody>
      </p:sp>
      <p:sp>
        <p:nvSpPr>
          <p:cNvPr id="447" name="Freihandform: Form 446">
            <a:extLst>
              <a:ext uri="{FF2B5EF4-FFF2-40B4-BE49-F238E27FC236}">
                <a16:creationId xmlns:a16="http://schemas.microsoft.com/office/drawing/2014/main" id="{0755A084-00C6-4064-9BC1-07F7BB9E8B25}"/>
              </a:ext>
            </a:extLst>
          </p:cNvPr>
          <p:cNvSpPr/>
          <p:nvPr userDrawn="1"/>
        </p:nvSpPr>
        <p:spPr>
          <a:xfrm>
            <a:off x="8721892" y="5196355"/>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6038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6038"/>
                </a:lnTo>
                <a:close/>
              </a:path>
            </a:pathLst>
          </a:custGeom>
          <a:solidFill>
            <a:srgbClr val="EEF2F5"/>
          </a:solidFill>
          <a:ln w="11643" cap="flat">
            <a:noFill/>
            <a:prstDash val="solid"/>
            <a:miter/>
          </a:ln>
        </p:spPr>
        <p:txBody>
          <a:bodyPr rtlCol="0" anchor="ctr"/>
          <a:lstStyle/>
          <a:p>
            <a:endParaRPr lang="de-DE"/>
          </a:p>
        </p:txBody>
      </p:sp>
      <p:sp>
        <p:nvSpPr>
          <p:cNvPr id="448" name="Freihandform: Form 447">
            <a:extLst>
              <a:ext uri="{FF2B5EF4-FFF2-40B4-BE49-F238E27FC236}">
                <a16:creationId xmlns:a16="http://schemas.microsoft.com/office/drawing/2014/main" id="{EC6887F2-DD05-4AFE-B004-C0A73966DD5E}"/>
              </a:ext>
            </a:extLst>
          </p:cNvPr>
          <p:cNvSpPr/>
          <p:nvPr userDrawn="1"/>
        </p:nvSpPr>
        <p:spPr>
          <a:xfrm>
            <a:off x="8721892" y="5551755"/>
            <a:ext cx="198092" cy="214405"/>
          </a:xfrm>
          <a:custGeom>
            <a:avLst/>
            <a:gdLst>
              <a:gd name="connsiteX0" fmla="*/ 90889 w 198092"/>
              <a:gd name="connsiteY0" fmla="*/ 214406 h 214405"/>
              <a:gd name="connsiteX1" fmla="*/ 0 w 198092"/>
              <a:gd name="connsiteY1" fmla="*/ 214406 h 214405"/>
              <a:gd name="connsiteX2" fmla="*/ 106037 w 198092"/>
              <a:gd name="connsiteY2" fmla="*/ 107203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7203"/>
                </a:lnTo>
                <a:lnTo>
                  <a:pt x="0" y="0"/>
                </a:lnTo>
                <a:lnTo>
                  <a:pt x="92055" y="0"/>
                </a:lnTo>
                <a:lnTo>
                  <a:pt x="198092" y="104872"/>
                </a:lnTo>
                <a:close/>
              </a:path>
            </a:pathLst>
          </a:custGeom>
          <a:solidFill>
            <a:srgbClr val="EEF2F5"/>
          </a:solidFill>
          <a:ln w="11643" cap="flat">
            <a:noFill/>
            <a:prstDash val="solid"/>
            <a:miter/>
          </a:ln>
        </p:spPr>
        <p:txBody>
          <a:bodyPr rtlCol="0" anchor="ctr"/>
          <a:lstStyle/>
          <a:p>
            <a:endParaRPr lang="de-DE"/>
          </a:p>
        </p:txBody>
      </p:sp>
      <p:sp>
        <p:nvSpPr>
          <p:cNvPr id="449" name="Freihandform: Form 448">
            <a:extLst>
              <a:ext uri="{FF2B5EF4-FFF2-40B4-BE49-F238E27FC236}">
                <a16:creationId xmlns:a16="http://schemas.microsoft.com/office/drawing/2014/main" id="{A49E266A-420E-492F-9080-574F846C1DBD}"/>
              </a:ext>
            </a:extLst>
          </p:cNvPr>
          <p:cNvSpPr/>
          <p:nvPr userDrawn="1"/>
        </p:nvSpPr>
        <p:spPr>
          <a:xfrm>
            <a:off x="8721892" y="5905991"/>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6038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6038"/>
                </a:lnTo>
                <a:close/>
              </a:path>
            </a:pathLst>
          </a:custGeom>
          <a:solidFill>
            <a:srgbClr val="EEF2F5"/>
          </a:solidFill>
          <a:ln w="11643" cap="flat">
            <a:noFill/>
            <a:prstDash val="solid"/>
            <a:miter/>
          </a:ln>
        </p:spPr>
        <p:txBody>
          <a:bodyPr rtlCol="0" anchor="ctr"/>
          <a:lstStyle/>
          <a:p>
            <a:endParaRPr lang="de-DE"/>
          </a:p>
        </p:txBody>
      </p:sp>
      <p:sp>
        <p:nvSpPr>
          <p:cNvPr id="450" name="Freihandform: Form 449">
            <a:extLst>
              <a:ext uri="{FF2B5EF4-FFF2-40B4-BE49-F238E27FC236}">
                <a16:creationId xmlns:a16="http://schemas.microsoft.com/office/drawing/2014/main" id="{AEC0C683-94C7-4C89-B770-8C0D416A44C7}"/>
              </a:ext>
            </a:extLst>
          </p:cNvPr>
          <p:cNvSpPr/>
          <p:nvPr userDrawn="1"/>
        </p:nvSpPr>
        <p:spPr>
          <a:xfrm>
            <a:off x="8721892" y="6261391"/>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4872"/>
                </a:lnTo>
                <a:close/>
              </a:path>
            </a:pathLst>
          </a:custGeom>
          <a:solidFill>
            <a:srgbClr val="EEF2F5"/>
          </a:solidFill>
          <a:ln w="11643" cap="flat">
            <a:noFill/>
            <a:prstDash val="solid"/>
            <a:miter/>
          </a:ln>
        </p:spPr>
        <p:txBody>
          <a:bodyPr rtlCol="0" anchor="ctr"/>
          <a:lstStyle/>
          <a:p>
            <a:endParaRPr lang="de-DE"/>
          </a:p>
        </p:txBody>
      </p:sp>
      <p:sp>
        <p:nvSpPr>
          <p:cNvPr id="451" name="Freihandform: Form 450">
            <a:extLst>
              <a:ext uri="{FF2B5EF4-FFF2-40B4-BE49-F238E27FC236}">
                <a16:creationId xmlns:a16="http://schemas.microsoft.com/office/drawing/2014/main" id="{3270C365-CF3A-47A7-889C-ADD47E29F3FB}"/>
              </a:ext>
            </a:extLst>
          </p:cNvPr>
          <p:cNvSpPr/>
          <p:nvPr userDrawn="1"/>
        </p:nvSpPr>
        <p:spPr>
          <a:xfrm>
            <a:off x="8721892" y="6615627"/>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6037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6037"/>
                </a:lnTo>
                <a:close/>
              </a:path>
            </a:pathLst>
          </a:custGeom>
          <a:solidFill>
            <a:srgbClr val="EEF2F5"/>
          </a:solidFill>
          <a:ln w="11643" cap="flat">
            <a:noFill/>
            <a:prstDash val="solid"/>
            <a:miter/>
          </a:ln>
        </p:spPr>
        <p:txBody>
          <a:bodyPr rtlCol="0" anchor="ctr"/>
          <a:lstStyle/>
          <a:p>
            <a:endParaRPr lang="de-DE"/>
          </a:p>
        </p:txBody>
      </p:sp>
      <p:sp>
        <p:nvSpPr>
          <p:cNvPr id="452" name="Freihandform: Form 451">
            <a:extLst>
              <a:ext uri="{FF2B5EF4-FFF2-40B4-BE49-F238E27FC236}">
                <a16:creationId xmlns:a16="http://schemas.microsoft.com/office/drawing/2014/main" id="{26027323-4EC1-4CE3-A800-FC54F6FA3CC5}"/>
              </a:ext>
            </a:extLst>
          </p:cNvPr>
          <p:cNvSpPr/>
          <p:nvPr userDrawn="1"/>
        </p:nvSpPr>
        <p:spPr>
          <a:xfrm>
            <a:off x="9069136" y="1994253"/>
            <a:ext cx="214405" cy="231884"/>
          </a:xfrm>
          <a:custGeom>
            <a:avLst/>
            <a:gdLst>
              <a:gd name="connsiteX0" fmla="*/ 97881 w 214405"/>
              <a:gd name="connsiteY0" fmla="*/ 231884 h 231884"/>
              <a:gd name="connsiteX1" fmla="*/ 0 w 214405"/>
              <a:gd name="connsiteY1" fmla="*/ 231884 h 231884"/>
              <a:gd name="connsiteX2" fmla="*/ 114194 w 214405"/>
              <a:gd name="connsiteY2" fmla="*/ 116525 h 231884"/>
              <a:gd name="connsiteX3" fmla="*/ 0 w 214405"/>
              <a:gd name="connsiteY3" fmla="*/ 0 h 231884"/>
              <a:gd name="connsiteX4" fmla="*/ 100211 w 214405"/>
              <a:gd name="connsiteY4" fmla="*/ 0 h 231884"/>
              <a:gd name="connsiteX5" fmla="*/ 214406 w 214405"/>
              <a:gd name="connsiteY5" fmla="*/ 114194 h 23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1884">
                <a:moveTo>
                  <a:pt x="97881" y="231884"/>
                </a:moveTo>
                <a:lnTo>
                  <a:pt x="0" y="231884"/>
                </a:lnTo>
                <a:lnTo>
                  <a:pt x="114194" y="116525"/>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453" name="Freihandform: Form 452">
            <a:extLst>
              <a:ext uri="{FF2B5EF4-FFF2-40B4-BE49-F238E27FC236}">
                <a16:creationId xmlns:a16="http://schemas.microsoft.com/office/drawing/2014/main" id="{FEAF7BFB-37DF-46E2-B375-619668E31A63}"/>
              </a:ext>
            </a:extLst>
          </p:cNvPr>
          <p:cNvSpPr/>
          <p:nvPr userDrawn="1"/>
        </p:nvSpPr>
        <p:spPr>
          <a:xfrm>
            <a:off x="9069136" y="2348489"/>
            <a:ext cx="214405" cy="233049"/>
          </a:xfrm>
          <a:custGeom>
            <a:avLst/>
            <a:gdLst>
              <a:gd name="connsiteX0" fmla="*/ 97881 w 214405"/>
              <a:gd name="connsiteY0" fmla="*/ 233050 h 233049"/>
              <a:gd name="connsiteX1" fmla="*/ 0 w 214405"/>
              <a:gd name="connsiteY1" fmla="*/ 233050 h 233049"/>
              <a:gd name="connsiteX2" fmla="*/ 114194 w 214405"/>
              <a:gd name="connsiteY2" fmla="*/ 117690 h 233049"/>
              <a:gd name="connsiteX3" fmla="*/ 0 w 214405"/>
              <a:gd name="connsiteY3" fmla="*/ 0 h 233049"/>
              <a:gd name="connsiteX4" fmla="*/ 100211 w 214405"/>
              <a:gd name="connsiteY4" fmla="*/ 0 h 233049"/>
              <a:gd name="connsiteX5" fmla="*/ 214406 w 214405"/>
              <a:gd name="connsiteY5" fmla="*/ 114194 h 23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3047">
                <a:moveTo>
                  <a:pt x="97881" y="233050"/>
                </a:moveTo>
                <a:lnTo>
                  <a:pt x="0" y="233050"/>
                </a:lnTo>
                <a:lnTo>
                  <a:pt x="114194" y="117690"/>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454" name="Freihandform: Form 453">
            <a:extLst>
              <a:ext uri="{FF2B5EF4-FFF2-40B4-BE49-F238E27FC236}">
                <a16:creationId xmlns:a16="http://schemas.microsoft.com/office/drawing/2014/main" id="{FD5C6D0C-1BC8-4A1C-B6D3-6B1F2F12554E}"/>
              </a:ext>
            </a:extLst>
          </p:cNvPr>
          <p:cNvSpPr/>
          <p:nvPr userDrawn="1"/>
        </p:nvSpPr>
        <p:spPr>
          <a:xfrm>
            <a:off x="9069136" y="2703889"/>
            <a:ext cx="214405" cy="231884"/>
          </a:xfrm>
          <a:custGeom>
            <a:avLst/>
            <a:gdLst>
              <a:gd name="connsiteX0" fmla="*/ 97881 w 214405"/>
              <a:gd name="connsiteY0" fmla="*/ 231884 h 231884"/>
              <a:gd name="connsiteX1" fmla="*/ 0 w 214405"/>
              <a:gd name="connsiteY1" fmla="*/ 231884 h 231884"/>
              <a:gd name="connsiteX2" fmla="*/ 114194 w 214405"/>
              <a:gd name="connsiteY2" fmla="*/ 116525 h 231884"/>
              <a:gd name="connsiteX3" fmla="*/ 0 w 214405"/>
              <a:gd name="connsiteY3" fmla="*/ 0 h 231884"/>
              <a:gd name="connsiteX4" fmla="*/ 100211 w 214405"/>
              <a:gd name="connsiteY4" fmla="*/ 0 h 231884"/>
              <a:gd name="connsiteX5" fmla="*/ 214406 w 214405"/>
              <a:gd name="connsiteY5" fmla="*/ 114194 h 23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1884">
                <a:moveTo>
                  <a:pt x="97881" y="231884"/>
                </a:moveTo>
                <a:lnTo>
                  <a:pt x="0" y="231884"/>
                </a:lnTo>
                <a:lnTo>
                  <a:pt x="114194" y="116525"/>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455" name="Freihandform: Form 454">
            <a:extLst>
              <a:ext uri="{FF2B5EF4-FFF2-40B4-BE49-F238E27FC236}">
                <a16:creationId xmlns:a16="http://schemas.microsoft.com/office/drawing/2014/main" id="{A78779BD-37D4-49F3-88CC-B8EBBFCA2551}"/>
              </a:ext>
            </a:extLst>
          </p:cNvPr>
          <p:cNvSpPr/>
          <p:nvPr userDrawn="1"/>
        </p:nvSpPr>
        <p:spPr>
          <a:xfrm>
            <a:off x="9069136" y="3058125"/>
            <a:ext cx="214405" cy="233049"/>
          </a:xfrm>
          <a:custGeom>
            <a:avLst/>
            <a:gdLst>
              <a:gd name="connsiteX0" fmla="*/ 97881 w 214405"/>
              <a:gd name="connsiteY0" fmla="*/ 233050 h 233049"/>
              <a:gd name="connsiteX1" fmla="*/ 0 w 214405"/>
              <a:gd name="connsiteY1" fmla="*/ 233050 h 233049"/>
              <a:gd name="connsiteX2" fmla="*/ 114194 w 214405"/>
              <a:gd name="connsiteY2" fmla="*/ 117690 h 233049"/>
              <a:gd name="connsiteX3" fmla="*/ 0 w 214405"/>
              <a:gd name="connsiteY3" fmla="*/ 0 h 233049"/>
              <a:gd name="connsiteX4" fmla="*/ 100211 w 214405"/>
              <a:gd name="connsiteY4" fmla="*/ 0 h 233049"/>
              <a:gd name="connsiteX5" fmla="*/ 214406 w 214405"/>
              <a:gd name="connsiteY5" fmla="*/ 114194 h 23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3047">
                <a:moveTo>
                  <a:pt x="97881" y="233050"/>
                </a:moveTo>
                <a:lnTo>
                  <a:pt x="0" y="233050"/>
                </a:lnTo>
                <a:lnTo>
                  <a:pt x="114194" y="117690"/>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456" name="Freihandform: Form 455">
            <a:extLst>
              <a:ext uri="{FF2B5EF4-FFF2-40B4-BE49-F238E27FC236}">
                <a16:creationId xmlns:a16="http://schemas.microsoft.com/office/drawing/2014/main" id="{ADF13FA3-CD5F-4BCC-8A70-81E183EC3EB7}"/>
              </a:ext>
            </a:extLst>
          </p:cNvPr>
          <p:cNvSpPr/>
          <p:nvPr userDrawn="1"/>
        </p:nvSpPr>
        <p:spPr>
          <a:xfrm>
            <a:off x="9069136" y="3413526"/>
            <a:ext cx="214405" cy="231884"/>
          </a:xfrm>
          <a:custGeom>
            <a:avLst/>
            <a:gdLst>
              <a:gd name="connsiteX0" fmla="*/ 97881 w 214405"/>
              <a:gd name="connsiteY0" fmla="*/ 231884 h 231884"/>
              <a:gd name="connsiteX1" fmla="*/ 0 w 214405"/>
              <a:gd name="connsiteY1" fmla="*/ 231884 h 231884"/>
              <a:gd name="connsiteX2" fmla="*/ 114194 w 214405"/>
              <a:gd name="connsiteY2" fmla="*/ 116525 h 231884"/>
              <a:gd name="connsiteX3" fmla="*/ 0 w 214405"/>
              <a:gd name="connsiteY3" fmla="*/ 0 h 231884"/>
              <a:gd name="connsiteX4" fmla="*/ 100211 w 214405"/>
              <a:gd name="connsiteY4" fmla="*/ 0 h 231884"/>
              <a:gd name="connsiteX5" fmla="*/ 214406 w 214405"/>
              <a:gd name="connsiteY5" fmla="*/ 114194 h 23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1884">
                <a:moveTo>
                  <a:pt x="97881" y="231884"/>
                </a:moveTo>
                <a:lnTo>
                  <a:pt x="0" y="231884"/>
                </a:lnTo>
                <a:lnTo>
                  <a:pt x="114194" y="116525"/>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457" name="Freihandform: Form 456">
            <a:extLst>
              <a:ext uri="{FF2B5EF4-FFF2-40B4-BE49-F238E27FC236}">
                <a16:creationId xmlns:a16="http://schemas.microsoft.com/office/drawing/2014/main" id="{C201908D-C044-4D76-8D1A-438321DC7D12}"/>
              </a:ext>
            </a:extLst>
          </p:cNvPr>
          <p:cNvSpPr/>
          <p:nvPr userDrawn="1"/>
        </p:nvSpPr>
        <p:spPr>
          <a:xfrm>
            <a:off x="9069136" y="3767761"/>
            <a:ext cx="214405" cy="233049"/>
          </a:xfrm>
          <a:custGeom>
            <a:avLst/>
            <a:gdLst>
              <a:gd name="connsiteX0" fmla="*/ 97881 w 214405"/>
              <a:gd name="connsiteY0" fmla="*/ 233050 h 233049"/>
              <a:gd name="connsiteX1" fmla="*/ 0 w 214405"/>
              <a:gd name="connsiteY1" fmla="*/ 233050 h 233049"/>
              <a:gd name="connsiteX2" fmla="*/ 114194 w 214405"/>
              <a:gd name="connsiteY2" fmla="*/ 117690 h 233049"/>
              <a:gd name="connsiteX3" fmla="*/ 0 w 214405"/>
              <a:gd name="connsiteY3" fmla="*/ 0 h 233049"/>
              <a:gd name="connsiteX4" fmla="*/ 100211 w 214405"/>
              <a:gd name="connsiteY4" fmla="*/ 0 h 233049"/>
              <a:gd name="connsiteX5" fmla="*/ 214406 w 214405"/>
              <a:gd name="connsiteY5" fmla="*/ 114194 h 23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3047">
                <a:moveTo>
                  <a:pt x="97881" y="233050"/>
                </a:moveTo>
                <a:lnTo>
                  <a:pt x="0" y="233050"/>
                </a:lnTo>
                <a:lnTo>
                  <a:pt x="114194" y="117690"/>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458" name="Freihandform: Form 457">
            <a:extLst>
              <a:ext uri="{FF2B5EF4-FFF2-40B4-BE49-F238E27FC236}">
                <a16:creationId xmlns:a16="http://schemas.microsoft.com/office/drawing/2014/main" id="{D66CA348-96DF-49E0-9A09-19D76A480531}"/>
              </a:ext>
            </a:extLst>
          </p:cNvPr>
          <p:cNvSpPr/>
          <p:nvPr userDrawn="1"/>
        </p:nvSpPr>
        <p:spPr>
          <a:xfrm>
            <a:off x="9069136" y="4123162"/>
            <a:ext cx="214405" cy="231884"/>
          </a:xfrm>
          <a:custGeom>
            <a:avLst/>
            <a:gdLst>
              <a:gd name="connsiteX0" fmla="*/ 97881 w 214405"/>
              <a:gd name="connsiteY0" fmla="*/ 231884 h 231884"/>
              <a:gd name="connsiteX1" fmla="*/ 0 w 214405"/>
              <a:gd name="connsiteY1" fmla="*/ 231884 h 231884"/>
              <a:gd name="connsiteX2" fmla="*/ 114194 w 214405"/>
              <a:gd name="connsiteY2" fmla="*/ 116525 h 231884"/>
              <a:gd name="connsiteX3" fmla="*/ 0 w 214405"/>
              <a:gd name="connsiteY3" fmla="*/ 0 h 231884"/>
              <a:gd name="connsiteX4" fmla="*/ 100211 w 214405"/>
              <a:gd name="connsiteY4" fmla="*/ 0 h 231884"/>
              <a:gd name="connsiteX5" fmla="*/ 214406 w 214405"/>
              <a:gd name="connsiteY5" fmla="*/ 114194 h 23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1884">
                <a:moveTo>
                  <a:pt x="97881" y="231884"/>
                </a:moveTo>
                <a:lnTo>
                  <a:pt x="0" y="231884"/>
                </a:lnTo>
                <a:lnTo>
                  <a:pt x="114194" y="116525"/>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459" name="Freihandform: Form 458">
            <a:extLst>
              <a:ext uri="{FF2B5EF4-FFF2-40B4-BE49-F238E27FC236}">
                <a16:creationId xmlns:a16="http://schemas.microsoft.com/office/drawing/2014/main" id="{73DB73DF-6673-48E9-B28E-8EC17635427D}"/>
              </a:ext>
            </a:extLst>
          </p:cNvPr>
          <p:cNvSpPr/>
          <p:nvPr userDrawn="1"/>
        </p:nvSpPr>
        <p:spPr>
          <a:xfrm>
            <a:off x="9069136" y="4477397"/>
            <a:ext cx="214405" cy="233049"/>
          </a:xfrm>
          <a:custGeom>
            <a:avLst/>
            <a:gdLst>
              <a:gd name="connsiteX0" fmla="*/ 97881 w 214405"/>
              <a:gd name="connsiteY0" fmla="*/ 233050 h 233049"/>
              <a:gd name="connsiteX1" fmla="*/ 0 w 214405"/>
              <a:gd name="connsiteY1" fmla="*/ 233050 h 233049"/>
              <a:gd name="connsiteX2" fmla="*/ 114194 w 214405"/>
              <a:gd name="connsiteY2" fmla="*/ 117690 h 233049"/>
              <a:gd name="connsiteX3" fmla="*/ 0 w 214405"/>
              <a:gd name="connsiteY3" fmla="*/ 0 h 233049"/>
              <a:gd name="connsiteX4" fmla="*/ 100211 w 214405"/>
              <a:gd name="connsiteY4" fmla="*/ 0 h 233049"/>
              <a:gd name="connsiteX5" fmla="*/ 214406 w 214405"/>
              <a:gd name="connsiteY5" fmla="*/ 114194 h 23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3047">
                <a:moveTo>
                  <a:pt x="97881" y="233050"/>
                </a:moveTo>
                <a:lnTo>
                  <a:pt x="0" y="233050"/>
                </a:lnTo>
                <a:lnTo>
                  <a:pt x="114194" y="117690"/>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460" name="Freihandform: Form 459">
            <a:extLst>
              <a:ext uri="{FF2B5EF4-FFF2-40B4-BE49-F238E27FC236}">
                <a16:creationId xmlns:a16="http://schemas.microsoft.com/office/drawing/2014/main" id="{2AC000E1-63D7-4436-A71E-7F6A5657A1C6}"/>
              </a:ext>
            </a:extLst>
          </p:cNvPr>
          <p:cNvSpPr/>
          <p:nvPr userDrawn="1"/>
        </p:nvSpPr>
        <p:spPr>
          <a:xfrm>
            <a:off x="9069136" y="4832797"/>
            <a:ext cx="214405" cy="231884"/>
          </a:xfrm>
          <a:custGeom>
            <a:avLst/>
            <a:gdLst>
              <a:gd name="connsiteX0" fmla="*/ 97881 w 214405"/>
              <a:gd name="connsiteY0" fmla="*/ 231884 h 231884"/>
              <a:gd name="connsiteX1" fmla="*/ 0 w 214405"/>
              <a:gd name="connsiteY1" fmla="*/ 231884 h 231884"/>
              <a:gd name="connsiteX2" fmla="*/ 114194 w 214405"/>
              <a:gd name="connsiteY2" fmla="*/ 116525 h 231884"/>
              <a:gd name="connsiteX3" fmla="*/ 0 w 214405"/>
              <a:gd name="connsiteY3" fmla="*/ 0 h 231884"/>
              <a:gd name="connsiteX4" fmla="*/ 100211 w 214405"/>
              <a:gd name="connsiteY4" fmla="*/ 0 h 231884"/>
              <a:gd name="connsiteX5" fmla="*/ 214406 w 214405"/>
              <a:gd name="connsiteY5" fmla="*/ 114194 h 23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1884">
                <a:moveTo>
                  <a:pt x="97881" y="231884"/>
                </a:moveTo>
                <a:lnTo>
                  <a:pt x="0" y="231884"/>
                </a:lnTo>
                <a:lnTo>
                  <a:pt x="114194" y="116525"/>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461" name="Freihandform: Form 460">
            <a:extLst>
              <a:ext uri="{FF2B5EF4-FFF2-40B4-BE49-F238E27FC236}">
                <a16:creationId xmlns:a16="http://schemas.microsoft.com/office/drawing/2014/main" id="{D1CABC6A-77D1-495C-8BC3-9779693109C5}"/>
              </a:ext>
            </a:extLst>
          </p:cNvPr>
          <p:cNvSpPr/>
          <p:nvPr userDrawn="1"/>
        </p:nvSpPr>
        <p:spPr>
          <a:xfrm>
            <a:off x="9069136" y="5187033"/>
            <a:ext cx="214405" cy="233049"/>
          </a:xfrm>
          <a:custGeom>
            <a:avLst/>
            <a:gdLst>
              <a:gd name="connsiteX0" fmla="*/ 97881 w 214405"/>
              <a:gd name="connsiteY0" fmla="*/ 233050 h 233049"/>
              <a:gd name="connsiteX1" fmla="*/ 0 w 214405"/>
              <a:gd name="connsiteY1" fmla="*/ 233050 h 233049"/>
              <a:gd name="connsiteX2" fmla="*/ 114194 w 214405"/>
              <a:gd name="connsiteY2" fmla="*/ 117690 h 233049"/>
              <a:gd name="connsiteX3" fmla="*/ 0 w 214405"/>
              <a:gd name="connsiteY3" fmla="*/ 0 h 233049"/>
              <a:gd name="connsiteX4" fmla="*/ 100211 w 214405"/>
              <a:gd name="connsiteY4" fmla="*/ 0 h 233049"/>
              <a:gd name="connsiteX5" fmla="*/ 214406 w 214405"/>
              <a:gd name="connsiteY5" fmla="*/ 114194 h 23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3047">
                <a:moveTo>
                  <a:pt x="97881" y="233050"/>
                </a:moveTo>
                <a:lnTo>
                  <a:pt x="0" y="233050"/>
                </a:lnTo>
                <a:lnTo>
                  <a:pt x="114194" y="117690"/>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462" name="Freihandform: Form 461">
            <a:extLst>
              <a:ext uri="{FF2B5EF4-FFF2-40B4-BE49-F238E27FC236}">
                <a16:creationId xmlns:a16="http://schemas.microsoft.com/office/drawing/2014/main" id="{7EAB2106-7444-47F6-AF61-2FC7C13BD6CC}"/>
              </a:ext>
            </a:extLst>
          </p:cNvPr>
          <p:cNvSpPr/>
          <p:nvPr userDrawn="1"/>
        </p:nvSpPr>
        <p:spPr>
          <a:xfrm>
            <a:off x="9069136" y="5542434"/>
            <a:ext cx="214405" cy="231884"/>
          </a:xfrm>
          <a:custGeom>
            <a:avLst/>
            <a:gdLst>
              <a:gd name="connsiteX0" fmla="*/ 97881 w 214405"/>
              <a:gd name="connsiteY0" fmla="*/ 231884 h 231884"/>
              <a:gd name="connsiteX1" fmla="*/ 0 w 214405"/>
              <a:gd name="connsiteY1" fmla="*/ 231884 h 231884"/>
              <a:gd name="connsiteX2" fmla="*/ 114194 w 214405"/>
              <a:gd name="connsiteY2" fmla="*/ 117690 h 231884"/>
              <a:gd name="connsiteX3" fmla="*/ 0 w 214405"/>
              <a:gd name="connsiteY3" fmla="*/ 0 h 231884"/>
              <a:gd name="connsiteX4" fmla="*/ 100211 w 214405"/>
              <a:gd name="connsiteY4" fmla="*/ 0 h 231884"/>
              <a:gd name="connsiteX5" fmla="*/ 214406 w 214405"/>
              <a:gd name="connsiteY5" fmla="*/ 114194 h 23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1884">
                <a:moveTo>
                  <a:pt x="97881" y="231884"/>
                </a:moveTo>
                <a:lnTo>
                  <a:pt x="0" y="231884"/>
                </a:lnTo>
                <a:lnTo>
                  <a:pt x="114194" y="117690"/>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463" name="Freihandform: Form 462">
            <a:extLst>
              <a:ext uri="{FF2B5EF4-FFF2-40B4-BE49-F238E27FC236}">
                <a16:creationId xmlns:a16="http://schemas.microsoft.com/office/drawing/2014/main" id="{3AB53398-93E1-4699-9310-0395816CB2E8}"/>
              </a:ext>
            </a:extLst>
          </p:cNvPr>
          <p:cNvSpPr/>
          <p:nvPr userDrawn="1"/>
        </p:nvSpPr>
        <p:spPr>
          <a:xfrm>
            <a:off x="9069136" y="5896669"/>
            <a:ext cx="214405" cy="233049"/>
          </a:xfrm>
          <a:custGeom>
            <a:avLst/>
            <a:gdLst>
              <a:gd name="connsiteX0" fmla="*/ 97881 w 214405"/>
              <a:gd name="connsiteY0" fmla="*/ 233050 h 233049"/>
              <a:gd name="connsiteX1" fmla="*/ 0 w 214405"/>
              <a:gd name="connsiteY1" fmla="*/ 233050 h 233049"/>
              <a:gd name="connsiteX2" fmla="*/ 114194 w 214405"/>
              <a:gd name="connsiteY2" fmla="*/ 117690 h 233049"/>
              <a:gd name="connsiteX3" fmla="*/ 0 w 214405"/>
              <a:gd name="connsiteY3" fmla="*/ 0 h 233049"/>
              <a:gd name="connsiteX4" fmla="*/ 100211 w 214405"/>
              <a:gd name="connsiteY4" fmla="*/ 0 h 233049"/>
              <a:gd name="connsiteX5" fmla="*/ 214406 w 214405"/>
              <a:gd name="connsiteY5" fmla="*/ 114194 h 23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3047">
                <a:moveTo>
                  <a:pt x="97881" y="233050"/>
                </a:moveTo>
                <a:lnTo>
                  <a:pt x="0" y="233050"/>
                </a:lnTo>
                <a:lnTo>
                  <a:pt x="114194" y="117690"/>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464" name="Freihandform: Form 463">
            <a:extLst>
              <a:ext uri="{FF2B5EF4-FFF2-40B4-BE49-F238E27FC236}">
                <a16:creationId xmlns:a16="http://schemas.microsoft.com/office/drawing/2014/main" id="{4CCB3846-2B55-4B55-BF75-8867C7C59B82}"/>
              </a:ext>
            </a:extLst>
          </p:cNvPr>
          <p:cNvSpPr/>
          <p:nvPr userDrawn="1"/>
        </p:nvSpPr>
        <p:spPr>
          <a:xfrm>
            <a:off x="9069136" y="6252070"/>
            <a:ext cx="214405" cy="233049"/>
          </a:xfrm>
          <a:custGeom>
            <a:avLst/>
            <a:gdLst>
              <a:gd name="connsiteX0" fmla="*/ 97881 w 214405"/>
              <a:gd name="connsiteY0" fmla="*/ 233050 h 233049"/>
              <a:gd name="connsiteX1" fmla="*/ 0 w 214405"/>
              <a:gd name="connsiteY1" fmla="*/ 233050 h 233049"/>
              <a:gd name="connsiteX2" fmla="*/ 114194 w 214405"/>
              <a:gd name="connsiteY2" fmla="*/ 117690 h 233049"/>
              <a:gd name="connsiteX3" fmla="*/ 0 w 214405"/>
              <a:gd name="connsiteY3" fmla="*/ 0 h 233049"/>
              <a:gd name="connsiteX4" fmla="*/ 100211 w 214405"/>
              <a:gd name="connsiteY4" fmla="*/ 0 h 233049"/>
              <a:gd name="connsiteX5" fmla="*/ 214406 w 214405"/>
              <a:gd name="connsiteY5" fmla="*/ 114194 h 23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3047">
                <a:moveTo>
                  <a:pt x="97881" y="233050"/>
                </a:moveTo>
                <a:lnTo>
                  <a:pt x="0" y="233050"/>
                </a:lnTo>
                <a:lnTo>
                  <a:pt x="114194" y="117690"/>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465" name="Freihandform: Form 464">
            <a:extLst>
              <a:ext uri="{FF2B5EF4-FFF2-40B4-BE49-F238E27FC236}">
                <a16:creationId xmlns:a16="http://schemas.microsoft.com/office/drawing/2014/main" id="{40A79061-F4B0-42D9-9BD3-FD4BCED5445B}"/>
              </a:ext>
            </a:extLst>
          </p:cNvPr>
          <p:cNvSpPr/>
          <p:nvPr userDrawn="1"/>
        </p:nvSpPr>
        <p:spPr>
          <a:xfrm>
            <a:off x="9069136" y="6607470"/>
            <a:ext cx="214405" cy="231884"/>
          </a:xfrm>
          <a:custGeom>
            <a:avLst/>
            <a:gdLst>
              <a:gd name="connsiteX0" fmla="*/ 97881 w 214405"/>
              <a:gd name="connsiteY0" fmla="*/ 231884 h 231884"/>
              <a:gd name="connsiteX1" fmla="*/ 0 w 214405"/>
              <a:gd name="connsiteY1" fmla="*/ 231884 h 231884"/>
              <a:gd name="connsiteX2" fmla="*/ 114194 w 214405"/>
              <a:gd name="connsiteY2" fmla="*/ 116525 h 231884"/>
              <a:gd name="connsiteX3" fmla="*/ 0 w 214405"/>
              <a:gd name="connsiteY3" fmla="*/ 0 h 231884"/>
              <a:gd name="connsiteX4" fmla="*/ 100211 w 214405"/>
              <a:gd name="connsiteY4" fmla="*/ 0 h 231884"/>
              <a:gd name="connsiteX5" fmla="*/ 214406 w 214405"/>
              <a:gd name="connsiteY5" fmla="*/ 114194 h 23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1884">
                <a:moveTo>
                  <a:pt x="97881" y="231884"/>
                </a:moveTo>
                <a:lnTo>
                  <a:pt x="0" y="231884"/>
                </a:lnTo>
                <a:lnTo>
                  <a:pt x="114194" y="116525"/>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466" name="Freihandform: Form 465">
            <a:extLst>
              <a:ext uri="{FF2B5EF4-FFF2-40B4-BE49-F238E27FC236}">
                <a16:creationId xmlns:a16="http://schemas.microsoft.com/office/drawing/2014/main" id="{943EE673-B8FD-4F26-8BD5-4324C5F8C0F6}"/>
              </a:ext>
            </a:extLst>
          </p:cNvPr>
          <p:cNvSpPr/>
          <p:nvPr userDrawn="1"/>
        </p:nvSpPr>
        <p:spPr>
          <a:xfrm>
            <a:off x="9415215" y="1984931"/>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2351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6">
                <a:moveTo>
                  <a:pt x="106037" y="250528"/>
                </a:moveTo>
                <a:lnTo>
                  <a:pt x="0" y="250528"/>
                </a:lnTo>
                <a:lnTo>
                  <a:pt x="123516" y="125847"/>
                </a:lnTo>
                <a:lnTo>
                  <a:pt x="0" y="0"/>
                </a:lnTo>
                <a:lnTo>
                  <a:pt x="108368" y="0"/>
                </a:lnTo>
                <a:lnTo>
                  <a:pt x="230719" y="122351"/>
                </a:lnTo>
                <a:close/>
              </a:path>
            </a:pathLst>
          </a:custGeom>
          <a:solidFill>
            <a:srgbClr val="EEF2F5"/>
          </a:solidFill>
          <a:ln w="11643" cap="flat">
            <a:noFill/>
            <a:prstDash val="solid"/>
            <a:miter/>
          </a:ln>
        </p:spPr>
        <p:txBody>
          <a:bodyPr rtlCol="0" anchor="ctr"/>
          <a:lstStyle/>
          <a:p>
            <a:endParaRPr lang="de-DE"/>
          </a:p>
        </p:txBody>
      </p:sp>
      <p:sp>
        <p:nvSpPr>
          <p:cNvPr id="467" name="Freihandform: Form 466">
            <a:extLst>
              <a:ext uri="{FF2B5EF4-FFF2-40B4-BE49-F238E27FC236}">
                <a16:creationId xmlns:a16="http://schemas.microsoft.com/office/drawing/2014/main" id="{87A53D99-9883-4DF3-8F12-7929E8D22C53}"/>
              </a:ext>
            </a:extLst>
          </p:cNvPr>
          <p:cNvSpPr/>
          <p:nvPr userDrawn="1"/>
        </p:nvSpPr>
        <p:spPr>
          <a:xfrm>
            <a:off x="9415215" y="2339167"/>
            <a:ext cx="230718" cy="250528"/>
          </a:xfrm>
          <a:custGeom>
            <a:avLst/>
            <a:gdLst>
              <a:gd name="connsiteX0" fmla="*/ 106037 w 230718"/>
              <a:gd name="connsiteY0" fmla="*/ 250528 h 250528"/>
              <a:gd name="connsiteX1" fmla="*/ 0 w 230718"/>
              <a:gd name="connsiteY1" fmla="*/ 250528 h 250528"/>
              <a:gd name="connsiteX2" fmla="*/ 123516 w 230718"/>
              <a:gd name="connsiteY2" fmla="*/ 127012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6">
                <a:moveTo>
                  <a:pt x="106037" y="250528"/>
                </a:moveTo>
                <a:lnTo>
                  <a:pt x="0" y="250528"/>
                </a:lnTo>
                <a:lnTo>
                  <a:pt x="123516" y="127012"/>
                </a:lnTo>
                <a:lnTo>
                  <a:pt x="0" y="0"/>
                </a:lnTo>
                <a:lnTo>
                  <a:pt x="108368" y="0"/>
                </a:lnTo>
                <a:lnTo>
                  <a:pt x="230719" y="123516"/>
                </a:lnTo>
                <a:close/>
              </a:path>
            </a:pathLst>
          </a:custGeom>
          <a:solidFill>
            <a:srgbClr val="EEF2F5"/>
          </a:solidFill>
          <a:ln w="11643" cap="flat">
            <a:noFill/>
            <a:prstDash val="solid"/>
            <a:miter/>
          </a:ln>
        </p:spPr>
        <p:txBody>
          <a:bodyPr rtlCol="0" anchor="ctr"/>
          <a:lstStyle/>
          <a:p>
            <a:endParaRPr lang="de-DE"/>
          </a:p>
        </p:txBody>
      </p:sp>
      <p:sp>
        <p:nvSpPr>
          <p:cNvPr id="468" name="Freihandform: Form 467">
            <a:extLst>
              <a:ext uri="{FF2B5EF4-FFF2-40B4-BE49-F238E27FC236}">
                <a16:creationId xmlns:a16="http://schemas.microsoft.com/office/drawing/2014/main" id="{63252D08-D82D-4E5D-B69D-3C692A2048C4}"/>
              </a:ext>
            </a:extLst>
          </p:cNvPr>
          <p:cNvSpPr/>
          <p:nvPr userDrawn="1"/>
        </p:nvSpPr>
        <p:spPr>
          <a:xfrm>
            <a:off x="9415215" y="2694568"/>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6">
                <a:moveTo>
                  <a:pt x="106037" y="250528"/>
                </a:moveTo>
                <a:lnTo>
                  <a:pt x="0" y="250528"/>
                </a:lnTo>
                <a:lnTo>
                  <a:pt x="123516" y="125847"/>
                </a:lnTo>
                <a:lnTo>
                  <a:pt x="0" y="0"/>
                </a:lnTo>
                <a:lnTo>
                  <a:pt x="108368" y="0"/>
                </a:lnTo>
                <a:lnTo>
                  <a:pt x="230719" y="123516"/>
                </a:lnTo>
                <a:close/>
              </a:path>
            </a:pathLst>
          </a:custGeom>
          <a:solidFill>
            <a:srgbClr val="EEF2F5"/>
          </a:solidFill>
          <a:ln w="11643" cap="flat">
            <a:noFill/>
            <a:prstDash val="solid"/>
            <a:miter/>
          </a:ln>
        </p:spPr>
        <p:txBody>
          <a:bodyPr rtlCol="0" anchor="ctr"/>
          <a:lstStyle/>
          <a:p>
            <a:endParaRPr lang="de-DE"/>
          </a:p>
        </p:txBody>
      </p:sp>
      <p:sp>
        <p:nvSpPr>
          <p:cNvPr id="469" name="Freihandform: Form 468">
            <a:extLst>
              <a:ext uri="{FF2B5EF4-FFF2-40B4-BE49-F238E27FC236}">
                <a16:creationId xmlns:a16="http://schemas.microsoft.com/office/drawing/2014/main" id="{2D96FD4E-6BD4-4E95-B758-5237E3AF6CAC}"/>
              </a:ext>
            </a:extLst>
          </p:cNvPr>
          <p:cNvSpPr/>
          <p:nvPr userDrawn="1"/>
        </p:nvSpPr>
        <p:spPr>
          <a:xfrm>
            <a:off x="9415215" y="3048803"/>
            <a:ext cx="230718" cy="250528"/>
          </a:xfrm>
          <a:custGeom>
            <a:avLst/>
            <a:gdLst>
              <a:gd name="connsiteX0" fmla="*/ 106037 w 230718"/>
              <a:gd name="connsiteY0" fmla="*/ 250528 h 250528"/>
              <a:gd name="connsiteX1" fmla="*/ 0 w 230718"/>
              <a:gd name="connsiteY1" fmla="*/ 250528 h 250528"/>
              <a:gd name="connsiteX2" fmla="*/ 123516 w 230718"/>
              <a:gd name="connsiteY2" fmla="*/ 127012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6">
                <a:moveTo>
                  <a:pt x="106037" y="250528"/>
                </a:moveTo>
                <a:lnTo>
                  <a:pt x="0" y="250528"/>
                </a:lnTo>
                <a:lnTo>
                  <a:pt x="123516" y="127012"/>
                </a:lnTo>
                <a:lnTo>
                  <a:pt x="0" y="0"/>
                </a:lnTo>
                <a:lnTo>
                  <a:pt x="108368" y="0"/>
                </a:lnTo>
                <a:lnTo>
                  <a:pt x="230719" y="123516"/>
                </a:lnTo>
                <a:close/>
              </a:path>
            </a:pathLst>
          </a:custGeom>
          <a:solidFill>
            <a:srgbClr val="EEF2F5"/>
          </a:solidFill>
          <a:ln w="11643" cap="flat">
            <a:noFill/>
            <a:prstDash val="solid"/>
            <a:miter/>
          </a:ln>
        </p:spPr>
        <p:txBody>
          <a:bodyPr rtlCol="0" anchor="ctr"/>
          <a:lstStyle/>
          <a:p>
            <a:endParaRPr lang="de-DE"/>
          </a:p>
        </p:txBody>
      </p:sp>
      <p:sp>
        <p:nvSpPr>
          <p:cNvPr id="470" name="Freihandform: Form 469">
            <a:extLst>
              <a:ext uri="{FF2B5EF4-FFF2-40B4-BE49-F238E27FC236}">
                <a16:creationId xmlns:a16="http://schemas.microsoft.com/office/drawing/2014/main" id="{E226C185-80E2-4945-B19A-87F6D324436B}"/>
              </a:ext>
            </a:extLst>
          </p:cNvPr>
          <p:cNvSpPr/>
          <p:nvPr userDrawn="1"/>
        </p:nvSpPr>
        <p:spPr>
          <a:xfrm>
            <a:off x="9415215" y="3404203"/>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6">
                <a:moveTo>
                  <a:pt x="106037" y="250528"/>
                </a:moveTo>
                <a:lnTo>
                  <a:pt x="0" y="250528"/>
                </a:lnTo>
                <a:lnTo>
                  <a:pt x="123516" y="125847"/>
                </a:lnTo>
                <a:lnTo>
                  <a:pt x="0" y="0"/>
                </a:lnTo>
                <a:lnTo>
                  <a:pt x="108368" y="0"/>
                </a:lnTo>
                <a:lnTo>
                  <a:pt x="230719" y="123516"/>
                </a:lnTo>
                <a:close/>
              </a:path>
            </a:pathLst>
          </a:custGeom>
          <a:solidFill>
            <a:srgbClr val="EEF2F5"/>
          </a:solidFill>
          <a:ln w="11643" cap="flat">
            <a:noFill/>
            <a:prstDash val="solid"/>
            <a:miter/>
          </a:ln>
        </p:spPr>
        <p:txBody>
          <a:bodyPr rtlCol="0" anchor="ctr"/>
          <a:lstStyle/>
          <a:p>
            <a:endParaRPr lang="de-DE"/>
          </a:p>
        </p:txBody>
      </p:sp>
      <p:sp>
        <p:nvSpPr>
          <p:cNvPr id="471" name="Freihandform: Form 470">
            <a:extLst>
              <a:ext uri="{FF2B5EF4-FFF2-40B4-BE49-F238E27FC236}">
                <a16:creationId xmlns:a16="http://schemas.microsoft.com/office/drawing/2014/main" id="{8216F4B4-E4AF-4EE5-A82E-249143E44EB1}"/>
              </a:ext>
            </a:extLst>
          </p:cNvPr>
          <p:cNvSpPr/>
          <p:nvPr userDrawn="1"/>
        </p:nvSpPr>
        <p:spPr>
          <a:xfrm>
            <a:off x="9415215" y="3758439"/>
            <a:ext cx="230718" cy="251693"/>
          </a:xfrm>
          <a:custGeom>
            <a:avLst/>
            <a:gdLst>
              <a:gd name="connsiteX0" fmla="*/ 106037 w 230718"/>
              <a:gd name="connsiteY0" fmla="*/ 251694 h 251693"/>
              <a:gd name="connsiteX1" fmla="*/ 0 w 230718"/>
              <a:gd name="connsiteY1" fmla="*/ 251694 h 251693"/>
              <a:gd name="connsiteX2" fmla="*/ 123516 w 230718"/>
              <a:gd name="connsiteY2" fmla="*/ 127012 h 251693"/>
              <a:gd name="connsiteX3" fmla="*/ 0 w 230718"/>
              <a:gd name="connsiteY3" fmla="*/ 0 h 251693"/>
              <a:gd name="connsiteX4" fmla="*/ 108368 w 230718"/>
              <a:gd name="connsiteY4" fmla="*/ 0 h 251693"/>
              <a:gd name="connsiteX5" fmla="*/ 230719 w 230718"/>
              <a:gd name="connsiteY5" fmla="*/ 123516 h 251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1693">
                <a:moveTo>
                  <a:pt x="106037" y="251694"/>
                </a:moveTo>
                <a:lnTo>
                  <a:pt x="0" y="251694"/>
                </a:lnTo>
                <a:lnTo>
                  <a:pt x="123516" y="127012"/>
                </a:lnTo>
                <a:lnTo>
                  <a:pt x="0" y="0"/>
                </a:lnTo>
                <a:lnTo>
                  <a:pt x="108368" y="0"/>
                </a:lnTo>
                <a:lnTo>
                  <a:pt x="230719" y="123516"/>
                </a:lnTo>
                <a:close/>
              </a:path>
            </a:pathLst>
          </a:custGeom>
          <a:solidFill>
            <a:srgbClr val="EEF2F5"/>
          </a:solidFill>
          <a:ln w="11643" cap="flat">
            <a:noFill/>
            <a:prstDash val="solid"/>
            <a:miter/>
          </a:ln>
        </p:spPr>
        <p:txBody>
          <a:bodyPr rtlCol="0" anchor="ctr"/>
          <a:lstStyle/>
          <a:p>
            <a:endParaRPr lang="de-DE"/>
          </a:p>
        </p:txBody>
      </p:sp>
      <p:sp>
        <p:nvSpPr>
          <p:cNvPr id="472" name="Freihandform: Form 471">
            <a:extLst>
              <a:ext uri="{FF2B5EF4-FFF2-40B4-BE49-F238E27FC236}">
                <a16:creationId xmlns:a16="http://schemas.microsoft.com/office/drawing/2014/main" id="{C3611650-5A39-417A-8E28-06A016589A86}"/>
              </a:ext>
            </a:extLst>
          </p:cNvPr>
          <p:cNvSpPr/>
          <p:nvPr userDrawn="1"/>
        </p:nvSpPr>
        <p:spPr>
          <a:xfrm>
            <a:off x="9415215" y="4113840"/>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6">
                <a:moveTo>
                  <a:pt x="106037" y="250528"/>
                </a:moveTo>
                <a:lnTo>
                  <a:pt x="0" y="250528"/>
                </a:lnTo>
                <a:lnTo>
                  <a:pt x="123516" y="125847"/>
                </a:lnTo>
                <a:lnTo>
                  <a:pt x="0" y="0"/>
                </a:lnTo>
                <a:lnTo>
                  <a:pt x="108368" y="0"/>
                </a:lnTo>
                <a:lnTo>
                  <a:pt x="230719" y="123516"/>
                </a:lnTo>
                <a:close/>
              </a:path>
            </a:pathLst>
          </a:custGeom>
          <a:solidFill>
            <a:srgbClr val="EEF2F5"/>
          </a:solidFill>
          <a:ln w="11643" cap="flat">
            <a:noFill/>
            <a:prstDash val="solid"/>
            <a:miter/>
          </a:ln>
        </p:spPr>
        <p:txBody>
          <a:bodyPr rtlCol="0" anchor="ctr"/>
          <a:lstStyle/>
          <a:p>
            <a:endParaRPr lang="de-DE"/>
          </a:p>
        </p:txBody>
      </p:sp>
      <p:sp>
        <p:nvSpPr>
          <p:cNvPr id="473" name="Freihandform: Form 472">
            <a:extLst>
              <a:ext uri="{FF2B5EF4-FFF2-40B4-BE49-F238E27FC236}">
                <a16:creationId xmlns:a16="http://schemas.microsoft.com/office/drawing/2014/main" id="{A4834F6A-C40A-4A2D-BB8B-EF97775C175E}"/>
              </a:ext>
            </a:extLst>
          </p:cNvPr>
          <p:cNvSpPr/>
          <p:nvPr userDrawn="1"/>
        </p:nvSpPr>
        <p:spPr>
          <a:xfrm>
            <a:off x="9415215" y="4469240"/>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2351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6">
                <a:moveTo>
                  <a:pt x="106037" y="250528"/>
                </a:moveTo>
                <a:lnTo>
                  <a:pt x="0" y="250528"/>
                </a:lnTo>
                <a:lnTo>
                  <a:pt x="123516" y="125847"/>
                </a:lnTo>
                <a:lnTo>
                  <a:pt x="0" y="0"/>
                </a:lnTo>
                <a:lnTo>
                  <a:pt x="108368" y="0"/>
                </a:lnTo>
                <a:lnTo>
                  <a:pt x="230719" y="122351"/>
                </a:lnTo>
                <a:close/>
              </a:path>
            </a:pathLst>
          </a:custGeom>
          <a:solidFill>
            <a:srgbClr val="EEF2F5"/>
          </a:solidFill>
          <a:ln w="11643" cap="flat">
            <a:noFill/>
            <a:prstDash val="solid"/>
            <a:miter/>
          </a:ln>
        </p:spPr>
        <p:txBody>
          <a:bodyPr rtlCol="0" anchor="ctr"/>
          <a:lstStyle/>
          <a:p>
            <a:endParaRPr lang="de-DE"/>
          </a:p>
        </p:txBody>
      </p:sp>
      <p:sp>
        <p:nvSpPr>
          <p:cNvPr id="474" name="Freihandform: Form 473">
            <a:extLst>
              <a:ext uri="{FF2B5EF4-FFF2-40B4-BE49-F238E27FC236}">
                <a16:creationId xmlns:a16="http://schemas.microsoft.com/office/drawing/2014/main" id="{BD3150AE-B016-44F0-AD8A-CC24BB0B8DCC}"/>
              </a:ext>
            </a:extLst>
          </p:cNvPr>
          <p:cNvSpPr/>
          <p:nvPr userDrawn="1"/>
        </p:nvSpPr>
        <p:spPr>
          <a:xfrm>
            <a:off x="9415215" y="4823475"/>
            <a:ext cx="230718" cy="250528"/>
          </a:xfrm>
          <a:custGeom>
            <a:avLst/>
            <a:gdLst>
              <a:gd name="connsiteX0" fmla="*/ 106037 w 230718"/>
              <a:gd name="connsiteY0" fmla="*/ 250528 h 250528"/>
              <a:gd name="connsiteX1" fmla="*/ 0 w 230718"/>
              <a:gd name="connsiteY1" fmla="*/ 250528 h 250528"/>
              <a:gd name="connsiteX2" fmla="*/ 123516 w 230718"/>
              <a:gd name="connsiteY2" fmla="*/ 127012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6">
                <a:moveTo>
                  <a:pt x="106037" y="250528"/>
                </a:moveTo>
                <a:lnTo>
                  <a:pt x="0" y="250528"/>
                </a:lnTo>
                <a:lnTo>
                  <a:pt x="123516" y="127012"/>
                </a:lnTo>
                <a:lnTo>
                  <a:pt x="0" y="0"/>
                </a:lnTo>
                <a:lnTo>
                  <a:pt x="108368" y="0"/>
                </a:lnTo>
                <a:lnTo>
                  <a:pt x="230719" y="123516"/>
                </a:lnTo>
                <a:close/>
              </a:path>
            </a:pathLst>
          </a:custGeom>
          <a:solidFill>
            <a:srgbClr val="EEF2F5"/>
          </a:solidFill>
          <a:ln w="11643" cap="flat">
            <a:noFill/>
            <a:prstDash val="solid"/>
            <a:miter/>
          </a:ln>
        </p:spPr>
        <p:txBody>
          <a:bodyPr rtlCol="0" anchor="ctr"/>
          <a:lstStyle/>
          <a:p>
            <a:endParaRPr lang="de-DE"/>
          </a:p>
        </p:txBody>
      </p:sp>
      <p:sp>
        <p:nvSpPr>
          <p:cNvPr id="475" name="Freihandform: Form 474">
            <a:extLst>
              <a:ext uri="{FF2B5EF4-FFF2-40B4-BE49-F238E27FC236}">
                <a16:creationId xmlns:a16="http://schemas.microsoft.com/office/drawing/2014/main" id="{8F46F2FC-CCE2-4282-AA26-153D1EA218A1}"/>
              </a:ext>
            </a:extLst>
          </p:cNvPr>
          <p:cNvSpPr/>
          <p:nvPr userDrawn="1"/>
        </p:nvSpPr>
        <p:spPr>
          <a:xfrm>
            <a:off x="9415215" y="5178876"/>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2351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6">
                <a:moveTo>
                  <a:pt x="106037" y="250528"/>
                </a:moveTo>
                <a:lnTo>
                  <a:pt x="0" y="250528"/>
                </a:lnTo>
                <a:lnTo>
                  <a:pt x="123516" y="125847"/>
                </a:lnTo>
                <a:lnTo>
                  <a:pt x="0" y="0"/>
                </a:lnTo>
                <a:lnTo>
                  <a:pt x="108368" y="0"/>
                </a:lnTo>
                <a:lnTo>
                  <a:pt x="230719" y="122351"/>
                </a:lnTo>
                <a:close/>
              </a:path>
            </a:pathLst>
          </a:custGeom>
          <a:solidFill>
            <a:srgbClr val="EEF2F5"/>
          </a:solidFill>
          <a:ln w="11643" cap="flat">
            <a:noFill/>
            <a:prstDash val="solid"/>
            <a:miter/>
          </a:ln>
        </p:spPr>
        <p:txBody>
          <a:bodyPr rtlCol="0" anchor="ctr"/>
          <a:lstStyle/>
          <a:p>
            <a:endParaRPr lang="de-DE"/>
          </a:p>
        </p:txBody>
      </p:sp>
      <p:sp>
        <p:nvSpPr>
          <p:cNvPr id="476" name="Freihandform: Form 475">
            <a:extLst>
              <a:ext uri="{FF2B5EF4-FFF2-40B4-BE49-F238E27FC236}">
                <a16:creationId xmlns:a16="http://schemas.microsoft.com/office/drawing/2014/main" id="{A29055BD-1B52-4B46-A495-DD92BB1DBC0E}"/>
              </a:ext>
            </a:extLst>
          </p:cNvPr>
          <p:cNvSpPr/>
          <p:nvPr userDrawn="1"/>
        </p:nvSpPr>
        <p:spPr>
          <a:xfrm>
            <a:off x="9415215" y="5533111"/>
            <a:ext cx="230718" cy="250528"/>
          </a:xfrm>
          <a:custGeom>
            <a:avLst/>
            <a:gdLst>
              <a:gd name="connsiteX0" fmla="*/ 106037 w 230718"/>
              <a:gd name="connsiteY0" fmla="*/ 250528 h 250528"/>
              <a:gd name="connsiteX1" fmla="*/ 0 w 230718"/>
              <a:gd name="connsiteY1" fmla="*/ 250528 h 250528"/>
              <a:gd name="connsiteX2" fmla="*/ 123516 w 230718"/>
              <a:gd name="connsiteY2" fmla="*/ 127012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6">
                <a:moveTo>
                  <a:pt x="106037" y="250528"/>
                </a:moveTo>
                <a:lnTo>
                  <a:pt x="0" y="250528"/>
                </a:lnTo>
                <a:lnTo>
                  <a:pt x="123516" y="127012"/>
                </a:lnTo>
                <a:lnTo>
                  <a:pt x="0" y="0"/>
                </a:lnTo>
                <a:lnTo>
                  <a:pt x="108368" y="0"/>
                </a:lnTo>
                <a:lnTo>
                  <a:pt x="230719" y="123516"/>
                </a:lnTo>
                <a:close/>
              </a:path>
            </a:pathLst>
          </a:custGeom>
          <a:solidFill>
            <a:srgbClr val="EEF2F5"/>
          </a:solidFill>
          <a:ln w="11643" cap="flat">
            <a:noFill/>
            <a:prstDash val="solid"/>
            <a:miter/>
          </a:ln>
        </p:spPr>
        <p:txBody>
          <a:bodyPr rtlCol="0" anchor="ctr"/>
          <a:lstStyle/>
          <a:p>
            <a:endParaRPr lang="de-DE"/>
          </a:p>
        </p:txBody>
      </p:sp>
      <p:sp>
        <p:nvSpPr>
          <p:cNvPr id="477" name="Freihandform: Form 476">
            <a:extLst>
              <a:ext uri="{FF2B5EF4-FFF2-40B4-BE49-F238E27FC236}">
                <a16:creationId xmlns:a16="http://schemas.microsoft.com/office/drawing/2014/main" id="{D44339B8-50B8-4AC9-8B2C-02D44C591DF6}"/>
              </a:ext>
            </a:extLst>
          </p:cNvPr>
          <p:cNvSpPr/>
          <p:nvPr userDrawn="1"/>
        </p:nvSpPr>
        <p:spPr>
          <a:xfrm>
            <a:off x="9415215" y="5888512"/>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2351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6">
                <a:moveTo>
                  <a:pt x="106037" y="250528"/>
                </a:moveTo>
                <a:lnTo>
                  <a:pt x="0" y="250528"/>
                </a:lnTo>
                <a:lnTo>
                  <a:pt x="123516" y="125847"/>
                </a:lnTo>
                <a:lnTo>
                  <a:pt x="0" y="0"/>
                </a:lnTo>
                <a:lnTo>
                  <a:pt x="108368" y="0"/>
                </a:lnTo>
                <a:lnTo>
                  <a:pt x="230719" y="122351"/>
                </a:lnTo>
                <a:close/>
              </a:path>
            </a:pathLst>
          </a:custGeom>
          <a:solidFill>
            <a:srgbClr val="EEF2F5"/>
          </a:solidFill>
          <a:ln w="11643" cap="flat">
            <a:noFill/>
            <a:prstDash val="solid"/>
            <a:miter/>
          </a:ln>
        </p:spPr>
        <p:txBody>
          <a:bodyPr rtlCol="0" anchor="ctr"/>
          <a:lstStyle/>
          <a:p>
            <a:endParaRPr lang="de-DE"/>
          </a:p>
        </p:txBody>
      </p:sp>
      <p:sp>
        <p:nvSpPr>
          <p:cNvPr id="478" name="Freihandform: Form 477">
            <a:extLst>
              <a:ext uri="{FF2B5EF4-FFF2-40B4-BE49-F238E27FC236}">
                <a16:creationId xmlns:a16="http://schemas.microsoft.com/office/drawing/2014/main" id="{66AF7D49-3A28-449B-B645-34567CF2F4E2}"/>
              </a:ext>
            </a:extLst>
          </p:cNvPr>
          <p:cNvSpPr/>
          <p:nvPr userDrawn="1"/>
        </p:nvSpPr>
        <p:spPr>
          <a:xfrm>
            <a:off x="9415215" y="6242748"/>
            <a:ext cx="230718" cy="250528"/>
          </a:xfrm>
          <a:custGeom>
            <a:avLst/>
            <a:gdLst>
              <a:gd name="connsiteX0" fmla="*/ 106037 w 230718"/>
              <a:gd name="connsiteY0" fmla="*/ 250528 h 250528"/>
              <a:gd name="connsiteX1" fmla="*/ 0 w 230718"/>
              <a:gd name="connsiteY1" fmla="*/ 250528 h 250528"/>
              <a:gd name="connsiteX2" fmla="*/ 123516 w 230718"/>
              <a:gd name="connsiteY2" fmla="*/ 127012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6">
                <a:moveTo>
                  <a:pt x="106037" y="250528"/>
                </a:moveTo>
                <a:lnTo>
                  <a:pt x="0" y="250528"/>
                </a:lnTo>
                <a:lnTo>
                  <a:pt x="123516" y="127012"/>
                </a:lnTo>
                <a:lnTo>
                  <a:pt x="0" y="0"/>
                </a:lnTo>
                <a:lnTo>
                  <a:pt x="108368" y="0"/>
                </a:lnTo>
                <a:lnTo>
                  <a:pt x="230719" y="123516"/>
                </a:lnTo>
                <a:close/>
              </a:path>
            </a:pathLst>
          </a:custGeom>
          <a:solidFill>
            <a:srgbClr val="EEF2F5"/>
          </a:solidFill>
          <a:ln w="11643" cap="flat">
            <a:noFill/>
            <a:prstDash val="solid"/>
            <a:miter/>
          </a:ln>
        </p:spPr>
        <p:txBody>
          <a:bodyPr rtlCol="0" anchor="ctr"/>
          <a:lstStyle/>
          <a:p>
            <a:endParaRPr lang="de-DE"/>
          </a:p>
        </p:txBody>
      </p:sp>
      <p:sp>
        <p:nvSpPr>
          <p:cNvPr id="479" name="Freihandform: Form 478">
            <a:extLst>
              <a:ext uri="{FF2B5EF4-FFF2-40B4-BE49-F238E27FC236}">
                <a16:creationId xmlns:a16="http://schemas.microsoft.com/office/drawing/2014/main" id="{F2247E83-ADCA-4D56-80E1-AFB3483E8B0F}"/>
              </a:ext>
            </a:extLst>
          </p:cNvPr>
          <p:cNvSpPr/>
          <p:nvPr userDrawn="1"/>
        </p:nvSpPr>
        <p:spPr>
          <a:xfrm>
            <a:off x="9415215" y="6598148"/>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2351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6">
                <a:moveTo>
                  <a:pt x="106037" y="250528"/>
                </a:moveTo>
                <a:lnTo>
                  <a:pt x="0" y="250528"/>
                </a:lnTo>
                <a:lnTo>
                  <a:pt x="123516" y="125847"/>
                </a:lnTo>
                <a:lnTo>
                  <a:pt x="0" y="0"/>
                </a:lnTo>
                <a:lnTo>
                  <a:pt x="108368" y="0"/>
                </a:lnTo>
                <a:lnTo>
                  <a:pt x="230719" y="122351"/>
                </a:lnTo>
                <a:close/>
              </a:path>
            </a:pathLst>
          </a:custGeom>
          <a:solidFill>
            <a:srgbClr val="EEF2F5"/>
          </a:solidFill>
          <a:ln w="11643" cap="flat">
            <a:noFill/>
            <a:prstDash val="solid"/>
            <a:miter/>
          </a:ln>
        </p:spPr>
        <p:txBody>
          <a:bodyPr rtlCol="0" anchor="ctr"/>
          <a:lstStyle/>
          <a:p>
            <a:endParaRPr lang="de-DE"/>
          </a:p>
        </p:txBody>
      </p:sp>
      <p:sp>
        <p:nvSpPr>
          <p:cNvPr id="480" name="Freihandform: Form 479">
            <a:extLst>
              <a:ext uri="{FF2B5EF4-FFF2-40B4-BE49-F238E27FC236}">
                <a16:creationId xmlns:a16="http://schemas.microsoft.com/office/drawing/2014/main" id="{2A4D62B8-F7F3-4271-9A21-481EA11F2C07}"/>
              </a:ext>
            </a:extLst>
          </p:cNvPr>
          <p:cNvSpPr/>
          <p:nvPr userDrawn="1"/>
        </p:nvSpPr>
        <p:spPr>
          <a:xfrm>
            <a:off x="9761293" y="1975610"/>
            <a:ext cx="248198" cy="269172"/>
          </a:xfrm>
          <a:custGeom>
            <a:avLst/>
            <a:gdLst>
              <a:gd name="connsiteX0" fmla="*/ 114195 w 248198"/>
              <a:gd name="connsiteY0" fmla="*/ 269172 h 269172"/>
              <a:gd name="connsiteX1" fmla="*/ 0 w 248198"/>
              <a:gd name="connsiteY1" fmla="*/ 269172 h 269172"/>
              <a:gd name="connsiteX2" fmla="*/ 132838 w 248198"/>
              <a:gd name="connsiteY2" fmla="*/ 135169 h 269172"/>
              <a:gd name="connsiteX3" fmla="*/ 0 w 248198"/>
              <a:gd name="connsiteY3" fmla="*/ 0 h 269172"/>
              <a:gd name="connsiteX4" fmla="*/ 116525 w 248198"/>
              <a:gd name="connsiteY4" fmla="*/ 0 h 269172"/>
              <a:gd name="connsiteX5" fmla="*/ 248198 w 248198"/>
              <a:gd name="connsiteY5" fmla="*/ 131673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endParaRPr lang="de-DE"/>
          </a:p>
        </p:txBody>
      </p:sp>
      <p:sp>
        <p:nvSpPr>
          <p:cNvPr id="481" name="Freihandform: Form 480">
            <a:extLst>
              <a:ext uri="{FF2B5EF4-FFF2-40B4-BE49-F238E27FC236}">
                <a16:creationId xmlns:a16="http://schemas.microsoft.com/office/drawing/2014/main" id="{4DF1C417-D96B-403C-8543-89A9B26955F5}"/>
              </a:ext>
            </a:extLst>
          </p:cNvPr>
          <p:cNvSpPr/>
          <p:nvPr userDrawn="1"/>
        </p:nvSpPr>
        <p:spPr>
          <a:xfrm>
            <a:off x="9761293" y="2331010"/>
            <a:ext cx="248198" cy="268007"/>
          </a:xfrm>
          <a:custGeom>
            <a:avLst/>
            <a:gdLst>
              <a:gd name="connsiteX0" fmla="*/ 114195 w 248198"/>
              <a:gd name="connsiteY0" fmla="*/ 268007 h 268007"/>
              <a:gd name="connsiteX1" fmla="*/ 0 w 248198"/>
              <a:gd name="connsiteY1" fmla="*/ 268007 h 268007"/>
              <a:gd name="connsiteX2" fmla="*/ 132838 w 248198"/>
              <a:gd name="connsiteY2" fmla="*/ 135169 h 268007"/>
              <a:gd name="connsiteX3" fmla="*/ 0 w 248198"/>
              <a:gd name="connsiteY3" fmla="*/ 0 h 268007"/>
              <a:gd name="connsiteX4" fmla="*/ 116525 w 248198"/>
              <a:gd name="connsiteY4" fmla="*/ 0 h 268007"/>
              <a:gd name="connsiteX5" fmla="*/ 248198 w 248198"/>
              <a:gd name="connsiteY5" fmla="*/ 131673 h 268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8007">
                <a:moveTo>
                  <a:pt x="114195" y="268007"/>
                </a:moveTo>
                <a:lnTo>
                  <a:pt x="0" y="268007"/>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endParaRPr lang="de-DE"/>
          </a:p>
        </p:txBody>
      </p:sp>
      <p:sp>
        <p:nvSpPr>
          <p:cNvPr id="482" name="Freihandform: Form 481">
            <a:extLst>
              <a:ext uri="{FF2B5EF4-FFF2-40B4-BE49-F238E27FC236}">
                <a16:creationId xmlns:a16="http://schemas.microsoft.com/office/drawing/2014/main" id="{88DE78C6-B3E8-4EA0-AC89-A5BAEF371677}"/>
              </a:ext>
            </a:extLst>
          </p:cNvPr>
          <p:cNvSpPr/>
          <p:nvPr userDrawn="1"/>
        </p:nvSpPr>
        <p:spPr>
          <a:xfrm>
            <a:off x="9761293" y="2685246"/>
            <a:ext cx="248198" cy="269172"/>
          </a:xfrm>
          <a:custGeom>
            <a:avLst/>
            <a:gdLst>
              <a:gd name="connsiteX0" fmla="*/ 114195 w 248198"/>
              <a:gd name="connsiteY0" fmla="*/ 269172 h 269172"/>
              <a:gd name="connsiteX1" fmla="*/ 0 w 248198"/>
              <a:gd name="connsiteY1" fmla="*/ 269172 h 269172"/>
              <a:gd name="connsiteX2" fmla="*/ 132838 w 248198"/>
              <a:gd name="connsiteY2" fmla="*/ 135169 h 269172"/>
              <a:gd name="connsiteX3" fmla="*/ 0 w 248198"/>
              <a:gd name="connsiteY3" fmla="*/ 0 h 269172"/>
              <a:gd name="connsiteX4" fmla="*/ 116525 w 248198"/>
              <a:gd name="connsiteY4" fmla="*/ 0 h 269172"/>
              <a:gd name="connsiteX5" fmla="*/ 248198 w 248198"/>
              <a:gd name="connsiteY5" fmla="*/ 131673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endParaRPr lang="de-DE"/>
          </a:p>
        </p:txBody>
      </p:sp>
      <p:sp>
        <p:nvSpPr>
          <p:cNvPr id="483" name="Freihandform: Form 482">
            <a:extLst>
              <a:ext uri="{FF2B5EF4-FFF2-40B4-BE49-F238E27FC236}">
                <a16:creationId xmlns:a16="http://schemas.microsoft.com/office/drawing/2014/main" id="{7E5B19BA-DB7F-4287-886F-9833AAC59D5F}"/>
              </a:ext>
            </a:extLst>
          </p:cNvPr>
          <p:cNvSpPr/>
          <p:nvPr userDrawn="1"/>
        </p:nvSpPr>
        <p:spPr>
          <a:xfrm>
            <a:off x="9761293" y="3040646"/>
            <a:ext cx="248198" cy="268007"/>
          </a:xfrm>
          <a:custGeom>
            <a:avLst/>
            <a:gdLst>
              <a:gd name="connsiteX0" fmla="*/ 114195 w 248198"/>
              <a:gd name="connsiteY0" fmla="*/ 268007 h 268007"/>
              <a:gd name="connsiteX1" fmla="*/ 0 w 248198"/>
              <a:gd name="connsiteY1" fmla="*/ 268007 h 268007"/>
              <a:gd name="connsiteX2" fmla="*/ 132838 w 248198"/>
              <a:gd name="connsiteY2" fmla="*/ 135169 h 268007"/>
              <a:gd name="connsiteX3" fmla="*/ 0 w 248198"/>
              <a:gd name="connsiteY3" fmla="*/ 0 h 268007"/>
              <a:gd name="connsiteX4" fmla="*/ 116525 w 248198"/>
              <a:gd name="connsiteY4" fmla="*/ 0 h 268007"/>
              <a:gd name="connsiteX5" fmla="*/ 248198 w 248198"/>
              <a:gd name="connsiteY5" fmla="*/ 131673 h 268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8007">
                <a:moveTo>
                  <a:pt x="114195" y="268007"/>
                </a:moveTo>
                <a:lnTo>
                  <a:pt x="0" y="268007"/>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endParaRPr lang="de-DE"/>
          </a:p>
        </p:txBody>
      </p:sp>
      <p:sp>
        <p:nvSpPr>
          <p:cNvPr id="484" name="Freihandform: Form 483">
            <a:extLst>
              <a:ext uri="{FF2B5EF4-FFF2-40B4-BE49-F238E27FC236}">
                <a16:creationId xmlns:a16="http://schemas.microsoft.com/office/drawing/2014/main" id="{292EFE73-2F46-4190-B4FC-3E703117A105}"/>
              </a:ext>
            </a:extLst>
          </p:cNvPr>
          <p:cNvSpPr/>
          <p:nvPr userDrawn="1"/>
        </p:nvSpPr>
        <p:spPr>
          <a:xfrm>
            <a:off x="9761293" y="3394882"/>
            <a:ext cx="248198" cy="269172"/>
          </a:xfrm>
          <a:custGeom>
            <a:avLst/>
            <a:gdLst>
              <a:gd name="connsiteX0" fmla="*/ 114195 w 248198"/>
              <a:gd name="connsiteY0" fmla="*/ 269172 h 269172"/>
              <a:gd name="connsiteX1" fmla="*/ 0 w 248198"/>
              <a:gd name="connsiteY1" fmla="*/ 269172 h 269172"/>
              <a:gd name="connsiteX2" fmla="*/ 132838 w 248198"/>
              <a:gd name="connsiteY2" fmla="*/ 135169 h 269172"/>
              <a:gd name="connsiteX3" fmla="*/ 0 w 248198"/>
              <a:gd name="connsiteY3" fmla="*/ 0 h 269172"/>
              <a:gd name="connsiteX4" fmla="*/ 116525 w 248198"/>
              <a:gd name="connsiteY4" fmla="*/ 0 h 269172"/>
              <a:gd name="connsiteX5" fmla="*/ 248198 w 248198"/>
              <a:gd name="connsiteY5" fmla="*/ 131673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endParaRPr lang="de-DE"/>
          </a:p>
        </p:txBody>
      </p:sp>
      <p:sp>
        <p:nvSpPr>
          <p:cNvPr id="485" name="Freihandform: Form 484">
            <a:extLst>
              <a:ext uri="{FF2B5EF4-FFF2-40B4-BE49-F238E27FC236}">
                <a16:creationId xmlns:a16="http://schemas.microsoft.com/office/drawing/2014/main" id="{8200EA12-ED68-4A99-80A6-A22CF802AF1C}"/>
              </a:ext>
            </a:extLst>
          </p:cNvPr>
          <p:cNvSpPr/>
          <p:nvPr userDrawn="1"/>
        </p:nvSpPr>
        <p:spPr>
          <a:xfrm>
            <a:off x="9761293" y="3750282"/>
            <a:ext cx="248198" cy="268007"/>
          </a:xfrm>
          <a:custGeom>
            <a:avLst/>
            <a:gdLst>
              <a:gd name="connsiteX0" fmla="*/ 114195 w 248198"/>
              <a:gd name="connsiteY0" fmla="*/ 268007 h 268007"/>
              <a:gd name="connsiteX1" fmla="*/ 0 w 248198"/>
              <a:gd name="connsiteY1" fmla="*/ 268007 h 268007"/>
              <a:gd name="connsiteX2" fmla="*/ 132838 w 248198"/>
              <a:gd name="connsiteY2" fmla="*/ 135169 h 268007"/>
              <a:gd name="connsiteX3" fmla="*/ 0 w 248198"/>
              <a:gd name="connsiteY3" fmla="*/ 0 h 268007"/>
              <a:gd name="connsiteX4" fmla="*/ 116525 w 248198"/>
              <a:gd name="connsiteY4" fmla="*/ 0 h 268007"/>
              <a:gd name="connsiteX5" fmla="*/ 248198 w 248198"/>
              <a:gd name="connsiteY5" fmla="*/ 131673 h 268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8007">
                <a:moveTo>
                  <a:pt x="114195" y="268007"/>
                </a:moveTo>
                <a:lnTo>
                  <a:pt x="0" y="268007"/>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endParaRPr lang="de-DE"/>
          </a:p>
        </p:txBody>
      </p:sp>
      <p:sp>
        <p:nvSpPr>
          <p:cNvPr id="486" name="Freihandform: Form 485">
            <a:extLst>
              <a:ext uri="{FF2B5EF4-FFF2-40B4-BE49-F238E27FC236}">
                <a16:creationId xmlns:a16="http://schemas.microsoft.com/office/drawing/2014/main" id="{F786CFD9-D7C8-441E-B62F-0EB92655CAFC}"/>
              </a:ext>
            </a:extLst>
          </p:cNvPr>
          <p:cNvSpPr/>
          <p:nvPr userDrawn="1"/>
        </p:nvSpPr>
        <p:spPr>
          <a:xfrm>
            <a:off x="9761293" y="4104518"/>
            <a:ext cx="248198" cy="269172"/>
          </a:xfrm>
          <a:custGeom>
            <a:avLst/>
            <a:gdLst>
              <a:gd name="connsiteX0" fmla="*/ 114195 w 248198"/>
              <a:gd name="connsiteY0" fmla="*/ 269172 h 269172"/>
              <a:gd name="connsiteX1" fmla="*/ 0 w 248198"/>
              <a:gd name="connsiteY1" fmla="*/ 269172 h 269172"/>
              <a:gd name="connsiteX2" fmla="*/ 132838 w 248198"/>
              <a:gd name="connsiteY2" fmla="*/ 136334 h 269172"/>
              <a:gd name="connsiteX3" fmla="*/ 0 w 248198"/>
              <a:gd name="connsiteY3" fmla="*/ 0 h 269172"/>
              <a:gd name="connsiteX4" fmla="*/ 116525 w 248198"/>
              <a:gd name="connsiteY4" fmla="*/ 0 h 269172"/>
              <a:gd name="connsiteX5" fmla="*/ 248198 w 248198"/>
              <a:gd name="connsiteY5" fmla="*/ 132838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6334"/>
                </a:lnTo>
                <a:lnTo>
                  <a:pt x="0" y="0"/>
                </a:lnTo>
                <a:lnTo>
                  <a:pt x="116525" y="0"/>
                </a:lnTo>
                <a:lnTo>
                  <a:pt x="248198" y="132838"/>
                </a:lnTo>
                <a:close/>
              </a:path>
            </a:pathLst>
          </a:custGeom>
          <a:solidFill>
            <a:srgbClr val="EEF2F5"/>
          </a:solidFill>
          <a:ln w="11643" cap="flat">
            <a:noFill/>
            <a:prstDash val="solid"/>
            <a:miter/>
          </a:ln>
        </p:spPr>
        <p:txBody>
          <a:bodyPr rtlCol="0" anchor="ctr"/>
          <a:lstStyle/>
          <a:p>
            <a:endParaRPr lang="de-DE"/>
          </a:p>
        </p:txBody>
      </p:sp>
      <p:sp>
        <p:nvSpPr>
          <p:cNvPr id="487" name="Freihandform: Form 486">
            <a:extLst>
              <a:ext uri="{FF2B5EF4-FFF2-40B4-BE49-F238E27FC236}">
                <a16:creationId xmlns:a16="http://schemas.microsoft.com/office/drawing/2014/main" id="{01FD0002-F436-4142-A628-D55068EAF9A4}"/>
              </a:ext>
            </a:extLst>
          </p:cNvPr>
          <p:cNvSpPr/>
          <p:nvPr userDrawn="1"/>
        </p:nvSpPr>
        <p:spPr>
          <a:xfrm>
            <a:off x="9761293" y="4459918"/>
            <a:ext cx="248198" cy="268007"/>
          </a:xfrm>
          <a:custGeom>
            <a:avLst/>
            <a:gdLst>
              <a:gd name="connsiteX0" fmla="*/ 114195 w 248198"/>
              <a:gd name="connsiteY0" fmla="*/ 268007 h 268007"/>
              <a:gd name="connsiteX1" fmla="*/ 0 w 248198"/>
              <a:gd name="connsiteY1" fmla="*/ 268007 h 268007"/>
              <a:gd name="connsiteX2" fmla="*/ 132838 w 248198"/>
              <a:gd name="connsiteY2" fmla="*/ 135169 h 268007"/>
              <a:gd name="connsiteX3" fmla="*/ 0 w 248198"/>
              <a:gd name="connsiteY3" fmla="*/ 0 h 268007"/>
              <a:gd name="connsiteX4" fmla="*/ 116525 w 248198"/>
              <a:gd name="connsiteY4" fmla="*/ 0 h 268007"/>
              <a:gd name="connsiteX5" fmla="*/ 248198 w 248198"/>
              <a:gd name="connsiteY5" fmla="*/ 131673 h 268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8007">
                <a:moveTo>
                  <a:pt x="114195" y="268007"/>
                </a:moveTo>
                <a:lnTo>
                  <a:pt x="0" y="268007"/>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endParaRPr lang="de-DE"/>
          </a:p>
        </p:txBody>
      </p:sp>
      <p:sp>
        <p:nvSpPr>
          <p:cNvPr id="488" name="Freihandform: Form 487">
            <a:extLst>
              <a:ext uri="{FF2B5EF4-FFF2-40B4-BE49-F238E27FC236}">
                <a16:creationId xmlns:a16="http://schemas.microsoft.com/office/drawing/2014/main" id="{06660CCF-FEE4-4A5F-8E5C-895C66A8B07F}"/>
              </a:ext>
            </a:extLst>
          </p:cNvPr>
          <p:cNvSpPr/>
          <p:nvPr userDrawn="1"/>
        </p:nvSpPr>
        <p:spPr>
          <a:xfrm>
            <a:off x="9761293" y="4814154"/>
            <a:ext cx="248198" cy="269172"/>
          </a:xfrm>
          <a:custGeom>
            <a:avLst/>
            <a:gdLst>
              <a:gd name="connsiteX0" fmla="*/ 114195 w 248198"/>
              <a:gd name="connsiteY0" fmla="*/ 269172 h 269172"/>
              <a:gd name="connsiteX1" fmla="*/ 0 w 248198"/>
              <a:gd name="connsiteY1" fmla="*/ 269172 h 269172"/>
              <a:gd name="connsiteX2" fmla="*/ 132838 w 248198"/>
              <a:gd name="connsiteY2" fmla="*/ 136334 h 269172"/>
              <a:gd name="connsiteX3" fmla="*/ 0 w 248198"/>
              <a:gd name="connsiteY3" fmla="*/ 0 h 269172"/>
              <a:gd name="connsiteX4" fmla="*/ 116525 w 248198"/>
              <a:gd name="connsiteY4" fmla="*/ 0 h 269172"/>
              <a:gd name="connsiteX5" fmla="*/ 248198 w 248198"/>
              <a:gd name="connsiteY5" fmla="*/ 132838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6334"/>
                </a:lnTo>
                <a:lnTo>
                  <a:pt x="0" y="0"/>
                </a:lnTo>
                <a:lnTo>
                  <a:pt x="116525" y="0"/>
                </a:lnTo>
                <a:lnTo>
                  <a:pt x="248198" y="132838"/>
                </a:lnTo>
                <a:close/>
              </a:path>
            </a:pathLst>
          </a:custGeom>
          <a:solidFill>
            <a:srgbClr val="EEF2F5"/>
          </a:solidFill>
          <a:ln w="11643" cap="flat">
            <a:noFill/>
            <a:prstDash val="solid"/>
            <a:miter/>
          </a:ln>
        </p:spPr>
        <p:txBody>
          <a:bodyPr rtlCol="0" anchor="ctr"/>
          <a:lstStyle/>
          <a:p>
            <a:endParaRPr lang="de-DE"/>
          </a:p>
        </p:txBody>
      </p:sp>
      <p:sp>
        <p:nvSpPr>
          <p:cNvPr id="489" name="Freihandform: Form 488">
            <a:extLst>
              <a:ext uri="{FF2B5EF4-FFF2-40B4-BE49-F238E27FC236}">
                <a16:creationId xmlns:a16="http://schemas.microsoft.com/office/drawing/2014/main" id="{6E41AC2D-718A-468C-AC62-C1169CCB8D98}"/>
              </a:ext>
            </a:extLst>
          </p:cNvPr>
          <p:cNvSpPr/>
          <p:nvPr userDrawn="1"/>
        </p:nvSpPr>
        <p:spPr>
          <a:xfrm>
            <a:off x="9761293" y="5169554"/>
            <a:ext cx="248198" cy="268007"/>
          </a:xfrm>
          <a:custGeom>
            <a:avLst/>
            <a:gdLst>
              <a:gd name="connsiteX0" fmla="*/ 114195 w 248198"/>
              <a:gd name="connsiteY0" fmla="*/ 268007 h 268007"/>
              <a:gd name="connsiteX1" fmla="*/ 0 w 248198"/>
              <a:gd name="connsiteY1" fmla="*/ 268007 h 268007"/>
              <a:gd name="connsiteX2" fmla="*/ 132838 w 248198"/>
              <a:gd name="connsiteY2" fmla="*/ 135169 h 268007"/>
              <a:gd name="connsiteX3" fmla="*/ 0 w 248198"/>
              <a:gd name="connsiteY3" fmla="*/ 0 h 268007"/>
              <a:gd name="connsiteX4" fmla="*/ 116525 w 248198"/>
              <a:gd name="connsiteY4" fmla="*/ 0 h 268007"/>
              <a:gd name="connsiteX5" fmla="*/ 248198 w 248198"/>
              <a:gd name="connsiteY5" fmla="*/ 131673 h 268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8007">
                <a:moveTo>
                  <a:pt x="114195" y="268007"/>
                </a:moveTo>
                <a:lnTo>
                  <a:pt x="0" y="268007"/>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endParaRPr lang="de-DE"/>
          </a:p>
        </p:txBody>
      </p:sp>
      <p:sp>
        <p:nvSpPr>
          <p:cNvPr id="490" name="Freihandform: Form 489">
            <a:extLst>
              <a:ext uri="{FF2B5EF4-FFF2-40B4-BE49-F238E27FC236}">
                <a16:creationId xmlns:a16="http://schemas.microsoft.com/office/drawing/2014/main" id="{4BE823B6-3CF5-4C0A-8FBC-8BF3D89E62E6}"/>
              </a:ext>
            </a:extLst>
          </p:cNvPr>
          <p:cNvSpPr/>
          <p:nvPr userDrawn="1"/>
        </p:nvSpPr>
        <p:spPr>
          <a:xfrm>
            <a:off x="9761293" y="5523790"/>
            <a:ext cx="248198" cy="269172"/>
          </a:xfrm>
          <a:custGeom>
            <a:avLst/>
            <a:gdLst>
              <a:gd name="connsiteX0" fmla="*/ 114195 w 248198"/>
              <a:gd name="connsiteY0" fmla="*/ 269172 h 269172"/>
              <a:gd name="connsiteX1" fmla="*/ 0 w 248198"/>
              <a:gd name="connsiteY1" fmla="*/ 269172 h 269172"/>
              <a:gd name="connsiteX2" fmla="*/ 132838 w 248198"/>
              <a:gd name="connsiteY2" fmla="*/ 136334 h 269172"/>
              <a:gd name="connsiteX3" fmla="*/ 0 w 248198"/>
              <a:gd name="connsiteY3" fmla="*/ 0 h 269172"/>
              <a:gd name="connsiteX4" fmla="*/ 116525 w 248198"/>
              <a:gd name="connsiteY4" fmla="*/ 0 h 269172"/>
              <a:gd name="connsiteX5" fmla="*/ 248198 w 248198"/>
              <a:gd name="connsiteY5" fmla="*/ 132838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6334"/>
                </a:lnTo>
                <a:lnTo>
                  <a:pt x="0" y="0"/>
                </a:lnTo>
                <a:lnTo>
                  <a:pt x="116525" y="0"/>
                </a:lnTo>
                <a:lnTo>
                  <a:pt x="248198" y="132838"/>
                </a:lnTo>
                <a:close/>
              </a:path>
            </a:pathLst>
          </a:custGeom>
          <a:solidFill>
            <a:srgbClr val="EEF2F5"/>
          </a:solidFill>
          <a:ln w="11643" cap="flat">
            <a:noFill/>
            <a:prstDash val="solid"/>
            <a:miter/>
          </a:ln>
        </p:spPr>
        <p:txBody>
          <a:bodyPr rtlCol="0" anchor="ctr"/>
          <a:lstStyle/>
          <a:p>
            <a:endParaRPr lang="de-DE"/>
          </a:p>
        </p:txBody>
      </p:sp>
      <p:sp>
        <p:nvSpPr>
          <p:cNvPr id="491" name="Freihandform: Form 490">
            <a:extLst>
              <a:ext uri="{FF2B5EF4-FFF2-40B4-BE49-F238E27FC236}">
                <a16:creationId xmlns:a16="http://schemas.microsoft.com/office/drawing/2014/main" id="{B0586C0A-D3A9-43C8-BC22-E34DC9A911FC}"/>
              </a:ext>
            </a:extLst>
          </p:cNvPr>
          <p:cNvSpPr/>
          <p:nvPr userDrawn="1"/>
        </p:nvSpPr>
        <p:spPr>
          <a:xfrm>
            <a:off x="9761293" y="5879190"/>
            <a:ext cx="248198" cy="269172"/>
          </a:xfrm>
          <a:custGeom>
            <a:avLst/>
            <a:gdLst>
              <a:gd name="connsiteX0" fmla="*/ 114195 w 248198"/>
              <a:gd name="connsiteY0" fmla="*/ 269172 h 269172"/>
              <a:gd name="connsiteX1" fmla="*/ 0 w 248198"/>
              <a:gd name="connsiteY1" fmla="*/ 269172 h 269172"/>
              <a:gd name="connsiteX2" fmla="*/ 132838 w 248198"/>
              <a:gd name="connsiteY2" fmla="*/ 135169 h 269172"/>
              <a:gd name="connsiteX3" fmla="*/ 0 w 248198"/>
              <a:gd name="connsiteY3" fmla="*/ 0 h 269172"/>
              <a:gd name="connsiteX4" fmla="*/ 116525 w 248198"/>
              <a:gd name="connsiteY4" fmla="*/ 0 h 269172"/>
              <a:gd name="connsiteX5" fmla="*/ 248198 w 248198"/>
              <a:gd name="connsiteY5" fmla="*/ 131673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endParaRPr lang="de-DE"/>
          </a:p>
        </p:txBody>
      </p:sp>
      <p:sp>
        <p:nvSpPr>
          <p:cNvPr id="492" name="Freihandform: Form 491">
            <a:extLst>
              <a:ext uri="{FF2B5EF4-FFF2-40B4-BE49-F238E27FC236}">
                <a16:creationId xmlns:a16="http://schemas.microsoft.com/office/drawing/2014/main" id="{BAA83463-E746-448C-AEF2-15F032667EAD}"/>
              </a:ext>
            </a:extLst>
          </p:cNvPr>
          <p:cNvSpPr/>
          <p:nvPr userDrawn="1"/>
        </p:nvSpPr>
        <p:spPr>
          <a:xfrm>
            <a:off x="9761293" y="6233426"/>
            <a:ext cx="248198" cy="269172"/>
          </a:xfrm>
          <a:custGeom>
            <a:avLst/>
            <a:gdLst>
              <a:gd name="connsiteX0" fmla="*/ 114195 w 248198"/>
              <a:gd name="connsiteY0" fmla="*/ 269172 h 269172"/>
              <a:gd name="connsiteX1" fmla="*/ 0 w 248198"/>
              <a:gd name="connsiteY1" fmla="*/ 269172 h 269172"/>
              <a:gd name="connsiteX2" fmla="*/ 132838 w 248198"/>
              <a:gd name="connsiteY2" fmla="*/ 136334 h 269172"/>
              <a:gd name="connsiteX3" fmla="*/ 0 w 248198"/>
              <a:gd name="connsiteY3" fmla="*/ 0 h 269172"/>
              <a:gd name="connsiteX4" fmla="*/ 116525 w 248198"/>
              <a:gd name="connsiteY4" fmla="*/ 0 h 269172"/>
              <a:gd name="connsiteX5" fmla="*/ 248198 w 248198"/>
              <a:gd name="connsiteY5" fmla="*/ 132838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6334"/>
                </a:lnTo>
                <a:lnTo>
                  <a:pt x="0" y="0"/>
                </a:lnTo>
                <a:lnTo>
                  <a:pt x="116525" y="0"/>
                </a:lnTo>
                <a:lnTo>
                  <a:pt x="248198" y="132838"/>
                </a:lnTo>
                <a:close/>
              </a:path>
            </a:pathLst>
          </a:custGeom>
          <a:solidFill>
            <a:srgbClr val="EEF2F5"/>
          </a:solidFill>
          <a:ln w="11643" cap="flat">
            <a:noFill/>
            <a:prstDash val="solid"/>
            <a:miter/>
          </a:ln>
        </p:spPr>
        <p:txBody>
          <a:bodyPr rtlCol="0" anchor="ctr"/>
          <a:lstStyle/>
          <a:p>
            <a:endParaRPr lang="de-DE"/>
          </a:p>
        </p:txBody>
      </p:sp>
      <p:sp>
        <p:nvSpPr>
          <p:cNvPr id="493" name="Freihandform: Form 492">
            <a:extLst>
              <a:ext uri="{FF2B5EF4-FFF2-40B4-BE49-F238E27FC236}">
                <a16:creationId xmlns:a16="http://schemas.microsoft.com/office/drawing/2014/main" id="{630922BC-26BD-42F2-898F-FEDC66EF3731}"/>
              </a:ext>
            </a:extLst>
          </p:cNvPr>
          <p:cNvSpPr/>
          <p:nvPr userDrawn="1"/>
        </p:nvSpPr>
        <p:spPr>
          <a:xfrm>
            <a:off x="9761293" y="6588826"/>
            <a:ext cx="248198" cy="269172"/>
          </a:xfrm>
          <a:custGeom>
            <a:avLst/>
            <a:gdLst>
              <a:gd name="connsiteX0" fmla="*/ 114195 w 248198"/>
              <a:gd name="connsiteY0" fmla="*/ 269172 h 269172"/>
              <a:gd name="connsiteX1" fmla="*/ 0 w 248198"/>
              <a:gd name="connsiteY1" fmla="*/ 269172 h 269172"/>
              <a:gd name="connsiteX2" fmla="*/ 132838 w 248198"/>
              <a:gd name="connsiteY2" fmla="*/ 135169 h 269172"/>
              <a:gd name="connsiteX3" fmla="*/ 0 w 248198"/>
              <a:gd name="connsiteY3" fmla="*/ 0 h 269172"/>
              <a:gd name="connsiteX4" fmla="*/ 116525 w 248198"/>
              <a:gd name="connsiteY4" fmla="*/ 0 h 269172"/>
              <a:gd name="connsiteX5" fmla="*/ 248198 w 248198"/>
              <a:gd name="connsiteY5" fmla="*/ 131673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endParaRPr lang="de-DE"/>
          </a:p>
        </p:txBody>
      </p:sp>
      <p:grpSp>
        <p:nvGrpSpPr>
          <p:cNvPr id="39" name="Gruppieren 38">
            <a:extLst>
              <a:ext uri="{FF2B5EF4-FFF2-40B4-BE49-F238E27FC236}">
                <a16:creationId xmlns:a16="http://schemas.microsoft.com/office/drawing/2014/main" id="{AA666764-7F63-4EE2-87ED-D1E80C7F6AA1}"/>
              </a:ext>
            </a:extLst>
          </p:cNvPr>
          <p:cNvGrpSpPr/>
          <p:nvPr userDrawn="1"/>
        </p:nvGrpSpPr>
        <p:grpSpPr>
          <a:xfrm>
            <a:off x="4814318" y="4632993"/>
            <a:ext cx="421976" cy="421976"/>
            <a:chOff x="4991839" y="5657214"/>
            <a:chExt cx="203835" cy="203835"/>
          </a:xfrm>
        </p:grpSpPr>
        <p:sp>
          <p:nvSpPr>
            <p:cNvPr id="38" name="Grafik 3">
              <a:extLst>
                <a:ext uri="{FF2B5EF4-FFF2-40B4-BE49-F238E27FC236}">
                  <a16:creationId xmlns:a16="http://schemas.microsoft.com/office/drawing/2014/main" id="{3ACBFD09-2BCE-47C1-82F9-F67E69F50CD5}"/>
                </a:ext>
              </a:extLst>
            </p:cNvPr>
            <p:cNvSpPr/>
            <p:nvPr/>
          </p:nvSpPr>
          <p:spPr>
            <a:xfrm>
              <a:off x="4991839" y="5657214"/>
              <a:ext cx="203835" cy="203835"/>
            </a:xfrm>
            <a:custGeom>
              <a:avLst/>
              <a:gdLst>
                <a:gd name="connsiteX0" fmla="*/ 203835 w 203835"/>
                <a:gd name="connsiteY0" fmla="*/ 101918 h 203835"/>
                <a:gd name="connsiteX1" fmla="*/ 101918 w 203835"/>
                <a:gd name="connsiteY1" fmla="*/ 203835 h 203835"/>
                <a:gd name="connsiteX2" fmla="*/ 0 w 203835"/>
                <a:gd name="connsiteY2" fmla="*/ 101918 h 203835"/>
                <a:gd name="connsiteX3" fmla="*/ 101918 w 203835"/>
                <a:gd name="connsiteY3" fmla="*/ 0 h 203835"/>
                <a:gd name="connsiteX4" fmla="*/ 203835 w 203835"/>
                <a:gd name="connsiteY4" fmla="*/ 101918 h 2038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3835" h="203835">
                  <a:moveTo>
                    <a:pt x="203835" y="101918"/>
                  </a:moveTo>
                  <a:cubicBezTo>
                    <a:pt x="203835" y="158205"/>
                    <a:pt x="158205" y="203835"/>
                    <a:pt x="101918" y="203835"/>
                  </a:cubicBezTo>
                  <a:cubicBezTo>
                    <a:pt x="45630" y="203835"/>
                    <a:pt x="0" y="158205"/>
                    <a:pt x="0" y="101918"/>
                  </a:cubicBezTo>
                  <a:cubicBezTo>
                    <a:pt x="0" y="45630"/>
                    <a:pt x="45630" y="0"/>
                    <a:pt x="101918" y="0"/>
                  </a:cubicBezTo>
                  <a:cubicBezTo>
                    <a:pt x="158205" y="0"/>
                    <a:pt x="203835" y="45630"/>
                    <a:pt x="203835" y="101918"/>
                  </a:cubicBezTo>
                  <a:close/>
                </a:path>
              </a:pathLst>
            </a:custGeom>
            <a:solidFill>
              <a:srgbClr val="ECF0F4"/>
            </a:solidFill>
            <a:ln w="9525" cap="flat">
              <a:noFill/>
              <a:prstDash val="solid"/>
              <a:miter/>
            </a:ln>
          </p:spPr>
          <p:txBody>
            <a:bodyPr rtlCol="0" anchor="ctr"/>
            <a:lstStyle/>
            <a:p>
              <a:endParaRPr lang="de-DE"/>
            </a:p>
          </p:txBody>
        </p:sp>
        <p:sp>
          <p:nvSpPr>
            <p:cNvPr id="37" name="Grafik 30">
              <a:extLst>
                <a:ext uri="{FF2B5EF4-FFF2-40B4-BE49-F238E27FC236}">
                  <a16:creationId xmlns:a16="http://schemas.microsoft.com/office/drawing/2014/main" id="{0F7F147F-AAE3-4BE1-B657-9037D1087DC9}"/>
                </a:ext>
              </a:extLst>
            </p:cNvPr>
            <p:cNvSpPr/>
            <p:nvPr/>
          </p:nvSpPr>
          <p:spPr>
            <a:xfrm>
              <a:off x="5039940" y="5721508"/>
              <a:ext cx="107632" cy="75247"/>
            </a:xfrm>
            <a:custGeom>
              <a:avLst/>
              <a:gdLst>
                <a:gd name="connsiteX0" fmla="*/ 98108 w 107632"/>
                <a:gd name="connsiteY0" fmla="*/ 0 h 75247"/>
                <a:gd name="connsiteX1" fmla="*/ 9525 w 107632"/>
                <a:gd name="connsiteY1" fmla="*/ 0 h 75247"/>
                <a:gd name="connsiteX2" fmla="*/ 0 w 107632"/>
                <a:gd name="connsiteY2" fmla="*/ 9525 h 75247"/>
                <a:gd name="connsiteX3" fmla="*/ 0 w 107632"/>
                <a:gd name="connsiteY3" fmla="*/ 65723 h 75247"/>
                <a:gd name="connsiteX4" fmla="*/ 9525 w 107632"/>
                <a:gd name="connsiteY4" fmla="*/ 75248 h 75247"/>
                <a:gd name="connsiteX5" fmla="*/ 98108 w 107632"/>
                <a:gd name="connsiteY5" fmla="*/ 75248 h 75247"/>
                <a:gd name="connsiteX6" fmla="*/ 107633 w 107632"/>
                <a:gd name="connsiteY6" fmla="*/ 65723 h 75247"/>
                <a:gd name="connsiteX7" fmla="*/ 107633 w 107632"/>
                <a:gd name="connsiteY7" fmla="*/ 9525 h 75247"/>
                <a:gd name="connsiteX8" fmla="*/ 98108 w 107632"/>
                <a:gd name="connsiteY8" fmla="*/ 0 h 75247"/>
                <a:gd name="connsiteX9" fmla="*/ 96203 w 107632"/>
                <a:gd name="connsiteY9" fmla="*/ 6668 h 75247"/>
                <a:gd name="connsiteX10" fmla="*/ 60008 w 107632"/>
                <a:gd name="connsiteY10" fmla="*/ 41910 h 75247"/>
                <a:gd name="connsiteX11" fmla="*/ 53340 w 107632"/>
                <a:gd name="connsiteY11" fmla="*/ 44768 h 75247"/>
                <a:gd name="connsiteX12" fmla="*/ 46673 w 107632"/>
                <a:gd name="connsiteY12" fmla="*/ 41910 h 75247"/>
                <a:gd name="connsiteX13" fmla="*/ 10478 w 107632"/>
                <a:gd name="connsiteY13" fmla="*/ 6668 h 75247"/>
                <a:gd name="connsiteX14" fmla="*/ 96203 w 107632"/>
                <a:gd name="connsiteY14" fmla="*/ 6668 h 75247"/>
                <a:gd name="connsiteX15" fmla="*/ 6668 w 107632"/>
                <a:gd name="connsiteY15" fmla="*/ 64770 h 75247"/>
                <a:gd name="connsiteX16" fmla="*/ 6668 w 107632"/>
                <a:gd name="connsiteY16" fmla="*/ 10478 h 75247"/>
                <a:gd name="connsiteX17" fmla="*/ 33338 w 107632"/>
                <a:gd name="connsiteY17" fmla="*/ 38100 h 75247"/>
                <a:gd name="connsiteX18" fmla="*/ 6668 w 107632"/>
                <a:gd name="connsiteY18" fmla="*/ 64770 h 75247"/>
                <a:gd name="connsiteX19" fmla="*/ 10478 w 107632"/>
                <a:gd name="connsiteY19" fmla="*/ 68580 h 75247"/>
                <a:gd name="connsiteX20" fmla="*/ 38100 w 107632"/>
                <a:gd name="connsiteY20" fmla="*/ 41910 h 75247"/>
                <a:gd name="connsiteX21" fmla="*/ 42863 w 107632"/>
                <a:gd name="connsiteY21" fmla="*/ 46673 h 75247"/>
                <a:gd name="connsiteX22" fmla="*/ 54293 w 107632"/>
                <a:gd name="connsiteY22" fmla="*/ 51435 h 75247"/>
                <a:gd name="connsiteX23" fmla="*/ 65723 w 107632"/>
                <a:gd name="connsiteY23" fmla="*/ 46673 h 75247"/>
                <a:gd name="connsiteX24" fmla="*/ 70485 w 107632"/>
                <a:gd name="connsiteY24" fmla="*/ 41910 h 75247"/>
                <a:gd name="connsiteX25" fmla="*/ 97155 w 107632"/>
                <a:gd name="connsiteY25" fmla="*/ 68580 h 75247"/>
                <a:gd name="connsiteX26" fmla="*/ 10478 w 107632"/>
                <a:gd name="connsiteY26" fmla="*/ 68580 h 75247"/>
                <a:gd name="connsiteX27" fmla="*/ 100965 w 107632"/>
                <a:gd name="connsiteY27" fmla="*/ 64770 h 75247"/>
                <a:gd name="connsiteX28" fmla="*/ 73343 w 107632"/>
                <a:gd name="connsiteY28" fmla="*/ 38100 h 75247"/>
                <a:gd name="connsiteX29" fmla="*/ 100013 w 107632"/>
                <a:gd name="connsiteY29" fmla="*/ 11430 h 75247"/>
                <a:gd name="connsiteX30" fmla="*/ 100013 w 107632"/>
                <a:gd name="connsiteY30" fmla="*/ 64770 h 75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07632" h="75247">
                  <a:moveTo>
                    <a:pt x="98108" y="0"/>
                  </a:moveTo>
                  <a:lnTo>
                    <a:pt x="9525" y="0"/>
                  </a:lnTo>
                  <a:cubicBezTo>
                    <a:pt x="3810" y="0"/>
                    <a:pt x="0" y="3810"/>
                    <a:pt x="0" y="9525"/>
                  </a:cubicBezTo>
                  <a:lnTo>
                    <a:pt x="0" y="65723"/>
                  </a:lnTo>
                  <a:cubicBezTo>
                    <a:pt x="0" y="70485"/>
                    <a:pt x="3810" y="75248"/>
                    <a:pt x="9525" y="75248"/>
                  </a:cubicBezTo>
                  <a:lnTo>
                    <a:pt x="98108" y="75248"/>
                  </a:lnTo>
                  <a:cubicBezTo>
                    <a:pt x="102870" y="75248"/>
                    <a:pt x="107633" y="71438"/>
                    <a:pt x="107633" y="65723"/>
                  </a:cubicBezTo>
                  <a:lnTo>
                    <a:pt x="107633" y="9525"/>
                  </a:lnTo>
                  <a:cubicBezTo>
                    <a:pt x="106680" y="3810"/>
                    <a:pt x="102870" y="0"/>
                    <a:pt x="98108" y="0"/>
                  </a:cubicBezTo>
                  <a:close/>
                  <a:moveTo>
                    <a:pt x="96203" y="6668"/>
                  </a:moveTo>
                  <a:cubicBezTo>
                    <a:pt x="94298" y="8573"/>
                    <a:pt x="60960" y="40958"/>
                    <a:pt x="60008" y="41910"/>
                  </a:cubicBezTo>
                  <a:cubicBezTo>
                    <a:pt x="58103" y="43815"/>
                    <a:pt x="56198" y="44768"/>
                    <a:pt x="53340" y="44768"/>
                  </a:cubicBezTo>
                  <a:cubicBezTo>
                    <a:pt x="50483" y="44768"/>
                    <a:pt x="48578" y="43815"/>
                    <a:pt x="46673" y="41910"/>
                  </a:cubicBezTo>
                  <a:cubicBezTo>
                    <a:pt x="45720" y="41910"/>
                    <a:pt x="13335" y="8573"/>
                    <a:pt x="10478" y="6668"/>
                  </a:cubicBezTo>
                  <a:lnTo>
                    <a:pt x="96203" y="6668"/>
                  </a:lnTo>
                  <a:close/>
                  <a:moveTo>
                    <a:pt x="6668" y="64770"/>
                  </a:moveTo>
                  <a:lnTo>
                    <a:pt x="6668" y="10478"/>
                  </a:lnTo>
                  <a:lnTo>
                    <a:pt x="33338" y="38100"/>
                  </a:lnTo>
                  <a:lnTo>
                    <a:pt x="6668" y="64770"/>
                  </a:lnTo>
                  <a:close/>
                  <a:moveTo>
                    <a:pt x="10478" y="68580"/>
                  </a:moveTo>
                  <a:lnTo>
                    <a:pt x="38100" y="41910"/>
                  </a:lnTo>
                  <a:lnTo>
                    <a:pt x="42863" y="46673"/>
                  </a:lnTo>
                  <a:cubicBezTo>
                    <a:pt x="45720" y="49530"/>
                    <a:pt x="49530" y="51435"/>
                    <a:pt x="54293" y="51435"/>
                  </a:cubicBezTo>
                  <a:cubicBezTo>
                    <a:pt x="58103" y="51435"/>
                    <a:pt x="62865" y="49530"/>
                    <a:pt x="65723" y="46673"/>
                  </a:cubicBezTo>
                  <a:lnTo>
                    <a:pt x="70485" y="41910"/>
                  </a:lnTo>
                  <a:lnTo>
                    <a:pt x="97155" y="68580"/>
                  </a:lnTo>
                  <a:lnTo>
                    <a:pt x="10478" y="68580"/>
                  </a:lnTo>
                  <a:close/>
                  <a:moveTo>
                    <a:pt x="100965" y="64770"/>
                  </a:moveTo>
                  <a:lnTo>
                    <a:pt x="73343" y="38100"/>
                  </a:lnTo>
                  <a:lnTo>
                    <a:pt x="100013" y="11430"/>
                  </a:lnTo>
                  <a:lnTo>
                    <a:pt x="100013" y="64770"/>
                  </a:lnTo>
                  <a:close/>
                </a:path>
              </a:pathLst>
            </a:custGeom>
            <a:solidFill>
              <a:srgbClr val="3A5C7D"/>
            </a:solidFill>
            <a:ln w="9525" cap="flat">
              <a:noFill/>
              <a:prstDash val="solid"/>
              <a:miter/>
            </a:ln>
          </p:spPr>
          <p:txBody>
            <a:bodyPr rtlCol="0" anchor="ctr"/>
            <a:lstStyle/>
            <a:p>
              <a:endParaRPr lang="de-DE"/>
            </a:p>
          </p:txBody>
        </p:sp>
      </p:grpSp>
      <p:grpSp>
        <p:nvGrpSpPr>
          <p:cNvPr id="36" name="Gruppieren 35">
            <a:extLst>
              <a:ext uri="{FF2B5EF4-FFF2-40B4-BE49-F238E27FC236}">
                <a16:creationId xmlns:a16="http://schemas.microsoft.com/office/drawing/2014/main" id="{66A2E61D-F083-418F-919D-66394DC26082}"/>
              </a:ext>
            </a:extLst>
          </p:cNvPr>
          <p:cNvGrpSpPr/>
          <p:nvPr userDrawn="1"/>
        </p:nvGrpSpPr>
        <p:grpSpPr>
          <a:xfrm>
            <a:off x="4812959" y="4085094"/>
            <a:ext cx="424694" cy="424694"/>
            <a:chOff x="4702667" y="5218499"/>
            <a:chExt cx="203835" cy="203835"/>
          </a:xfrm>
        </p:grpSpPr>
        <p:sp>
          <p:nvSpPr>
            <p:cNvPr id="34" name="Grafik 31">
              <a:extLst>
                <a:ext uri="{FF2B5EF4-FFF2-40B4-BE49-F238E27FC236}">
                  <a16:creationId xmlns:a16="http://schemas.microsoft.com/office/drawing/2014/main" id="{E92F21DB-71AC-49E2-A5A9-E6D54A01D532}"/>
                </a:ext>
              </a:extLst>
            </p:cNvPr>
            <p:cNvSpPr/>
            <p:nvPr/>
          </p:nvSpPr>
          <p:spPr>
            <a:xfrm>
              <a:off x="4702667" y="5218499"/>
              <a:ext cx="203835" cy="203835"/>
            </a:xfrm>
            <a:custGeom>
              <a:avLst/>
              <a:gdLst>
                <a:gd name="connsiteX0" fmla="*/ 203835 w 203835"/>
                <a:gd name="connsiteY0" fmla="*/ 101918 h 203835"/>
                <a:gd name="connsiteX1" fmla="*/ 101918 w 203835"/>
                <a:gd name="connsiteY1" fmla="*/ 203835 h 203835"/>
                <a:gd name="connsiteX2" fmla="*/ 0 w 203835"/>
                <a:gd name="connsiteY2" fmla="*/ 101918 h 203835"/>
                <a:gd name="connsiteX3" fmla="*/ 101918 w 203835"/>
                <a:gd name="connsiteY3" fmla="*/ 0 h 203835"/>
                <a:gd name="connsiteX4" fmla="*/ 203835 w 203835"/>
                <a:gd name="connsiteY4" fmla="*/ 101918 h 2038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3835" h="203835">
                  <a:moveTo>
                    <a:pt x="203835" y="101918"/>
                  </a:moveTo>
                  <a:cubicBezTo>
                    <a:pt x="203835" y="158205"/>
                    <a:pt x="158205" y="203835"/>
                    <a:pt x="101918" y="203835"/>
                  </a:cubicBezTo>
                  <a:cubicBezTo>
                    <a:pt x="45630" y="203835"/>
                    <a:pt x="0" y="158205"/>
                    <a:pt x="0" y="101918"/>
                  </a:cubicBezTo>
                  <a:cubicBezTo>
                    <a:pt x="0" y="45630"/>
                    <a:pt x="45630" y="0"/>
                    <a:pt x="101918" y="0"/>
                  </a:cubicBezTo>
                  <a:cubicBezTo>
                    <a:pt x="158205" y="0"/>
                    <a:pt x="203835" y="45630"/>
                    <a:pt x="203835" y="101918"/>
                  </a:cubicBezTo>
                  <a:close/>
                </a:path>
              </a:pathLst>
            </a:custGeom>
            <a:solidFill>
              <a:srgbClr val="ECF0F4"/>
            </a:solidFill>
            <a:ln w="9525" cap="flat">
              <a:noFill/>
              <a:prstDash val="solid"/>
              <a:miter/>
            </a:ln>
          </p:spPr>
          <p:txBody>
            <a:bodyPr rtlCol="0" anchor="ctr"/>
            <a:lstStyle/>
            <a:p>
              <a:endParaRPr lang="de-DE"/>
            </a:p>
          </p:txBody>
        </p:sp>
        <p:sp>
          <p:nvSpPr>
            <p:cNvPr id="33" name="Grafik 29">
              <a:extLst>
                <a:ext uri="{FF2B5EF4-FFF2-40B4-BE49-F238E27FC236}">
                  <a16:creationId xmlns:a16="http://schemas.microsoft.com/office/drawing/2014/main" id="{C5CDD651-6752-43FB-B542-3447DAD562C2}"/>
                </a:ext>
              </a:extLst>
            </p:cNvPr>
            <p:cNvSpPr/>
            <p:nvPr/>
          </p:nvSpPr>
          <p:spPr>
            <a:xfrm>
              <a:off x="4749870" y="5265171"/>
              <a:ext cx="109428" cy="110490"/>
            </a:xfrm>
            <a:custGeom>
              <a:avLst/>
              <a:gdLst>
                <a:gd name="connsiteX0" fmla="*/ 105728 w 109428"/>
                <a:gd name="connsiteY0" fmla="*/ 80010 h 110490"/>
                <a:gd name="connsiteX1" fmla="*/ 92393 w 109428"/>
                <a:gd name="connsiteY1" fmla="*/ 65723 h 110490"/>
                <a:gd name="connsiteX2" fmla="*/ 83820 w 109428"/>
                <a:gd name="connsiteY2" fmla="*/ 62865 h 110490"/>
                <a:gd name="connsiteX3" fmla="*/ 76200 w 109428"/>
                <a:gd name="connsiteY3" fmla="*/ 65723 h 110490"/>
                <a:gd name="connsiteX4" fmla="*/ 67628 w 109428"/>
                <a:gd name="connsiteY4" fmla="*/ 74295 h 110490"/>
                <a:gd name="connsiteX5" fmla="*/ 65723 w 109428"/>
                <a:gd name="connsiteY5" fmla="*/ 73343 h 110490"/>
                <a:gd name="connsiteX6" fmla="*/ 62865 w 109428"/>
                <a:gd name="connsiteY6" fmla="*/ 72390 h 110490"/>
                <a:gd name="connsiteX7" fmla="*/ 42863 w 109428"/>
                <a:gd name="connsiteY7" fmla="*/ 53340 h 110490"/>
                <a:gd name="connsiteX8" fmla="*/ 35243 w 109428"/>
                <a:gd name="connsiteY8" fmla="*/ 41910 h 110490"/>
                <a:gd name="connsiteX9" fmla="*/ 41910 w 109428"/>
                <a:gd name="connsiteY9" fmla="*/ 36195 h 110490"/>
                <a:gd name="connsiteX10" fmla="*/ 43815 w 109428"/>
                <a:gd name="connsiteY10" fmla="*/ 34290 h 110490"/>
                <a:gd name="connsiteX11" fmla="*/ 47625 w 109428"/>
                <a:gd name="connsiteY11" fmla="*/ 25718 h 110490"/>
                <a:gd name="connsiteX12" fmla="*/ 43815 w 109428"/>
                <a:gd name="connsiteY12" fmla="*/ 17145 h 110490"/>
                <a:gd name="connsiteX13" fmla="*/ 37148 w 109428"/>
                <a:gd name="connsiteY13" fmla="*/ 10478 h 110490"/>
                <a:gd name="connsiteX14" fmla="*/ 34290 w 109428"/>
                <a:gd name="connsiteY14" fmla="*/ 8573 h 110490"/>
                <a:gd name="connsiteX15" fmla="*/ 29528 w 109428"/>
                <a:gd name="connsiteY15" fmla="*/ 3810 h 110490"/>
                <a:gd name="connsiteX16" fmla="*/ 21908 w 109428"/>
                <a:gd name="connsiteY16" fmla="*/ 0 h 110490"/>
                <a:gd name="connsiteX17" fmla="*/ 14288 w 109428"/>
                <a:gd name="connsiteY17" fmla="*/ 3810 h 110490"/>
                <a:gd name="connsiteX18" fmla="*/ 5715 w 109428"/>
                <a:gd name="connsiteY18" fmla="*/ 12383 h 110490"/>
                <a:gd name="connsiteX19" fmla="*/ 0 w 109428"/>
                <a:gd name="connsiteY19" fmla="*/ 22860 h 110490"/>
                <a:gd name="connsiteX20" fmla="*/ 2858 w 109428"/>
                <a:gd name="connsiteY20" fmla="*/ 41910 h 110490"/>
                <a:gd name="connsiteX21" fmla="*/ 21908 w 109428"/>
                <a:gd name="connsiteY21" fmla="*/ 73343 h 110490"/>
                <a:gd name="connsiteX22" fmla="*/ 60960 w 109428"/>
                <a:gd name="connsiteY22" fmla="*/ 103823 h 110490"/>
                <a:gd name="connsiteX23" fmla="*/ 82868 w 109428"/>
                <a:gd name="connsiteY23" fmla="*/ 110490 h 110490"/>
                <a:gd name="connsiteX24" fmla="*/ 84773 w 109428"/>
                <a:gd name="connsiteY24" fmla="*/ 110490 h 110490"/>
                <a:gd name="connsiteX25" fmla="*/ 99060 w 109428"/>
                <a:gd name="connsiteY25" fmla="*/ 104775 h 110490"/>
                <a:gd name="connsiteX26" fmla="*/ 99060 w 109428"/>
                <a:gd name="connsiteY26" fmla="*/ 104775 h 110490"/>
                <a:gd name="connsiteX27" fmla="*/ 103823 w 109428"/>
                <a:gd name="connsiteY27" fmla="*/ 100013 h 110490"/>
                <a:gd name="connsiteX28" fmla="*/ 106680 w 109428"/>
                <a:gd name="connsiteY28" fmla="*/ 97155 h 110490"/>
                <a:gd name="connsiteX29" fmla="*/ 105728 w 109428"/>
                <a:gd name="connsiteY29" fmla="*/ 80010 h 110490"/>
                <a:gd name="connsiteX30" fmla="*/ 101918 w 109428"/>
                <a:gd name="connsiteY30" fmla="*/ 92393 h 110490"/>
                <a:gd name="connsiteX31" fmla="*/ 99060 w 109428"/>
                <a:gd name="connsiteY31" fmla="*/ 95250 h 110490"/>
                <a:gd name="connsiteX32" fmla="*/ 94298 w 109428"/>
                <a:gd name="connsiteY32" fmla="*/ 100013 h 110490"/>
                <a:gd name="connsiteX33" fmla="*/ 84773 w 109428"/>
                <a:gd name="connsiteY33" fmla="*/ 103823 h 110490"/>
                <a:gd name="connsiteX34" fmla="*/ 83820 w 109428"/>
                <a:gd name="connsiteY34" fmla="*/ 103823 h 110490"/>
                <a:gd name="connsiteX35" fmla="*/ 63818 w 109428"/>
                <a:gd name="connsiteY35" fmla="*/ 98108 h 110490"/>
                <a:gd name="connsiteX36" fmla="*/ 26670 w 109428"/>
                <a:gd name="connsiteY36" fmla="*/ 69533 h 110490"/>
                <a:gd name="connsiteX37" fmla="*/ 8573 w 109428"/>
                <a:gd name="connsiteY37" fmla="*/ 40005 h 110490"/>
                <a:gd name="connsiteX38" fmla="*/ 5715 w 109428"/>
                <a:gd name="connsiteY38" fmla="*/ 23813 h 110490"/>
                <a:gd name="connsiteX39" fmla="*/ 9525 w 109428"/>
                <a:gd name="connsiteY39" fmla="*/ 16193 h 110490"/>
                <a:gd name="connsiteX40" fmla="*/ 18098 w 109428"/>
                <a:gd name="connsiteY40" fmla="*/ 7620 h 110490"/>
                <a:gd name="connsiteX41" fmla="*/ 21908 w 109428"/>
                <a:gd name="connsiteY41" fmla="*/ 5715 h 110490"/>
                <a:gd name="connsiteX42" fmla="*/ 25718 w 109428"/>
                <a:gd name="connsiteY42" fmla="*/ 7620 h 110490"/>
                <a:gd name="connsiteX43" fmla="*/ 30480 w 109428"/>
                <a:gd name="connsiteY43" fmla="*/ 12383 h 110490"/>
                <a:gd name="connsiteX44" fmla="*/ 32385 w 109428"/>
                <a:gd name="connsiteY44" fmla="*/ 15240 h 110490"/>
                <a:gd name="connsiteX45" fmla="*/ 39053 w 109428"/>
                <a:gd name="connsiteY45" fmla="*/ 21908 h 110490"/>
                <a:gd name="connsiteX46" fmla="*/ 40958 w 109428"/>
                <a:gd name="connsiteY46" fmla="*/ 25718 h 110490"/>
                <a:gd name="connsiteX47" fmla="*/ 39053 w 109428"/>
                <a:gd name="connsiteY47" fmla="*/ 29528 h 110490"/>
                <a:gd name="connsiteX48" fmla="*/ 38100 w 109428"/>
                <a:gd name="connsiteY48" fmla="*/ 32385 h 110490"/>
                <a:gd name="connsiteX49" fmla="*/ 31433 w 109428"/>
                <a:gd name="connsiteY49" fmla="*/ 38100 h 110490"/>
                <a:gd name="connsiteX50" fmla="*/ 31433 w 109428"/>
                <a:gd name="connsiteY50" fmla="*/ 38100 h 110490"/>
                <a:gd name="connsiteX51" fmla="*/ 30480 w 109428"/>
                <a:gd name="connsiteY51" fmla="*/ 42863 h 110490"/>
                <a:gd name="connsiteX52" fmla="*/ 30480 w 109428"/>
                <a:gd name="connsiteY52" fmla="*/ 42863 h 110490"/>
                <a:gd name="connsiteX53" fmla="*/ 38100 w 109428"/>
                <a:gd name="connsiteY53" fmla="*/ 56198 h 110490"/>
                <a:gd name="connsiteX54" fmla="*/ 60008 w 109428"/>
                <a:gd name="connsiteY54" fmla="*/ 76200 h 110490"/>
                <a:gd name="connsiteX55" fmla="*/ 62865 w 109428"/>
                <a:gd name="connsiteY55" fmla="*/ 78105 h 110490"/>
                <a:gd name="connsiteX56" fmla="*/ 65723 w 109428"/>
                <a:gd name="connsiteY56" fmla="*/ 79058 h 110490"/>
                <a:gd name="connsiteX57" fmla="*/ 65723 w 109428"/>
                <a:gd name="connsiteY57" fmla="*/ 79058 h 110490"/>
                <a:gd name="connsiteX58" fmla="*/ 67628 w 109428"/>
                <a:gd name="connsiteY58" fmla="*/ 80010 h 110490"/>
                <a:gd name="connsiteX59" fmla="*/ 71438 w 109428"/>
                <a:gd name="connsiteY59" fmla="*/ 78105 h 110490"/>
                <a:gd name="connsiteX60" fmla="*/ 80010 w 109428"/>
                <a:gd name="connsiteY60" fmla="*/ 69533 h 110490"/>
                <a:gd name="connsiteX61" fmla="*/ 83820 w 109428"/>
                <a:gd name="connsiteY61" fmla="*/ 67628 h 110490"/>
                <a:gd name="connsiteX62" fmla="*/ 87630 w 109428"/>
                <a:gd name="connsiteY62" fmla="*/ 69533 h 110490"/>
                <a:gd name="connsiteX63" fmla="*/ 100965 w 109428"/>
                <a:gd name="connsiteY63" fmla="*/ 82868 h 110490"/>
                <a:gd name="connsiteX64" fmla="*/ 101918 w 109428"/>
                <a:gd name="connsiteY64" fmla="*/ 92393 h 110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109428" h="110488">
                  <a:moveTo>
                    <a:pt x="105728" y="80010"/>
                  </a:moveTo>
                  <a:lnTo>
                    <a:pt x="92393" y="65723"/>
                  </a:lnTo>
                  <a:cubicBezTo>
                    <a:pt x="89535" y="63818"/>
                    <a:pt x="87630" y="62865"/>
                    <a:pt x="83820" y="62865"/>
                  </a:cubicBezTo>
                  <a:cubicBezTo>
                    <a:pt x="80963" y="62865"/>
                    <a:pt x="78105" y="63818"/>
                    <a:pt x="76200" y="65723"/>
                  </a:cubicBezTo>
                  <a:lnTo>
                    <a:pt x="67628" y="74295"/>
                  </a:lnTo>
                  <a:cubicBezTo>
                    <a:pt x="67628" y="73343"/>
                    <a:pt x="66675" y="73343"/>
                    <a:pt x="65723" y="73343"/>
                  </a:cubicBezTo>
                  <a:cubicBezTo>
                    <a:pt x="64770" y="73343"/>
                    <a:pt x="63818" y="72390"/>
                    <a:pt x="62865" y="72390"/>
                  </a:cubicBezTo>
                  <a:cubicBezTo>
                    <a:pt x="56198" y="66675"/>
                    <a:pt x="48578" y="60960"/>
                    <a:pt x="42863" y="53340"/>
                  </a:cubicBezTo>
                  <a:cubicBezTo>
                    <a:pt x="39053" y="48578"/>
                    <a:pt x="37148" y="45720"/>
                    <a:pt x="35243" y="41910"/>
                  </a:cubicBezTo>
                  <a:cubicBezTo>
                    <a:pt x="38100" y="40005"/>
                    <a:pt x="40005" y="38100"/>
                    <a:pt x="41910" y="36195"/>
                  </a:cubicBezTo>
                  <a:cubicBezTo>
                    <a:pt x="42863" y="35243"/>
                    <a:pt x="42863" y="35243"/>
                    <a:pt x="43815" y="34290"/>
                  </a:cubicBezTo>
                  <a:cubicBezTo>
                    <a:pt x="46673" y="31433"/>
                    <a:pt x="47625" y="28575"/>
                    <a:pt x="47625" y="25718"/>
                  </a:cubicBezTo>
                  <a:cubicBezTo>
                    <a:pt x="47625" y="22860"/>
                    <a:pt x="46673" y="20003"/>
                    <a:pt x="43815" y="17145"/>
                  </a:cubicBezTo>
                  <a:lnTo>
                    <a:pt x="37148" y="10478"/>
                  </a:lnTo>
                  <a:cubicBezTo>
                    <a:pt x="36195" y="9525"/>
                    <a:pt x="35243" y="8573"/>
                    <a:pt x="34290" y="8573"/>
                  </a:cubicBezTo>
                  <a:cubicBezTo>
                    <a:pt x="33338" y="6668"/>
                    <a:pt x="31433" y="4763"/>
                    <a:pt x="29528" y="3810"/>
                  </a:cubicBezTo>
                  <a:cubicBezTo>
                    <a:pt x="27623" y="953"/>
                    <a:pt x="24765" y="0"/>
                    <a:pt x="21908" y="0"/>
                  </a:cubicBezTo>
                  <a:cubicBezTo>
                    <a:pt x="19050" y="0"/>
                    <a:pt x="16193" y="953"/>
                    <a:pt x="14288" y="3810"/>
                  </a:cubicBezTo>
                  <a:lnTo>
                    <a:pt x="5715" y="12383"/>
                  </a:lnTo>
                  <a:cubicBezTo>
                    <a:pt x="1905" y="15240"/>
                    <a:pt x="0" y="19050"/>
                    <a:pt x="0" y="22860"/>
                  </a:cubicBezTo>
                  <a:cubicBezTo>
                    <a:pt x="0" y="28575"/>
                    <a:pt x="953" y="34290"/>
                    <a:pt x="2858" y="41910"/>
                  </a:cubicBezTo>
                  <a:cubicBezTo>
                    <a:pt x="6668" y="52388"/>
                    <a:pt x="13335" y="62865"/>
                    <a:pt x="21908" y="73343"/>
                  </a:cubicBezTo>
                  <a:cubicBezTo>
                    <a:pt x="32385" y="86678"/>
                    <a:pt x="45720" y="96203"/>
                    <a:pt x="60960" y="103823"/>
                  </a:cubicBezTo>
                  <a:cubicBezTo>
                    <a:pt x="66675" y="106680"/>
                    <a:pt x="74295" y="109538"/>
                    <a:pt x="82868" y="110490"/>
                  </a:cubicBezTo>
                  <a:cubicBezTo>
                    <a:pt x="83820" y="110490"/>
                    <a:pt x="83820" y="110490"/>
                    <a:pt x="84773" y="110490"/>
                  </a:cubicBezTo>
                  <a:cubicBezTo>
                    <a:pt x="90488" y="110490"/>
                    <a:pt x="95250" y="108585"/>
                    <a:pt x="99060" y="104775"/>
                  </a:cubicBezTo>
                  <a:cubicBezTo>
                    <a:pt x="99060" y="104775"/>
                    <a:pt x="99060" y="104775"/>
                    <a:pt x="99060" y="104775"/>
                  </a:cubicBezTo>
                  <a:cubicBezTo>
                    <a:pt x="100013" y="102870"/>
                    <a:pt x="101918" y="101918"/>
                    <a:pt x="103823" y="100013"/>
                  </a:cubicBezTo>
                  <a:cubicBezTo>
                    <a:pt x="104775" y="99060"/>
                    <a:pt x="105728" y="98108"/>
                    <a:pt x="106680" y="97155"/>
                  </a:cubicBezTo>
                  <a:cubicBezTo>
                    <a:pt x="110490" y="91440"/>
                    <a:pt x="110490" y="84773"/>
                    <a:pt x="105728" y="80010"/>
                  </a:cubicBezTo>
                  <a:close/>
                  <a:moveTo>
                    <a:pt x="101918" y="92393"/>
                  </a:moveTo>
                  <a:cubicBezTo>
                    <a:pt x="100965" y="93345"/>
                    <a:pt x="100013" y="94298"/>
                    <a:pt x="99060" y="95250"/>
                  </a:cubicBezTo>
                  <a:cubicBezTo>
                    <a:pt x="97155" y="97155"/>
                    <a:pt x="96203" y="98108"/>
                    <a:pt x="94298" y="100013"/>
                  </a:cubicBezTo>
                  <a:cubicBezTo>
                    <a:pt x="91440" y="102870"/>
                    <a:pt x="88583" y="103823"/>
                    <a:pt x="84773" y="103823"/>
                  </a:cubicBezTo>
                  <a:cubicBezTo>
                    <a:pt x="84773" y="103823"/>
                    <a:pt x="83820" y="103823"/>
                    <a:pt x="83820" y="103823"/>
                  </a:cubicBezTo>
                  <a:cubicBezTo>
                    <a:pt x="76200" y="102870"/>
                    <a:pt x="69533" y="100013"/>
                    <a:pt x="63818" y="98108"/>
                  </a:cubicBezTo>
                  <a:cubicBezTo>
                    <a:pt x="49530" y="91440"/>
                    <a:pt x="37148" y="81915"/>
                    <a:pt x="26670" y="69533"/>
                  </a:cubicBezTo>
                  <a:cubicBezTo>
                    <a:pt x="18098" y="59055"/>
                    <a:pt x="12383" y="49530"/>
                    <a:pt x="8573" y="40005"/>
                  </a:cubicBezTo>
                  <a:cubicBezTo>
                    <a:pt x="5715" y="33338"/>
                    <a:pt x="5715" y="28575"/>
                    <a:pt x="5715" y="23813"/>
                  </a:cubicBezTo>
                  <a:cubicBezTo>
                    <a:pt x="5715" y="20955"/>
                    <a:pt x="7620" y="18098"/>
                    <a:pt x="9525" y="16193"/>
                  </a:cubicBezTo>
                  <a:lnTo>
                    <a:pt x="18098" y="7620"/>
                  </a:lnTo>
                  <a:cubicBezTo>
                    <a:pt x="19050" y="6668"/>
                    <a:pt x="20955" y="5715"/>
                    <a:pt x="21908" y="5715"/>
                  </a:cubicBezTo>
                  <a:cubicBezTo>
                    <a:pt x="22860" y="5715"/>
                    <a:pt x="24765" y="6668"/>
                    <a:pt x="25718" y="7620"/>
                  </a:cubicBezTo>
                  <a:cubicBezTo>
                    <a:pt x="27623" y="8573"/>
                    <a:pt x="28575" y="10478"/>
                    <a:pt x="30480" y="12383"/>
                  </a:cubicBezTo>
                  <a:cubicBezTo>
                    <a:pt x="31433" y="13335"/>
                    <a:pt x="32385" y="14288"/>
                    <a:pt x="32385" y="15240"/>
                  </a:cubicBezTo>
                  <a:lnTo>
                    <a:pt x="39053" y="21908"/>
                  </a:lnTo>
                  <a:cubicBezTo>
                    <a:pt x="40005" y="22860"/>
                    <a:pt x="40958" y="24765"/>
                    <a:pt x="40958" y="25718"/>
                  </a:cubicBezTo>
                  <a:cubicBezTo>
                    <a:pt x="40958" y="26670"/>
                    <a:pt x="40005" y="28575"/>
                    <a:pt x="39053" y="29528"/>
                  </a:cubicBezTo>
                  <a:cubicBezTo>
                    <a:pt x="39053" y="30480"/>
                    <a:pt x="38100" y="31433"/>
                    <a:pt x="38100" y="32385"/>
                  </a:cubicBezTo>
                  <a:cubicBezTo>
                    <a:pt x="35243" y="34290"/>
                    <a:pt x="33338" y="36195"/>
                    <a:pt x="31433" y="38100"/>
                  </a:cubicBezTo>
                  <a:cubicBezTo>
                    <a:pt x="31433" y="38100"/>
                    <a:pt x="31433" y="38100"/>
                    <a:pt x="31433" y="38100"/>
                  </a:cubicBezTo>
                  <a:cubicBezTo>
                    <a:pt x="29528" y="40005"/>
                    <a:pt x="29528" y="41910"/>
                    <a:pt x="30480" y="42863"/>
                  </a:cubicBezTo>
                  <a:cubicBezTo>
                    <a:pt x="30480" y="42863"/>
                    <a:pt x="30480" y="42863"/>
                    <a:pt x="30480" y="42863"/>
                  </a:cubicBezTo>
                  <a:cubicBezTo>
                    <a:pt x="32385" y="47625"/>
                    <a:pt x="34290" y="51435"/>
                    <a:pt x="38100" y="56198"/>
                  </a:cubicBezTo>
                  <a:cubicBezTo>
                    <a:pt x="44768" y="64770"/>
                    <a:pt x="52388" y="71438"/>
                    <a:pt x="60008" y="76200"/>
                  </a:cubicBezTo>
                  <a:cubicBezTo>
                    <a:pt x="60960" y="77153"/>
                    <a:pt x="61913" y="77153"/>
                    <a:pt x="62865" y="78105"/>
                  </a:cubicBezTo>
                  <a:cubicBezTo>
                    <a:pt x="63818" y="78105"/>
                    <a:pt x="64770" y="79058"/>
                    <a:pt x="65723" y="79058"/>
                  </a:cubicBezTo>
                  <a:cubicBezTo>
                    <a:pt x="65723" y="79058"/>
                    <a:pt x="65723" y="79058"/>
                    <a:pt x="65723" y="79058"/>
                  </a:cubicBezTo>
                  <a:cubicBezTo>
                    <a:pt x="66675" y="79058"/>
                    <a:pt x="67628" y="80010"/>
                    <a:pt x="67628" y="80010"/>
                  </a:cubicBezTo>
                  <a:cubicBezTo>
                    <a:pt x="69533" y="80010"/>
                    <a:pt x="70485" y="79058"/>
                    <a:pt x="71438" y="78105"/>
                  </a:cubicBezTo>
                  <a:lnTo>
                    <a:pt x="80010" y="69533"/>
                  </a:lnTo>
                  <a:cubicBezTo>
                    <a:pt x="80963" y="68580"/>
                    <a:pt x="82868" y="67628"/>
                    <a:pt x="83820" y="67628"/>
                  </a:cubicBezTo>
                  <a:cubicBezTo>
                    <a:pt x="85725" y="67628"/>
                    <a:pt x="86678" y="68580"/>
                    <a:pt x="87630" y="69533"/>
                  </a:cubicBezTo>
                  <a:lnTo>
                    <a:pt x="100965" y="82868"/>
                  </a:lnTo>
                  <a:cubicBezTo>
                    <a:pt x="104775" y="86678"/>
                    <a:pt x="104775" y="89535"/>
                    <a:pt x="101918" y="92393"/>
                  </a:cubicBezTo>
                  <a:close/>
                </a:path>
              </a:pathLst>
            </a:custGeom>
            <a:solidFill>
              <a:srgbClr val="3A5C7D"/>
            </a:solidFill>
            <a:ln w="9525" cap="flat">
              <a:noFill/>
              <a:prstDash val="solid"/>
              <a:miter/>
            </a:ln>
          </p:spPr>
          <p:txBody>
            <a:bodyPr rtlCol="0" anchor="ctr"/>
            <a:lstStyle/>
            <a:p>
              <a:endParaRPr lang="de-DE"/>
            </a:p>
          </p:txBody>
        </p:sp>
      </p:grpSp>
      <p:sp>
        <p:nvSpPr>
          <p:cNvPr id="2" name="Titel 1">
            <a:extLst>
              <a:ext uri="{FF2B5EF4-FFF2-40B4-BE49-F238E27FC236}">
                <a16:creationId xmlns:a16="http://schemas.microsoft.com/office/drawing/2014/main" id="{0526DC72-FA1D-422D-8055-3374742D122B}"/>
              </a:ext>
            </a:extLst>
          </p:cNvPr>
          <p:cNvSpPr>
            <a:spLocks noGrp="1"/>
          </p:cNvSpPr>
          <p:nvPr>
            <p:ph type="title"/>
          </p:nvPr>
        </p:nvSpPr>
        <p:spPr/>
        <p:txBody>
          <a:bodyPr/>
          <a:lstStyle>
            <a:lvl1pPr>
              <a:lnSpc>
                <a:spcPct val="100000"/>
              </a:lnSpc>
              <a:defRPr/>
            </a:lvl1pPr>
          </a:lstStyle>
          <a:p>
            <a:r>
              <a:rPr lang="de-DE"/>
              <a:t>Mastertitelformat bearbeiten</a:t>
            </a:r>
          </a:p>
        </p:txBody>
      </p:sp>
      <p:sp>
        <p:nvSpPr>
          <p:cNvPr id="3" name="Foliennummernplatzhalter 2">
            <a:extLst>
              <a:ext uri="{FF2B5EF4-FFF2-40B4-BE49-F238E27FC236}">
                <a16:creationId xmlns:a16="http://schemas.microsoft.com/office/drawing/2014/main" id="{5B327254-466C-4606-8589-BCC72CBDADDF}"/>
              </a:ext>
            </a:extLst>
          </p:cNvPr>
          <p:cNvSpPr>
            <a:spLocks noGrp="1"/>
          </p:cNvSpPr>
          <p:nvPr>
            <p:ph type="sldNum" sz="quarter" idx="10"/>
          </p:nvPr>
        </p:nvSpPr>
        <p:spPr/>
        <p:txBody>
          <a:bodyPr/>
          <a:lstStyle/>
          <a:p>
            <a:fld id="{A04BEB4F-8CE1-4F18-986F-6CE0A0BE9470}" type="slidenum">
              <a:rPr lang="de-DE" smtClean="0"/>
              <a:t>‹#›</a:t>
            </a:fld>
            <a:endParaRPr lang="de-DE"/>
          </a:p>
        </p:txBody>
      </p:sp>
      <p:sp>
        <p:nvSpPr>
          <p:cNvPr id="244" name="Bildplatzhalter 243">
            <a:extLst>
              <a:ext uri="{FF2B5EF4-FFF2-40B4-BE49-F238E27FC236}">
                <a16:creationId xmlns:a16="http://schemas.microsoft.com/office/drawing/2014/main" id="{BEFA9F10-608F-4384-8CB7-67B15BA77E30}"/>
              </a:ext>
            </a:extLst>
          </p:cNvPr>
          <p:cNvSpPr>
            <a:spLocks noGrp="1"/>
          </p:cNvSpPr>
          <p:nvPr>
            <p:ph type="pic" sz="quarter" idx="11" hasCustomPrompt="1"/>
          </p:nvPr>
        </p:nvSpPr>
        <p:spPr>
          <a:xfrm>
            <a:off x="815952" y="1979612"/>
            <a:ext cx="3677602" cy="3677602"/>
          </a:xfrm>
          <a:custGeom>
            <a:avLst/>
            <a:gdLst>
              <a:gd name="connsiteX0" fmla="*/ 161297 w 3677602"/>
              <a:gd name="connsiteY0" fmla="*/ 0 h 3677602"/>
              <a:gd name="connsiteX1" fmla="*/ 3677602 w 3677602"/>
              <a:gd name="connsiteY1" fmla="*/ 0 h 3677602"/>
              <a:gd name="connsiteX2" fmla="*/ 3677602 w 3677602"/>
              <a:gd name="connsiteY2" fmla="*/ 1627609 h 3677602"/>
              <a:gd name="connsiteX3" fmla="*/ 3677602 w 3677602"/>
              <a:gd name="connsiteY3" fmla="*/ 1851070 h 3677602"/>
              <a:gd name="connsiteX4" fmla="*/ 3677602 w 3677602"/>
              <a:gd name="connsiteY4" fmla="*/ 3487700 h 3677602"/>
              <a:gd name="connsiteX5" fmla="*/ 3676079 w 3677602"/>
              <a:gd name="connsiteY5" fmla="*/ 3504386 h 3677602"/>
              <a:gd name="connsiteX6" fmla="*/ 3506882 w 3677602"/>
              <a:gd name="connsiteY6" fmla="*/ 3674433 h 3677602"/>
              <a:gd name="connsiteX7" fmla="*/ 3475439 w 3677602"/>
              <a:gd name="connsiteY7" fmla="*/ 3677602 h 3677602"/>
              <a:gd name="connsiteX8" fmla="*/ 0 w 3677602"/>
              <a:gd name="connsiteY8" fmla="*/ 3677602 h 3677602"/>
              <a:gd name="connsiteX9" fmla="*/ 0 w 3677602"/>
              <a:gd name="connsiteY9" fmla="*/ 1851070 h 3677602"/>
              <a:gd name="connsiteX10" fmla="*/ 0 w 3677602"/>
              <a:gd name="connsiteY10" fmla="*/ 1627609 h 3677602"/>
              <a:gd name="connsiteX11" fmla="*/ 0 w 3677602"/>
              <a:gd name="connsiteY11" fmla="*/ 166948 h 3677602"/>
              <a:gd name="connsiteX12" fmla="*/ 23 w 3677602"/>
              <a:gd name="connsiteY12" fmla="*/ 166723 h 3677602"/>
              <a:gd name="connsiteX13" fmla="*/ 128514 w 3677602"/>
              <a:gd name="connsiteY13" fmla="*/ 10240 h 3677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77601" h="3677601">
                <a:moveTo>
                  <a:pt x="161297" y="0"/>
                </a:moveTo>
                <a:lnTo>
                  <a:pt x="3677602" y="0"/>
                </a:lnTo>
                <a:lnTo>
                  <a:pt x="3677602" y="1627609"/>
                </a:lnTo>
                <a:lnTo>
                  <a:pt x="3677602" y="1851070"/>
                </a:lnTo>
                <a:lnTo>
                  <a:pt x="3677602" y="3487700"/>
                </a:lnTo>
                <a:lnTo>
                  <a:pt x="3676079" y="3504386"/>
                </a:lnTo>
                <a:cubicBezTo>
                  <a:pt x="3659344" y="3589744"/>
                  <a:pt x="3592225" y="3656968"/>
                  <a:pt x="3506882" y="3674433"/>
                </a:cubicBezTo>
                <a:lnTo>
                  <a:pt x="3475439" y="3677602"/>
                </a:lnTo>
                <a:lnTo>
                  <a:pt x="0" y="3677602"/>
                </a:lnTo>
                <a:lnTo>
                  <a:pt x="0" y="1851070"/>
                </a:lnTo>
                <a:lnTo>
                  <a:pt x="0" y="1627609"/>
                </a:lnTo>
                <a:lnTo>
                  <a:pt x="0" y="166948"/>
                </a:lnTo>
                <a:lnTo>
                  <a:pt x="23" y="166723"/>
                </a:lnTo>
                <a:cubicBezTo>
                  <a:pt x="14564" y="96199"/>
                  <a:pt x="63599" y="37834"/>
                  <a:pt x="128514" y="10240"/>
                </a:cubicBezTo>
                <a:close/>
              </a:path>
            </a:pathLst>
          </a:custGeom>
          <a:effectLst>
            <a:outerShdw blurRad="190500" dist="127000" algn="ctr" rotWithShape="0">
              <a:prstClr val="black">
                <a:alpha val="10000"/>
              </a:prstClr>
            </a:outerShdw>
          </a:effectLst>
        </p:spPr>
        <p:txBody>
          <a:bodyPr wrap="square">
            <a:noAutofit/>
          </a:bodyPr>
          <a:lstStyle>
            <a:lvl1pPr marL="0" marR="0" indent="0" algn="l" defTabSz="1644650" rtl="0" eaLnBrk="0" fontAlgn="base" latinLnBrk="0" hangingPunct="0">
              <a:lnSpc>
                <a:spcPct val="130000"/>
              </a:lnSpc>
              <a:spcBef>
                <a:spcPct val="0"/>
              </a:spcBef>
              <a:spcAft>
                <a:spcPts val="1200"/>
              </a:spcAft>
              <a:buClr>
                <a:srgbClr val="004C99"/>
              </a:buClr>
              <a:buSzPct val="120000"/>
              <a:buFontTx/>
              <a:buBlip>
                <a:blip r:embed="rId2"/>
              </a:buBlip>
              <a:defRPr/>
            </a:lvl1pPr>
            <a:lvl2pPr marL="344488" indent="0" algn="l">
              <a:buNone/>
              <a:defRPr/>
            </a:lvl2pPr>
            <a:lvl3pPr marL="990600" marR="0" indent="-285750" algn="l" defTabSz="1644650" rtl="0" eaLnBrk="0" fontAlgn="base" latinLnBrk="0" hangingPunct="0">
              <a:lnSpc>
                <a:spcPct val="130000"/>
              </a:lnSpc>
              <a:spcBef>
                <a:spcPct val="0"/>
              </a:spcBef>
              <a:spcAft>
                <a:spcPts val="1200"/>
              </a:spcAft>
              <a:buClr>
                <a:srgbClr val="004C99"/>
              </a:buClr>
              <a:buSzPct val="120000"/>
              <a:defRPr/>
            </a:lvl3pPr>
          </a:lstStyle>
          <a:p>
            <a:pPr marL="285750" marR="0" lvl="0" indent="-285750" algn="l" defTabSz="1644650" rtl="0" eaLnBrk="0" fontAlgn="base" latinLnBrk="0" hangingPunct="0">
              <a:lnSpc>
                <a:spcPct val="130000"/>
              </a:lnSpc>
              <a:spcBef>
                <a:spcPct val="0"/>
              </a:spcBef>
              <a:spcAft>
                <a:spcPts val="1200"/>
              </a:spcAft>
              <a:buClr>
                <a:srgbClr val="004C99"/>
              </a:buClr>
              <a:buSzPct val="120000"/>
              <a:defRPr/>
            </a:pPr>
            <a:r>
              <a:rPr lang="de-DE"/>
              <a:t>Please insert image</a:t>
            </a:r>
          </a:p>
        </p:txBody>
      </p:sp>
      <p:sp>
        <p:nvSpPr>
          <p:cNvPr id="19" name="Textplatzhalter 16">
            <a:extLst>
              <a:ext uri="{FF2B5EF4-FFF2-40B4-BE49-F238E27FC236}">
                <a16:creationId xmlns:a16="http://schemas.microsoft.com/office/drawing/2014/main" id="{93A96B82-B2E7-4ED9-BED8-958994003381}"/>
              </a:ext>
            </a:extLst>
          </p:cNvPr>
          <p:cNvSpPr>
            <a:spLocks noGrp="1"/>
          </p:cNvSpPr>
          <p:nvPr>
            <p:ph type="body" sz="quarter" idx="12" hasCustomPrompt="1"/>
          </p:nvPr>
        </p:nvSpPr>
        <p:spPr>
          <a:xfrm>
            <a:off x="4815065" y="1979612"/>
            <a:ext cx="6560982" cy="508000"/>
          </a:xfrm>
        </p:spPr>
        <p:txBody>
          <a:bodyPr/>
          <a:lstStyle>
            <a:lvl1pPr marL="0" indent="0">
              <a:buNone/>
              <a:defRPr b="0">
                <a:latin typeface="Roboto Medium" panose="02000000000000000000" pitchFamily="2" charset="0"/>
                <a:ea typeface="Roboto Medium" panose="02000000000000000000" pitchFamily="2" charset="0"/>
              </a:defRPr>
            </a:lvl1pPr>
          </a:lstStyle>
          <a:p>
            <a:pPr lvl="0"/>
            <a:r>
              <a:rPr lang="de-DE"/>
              <a:t>Enter name</a:t>
            </a:r>
          </a:p>
        </p:txBody>
      </p:sp>
      <p:sp>
        <p:nvSpPr>
          <p:cNvPr id="20" name="Textplatzhalter 16">
            <a:extLst>
              <a:ext uri="{FF2B5EF4-FFF2-40B4-BE49-F238E27FC236}">
                <a16:creationId xmlns:a16="http://schemas.microsoft.com/office/drawing/2014/main" id="{142F198E-1DB4-4E63-A2C7-0A4547AC0674}"/>
              </a:ext>
            </a:extLst>
          </p:cNvPr>
          <p:cNvSpPr>
            <a:spLocks noGrp="1"/>
          </p:cNvSpPr>
          <p:nvPr>
            <p:ph type="body" sz="quarter" idx="13" hasCustomPrompt="1"/>
          </p:nvPr>
        </p:nvSpPr>
        <p:spPr>
          <a:xfrm>
            <a:off x="4815065" y="2601912"/>
            <a:ext cx="6560982" cy="1250110"/>
          </a:xfrm>
        </p:spPr>
        <p:txBody>
          <a:bodyPr>
            <a:normAutofit/>
          </a:bodyPr>
          <a:lstStyle>
            <a:lvl1pPr marL="0" indent="0">
              <a:buNone/>
              <a:defRPr sz="1800" baseline="0">
                <a:solidFill>
                  <a:schemeClr val="tx1"/>
                </a:solidFill>
                <a:latin typeface="+mn-lt"/>
                <a:ea typeface="Roboto Medium" panose="02000000000000000000" pitchFamily="2" charset="0"/>
              </a:defRPr>
            </a:lvl1pPr>
          </a:lstStyle>
          <a:p>
            <a:pPr lvl="0"/>
            <a:r>
              <a:rPr lang="de-DE"/>
              <a:t>Enter job title and adress</a:t>
            </a:r>
          </a:p>
        </p:txBody>
      </p:sp>
      <p:sp>
        <p:nvSpPr>
          <p:cNvPr id="27" name="Textplatzhalter 16">
            <a:extLst>
              <a:ext uri="{FF2B5EF4-FFF2-40B4-BE49-F238E27FC236}">
                <a16:creationId xmlns:a16="http://schemas.microsoft.com/office/drawing/2014/main" id="{7014F03A-61A7-4B14-B49F-D025A3D18EC3}"/>
              </a:ext>
            </a:extLst>
          </p:cNvPr>
          <p:cNvSpPr>
            <a:spLocks noGrp="1"/>
          </p:cNvSpPr>
          <p:nvPr>
            <p:ph type="body" sz="quarter" idx="14" hasCustomPrompt="1"/>
          </p:nvPr>
        </p:nvSpPr>
        <p:spPr>
          <a:xfrm>
            <a:off x="5561269" y="4045011"/>
            <a:ext cx="5814777" cy="421976"/>
          </a:xfrm>
        </p:spPr>
        <p:txBody>
          <a:bodyPr anchor="ctr">
            <a:normAutofit/>
          </a:bodyPr>
          <a:lstStyle>
            <a:lvl1pPr marL="0" indent="0">
              <a:buNone/>
              <a:defRPr sz="1800">
                <a:solidFill>
                  <a:schemeClr val="tx1"/>
                </a:solidFill>
                <a:latin typeface="+mn-lt"/>
                <a:ea typeface="Roboto Medium" panose="02000000000000000000" pitchFamily="2" charset="0"/>
              </a:defRPr>
            </a:lvl1pPr>
          </a:lstStyle>
          <a:p>
            <a:pPr lvl="0"/>
            <a:r>
              <a:rPr lang="de-DE"/>
              <a:t>Enter phone</a:t>
            </a:r>
          </a:p>
        </p:txBody>
      </p:sp>
      <p:sp>
        <p:nvSpPr>
          <p:cNvPr id="28" name="Textplatzhalter 16">
            <a:extLst>
              <a:ext uri="{FF2B5EF4-FFF2-40B4-BE49-F238E27FC236}">
                <a16:creationId xmlns:a16="http://schemas.microsoft.com/office/drawing/2014/main" id="{903F4678-5805-4A88-8976-545B16AEBDEC}"/>
              </a:ext>
            </a:extLst>
          </p:cNvPr>
          <p:cNvSpPr>
            <a:spLocks noGrp="1"/>
          </p:cNvSpPr>
          <p:nvPr>
            <p:ph type="body" sz="quarter" idx="15" hasCustomPrompt="1"/>
          </p:nvPr>
        </p:nvSpPr>
        <p:spPr>
          <a:xfrm>
            <a:off x="5561270" y="4590192"/>
            <a:ext cx="5814776" cy="421976"/>
          </a:xfrm>
        </p:spPr>
        <p:txBody>
          <a:bodyPr anchor="ctr">
            <a:normAutofit/>
          </a:bodyPr>
          <a:lstStyle>
            <a:lvl1pPr marL="0" indent="0">
              <a:buNone/>
              <a:defRPr sz="1800">
                <a:solidFill>
                  <a:schemeClr val="tx1"/>
                </a:solidFill>
                <a:latin typeface="+mn-lt"/>
                <a:ea typeface="Roboto Medium" panose="02000000000000000000" pitchFamily="2" charset="0"/>
              </a:defRPr>
            </a:lvl1pPr>
          </a:lstStyle>
          <a:p>
            <a:pPr lvl="0"/>
            <a:r>
              <a:rPr lang="de-DE"/>
              <a:t>Enter email</a:t>
            </a:r>
          </a:p>
        </p:txBody>
      </p:sp>
    </p:spTree>
    <p:extLst>
      <p:ext uri="{BB962C8B-B14F-4D97-AF65-F5344CB8AC3E}">
        <p14:creationId xmlns:p14="http://schemas.microsoft.com/office/powerpoint/2010/main" val="2330038560"/>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8" dur="1000" decel="10000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0-#ppt_w/2"/>
                                          </p:val>
                                        </p:tav>
                                        <p:tav tm="100000">
                                          <p:val>
                                            <p:strVal val="#ppt_x"/>
                                          </p:val>
                                        </p:tav>
                                      </p:tavLst>
                                    </p:anim>
                                    <p:anim calcmode="lin" valueType="num">
                                      <p:cBhvr additive="base">
                                        <p:cTn id="8" dur="1000" fill="hold"/>
                                        <p:tgtEl>
                                          <p:spTgt spid="2"/>
                                        </p:tgtEl>
                                        <p:attrNameLst>
                                          <p:attrName>ppt_y</p:attrName>
                                        </p:attrNameLst>
                                      </p:cBhvr>
                                      <p:tavLst>
                                        <p:tav tm="0">
                                          <p:val>
                                            <p:strVal val="#ppt_y"/>
                                          </p:val>
                                        </p:tav>
                                        <p:tav tm="100000">
                                          <p:val>
                                            <p:strVal val="#ppt_y"/>
                                          </p:val>
                                        </p:tav>
                                      </p:tavLst>
                                    </p:anim>
                                  </p:childTnLst>
                                </p:cTn>
                              </p:par>
                              <p:par>
                                <p:cTn id="9" presetID="2" presetClass="entr" presetSubtype="2" dur="1000" decel="100000" fill="hold" grpId="0" nodeType="withEffect">
                                  <p:stCondLst>
                                    <p:cond delay="250"/>
                                  </p:stCondLst>
                                  <p:childTnLst>
                                    <p:set>
                                      <p:cBhvr>
                                        <p:cTn id="10" dur="1" fill="hold">
                                          <p:stCondLst>
                                            <p:cond delay="0"/>
                                          </p:stCondLst>
                                        </p:cTn>
                                        <p:tgtEl>
                                          <p:spTgt spid="19"/>
                                        </p:tgtEl>
                                        <p:attrNameLst>
                                          <p:attrName>style.visibility</p:attrName>
                                        </p:attrNameLst>
                                      </p:cBhvr>
                                      <p:to>
                                        <p:strVal val="visible"/>
                                      </p:to>
                                    </p:set>
                                    <p:anim calcmode="lin" valueType="num">
                                      <p:cBhvr additive="base">
                                        <p:cTn id="11" dur="1000" fill="hold"/>
                                        <p:tgtEl>
                                          <p:spTgt spid="19"/>
                                        </p:tgtEl>
                                        <p:attrNameLst>
                                          <p:attrName>ppt_x</p:attrName>
                                        </p:attrNameLst>
                                      </p:cBhvr>
                                      <p:tavLst>
                                        <p:tav tm="0">
                                          <p:val>
                                            <p:strVal val="1+#ppt_w/2"/>
                                          </p:val>
                                        </p:tav>
                                        <p:tav tm="100000">
                                          <p:val>
                                            <p:strVal val="#ppt_x"/>
                                          </p:val>
                                        </p:tav>
                                      </p:tavLst>
                                    </p:anim>
                                    <p:anim calcmode="lin" valueType="num">
                                      <p:cBhvr additive="base">
                                        <p:cTn id="12" dur="1000" fill="hold"/>
                                        <p:tgtEl>
                                          <p:spTgt spid="19"/>
                                        </p:tgtEl>
                                        <p:attrNameLst>
                                          <p:attrName>ppt_y</p:attrName>
                                        </p:attrNameLst>
                                      </p:cBhvr>
                                      <p:tavLst>
                                        <p:tav tm="0">
                                          <p:val>
                                            <p:strVal val="#ppt_y"/>
                                          </p:val>
                                        </p:tav>
                                        <p:tav tm="100000">
                                          <p:val>
                                            <p:strVal val="#ppt_y"/>
                                          </p:val>
                                        </p:tav>
                                      </p:tavLst>
                                    </p:anim>
                                  </p:childTnLst>
                                </p:cTn>
                              </p:par>
                              <p:par>
                                <p:cTn id="13" presetID="2" presetClass="entr" presetSubtype="2" dur="1000" decel="100000" fill="hold" grpId="0" nodeType="withEffect">
                                  <p:stCondLst>
                                    <p:cond delay="250"/>
                                  </p:stCondLst>
                                  <p:childTnLst>
                                    <p:set>
                                      <p:cBhvr>
                                        <p:cTn id="14" dur="1" fill="hold">
                                          <p:stCondLst>
                                            <p:cond delay="0"/>
                                          </p:stCondLst>
                                        </p:cTn>
                                        <p:tgtEl>
                                          <p:spTgt spid="20"/>
                                        </p:tgtEl>
                                        <p:attrNameLst>
                                          <p:attrName>style.visibility</p:attrName>
                                        </p:attrNameLst>
                                      </p:cBhvr>
                                      <p:to>
                                        <p:strVal val="visible"/>
                                      </p:to>
                                    </p:set>
                                    <p:anim calcmode="lin" valueType="num">
                                      <p:cBhvr additive="base">
                                        <p:cTn id="15" dur="1000" fill="hold"/>
                                        <p:tgtEl>
                                          <p:spTgt spid="20"/>
                                        </p:tgtEl>
                                        <p:attrNameLst>
                                          <p:attrName>ppt_x</p:attrName>
                                        </p:attrNameLst>
                                      </p:cBhvr>
                                      <p:tavLst>
                                        <p:tav tm="0">
                                          <p:val>
                                            <p:strVal val="1+#ppt_w/2"/>
                                          </p:val>
                                        </p:tav>
                                        <p:tav tm="100000">
                                          <p:val>
                                            <p:strVal val="#ppt_x"/>
                                          </p:val>
                                        </p:tav>
                                      </p:tavLst>
                                    </p:anim>
                                    <p:anim calcmode="lin" valueType="num">
                                      <p:cBhvr additive="base">
                                        <p:cTn id="16" dur="1000" fill="hold"/>
                                        <p:tgtEl>
                                          <p:spTgt spid="20"/>
                                        </p:tgtEl>
                                        <p:attrNameLst>
                                          <p:attrName>ppt_y</p:attrName>
                                        </p:attrNameLst>
                                      </p:cBhvr>
                                      <p:tavLst>
                                        <p:tav tm="0">
                                          <p:val>
                                            <p:strVal val="#ppt_y"/>
                                          </p:val>
                                        </p:tav>
                                        <p:tav tm="100000">
                                          <p:val>
                                            <p:strVal val="#ppt_y"/>
                                          </p:val>
                                        </p:tav>
                                      </p:tavLst>
                                    </p:anim>
                                  </p:childTnLst>
                                </p:cTn>
                              </p:par>
                              <p:par>
                                <p:cTn id="17" presetID="2" presetClass="entr" presetSubtype="2" dur="1000" decel="100000" fill="hold" nodeType="withEffect">
                                  <p:stCondLst>
                                    <p:cond delay="250"/>
                                  </p:stCondLst>
                                  <p:childTnLst>
                                    <p:set>
                                      <p:cBhvr>
                                        <p:cTn id="18" dur="1" fill="hold">
                                          <p:stCondLst>
                                            <p:cond delay="0"/>
                                          </p:stCondLst>
                                        </p:cTn>
                                        <p:tgtEl>
                                          <p:spTgt spid="36"/>
                                        </p:tgtEl>
                                        <p:attrNameLst>
                                          <p:attrName>style.visibility</p:attrName>
                                        </p:attrNameLst>
                                      </p:cBhvr>
                                      <p:to>
                                        <p:strVal val="visible"/>
                                      </p:to>
                                    </p:set>
                                    <p:anim calcmode="lin" valueType="num">
                                      <p:cBhvr additive="base">
                                        <p:cTn id="19" dur="1000" fill="hold"/>
                                        <p:tgtEl>
                                          <p:spTgt spid="36"/>
                                        </p:tgtEl>
                                        <p:attrNameLst>
                                          <p:attrName>ppt_x</p:attrName>
                                        </p:attrNameLst>
                                      </p:cBhvr>
                                      <p:tavLst>
                                        <p:tav tm="0">
                                          <p:val>
                                            <p:strVal val="1+#ppt_w/2"/>
                                          </p:val>
                                        </p:tav>
                                        <p:tav tm="100000">
                                          <p:val>
                                            <p:strVal val="#ppt_x"/>
                                          </p:val>
                                        </p:tav>
                                      </p:tavLst>
                                    </p:anim>
                                    <p:anim calcmode="lin" valueType="num">
                                      <p:cBhvr additive="base">
                                        <p:cTn id="20" dur="1000" fill="hold"/>
                                        <p:tgtEl>
                                          <p:spTgt spid="36"/>
                                        </p:tgtEl>
                                        <p:attrNameLst>
                                          <p:attrName>ppt_y</p:attrName>
                                        </p:attrNameLst>
                                      </p:cBhvr>
                                      <p:tavLst>
                                        <p:tav tm="0">
                                          <p:val>
                                            <p:strVal val="#ppt_y"/>
                                          </p:val>
                                        </p:tav>
                                        <p:tav tm="100000">
                                          <p:val>
                                            <p:strVal val="#ppt_y"/>
                                          </p:val>
                                        </p:tav>
                                      </p:tavLst>
                                    </p:anim>
                                  </p:childTnLst>
                                </p:cTn>
                              </p:par>
                              <p:par>
                                <p:cTn id="21" presetID="2" presetClass="entr" presetSubtype="2" dur="1000" decel="100000" fill="hold" nodeType="withEffect">
                                  <p:stCondLst>
                                    <p:cond delay="250"/>
                                  </p:stCondLst>
                                  <p:childTnLst>
                                    <p:set>
                                      <p:cBhvr>
                                        <p:cTn id="22" dur="1" fill="hold">
                                          <p:stCondLst>
                                            <p:cond delay="0"/>
                                          </p:stCondLst>
                                        </p:cTn>
                                        <p:tgtEl>
                                          <p:spTgt spid="39"/>
                                        </p:tgtEl>
                                        <p:attrNameLst>
                                          <p:attrName>style.visibility</p:attrName>
                                        </p:attrNameLst>
                                      </p:cBhvr>
                                      <p:to>
                                        <p:strVal val="visible"/>
                                      </p:to>
                                    </p:set>
                                    <p:anim calcmode="lin" valueType="num">
                                      <p:cBhvr additive="base">
                                        <p:cTn id="23" dur="1000" fill="hold"/>
                                        <p:tgtEl>
                                          <p:spTgt spid="39"/>
                                        </p:tgtEl>
                                        <p:attrNameLst>
                                          <p:attrName>ppt_x</p:attrName>
                                        </p:attrNameLst>
                                      </p:cBhvr>
                                      <p:tavLst>
                                        <p:tav tm="0">
                                          <p:val>
                                            <p:strVal val="1+#ppt_w/2"/>
                                          </p:val>
                                        </p:tav>
                                        <p:tav tm="100000">
                                          <p:val>
                                            <p:strVal val="#ppt_x"/>
                                          </p:val>
                                        </p:tav>
                                      </p:tavLst>
                                    </p:anim>
                                    <p:anim calcmode="lin" valueType="num">
                                      <p:cBhvr additive="base">
                                        <p:cTn id="24" dur="1000" fill="hold"/>
                                        <p:tgtEl>
                                          <p:spTgt spid="39"/>
                                        </p:tgtEl>
                                        <p:attrNameLst>
                                          <p:attrName>ppt_y</p:attrName>
                                        </p:attrNameLst>
                                      </p:cBhvr>
                                      <p:tavLst>
                                        <p:tav tm="0">
                                          <p:val>
                                            <p:strVal val="#ppt_y"/>
                                          </p:val>
                                        </p:tav>
                                        <p:tav tm="100000">
                                          <p:val>
                                            <p:strVal val="#ppt_y"/>
                                          </p:val>
                                        </p:tav>
                                      </p:tavLst>
                                    </p:anim>
                                  </p:childTnLst>
                                </p:cTn>
                              </p:par>
                              <p:par>
                                <p:cTn id="25" presetID="2" presetClass="entr" presetSubtype="2" dur="1000" decel="100000" fill="hold" grpId="0" nodeType="withEffect">
                                  <p:stCondLst>
                                    <p:cond delay="250"/>
                                  </p:stCondLst>
                                  <p:childTnLst>
                                    <p:set>
                                      <p:cBhvr>
                                        <p:cTn id="26" dur="1" fill="hold">
                                          <p:stCondLst>
                                            <p:cond delay="0"/>
                                          </p:stCondLst>
                                        </p:cTn>
                                        <p:tgtEl>
                                          <p:spTgt spid="27">
                                            <p:txEl>
                                              <p:pRg st="0" end="0"/>
                                            </p:txEl>
                                          </p:spTgt>
                                        </p:tgtEl>
                                        <p:attrNameLst>
                                          <p:attrName>style.visibility</p:attrName>
                                        </p:attrNameLst>
                                      </p:cBhvr>
                                      <p:to>
                                        <p:strVal val="visible"/>
                                      </p:to>
                                    </p:set>
                                    <p:anim calcmode="lin" valueType="num">
                                      <p:cBhvr additive="base">
                                        <p:cTn id="27" dur="1000" fill="hold"/>
                                        <p:tgtEl>
                                          <p:spTgt spid="27">
                                            <p:txEl>
                                              <p:pRg st="0" end="0"/>
                                            </p:txEl>
                                          </p:spTgt>
                                        </p:tgtEl>
                                        <p:attrNameLst>
                                          <p:attrName>ppt_x</p:attrName>
                                        </p:attrNameLst>
                                      </p:cBhvr>
                                      <p:tavLst>
                                        <p:tav tm="0">
                                          <p:val>
                                            <p:strVal val="1+#ppt_w/2"/>
                                          </p:val>
                                        </p:tav>
                                        <p:tav tm="100000">
                                          <p:val>
                                            <p:strVal val="#ppt_x"/>
                                          </p:val>
                                        </p:tav>
                                      </p:tavLst>
                                    </p:anim>
                                    <p:anim calcmode="lin" valueType="num">
                                      <p:cBhvr additive="base">
                                        <p:cTn id="28" dur="1000" fill="hold"/>
                                        <p:tgtEl>
                                          <p:spTgt spid="27">
                                            <p:txEl>
                                              <p:pRg st="0" end="0"/>
                                            </p:txEl>
                                          </p:spTgt>
                                        </p:tgtEl>
                                        <p:attrNameLst>
                                          <p:attrName>ppt_y</p:attrName>
                                        </p:attrNameLst>
                                      </p:cBhvr>
                                      <p:tavLst>
                                        <p:tav tm="0">
                                          <p:val>
                                            <p:strVal val="#ppt_y"/>
                                          </p:val>
                                        </p:tav>
                                        <p:tav tm="100000">
                                          <p:val>
                                            <p:strVal val="#ppt_y"/>
                                          </p:val>
                                        </p:tav>
                                      </p:tavLst>
                                    </p:anim>
                                  </p:childTnLst>
                                </p:cTn>
                              </p:par>
                              <p:par>
                                <p:cTn id="29" presetID="2" presetClass="entr" presetSubtype="2" dur="1000" decel="100000" fill="hold" grpId="0" nodeType="withEffect">
                                  <p:stCondLst>
                                    <p:cond delay="250"/>
                                  </p:stCondLst>
                                  <p:childTnLst>
                                    <p:set>
                                      <p:cBhvr>
                                        <p:cTn id="30" dur="1" fill="hold">
                                          <p:stCondLst>
                                            <p:cond delay="0"/>
                                          </p:stCondLst>
                                        </p:cTn>
                                        <p:tgtEl>
                                          <p:spTgt spid="28">
                                            <p:txEl>
                                              <p:pRg st="0" end="0"/>
                                            </p:txEl>
                                          </p:spTgt>
                                        </p:tgtEl>
                                        <p:attrNameLst>
                                          <p:attrName>style.visibility</p:attrName>
                                        </p:attrNameLst>
                                      </p:cBhvr>
                                      <p:to>
                                        <p:strVal val="visible"/>
                                      </p:to>
                                    </p:set>
                                    <p:anim calcmode="lin" valueType="num">
                                      <p:cBhvr additive="base">
                                        <p:cTn id="31" dur="1000" fill="hold"/>
                                        <p:tgtEl>
                                          <p:spTgt spid="28">
                                            <p:txEl>
                                              <p:pRg st="0" end="0"/>
                                            </p:txEl>
                                          </p:spTgt>
                                        </p:tgtEl>
                                        <p:attrNameLst>
                                          <p:attrName>ppt_x</p:attrName>
                                        </p:attrNameLst>
                                      </p:cBhvr>
                                      <p:tavLst>
                                        <p:tav tm="0">
                                          <p:val>
                                            <p:strVal val="1+#ppt_w/2"/>
                                          </p:val>
                                        </p:tav>
                                        <p:tav tm="100000">
                                          <p:val>
                                            <p:strVal val="#ppt_x"/>
                                          </p:val>
                                        </p:tav>
                                      </p:tavLst>
                                    </p:anim>
                                    <p:anim calcmode="lin" valueType="num">
                                      <p:cBhvr additive="base">
                                        <p:cTn id="32" dur="1000" fill="hold"/>
                                        <p:tgtEl>
                                          <p:spTgt spid="28">
                                            <p:txEl>
                                              <p:pRg st="0" end="0"/>
                                            </p:txEl>
                                          </p:spTgt>
                                        </p:tgtEl>
                                        <p:attrNameLst>
                                          <p:attrName>ppt_y</p:attrName>
                                        </p:attrNameLst>
                                      </p:cBhvr>
                                      <p:tavLst>
                                        <p:tav tm="0">
                                          <p:val>
                                            <p:strVal val="#ppt_y"/>
                                          </p:val>
                                        </p:tav>
                                        <p:tav tm="100000">
                                          <p:val>
                                            <p:strVal val="#ppt_y"/>
                                          </p:val>
                                        </p:tav>
                                      </p:tavLst>
                                    </p:anim>
                                  </p:childTnLst>
                                </p:cTn>
                              </p:par>
                              <p:par>
                                <p:cTn id="33" presetID="26" presetClass="emph" presetSubtype="0" dur="2000" repeatCount="indefinite" fill="hold" grpId="0" nodeType="withEffect">
                                  <p:stCondLst>
                                    <p:cond delay="0"/>
                                  </p:stCondLst>
                                  <p:childTnLst>
                                    <p:animEffect transition="out" filter="fade">
                                      <p:cBhvr>
                                        <p:cTn id="34" dur="2000" tmFilter="0, 0; .2, .5; .8, .5; 1, 0"/>
                                        <p:tgtEl>
                                          <p:spTgt spid="309"/>
                                        </p:tgtEl>
                                      </p:cBhvr>
                                    </p:animEffect>
                                    <p:animScale>
                                      <p:cBhvr>
                                        <p:cTn id="35" dur="1000" autoRev="1" fill="hold"/>
                                        <p:tgtEl>
                                          <p:spTgt spid="309"/>
                                        </p:tgtEl>
                                      </p:cBhvr>
                                      <p:by x="105000" y="105000"/>
                                    </p:animScale>
                                  </p:childTnLst>
                                </p:cTn>
                              </p:par>
                              <p:par>
                                <p:cTn id="36" presetID="26" presetClass="emph" presetSubtype="0" dur="2000" repeatCount="indefinite" fill="hold" grpId="0" nodeType="withEffect">
                                  <p:stCondLst>
                                    <p:cond delay="0"/>
                                  </p:stCondLst>
                                  <p:childTnLst>
                                    <p:animEffect transition="out" filter="fade">
                                      <p:cBhvr>
                                        <p:cTn id="37" dur="2000" tmFilter="0, 0; .2, .5; .8, .5; 1, 0"/>
                                        <p:tgtEl>
                                          <p:spTgt spid="310"/>
                                        </p:tgtEl>
                                      </p:cBhvr>
                                    </p:animEffect>
                                    <p:animScale>
                                      <p:cBhvr>
                                        <p:cTn id="38" dur="1000" autoRev="1" fill="hold"/>
                                        <p:tgtEl>
                                          <p:spTgt spid="310"/>
                                        </p:tgtEl>
                                      </p:cBhvr>
                                      <p:by x="105000" y="105000"/>
                                    </p:animScale>
                                  </p:childTnLst>
                                </p:cTn>
                              </p:par>
                              <p:par>
                                <p:cTn id="39" presetID="26" presetClass="emph" presetSubtype="0" dur="2000" repeatCount="indefinite" fill="hold" grpId="0" nodeType="withEffect">
                                  <p:stCondLst>
                                    <p:cond delay="0"/>
                                  </p:stCondLst>
                                  <p:childTnLst>
                                    <p:animEffect transition="out" filter="fade">
                                      <p:cBhvr>
                                        <p:cTn id="40" dur="2000" tmFilter="0, 0; .2, .5; .8, .5; 1, 0"/>
                                        <p:tgtEl>
                                          <p:spTgt spid="311"/>
                                        </p:tgtEl>
                                      </p:cBhvr>
                                    </p:animEffect>
                                    <p:animScale>
                                      <p:cBhvr>
                                        <p:cTn id="41" dur="1000" autoRev="1" fill="hold"/>
                                        <p:tgtEl>
                                          <p:spTgt spid="311"/>
                                        </p:tgtEl>
                                      </p:cBhvr>
                                      <p:by x="105000" y="105000"/>
                                    </p:animScale>
                                  </p:childTnLst>
                                </p:cTn>
                              </p:par>
                              <p:par>
                                <p:cTn id="42" presetID="26" presetClass="emph" presetSubtype="0" dur="2000" repeatCount="indefinite" fill="hold" grpId="0" nodeType="withEffect">
                                  <p:stCondLst>
                                    <p:cond delay="0"/>
                                  </p:stCondLst>
                                  <p:childTnLst>
                                    <p:animEffect transition="out" filter="fade">
                                      <p:cBhvr>
                                        <p:cTn id="43" dur="2000" tmFilter="0, 0; .2, .5; .8, .5; 1, 0"/>
                                        <p:tgtEl>
                                          <p:spTgt spid="312"/>
                                        </p:tgtEl>
                                      </p:cBhvr>
                                    </p:animEffect>
                                    <p:animScale>
                                      <p:cBhvr>
                                        <p:cTn id="44" dur="1000" autoRev="1" fill="hold"/>
                                        <p:tgtEl>
                                          <p:spTgt spid="312"/>
                                        </p:tgtEl>
                                      </p:cBhvr>
                                      <p:by x="105000" y="105000"/>
                                    </p:animScale>
                                  </p:childTnLst>
                                </p:cTn>
                              </p:par>
                              <p:par>
                                <p:cTn id="45" presetID="26" presetClass="emph" presetSubtype="0" dur="2000" repeatCount="indefinite" fill="hold" grpId="0" nodeType="withEffect">
                                  <p:stCondLst>
                                    <p:cond delay="0"/>
                                  </p:stCondLst>
                                  <p:childTnLst>
                                    <p:animEffect transition="out" filter="fade">
                                      <p:cBhvr>
                                        <p:cTn id="46" dur="2000" tmFilter="0, 0; .2, .5; .8, .5; 1, 0"/>
                                        <p:tgtEl>
                                          <p:spTgt spid="313"/>
                                        </p:tgtEl>
                                      </p:cBhvr>
                                    </p:animEffect>
                                    <p:animScale>
                                      <p:cBhvr>
                                        <p:cTn id="47" dur="1000" autoRev="1" fill="hold"/>
                                        <p:tgtEl>
                                          <p:spTgt spid="313"/>
                                        </p:tgtEl>
                                      </p:cBhvr>
                                      <p:by x="105000" y="105000"/>
                                    </p:animScale>
                                  </p:childTnLst>
                                </p:cTn>
                              </p:par>
                              <p:par>
                                <p:cTn id="48" presetID="26" presetClass="emph" presetSubtype="0" dur="2000" repeatCount="indefinite" fill="hold" grpId="0" nodeType="withEffect">
                                  <p:stCondLst>
                                    <p:cond delay="250"/>
                                  </p:stCondLst>
                                  <p:childTnLst>
                                    <p:animEffect transition="out" filter="fade">
                                      <p:cBhvr>
                                        <p:cTn id="49" dur="2000" tmFilter="0, 0; .2, .5; .8, .5; 1, 0"/>
                                        <p:tgtEl>
                                          <p:spTgt spid="314"/>
                                        </p:tgtEl>
                                      </p:cBhvr>
                                    </p:animEffect>
                                    <p:animScale>
                                      <p:cBhvr>
                                        <p:cTn id="50" dur="1000" autoRev="1" fill="hold"/>
                                        <p:tgtEl>
                                          <p:spTgt spid="314"/>
                                        </p:tgtEl>
                                      </p:cBhvr>
                                      <p:by x="105000" y="105000"/>
                                    </p:animScale>
                                  </p:childTnLst>
                                </p:cTn>
                              </p:par>
                              <p:par>
                                <p:cTn id="51" presetID="26" presetClass="emph" presetSubtype="0" dur="2000" repeatCount="indefinite" fill="hold" grpId="0" nodeType="withEffect">
                                  <p:stCondLst>
                                    <p:cond delay="250"/>
                                  </p:stCondLst>
                                  <p:childTnLst>
                                    <p:animEffect transition="out" filter="fade">
                                      <p:cBhvr>
                                        <p:cTn id="52" dur="2000" tmFilter="0, 0; .2, .5; .8, .5; 1, 0"/>
                                        <p:tgtEl>
                                          <p:spTgt spid="315"/>
                                        </p:tgtEl>
                                      </p:cBhvr>
                                    </p:animEffect>
                                    <p:animScale>
                                      <p:cBhvr>
                                        <p:cTn id="53" dur="1000" autoRev="1" fill="hold"/>
                                        <p:tgtEl>
                                          <p:spTgt spid="315"/>
                                        </p:tgtEl>
                                      </p:cBhvr>
                                      <p:by x="105000" y="105000"/>
                                    </p:animScale>
                                  </p:childTnLst>
                                </p:cTn>
                              </p:par>
                              <p:par>
                                <p:cTn id="54" presetID="26" presetClass="emph" presetSubtype="0" dur="2000" repeatCount="indefinite" fill="hold" grpId="0" nodeType="withEffect">
                                  <p:stCondLst>
                                    <p:cond delay="250"/>
                                  </p:stCondLst>
                                  <p:childTnLst>
                                    <p:animEffect transition="out" filter="fade">
                                      <p:cBhvr>
                                        <p:cTn id="55" dur="2000" tmFilter="0, 0; .2, .5; .8, .5; 1, 0"/>
                                        <p:tgtEl>
                                          <p:spTgt spid="316"/>
                                        </p:tgtEl>
                                      </p:cBhvr>
                                    </p:animEffect>
                                    <p:animScale>
                                      <p:cBhvr>
                                        <p:cTn id="56" dur="1000" autoRev="1" fill="hold"/>
                                        <p:tgtEl>
                                          <p:spTgt spid="316"/>
                                        </p:tgtEl>
                                      </p:cBhvr>
                                      <p:by x="105000" y="105000"/>
                                    </p:animScale>
                                  </p:childTnLst>
                                </p:cTn>
                              </p:par>
                              <p:par>
                                <p:cTn id="57" presetID="26" presetClass="emph" presetSubtype="0" dur="2000" repeatCount="indefinite" fill="hold" grpId="0" nodeType="withEffect">
                                  <p:stCondLst>
                                    <p:cond delay="250"/>
                                  </p:stCondLst>
                                  <p:childTnLst>
                                    <p:animEffect transition="out" filter="fade">
                                      <p:cBhvr>
                                        <p:cTn id="58" dur="2000" tmFilter="0, 0; .2, .5; .8, .5; 1, 0"/>
                                        <p:tgtEl>
                                          <p:spTgt spid="317"/>
                                        </p:tgtEl>
                                      </p:cBhvr>
                                    </p:animEffect>
                                    <p:animScale>
                                      <p:cBhvr>
                                        <p:cTn id="59" dur="1000" autoRev="1" fill="hold"/>
                                        <p:tgtEl>
                                          <p:spTgt spid="317"/>
                                        </p:tgtEl>
                                      </p:cBhvr>
                                      <p:by x="105000" y="105000"/>
                                    </p:animScale>
                                  </p:childTnLst>
                                </p:cTn>
                              </p:par>
                              <p:par>
                                <p:cTn id="60" presetID="26" presetClass="emph" presetSubtype="0" dur="2000" repeatCount="indefinite" fill="hold" grpId="0" nodeType="withEffect">
                                  <p:stCondLst>
                                    <p:cond delay="250"/>
                                  </p:stCondLst>
                                  <p:childTnLst>
                                    <p:animEffect transition="out" filter="fade">
                                      <p:cBhvr>
                                        <p:cTn id="61" dur="2000" tmFilter="0, 0; .2, .5; .8, .5; 1, 0"/>
                                        <p:tgtEl>
                                          <p:spTgt spid="318"/>
                                        </p:tgtEl>
                                      </p:cBhvr>
                                    </p:animEffect>
                                    <p:animScale>
                                      <p:cBhvr>
                                        <p:cTn id="62" dur="1000" autoRev="1" fill="hold"/>
                                        <p:tgtEl>
                                          <p:spTgt spid="318"/>
                                        </p:tgtEl>
                                      </p:cBhvr>
                                      <p:by x="105000" y="105000"/>
                                    </p:animScale>
                                  </p:childTnLst>
                                </p:cTn>
                              </p:par>
                              <p:par>
                                <p:cTn id="63" presetID="26" presetClass="emph" presetSubtype="0" dur="2000" repeatCount="indefinite" fill="hold" grpId="0" nodeType="withEffect">
                                  <p:stCondLst>
                                    <p:cond delay="250"/>
                                  </p:stCondLst>
                                  <p:childTnLst>
                                    <p:animEffect transition="out" filter="fade">
                                      <p:cBhvr>
                                        <p:cTn id="64" dur="2000" tmFilter="0, 0; .2, .5; .8, .5; 1, 0"/>
                                        <p:tgtEl>
                                          <p:spTgt spid="319"/>
                                        </p:tgtEl>
                                      </p:cBhvr>
                                    </p:animEffect>
                                    <p:animScale>
                                      <p:cBhvr>
                                        <p:cTn id="65" dur="1000" autoRev="1" fill="hold"/>
                                        <p:tgtEl>
                                          <p:spTgt spid="319"/>
                                        </p:tgtEl>
                                      </p:cBhvr>
                                      <p:by x="105000" y="105000"/>
                                    </p:animScale>
                                  </p:childTnLst>
                                </p:cTn>
                              </p:par>
                              <p:par>
                                <p:cTn id="66" presetID="26" presetClass="emph" presetSubtype="0" dur="2000" repeatCount="indefinite" fill="hold" grpId="0" nodeType="withEffect">
                                  <p:stCondLst>
                                    <p:cond delay="250"/>
                                  </p:stCondLst>
                                  <p:childTnLst>
                                    <p:animEffect transition="out" filter="fade">
                                      <p:cBhvr>
                                        <p:cTn id="67" dur="2000" tmFilter="0, 0; .2, .5; .8, .5; 1, 0"/>
                                        <p:tgtEl>
                                          <p:spTgt spid="320"/>
                                        </p:tgtEl>
                                      </p:cBhvr>
                                    </p:animEffect>
                                    <p:animScale>
                                      <p:cBhvr>
                                        <p:cTn id="68" dur="1000" autoRev="1" fill="hold"/>
                                        <p:tgtEl>
                                          <p:spTgt spid="320"/>
                                        </p:tgtEl>
                                      </p:cBhvr>
                                      <p:by x="105000" y="105000"/>
                                    </p:animScale>
                                  </p:childTnLst>
                                </p:cTn>
                              </p:par>
                              <p:par>
                                <p:cTn id="69" presetID="26" presetClass="emph" presetSubtype="0" dur="2000" repeatCount="indefinite" fill="hold" grpId="0" nodeType="withEffect">
                                  <p:stCondLst>
                                    <p:cond delay="500"/>
                                  </p:stCondLst>
                                  <p:childTnLst>
                                    <p:animEffect transition="out" filter="fade">
                                      <p:cBhvr>
                                        <p:cTn id="70" dur="2000" tmFilter="0, 0; .2, .5; .8, .5; 1, 0"/>
                                        <p:tgtEl>
                                          <p:spTgt spid="321"/>
                                        </p:tgtEl>
                                      </p:cBhvr>
                                    </p:animEffect>
                                    <p:animScale>
                                      <p:cBhvr>
                                        <p:cTn id="71" dur="1000" autoRev="1" fill="hold"/>
                                        <p:tgtEl>
                                          <p:spTgt spid="321"/>
                                        </p:tgtEl>
                                      </p:cBhvr>
                                      <p:by x="105000" y="105000"/>
                                    </p:animScale>
                                  </p:childTnLst>
                                </p:cTn>
                              </p:par>
                              <p:par>
                                <p:cTn id="72" presetID="26" presetClass="emph" presetSubtype="0" dur="2000" repeatCount="indefinite" fill="hold" grpId="0" nodeType="withEffect">
                                  <p:stCondLst>
                                    <p:cond delay="500"/>
                                  </p:stCondLst>
                                  <p:childTnLst>
                                    <p:animEffect transition="out" filter="fade">
                                      <p:cBhvr>
                                        <p:cTn id="73" dur="2000" tmFilter="0, 0; .2, .5; .8, .5; 1, 0"/>
                                        <p:tgtEl>
                                          <p:spTgt spid="322"/>
                                        </p:tgtEl>
                                      </p:cBhvr>
                                    </p:animEffect>
                                    <p:animScale>
                                      <p:cBhvr>
                                        <p:cTn id="74" dur="1000" autoRev="1" fill="hold"/>
                                        <p:tgtEl>
                                          <p:spTgt spid="322"/>
                                        </p:tgtEl>
                                      </p:cBhvr>
                                      <p:by x="105000" y="105000"/>
                                    </p:animScale>
                                  </p:childTnLst>
                                </p:cTn>
                              </p:par>
                              <p:par>
                                <p:cTn id="75" presetID="26" presetClass="emph" presetSubtype="0" dur="2000" repeatCount="indefinite" fill="hold" grpId="0" nodeType="withEffect">
                                  <p:stCondLst>
                                    <p:cond delay="500"/>
                                  </p:stCondLst>
                                  <p:childTnLst>
                                    <p:animEffect transition="out" filter="fade">
                                      <p:cBhvr>
                                        <p:cTn id="76" dur="2000" tmFilter="0, 0; .2, .5; .8, .5; 1, 0"/>
                                        <p:tgtEl>
                                          <p:spTgt spid="323"/>
                                        </p:tgtEl>
                                      </p:cBhvr>
                                    </p:animEffect>
                                    <p:animScale>
                                      <p:cBhvr>
                                        <p:cTn id="77" dur="1000" autoRev="1" fill="hold"/>
                                        <p:tgtEl>
                                          <p:spTgt spid="323"/>
                                        </p:tgtEl>
                                      </p:cBhvr>
                                      <p:by x="105000" y="105000"/>
                                    </p:animScale>
                                  </p:childTnLst>
                                </p:cTn>
                              </p:par>
                              <p:par>
                                <p:cTn id="78" presetID="26" presetClass="emph" presetSubtype="0" dur="2000" repeatCount="indefinite" fill="hold" grpId="0" nodeType="withEffect">
                                  <p:stCondLst>
                                    <p:cond delay="500"/>
                                  </p:stCondLst>
                                  <p:childTnLst>
                                    <p:animEffect transition="out" filter="fade">
                                      <p:cBhvr>
                                        <p:cTn id="79" dur="2000" tmFilter="0, 0; .2, .5; .8, .5; 1, 0"/>
                                        <p:tgtEl>
                                          <p:spTgt spid="324"/>
                                        </p:tgtEl>
                                      </p:cBhvr>
                                    </p:animEffect>
                                    <p:animScale>
                                      <p:cBhvr>
                                        <p:cTn id="80" dur="1000" autoRev="1" fill="hold"/>
                                        <p:tgtEl>
                                          <p:spTgt spid="324"/>
                                        </p:tgtEl>
                                      </p:cBhvr>
                                      <p:by x="105000" y="105000"/>
                                    </p:animScale>
                                  </p:childTnLst>
                                </p:cTn>
                              </p:par>
                              <p:par>
                                <p:cTn id="81" presetID="26" presetClass="emph" presetSubtype="0" dur="2000" repeatCount="indefinite" fill="hold" grpId="0" nodeType="withEffect">
                                  <p:stCondLst>
                                    <p:cond delay="500"/>
                                  </p:stCondLst>
                                  <p:childTnLst>
                                    <p:animEffect transition="out" filter="fade">
                                      <p:cBhvr>
                                        <p:cTn id="82" dur="2000" tmFilter="0, 0; .2, .5; .8, .5; 1, 0"/>
                                        <p:tgtEl>
                                          <p:spTgt spid="325"/>
                                        </p:tgtEl>
                                      </p:cBhvr>
                                    </p:animEffect>
                                    <p:animScale>
                                      <p:cBhvr>
                                        <p:cTn id="83" dur="1000" autoRev="1" fill="hold"/>
                                        <p:tgtEl>
                                          <p:spTgt spid="325"/>
                                        </p:tgtEl>
                                      </p:cBhvr>
                                      <p:by x="105000" y="105000"/>
                                    </p:animScale>
                                  </p:childTnLst>
                                </p:cTn>
                              </p:par>
                              <p:par>
                                <p:cTn id="84" presetID="26" presetClass="emph" presetSubtype="0" dur="2000" repeatCount="indefinite" fill="hold" grpId="0" nodeType="withEffect">
                                  <p:stCondLst>
                                    <p:cond delay="500"/>
                                  </p:stCondLst>
                                  <p:childTnLst>
                                    <p:animEffect transition="out" filter="fade">
                                      <p:cBhvr>
                                        <p:cTn id="85" dur="2000" tmFilter="0, 0; .2, .5; .8, .5; 1, 0"/>
                                        <p:tgtEl>
                                          <p:spTgt spid="326"/>
                                        </p:tgtEl>
                                      </p:cBhvr>
                                    </p:animEffect>
                                    <p:animScale>
                                      <p:cBhvr>
                                        <p:cTn id="86" dur="1000" autoRev="1" fill="hold"/>
                                        <p:tgtEl>
                                          <p:spTgt spid="326"/>
                                        </p:tgtEl>
                                      </p:cBhvr>
                                      <p:by x="105000" y="105000"/>
                                    </p:animScale>
                                  </p:childTnLst>
                                </p:cTn>
                              </p:par>
                              <p:par>
                                <p:cTn id="87" presetID="26" presetClass="emph" presetSubtype="0" dur="2000" repeatCount="indefinite" fill="hold" grpId="0" nodeType="withEffect">
                                  <p:stCondLst>
                                    <p:cond delay="500"/>
                                  </p:stCondLst>
                                  <p:childTnLst>
                                    <p:animEffect transition="out" filter="fade">
                                      <p:cBhvr>
                                        <p:cTn id="88" dur="2000" tmFilter="0, 0; .2, .5; .8, .5; 1, 0"/>
                                        <p:tgtEl>
                                          <p:spTgt spid="327"/>
                                        </p:tgtEl>
                                      </p:cBhvr>
                                    </p:animEffect>
                                    <p:animScale>
                                      <p:cBhvr>
                                        <p:cTn id="89" dur="1000" autoRev="1" fill="hold"/>
                                        <p:tgtEl>
                                          <p:spTgt spid="327"/>
                                        </p:tgtEl>
                                      </p:cBhvr>
                                      <p:by x="105000" y="105000"/>
                                    </p:animScale>
                                  </p:childTnLst>
                                </p:cTn>
                              </p:par>
                              <p:par>
                                <p:cTn id="90" presetID="26" presetClass="emph" presetSubtype="0" dur="2000" repeatCount="indefinite" fill="hold" grpId="0" nodeType="withEffect">
                                  <p:stCondLst>
                                    <p:cond delay="500"/>
                                  </p:stCondLst>
                                  <p:childTnLst>
                                    <p:animEffect transition="out" filter="fade">
                                      <p:cBhvr>
                                        <p:cTn id="91" dur="2000" tmFilter="0, 0; .2, .5; .8, .5; 1, 0"/>
                                        <p:tgtEl>
                                          <p:spTgt spid="328"/>
                                        </p:tgtEl>
                                      </p:cBhvr>
                                    </p:animEffect>
                                    <p:animScale>
                                      <p:cBhvr>
                                        <p:cTn id="92" dur="1000" autoRev="1" fill="hold"/>
                                        <p:tgtEl>
                                          <p:spTgt spid="328"/>
                                        </p:tgtEl>
                                      </p:cBhvr>
                                      <p:by x="105000" y="105000"/>
                                    </p:animScale>
                                  </p:childTnLst>
                                </p:cTn>
                              </p:par>
                              <p:par>
                                <p:cTn id="93" presetID="26" presetClass="emph" presetSubtype="0" dur="2000" repeatCount="indefinite" fill="hold" grpId="0" nodeType="withEffect">
                                  <p:stCondLst>
                                    <p:cond delay="500"/>
                                  </p:stCondLst>
                                  <p:childTnLst>
                                    <p:animEffect transition="out" filter="fade">
                                      <p:cBhvr>
                                        <p:cTn id="94" dur="2000" tmFilter="0, 0; .2, .5; .8, .5; 1, 0"/>
                                        <p:tgtEl>
                                          <p:spTgt spid="329"/>
                                        </p:tgtEl>
                                      </p:cBhvr>
                                    </p:animEffect>
                                    <p:animScale>
                                      <p:cBhvr>
                                        <p:cTn id="95" dur="1000" autoRev="1" fill="hold"/>
                                        <p:tgtEl>
                                          <p:spTgt spid="329"/>
                                        </p:tgtEl>
                                      </p:cBhvr>
                                      <p:by x="105000" y="105000"/>
                                    </p:animScale>
                                  </p:childTnLst>
                                </p:cTn>
                              </p:par>
                              <p:par>
                                <p:cTn id="96" presetID="26" presetClass="emph" presetSubtype="0" dur="2000" repeatCount="indefinite" fill="hold" grpId="0" nodeType="withEffect">
                                  <p:stCondLst>
                                    <p:cond delay="750"/>
                                  </p:stCondLst>
                                  <p:childTnLst>
                                    <p:animEffect transition="out" filter="fade">
                                      <p:cBhvr>
                                        <p:cTn id="97" dur="2000" tmFilter="0, 0; .2, .5; .8, .5; 1, 0"/>
                                        <p:tgtEl>
                                          <p:spTgt spid="330"/>
                                        </p:tgtEl>
                                      </p:cBhvr>
                                    </p:animEffect>
                                    <p:animScale>
                                      <p:cBhvr>
                                        <p:cTn id="98" dur="1000" autoRev="1" fill="hold"/>
                                        <p:tgtEl>
                                          <p:spTgt spid="330"/>
                                        </p:tgtEl>
                                      </p:cBhvr>
                                      <p:by x="105000" y="105000"/>
                                    </p:animScale>
                                  </p:childTnLst>
                                </p:cTn>
                              </p:par>
                              <p:par>
                                <p:cTn id="99" presetID="26" presetClass="emph" presetSubtype="0" dur="2000" repeatCount="indefinite" fill="hold" grpId="0" nodeType="withEffect">
                                  <p:stCondLst>
                                    <p:cond delay="750"/>
                                  </p:stCondLst>
                                  <p:childTnLst>
                                    <p:animEffect transition="out" filter="fade">
                                      <p:cBhvr>
                                        <p:cTn id="100" dur="2000" tmFilter="0, 0; .2, .5; .8, .5; 1, 0"/>
                                        <p:tgtEl>
                                          <p:spTgt spid="331"/>
                                        </p:tgtEl>
                                      </p:cBhvr>
                                    </p:animEffect>
                                    <p:animScale>
                                      <p:cBhvr>
                                        <p:cTn id="101" dur="1000" autoRev="1" fill="hold"/>
                                        <p:tgtEl>
                                          <p:spTgt spid="331"/>
                                        </p:tgtEl>
                                      </p:cBhvr>
                                      <p:by x="105000" y="105000"/>
                                    </p:animScale>
                                  </p:childTnLst>
                                </p:cTn>
                              </p:par>
                              <p:par>
                                <p:cTn id="102" presetID="26" presetClass="emph" presetSubtype="0" dur="2000" repeatCount="indefinite" fill="hold" grpId="0" nodeType="withEffect">
                                  <p:stCondLst>
                                    <p:cond delay="750"/>
                                  </p:stCondLst>
                                  <p:childTnLst>
                                    <p:animEffect transition="out" filter="fade">
                                      <p:cBhvr>
                                        <p:cTn id="103" dur="2000" tmFilter="0, 0; .2, .5; .8, .5; 1, 0"/>
                                        <p:tgtEl>
                                          <p:spTgt spid="332"/>
                                        </p:tgtEl>
                                      </p:cBhvr>
                                    </p:animEffect>
                                    <p:animScale>
                                      <p:cBhvr>
                                        <p:cTn id="104" dur="1000" autoRev="1" fill="hold"/>
                                        <p:tgtEl>
                                          <p:spTgt spid="332"/>
                                        </p:tgtEl>
                                      </p:cBhvr>
                                      <p:by x="105000" y="105000"/>
                                    </p:animScale>
                                  </p:childTnLst>
                                </p:cTn>
                              </p:par>
                              <p:par>
                                <p:cTn id="105" presetID="26" presetClass="emph" presetSubtype="0" dur="2000" repeatCount="indefinite" fill="hold" grpId="0" nodeType="withEffect">
                                  <p:stCondLst>
                                    <p:cond delay="750"/>
                                  </p:stCondLst>
                                  <p:childTnLst>
                                    <p:animEffect transition="out" filter="fade">
                                      <p:cBhvr>
                                        <p:cTn id="106" dur="2000" tmFilter="0, 0; .2, .5; .8, .5; 1, 0"/>
                                        <p:tgtEl>
                                          <p:spTgt spid="333"/>
                                        </p:tgtEl>
                                      </p:cBhvr>
                                    </p:animEffect>
                                    <p:animScale>
                                      <p:cBhvr>
                                        <p:cTn id="107" dur="1000" autoRev="1" fill="hold"/>
                                        <p:tgtEl>
                                          <p:spTgt spid="333"/>
                                        </p:tgtEl>
                                      </p:cBhvr>
                                      <p:by x="105000" y="105000"/>
                                    </p:animScale>
                                  </p:childTnLst>
                                </p:cTn>
                              </p:par>
                              <p:par>
                                <p:cTn id="108" presetID="26" presetClass="emph" presetSubtype="0" dur="2000" repeatCount="indefinite" fill="hold" grpId="0" nodeType="withEffect">
                                  <p:stCondLst>
                                    <p:cond delay="750"/>
                                  </p:stCondLst>
                                  <p:childTnLst>
                                    <p:animEffect transition="out" filter="fade">
                                      <p:cBhvr>
                                        <p:cTn id="109" dur="2000" tmFilter="0, 0; .2, .5; .8, .5; 1, 0"/>
                                        <p:tgtEl>
                                          <p:spTgt spid="334"/>
                                        </p:tgtEl>
                                      </p:cBhvr>
                                    </p:animEffect>
                                    <p:animScale>
                                      <p:cBhvr>
                                        <p:cTn id="110" dur="1000" autoRev="1" fill="hold"/>
                                        <p:tgtEl>
                                          <p:spTgt spid="334"/>
                                        </p:tgtEl>
                                      </p:cBhvr>
                                      <p:by x="105000" y="105000"/>
                                    </p:animScale>
                                  </p:childTnLst>
                                </p:cTn>
                              </p:par>
                              <p:par>
                                <p:cTn id="111" presetID="26" presetClass="emph" presetSubtype="0" dur="2000" repeatCount="indefinite" fill="hold" grpId="0" nodeType="withEffect">
                                  <p:stCondLst>
                                    <p:cond delay="750"/>
                                  </p:stCondLst>
                                  <p:childTnLst>
                                    <p:animEffect transition="out" filter="fade">
                                      <p:cBhvr>
                                        <p:cTn id="112" dur="2000" tmFilter="0, 0; .2, .5; .8, .5; 1, 0"/>
                                        <p:tgtEl>
                                          <p:spTgt spid="335"/>
                                        </p:tgtEl>
                                      </p:cBhvr>
                                    </p:animEffect>
                                    <p:animScale>
                                      <p:cBhvr>
                                        <p:cTn id="113" dur="1000" autoRev="1" fill="hold"/>
                                        <p:tgtEl>
                                          <p:spTgt spid="335"/>
                                        </p:tgtEl>
                                      </p:cBhvr>
                                      <p:by x="105000" y="105000"/>
                                    </p:animScale>
                                  </p:childTnLst>
                                </p:cTn>
                              </p:par>
                              <p:par>
                                <p:cTn id="114" presetID="26" presetClass="emph" presetSubtype="0" dur="2000" repeatCount="indefinite" fill="hold" grpId="0" nodeType="withEffect">
                                  <p:stCondLst>
                                    <p:cond delay="750"/>
                                  </p:stCondLst>
                                  <p:childTnLst>
                                    <p:animEffect transition="out" filter="fade">
                                      <p:cBhvr>
                                        <p:cTn id="115" dur="2000" tmFilter="0, 0; .2, .5; .8, .5; 1, 0"/>
                                        <p:tgtEl>
                                          <p:spTgt spid="336"/>
                                        </p:tgtEl>
                                      </p:cBhvr>
                                    </p:animEffect>
                                    <p:animScale>
                                      <p:cBhvr>
                                        <p:cTn id="116" dur="1000" autoRev="1" fill="hold"/>
                                        <p:tgtEl>
                                          <p:spTgt spid="336"/>
                                        </p:tgtEl>
                                      </p:cBhvr>
                                      <p:by x="105000" y="105000"/>
                                    </p:animScale>
                                  </p:childTnLst>
                                </p:cTn>
                              </p:par>
                              <p:par>
                                <p:cTn id="117" presetID="26" presetClass="emph" presetSubtype="0" dur="2000" repeatCount="indefinite" fill="hold" grpId="0" nodeType="withEffect">
                                  <p:stCondLst>
                                    <p:cond delay="750"/>
                                  </p:stCondLst>
                                  <p:childTnLst>
                                    <p:animEffect transition="out" filter="fade">
                                      <p:cBhvr>
                                        <p:cTn id="118" dur="2000" tmFilter="0, 0; .2, .5; .8, .5; 1, 0"/>
                                        <p:tgtEl>
                                          <p:spTgt spid="337"/>
                                        </p:tgtEl>
                                      </p:cBhvr>
                                    </p:animEffect>
                                    <p:animScale>
                                      <p:cBhvr>
                                        <p:cTn id="119" dur="1000" autoRev="1" fill="hold"/>
                                        <p:tgtEl>
                                          <p:spTgt spid="337"/>
                                        </p:tgtEl>
                                      </p:cBhvr>
                                      <p:by x="105000" y="105000"/>
                                    </p:animScale>
                                  </p:childTnLst>
                                </p:cTn>
                              </p:par>
                              <p:par>
                                <p:cTn id="120" presetID="26" presetClass="emph" presetSubtype="0" dur="2000" repeatCount="indefinite" fill="hold" grpId="0" nodeType="withEffect">
                                  <p:stCondLst>
                                    <p:cond delay="750"/>
                                  </p:stCondLst>
                                  <p:childTnLst>
                                    <p:animEffect transition="out" filter="fade">
                                      <p:cBhvr>
                                        <p:cTn id="121" dur="2000" tmFilter="0, 0; .2, .5; .8, .5; 1, 0"/>
                                        <p:tgtEl>
                                          <p:spTgt spid="338"/>
                                        </p:tgtEl>
                                      </p:cBhvr>
                                    </p:animEffect>
                                    <p:animScale>
                                      <p:cBhvr>
                                        <p:cTn id="122" dur="1000" autoRev="1" fill="hold"/>
                                        <p:tgtEl>
                                          <p:spTgt spid="338"/>
                                        </p:tgtEl>
                                      </p:cBhvr>
                                      <p:by x="105000" y="105000"/>
                                    </p:animScale>
                                  </p:childTnLst>
                                </p:cTn>
                              </p:par>
                              <p:par>
                                <p:cTn id="123" presetID="26" presetClass="emph" presetSubtype="0" dur="2000" repeatCount="indefinite" fill="hold" grpId="0" nodeType="withEffect">
                                  <p:stCondLst>
                                    <p:cond delay="750"/>
                                  </p:stCondLst>
                                  <p:childTnLst>
                                    <p:animEffect transition="out" filter="fade">
                                      <p:cBhvr>
                                        <p:cTn id="124" dur="2000" tmFilter="0, 0; .2, .5; .8, .5; 1, 0"/>
                                        <p:tgtEl>
                                          <p:spTgt spid="339"/>
                                        </p:tgtEl>
                                      </p:cBhvr>
                                    </p:animEffect>
                                    <p:animScale>
                                      <p:cBhvr>
                                        <p:cTn id="125" dur="1000" autoRev="1" fill="hold"/>
                                        <p:tgtEl>
                                          <p:spTgt spid="339"/>
                                        </p:tgtEl>
                                      </p:cBhvr>
                                      <p:by x="105000" y="105000"/>
                                    </p:animScale>
                                  </p:childTnLst>
                                </p:cTn>
                              </p:par>
                              <p:par>
                                <p:cTn id="126" presetID="26" presetClass="emph" presetSubtype="0" dur="2000" repeatCount="indefinite" fill="hold" grpId="0" nodeType="withEffect">
                                  <p:stCondLst>
                                    <p:cond delay="750"/>
                                  </p:stCondLst>
                                  <p:childTnLst>
                                    <p:animEffect transition="out" filter="fade">
                                      <p:cBhvr>
                                        <p:cTn id="127" dur="2000" tmFilter="0, 0; .2, .5; .8, .5; 1, 0"/>
                                        <p:tgtEl>
                                          <p:spTgt spid="340"/>
                                        </p:tgtEl>
                                      </p:cBhvr>
                                    </p:animEffect>
                                    <p:animScale>
                                      <p:cBhvr>
                                        <p:cTn id="128" dur="1000" autoRev="1" fill="hold"/>
                                        <p:tgtEl>
                                          <p:spTgt spid="340"/>
                                        </p:tgtEl>
                                      </p:cBhvr>
                                      <p:by x="105000" y="105000"/>
                                    </p:animScale>
                                  </p:childTnLst>
                                </p:cTn>
                              </p:par>
                              <p:par>
                                <p:cTn id="129" presetID="26" presetClass="emph" presetSubtype="0" dur="2000" repeatCount="indefinite" fill="hold" grpId="0" nodeType="withEffect">
                                  <p:stCondLst>
                                    <p:cond delay="1000"/>
                                  </p:stCondLst>
                                  <p:childTnLst>
                                    <p:animEffect transition="out" filter="fade">
                                      <p:cBhvr>
                                        <p:cTn id="130" dur="2000" tmFilter="0, 0; .2, .5; .8, .5; 1, 0"/>
                                        <p:tgtEl>
                                          <p:spTgt spid="341"/>
                                        </p:tgtEl>
                                      </p:cBhvr>
                                    </p:animEffect>
                                    <p:animScale>
                                      <p:cBhvr>
                                        <p:cTn id="131" dur="1000" autoRev="1" fill="hold"/>
                                        <p:tgtEl>
                                          <p:spTgt spid="341"/>
                                        </p:tgtEl>
                                      </p:cBhvr>
                                      <p:by x="105000" y="105000"/>
                                    </p:animScale>
                                  </p:childTnLst>
                                </p:cTn>
                              </p:par>
                              <p:par>
                                <p:cTn id="132" presetID="26" presetClass="emph" presetSubtype="0" dur="2000" repeatCount="indefinite" fill="hold" grpId="0" nodeType="withEffect">
                                  <p:stCondLst>
                                    <p:cond delay="1000"/>
                                  </p:stCondLst>
                                  <p:childTnLst>
                                    <p:animEffect transition="out" filter="fade">
                                      <p:cBhvr>
                                        <p:cTn id="133" dur="2000" tmFilter="0, 0; .2, .5; .8, .5; 1, 0"/>
                                        <p:tgtEl>
                                          <p:spTgt spid="342"/>
                                        </p:tgtEl>
                                      </p:cBhvr>
                                    </p:animEffect>
                                    <p:animScale>
                                      <p:cBhvr>
                                        <p:cTn id="134" dur="1000" autoRev="1" fill="hold"/>
                                        <p:tgtEl>
                                          <p:spTgt spid="342"/>
                                        </p:tgtEl>
                                      </p:cBhvr>
                                      <p:by x="105000" y="105000"/>
                                    </p:animScale>
                                  </p:childTnLst>
                                </p:cTn>
                              </p:par>
                              <p:par>
                                <p:cTn id="135" presetID="26" presetClass="emph" presetSubtype="0" dur="2000" repeatCount="indefinite" fill="hold" grpId="0" nodeType="withEffect">
                                  <p:stCondLst>
                                    <p:cond delay="1000"/>
                                  </p:stCondLst>
                                  <p:childTnLst>
                                    <p:animEffect transition="out" filter="fade">
                                      <p:cBhvr>
                                        <p:cTn id="136" dur="2000" tmFilter="0, 0; .2, .5; .8, .5; 1, 0"/>
                                        <p:tgtEl>
                                          <p:spTgt spid="343"/>
                                        </p:tgtEl>
                                      </p:cBhvr>
                                    </p:animEffect>
                                    <p:animScale>
                                      <p:cBhvr>
                                        <p:cTn id="137" dur="1000" autoRev="1" fill="hold"/>
                                        <p:tgtEl>
                                          <p:spTgt spid="343"/>
                                        </p:tgtEl>
                                      </p:cBhvr>
                                      <p:by x="105000" y="105000"/>
                                    </p:animScale>
                                  </p:childTnLst>
                                </p:cTn>
                              </p:par>
                              <p:par>
                                <p:cTn id="138" presetID="26" presetClass="emph" presetSubtype="0" dur="2000" repeatCount="indefinite" fill="hold" grpId="0" nodeType="withEffect">
                                  <p:stCondLst>
                                    <p:cond delay="1000"/>
                                  </p:stCondLst>
                                  <p:childTnLst>
                                    <p:animEffect transition="out" filter="fade">
                                      <p:cBhvr>
                                        <p:cTn id="139" dur="2000" tmFilter="0, 0; .2, .5; .8, .5; 1, 0"/>
                                        <p:tgtEl>
                                          <p:spTgt spid="344"/>
                                        </p:tgtEl>
                                      </p:cBhvr>
                                    </p:animEffect>
                                    <p:animScale>
                                      <p:cBhvr>
                                        <p:cTn id="140" dur="1000" autoRev="1" fill="hold"/>
                                        <p:tgtEl>
                                          <p:spTgt spid="344"/>
                                        </p:tgtEl>
                                      </p:cBhvr>
                                      <p:by x="105000" y="105000"/>
                                    </p:animScale>
                                  </p:childTnLst>
                                </p:cTn>
                              </p:par>
                              <p:par>
                                <p:cTn id="141" presetID="26" presetClass="emph" presetSubtype="0" dur="2000" repeatCount="indefinite" fill="hold" grpId="0" nodeType="withEffect">
                                  <p:stCondLst>
                                    <p:cond delay="1000"/>
                                  </p:stCondLst>
                                  <p:childTnLst>
                                    <p:animEffect transition="out" filter="fade">
                                      <p:cBhvr>
                                        <p:cTn id="142" dur="2000" tmFilter="0, 0; .2, .5; .8, .5; 1, 0"/>
                                        <p:tgtEl>
                                          <p:spTgt spid="345"/>
                                        </p:tgtEl>
                                      </p:cBhvr>
                                    </p:animEffect>
                                    <p:animScale>
                                      <p:cBhvr>
                                        <p:cTn id="143" dur="1000" autoRev="1" fill="hold"/>
                                        <p:tgtEl>
                                          <p:spTgt spid="345"/>
                                        </p:tgtEl>
                                      </p:cBhvr>
                                      <p:by x="105000" y="105000"/>
                                    </p:animScale>
                                  </p:childTnLst>
                                </p:cTn>
                              </p:par>
                              <p:par>
                                <p:cTn id="144" presetID="26" presetClass="emph" presetSubtype="0" dur="2000" repeatCount="indefinite" fill="hold" grpId="0" nodeType="withEffect">
                                  <p:stCondLst>
                                    <p:cond delay="1000"/>
                                  </p:stCondLst>
                                  <p:childTnLst>
                                    <p:animEffect transition="out" filter="fade">
                                      <p:cBhvr>
                                        <p:cTn id="145" dur="2000" tmFilter="0, 0; .2, .5; .8, .5; 1, 0"/>
                                        <p:tgtEl>
                                          <p:spTgt spid="346"/>
                                        </p:tgtEl>
                                      </p:cBhvr>
                                    </p:animEffect>
                                    <p:animScale>
                                      <p:cBhvr>
                                        <p:cTn id="146" dur="1000" autoRev="1" fill="hold"/>
                                        <p:tgtEl>
                                          <p:spTgt spid="346"/>
                                        </p:tgtEl>
                                      </p:cBhvr>
                                      <p:by x="105000" y="105000"/>
                                    </p:animScale>
                                  </p:childTnLst>
                                </p:cTn>
                              </p:par>
                              <p:par>
                                <p:cTn id="147" presetID="26" presetClass="emph" presetSubtype="0" dur="2000" repeatCount="indefinite" fill="hold" grpId="0" nodeType="withEffect">
                                  <p:stCondLst>
                                    <p:cond delay="1000"/>
                                  </p:stCondLst>
                                  <p:childTnLst>
                                    <p:animEffect transition="out" filter="fade">
                                      <p:cBhvr>
                                        <p:cTn id="148" dur="2000" tmFilter="0, 0; .2, .5; .8, .5; 1, 0"/>
                                        <p:tgtEl>
                                          <p:spTgt spid="347"/>
                                        </p:tgtEl>
                                      </p:cBhvr>
                                    </p:animEffect>
                                    <p:animScale>
                                      <p:cBhvr>
                                        <p:cTn id="149" dur="1000" autoRev="1" fill="hold"/>
                                        <p:tgtEl>
                                          <p:spTgt spid="347"/>
                                        </p:tgtEl>
                                      </p:cBhvr>
                                      <p:by x="105000" y="105000"/>
                                    </p:animScale>
                                  </p:childTnLst>
                                </p:cTn>
                              </p:par>
                              <p:par>
                                <p:cTn id="150" presetID="26" presetClass="emph" presetSubtype="0" dur="2000" repeatCount="indefinite" fill="hold" grpId="0" nodeType="withEffect">
                                  <p:stCondLst>
                                    <p:cond delay="1000"/>
                                  </p:stCondLst>
                                  <p:childTnLst>
                                    <p:animEffect transition="out" filter="fade">
                                      <p:cBhvr>
                                        <p:cTn id="151" dur="2000" tmFilter="0, 0; .2, .5; .8, .5; 1, 0"/>
                                        <p:tgtEl>
                                          <p:spTgt spid="348"/>
                                        </p:tgtEl>
                                      </p:cBhvr>
                                    </p:animEffect>
                                    <p:animScale>
                                      <p:cBhvr>
                                        <p:cTn id="152" dur="1000" autoRev="1" fill="hold"/>
                                        <p:tgtEl>
                                          <p:spTgt spid="348"/>
                                        </p:tgtEl>
                                      </p:cBhvr>
                                      <p:by x="105000" y="105000"/>
                                    </p:animScale>
                                  </p:childTnLst>
                                </p:cTn>
                              </p:par>
                              <p:par>
                                <p:cTn id="153" presetID="26" presetClass="emph" presetSubtype="0" dur="2000" repeatCount="indefinite" fill="hold" grpId="0" nodeType="withEffect">
                                  <p:stCondLst>
                                    <p:cond delay="1000"/>
                                  </p:stCondLst>
                                  <p:childTnLst>
                                    <p:animEffect transition="out" filter="fade">
                                      <p:cBhvr>
                                        <p:cTn id="154" dur="2000" tmFilter="0, 0; .2, .5; .8, .5; 1, 0"/>
                                        <p:tgtEl>
                                          <p:spTgt spid="349"/>
                                        </p:tgtEl>
                                      </p:cBhvr>
                                    </p:animEffect>
                                    <p:animScale>
                                      <p:cBhvr>
                                        <p:cTn id="155" dur="1000" autoRev="1" fill="hold"/>
                                        <p:tgtEl>
                                          <p:spTgt spid="349"/>
                                        </p:tgtEl>
                                      </p:cBhvr>
                                      <p:by x="105000" y="105000"/>
                                    </p:animScale>
                                  </p:childTnLst>
                                </p:cTn>
                              </p:par>
                              <p:par>
                                <p:cTn id="156" presetID="26" presetClass="emph" presetSubtype="0" dur="2000" repeatCount="indefinite" fill="hold" grpId="0" nodeType="withEffect">
                                  <p:stCondLst>
                                    <p:cond delay="1000"/>
                                  </p:stCondLst>
                                  <p:childTnLst>
                                    <p:animEffect transition="out" filter="fade">
                                      <p:cBhvr>
                                        <p:cTn id="157" dur="2000" tmFilter="0, 0; .2, .5; .8, .5; 1, 0"/>
                                        <p:tgtEl>
                                          <p:spTgt spid="350"/>
                                        </p:tgtEl>
                                      </p:cBhvr>
                                    </p:animEffect>
                                    <p:animScale>
                                      <p:cBhvr>
                                        <p:cTn id="158" dur="1000" autoRev="1" fill="hold"/>
                                        <p:tgtEl>
                                          <p:spTgt spid="350"/>
                                        </p:tgtEl>
                                      </p:cBhvr>
                                      <p:by x="105000" y="105000"/>
                                    </p:animScale>
                                  </p:childTnLst>
                                </p:cTn>
                              </p:par>
                              <p:par>
                                <p:cTn id="159" presetID="26" presetClass="emph" presetSubtype="0" dur="2000" repeatCount="indefinite" fill="hold" grpId="0" nodeType="withEffect">
                                  <p:stCondLst>
                                    <p:cond delay="1000"/>
                                  </p:stCondLst>
                                  <p:childTnLst>
                                    <p:animEffect transition="out" filter="fade">
                                      <p:cBhvr>
                                        <p:cTn id="160" dur="2000" tmFilter="0, 0; .2, .5; .8, .5; 1, 0"/>
                                        <p:tgtEl>
                                          <p:spTgt spid="351"/>
                                        </p:tgtEl>
                                      </p:cBhvr>
                                    </p:animEffect>
                                    <p:animScale>
                                      <p:cBhvr>
                                        <p:cTn id="161" dur="1000" autoRev="1" fill="hold"/>
                                        <p:tgtEl>
                                          <p:spTgt spid="351"/>
                                        </p:tgtEl>
                                      </p:cBhvr>
                                      <p:by x="105000" y="105000"/>
                                    </p:animScale>
                                  </p:childTnLst>
                                </p:cTn>
                              </p:par>
                              <p:par>
                                <p:cTn id="162" presetID="26" presetClass="emph" presetSubtype="0" dur="2000" repeatCount="indefinite" fill="hold" grpId="0" nodeType="withEffect">
                                  <p:stCondLst>
                                    <p:cond delay="1000"/>
                                  </p:stCondLst>
                                  <p:childTnLst>
                                    <p:animEffect transition="out" filter="fade">
                                      <p:cBhvr>
                                        <p:cTn id="163" dur="2000" tmFilter="0, 0; .2, .5; .8, .5; 1, 0"/>
                                        <p:tgtEl>
                                          <p:spTgt spid="352"/>
                                        </p:tgtEl>
                                      </p:cBhvr>
                                    </p:animEffect>
                                    <p:animScale>
                                      <p:cBhvr>
                                        <p:cTn id="164" dur="1000" autoRev="1" fill="hold"/>
                                        <p:tgtEl>
                                          <p:spTgt spid="352"/>
                                        </p:tgtEl>
                                      </p:cBhvr>
                                      <p:by x="105000" y="105000"/>
                                    </p:animScale>
                                  </p:childTnLst>
                                </p:cTn>
                              </p:par>
                              <p:par>
                                <p:cTn id="165" presetID="26" presetClass="emph" presetSubtype="0" dur="2000" repeatCount="indefinite" fill="hold" grpId="0" nodeType="withEffect">
                                  <p:stCondLst>
                                    <p:cond delay="1000"/>
                                  </p:stCondLst>
                                  <p:childTnLst>
                                    <p:animEffect transition="out" filter="fade">
                                      <p:cBhvr>
                                        <p:cTn id="166" dur="2000" tmFilter="0, 0; .2, .5; .8, .5; 1, 0"/>
                                        <p:tgtEl>
                                          <p:spTgt spid="353"/>
                                        </p:tgtEl>
                                      </p:cBhvr>
                                    </p:animEffect>
                                    <p:animScale>
                                      <p:cBhvr>
                                        <p:cTn id="167" dur="1000" autoRev="1" fill="hold"/>
                                        <p:tgtEl>
                                          <p:spTgt spid="353"/>
                                        </p:tgtEl>
                                      </p:cBhvr>
                                      <p:by x="105000" y="105000"/>
                                    </p:animScale>
                                  </p:childTnLst>
                                </p:cTn>
                              </p:par>
                              <p:par>
                                <p:cTn id="168" presetID="26" presetClass="emph" presetSubtype="0" dur="2000" repeatCount="indefinite" fill="hold" grpId="0" nodeType="withEffect">
                                  <p:stCondLst>
                                    <p:cond delay="1250"/>
                                  </p:stCondLst>
                                  <p:childTnLst>
                                    <p:animEffect transition="out" filter="fade">
                                      <p:cBhvr>
                                        <p:cTn id="169" dur="2000" tmFilter="0, 0; .2, .5; .8, .5; 1, 0"/>
                                        <p:tgtEl>
                                          <p:spTgt spid="354"/>
                                        </p:tgtEl>
                                      </p:cBhvr>
                                    </p:animEffect>
                                    <p:animScale>
                                      <p:cBhvr>
                                        <p:cTn id="170" dur="1000" autoRev="1" fill="hold"/>
                                        <p:tgtEl>
                                          <p:spTgt spid="354"/>
                                        </p:tgtEl>
                                      </p:cBhvr>
                                      <p:by x="105000" y="105000"/>
                                    </p:animScale>
                                  </p:childTnLst>
                                </p:cTn>
                              </p:par>
                              <p:par>
                                <p:cTn id="171" presetID="26" presetClass="emph" presetSubtype="0" dur="2000" repeatCount="indefinite" fill="hold" grpId="0" nodeType="withEffect">
                                  <p:stCondLst>
                                    <p:cond delay="1250"/>
                                  </p:stCondLst>
                                  <p:childTnLst>
                                    <p:animEffect transition="out" filter="fade">
                                      <p:cBhvr>
                                        <p:cTn id="172" dur="2000" tmFilter="0, 0; .2, .5; .8, .5; 1, 0"/>
                                        <p:tgtEl>
                                          <p:spTgt spid="355"/>
                                        </p:tgtEl>
                                      </p:cBhvr>
                                    </p:animEffect>
                                    <p:animScale>
                                      <p:cBhvr>
                                        <p:cTn id="173" dur="1000" autoRev="1" fill="hold"/>
                                        <p:tgtEl>
                                          <p:spTgt spid="355"/>
                                        </p:tgtEl>
                                      </p:cBhvr>
                                      <p:by x="105000" y="105000"/>
                                    </p:animScale>
                                  </p:childTnLst>
                                </p:cTn>
                              </p:par>
                              <p:par>
                                <p:cTn id="174" presetID="26" presetClass="emph" presetSubtype="0" dur="2000" repeatCount="indefinite" fill="hold" grpId="0" nodeType="withEffect">
                                  <p:stCondLst>
                                    <p:cond delay="1250"/>
                                  </p:stCondLst>
                                  <p:childTnLst>
                                    <p:animEffect transition="out" filter="fade">
                                      <p:cBhvr>
                                        <p:cTn id="175" dur="2000" tmFilter="0, 0; .2, .5; .8, .5; 1, 0"/>
                                        <p:tgtEl>
                                          <p:spTgt spid="356"/>
                                        </p:tgtEl>
                                      </p:cBhvr>
                                    </p:animEffect>
                                    <p:animScale>
                                      <p:cBhvr>
                                        <p:cTn id="176" dur="1000" autoRev="1" fill="hold"/>
                                        <p:tgtEl>
                                          <p:spTgt spid="356"/>
                                        </p:tgtEl>
                                      </p:cBhvr>
                                      <p:by x="105000" y="105000"/>
                                    </p:animScale>
                                  </p:childTnLst>
                                </p:cTn>
                              </p:par>
                              <p:par>
                                <p:cTn id="177" presetID="26" presetClass="emph" presetSubtype="0" dur="2000" repeatCount="indefinite" fill="hold" grpId="0" nodeType="withEffect">
                                  <p:stCondLst>
                                    <p:cond delay="1250"/>
                                  </p:stCondLst>
                                  <p:childTnLst>
                                    <p:animEffect transition="out" filter="fade">
                                      <p:cBhvr>
                                        <p:cTn id="178" dur="2000" tmFilter="0, 0; .2, .5; .8, .5; 1, 0"/>
                                        <p:tgtEl>
                                          <p:spTgt spid="357"/>
                                        </p:tgtEl>
                                      </p:cBhvr>
                                    </p:animEffect>
                                    <p:animScale>
                                      <p:cBhvr>
                                        <p:cTn id="179" dur="1000" autoRev="1" fill="hold"/>
                                        <p:tgtEl>
                                          <p:spTgt spid="357"/>
                                        </p:tgtEl>
                                      </p:cBhvr>
                                      <p:by x="105000" y="105000"/>
                                    </p:animScale>
                                  </p:childTnLst>
                                </p:cTn>
                              </p:par>
                              <p:par>
                                <p:cTn id="180" presetID="26" presetClass="emph" presetSubtype="0" dur="2000" repeatCount="indefinite" fill="hold" grpId="0" nodeType="withEffect">
                                  <p:stCondLst>
                                    <p:cond delay="1250"/>
                                  </p:stCondLst>
                                  <p:childTnLst>
                                    <p:animEffect transition="out" filter="fade">
                                      <p:cBhvr>
                                        <p:cTn id="181" dur="2000" tmFilter="0, 0; .2, .5; .8, .5; 1, 0"/>
                                        <p:tgtEl>
                                          <p:spTgt spid="358"/>
                                        </p:tgtEl>
                                      </p:cBhvr>
                                    </p:animEffect>
                                    <p:animScale>
                                      <p:cBhvr>
                                        <p:cTn id="182" dur="1000" autoRev="1" fill="hold"/>
                                        <p:tgtEl>
                                          <p:spTgt spid="358"/>
                                        </p:tgtEl>
                                      </p:cBhvr>
                                      <p:by x="105000" y="105000"/>
                                    </p:animScale>
                                  </p:childTnLst>
                                </p:cTn>
                              </p:par>
                              <p:par>
                                <p:cTn id="183" presetID="26" presetClass="emph" presetSubtype="0" dur="2000" repeatCount="indefinite" fill="hold" grpId="0" nodeType="withEffect">
                                  <p:stCondLst>
                                    <p:cond delay="1250"/>
                                  </p:stCondLst>
                                  <p:childTnLst>
                                    <p:animEffect transition="out" filter="fade">
                                      <p:cBhvr>
                                        <p:cTn id="184" dur="2000" tmFilter="0, 0; .2, .5; .8, .5; 1, 0"/>
                                        <p:tgtEl>
                                          <p:spTgt spid="359"/>
                                        </p:tgtEl>
                                      </p:cBhvr>
                                    </p:animEffect>
                                    <p:animScale>
                                      <p:cBhvr>
                                        <p:cTn id="185" dur="1000" autoRev="1" fill="hold"/>
                                        <p:tgtEl>
                                          <p:spTgt spid="359"/>
                                        </p:tgtEl>
                                      </p:cBhvr>
                                      <p:by x="105000" y="105000"/>
                                    </p:animScale>
                                  </p:childTnLst>
                                </p:cTn>
                              </p:par>
                              <p:par>
                                <p:cTn id="186" presetID="26" presetClass="emph" presetSubtype="0" dur="2000" repeatCount="indefinite" fill="hold" grpId="0" nodeType="withEffect">
                                  <p:stCondLst>
                                    <p:cond delay="1250"/>
                                  </p:stCondLst>
                                  <p:childTnLst>
                                    <p:animEffect transition="out" filter="fade">
                                      <p:cBhvr>
                                        <p:cTn id="187" dur="2000" tmFilter="0, 0; .2, .5; .8, .5; 1, 0"/>
                                        <p:tgtEl>
                                          <p:spTgt spid="360"/>
                                        </p:tgtEl>
                                      </p:cBhvr>
                                    </p:animEffect>
                                    <p:animScale>
                                      <p:cBhvr>
                                        <p:cTn id="188" dur="1000" autoRev="1" fill="hold"/>
                                        <p:tgtEl>
                                          <p:spTgt spid="360"/>
                                        </p:tgtEl>
                                      </p:cBhvr>
                                      <p:by x="105000" y="105000"/>
                                    </p:animScale>
                                  </p:childTnLst>
                                </p:cTn>
                              </p:par>
                              <p:par>
                                <p:cTn id="189" presetID="26" presetClass="emph" presetSubtype="0" dur="2000" repeatCount="indefinite" fill="hold" grpId="0" nodeType="withEffect">
                                  <p:stCondLst>
                                    <p:cond delay="1250"/>
                                  </p:stCondLst>
                                  <p:childTnLst>
                                    <p:animEffect transition="out" filter="fade">
                                      <p:cBhvr>
                                        <p:cTn id="190" dur="2000" tmFilter="0, 0; .2, .5; .8, .5; 1, 0"/>
                                        <p:tgtEl>
                                          <p:spTgt spid="361"/>
                                        </p:tgtEl>
                                      </p:cBhvr>
                                    </p:animEffect>
                                    <p:animScale>
                                      <p:cBhvr>
                                        <p:cTn id="191" dur="1000" autoRev="1" fill="hold"/>
                                        <p:tgtEl>
                                          <p:spTgt spid="361"/>
                                        </p:tgtEl>
                                      </p:cBhvr>
                                      <p:by x="105000" y="105000"/>
                                    </p:animScale>
                                  </p:childTnLst>
                                </p:cTn>
                              </p:par>
                              <p:par>
                                <p:cTn id="192" presetID="26" presetClass="emph" presetSubtype="0" dur="2000" repeatCount="indefinite" fill="hold" grpId="0" nodeType="withEffect">
                                  <p:stCondLst>
                                    <p:cond delay="1250"/>
                                  </p:stCondLst>
                                  <p:childTnLst>
                                    <p:animEffect transition="out" filter="fade">
                                      <p:cBhvr>
                                        <p:cTn id="193" dur="2000" tmFilter="0, 0; .2, .5; .8, .5; 1, 0"/>
                                        <p:tgtEl>
                                          <p:spTgt spid="362"/>
                                        </p:tgtEl>
                                      </p:cBhvr>
                                    </p:animEffect>
                                    <p:animScale>
                                      <p:cBhvr>
                                        <p:cTn id="194" dur="1000" autoRev="1" fill="hold"/>
                                        <p:tgtEl>
                                          <p:spTgt spid="362"/>
                                        </p:tgtEl>
                                      </p:cBhvr>
                                      <p:by x="105000" y="105000"/>
                                    </p:animScale>
                                  </p:childTnLst>
                                </p:cTn>
                              </p:par>
                              <p:par>
                                <p:cTn id="195" presetID="26" presetClass="emph" presetSubtype="0" dur="2000" repeatCount="indefinite" fill="hold" grpId="0" nodeType="withEffect">
                                  <p:stCondLst>
                                    <p:cond delay="1250"/>
                                  </p:stCondLst>
                                  <p:childTnLst>
                                    <p:animEffect transition="out" filter="fade">
                                      <p:cBhvr>
                                        <p:cTn id="196" dur="2000" tmFilter="0, 0; .2, .5; .8, .5; 1, 0"/>
                                        <p:tgtEl>
                                          <p:spTgt spid="363"/>
                                        </p:tgtEl>
                                      </p:cBhvr>
                                    </p:animEffect>
                                    <p:animScale>
                                      <p:cBhvr>
                                        <p:cTn id="197" dur="1000" autoRev="1" fill="hold"/>
                                        <p:tgtEl>
                                          <p:spTgt spid="363"/>
                                        </p:tgtEl>
                                      </p:cBhvr>
                                      <p:by x="105000" y="105000"/>
                                    </p:animScale>
                                  </p:childTnLst>
                                </p:cTn>
                              </p:par>
                              <p:par>
                                <p:cTn id="198" presetID="26" presetClass="emph" presetSubtype="0" dur="2000" repeatCount="indefinite" fill="hold" grpId="0" nodeType="withEffect">
                                  <p:stCondLst>
                                    <p:cond delay="1250"/>
                                  </p:stCondLst>
                                  <p:childTnLst>
                                    <p:animEffect transition="out" filter="fade">
                                      <p:cBhvr>
                                        <p:cTn id="199" dur="2000" tmFilter="0, 0; .2, .5; .8, .5; 1, 0"/>
                                        <p:tgtEl>
                                          <p:spTgt spid="364"/>
                                        </p:tgtEl>
                                      </p:cBhvr>
                                    </p:animEffect>
                                    <p:animScale>
                                      <p:cBhvr>
                                        <p:cTn id="200" dur="1000" autoRev="1" fill="hold"/>
                                        <p:tgtEl>
                                          <p:spTgt spid="364"/>
                                        </p:tgtEl>
                                      </p:cBhvr>
                                      <p:by x="105000" y="105000"/>
                                    </p:animScale>
                                  </p:childTnLst>
                                </p:cTn>
                              </p:par>
                              <p:par>
                                <p:cTn id="201" presetID="26" presetClass="emph" presetSubtype="0" dur="2000" repeatCount="indefinite" fill="hold" grpId="0" nodeType="withEffect">
                                  <p:stCondLst>
                                    <p:cond delay="1250"/>
                                  </p:stCondLst>
                                  <p:childTnLst>
                                    <p:animEffect transition="out" filter="fade">
                                      <p:cBhvr>
                                        <p:cTn id="202" dur="2000" tmFilter="0, 0; .2, .5; .8, .5; 1, 0"/>
                                        <p:tgtEl>
                                          <p:spTgt spid="365"/>
                                        </p:tgtEl>
                                      </p:cBhvr>
                                    </p:animEffect>
                                    <p:animScale>
                                      <p:cBhvr>
                                        <p:cTn id="203" dur="1000" autoRev="1" fill="hold"/>
                                        <p:tgtEl>
                                          <p:spTgt spid="365"/>
                                        </p:tgtEl>
                                      </p:cBhvr>
                                      <p:by x="105000" y="105000"/>
                                    </p:animScale>
                                  </p:childTnLst>
                                </p:cTn>
                              </p:par>
                              <p:par>
                                <p:cTn id="204" presetID="26" presetClass="emph" presetSubtype="0" dur="2000" repeatCount="indefinite" fill="hold" grpId="0" nodeType="withEffect">
                                  <p:stCondLst>
                                    <p:cond delay="1250"/>
                                  </p:stCondLst>
                                  <p:childTnLst>
                                    <p:animEffect transition="out" filter="fade">
                                      <p:cBhvr>
                                        <p:cTn id="205" dur="2000" tmFilter="0, 0; .2, .5; .8, .5; 1, 0"/>
                                        <p:tgtEl>
                                          <p:spTgt spid="366"/>
                                        </p:tgtEl>
                                      </p:cBhvr>
                                    </p:animEffect>
                                    <p:animScale>
                                      <p:cBhvr>
                                        <p:cTn id="206" dur="1000" autoRev="1" fill="hold"/>
                                        <p:tgtEl>
                                          <p:spTgt spid="366"/>
                                        </p:tgtEl>
                                      </p:cBhvr>
                                      <p:by x="105000" y="105000"/>
                                    </p:animScale>
                                  </p:childTnLst>
                                </p:cTn>
                              </p:par>
                              <p:par>
                                <p:cTn id="207" presetID="26" presetClass="emph" presetSubtype="0" dur="2000" repeatCount="indefinite" fill="hold" grpId="0" nodeType="withEffect">
                                  <p:stCondLst>
                                    <p:cond delay="1250"/>
                                  </p:stCondLst>
                                  <p:childTnLst>
                                    <p:animEffect transition="out" filter="fade">
                                      <p:cBhvr>
                                        <p:cTn id="208" dur="2000" tmFilter="0, 0; .2, .5; .8, .5; 1, 0"/>
                                        <p:tgtEl>
                                          <p:spTgt spid="367"/>
                                        </p:tgtEl>
                                      </p:cBhvr>
                                    </p:animEffect>
                                    <p:animScale>
                                      <p:cBhvr>
                                        <p:cTn id="209" dur="1000" autoRev="1" fill="hold"/>
                                        <p:tgtEl>
                                          <p:spTgt spid="367"/>
                                        </p:tgtEl>
                                      </p:cBhvr>
                                      <p:by x="105000" y="105000"/>
                                    </p:animScale>
                                  </p:childTnLst>
                                </p:cTn>
                              </p:par>
                              <p:par>
                                <p:cTn id="210" presetID="26" presetClass="emph" presetSubtype="0" dur="2000" repeatCount="indefinite" fill="hold" grpId="0" nodeType="withEffect">
                                  <p:stCondLst>
                                    <p:cond delay="1500"/>
                                  </p:stCondLst>
                                  <p:childTnLst>
                                    <p:animEffect transition="out" filter="fade">
                                      <p:cBhvr>
                                        <p:cTn id="211" dur="2000" tmFilter="0, 0; .2, .5; .8, .5; 1, 0"/>
                                        <p:tgtEl>
                                          <p:spTgt spid="368"/>
                                        </p:tgtEl>
                                      </p:cBhvr>
                                    </p:animEffect>
                                    <p:animScale>
                                      <p:cBhvr>
                                        <p:cTn id="212" dur="1000" autoRev="1" fill="hold"/>
                                        <p:tgtEl>
                                          <p:spTgt spid="368"/>
                                        </p:tgtEl>
                                      </p:cBhvr>
                                      <p:by x="105000" y="105000"/>
                                    </p:animScale>
                                  </p:childTnLst>
                                </p:cTn>
                              </p:par>
                              <p:par>
                                <p:cTn id="213" presetID="26" presetClass="emph" presetSubtype="0" dur="2000" repeatCount="indefinite" fill="hold" grpId="0" nodeType="withEffect">
                                  <p:stCondLst>
                                    <p:cond delay="1500"/>
                                  </p:stCondLst>
                                  <p:childTnLst>
                                    <p:animEffect transition="out" filter="fade">
                                      <p:cBhvr>
                                        <p:cTn id="214" dur="2000" tmFilter="0, 0; .2, .5; .8, .5; 1, 0"/>
                                        <p:tgtEl>
                                          <p:spTgt spid="369"/>
                                        </p:tgtEl>
                                      </p:cBhvr>
                                    </p:animEffect>
                                    <p:animScale>
                                      <p:cBhvr>
                                        <p:cTn id="215" dur="1000" autoRev="1" fill="hold"/>
                                        <p:tgtEl>
                                          <p:spTgt spid="369"/>
                                        </p:tgtEl>
                                      </p:cBhvr>
                                      <p:by x="105000" y="105000"/>
                                    </p:animScale>
                                  </p:childTnLst>
                                </p:cTn>
                              </p:par>
                              <p:par>
                                <p:cTn id="216" presetID="26" presetClass="emph" presetSubtype="0" dur="2000" repeatCount="indefinite" fill="hold" grpId="0" nodeType="withEffect">
                                  <p:stCondLst>
                                    <p:cond delay="1500"/>
                                  </p:stCondLst>
                                  <p:childTnLst>
                                    <p:animEffect transition="out" filter="fade">
                                      <p:cBhvr>
                                        <p:cTn id="217" dur="2000" tmFilter="0, 0; .2, .5; .8, .5; 1, 0"/>
                                        <p:tgtEl>
                                          <p:spTgt spid="370"/>
                                        </p:tgtEl>
                                      </p:cBhvr>
                                    </p:animEffect>
                                    <p:animScale>
                                      <p:cBhvr>
                                        <p:cTn id="218" dur="1000" autoRev="1" fill="hold"/>
                                        <p:tgtEl>
                                          <p:spTgt spid="370"/>
                                        </p:tgtEl>
                                      </p:cBhvr>
                                      <p:by x="105000" y="105000"/>
                                    </p:animScale>
                                  </p:childTnLst>
                                </p:cTn>
                              </p:par>
                              <p:par>
                                <p:cTn id="219" presetID="26" presetClass="emph" presetSubtype="0" dur="2000" repeatCount="indefinite" fill="hold" grpId="0" nodeType="withEffect">
                                  <p:stCondLst>
                                    <p:cond delay="1500"/>
                                  </p:stCondLst>
                                  <p:childTnLst>
                                    <p:animEffect transition="out" filter="fade">
                                      <p:cBhvr>
                                        <p:cTn id="220" dur="2000" tmFilter="0, 0; .2, .5; .8, .5; 1, 0"/>
                                        <p:tgtEl>
                                          <p:spTgt spid="371"/>
                                        </p:tgtEl>
                                      </p:cBhvr>
                                    </p:animEffect>
                                    <p:animScale>
                                      <p:cBhvr>
                                        <p:cTn id="221" dur="1000" autoRev="1" fill="hold"/>
                                        <p:tgtEl>
                                          <p:spTgt spid="371"/>
                                        </p:tgtEl>
                                      </p:cBhvr>
                                      <p:by x="105000" y="105000"/>
                                    </p:animScale>
                                  </p:childTnLst>
                                </p:cTn>
                              </p:par>
                              <p:par>
                                <p:cTn id="222" presetID="26" presetClass="emph" presetSubtype="0" dur="2000" repeatCount="indefinite" fill="hold" grpId="0" nodeType="withEffect">
                                  <p:stCondLst>
                                    <p:cond delay="1500"/>
                                  </p:stCondLst>
                                  <p:childTnLst>
                                    <p:animEffect transition="out" filter="fade">
                                      <p:cBhvr>
                                        <p:cTn id="223" dur="2000" tmFilter="0, 0; .2, .5; .8, .5; 1, 0"/>
                                        <p:tgtEl>
                                          <p:spTgt spid="372"/>
                                        </p:tgtEl>
                                      </p:cBhvr>
                                    </p:animEffect>
                                    <p:animScale>
                                      <p:cBhvr>
                                        <p:cTn id="224" dur="1000" autoRev="1" fill="hold"/>
                                        <p:tgtEl>
                                          <p:spTgt spid="372"/>
                                        </p:tgtEl>
                                      </p:cBhvr>
                                      <p:by x="105000" y="105000"/>
                                    </p:animScale>
                                  </p:childTnLst>
                                </p:cTn>
                              </p:par>
                              <p:par>
                                <p:cTn id="225" presetID="26" presetClass="emph" presetSubtype="0" dur="2000" repeatCount="indefinite" fill="hold" grpId="0" nodeType="withEffect">
                                  <p:stCondLst>
                                    <p:cond delay="1500"/>
                                  </p:stCondLst>
                                  <p:childTnLst>
                                    <p:animEffect transition="out" filter="fade">
                                      <p:cBhvr>
                                        <p:cTn id="226" dur="2000" tmFilter="0, 0; .2, .5; .8, .5; 1, 0"/>
                                        <p:tgtEl>
                                          <p:spTgt spid="373"/>
                                        </p:tgtEl>
                                      </p:cBhvr>
                                    </p:animEffect>
                                    <p:animScale>
                                      <p:cBhvr>
                                        <p:cTn id="227" dur="1000" autoRev="1" fill="hold"/>
                                        <p:tgtEl>
                                          <p:spTgt spid="373"/>
                                        </p:tgtEl>
                                      </p:cBhvr>
                                      <p:by x="105000" y="105000"/>
                                    </p:animScale>
                                  </p:childTnLst>
                                </p:cTn>
                              </p:par>
                              <p:par>
                                <p:cTn id="228" presetID="26" presetClass="emph" presetSubtype="0" dur="2000" repeatCount="indefinite" fill="hold" grpId="0" nodeType="withEffect">
                                  <p:stCondLst>
                                    <p:cond delay="1500"/>
                                  </p:stCondLst>
                                  <p:childTnLst>
                                    <p:animEffect transition="out" filter="fade">
                                      <p:cBhvr>
                                        <p:cTn id="229" dur="2000" tmFilter="0, 0; .2, .5; .8, .5; 1, 0"/>
                                        <p:tgtEl>
                                          <p:spTgt spid="374"/>
                                        </p:tgtEl>
                                      </p:cBhvr>
                                    </p:animEffect>
                                    <p:animScale>
                                      <p:cBhvr>
                                        <p:cTn id="230" dur="1000" autoRev="1" fill="hold"/>
                                        <p:tgtEl>
                                          <p:spTgt spid="374"/>
                                        </p:tgtEl>
                                      </p:cBhvr>
                                      <p:by x="105000" y="105000"/>
                                    </p:animScale>
                                  </p:childTnLst>
                                </p:cTn>
                              </p:par>
                              <p:par>
                                <p:cTn id="231" presetID="26" presetClass="emph" presetSubtype="0" dur="2000" repeatCount="indefinite" fill="hold" grpId="0" nodeType="withEffect">
                                  <p:stCondLst>
                                    <p:cond delay="1500"/>
                                  </p:stCondLst>
                                  <p:childTnLst>
                                    <p:animEffect transition="out" filter="fade">
                                      <p:cBhvr>
                                        <p:cTn id="232" dur="2000" tmFilter="0, 0; .2, .5; .8, .5; 1, 0"/>
                                        <p:tgtEl>
                                          <p:spTgt spid="375"/>
                                        </p:tgtEl>
                                      </p:cBhvr>
                                    </p:animEffect>
                                    <p:animScale>
                                      <p:cBhvr>
                                        <p:cTn id="233" dur="1000" autoRev="1" fill="hold"/>
                                        <p:tgtEl>
                                          <p:spTgt spid="375"/>
                                        </p:tgtEl>
                                      </p:cBhvr>
                                      <p:by x="105000" y="105000"/>
                                    </p:animScale>
                                  </p:childTnLst>
                                </p:cTn>
                              </p:par>
                              <p:par>
                                <p:cTn id="234" presetID="26" presetClass="emph" presetSubtype="0" dur="2000" repeatCount="indefinite" fill="hold" grpId="0" nodeType="withEffect">
                                  <p:stCondLst>
                                    <p:cond delay="1500"/>
                                  </p:stCondLst>
                                  <p:childTnLst>
                                    <p:animEffect transition="out" filter="fade">
                                      <p:cBhvr>
                                        <p:cTn id="235" dur="2000" tmFilter="0, 0; .2, .5; .8, .5; 1, 0"/>
                                        <p:tgtEl>
                                          <p:spTgt spid="376"/>
                                        </p:tgtEl>
                                      </p:cBhvr>
                                    </p:animEffect>
                                    <p:animScale>
                                      <p:cBhvr>
                                        <p:cTn id="236" dur="1000" autoRev="1" fill="hold"/>
                                        <p:tgtEl>
                                          <p:spTgt spid="376"/>
                                        </p:tgtEl>
                                      </p:cBhvr>
                                      <p:by x="105000" y="105000"/>
                                    </p:animScale>
                                  </p:childTnLst>
                                </p:cTn>
                              </p:par>
                              <p:par>
                                <p:cTn id="237" presetID="26" presetClass="emph" presetSubtype="0" dur="2000" repeatCount="indefinite" fill="hold" grpId="0" nodeType="withEffect">
                                  <p:stCondLst>
                                    <p:cond delay="1500"/>
                                  </p:stCondLst>
                                  <p:childTnLst>
                                    <p:animEffect transition="out" filter="fade">
                                      <p:cBhvr>
                                        <p:cTn id="238" dur="2000" tmFilter="0, 0; .2, .5; .8, .5; 1, 0"/>
                                        <p:tgtEl>
                                          <p:spTgt spid="377"/>
                                        </p:tgtEl>
                                      </p:cBhvr>
                                    </p:animEffect>
                                    <p:animScale>
                                      <p:cBhvr>
                                        <p:cTn id="239" dur="1000" autoRev="1" fill="hold"/>
                                        <p:tgtEl>
                                          <p:spTgt spid="377"/>
                                        </p:tgtEl>
                                      </p:cBhvr>
                                      <p:by x="105000" y="105000"/>
                                    </p:animScale>
                                  </p:childTnLst>
                                </p:cTn>
                              </p:par>
                              <p:par>
                                <p:cTn id="240" presetID="26" presetClass="emph" presetSubtype="0" dur="2000" repeatCount="indefinite" fill="hold" grpId="0" nodeType="withEffect">
                                  <p:stCondLst>
                                    <p:cond delay="1500"/>
                                  </p:stCondLst>
                                  <p:childTnLst>
                                    <p:animEffect transition="out" filter="fade">
                                      <p:cBhvr>
                                        <p:cTn id="241" dur="2000" tmFilter="0, 0; .2, .5; .8, .5; 1, 0"/>
                                        <p:tgtEl>
                                          <p:spTgt spid="378"/>
                                        </p:tgtEl>
                                      </p:cBhvr>
                                    </p:animEffect>
                                    <p:animScale>
                                      <p:cBhvr>
                                        <p:cTn id="242" dur="1000" autoRev="1" fill="hold"/>
                                        <p:tgtEl>
                                          <p:spTgt spid="378"/>
                                        </p:tgtEl>
                                      </p:cBhvr>
                                      <p:by x="105000" y="105000"/>
                                    </p:animScale>
                                  </p:childTnLst>
                                </p:cTn>
                              </p:par>
                              <p:par>
                                <p:cTn id="243" presetID="26" presetClass="emph" presetSubtype="0" dur="2000" repeatCount="indefinite" fill="hold" grpId="0" nodeType="withEffect">
                                  <p:stCondLst>
                                    <p:cond delay="1500"/>
                                  </p:stCondLst>
                                  <p:childTnLst>
                                    <p:animEffect transition="out" filter="fade">
                                      <p:cBhvr>
                                        <p:cTn id="244" dur="2000" tmFilter="0, 0; .2, .5; .8, .5; 1, 0"/>
                                        <p:tgtEl>
                                          <p:spTgt spid="379"/>
                                        </p:tgtEl>
                                      </p:cBhvr>
                                    </p:animEffect>
                                    <p:animScale>
                                      <p:cBhvr>
                                        <p:cTn id="245" dur="1000" autoRev="1" fill="hold"/>
                                        <p:tgtEl>
                                          <p:spTgt spid="379"/>
                                        </p:tgtEl>
                                      </p:cBhvr>
                                      <p:by x="105000" y="105000"/>
                                    </p:animScale>
                                  </p:childTnLst>
                                </p:cTn>
                              </p:par>
                              <p:par>
                                <p:cTn id="246" presetID="26" presetClass="emph" presetSubtype="0" dur="2000" repeatCount="indefinite" fill="hold" grpId="0" nodeType="withEffect">
                                  <p:stCondLst>
                                    <p:cond delay="1500"/>
                                  </p:stCondLst>
                                  <p:childTnLst>
                                    <p:animEffect transition="out" filter="fade">
                                      <p:cBhvr>
                                        <p:cTn id="247" dur="2000" tmFilter="0, 0; .2, .5; .8, .5; 1, 0"/>
                                        <p:tgtEl>
                                          <p:spTgt spid="380"/>
                                        </p:tgtEl>
                                      </p:cBhvr>
                                    </p:animEffect>
                                    <p:animScale>
                                      <p:cBhvr>
                                        <p:cTn id="248" dur="1000" autoRev="1" fill="hold"/>
                                        <p:tgtEl>
                                          <p:spTgt spid="380"/>
                                        </p:tgtEl>
                                      </p:cBhvr>
                                      <p:by x="105000" y="105000"/>
                                    </p:animScale>
                                  </p:childTnLst>
                                </p:cTn>
                              </p:par>
                              <p:par>
                                <p:cTn id="249" presetID="26" presetClass="emph" presetSubtype="0" dur="2000" repeatCount="indefinite" fill="hold" grpId="0" nodeType="withEffect">
                                  <p:stCondLst>
                                    <p:cond delay="1500"/>
                                  </p:stCondLst>
                                  <p:childTnLst>
                                    <p:animEffect transition="out" filter="fade">
                                      <p:cBhvr>
                                        <p:cTn id="250" dur="2000" tmFilter="0, 0; .2, .5; .8, .5; 1, 0"/>
                                        <p:tgtEl>
                                          <p:spTgt spid="381"/>
                                        </p:tgtEl>
                                      </p:cBhvr>
                                    </p:animEffect>
                                    <p:animScale>
                                      <p:cBhvr>
                                        <p:cTn id="251" dur="1000" autoRev="1" fill="hold"/>
                                        <p:tgtEl>
                                          <p:spTgt spid="381"/>
                                        </p:tgtEl>
                                      </p:cBhvr>
                                      <p:by x="105000" y="105000"/>
                                    </p:animScale>
                                  </p:childTnLst>
                                </p:cTn>
                              </p:par>
                              <p:par>
                                <p:cTn id="252" presetID="26" presetClass="emph" presetSubtype="0" dur="2000" repeatCount="indefinite" fill="hold" grpId="0" nodeType="withEffect">
                                  <p:stCondLst>
                                    <p:cond delay="1750"/>
                                  </p:stCondLst>
                                  <p:childTnLst>
                                    <p:animEffect transition="out" filter="fade">
                                      <p:cBhvr>
                                        <p:cTn id="253" dur="2000" tmFilter="0, 0; .2, .5; .8, .5; 1, 0"/>
                                        <p:tgtEl>
                                          <p:spTgt spid="382"/>
                                        </p:tgtEl>
                                      </p:cBhvr>
                                    </p:animEffect>
                                    <p:animScale>
                                      <p:cBhvr>
                                        <p:cTn id="254" dur="1000" autoRev="1" fill="hold"/>
                                        <p:tgtEl>
                                          <p:spTgt spid="382"/>
                                        </p:tgtEl>
                                      </p:cBhvr>
                                      <p:by x="105000" y="105000"/>
                                    </p:animScale>
                                  </p:childTnLst>
                                </p:cTn>
                              </p:par>
                              <p:par>
                                <p:cTn id="255" presetID="26" presetClass="emph" presetSubtype="0" dur="2000" repeatCount="indefinite" fill="hold" grpId="0" nodeType="withEffect">
                                  <p:stCondLst>
                                    <p:cond delay="1750"/>
                                  </p:stCondLst>
                                  <p:childTnLst>
                                    <p:animEffect transition="out" filter="fade">
                                      <p:cBhvr>
                                        <p:cTn id="256" dur="2000" tmFilter="0, 0; .2, .5; .8, .5; 1, 0"/>
                                        <p:tgtEl>
                                          <p:spTgt spid="383"/>
                                        </p:tgtEl>
                                      </p:cBhvr>
                                    </p:animEffect>
                                    <p:animScale>
                                      <p:cBhvr>
                                        <p:cTn id="257" dur="1000" autoRev="1" fill="hold"/>
                                        <p:tgtEl>
                                          <p:spTgt spid="383"/>
                                        </p:tgtEl>
                                      </p:cBhvr>
                                      <p:by x="105000" y="105000"/>
                                    </p:animScale>
                                  </p:childTnLst>
                                </p:cTn>
                              </p:par>
                              <p:par>
                                <p:cTn id="258" presetID="26" presetClass="emph" presetSubtype="0" dur="2000" repeatCount="indefinite" fill="hold" grpId="0" nodeType="withEffect">
                                  <p:stCondLst>
                                    <p:cond delay="1750"/>
                                  </p:stCondLst>
                                  <p:childTnLst>
                                    <p:animEffect transition="out" filter="fade">
                                      <p:cBhvr>
                                        <p:cTn id="259" dur="2000" tmFilter="0, 0; .2, .5; .8, .5; 1, 0"/>
                                        <p:tgtEl>
                                          <p:spTgt spid="384"/>
                                        </p:tgtEl>
                                      </p:cBhvr>
                                    </p:animEffect>
                                    <p:animScale>
                                      <p:cBhvr>
                                        <p:cTn id="260" dur="1000" autoRev="1" fill="hold"/>
                                        <p:tgtEl>
                                          <p:spTgt spid="384"/>
                                        </p:tgtEl>
                                      </p:cBhvr>
                                      <p:by x="105000" y="105000"/>
                                    </p:animScale>
                                  </p:childTnLst>
                                </p:cTn>
                              </p:par>
                              <p:par>
                                <p:cTn id="261" presetID="26" presetClass="emph" presetSubtype="0" dur="2000" repeatCount="indefinite" fill="hold" grpId="0" nodeType="withEffect">
                                  <p:stCondLst>
                                    <p:cond delay="1750"/>
                                  </p:stCondLst>
                                  <p:childTnLst>
                                    <p:animEffect transition="out" filter="fade">
                                      <p:cBhvr>
                                        <p:cTn id="262" dur="2000" tmFilter="0, 0; .2, .5; .8, .5; 1, 0"/>
                                        <p:tgtEl>
                                          <p:spTgt spid="385"/>
                                        </p:tgtEl>
                                      </p:cBhvr>
                                    </p:animEffect>
                                    <p:animScale>
                                      <p:cBhvr>
                                        <p:cTn id="263" dur="1000" autoRev="1" fill="hold"/>
                                        <p:tgtEl>
                                          <p:spTgt spid="385"/>
                                        </p:tgtEl>
                                      </p:cBhvr>
                                      <p:by x="105000" y="105000"/>
                                    </p:animScale>
                                  </p:childTnLst>
                                </p:cTn>
                              </p:par>
                              <p:par>
                                <p:cTn id="264" presetID="26" presetClass="emph" presetSubtype="0" dur="2000" repeatCount="indefinite" fill="hold" grpId="0" nodeType="withEffect">
                                  <p:stCondLst>
                                    <p:cond delay="1750"/>
                                  </p:stCondLst>
                                  <p:childTnLst>
                                    <p:animEffect transition="out" filter="fade">
                                      <p:cBhvr>
                                        <p:cTn id="265" dur="2000" tmFilter="0, 0; .2, .5; .8, .5; 1, 0"/>
                                        <p:tgtEl>
                                          <p:spTgt spid="386"/>
                                        </p:tgtEl>
                                      </p:cBhvr>
                                    </p:animEffect>
                                    <p:animScale>
                                      <p:cBhvr>
                                        <p:cTn id="266" dur="1000" autoRev="1" fill="hold"/>
                                        <p:tgtEl>
                                          <p:spTgt spid="386"/>
                                        </p:tgtEl>
                                      </p:cBhvr>
                                      <p:by x="105000" y="105000"/>
                                    </p:animScale>
                                  </p:childTnLst>
                                </p:cTn>
                              </p:par>
                              <p:par>
                                <p:cTn id="267" presetID="26" presetClass="emph" presetSubtype="0" dur="2000" repeatCount="indefinite" fill="hold" grpId="0" nodeType="withEffect">
                                  <p:stCondLst>
                                    <p:cond delay="1750"/>
                                  </p:stCondLst>
                                  <p:childTnLst>
                                    <p:animEffect transition="out" filter="fade">
                                      <p:cBhvr>
                                        <p:cTn id="268" dur="2000" tmFilter="0, 0; .2, .5; .8, .5; 1, 0"/>
                                        <p:tgtEl>
                                          <p:spTgt spid="387"/>
                                        </p:tgtEl>
                                      </p:cBhvr>
                                    </p:animEffect>
                                    <p:animScale>
                                      <p:cBhvr>
                                        <p:cTn id="269" dur="1000" autoRev="1" fill="hold"/>
                                        <p:tgtEl>
                                          <p:spTgt spid="387"/>
                                        </p:tgtEl>
                                      </p:cBhvr>
                                      <p:by x="105000" y="105000"/>
                                    </p:animScale>
                                  </p:childTnLst>
                                </p:cTn>
                              </p:par>
                              <p:par>
                                <p:cTn id="270" presetID="26" presetClass="emph" presetSubtype="0" dur="2000" repeatCount="indefinite" fill="hold" grpId="0" nodeType="withEffect">
                                  <p:stCondLst>
                                    <p:cond delay="1750"/>
                                  </p:stCondLst>
                                  <p:childTnLst>
                                    <p:animEffect transition="out" filter="fade">
                                      <p:cBhvr>
                                        <p:cTn id="271" dur="2000" tmFilter="0, 0; .2, .5; .8, .5; 1, 0"/>
                                        <p:tgtEl>
                                          <p:spTgt spid="388"/>
                                        </p:tgtEl>
                                      </p:cBhvr>
                                    </p:animEffect>
                                    <p:animScale>
                                      <p:cBhvr>
                                        <p:cTn id="272" dur="1000" autoRev="1" fill="hold"/>
                                        <p:tgtEl>
                                          <p:spTgt spid="388"/>
                                        </p:tgtEl>
                                      </p:cBhvr>
                                      <p:by x="105000" y="105000"/>
                                    </p:animScale>
                                  </p:childTnLst>
                                </p:cTn>
                              </p:par>
                              <p:par>
                                <p:cTn id="273" presetID="26" presetClass="emph" presetSubtype="0" dur="2000" repeatCount="indefinite" fill="hold" grpId="0" nodeType="withEffect">
                                  <p:stCondLst>
                                    <p:cond delay="1750"/>
                                  </p:stCondLst>
                                  <p:childTnLst>
                                    <p:animEffect transition="out" filter="fade">
                                      <p:cBhvr>
                                        <p:cTn id="274" dur="2000" tmFilter="0, 0; .2, .5; .8, .5; 1, 0"/>
                                        <p:tgtEl>
                                          <p:spTgt spid="389"/>
                                        </p:tgtEl>
                                      </p:cBhvr>
                                    </p:animEffect>
                                    <p:animScale>
                                      <p:cBhvr>
                                        <p:cTn id="275" dur="1000" autoRev="1" fill="hold"/>
                                        <p:tgtEl>
                                          <p:spTgt spid="389"/>
                                        </p:tgtEl>
                                      </p:cBhvr>
                                      <p:by x="105000" y="105000"/>
                                    </p:animScale>
                                  </p:childTnLst>
                                </p:cTn>
                              </p:par>
                              <p:par>
                                <p:cTn id="276" presetID="26" presetClass="emph" presetSubtype="0" dur="2000" repeatCount="indefinite" fill="hold" grpId="0" nodeType="withEffect">
                                  <p:stCondLst>
                                    <p:cond delay="1750"/>
                                  </p:stCondLst>
                                  <p:childTnLst>
                                    <p:animEffect transition="out" filter="fade">
                                      <p:cBhvr>
                                        <p:cTn id="277" dur="2000" tmFilter="0, 0; .2, .5; .8, .5; 1, 0"/>
                                        <p:tgtEl>
                                          <p:spTgt spid="390"/>
                                        </p:tgtEl>
                                      </p:cBhvr>
                                    </p:animEffect>
                                    <p:animScale>
                                      <p:cBhvr>
                                        <p:cTn id="278" dur="1000" autoRev="1" fill="hold"/>
                                        <p:tgtEl>
                                          <p:spTgt spid="390"/>
                                        </p:tgtEl>
                                      </p:cBhvr>
                                      <p:by x="105000" y="105000"/>
                                    </p:animScale>
                                  </p:childTnLst>
                                </p:cTn>
                              </p:par>
                              <p:par>
                                <p:cTn id="279" presetID="26" presetClass="emph" presetSubtype="0" dur="2000" repeatCount="indefinite" fill="hold" grpId="0" nodeType="withEffect">
                                  <p:stCondLst>
                                    <p:cond delay="1750"/>
                                  </p:stCondLst>
                                  <p:childTnLst>
                                    <p:animEffect transition="out" filter="fade">
                                      <p:cBhvr>
                                        <p:cTn id="280" dur="2000" tmFilter="0, 0; .2, .5; .8, .5; 1, 0"/>
                                        <p:tgtEl>
                                          <p:spTgt spid="391"/>
                                        </p:tgtEl>
                                      </p:cBhvr>
                                    </p:animEffect>
                                    <p:animScale>
                                      <p:cBhvr>
                                        <p:cTn id="281" dur="1000" autoRev="1" fill="hold"/>
                                        <p:tgtEl>
                                          <p:spTgt spid="391"/>
                                        </p:tgtEl>
                                      </p:cBhvr>
                                      <p:by x="105000" y="105000"/>
                                    </p:animScale>
                                  </p:childTnLst>
                                </p:cTn>
                              </p:par>
                              <p:par>
                                <p:cTn id="282" presetID="26" presetClass="emph" presetSubtype="0" dur="2000" repeatCount="indefinite" fill="hold" grpId="0" nodeType="withEffect">
                                  <p:stCondLst>
                                    <p:cond delay="1750"/>
                                  </p:stCondLst>
                                  <p:childTnLst>
                                    <p:animEffect transition="out" filter="fade">
                                      <p:cBhvr>
                                        <p:cTn id="283" dur="2000" tmFilter="0, 0; .2, .5; .8, .5; 1, 0"/>
                                        <p:tgtEl>
                                          <p:spTgt spid="392"/>
                                        </p:tgtEl>
                                      </p:cBhvr>
                                    </p:animEffect>
                                    <p:animScale>
                                      <p:cBhvr>
                                        <p:cTn id="284" dur="1000" autoRev="1" fill="hold"/>
                                        <p:tgtEl>
                                          <p:spTgt spid="392"/>
                                        </p:tgtEl>
                                      </p:cBhvr>
                                      <p:by x="105000" y="105000"/>
                                    </p:animScale>
                                  </p:childTnLst>
                                </p:cTn>
                              </p:par>
                              <p:par>
                                <p:cTn id="285" presetID="26" presetClass="emph" presetSubtype="0" dur="2000" repeatCount="indefinite" fill="hold" grpId="0" nodeType="withEffect">
                                  <p:stCondLst>
                                    <p:cond delay="1750"/>
                                  </p:stCondLst>
                                  <p:childTnLst>
                                    <p:animEffect transition="out" filter="fade">
                                      <p:cBhvr>
                                        <p:cTn id="286" dur="2000" tmFilter="0, 0; .2, .5; .8, .5; 1, 0"/>
                                        <p:tgtEl>
                                          <p:spTgt spid="393"/>
                                        </p:tgtEl>
                                      </p:cBhvr>
                                    </p:animEffect>
                                    <p:animScale>
                                      <p:cBhvr>
                                        <p:cTn id="287" dur="1000" autoRev="1" fill="hold"/>
                                        <p:tgtEl>
                                          <p:spTgt spid="393"/>
                                        </p:tgtEl>
                                      </p:cBhvr>
                                      <p:by x="105000" y="105000"/>
                                    </p:animScale>
                                  </p:childTnLst>
                                </p:cTn>
                              </p:par>
                              <p:par>
                                <p:cTn id="288" presetID="26" presetClass="emph" presetSubtype="0" dur="2000" repeatCount="indefinite" fill="hold" grpId="0" nodeType="withEffect">
                                  <p:stCondLst>
                                    <p:cond delay="1750"/>
                                  </p:stCondLst>
                                  <p:childTnLst>
                                    <p:animEffect transition="out" filter="fade">
                                      <p:cBhvr>
                                        <p:cTn id="289" dur="2000" tmFilter="0, 0; .2, .5; .8, .5; 1, 0"/>
                                        <p:tgtEl>
                                          <p:spTgt spid="394"/>
                                        </p:tgtEl>
                                      </p:cBhvr>
                                    </p:animEffect>
                                    <p:animScale>
                                      <p:cBhvr>
                                        <p:cTn id="290" dur="1000" autoRev="1" fill="hold"/>
                                        <p:tgtEl>
                                          <p:spTgt spid="394"/>
                                        </p:tgtEl>
                                      </p:cBhvr>
                                      <p:by x="105000" y="105000"/>
                                    </p:animScale>
                                  </p:childTnLst>
                                </p:cTn>
                              </p:par>
                              <p:par>
                                <p:cTn id="291" presetID="26" presetClass="emph" presetSubtype="0" dur="2000" repeatCount="indefinite" fill="hold" grpId="0" nodeType="withEffect">
                                  <p:stCondLst>
                                    <p:cond delay="1750"/>
                                  </p:stCondLst>
                                  <p:childTnLst>
                                    <p:animEffect transition="out" filter="fade">
                                      <p:cBhvr>
                                        <p:cTn id="292" dur="2000" tmFilter="0, 0; .2, .5; .8, .5; 1, 0"/>
                                        <p:tgtEl>
                                          <p:spTgt spid="395"/>
                                        </p:tgtEl>
                                      </p:cBhvr>
                                    </p:animEffect>
                                    <p:animScale>
                                      <p:cBhvr>
                                        <p:cTn id="293" dur="1000" autoRev="1" fill="hold"/>
                                        <p:tgtEl>
                                          <p:spTgt spid="395"/>
                                        </p:tgtEl>
                                      </p:cBhvr>
                                      <p:by x="105000" y="105000"/>
                                    </p:animScale>
                                  </p:childTnLst>
                                </p:cTn>
                              </p:par>
                              <p:par>
                                <p:cTn id="294" presetID="26" presetClass="emph" presetSubtype="0" dur="2000" repeatCount="indefinite" fill="hold" grpId="0" nodeType="withEffect">
                                  <p:stCondLst>
                                    <p:cond delay="2000"/>
                                  </p:stCondLst>
                                  <p:childTnLst>
                                    <p:animEffect transition="out" filter="fade">
                                      <p:cBhvr>
                                        <p:cTn id="295" dur="2000" tmFilter="0, 0; .2, .5; .8, .5; 1, 0"/>
                                        <p:tgtEl>
                                          <p:spTgt spid="396"/>
                                        </p:tgtEl>
                                      </p:cBhvr>
                                    </p:animEffect>
                                    <p:animScale>
                                      <p:cBhvr>
                                        <p:cTn id="296" dur="1000" autoRev="1" fill="hold"/>
                                        <p:tgtEl>
                                          <p:spTgt spid="396"/>
                                        </p:tgtEl>
                                      </p:cBhvr>
                                      <p:by x="105000" y="105000"/>
                                    </p:animScale>
                                  </p:childTnLst>
                                </p:cTn>
                              </p:par>
                              <p:par>
                                <p:cTn id="297" presetID="26" presetClass="emph" presetSubtype="0" dur="2000" repeatCount="indefinite" fill="hold" grpId="0" nodeType="withEffect">
                                  <p:stCondLst>
                                    <p:cond delay="2000"/>
                                  </p:stCondLst>
                                  <p:childTnLst>
                                    <p:animEffect transition="out" filter="fade">
                                      <p:cBhvr>
                                        <p:cTn id="298" dur="2000" tmFilter="0, 0; .2, .5; .8, .5; 1, 0"/>
                                        <p:tgtEl>
                                          <p:spTgt spid="397"/>
                                        </p:tgtEl>
                                      </p:cBhvr>
                                    </p:animEffect>
                                    <p:animScale>
                                      <p:cBhvr>
                                        <p:cTn id="299" dur="1000" autoRev="1" fill="hold"/>
                                        <p:tgtEl>
                                          <p:spTgt spid="397"/>
                                        </p:tgtEl>
                                      </p:cBhvr>
                                      <p:by x="105000" y="105000"/>
                                    </p:animScale>
                                  </p:childTnLst>
                                </p:cTn>
                              </p:par>
                              <p:par>
                                <p:cTn id="300" presetID="26" presetClass="emph" presetSubtype="0" dur="2000" repeatCount="indefinite" fill="hold" grpId="0" nodeType="withEffect">
                                  <p:stCondLst>
                                    <p:cond delay="2000"/>
                                  </p:stCondLst>
                                  <p:childTnLst>
                                    <p:animEffect transition="out" filter="fade">
                                      <p:cBhvr>
                                        <p:cTn id="301" dur="2000" tmFilter="0, 0; .2, .5; .8, .5; 1, 0"/>
                                        <p:tgtEl>
                                          <p:spTgt spid="398"/>
                                        </p:tgtEl>
                                      </p:cBhvr>
                                    </p:animEffect>
                                    <p:animScale>
                                      <p:cBhvr>
                                        <p:cTn id="302" dur="1000" autoRev="1" fill="hold"/>
                                        <p:tgtEl>
                                          <p:spTgt spid="398"/>
                                        </p:tgtEl>
                                      </p:cBhvr>
                                      <p:by x="105000" y="105000"/>
                                    </p:animScale>
                                  </p:childTnLst>
                                </p:cTn>
                              </p:par>
                              <p:par>
                                <p:cTn id="303" presetID="26" presetClass="emph" presetSubtype="0" dur="2000" repeatCount="indefinite" fill="hold" grpId="0" nodeType="withEffect">
                                  <p:stCondLst>
                                    <p:cond delay="2000"/>
                                  </p:stCondLst>
                                  <p:childTnLst>
                                    <p:animEffect transition="out" filter="fade">
                                      <p:cBhvr>
                                        <p:cTn id="304" dur="2000" tmFilter="0, 0; .2, .5; .8, .5; 1, 0"/>
                                        <p:tgtEl>
                                          <p:spTgt spid="399"/>
                                        </p:tgtEl>
                                      </p:cBhvr>
                                    </p:animEffect>
                                    <p:animScale>
                                      <p:cBhvr>
                                        <p:cTn id="305" dur="1000" autoRev="1" fill="hold"/>
                                        <p:tgtEl>
                                          <p:spTgt spid="399"/>
                                        </p:tgtEl>
                                      </p:cBhvr>
                                      <p:by x="105000" y="105000"/>
                                    </p:animScale>
                                  </p:childTnLst>
                                </p:cTn>
                              </p:par>
                              <p:par>
                                <p:cTn id="306" presetID="26" presetClass="emph" presetSubtype="0" dur="2000" repeatCount="indefinite" fill="hold" grpId="0" nodeType="withEffect">
                                  <p:stCondLst>
                                    <p:cond delay="2000"/>
                                  </p:stCondLst>
                                  <p:childTnLst>
                                    <p:animEffect transition="out" filter="fade">
                                      <p:cBhvr>
                                        <p:cTn id="307" dur="2000" tmFilter="0, 0; .2, .5; .8, .5; 1, 0"/>
                                        <p:tgtEl>
                                          <p:spTgt spid="400"/>
                                        </p:tgtEl>
                                      </p:cBhvr>
                                    </p:animEffect>
                                    <p:animScale>
                                      <p:cBhvr>
                                        <p:cTn id="308" dur="1000" autoRev="1" fill="hold"/>
                                        <p:tgtEl>
                                          <p:spTgt spid="400"/>
                                        </p:tgtEl>
                                      </p:cBhvr>
                                      <p:by x="105000" y="105000"/>
                                    </p:animScale>
                                  </p:childTnLst>
                                </p:cTn>
                              </p:par>
                              <p:par>
                                <p:cTn id="309" presetID="26" presetClass="emph" presetSubtype="0" dur="2000" repeatCount="indefinite" fill="hold" grpId="0" nodeType="withEffect">
                                  <p:stCondLst>
                                    <p:cond delay="2000"/>
                                  </p:stCondLst>
                                  <p:childTnLst>
                                    <p:animEffect transition="out" filter="fade">
                                      <p:cBhvr>
                                        <p:cTn id="310" dur="2000" tmFilter="0, 0; .2, .5; .8, .5; 1, 0"/>
                                        <p:tgtEl>
                                          <p:spTgt spid="401"/>
                                        </p:tgtEl>
                                      </p:cBhvr>
                                    </p:animEffect>
                                    <p:animScale>
                                      <p:cBhvr>
                                        <p:cTn id="311" dur="1000" autoRev="1" fill="hold"/>
                                        <p:tgtEl>
                                          <p:spTgt spid="401"/>
                                        </p:tgtEl>
                                      </p:cBhvr>
                                      <p:by x="105000" y="105000"/>
                                    </p:animScale>
                                  </p:childTnLst>
                                </p:cTn>
                              </p:par>
                              <p:par>
                                <p:cTn id="312" presetID="26" presetClass="emph" presetSubtype="0" dur="2000" repeatCount="indefinite" fill="hold" grpId="0" nodeType="withEffect">
                                  <p:stCondLst>
                                    <p:cond delay="2000"/>
                                  </p:stCondLst>
                                  <p:childTnLst>
                                    <p:animEffect transition="out" filter="fade">
                                      <p:cBhvr>
                                        <p:cTn id="313" dur="2000" tmFilter="0, 0; .2, .5; .8, .5; 1, 0"/>
                                        <p:tgtEl>
                                          <p:spTgt spid="402"/>
                                        </p:tgtEl>
                                      </p:cBhvr>
                                    </p:animEffect>
                                    <p:animScale>
                                      <p:cBhvr>
                                        <p:cTn id="314" dur="1000" autoRev="1" fill="hold"/>
                                        <p:tgtEl>
                                          <p:spTgt spid="402"/>
                                        </p:tgtEl>
                                      </p:cBhvr>
                                      <p:by x="105000" y="105000"/>
                                    </p:animScale>
                                  </p:childTnLst>
                                </p:cTn>
                              </p:par>
                              <p:par>
                                <p:cTn id="315" presetID="26" presetClass="emph" presetSubtype="0" dur="2000" repeatCount="indefinite" fill="hold" grpId="0" nodeType="withEffect">
                                  <p:stCondLst>
                                    <p:cond delay="2000"/>
                                  </p:stCondLst>
                                  <p:childTnLst>
                                    <p:animEffect transition="out" filter="fade">
                                      <p:cBhvr>
                                        <p:cTn id="316" dur="2000" tmFilter="0, 0; .2, .5; .8, .5; 1, 0"/>
                                        <p:tgtEl>
                                          <p:spTgt spid="403"/>
                                        </p:tgtEl>
                                      </p:cBhvr>
                                    </p:animEffect>
                                    <p:animScale>
                                      <p:cBhvr>
                                        <p:cTn id="317" dur="1000" autoRev="1" fill="hold"/>
                                        <p:tgtEl>
                                          <p:spTgt spid="403"/>
                                        </p:tgtEl>
                                      </p:cBhvr>
                                      <p:by x="105000" y="105000"/>
                                    </p:animScale>
                                  </p:childTnLst>
                                </p:cTn>
                              </p:par>
                              <p:par>
                                <p:cTn id="318" presetID="26" presetClass="emph" presetSubtype="0" dur="2000" repeatCount="indefinite" fill="hold" grpId="0" nodeType="withEffect">
                                  <p:stCondLst>
                                    <p:cond delay="2000"/>
                                  </p:stCondLst>
                                  <p:childTnLst>
                                    <p:animEffect transition="out" filter="fade">
                                      <p:cBhvr>
                                        <p:cTn id="319" dur="2000" tmFilter="0, 0; .2, .5; .8, .5; 1, 0"/>
                                        <p:tgtEl>
                                          <p:spTgt spid="404"/>
                                        </p:tgtEl>
                                      </p:cBhvr>
                                    </p:animEffect>
                                    <p:animScale>
                                      <p:cBhvr>
                                        <p:cTn id="320" dur="1000" autoRev="1" fill="hold"/>
                                        <p:tgtEl>
                                          <p:spTgt spid="404"/>
                                        </p:tgtEl>
                                      </p:cBhvr>
                                      <p:by x="105000" y="105000"/>
                                    </p:animScale>
                                  </p:childTnLst>
                                </p:cTn>
                              </p:par>
                              <p:par>
                                <p:cTn id="321" presetID="26" presetClass="emph" presetSubtype="0" dur="2000" repeatCount="indefinite" fill="hold" grpId="0" nodeType="withEffect">
                                  <p:stCondLst>
                                    <p:cond delay="2000"/>
                                  </p:stCondLst>
                                  <p:childTnLst>
                                    <p:animEffect transition="out" filter="fade">
                                      <p:cBhvr>
                                        <p:cTn id="322" dur="2000" tmFilter="0, 0; .2, .5; .8, .5; 1, 0"/>
                                        <p:tgtEl>
                                          <p:spTgt spid="405"/>
                                        </p:tgtEl>
                                      </p:cBhvr>
                                    </p:animEffect>
                                    <p:animScale>
                                      <p:cBhvr>
                                        <p:cTn id="323" dur="1000" autoRev="1" fill="hold"/>
                                        <p:tgtEl>
                                          <p:spTgt spid="405"/>
                                        </p:tgtEl>
                                      </p:cBhvr>
                                      <p:by x="105000" y="105000"/>
                                    </p:animScale>
                                  </p:childTnLst>
                                </p:cTn>
                              </p:par>
                              <p:par>
                                <p:cTn id="324" presetID="26" presetClass="emph" presetSubtype="0" dur="2000" repeatCount="indefinite" fill="hold" grpId="0" nodeType="withEffect">
                                  <p:stCondLst>
                                    <p:cond delay="2000"/>
                                  </p:stCondLst>
                                  <p:childTnLst>
                                    <p:animEffect transition="out" filter="fade">
                                      <p:cBhvr>
                                        <p:cTn id="325" dur="2000" tmFilter="0, 0; .2, .5; .8, .5; 1, 0"/>
                                        <p:tgtEl>
                                          <p:spTgt spid="406"/>
                                        </p:tgtEl>
                                      </p:cBhvr>
                                    </p:animEffect>
                                    <p:animScale>
                                      <p:cBhvr>
                                        <p:cTn id="326" dur="1000" autoRev="1" fill="hold"/>
                                        <p:tgtEl>
                                          <p:spTgt spid="406"/>
                                        </p:tgtEl>
                                      </p:cBhvr>
                                      <p:by x="105000" y="105000"/>
                                    </p:animScale>
                                  </p:childTnLst>
                                </p:cTn>
                              </p:par>
                              <p:par>
                                <p:cTn id="327" presetID="26" presetClass="emph" presetSubtype="0" dur="2000" repeatCount="indefinite" fill="hold" grpId="0" nodeType="withEffect">
                                  <p:stCondLst>
                                    <p:cond delay="2000"/>
                                  </p:stCondLst>
                                  <p:childTnLst>
                                    <p:animEffect transition="out" filter="fade">
                                      <p:cBhvr>
                                        <p:cTn id="328" dur="2000" tmFilter="0, 0; .2, .5; .8, .5; 1, 0"/>
                                        <p:tgtEl>
                                          <p:spTgt spid="407"/>
                                        </p:tgtEl>
                                      </p:cBhvr>
                                    </p:animEffect>
                                    <p:animScale>
                                      <p:cBhvr>
                                        <p:cTn id="329" dur="1000" autoRev="1" fill="hold"/>
                                        <p:tgtEl>
                                          <p:spTgt spid="407"/>
                                        </p:tgtEl>
                                      </p:cBhvr>
                                      <p:by x="105000" y="105000"/>
                                    </p:animScale>
                                  </p:childTnLst>
                                </p:cTn>
                              </p:par>
                              <p:par>
                                <p:cTn id="330" presetID="26" presetClass="emph" presetSubtype="0" dur="2000" repeatCount="indefinite" fill="hold" grpId="0" nodeType="withEffect">
                                  <p:stCondLst>
                                    <p:cond delay="2000"/>
                                  </p:stCondLst>
                                  <p:childTnLst>
                                    <p:animEffect transition="out" filter="fade">
                                      <p:cBhvr>
                                        <p:cTn id="331" dur="2000" tmFilter="0, 0; .2, .5; .8, .5; 1, 0"/>
                                        <p:tgtEl>
                                          <p:spTgt spid="408"/>
                                        </p:tgtEl>
                                      </p:cBhvr>
                                    </p:animEffect>
                                    <p:animScale>
                                      <p:cBhvr>
                                        <p:cTn id="332" dur="1000" autoRev="1" fill="hold"/>
                                        <p:tgtEl>
                                          <p:spTgt spid="408"/>
                                        </p:tgtEl>
                                      </p:cBhvr>
                                      <p:by x="105000" y="105000"/>
                                    </p:animScale>
                                  </p:childTnLst>
                                </p:cTn>
                              </p:par>
                              <p:par>
                                <p:cTn id="333" presetID="26" presetClass="emph" presetSubtype="0" dur="2000" repeatCount="indefinite" fill="hold" grpId="0" nodeType="withEffect">
                                  <p:stCondLst>
                                    <p:cond delay="2000"/>
                                  </p:stCondLst>
                                  <p:childTnLst>
                                    <p:animEffect transition="out" filter="fade">
                                      <p:cBhvr>
                                        <p:cTn id="334" dur="2000" tmFilter="0, 0; .2, .5; .8, .5; 1, 0"/>
                                        <p:tgtEl>
                                          <p:spTgt spid="409"/>
                                        </p:tgtEl>
                                      </p:cBhvr>
                                    </p:animEffect>
                                    <p:animScale>
                                      <p:cBhvr>
                                        <p:cTn id="335" dur="1000" autoRev="1" fill="hold"/>
                                        <p:tgtEl>
                                          <p:spTgt spid="409"/>
                                        </p:tgtEl>
                                      </p:cBhvr>
                                      <p:by x="105000" y="105000"/>
                                    </p:animScale>
                                  </p:childTnLst>
                                </p:cTn>
                              </p:par>
                              <p:par>
                                <p:cTn id="336" presetID="26" presetClass="emph" presetSubtype="0" dur="2000" repeatCount="indefinite" fill="hold" grpId="0" nodeType="withEffect">
                                  <p:stCondLst>
                                    <p:cond delay="2250"/>
                                  </p:stCondLst>
                                  <p:childTnLst>
                                    <p:animEffect transition="out" filter="fade">
                                      <p:cBhvr>
                                        <p:cTn id="337" dur="2000" tmFilter="0, 0; .2, .5; .8, .5; 1, 0"/>
                                        <p:tgtEl>
                                          <p:spTgt spid="410"/>
                                        </p:tgtEl>
                                      </p:cBhvr>
                                    </p:animEffect>
                                    <p:animScale>
                                      <p:cBhvr>
                                        <p:cTn id="338" dur="1000" autoRev="1" fill="hold"/>
                                        <p:tgtEl>
                                          <p:spTgt spid="410"/>
                                        </p:tgtEl>
                                      </p:cBhvr>
                                      <p:by x="105000" y="105000"/>
                                    </p:animScale>
                                  </p:childTnLst>
                                </p:cTn>
                              </p:par>
                              <p:par>
                                <p:cTn id="339" presetID="26" presetClass="emph" presetSubtype="0" dur="2000" repeatCount="indefinite" fill="hold" grpId="0" nodeType="withEffect">
                                  <p:stCondLst>
                                    <p:cond delay="2250"/>
                                  </p:stCondLst>
                                  <p:childTnLst>
                                    <p:animEffect transition="out" filter="fade">
                                      <p:cBhvr>
                                        <p:cTn id="340" dur="2000" tmFilter="0, 0; .2, .5; .8, .5; 1, 0"/>
                                        <p:tgtEl>
                                          <p:spTgt spid="411"/>
                                        </p:tgtEl>
                                      </p:cBhvr>
                                    </p:animEffect>
                                    <p:animScale>
                                      <p:cBhvr>
                                        <p:cTn id="341" dur="1000" autoRev="1" fill="hold"/>
                                        <p:tgtEl>
                                          <p:spTgt spid="411"/>
                                        </p:tgtEl>
                                      </p:cBhvr>
                                      <p:by x="105000" y="105000"/>
                                    </p:animScale>
                                  </p:childTnLst>
                                </p:cTn>
                              </p:par>
                              <p:par>
                                <p:cTn id="342" presetID="26" presetClass="emph" presetSubtype="0" dur="2000" repeatCount="indefinite" fill="hold" grpId="0" nodeType="withEffect">
                                  <p:stCondLst>
                                    <p:cond delay="2250"/>
                                  </p:stCondLst>
                                  <p:childTnLst>
                                    <p:animEffect transition="out" filter="fade">
                                      <p:cBhvr>
                                        <p:cTn id="343" dur="2000" tmFilter="0, 0; .2, .5; .8, .5; 1, 0"/>
                                        <p:tgtEl>
                                          <p:spTgt spid="412"/>
                                        </p:tgtEl>
                                      </p:cBhvr>
                                    </p:animEffect>
                                    <p:animScale>
                                      <p:cBhvr>
                                        <p:cTn id="344" dur="1000" autoRev="1" fill="hold"/>
                                        <p:tgtEl>
                                          <p:spTgt spid="412"/>
                                        </p:tgtEl>
                                      </p:cBhvr>
                                      <p:by x="105000" y="105000"/>
                                    </p:animScale>
                                  </p:childTnLst>
                                </p:cTn>
                              </p:par>
                              <p:par>
                                <p:cTn id="345" presetID="26" presetClass="emph" presetSubtype="0" dur="2000" repeatCount="indefinite" fill="hold" grpId="0" nodeType="withEffect">
                                  <p:stCondLst>
                                    <p:cond delay="2250"/>
                                  </p:stCondLst>
                                  <p:childTnLst>
                                    <p:animEffect transition="out" filter="fade">
                                      <p:cBhvr>
                                        <p:cTn id="346" dur="2000" tmFilter="0, 0; .2, .5; .8, .5; 1, 0"/>
                                        <p:tgtEl>
                                          <p:spTgt spid="413"/>
                                        </p:tgtEl>
                                      </p:cBhvr>
                                    </p:animEffect>
                                    <p:animScale>
                                      <p:cBhvr>
                                        <p:cTn id="347" dur="1000" autoRev="1" fill="hold"/>
                                        <p:tgtEl>
                                          <p:spTgt spid="413"/>
                                        </p:tgtEl>
                                      </p:cBhvr>
                                      <p:by x="105000" y="105000"/>
                                    </p:animScale>
                                  </p:childTnLst>
                                </p:cTn>
                              </p:par>
                              <p:par>
                                <p:cTn id="348" presetID="26" presetClass="emph" presetSubtype="0" dur="2000" repeatCount="indefinite" fill="hold" grpId="0" nodeType="withEffect">
                                  <p:stCondLst>
                                    <p:cond delay="2250"/>
                                  </p:stCondLst>
                                  <p:childTnLst>
                                    <p:animEffect transition="out" filter="fade">
                                      <p:cBhvr>
                                        <p:cTn id="349" dur="2000" tmFilter="0, 0; .2, .5; .8, .5; 1, 0"/>
                                        <p:tgtEl>
                                          <p:spTgt spid="414"/>
                                        </p:tgtEl>
                                      </p:cBhvr>
                                    </p:animEffect>
                                    <p:animScale>
                                      <p:cBhvr>
                                        <p:cTn id="350" dur="1000" autoRev="1" fill="hold"/>
                                        <p:tgtEl>
                                          <p:spTgt spid="414"/>
                                        </p:tgtEl>
                                      </p:cBhvr>
                                      <p:by x="105000" y="105000"/>
                                    </p:animScale>
                                  </p:childTnLst>
                                </p:cTn>
                              </p:par>
                              <p:par>
                                <p:cTn id="351" presetID="26" presetClass="emph" presetSubtype="0" dur="2000" repeatCount="indefinite" fill="hold" grpId="0" nodeType="withEffect">
                                  <p:stCondLst>
                                    <p:cond delay="2250"/>
                                  </p:stCondLst>
                                  <p:childTnLst>
                                    <p:animEffect transition="out" filter="fade">
                                      <p:cBhvr>
                                        <p:cTn id="352" dur="2000" tmFilter="0, 0; .2, .5; .8, .5; 1, 0"/>
                                        <p:tgtEl>
                                          <p:spTgt spid="415"/>
                                        </p:tgtEl>
                                      </p:cBhvr>
                                    </p:animEffect>
                                    <p:animScale>
                                      <p:cBhvr>
                                        <p:cTn id="353" dur="1000" autoRev="1" fill="hold"/>
                                        <p:tgtEl>
                                          <p:spTgt spid="415"/>
                                        </p:tgtEl>
                                      </p:cBhvr>
                                      <p:by x="105000" y="105000"/>
                                    </p:animScale>
                                  </p:childTnLst>
                                </p:cTn>
                              </p:par>
                              <p:par>
                                <p:cTn id="354" presetID="26" presetClass="emph" presetSubtype="0" dur="2000" repeatCount="indefinite" fill="hold" grpId="0" nodeType="withEffect">
                                  <p:stCondLst>
                                    <p:cond delay="2250"/>
                                  </p:stCondLst>
                                  <p:childTnLst>
                                    <p:animEffect transition="out" filter="fade">
                                      <p:cBhvr>
                                        <p:cTn id="355" dur="2000" tmFilter="0, 0; .2, .5; .8, .5; 1, 0"/>
                                        <p:tgtEl>
                                          <p:spTgt spid="416"/>
                                        </p:tgtEl>
                                      </p:cBhvr>
                                    </p:animEffect>
                                    <p:animScale>
                                      <p:cBhvr>
                                        <p:cTn id="356" dur="1000" autoRev="1" fill="hold"/>
                                        <p:tgtEl>
                                          <p:spTgt spid="416"/>
                                        </p:tgtEl>
                                      </p:cBhvr>
                                      <p:by x="105000" y="105000"/>
                                    </p:animScale>
                                  </p:childTnLst>
                                </p:cTn>
                              </p:par>
                              <p:par>
                                <p:cTn id="357" presetID="26" presetClass="emph" presetSubtype="0" dur="2000" repeatCount="indefinite" fill="hold" grpId="0" nodeType="withEffect">
                                  <p:stCondLst>
                                    <p:cond delay="2250"/>
                                  </p:stCondLst>
                                  <p:childTnLst>
                                    <p:animEffect transition="out" filter="fade">
                                      <p:cBhvr>
                                        <p:cTn id="358" dur="2000" tmFilter="0, 0; .2, .5; .8, .5; 1, 0"/>
                                        <p:tgtEl>
                                          <p:spTgt spid="417"/>
                                        </p:tgtEl>
                                      </p:cBhvr>
                                    </p:animEffect>
                                    <p:animScale>
                                      <p:cBhvr>
                                        <p:cTn id="359" dur="1000" autoRev="1" fill="hold"/>
                                        <p:tgtEl>
                                          <p:spTgt spid="417"/>
                                        </p:tgtEl>
                                      </p:cBhvr>
                                      <p:by x="105000" y="105000"/>
                                    </p:animScale>
                                  </p:childTnLst>
                                </p:cTn>
                              </p:par>
                              <p:par>
                                <p:cTn id="360" presetID="26" presetClass="emph" presetSubtype="0" dur="2000" repeatCount="indefinite" fill="hold" grpId="0" nodeType="withEffect">
                                  <p:stCondLst>
                                    <p:cond delay="2250"/>
                                  </p:stCondLst>
                                  <p:childTnLst>
                                    <p:animEffect transition="out" filter="fade">
                                      <p:cBhvr>
                                        <p:cTn id="361" dur="2000" tmFilter="0, 0; .2, .5; .8, .5; 1, 0"/>
                                        <p:tgtEl>
                                          <p:spTgt spid="418"/>
                                        </p:tgtEl>
                                      </p:cBhvr>
                                    </p:animEffect>
                                    <p:animScale>
                                      <p:cBhvr>
                                        <p:cTn id="362" dur="1000" autoRev="1" fill="hold"/>
                                        <p:tgtEl>
                                          <p:spTgt spid="418"/>
                                        </p:tgtEl>
                                      </p:cBhvr>
                                      <p:by x="105000" y="105000"/>
                                    </p:animScale>
                                  </p:childTnLst>
                                </p:cTn>
                              </p:par>
                              <p:par>
                                <p:cTn id="363" presetID="26" presetClass="emph" presetSubtype="0" dur="2000" repeatCount="indefinite" fill="hold" grpId="0" nodeType="withEffect">
                                  <p:stCondLst>
                                    <p:cond delay="2250"/>
                                  </p:stCondLst>
                                  <p:childTnLst>
                                    <p:animEffect transition="out" filter="fade">
                                      <p:cBhvr>
                                        <p:cTn id="364" dur="2000" tmFilter="0, 0; .2, .5; .8, .5; 1, 0"/>
                                        <p:tgtEl>
                                          <p:spTgt spid="419"/>
                                        </p:tgtEl>
                                      </p:cBhvr>
                                    </p:animEffect>
                                    <p:animScale>
                                      <p:cBhvr>
                                        <p:cTn id="365" dur="1000" autoRev="1" fill="hold"/>
                                        <p:tgtEl>
                                          <p:spTgt spid="419"/>
                                        </p:tgtEl>
                                      </p:cBhvr>
                                      <p:by x="105000" y="105000"/>
                                    </p:animScale>
                                  </p:childTnLst>
                                </p:cTn>
                              </p:par>
                              <p:par>
                                <p:cTn id="366" presetID="26" presetClass="emph" presetSubtype="0" dur="2000" repeatCount="indefinite" fill="hold" grpId="0" nodeType="withEffect">
                                  <p:stCondLst>
                                    <p:cond delay="2250"/>
                                  </p:stCondLst>
                                  <p:childTnLst>
                                    <p:animEffect transition="out" filter="fade">
                                      <p:cBhvr>
                                        <p:cTn id="367" dur="2000" tmFilter="0, 0; .2, .5; .8, .5; 1, 0"/>
                                        <p:tgtEl>
                                          <p:spTgt spid="420"/>
                                        </p:tgtEl>
                                      </p:cBhvr>
                                    </p:animEffect>
                                    <p:animScale>
                                      <p:cBhvr>
                                        <p:cTn id="368" dur="1000" autoRev="1" fill="hold"/>
                                        <p:tgtEl>
                                          <p:spTgt spid="420"/>
                                        </p:tgtEl>
                                      </p:cBhvr>
                                      <p:by x="105000" y="105000"/>
                                    </p:animScale>
                                  </p:childTnLst>
                                </p:cTn>
                              </p:par>
                              <p:par>
                                <p:cTn id="369" presetID="26" presetClass="emph" presetSubtype="0" dur="2000" repeatCount="indefinite" fill="hold" grpId="0" nodeType="withEffect">
                                  <p:stCondLst>
                                    <p:cond delay="2250"/>
                                  </p:stCondLst>
                                  <p:childTnLst>
                                    <p:animEffect transition="out" filter="fade">
                                      <p:cBhvr>
                                        <p:cTn id="370" dur="2000" tmFilter="0, 0; .2, .5; .8, .5; 1, 0"/>
                                        <p:tgtEl>
                                          <p:spTgt spid="421"/>
                                        </p:tgtEl>
                                      </p:cBhvr>
                                    </p:animEffect>
                                    <p:animScale>
                                      <p:cBhvr>
                                        <p:cTn id="371" dur="1000" autoRev="1" fill="hold"/>
                                        <p:tgtEl>
                                          <p:spTgt spid="421"/>
                                        </p:tgtEl>
                                      </p:cBhvr>
                                      <p:by x="105000" y="105000"/>
                                    </p:animScale>
                                  </p:childTnLst>
                                </p:cTn>
                              </p:par>
                              <p:par>
                                <p:cTn id="372" presetID="26" presetClass="emph" presetSubtype="0" dur="2000" repeatCount="indefinite" fill="hold" grpId="0" nodeType="withEffect">
                                  <p:stCondLst>
                                    <p:cond delay="2250"/>
                                  </p:stCondLst>
                                  <p:childTnLst>
                                    <p:animEffect transition="out" filter="fade">
                                      <p:cBhvr>
                                        <p:cTn id="373" dur="2000" tmFilter="0, 0; .2, .5; .8, .5; 1, 0"/>
                                        <p:tgtEl>
                                          <p:spTgt spid="422"/>
                                        </p:tgtEl>
                                      </p:cBhvr>
                                    </p:animEffect>
                                    <p:animScale>
                                      <p:cBhvr>
                                        <p:cTn id="374" dur="1000" autoRev="1" fill="hold"/>
                                        <p:tgtEl>
                                          <p:spTgt spid="422"/>
                                        </p:tgtEl>
                                      </p:cBhvr>
                                      <p:by x="105000" y="105000"/>
                                    </p:animScale>
                                  </p:childTnLst>
                                </p:cTn>
                              </p:par>
                              <p:par>
                                <p:cTn id="375" presetID="26" presetClass="emph" presetSubtype="0" dur="2000" repeatCount="indefinite" fill="hold" grpId="0" nodeType="withEffect">
                                  <p:stCondLst>
                                    <p:cond delay="2250"/>
                                  </p:stCondLst>
                                  <p:childTnLst>
                                    <p:animEffect transition="out" filter="fade">
                                      <p:cBhvr>
                                        <p:cTn id="376" dur="2000" tmFilter="0, 0; .2, .5; .8, .5; 1, 0"/>
                                        <p:tgtEl>
                                          <p:spTgt spid="423"/>
                                        </p:tgtEl>
                                      </p:cBhvr>
                                    </p:animEffect>
                                    <p:animScale>
                                      <p:cBhvr>
                                        <p:cTn id="377" dur="1000" autoRev="1" fill="hold"/>
                                        <p:tgtEl>
                                          <p:spTgt spid="423"/>
                                        </p:tgtEl>
                                      </p:cBhvr>
                                      <p:by x="105000" y="105000"/>
                                    </p:animScale>
                                  </p:childTnLst>
                                </p:cTn>
                              </p:par>
                              <p:par>
                                <p:cTn id="378" presetID="26" presetClass="emph" presetSubtype="0" dur="2000" repeatCount="indefinite" fill="hold" grpId="0" nodeType="withEffect">
                                  <p:stCondLst>
                                    <p:cond delay="2500"/>
                                  </p:stCondLst>
                                  <p:childTnLst>
                                    <p:animEffect transition="out" filter="fade">
                                      <p:cBhvr>
                                        <p:cTn id="379" dur="2000" tmFilter="0, 0; .2, .5; .8, .5; 1, 0"/>
                                        <p:tgtEl>
                                          <p:spTgt spid="424"/>
                                        </p:tgtEl>
                                      </p:cBhvr>
                                    </p:animEffect>
                                    <p:animScale>
                                      <p:cBhvr>
                                        <p:cTn id="380" dur="1000" autoRev="1" fill="hold"/>
                                        <p:tgtEl>
                                          <p:spTgt spid="424"/>
                                        </p:tgtEl>
                                      </p:cBhvr>
                                      <p:by x="105000" y="105000"/>
                                    </p:animScale>
                                  </p:childTnLst>
                                </p:cTn>
                              </p:par>
                              <p:par>
                                <p:cTn id="381" presetID="26" presetClass="emph" presetSubtype="0" dur="2000" repeatCount="indefinite" fill="hold" grpId="0" nodeType="withEffect">
                                  <p:stCondLst>
                                    <p:cond delay="2500"/>
                                  </p:stCondLst>
                                  <p:childTnLst>
                                    <p:animEffect transition="out" filter="fade">
                                      <p:cBhvr>
                                        <p:cTn id="382" dur="2000" tmFilter="0, 0; .2, .5; .8, .5; 1, 0"/>
                                        <p:tgtEl>
                                          <p:spTgt spid="425"/>
                                        </p:tgtEl>
                                      </p:cBhvr>
                                    </p:animEffect>
                                    <p:animScale>
                                      <p:cBhvr>
                                        <p:cTn id="383" dur="1000" autoRev="1" fill="hold"/>
                                        <p:tgtEl>
                                          <p:spTgt spid="425"/>
                                        </p:tgtEl>
                                      </p:cBhvr>
                                      <p:by x="105000" y="105000"/>
                                    </p:animScale>
                                  </p:childTnLst>
                                </p:cTn>
                              </p:par>
                              <p:par>
                                <p:cTn id="384" presetID="26" presetClass="emph" presetSubtype="0" dur="2000" repeatCount="indefinite" fill="hold" grpId="0" nodeType="withEffect">
                                  <p:stCondLst>
                                    <p:cond delay="2500"/>
                                  </p:stCondLst>
                                  <p:childTnLst>
                                    <p:animEffect transition="out" filter="fade">
                                      <p:cBhvr>
                                        <p:cTn id="385" dur="2000" tmFilter="0, 0; .2, .5; .8, .5; 1, 0"/>
                                        <p:tgtEl>
                                          <p:spTgt spid="426"/>
                                        </p:tgtEl>
                                      </p:cBhvr>
                                    </p:animEffect>
                                    <p:animScale>
                                      <p:cBhvr>
                                        <p:cTn id="386" dur="1000" autoRev="1" fill="hold"/>
                                        <p:tgtEl>
                                          <p:spTgt spid="426"/>
                                        </p:tgtEl>
                                      </p:cBhvr>
                                      <p:by x="105000" y="105000"/>
                                    </p:animScale>
                                  </p:childTnLst>
                                </p:cTn>
                              </p:par>
                              <p:par>
                                <p:cTn id="387" presetID="26" presetClass="emph" presetSubtype="0" dur="2000" repeatCount="indefinite" fill="hold" grpId="0" nodeType="withEffect">
                                  <p:stCondLst>
                                    <p:cond delay="2500"/>
                                  </p:stCondLst>
                                  <p:childTnLst>
                                    <p:animEffect transition="out" filter="fade">
                                      <p:cBhvr>
                                        <p:cTn id="388" dur="2000" tmFilter="0, 0; .2, .5; .8, .5; 1, 0"/>
                                        <p:tgtEl>
                                          <p:spTgt spid="427"/>
                                        </p:tgtEl>
                                      </p:cBhvr>
                                    </p:animEffect>
                                    <p:animScale>
                                      <p:cBhvr>
                                        <p:cTn id="389" dur="1000" autoRev="1" fill="hold"/>
                                        <p:tgtEl>
                                          <p:spTgt spid="427"/>
                                        </p:tgtEl>
                                      </p:cBhvr>
                                      <p:by x="105000" y="105000"/>
                                    </p:animScale>
                                  </p:childTnLst>
                                </p:cTn>
                              </p:par>
                              <p:par>
                                <p:cTn id="390" presetID="26" presetClass="emph" presetSubtype="0" dur="2000" repeatCount="indefinite" fill="hold" grpId="0" nodeType="withEffect">
                                  <p:stCondLst>
                                    <p:cond delay="2500"/>
                                  </p:stCondLst>
                                  <p:childTnLst>
                                    <p:animEffect transition="out" filter="fade">
                                      <p:cBhvr>
                                        <p:cTn id="391" dur="2000" tmFilter="0, 0; .2, .5; .8, .5; 1, 0"/>
                                        <p:tgtEl>
                                          <p:spTgt spid="428"/>
                                        </p:tgtEl>
                                      </p:cBhvr>
                                    </p:animEffect>
                                    <p:animScale>
                                      <p:cBhvr>
                                        <p:cTn id="392" dur="1000" autoRev="1" fill="hold"/>
                                        <p:tgtEl>
                                          <p:spTgt spid="428"/>
                                        </p:tgtEl>
                                      </p:cBhvr>
                                      <p:by x="105000" y="105000"/>
                                    </p:animScale>
                                  </p:childTnLst>
                                </p:cTn>
                              </p:par>
                              <p:par>
                                <p:cTn id="393" presetID="26" presetClass="emph" presetSubtype="0" dur="2000" repeatCount="indefinite" fill="hold" grpId="0" nodeType="withEffect">
                                  <p:stCondLst>
                                    <p:cond delay="2500"/>
                                  </p:stCondLst>
                                  <p:childTnLst>
                                    <p:animEffect transition="out" filter="fade">
                                      <p:cBhvr>
                                        <p:cTn id="394" dur="2000" tmFilter="0, 0; .2, .5; .8, .5; 1, 0"/>
                                        <p:tgtEl>
                                          <p:spTgt spid="429"/>
                                        </p:tgtEl>
                                      </p:cBhvr>
                                    </p:animEffect>
                                    <p:animScale>
                                      <p:cBhvr>
                                        <p:cTn id="395" dur="1000" autoRev="1" fill="hold"/>
                                        <p:tgtEl>
                                          <p:spTgt spid="429"/>
                                        </p:tgtEl>
                                      </p:cBhvr>
                                      <p:by x="105000" y="105000"/>
                                    </p:animScale>
                                  </p:childTnLst>
                                </p:cTn>
                              </p:par>
                              <p:par>
                                <p:cTn id="396" presetID="26" presetClass="emph" presetSubtype="0" dur="2000" repeatCount="indefinite" fill="hold" grpId="0" nodeType="withEffect">
                                  <p:stCondLst>
                                    <p:cond delay="2500"/>
                                  </p:stCondLst>
                                  <p:childTnLst>
                                    <p:animEffect transition="out" filter="fade">
                                      <p:cBhvr>
                                        <p:cTn id="397" dur="2000" tmFilter="0, 0; .2, .5; .8, .5; 1, 0"/>
                                        <p:tgtEl>
                                          <p:spTgt spid="430"/>
                                        </p:tgtEl>
                                      </p:cBhvr>
                                    </p:animEffect>
                                    <p:animScale>
                                      <p:cBhvr>
                                        <p:cTn id="398" dur="1000" autoRev="1" fill="hold"/>
                                        <p:tgtEl>
                                          <p:spTgt spid="430"/>
                                        </p:tgtEl>
                                      </p:cBhvr>
                                      <p:by x="105000" y="105000"/>
                                    </p:animScale>
                                  </p:childTnLst>
                                </p:cTn>
                              </p:par>
                              <p:par>
                                <p:cTn id="399" presetID="26" presetClass="emph" presetSubtype="0" dur="2000" repeatCount="indefinite" fill="hold" grpId="0" nodeType="withEffect">
                                  <p:stCondLst>
                                    <p:cond delay="2500"/>
                                  </p:stCondLst>
                                  <p:childTnLst>
                                    <p:animEffect transition="out" filter="fade">
                                      <p:cBhvr>
                                        <p:cTn id="400" dur="2000" tmFilter="0, 0; .2, .5; .8, .5; 1, 0"/>
                                        <p:tgtEl>
                                          <p:spTgt spid="431"/>
                                        </p:tgtEl>
                                      </p:cBhvr>
                                    </p:animEffect>
                                    <p:animScale>
                                      <p:cBhvr>
                                        <p:cTn id="401" dur="1000" autoRev="1" fill="hold"/>
                                        <p:tgtEl>
                                          <p:spTgt spid="431"/>
                                        </p:tgtEl>
                                      </p:cBhvr>
                                      <p:by x="105000" y="105000"/>
                                    </p:animScale>
                                  </p:childTnLst>
                                </p:cTn>
                              </p:par>
                              <p:par>
                                <p:cTn id="402" presetID="26" presetClass="emph" presetSubtype="0" dur="2000" repeatCount="indefinite" fill="hold" grpId="0" nodeType="withEffect">
                                  <p:stCondLst>
                                    <p:cond delay="2500"/>
                                  </p:stCondLst>
                                  <p:childTnLst>
                                    <p:animEffect transition="out" filter="fade">
                                      <p:cBhvr>
                                        <p:cTn id="403" dur="2000" tmFilter="0, 0; .2, .5; .8, .5; 1, 0"/>
                                        <p:tgtEl>
                                          <p:spTgt spid="432"/>
                                        </p:tgtEl>
                                      </p:cBhvr>
                                    </p:animEffect>
                                    <p:animScale>
                                      <p:cBhvr>
                                        <p:cTn id="404" dur="1000" autoRev="1" fill="hold"/>
                                        <p:tgtEl>
                                          <p:spTgt spid="432"/>
                                        </p:tgtEl>
                                      </p:cBhvr>
                                      <p:by x="105000" y="105000"/>
                                    </p:animScale>
                                  </p:childTnLst>
                                </p:cTn>
                              </p:par>
                              <p:par>
                                <p:cTn id="405" presetID="26" presetClass="emph" presetSubtype="0" dur="2000" repeatCount="indefinite" fill="hold" grpId="0" nodeType="withEffect">
                                  <p:stCondLst>
                                    <p:cond delay="2500"/>
                                  </p:stCondLst>
                                  <p:childTnLst>
                                    <p:animEffect transition="out" filter="fade">
                                      <p:cBhvr>
                                        <p:cTn id="406" dur="2000" tmFilter="0, 0; .2, .5; .8, .5; 1, 0"/>
                                        <p:tgtEl>
                                          <p:spTgt spid="433"/>
                                        </p:tgtEl>
                                      </p:cBhvr>
                                    </p:animEffect>
                                    <p:animScale>
                                      <p:cBhvr>
                                        <p:cTn id="407" dur="1000" autoRev="1" fill="hold"/>
                                        <p:tgtEl>
                                          <p:spTgt spid="433"/>
                                        </p:tgtEl>
                                      </p:cBhvr>
                                      <p:by x="105000" y="105000"/>
                                    </p:animScale>
                                  </p:childTnLst>
                                </p:cTn>
                              </p:par>
                              <p:par>
                                <p:cTn id="408" presetID="26" presetClass="emph" presetSubtype="0" dur="2000" repeatCount="indefinite" fill="hold" grpId="0" nodeType="withEffect">
                                  <p:stCondLst>
                                    <p:cond delay="2500"/>
                                  </p:stCondLst>
                                  <p:childTnLst>
                                    <p:animEffect transition="out" filter="fade">
                                      <p:cBhvr>
                                        <p:cTn id="409" dur="2000" tmFilter="0, 0; .2, .5; .8, .5; 1, 0"/>
                                        <p:tgtEl>
                                          <p:spTgt spid="434"/>
                                        </p:tgtEl>
                                      </p:cBhvr>
                                    </p:animEffect>
                                    <p:animScale>
                                      <p:cBhvr>
                                        <p:cTn id="410" dur="1000" autoRev="1" fill="hold"/>
                                        <p:tgtEl>
                                          <p:spTgt spid="434"/>
                                        </p:tgtEl>
                                      </p:cBhvr>
                                      <p:by x="105000" y="105000"/>
                                    </p:animScale>
                                  </p:childTnLst>
                                </p:cTn>
                              </p:par>
                              <p:par>
                                <p:cTn id="411" presetID="26" presetClass="emph" presetSubtype="0" dur="2000" repeatCount="indefinite" fill="hold" grpId="0" nodeType="withEffect">
                                  <p:stCondLst>
                                    <p:cond delay="2500"/>
                                  </p:stCondLst>
                                  <p:childTnLst>
                                    <p:animEffect transition="out" filter="fade">
                                      <p:cBhvr>
                                        <p:cTn id="412" dur="2000" tmFilter="0, 0; .2, .5; .8, .5; 1, 0"/>
                                        <p:tgtEl>
                                          <p:spTgt spid="435"/>
                                        </p:tgtEl>
                                      </p:cBhvr>
                                    </p:animEffect>
                                    <p:animScale>
                                      <p:cBhvr>
                                        <p:cTn id="413" dur="1000" autoRev="1" fill="hold"/>
                                        <p:tgtEl>
                                          <p:spTgt spid="435"/>
                                        </p:tgtEl>
                                      </p:cBhvr>
                                      <p:by x="105000" y="105000"/>
                                    </p:animScale>
                                  </p:childTnLst>
                                </p:cTn>
                              </p:par>
                              <p:par>
                                <p:cTn id="414" presetID="26" presetClass="emph" presetSubtype="0" dur="2000" repeatCount="indefinite" fill="hold" grpId="0" nodeType="withEffect">
                                  <p:stCondLst>
                                    <p:cond delay="2500"/>
                                  </p:stCondLst>
                                  <p:childTnLst>
                                    <p:animEffect transition="out" filter="fade">
                                      <p:cBhvr>
                                        <p:cTn id="415" dur="2000" tmFilter="0, 0; .2, .5; .8, .5; 1, 0"/>
                                        <p:tgtEl>
                                          <p:spTgt spid="436"/>
                                        </p:tgtEl>
                                      </p:cBhvr>
                                    </p:animEffect>
                                    <p:animScale>
                                      <p:cBhvr>
                                        <p:cTn id="416" dur="1000" autoRev="1" fill="hold"/>
                                        <p:tgtEl>
                                          <p:spTgt spid="436"/>
                                        </p:tgtEl>
                                      </p:cBhvr>
                                      <p:by x="105000" y="105000"/>
                                    </p:animScale>
                                  </p:childTnLst>
                                </p:cTn>
                              </p:par>
                              <p:par>
                                <p:cTn id="417" presetID="26" presetClass="emph" presetSubtype="0" dur="2000" repeatCount="indefinite" fill="hold" grpId="0" nodeType="withEffect">
                                  <p:stCondLst>
                                    <p:cond delay="2500"/>
                                  </p:stCondLst>
                                  <p:childTnLst>
                                    <p:animEffect transition="out" filter="fade">
                                      <p:cBhvr>
                                        <p:cTn id="418" dur="2000" tmFilter="0, 0; .2, .5; .8, .5; 1, 0"/>
                                        <p:tgtEl>
                                          <p:spTgt spid="437"/>
                                        </p:tgtEl>
                                      </p:cBhvr>
                                    </p:animEffect>
                                    <p:animScale>
                                      <p:cBhvr>
                                        <p:cTn id="419" dur="1000" autoRev="1" fill="hold"/>
                                        <p:tgtEl>
                                          <p:spTgt spid="437"/>
                                        </p:tgtEl>
                                      </p:cBhvr>
                                      <p:by x="105000" y="105000"/>
                                    </p:animScale>
                                  </p:childTnLst>
                                </p:cTn>
                              </p:par>
                              <p:par>
                                <p:cTn id="420" presetID="26" presetClass="emph" presetSubtype="0" dur="2000" repeatCount="indefinite" fill="hold" grpId="0" nodeType="withEffect">
                                  <p:stCondLst>
                                    <p:cond delay="2750"/>
                                  </p:stCondLst>
                                  <p:childTnLst>
                                    <p:animEffect transition="out" filter="fade">
                                      <p:cBhvr>
                                        <p:cTn id="421" dur="2000" tmFilter="0, 0; .2, .5; .8, .5; 1, 0"/>
                                        <p:tgtEl>
                                          <p:spTgt spid="438"/>
                                        </p:tgtEl>
                                      </p:cBhvr>
                                    </p:animEffect>
                                    <p:animScale>
                                      <p:cBhvr>
                                        <p:cTn id="422" dur="1000" autoRev="1" fill="hold"/>
                                        <p:tgtEl>
                                          <p:spTgt spid="438"/>
                                        </p:tgtEl>
                                      </p:cBhvr>
                                      <p:by x="105000" y="105000"/>
                                    </p:animScale>
                                  </p:childTnLst>
                                </p:cTn>
                              </p:par>
                              <p:par>
                                <p:cTn id="423" presetID="26" presetClass="emph" presetSubtype="0" dur="2000" repeatCount="indefinite" fill="hold" grpId="0" nodeType="withEffect">
                                  <p:stCondLst>
                                    <p:cond delay="2750"/>
                                  </p:stCondLst>
                                  <p:childTnLst>
                                    <p:animEffect transition="out" filter="fade">
                                      <p:cBhvr>
                                        <p:cTn id="424" dur="2000" tmFilter="0, 0; .2, .5; .8, .5; 1, 0"/>
                                        <p:tgtEl>
                                          <p:spTgt spid="439"/>
                                        </p:tgtEl>
                                      </p:cBhvr>
                                    </p:animEffect>
                                    <p:animScale>
                                      <p:cBhvr>
                                        <p:cTn id="425" dur="1000" autoRev="1" fill="hold"/>
                                        <p:tgtEl>
                                          <p:spTgt spid="439"/>
                                        </p:tgtEl>
                                      </p:cBhvr>
                                      <p:by x="105000" y="105000"/>
                                    </p:animScale>
                                  </p:childTnLst>
                                </p:cTn>
                              </p:par>
                              <p:par>
                                <p:cTn id="426" presetID="26" presetClass="emph" presetSubtype="0" dur="2000" repeatCount="indefinite" fill="hold" grpId="0" nodeType="withEffect">
                                  <p:stCondLst>
                                    <p:cond delay="2750"/>
                                  </p:stCondLst>
                                  <p:childTnLst>
                                    <p:animEffect transition="out" filter="fade">
                                      <p:cBhvr>
                                        <p:cTn id="427" dur="2000" tmFilter="0, 0; .2, .5; .8, .5; 1, 0"/>
                                        <p:tgtEl>
                                          <p:spTgt spid="440"/>
                                        </p:tgtEl>
                                      </p:cBhvr>
                                    </p:animEffect>
                                    <p:animScale>
                                      <p:cBhvr>
                                        <p:cTn id="428" dur="1000" autoRev="1" fill="hold"/>
                                        <p:tgtEl>
                                          <p:spTgt spid="440"/>
                                        </p:tgtEl>
                                      </p:cBhvr>
                                      <p:by x="105000" y="105000"/>
                                    </p:animScale>
                                  </p:childTnLst>
                                </p:cTn>
                              </p:par>
                              <p:par>
                                <p:cTn id="429" presetID="26" presetClass="emph" presetSubtype="0" dur="2000" repeatCount="indefinite" fill="hold" grpId="0" nodeType="withEffect">
                                  <p:stCondLst>
                                    <p:cond delay="2750"/>
                                  </p:stCondLst>
                                  <p:childTnLst>
                                    <p:animEffect transition="out" filter="fade">
                                      <p:cBhvr>
                                        <p:cTn id="430" dur="2000" tmFilter="0, 0; .2, .5; .8, .5; 1, 0"/>
                                        <p:tgtEl>
                                          <p:spTgt spid="441"/>
                                        </p:tgtEl>
                                      </p:cBhvr>
                                    </p:animEffect>
                                    <p:animScale>
                                      <p:cBhvr>
                                        <p:cTn id="431" dur="1000" autoRev="1" fill="hold"/>
                                        <p:tgtEl>
                                          <p:spTgt spid="441"/>
                                        </p:tgtEl>
                                      </p:cBhvr>
                                      <p:by x="105000" y="105000"/>
                                    </p:animScale>
                                  </p:childTnLst>
                                </p:cTn>
                              </p:par>
                              <p:par>
                                <p:cTn id="432" presetID="26" presetClass="emph" presetSubtype="0" dur="2000" repeatCount="indefinite" fill="hold" grpId="0" nodeType="withEffect">
                                  <p:stCondLst>
                                    <p:cond delay="2750"/>
                                  </p:stCondLst>
                                  <p:childTnLst>
                                    <p:animEffect transition="out" filter="fade">
                                      <p:cBhvr>
                                        <p:cTn id="433" dur="2000" tmFilter="0, 0; .2, .5; .8, .5; 1, 0"/>
                                        <p:tgtEl>
                                          <p:spTgt spid="442"/>
                                        </p:tgtEl>
                                      </p:cBhvr>
                                    </p:animEffect>
                                    <p:animScale>
                                      <p:cBhvr>
                                        <p:cTn id="434" dur="1000" autoRev="1" fill="hold"/>
                                        <p:tgtEl>
                                          <p:spTgt spid="442"/>
                                        </p:tgtEl>
                                      </p:cBhvr>
                                      <p:by x="105000" y="105000"/>
                                    </p:animScale>
                                  </p:childTnLst>
                                </p:cTn>
                              </p:par>
                              <p:par>
                                <p:cTn id="435" presetID="26" presetClass="emph" presetSubtype="0" dur="2000" repeatCount="indefinite" fill="hold" grpId="0" nodeType="withEffect">
                                  <p:stCondLst>
                                    <p:cond delay="2750"/>
                                  </p:stCondLst>
                                  <p:childTnLst>
                                    <p:animEffect transition="out" filter="fade">
                                      <p:cBhvr>
                                        <p:cTn id="436" dur="2000" tmFilter="0, 0; .2, .5; .8, .5; 1, 0"/>
                                        <p:tgtEl>
                                          <p:spTgt spid="443"/>
                                        </p:tgtEl>
                                      </p:cBhvr>
                                    </p:animEffect>
                                    <p:animScale>
                                      <p:cBhvr>
                                        <p:cTn id="437" dur="1000" autoRev="1" fill="hold"/>
                                        <p:tgtEl>
                                          <p:spTgt spid="443"/>
                                        </p:tgtEl>
                                      </p:cBhvr>
                                      <p:by x="105000" y="105000"/>
                                    </p:animScale>
                                  </p:childTnLst>
                                </p:cTn>
                              </p:par>
                              <p:par>
                                <p:cTn id="438" presetID="26" presetClass="emph" presetSubtype="0" dur="2000" repeatCount="indefinite" fill="hold" grpId="0" nodeType="withEffect">
                                  <p:stCondLst>
                                    <p:cond delay="2750"/>
                                  </p:stCondLst>
                                  <p:childTnLst>
                                    <p:animEffect transition="out" filter="fade">
                                      <p:cBhvr>
                                        <p:cTn id="439" dur="2000" tmFilter="0, 0; .2, .5; .8, .5; 1, 0"/>
                                        <p:tgtEl>
                                          <p:spTgt spid="444"/>
                                        </p:tgtEl>
                                      </p:cBhvr>
                                    </p:animEffect>
                                    <p:animScale>
                                      <p:cBhvr>
                                        <p:cTn id="440" dur="1000" autoRev="1" fill="hold"/>
                                        <p:tgtEl>
                                          <p:spTgt spid="444"/>
                                        </p:tgtEl>
                                      </p:cBhvr>
                                      <p:by x="105000" y="105000"/>
                                    </p:animScale>
                                  </p:childTnLst>
                                </p:cTn>
                              </p:par>
                              <p:par>
                                <p:cTn id="441" presetID="26" presetClass="emph" presetSubtype="0" dur="2000" repeatCount="indefinite" fill="hold" grpId="0" nodeType="withEffect">
                                  <p:stCondLst>
                                    <p:cond delay="2750"/>
                                  </p:stCondLst>
                                  <p:childTnLst>
                                    <p:animEffect transition="out" filter="fade">
                                      <p:cBhvr>
                                        <p:cTn id="442" dur="2000" tmFilter="0, 0; .2, .5; .8, .5; 1, 0"/>
                                        <p:tgtEl>
                                          <p:spTgt spid="445"/>
                                        </p:tgtEl>
                                      </p:cBhvr>
                                    </p:animEffect>
                                    <p:animScale>
                                      <p:cBhvr>
                                        <p:cTn id="443" dur="1000" autoRev="1" fill="hold"/>
                                        <p:tgtEl>
                                          <p:spTgt spid="445"/>
                                        </p:tgtEl>
                                      </p:cBhvr>
                                      <p:by x="105000" y="105000"/>
                                    </p:animScale>
                                  </p:childTnLst>
                                </p:cTn>
                              </p:par>
                              <p:par>
                                <p:cTn id="444" presetID="26" presetClass="emph" presetSubtype="0" dur="2000" repeatCount="indefinite" fill="hold" grpId="0" nodeType="withEffect">
                                  <p:stCondLst>
                                    <p:cond delay="2750"/>
                                  </p:stCondLst>
                                  <p:childTnLst>
                                    <p:animEffect transition="out" filter="fade">
                                      <p:cBhvr>
                                        <p:cTn id="445" dur="2000" tmFilter="0, 0; .2, .5; .8, .5; 1, 0"/>
                                        <p:tgtEl>
                                          <p:spTgt spid="446"/>
                                        </p:tgtEl>
                                      </p:cBhvr>
                                    </p:animEffect>
                                    <p:animScale>
                                      <p:cBhvr>
                                        <p:cTn id="446" dur="1000" autoRev="1" fill="hold"/>
                                        <p:tgtEl>
                                          <p:spTgt spid="446"/>
                                        </p:tgtEl>
                                      </p:cBhvr>
                                      <p:by x="105000" y="105000"/>
                                    </p:animScale>
                                  </p:childTnLst>
                                </p:cTn>
                              </p:par>
                              <p:par>
                                <p:cTn id="447" presetID="26" presetClass="emph" presetSubtype="0" dur="2000" repeatCount="indefinite" fill="hold" grpId="0" nodeType="withEffect">
                                  <p:stCondLst>
                                    <p:cond delay="2750"/>
                                  </p:stCondLst>
                                  <p:childTnLst>
                                    <p:animEffect transition="out" filter="fade">
                                      <p:cBhvr>
                                        <p:cTn id="448" dur="2000" tmFilter="0, 0; .2, .5; .8, .5; 1, 0"/>
                                        <p:tgtEl>
                                          <p:spTgt spid="447"/>
                                        </p:tgtEl>
                                      </p:cBhvr>
                                    </p:animEffect>
                                    <p:animScale>
                                      <p:cBhvr>
                                        <p:cTn id="449" dur="1000" autoRev="1" fill="hold"/>
                                        <p:tgtEl>
                                          <p:spTgt spid="447"/>
                                        </p:tgtEl>
                                      </p:cBhvr>
                                      <p:by x="105000" y="105000"/>
                                    </p:animScale>
                                  </p:childTnLst>
                                </p:cTn>
                              </p:par>
                              <p:par>
                                <p:cTn id="450" presetID="26" presetClass="emph" presetSubtype="0" dur="2000" repeatCount="indefinite" fill="hold" grpId="0" nodeType="withEffect">
                                  <p:stCondLst>
                                    <p:cond delay="2750"/>
                                  </p:stCondLst>
                                  <p:childTnLst>
                                    <p:animEffect transition="out" filter="fade">
                                      <p:cBhvr>
                                        <p:cTn id="451" dur="2000" tmFilter="0, 0; .2, .5; .8, .5; 1, 0"/>
                                        <p:tgtEl>
                                          <p:spTgt spid="448"/>
                                        </p:tgtEl>
                                      </p:cBhvr>
                                    </p:animEffect>
                                    <p:animScale>
                                      <p:cBhvr>
                                        <p:cTn id="452" dur="1000" autoRev="1" fill="hold"/>
                                        <p:tgtEl>
                                          <p:spTgt spid="448"/>
                                        </p:tgtEl>
                                      </p:cBhvr>
                                      <p:by x="105000" y="105000"/>
                                    </p:animScale>
                                  </p:childTnLst>
                                </p:cTn>
                              </p:par>
                              <p:par>
                                <p:cTn id="453" presetID="26" presetClass="emph" presetSubtype="0" dur="2000" repeatCount="indefinite" fill="hold" grpId="0" nodeType="withEffect">
                                  <p:stCondLst>
                                    <p:cond delay="2750"/>
                                  </p:stCondLst>
                                  <p:childTnLst>
                                    <p:animEffect transition="out" filter="fade">
                                      <p:cBhvr>
                                        <p:cTn id="454" dur="2000" tmFilter="0, 0; .2, .5; .8, .5; 1, 0"/>
                                        <p:tgtEl>
                                          <p:spTgt spid="449"/>
                                        </p:tgtEl>
                                      </p:cBhvr>
                                    </p:animEffect>
                                    <p:animScale>
                                      <p:cBhvr>
                                        <p:cTn id="455" dur="1000" autoRev="1" fill="hold"/>
                                        <p:tgtEl>
                                          <p:spTgt spid="449"/>
                                        </p:tgtEl>
                                      </p:cBhvr>
                                      <p:by x="105000" y="105000"/>
                                    </p:animScale>
                                  </p:childTnLst>
                                </p:cTn>
                              </p:par>
                              <p:par>
                                <p:cTn id="456" presetID="26" presetClass="emph" presetSubtype="0" dur="2000" repeatCount="indefinite" fill="hold" grpId="0" nodeType="withEffect">
                                  <p:stCondLst>
                                    <p:cond delay="2750"/>
                                  </p:stCondLst>
                                  <p:childTnLst>
                                    <p:animEffect transition="out" filter="fade">
                                      <p:cBhvr>
                                        <p:cTn id="457" dur="2000" tmFilter="0, 0; .2, .5; .8, .5; 1, 0"/>
                                        <p:tgtEl>
                                          <p:spTgt spid="450"/>
                                        </p:tgtEl>
                                      </p:cBhvr>
                                    </p:animEffect>
                                    <p:animScale>
                                      <p:cBhvr>
                                        <p:cTn id="458" dur="1000" autoRev="1" fill="hold"/>
                                        <p:tgtEl>
                                          <p:spTgt spid="450"/>
                                        </p:tgtEl>
                                      </p:cBhvr>
                                      <p:by x="105000" y="105000"/>
                                    </p:animScale>
                                  </p:childTnLst>
                                </p:cTn>
                              </p:par>
                              <p:par>
                                <p:cTn id="459" presetID="26" presetClass="emph" presetSubtype="0" dur="2000" repeatCount="indefinite" fill="hold" grpId="0" nodeType="withEffect">
                                  <p:stCondLst>
                                    <p:cond delay="2750"/>
                                  </p:stCondLst>
                                  <p:childTnLst>
                                    <p:animEffect transition="out" filter="fade">
                                      <p:cBhvr>
                                        <p:cTn id="460" dur="2000" tmFilter="0, 0; .2, .5; .8, .5; 1, 0"/>
                                        <p:tgtEl>
                                          <p:spTgt spid="451"/>
                                        </p:tgtEl>
                                      </p:cBhvr>
                                    </p:animEffect>
                                    <p:animScale>
                                      <p:cBhvr>
                                        <p:cTn id="461" dur="1000" autoRev="1" fill="hold"/>
                                        <p:tgtEl>
                                          <p:spTgt spid="451"/>
                                        </p:tgtEl>
                                      </p:cBhvr>
                                      <p:by x="105000" y="105000"/>
                                    </p:animScale>
                                  </p:childTnLst>
                                </p:cTn>
                              </p:par>
                              <p:par>
                                <p:cTn id="462" presetID="26" presetClass="emph" presetSubtype="0" dur="2000" repeatCount="indefinite" fill="hold" grpId="0" nodeType="withEffect">
                                  <p:stCondLst>
                                    <p:cond delay="3000"/>
                                  </p:stCondLst>
                                  <p:childTnLst>
                                    <p:animEffect transition="out" filter="fade">
                                      <p:cBhvr>
                                        <p:cTn id="463" dur="2000" tmFilter="0, 0; .2, .5; .8, .5; 1, 0"/>
                                        <p:tgtEl>
                                          <p:spTgt spid="452"/>
                                        </p:tgtEl>
                                      </p:cBhvr>
                                    </p:animEffect>
                                    <p:animScale>
                                      <p:cBhvr>
                                        <p:cTn id="464" dur="1000" autoRev="1" fill="hold"/>
                                        <p:tgtEl>
                                          <p:spTgt spid="452"/>
                                        </p:tgtEl>
                                      </p:cBhvr>
                                      <p:by x="105000" y="105000"/>
                                    </p:animScale>
                                  </p:childTnLst>
                                </p:cTn>
                              </p:par>
                              <p:par>
                                <p:cTn id="465" presetID="26" presetClass="emph" presetSubtype="0" dur="2000" repeatCount="indefinite" fill="hold" grpId="0" nodeType="withEffect">
                                  <p:stCondLst>
                                    <p:cond delay="3000"/>
                                  </p:stCondLst>
                                  <p:childTnLst>
                                    <p:animEffect transition="out" filter="fade">
                                      <p:cBhvr>
                                        <p:cTn id="466" dur="2000" tmFilter="0, 0; .2, .5; .8, .5; 1, 0"/>
                                        <p:tgtEl>
                                          <p:spTgt spid="453"/>
                                        </p:tgtEl>
                                      </p:cBhvr>
                                    </p:animEffect>
                                    <p:animScale>
                                      <p:cBhvr>
                                        <p:cTn id="467" dur="1000" autoRev="1" fill="hold"/>
                                        <p:tgtEl>
                                          <p:spTgt spid="453"/>
                                        </p:tgtEl>
                                      </p:cBhvr>
                                      <p:by x="105000" y="105000"/>
                                    </p:animScale>
                                  </p:childTnLst>
                                </p:cTn>
                              </p:par>
                              <p:par>
                                <p:cTn id="468" presetID="26" presetClass="emph" presetSubtype="0" dur="2000" repeatCount="indefinite" fill="hold" grpId="0" nodeType="withEffect">
                                  <p:stCondLst>
                                    <p:cond delay="3000"/>
                                  </p:stCondLst>
                                  <p:childTnLst>
                                    <p:animEffect transition="out" filter="fade">
                                      <p:cBhvr>
                                        <p:cTn id="469" dur="2000" tmFilter="0, 0; .2, .5; .8, .5; 1, 0"/>
                                        <p:tgtEl>
                                          <p:spTgt spid="454"/>
                                        </p:tgtEl>
                                      </p:cBhvr>
                                    </p:animEffect>
                                    <p:animScale>
                                      <p:cBhvr>
                                        <p:cTn id="470" dur="1000" autoRev="1" fill="hold"/>
                                        <p:tgtEl>
                                          <p:spTgt spid="454"/>
                                        </p:tgtEl>
                                      </p:cBhvr>
                                      <p:by x="105000" y="105000"/>
                                    </p:animScale>
                                  </p:childTnLst>
                                </p:cTn>
                              </p:par>
                              <p:par>
                                <p:cTn id="471" presetID="26" presetClass="emph" presetSubtype="0" dur="2000" repeatCount="indefinite" fill="hold" grpId="0" nodeType="withEffect">
                                  <p:stCondLst>
                                    <p:cond delay="3000"/>
                                  </p:stCondLst>
                                  <p:childTnLst>
                                    <p:animEffect transition="out" filter="fade">
                                      <p:cBhvr>
                                        <p:cTn id="472" dur="2000" tmFilter="0, 0; .2, .5; .8, .5; 1, 0"/>
                                        <p:tgtEl>
                                          <p:spTgt spid="455"/>
                                        </p:tgtEl>
                                      </p:cBhvr>
                                    </p:animEffect>
                                    <p:animScale>
                                      <p:cBhvr>
                                        <p:cTn id="473" dur="1000" autoRev="1" fill="hold"/>
                                        <p:tgtEl>
                                          <p:spTgt spid="455"/>
                                        </p:tgtEl>
                                      </p:cBhvr>
                                      <p:by x="105000" y="105000"/>
                                    </p:animScale>
                                  </p:childTnLst>
                                </p:cTn>
                              </p:par>
                              <p:par>
                                <p:cTn id="474" presetID="26" presetClass="emph" presetSubtype="0" dur="2000" repeatCount="indefinite" fill="hold" grpId="0" nodeType="withEffect">
                                  <p:stCondLst>
                                    <p:cond delay="3000"/>
                                  </p:stCondLst>
                                  <p:childTnLst>
                                    <p:animEffect transition="out" filter="fade">
                                      <p:cBhvr>
                                        <p:cTn id="475" dur="2000" tmFilter="0, 0; .2, .5; .8, .5; 1, 0"/>
                                        <p:tgtEl>
                                          <p:spTgt spid="456"/>
                                        </p:tgtEl>
                                      </p:cBhvr>
                                    </p:animEffect>
                                    <p:animScale>
                                      <p:cBhvr>
                                        <p:cTn id="476" dur="1000" autoRev="1" fill="hold"/>
                                        <p:tgtEl>
                                          <p:spTgt spid="456"/>
                                        </p:tgtEl>
                                      </p:cBhvr>
                                      <p:by x="105000" y="105000"/>
                                    </p:animScale>
                                  </p:childTnLst>
                                </p:cTn>
                              </p:par>
                              <p:par>
                                <p:cTn id="477" presetID="26" presetClass="emph" presetSubtype="0" dur="2000" repeatCount="indefinite" fill="hold" grpId="0" nodeType="withEffect">
                                  <p:stCondLst>
                                    <p:cond delay="3000"/>
                                  </p:stCondLst>
                                  <p:childTnLst>
                                    <p:animEffect transition="out" filter="fade">
                                      <p:cBhvr>
                                        <p:cTn id="478" dur="2000" tmFilter="0, 0; .2, .5; .8, .5; 1, 0"/>
                                        <p:tgtEl>
                                          <p:spTgt spid="457"/>
                                        </p:tgtEl>
                                      </p:cBhvr>
                                    </p:animEffect>
                                    <p:animScale>
                                      <p:cBhvr>
                                        <p:cTn id="479" dur="1000" autoRev="1" fill="hold"/>
                                        <p:tgtEl>
                                          <p:spTgt spid="457"/>
                                        </p:tgtEl>
                                      </p:cBhvr>
                                      <p:by x="105000" y="105000"/>
                                    </p:animScale>
                                  </p:childTnLst>
                                </p:cTn>
                              </p:par>
                              <p:par>
                                <p:cTn id="480" presetID="26" presetClass="emph" presetSubtype="0" dur="2000" repeatCount="indefinite" fill="hold" grpId="0" nodeType="withEffect">
                                  <p:stCondLst>
                                    <p:cond delay="3000"/>
                                  </p:stCondLst>
                                  <p:childTnLst>
                                    <p:animEffect transition="out" filter="fade">
                                      <p:cBhvr>
                                        <p:cTn id="481" dur="2000" tmFilter="0, 0; .2, .5; .8, .5; 1, 0"/>
                                        <p:tgtEl>
                                          <p:spTgt spid="458"/>
                                        </p:tgtEl>
                                      </p:cBhvr>
                                    </p:animEffect>
                                    <p:animScale>
                                      <p:cBhvr>
                                        <p:cTn id="482" dur="1000" autoRev="1" fill="hold"/>
                                        <p:tgtEl>
                                          <p:spTgt spid="458"/>
                                        </p:tgtEl>
                                      </p:cBhvr>
                                      <p:by x="105000" y="105000"/>
                                    </p:animScale>
                                  </p:childTnLst>
                                </p:cTn>
                              </p:par>
                              <p:par>
                                <p:cTn id="483" presetID="26" presetClass="emph" presetSubtype="0" dur="2000" repeatCount="indefinite" fill="hold" grpId="0" nodeType="withEffect">
                                  <p:stCondLst>
                                    <p:cond delay="3000"/>
                                  </p:stCondLst>
                                  <p:childTnLst>
                                    <p:animEffect transition="out" filter="fade">
                                      <p:cBhvr>
                                        <p:cTn id="484" dur="2000" tmFilter="0, 0; .2, .5; .8, .5; 1, 0"/>
                                        <p:tgtEl>
                                          <p:spTgt spid="459"/>
                                        </p:tgtEl>
                                      </p:cBhvr>
                                    </p:animEffect>
                                    <p:animScale>
                                      <p:cBhvr>
                                        <p:cTn id="485" dur="1000" autoRev="1" fill="hold"/>
                                        <p:tgtEl>
                                          <p:spTgt spid="459"/>
                                        </p:tgtEl>
                                      </p:cBhvr>
                                      <p:by x="105000" y="105000"/>
                                    </p:animScale>
                                  </p:childTnLst>
                                </p:cTn>
                              </p:par>
                              <p:par>
                                <p:cTn id="486" presetID="26" presetClass="emph" presetSubtype="0" dur="2000" repeatCount="indefinite" fill="hold" grpId="0" nodeType="withEffect">
                                  <p:stCondLst>
                                    <p:cond delay="3000"/>
                                  </p:stCondLst>
                                  <p:childTnLst>
                                    <p:animEffect transition="out" filter="fade">
                                      <p:cBhvr>
                                        <p:cTn id="487" dur="2000" tmFilter="0, 0; .2, .5; .8, .5; 1, 0"/>
                                        <p:tgtEl>
                                          <p:spTgt spid="460"/>
                                        </p:tgtEl>
                                      </p:cBhvr>
                                    </p:animEffect>
                                    <p:animScale>
                                      <p:cBhvr>
                                        <p:cTn id="488" dur="1000" autoRev="1" fill="hold"/>
                                        <p:tgtEl>
                                          <p:spTgt spid="460"/>
                                        </p:tgtEl>
                                      </p:cBhvr>
                                      <p:by x="105000" y="105000"/>
                                    </p:animScale>
                                  </p:childTnLst>
                                </p:cTn>
                              </p:par>
                              <p:par>
                                <p:cTn id="489" presetID="26" presetClass="emph" presetSubtype="0" dur="2000" repeatCount="indefinite" fill="hold" grpId="0" nodeType="withEffect">
                                  <p:stCondLst>
                                    <p:cond delay="3000"/>
                                  </p:stCondLst>
                                  <p:childTnLst>
                                    <p:animEffect transition="out" filter="fade">
                                      <p:cBhvr>
                                        <p:cTn id="490" dur="2000" tmFilter="0, 0; .2, .5; .8, .5; 1, 0"/>
                                        <p:tgtEl>
                                          <p:spTgt spid="461"/>
                                        </p:tgtEl>
                                      </p:cBhvr>
                                    </p:animEffect>
                                    <p:animScale>
                                      <p:cBhvr>
                                        <p:cTn id="491" dur="1000" autoRev="1" fill="hold"/>
                                        <p:tgtEl>
                                          <p:spTgt spid="461"/>
                                        </p:tgtEl>
                                      </p:cBhvr>
                                      <p:by x="105000" y="105000"/>
                                    </p:animScale>
                                  </p:childTnLst>
                                </p:cTn>
                              </p:par>
                              <p:par>
                                <p:cTn id="492" presetID="26" presetClass="emph" presetSubtype="0" dur="2000" repeatCount="indefinite" fill="hold" grpId="0" nodeType="withEffect">
                                  <p:stCondLst>
                                    <p:cond delay="3000"/>
                                  </p:stCondLst>
                                  <p:childTnLst>
                                    <p:animEffect transition="out" filter="fade">
                                      <p:cBhvr>
                                        <p:cTn id="493" dur="2000" tmFilter="0, 0; .2, .5; .8, .5; 1, 0"/>
                                        <p:tgtEl>
                                          <p:spTgt spid="462"/>
                                        </p:tgtEl>
                                      </p:cBhvr>
                                    </p:animEffect>
                                    <p:animScale>
                                      <p:cBhvr>
                                        <p:cTn id="494" dur="1000" autoRev="1" fill="hold"/>
                                        <p:tgtEl>
                                          <p:spTgt spid="462"/>
                                        </p:tgtEl>
                                      </p:cBhvr>
                                      <p:by x="105000" y="105000"/>
                                    </p:animScale>
                                  </p:childTnLst>
                                </p:cTn>
                              </p:par>
                              <p:par>
                                <p:cTn id="495" presetID="26" presetClass="emph" presetSubtype="0" dur="2000" repeatCount="indefinite" fill="hold" grpId="0" nodeType="withEffect">
                                  <p:stCondLst>
                                    <p:cond delay="3000"/>
                                  </p:stCondLst>
                                  <p:childTnLst>
                                    <p:animEffect transition="out" filter="fade">
                                      <p:cBhvr>
                                        <p:cTn id="496" dur="2000" tmFilter="0, 0; .2, .5; .8, .5; 1, 0"/>
                                        <p:tgtEl>
                                          <p:spTgt spid="463"/>
                                        </p:tgtEl>
                                      </p:cBhvr>
                                    </p:animEffect>
                                    <p:animScale>
                                      <p:cBhvr>
                                        <p:cTn id="497" dur="1000" autoRev="1" fill="hold"/>
                                        <p:tgtEl>
                                          <p:spTgt spid="463"/>
                                        </p:tgtEl>
                                      </p:cBhvr>
                                      <p:by x="105000" y="105000"/>
                                    </p:animScale>
                                  </p:childTnLst>
                                </p:cTn>
                              </p:par>
                              <p:par>
                                <p:cTn id="498" presetID="26" presetClass="emph" presetSubtype="0" dur="2000" repeatCount="indefinite" fill="hold" grpId="0" nodeType="withEffect">
                                  <p:stCondLst>
                                    <p:cond delay="3000"/>
                                  </p:stCondLst>
                                  <p:childTnLst>
                                    <p:animEffect transition="out" filter="fade">
                                      <p:cBhvr>
                                        <p:cTn id="499" dur="2000" tmFilter="0, 0; .2, .5; .8, .5; 1, 0"/>
                                        <p:tgtEl>
                                          <p:spTgt spid="464"/>
                                        </p:tgtEl>
                                      </p:cBhvr>
                                    </p:animEffect>
                                    <p:animScale>
                                      <p:cBhvr>
                                        <p:cTn id="500" dur="1000" autoRev="1" fill="hold"/>
                                        <p:tgtEl>
                                          <p:spTgt spid="464"/>
                                        </p:tgtEl>
                                      </p:cBhvr>
                                      <p:by x="105000" y="105000"/>
                                    </p:animScale>
                                  </p:childTnLst>
                                </p:cTn>
                              </p:par>
                              <p:par>
                                <p:cTn id="501" presetID="26" presetClass="emph" presetSubtype="0" dur="2000" repeatCount="indefinite" fill="hold" grpId="0" nodeType="withEffect">
                                  <p:stCondLst>
                                    <p:cond delay="3000"/>
                                  </p:stCondLst>
                                  <p:childTnLst>
                                    <p:animEffect transition="out" filter="fade">
                                      <p:cBhvr>
                                        <p:cTn id="502" dur="2000" tmFilter="0, 0; .2, .5; .8, .5; 1, 0"/>
                                        <p:tgtEl>
                                          <p:spTgt spid="465"/>
                                        </p:tgtEl>
                                      </p:cBhvr>
                                    </p:animEffect>
                                    <p:animScale>
                                      <p:cBhvr>
                                        <p:cTn id="503" dur="1000" autoRev="1" fill="hold"/>
                                        <p:tgtEl>
                                          <p:spTgt spid="465"/>
                                        </p:tgtEl>
                                      </p:cBhvr>
                                      <p:by x="105000" y="105000"/>
                                    </p:animScale>
                                  </p:childTnLst>
                                </p:cTn>
                              </p:par>
                              <p:par>
                                <p:cTn id="504" presetID="26" presetClass="emph" presetSubtype="0" dur="2000" repeatCount="indefinite" fill="hold" grpId="0" nodeType="withEffect">
                                  <p:stCondLst>
                                    <p:cond delay="3250"/>
                                  </p:stCondLst>
                                  <p:childTnLst>
                                    <p:animEffect transition="out" filter="fade">
                                      <p:cBhvr>
                                        <p:cTn id="505" dur="2000" tmFilter="0, 0; .2, .5; .8, .5; 1, 0"/>
                                        <p:tgtEl>
                                          <p:spTgt spid="466"/>
                                        </p:tgtEl>
                                      </p:cBhvr>
                                    </p:animEffect>
                                    <p:animScale>
                                      <p:cBhvr>
                                        <p:cTn id="506" dur="1000" autoRev="1" fill="hold"/>
                                        <p:tgtEl>
                                          <p:spTgt spid="466"/>
                                        </p:tgtEl>
                                      </p:cBhvr>
                                      <p:by x="105000" y="105000"/>
                                    </p:animScale>
                                  </p:childTnLst>
                                </p:cTn>
                              </p:par>
                              <p:par>
                                <p:cTn id="507" presetID="26" presetClass="emph" presetSubtype="0" dur="2000" repeatCount="indefinite" fill="hold" grpId="0" nodeType="withEffect">
                                  <p:stCondLst>
                                    <p:cond delay="3250"/>
                                  </p:stCondLst>
                                  <p:childTnLst>
                                    <p:animEffect transition="out" filter="fade">
                                      <p:cBhvr>
                                        <p:cTn id="508" dur="2000" tmFilter="0, 0; .2, .5; .8, .5; 1, 0"/>
                                        <p:tgtEl>
                                          <p:spTgt spid="467"/>
                                        </p:tgtEl>
                                      </p:cBhvr>
                                    </p:animEffect>
                                    <p:animScale>
                                      <p:cBhvr>
                                        <p:cTn id="509" dur="1000" autoRev="1" fill="hold"/>
                                        <p:tgtEl>
                                          <p:spTgt spid="467"/>
                                        </p:tgtEl>
                                      </p:cBhvr>
                                      <p:by x="105000" y="105000"/>
                                    </p:animScale>
                                  </p:childTnLst>
                                </p:cTn>
                              </p:par>
                              <p:par>
                                <p:cTn id="510" presetID="26" presetClass="emph" presetSubtype="0" dur="2000" repeatCount="indefinite" fill="hold" grpId="0" nodeType="withEffect">
                                  <p:stCondLst>
                                    <p:cond delay="3250"/>
                                  </p:stCondLst>
                                  <p:childTnLst>
                                    <p:animEffect transition="out" filter="fade">
                                      <p:cBhvr>
                                        <p:cTn id="511" dur="2000" tmFilter="0, 0; .2, .5; .8, .5; 1, 0"/>
                                        <p:tgtEl>
                                          <p:spTgt spid="468"/>
                                        </p:tgtEl>
                                      </p:cBhvr>
                                    </p:animEffect>
                                    <p:animScale>
                                      <p:cBhvr>
                                        <p:cTn id="512" dur="1000" autoRev="1" fill="hold"/>
                                        <p:tgtEl>
                                          <p:spTgt spid="468"/>
                                        </p:tgtEl>
                                      </p:cBhvr>
                                      <p:by x="105000" y="105000"/>
                                    </p:animScale>
                                  </p:childTnLst>
                                </p:cTn>
                              </p:par>
                              <p:par>
                                <p:cTn id="513" presetID="26" presetClass="emph" presetSubtype="0" dur="2000" repeatCount="indefinite" fill="hold" grpId="0" nodeType="withEffect">
                                  <p:stCondLst>
                                    <p:cond delay="3250"/>
                                  </p:stCondLst>
                                  <p:childTnLst>
                                    <p:animEffect transition="out" filter="fade">
                                      <p:cBhvr>
                                        <p:cTn id="514" dur="2000" tmFilter="0, 0; .2, .5; .8, .5; 1, 0"/>
                                        <p:tgtEl>
                                          <p:spTgt spid="469"/>
                                        </p:tgtEl>
                                      </p:cBhvr>
                                    </p:animEffect>
                                    <p:animScale>
                                      <p:cBhvr>
                                        <p:cTn id="515" dur="1000" autoRev="1" fill="hold"/>
                                        <p:tgtEl>
                                          <p:spTgt spid="469"/>
                                        </p:tgtEl>
                                      </p:cBhvr>
                                      <p:by x="105000" y="105000"/>
                                    </p:animScale>
                                  </p:childTnLst>
                                </p:cTn>
                              </p:par>
                              <p:par>
                                <p:cTn id="516" presetID="26" presetClass="emph" presetSubtype="0" dur="2000" repeatCount="indefinite" fill="hold" grpId="0" nodeType="withEffect">
                                  <p:stCondLst>
                                    <p:cond delay="3250"/>
                                  </p:stCondLst>
                                  <p:childTnLst>
                                    <p:animEffect transition="out" filter="fade">
                                      <p:cBhvr>
                                        <p:cTn id="517" dur="2000" tmFilter="0, 0; .2, .5; .8, .5; 1, 0"/>
                                        <p:tgtEl>
                                          <p:spTgt spid="470"/>
                                        </p:tgtEl>
                                      </p:cBhvr>
                                    </p:animEffect>
                                    <p:animScale>
                                      <p:cBhvr>
                                        <p:cTn id="518" dur="1000" autoRev="1" fill="hold"/>
                                        <p:tgtEl>
                                          <p:spTgt spid="470"/>
                                        </p:tgtEl>
                                      </p:cBhvr>
                                      <p:by x="105000" y="105000"/>
                                    </p:animScale>
                                  </p:childTnLst>
                                </p:cTn>
                              </p:par>
                              <p:par>
                                <p:cTn id="519" presetID="26" presetClass="emph" presetSubtype="0" dur="2000" repeatCount="indefinite" fill="hold" grpId="0" nodeType="withEffect">
                                  <p:stCondLst>
                                    <p:cond delay="3250"/>
                                  </p:stCondLst>
                                  <p:childTnLst>
                                    <p:animEffect transition="out" filter="fade">
                                      <p:cBhvr>
                                        <p:cTn id="520" dur="2000" tmFilter="0, 0; .2, .5; .8, .5; 1, 0"/>
                                        <p:tgtEl>
                                          <p:spTgt spid="471"/>
                                        </p:tgtEl>
                                      </p:cBhvr>
                                    </p:animEffect>
                                    <p:animScale>
                                      <p:cBhvr>
                                        <p:cTn id="521" dur="1000" autoRev="1" fill="hold"/>
                                        <p:tgtEl>
                                          <p:spTgt spid="471"/>
                                        </p:tgtEl>
                                      </p:cBhvr>
                                      <p:by x="105000" y="105000"/>
                                    </p:animScale>
                                  </p:childTnLst>
                                </p:cTn>
                              </p:par>
                              <p:par>
                                <p:cTn id="522" presetID="26" presetClass="emph" presetSubtype="0" dur="2000" repeatCount="indefinite" fill="hold" grpId="0" nodeType="withEffect">
                                  <p:stCondLst>
                                    <p:cond delay="3250"/>
                                  </p:stCondLst>
                                  <p:childTnLst>
                                    <p:animEffect transition="out" filter="fade">
                                      <p:cBhvr>
                                        <p:cTn id="523" dur="2000" tmFilter="0, 0; .2, .5; .8, .5; 1, 0"/>
                                        <p:tgtEl>
                                          <p:spTgt spid="472"/>
                                        </p:tgtEl>
                                      </p:cBhvr>
                                    </p:animEffect>
                                    <p:animScale>
                                      <p:cBhvr>
                                        <p:cTn id="524" dur="1000" autoRev="1" fill="hold"/>
                                        <p:tgtEl>
                                          <p:spTgt spid="472"/>
                                        </p:tgtEl>
                                      </p:cBhvr>
                                      <p:by x="105000" y="105000"/>
                                    </p:animScale>
                                  </p:childTnLst>
                                </p:cTn>
                              </p:par>
                              <p:par>
                                <p:cTn id="525" presetID="26" presetClass="emph" presetSubtype="0" dur="2000" repeatCount="indefinite" fill="hold" grpId="0" nodeType="withEffect">
                                  <p:stCondLst>
                                    <p:cond delay="3250"/>
                                  </p:stCondLst>
                                  <p:childTnLst>
                                    <p:animEffect transition="out" filter="fade">
                                      <p:cBhvr>
                                        <p:cTn id="526" dur="2000" tmFilter="0, 0; .2, .5; .8, .5; 1, 0"/>
                                        <p:tgtEl>
                                          <p:spTgt spid="473"/>
                                        </p:tgtEl>
                                      </p:cBhvr>
                                    </p:animEffect>
                                    <p:animScale>
                                      <p:cBhvr>
                                        <p:cTn id="527" dur="1000" autoRev="1" fill="hold"/>
                                        <p:tgtEl>
                                          <p:spTgt spid="473"/>
                                        </p:tgtEl>
                                      </p:cBhvr>
                                      <p:by x="105000" y="105000"/>
                                    </p:animScale>
                                  </p:childTnLst>
                                </p:cTn>
                              </p:par>
                              <p:par>
                                <p:cTn id="528" presetID="26" presetClass="emph" presetSubtype="0" dur="2000" repeatCount="indefinite" fill="hold" grpId="0" nodeType="withEffect">
                                  <p:stCondLst>
                                    <p:cond delay="3250"/>
                                  </p:stCondLst>
                                  <p:childTnLst>
                                    <p:animEffect transition="out" filter="fade">
                                      <p:cBhvr>
                                        <p:cTn id="529" dur="2000" tmFilter="0, 0; .2, .5; .8, .5; 1, 0"/>
                                        <p:tgtEl>
                                          <p:spTgt spid="474"/>
                                        </p:tgtEl>
                                      </p:cBhvr>
                                    </p:animEffect>
                                    <p:animScale>
                                      <p:cBhvr>
                                        <p:cTn id="530" dur="1000" autoRev="1" fill="hold"/>
                                        <p:tgtEl>
                                          <p:spTgt spid="474"/>
                                        </p:tgtEl>
                                      </p:cBhvr>
                                      <p:by x="105000" y="105000"/>
                                    </p:animScale>
                                  </p:childTnLst>
                                </p:cTn>
                              </p:par>
                              <p:par>
                                <p:cTn id="531" presetID="26" presetClass="emph" presetSubtype="0" dur="2000" repeatCount="indefinite" fill="hold" grpId="0" nodeType="withEffect">
                                  <p:stCondLst>
                                    <p:cond delay="3250"/>
                                  </p:stCondLst>
                                  <p:childTnLst>
                                    <p:animEffect transition="out" filter="fade">
                                      <p:cBhvr>
                                        <p:cTn id="532" dur="2000" tmFilter="0, 0; .2, .5; .8, .5; 1, 0"/>
                                        <p:tgtEl>
                                          <p:spTgt spid="475"/>
                                        </p:tgtEl>
                                      </p:cBhvr>
                                    </p:animEffect>
                                    <p:animScale>
                                      <p:cBhvr>
                                        <p:cTn id="533" dur="1000" autoRev="1" fill="hold"/>
                                        <p:tgtEl>
                                          <p:spTgt spid="475"/>
                                        </p:tgtEl>
                                      </p:cBhvr>
                                      <p:by x="105000" y="105000"/>
                                    </p:animScale>
                                  </p:childTnLst>
                                </p:cTn>
                              </p:par>
                              <p:par>
                                <p:cTn id="534" presetID="26" presetClass="emph" presetSubtype="0" dur="2000" repeatCount="indefinite" fill="hold" grpId="0" nodeType="withEffect">
                                  <p:stCondLst>
                                    <p:cond delay="3250"/>
                                  </p:stCondLst>
                                  <p:childTnLst>
                                    <p:animEffect transition="out" filter="fade">
                                      <p:cBhvr>
                                        <p:cTn id="535" dur="2000" tmFilter="0, 0; .2, .5; .8, .5; 1, 0"/>
                                        <p:tgtEl>
                                          <p:spTgt spid="476"/>
                                        </p:tgtEl>
                                      </p:cBhvr>
                                    </p:animEffect>
                                    <p:animScale>
                                      <p:cBhvr>
                                        <p:cTn id="536" dur="1000" autoRev="1" fill="hold"/>
                                        <p:tgtEl>
                                          <p:spTgt spid="476"/>
                                        </p:tgtEl>
                                      </p:cBhvr>
                                      <p:by x="105000" y="105000"/>
                                    </p:animScale>
                                  </p:childTnLst>
                                </p:cTn>
                              </p:par>
                              <p:par>
                                <p:cTn id="537" presetID="26" presetClass="emph" presetSubtype="0" dur="2000" repeatCount="indefinite" fill="hold" grpId="0" nodeType="withEffect">
                                  <p:stCondLst>
                                    <p:cond delay="3250"/>
                                  </p:stCondLst>
                                  <p:childTnLst>
                                    <p:animEffect transition="out" filter="fade">
                                      <p:cBhvr>
                                        <p:cTn id="538" dur="2000" tmFilter="0, 0; .2, .5; .8, .5; 1, 0"/>
                                        <p:tgtEl>
                                          <p:spTgt spid="477"/>
                                        </p:tgtEl>
                                      </p:cBhvr>
                                    </p:animEffect>
                                    <p:animScale>
                                      <p:cBhvr>
                                        <p:cTn id="539" dur="1000" autoRev="1" fill="hold"/>
                                        <p:tgtEl>
                                          <p:spTgt spid="477"/>
                                        </p:tgtEl>
                                      </p:cBhvr>
                                      <p:by x="105000" y="105000"/>
                                    </p:animScale>
                                  </p:childTnLst>
                                </p:cTn>
                              </p:par>
                              <p:par>
                                <p:cTn id="540" presetID="26" presetClass="emph" presetSubtype="0" dur="2000" repeatCount="indefinite" fill="hold" grpId="0" nodeType="withEffect">
                                  <p:stCondLst>
                                    <p:cond delay="3250"/>
                                  </p:stCondLst>
                                  <p:childTnLst>
                                    <p:animEffect transition="out" filter="fade">
                                      <p:cBhvr>
                                        <p:cTn id="541" dur="2000" tmFilter="0, 0; .2, .5; .8, .5; 1, 0"/>
                                        <p:tgtEl>
                                          <p:spTgt spid="478"/>
                                        </p:tgtEl>
                                      </p:cBhvr>
                                    </p:animEffect>
                                    <p:animScale>
                                      <p:cBhvr>
                                        <p:cTn id="542" dur="1000" autoRev="1" fill="hold"/>
                                        <p:tgtEl>
                                          <p:spTgt spid="478"/>
                                        </p:tgtEl>
                                      </p:cBhvr>
                                      <p:by x="105000" y="105000"/>
                                    </p:animScale>
                                  </p:childTnLst>
                                </p:cTn>
                              </p:par>
                              <p:par>
                                <p:cTn id="543" presetID="26" presetClass="emph" presetSubtype="0" dur="2000" repeatCount="indefinite" fill="hold" grpId="0" nodeType="withEffect">
                                  <p:stCondLst>
                                    <p:cond delay="3250"/>
                                  </p:stCondLst>
                                  <p:childTnLst>
                                    <p:animEffect transition="out" filter="fade">
                                      <p:cBhvr>
                                        <p:cTn id="544" dur="2000" tmFilter="0, 0; .2, .5; .8, .5; 1, 0"/>
                                        <p:tgtEl>
                                          <p:spTgt spid="479"/>
                                        </p:tgtEl>
                                      </p:cBhvr>
                                    </p:animEffect>
                                    <p:animScale>
                                      <p:cBhvr>
                                        <p:cTn id="545" dur="1000" autoRev="1" fill="hold"/>
                                        <p:tgtEl>
                                          <p:spTgt spid="479"/>
                                        </p:tgtEl>
                                      </p:cBhvr>
                                      <p:by x="105000" y="105000"/>
                                    </p:animScale>
                                  </p:childTnLst>
                                </p:cTn>
                              </p:par>
                              <p:par>
                                <p:cTn id="546" presetID="26" presetClass="emph" presetSubtype="0" dur="2000" repeatCount="indefinite" fill="hold" grpId="0" nodeType="withEffect">
                                  <p:stCondLst>
                                    <p:cond delay="3500"/>
                                  </p:stCondLst>
                                  <p:childTnLst>
                                    <p:animEffect transition="out" filter="fade">
                                      <p:cBhvr>
                                        <p:cTn id="547" dur="2000" tmFilter="0, 0; .2, .5; .8, .5; 1, 0"/>
                                        <p:tgtEl>
                                          <p:spTgt spid="480"/>
                                        </p:tgtEl>
                                      </p:cBhvr>
                                    </p:animEffect>
                                    <p:animScale>
                                      <p:cBhvr>
                                        <p:cTn id="548" dur="1000" autoRev="1" fill="hold"/>
                                        <p:tgtEl>
                                          <p:spTgt spid="480"/>
                                        </p:tgtEl>
                                      </p:cBhvr>
                                      <p:by x="105000" y="105000"/>
                                    </p:animScale>
                                  </p:childTnLst>
                                </p:cTn>
                              </p:par>
                              <p:par>
                                <p:cTn id="549" presetID="26" presetClass="emph" presetSubtype="0" dur="2000" repeatCount="indefinite" fill="hold" grpId="0" nodeType="withEffect">
                                  <p:stCondLst>
                                    <p:cond delay="3500"/>
                                  </p:stCondLst>
                                  <p:childTnLst>
                                    <p:animEffect transition="out" filter="fade">
                                      <p:cBhvr>
                                        <p:cTn id="550" dur="2000" tmFilter="0, 0; .2, .5; .8, .5; 1, 0"/>
                                        <p:tgtEl>
                                          <p:spTgt spid="481"/>
                                        </p:tgtEl>
                                      </p:cBhvr>
                                    </p:animEffect>
                                    <p:animScale>
                                      <p:cBhvr>
                                        <p:cTn id="551" dur="1000" autoRev="1" fill="hold"/>
                                        <p:tgtEl>
                                          <p:spTgt spid="481"/>
                                        </p:tgtEl>
                                      </p:cBhvr>
                                      <p:by x="105000" y="105000"/>
                                    </p:animScale>
                                  </p:childTnLst>
                                </p:cTn>
                              </p:par>
                              <p:par>
                                <p:cTn id="552" presetID="26" presetClass="emph" presetSubtype="0" dur="2000" repeatCount="indefinite" fill="hold" grpId="0" nodeType="withEffect">
                                  <p:stCondLst>
                                    <p:cond delay="3500"/>
                                  </p:stCondLst>
                                  <p:childTnLst>
                                    <p:animEffect transition="out" filter="fade">
                                      <p:cBhvr>
                                        <p:cTn id="553" dur="2000" tmFilter="0, 0; .2, .5; .8, .5; 1, 0"/>
                                        <p:tgtEl>
                                          <p:spTgt spid="482"/>
                                        </p:tgtEl>
                                      </p:cBhvr>
                                    </p:animEffect>
                                    <p:animScale>
                                      <p:cBhvr>
                                        <p:cTn id="554" dur="1000" autoRev="1" fill="hold"/>
                                        <p:tgtEl>
                                          <p:spTgt spid="482"/>
                                        </p:tgtEl>
                                      </p:cBhvr>
                                      <p:by x="105000" y="105000"/>
                                    </p:animScale>
                                  </p:childTnLst>
                                </p:cTn>
                              </p:par>
                              <p:par>
                                <p:cTn id="555" presetID="26" presetClass="emph" presetSubtype="0" dur="2000" repeatCount="indefinite" fill="hold" grpId="0" nodeType="withEffect">
                                  <p:stCondLst>
                                    <p:cond delay="3500"/>
                                  </p:stCondLst>
                                  <p:childTnLst>
                                    <p:animEffect transition="out" filter="fade">
                                      <p:cBhvr>
                                        <p:cTn id="556" dur="2000" tmFilter="0, 0; .2, .5; .8, .5; 1, 0"/>
                                        <p:tgtEl>
                                          <p:spTgt spid="483"/>
                                        </p:tgtEl>
                                      </p:cBhvr>
                                    </p:animEffect>
                                    <p:animScale>
                                      <p:cBhvr>
                                        <p:cTn id="557" dur="1000" autoRev="1" fill="hold"/>
                                        <p:tgtEl>
                                          <p:spTgt spid="483"/>
                                        </p:tgtEl>
                                      </p:cBhvr>
                                      <p:by x="105000" y="105000"/>
                                    </p:animScale>
                                  </p:childTnLst>
                                </p:cTn>
                              </p:par>
                              <p:par>
                                <p:cTn id="558" presetID="26" presetClass="emph" presetSubtype="0" dur="2000" repeatCount="indefinite" fill="hold" grpId="0" nodeType="withEffect">
                                  <p:stCondLst>
                                    <p:cond delay="3500"/>
                                  </p:stCondLst>
                                  <p:childTnLst>
                                    <p:animEffect transition="out" filter="fade">
                                      <p:cBhvr>
                                        <p:cTn id="559" dur="2000" tmFilter="0, 0; .2, .5; .8, .5; 1, 0"/>
                                        <p:tgtEl>
                                          <p:spTgt spid="484"/>
                                        </p:tgtEl>
                                      </p:cBhvr>
                                    </p:animEffect>
                                    <p:animScale>
                                      <p:cBhvr>
                                        <p:cTn id="560" dur="1000" autoRev="1" fill="hold"/>
                                        <p:tgtEl>
                                          <p:spTgt spid="484"/>
                                        </p:tgtEl>
                                      </p:cBhvr>
                                      <p:by x="105000" y="105000"/>
                                    </p:animScale>
                                  </p:childTnLst>
                                </p:cTn>
                              </p:par>
                              <p:par>
                                <p:cTn id="561" presetID="26" presetClass="emph" presetSubtype="0" dur="2000" repeatCount="indefinite" fill="hold" grpId="0" nodeType="withEffect">
                                  <p:stCondLst>
                                    <p:cond delay="3500"/>
                                  </p:stCondLst>
                                  <p:childTnLst>
                                    <p:animEffect transition="out" filter="fade">
                                      <p:cBhvr>
                                        <p:cTn id="562" dur="2000" tmFilter="0, 0; .2, .5; .8, .5; 1, 0"/>
                                        <p:tgtEl>
                                          <p:spTgt spid="485"/>
                                        </p:tgtEl>
                                      </p:cBhvr>
                                    </p:animEffect>
                                    <p:animScale>
                                      <p:cBhvr>
                                        <p:cTn id="563" dur="1000" autoRev="1" fill="hold"/>
                                        <p:tgtEl>
                                          <p:spTgt spid="485"/>
                                        </p:tgtEl>
                                      </p:cBhvr>
                                      <p:by x="105000" y="105000"/>
                                    </p:animScale>
                                  </p:childTnLst>
                                </p:cTn>
                              </p:par>
                              <p:par>
                                <p:cTn id="564" presetID="26" presetClass="emph" presetSubtype="0" dur="2000" repeatCount="indefinite" fill="hold" grpId="0" nodeType="withEffect">
                                  <p:stCondLst>
                                    <p:cond delay="3500"/>
                                  </p:stCondLst>
                                  <p:childTnLst>
                                    <p:animEffect transition="out" filter="fade">
                                      <p:cBhvr>
                                        <p:cTn id="565" dur="2000" tmFilter="0, 0; .2, .5; .8, .5; 1, 0"/>
                                        <p:tgtEl>
                                          <p:spTgt spid="486"/>
                                        </p:tgtEl>
                                      </p:cBhvr>
                                    </p:animEffect>
                                    <p:animScale>
                                      <p:cBhvr>
                                        <p:cTn id="566" dur="1000" autoRev="1" fill="hold"/>
                                        <p:tgtEl>
                                          <p:spTgt spid="486"/>
                                        </p:tgtEl>
                                      </p:cBhvr>
                                      <p:by x="105000" y="105000"/>
                                    </p:animScale>
                                  </p:childTnLst>
                                </p:cTn>
                              </p:par>
                              <p:par>
                                <p:cTn id="567" presetID="26" presetClass="emph" presetSubtype="0" dur="2000" repeatCount="indefinite" fill="hold" grpId="0" nodeType="withEffect">
                                  <p:stCondLst>
                                    <p:cond delay="3500"/>
                                  </p:stCondLst>
                                  <p:childTnLst>
                                    <p:animEffect transition="out" filter="fade">
                                      <p:cBhvr>
                                        <p:cTn id="568" dur="2000" tmFilter="0, 0; .2, .5; .8, .5; 1, 0"/>
                                        <p:tgtEl>
                                          <p:spTgt spid="487"/>
                                        </p:tgtEl>
                                      </p:cBhvr>
                                    </p:animEffect>
                                    <p:animScale>
                                      <p:cBhvr>
                                        <p:cTn id="569" dur="1000" autoRev="1" fill="hold"/>
                                        <p:tgtEl>
                                          <p:spTgt spid="487"/>
                                        </p:tgtEl>
                                      </p:cBhvr>
                                      <p:by x="105000" y="105000"/>
                                    </p:animScale>
                                  </p:childTnLst>
                                </p:cTn>
                              </p:par>
                              <p:par>
                                <p:cTn id="570" presetID="26" presetClass="emph" presetSubtype="0" dur="2000" repeatCount="indefinite" fill="hold" grpId="0" nodeType="withEffect">
                                  <p:stCondLst>
                                    <p:cond delay="3500"/>
                                  </p:stCondLst>
                                  <p:childTnLst>
                                    <p:animEffect transition="out" filter="fade">
                                      <p:cBhvr>
                                        <p:cTn id="571" dur="2000" tmFilter="0, 0; .2, .5; .8, .5; 1, 0"/>
                                        <p:tgtEl>
                                          <p:spTgt spid="488"/>
                                        </p:tgtEl>
                                      </p:cBhvr>
                                    </p:animEffect>
                                    <p:animScale>
                                      <p:cBhvr>
                                        <p:cTn id="572" dur="1000" autoRev="1" fill="hold"/>
                                        <p:tgtEl>
                                          <p:spTgt spid="488"/>
                                        </p:tgtEl>
                                      </p:cBhvr>
                                      <p:by x="105000" y="105000"/>
                                    </p:animScale>
                                  </p:childTnLst>
                                </p:cTn>
                              </p:par>
                              <p:par>
                                <p:cTn id="573" presetID="26" presetClass="emph" presetSubtype="0" dur="2000" repeatCount="indefinite" fill="hold" grpId="0" nodeType="withEffect">
                                  <p:stCondLst>
                                    <p:cond delay="3500"/>
                                  </p:stCondLst>
                                  <p:childTnLst>
                                    <p:animEffect transition="out" filter="fade">
                                      <p:cBhvr>
                                        <p:cTn id="574" dur="2000" tmFilter="0, 0; .2, .5; .8, .5; 1, 0"/>
                                        <p:tgtEl>
                                          <p:spTgt spid="489"/>
                                        </p:tgtEl>
                                      </p:cBhvr>
                                    </p:animEffect>
                                    <p:animScale>
                                      <p:cBhvr>
                                        <p:cTn id="575" dur="1000" autoRev="1" fill="hold"/>
                                        <p:tgtEl>
                                          <p:spTgt spid="489"/>
                                        </p:tgtEl>
                                      </p:cBhvr>
                                      <p:by x="105000" y="105000"/>
                                    </p:animScale>
                                  </p:childTnLst>
                                </p:cTn>
                              </p:par>
                              <p:par>
                                <p:cTn id="576" presetID="26" presetClass="emph" presetSubtype="0" dur="2000" repeatCount="indefinite" fill="hold" grpId="0" nodeType="withEffect">
                                  <p:stCondLst>
                                    <p:cond delay="3500"/>
                                  </p:stCondLst>
                                  <p:childTnLst>
                                    <p:animEffect transition="out" filter="fade">
                                      <p:cBhvr>
                                        <p:cTn id="577" dur="2000" tmFilter="0, 0; .2, .5; .8, .5; 1, 0"/>
                                        <p:tgtEl>
                                          <p:spTgt spid="490"/>
                                        </p:tgtEl>
                                      </p:cBhvr>
                                    </p:animEffect>
                                    <p:animScale>
                                      <p:cBhvr>
                                        <p:cTn id="578" dur="1000" autoRev="1" fill="hold"/>
                                        <p:tgtEl>
                                          <p:spTgt spid="490"/>
                                        </p:tgtEl>
                                      </p:cBhvr>
                                      <p:by x="105000" y="105000"/>
                                    </p:animScale>
                                  </p:childTnLst>
                                </p:cTn>
                              </p:par>
                              <p:par>
                                <p:cTn id="579" presetID="26" presetClass="emph" presetSubtype="0" dur="2000" repeatCount="indefinite" fill="hold" grpId="0" nodeType="withEffect">
                                  <p:stCondLst>
                                    <p:cond delay="3500"/>
                                  </p:stCondLst>
                                  <p:childTnLst>
                                    <p:animEffect transition="out" filter="fade">
                                      <p:cBhvr>
                                        <p:cTn id="580" dur="2000" tmFilter="0, 0; .2, .5; .8, .5; 1, 0"/>
                                        <p:tgtEl>
                                          <p:spTgt spid="491"/>
                                        </p:tgtEl>
                                      </p:cBhvr>
                                    </p:animEffect>
                                    <p:animScale>
                                      <p:cBhvr>
                                        <p:cTn id="581" dur="1000" autoRev="1" fill="hold"/>
                                        <p:tgtEl>
                                          <p:spTgt spid="491"/>
                                        </p:tgtEl>
                                      </p:cBhvr>
                                      <p:by x="105000" y="105000"/>
                                    </p:animScale>
                                  </p:childTnLst>
                                </p:cTn>
                              </p:par>
                              <p:par>
                                <p:cTn id="582" presetID="26" presetClass="emph" presetSubtype="0" dur="2000" repeatCount="indefinite" fill="hold" grpId="0" nodeType="withEffect">
                                  <p:stCondLst>
                                    <p:cond delay="3500"/>
                                  </p:stCondLst>
                                  <p:childTnLst>
                                    <p:animEffect transition="out" filter="fade">
                                      <p:cBhvr>
                                        <p:cTn id="583" dur="2000" tmFilter="0, 0; .2, .5; .8, .5; 1, 0"/>
                                        <p:tgtEl>
                                          <p:spTgt spid="492"/>
                                        </p:tgtEl>
                                      </p:cBhvr>
                                    </p:animEffect>
                                    <p:animScale>
                                      <p:cBhvr>
                                        <p:cTn id="584" dur="1000" autoRev="1" fill="hold"/>
                                        <p:tgtEl>
                                          <p:spTgt spid="492"/>
                                        </p:tgtEl>
                                      </p:cBhvr>
                                      <p:by x="105000" y="105000"/>
                                    </p:animScale>
                                  </p:childTnLst>
                                </p:cTn>
                              </p:par>
                              <p:par>
                                <p:cTn id="585" presetID="26" presetClass="emph" presetSubtype="0" dur="2000" repeatCount="indefinite" fill="hold" grpId="0" nodeType="withEffect">
                                  <p:stCondLst>
                                    <p:cond delay="3500"/>
                                  </p:stCondLst>
                                  <p:childTnLst>
                                    <p:animEffect transition="out" filter="fade">
                                      <p:cBhvr>
                                        <p:cTn id="586" dur="2000" tmFilter="0, 0; .2, .5; .8, .5; 1, 0"/>
                                        <p:tgtEl>
                                          <p:spTgt spid="493"/>
                                        </p:tgtEl>
                                      </p:cBhvr>
                                    </p:animEffect>
                                    <p:animScale>
                                      <p:cBhvr>
                                        <p:cTn id="587" dur="1000" autoRev="1" fill="hold"/>
                                        <p:tgtEl>
                                          <p:spTgt spid="493"/>
                                        </p:tgtEl>
                                      </p:cBhvr>
                                      <p:by x="105000" y="105000"/>
                                    </p:animScale>
                                  </p:childTnLst>
                                </p:cTn>
                              </p:par>
                              <p:par>
                                <p:cTn id="588" presetID="26" presetClass="emph" presetSubtype="0" dur="2000" repeatCount="indefinite" fill="hold" grpId="0" nodeType="withEffect">
                                  <p:stCondLst>
                                    <p:cond delay="3750"/>
                                  </p:stCondLst>
                                  <p:childTnLst>
                                    <p:animEffect transition="out" filter="fade">
                                      <p:cBhvr>
                                        <p:cTn id="589" dur="2000" tmFilter="0, 0; .2, .5; .8, .5; 1, 0"/>
                                        <p:tgtEl>
                                          <p:spTgt spid="297"/>
                                        </p:tgtEl>
                                      </p:cBhvr>
                                    </p:animEffect>
                                    <p:animScale>
                                      <p:cBhvr>
                                        <p:cTn id="590" dur="1000" autoRev="1" fill="hold"/>
                                        <p:tgtEl>
                                          <p:spTgt spid="297"/>
                                        </p:tgtEl>
                                      </p:cBhvr>
                                      <p:by x="105000" y="105000"/>
                                    </p:animScale>
                                  </p:childTnLst>
                                </p:cTn>
                              </p:par>
                              <p:par>
                                <p:cTn id="591" presetID="26" presetClass="emph" presetSubtype="0" dur="2000" repeatCount="indefinite" fill="hold" grpId="0" nodeType="withEffect">
                                  <p:stCondLst>
                                    <p:cond delay="3750"/>
                                  </p:stCondLst>
                                  <p:childTnLst>
                                    <p:animEffect transition="out" filter="fade">
                                      <p:cBhvr>
                                        <p:cTn id="592" dur="2000" tmFilter="0, 0; .2, .5; .8, .5; 1, 0"/>
                                        <p:tgtEl>
                                          <p:spTgt spid="298"/>
                                        </p:tgtEl>
                                      </p:cBhvr>
                                    </p:animEffect>
                                    <p:animScale>
                                      <p:cBhvr>
                                        <p:cTn id="593" dur="1000" autoRev="1" fill="hold"/>
                                        <p:tgtEl>
                                          <p:spTgt spid="298"/>
                                        </p:tgtEl>
                                      </p:cBhvr>
                                      <p:by x="105000" y="105000"/>
                                    </p:animScale>
                                  </p:childTnLst>
                                </p:cTn>
                              </p:par>
                              <p:par>
                                <p:cTn id="594" presetID="26" presetClass="emph" presetSubtype="0" dur="2000" repeatCount="indefinite" fill="hold" grpId="0" nodeType="withEffect">
                                  <p:stCondLst>
                                    <p:cond delay="3750"/>
                                  </p:stCondLst>
                                  <p:childTnLst>
                                    <p:animEffect transition="out" filter="fade">
                                      <p:cBhvr>
                                        <p:cTn id="595" dur="2000" tmFilter="0, 0; .2, .5; .8, .5; 1, 0"/>
                                        <p:tgtEl>
                                          <p:spTgt spid="299"/>
                                        </p:tgtEl>
                                      </p:cBhvr>
                                    </p:animEffect>
                                    <p:animScale>
                                      <p:cBhvr>
                                        <p:cTn id="596" dur="1000" autoRev="1" fill="hold"/>
                                        <p:tgtEl>
                                          <p:spTgt spid="299"/>
                                        </p:tgtEl>
                                      </p:cBhvr>
                                      <p:by x="105000" y="105000"/>
                                    </p:animScale>
                                  </p:childTnLst>
                                </p:cTn>
                              </p:par>
                              <p:par>
                                <p:cTn id="597" presetID="26" presetClass="emph" presetSubtype="0" dur="2000" repeatCount="indefinite" fill="hold" grpId="0" nodeType="withEffect">
                                  <p:stCondLst>
                                    <p:cond delay="3750"/>
                                  </p:stCondLst>
                                  <p:childTnLst>
                                    <p:animEffect transition="out" filter="fade">
                                      <p:cBhvr>
                                        <p:cTn id="598" dur="2000" tmFilter="0, 0; .2, .5; .8, .5; 1, 0"/>
                                        <p:tgtEl>
                                          <p:spTgt spid="300"/>
                                        </p:tgtEl>
                                      </p:cBhvr>
                                    </p:animEffect>
                                    <p:animScale>
                                      <p:cBhvr>
                                        <p:cTn id="599" dur="1000" autoRev="1" fill="hold"/>
                                        <p:tgtEl>
                                          <p:spTgt spid="300"/>
                                        </p:tgtEl>
                                      </p:cBhvr>
                                      <p:by x="105000" y="105000"/>
                                    </p:animScale>
                                  </p:childTnLst>
                                </p:cTn>
                              </p:par>
                              <p:par>
                                <p:cTn id="600" presetID="26" presetClass="emph" presetSubtype="0" dur="2000" repeatCount="indefinite" fill="hold" grpId="0" nodeType="withEffect">
                                  <p:stCondLst>
                                    <p:cond delay="3750"/>
                                  </p:stCondLst>
                                  <p:childTnLst>
                                    <p:animEffect transition="out" filter="fade">
                                      <p:cBhvr>
                                        <p:cTn id="601" dur="2000" tmFilter="0, 0; .2, .5; .8, .5; 1, 0"/>
                                        <p:tgtEl>
                                          <p:spTgt spid="301"/>
                                        </p:tgtEl>
                                      </p:cBhvr>
                                    </p:animEffect>
                                    <p:animScale>
                                      <p:cBhvr>
                                        <p:cTn id="602" dur="1000" autoRev="1" fill="hold"/>
                                        <p:tgtEl>
                                          <p:spTgt spid="301"/>
                                        </p:tgtEl>
                                      </p:cBhvr>
                                      <p:by x="105000" y="105000"/>
                                    </p:animScale>
                                  </p:childTnLst>
                                </p:cTn>
                              </p:par>
                              <p:par>
                                <p:cTn id="603" presetID="26" presetClass="emph" presetSubtype="0" dur="2000" repeatCount="indefinite" fill="hold" grpId="0" nodeType="withEffect">
                                  <p:stCondLst>
                                    <p:cond delay="3750"/>
                                  </p:stCondLst>
                                  <p:childTnLst>
                                    <p:animEffect transition="out" filter="fade">
                                      <p:cBhvr>
                                        <p:cTn id="604" dur="2000" tmFilter="0, 0; .2, .5; .8, .5; 1, 0"/>
                                        <p:tgtEl>
                                          <p:spTgt spid="302"/>
                                        </p:tgtEl>
                                      </p:cBhvr>
                                    </p:animEffect>
                                    <p:animScale>
                                      <p:cBhvr>
                                        <p:cTn id="605" dur="1000" autoRev="1" fill="hold"/>
                                        <p:tgtEl>
                                          <p:spTgt spid="302"/>
                                        </p:tgtEl>
                                      </p:cBhvr>
                                      <p:by x="105000" y="105000"/>
                                    </p:animScale>
                                  </p:childTnLst>
                                </p:cTn>
                              </p:par>
                              <p:par>
                                <p:cTn id="606" presetID="26" presetClass="emph" presetSubtype="0" dur="2000" repeatCount="indefinite" fill="hold" grpId="0" nodeType="withEffect">
                                  <p:stCondLst>
                                    <p:cond delay="3750"/>
                                  </p:stCondLst>
                                  <p:childTnLst>
                                    <p:animEffect transition="out" filter="fade">
                                      <p:cBhvr>
                                        <p:cTn id="607" dur="2000" tmFilter="0, 0; .2, .5; .8, .5; 1, 0"/>
                                        <p:tgtEl>
                                          <p:spTgt spid="303"/>
                                        </p:tgtEl>
                                      </p:cBhvr>
                                    </p:animEffect>
                                    <p:animScale>
                                      <p:cBhvr>
                                        <p:cTn id="608" dur="1000" autoRev="1" fill="hold"/>
                                        <p:tgtEl>
                                          <p:spTgt spid="303"/>
                                        </p:tgtEl>
                                      </p:cBhvr>
                                      <p:by x="105000" y="105000"/>
                                    </p:animScale>
                                  </p:childTnLst>
                                </p:cTn>
                              </p:par>
                              <p:par>
                                <p:cTn id="609" presetID="26" presetClass="emph" presetSubtype="0" dur="2000" repeatCount="indefinite" fill="hold" grpId="0" nodeType="withEffect">
                                  <p:stCondLst>
                                    <p:cond delay="3750"/>
                                  </p:stCondLst>
                                  <p:childTnLst>
                                    <p:animEffect transition="out" filter="fade">
                                      <p:cBhvr>
                                        <p:cTn id="610" dur="2000" tmFilter="0, 0; .2, .5; .8, .5; 1, 0"/>
                                        <p:tgtEl>
                                          <p:spTgt spid="304"/>
                                        </p:tgtEl>
                                      </p:cBhvr>
                                    </p:animEffect>
                                    <p:animScale>
                                      <p:cBhvr>
                                        <p:cTn id="611" dur="1000" autoRev="1" fill="hold"/>
                                        <p:tgtEl>
                                          <p:spTgt spid="304"/>
                                        </p:tgtEl>
                                      </p:cBhvr>
                                      <p:by x="105000" y="105000"/>
                                    </p:animScale>
                                  </p:childTnLst>
                                </p:cTn>
                              </p:par>
                              <p:par>
                                <p:cTn id="612" presetID="26" presetClass="emph" presetSubtype="0" dur="2000" repeatCount="indefinite" fill="hold" grpId="0" nodeType="withEffect">
                                  <p:stCondLst>
                                    <p:cond delay="3750"/>
                                  </p:stCondLst>
                                  <p:childTnLst>
                                    <p:animEffect transition="out" filter="fade">
                                      <p:cBhvr>
                                        <p:cTn id="613" dur="2000" tmFilter="0, 0; .2, .5; .8, .5; 1, 0"/>
                                        <p:tgtEl>
                                          <p:spTgt spid="305"/>
                                        </p:tgtEl>
                                      </p:cBhvr>
                                    </p:animEffect>
                                    <p:animScale>
                                      <p:cBhvr>
                                        <p:cTn id="614" dur="1000" autoRev="1" fill="hold"/>
                                        <p:tgtEl>
                                          <p:spTgt spid="305"/>
                                        </p:tgtEl>
                                      </p:cBhvr>
                                      <p:by x="105000" y="105000"/>
                                    </p:animScale>
                                  </p:childTnLst>
                                </p:cTn>
                              </p:par>
                              <p:par>
                                <p:cTn id="615" presetID="26" presetClass="emph" presetSubtype="0" dur="2000" repeatCount="indefinite" fill="hold" grpId="0" nodeType="withEffect">
                                  <p:stCondLst>
                                    <p:cond delay="3750"/>
                                  </p:stCondLst>
                                  <p:childTnLst>
                                    <p:animEffect transition="out" filter="fade">
                                      <p:cBhvr>
                                        <p:cTn id="616" dur="2000" tmFilter="0, 0; .2, .5; .8, .5; 1, 0"/>
                                        <p:tgtEl>
                                          <p:spTgt spid="306"/>
                                        </p:tgtEl>
                                      </p:cBhvr>
                                    </p:animEffect>
                                    <p:animScale>
                                      <p:cBhvr>
                                        <p:cTn id="617" dur="1000" autoRev="1" fill="hold"/>
                                        <p:tgtEl>
                                          <p:spTgt spid="306"/>
                                        </p:tgtEl>
                                      </p:cBhvr>
                                      <p:by x="105000" y="105000"/>
                                    </p:animScale>
                                  </p:childTnLst>
                                </p:cTn>
                              </p:par>
                              <p:par>
                                <p:cTn id="618" presetID="26" presetClass="emph" presetSubtype="0" dur="2000" repeatCount="indefinite" fill="hold" grpId="0" nodeType="withEffect">
                                  <p:stCondLst>
                                    <p:cond delay="3750"/>
                                  </p:stCondLst>
                                  <p:childTnLst>
                                    <p:animEffect transition="out" filter="fade">
                                      <p:cBhvr>
                                        <p:cTn id="619" dur="2000" tmFilter="0, 0; .2, .5; .8, .5; 1, 0"/>
                                        <p:tgtEl>
                                          <p:spTgt spid="307"/>
                                        </p:tgtEl>
                                      </p:cBhvr>
                                    </p:animEffect>
                                    <p:animScale>
                                      <p:cBhvr>
                                        <p:cTn id="620" dur="1000" autoRev="1" fill="hold"/>
                                        <p:tgtEl>
                                          <p:spTgt spid="307"/>
                                        </p:tgtEl>
                                      </p:cBhvr>
                                      <p:by x="105000" y="105000"/>
                                    </p:animScale>
                                  </p:childTnLst>
                                </p:cTn>
                              </p:par>
                              <p:par>
                                <p:cTn id="621" presetID="26" presetClass="emph" presetSubtype="0" dur="2000" repeatCount="indefinite" fill="hold" grpId="0" nodeType="withEffect">
                                  <p:stCondLst>
                                    <p:cond delay="3750"/>
                                  </p:stCondLst>
                                  <p:childTnLst>
                                    <p:animEffect transition="out" filter="fade">
                                      <p:cBhvr>
                                        <p:cTn id="622" dur="2000" tmFilter="0, 0; .2, .5; .8, .5; 1, 0"/>
                                        <p:tgtEl>
                                          <p:spTgt spid="308"/>
                                        </p:tgtEl>
                                      </p:cBhvr>
                                    </p:animEffect>
                                    <p:animScale>
                                      <p:cBhvr>
                                        <p:cTn id="623" dur="1000" autoRev="1" fill="hold"/>
                                        <p:tgtEl>
                                          <p:spTgt spid="308"/>
                                        </p:tgtEl>
                                      </p:cBhvr>
                                      <p:by x="105000" y="105000"/>
                                    </p:animScale>
                                  </p:childTnLst>
                                </p:cTn>
                              </p:par>
                              <p:par>
                                <p:cTn id="624" presetID="26" presetClass="emph" presetSubtype="0" dur="2000" repeatCount="indefinite" fill="hold" grpId="0" nodeType="withEffect">
                                  <p:stCondLst>
                                    <p:cond delay="4000"/>
                                  </p:stCondLst>
                                  <p:childTnLst>
                                    <p:animEffect transition="out" filter="fade">
                                      <p:cBhvr>
                                        <p:cTn id="625" dur="2000" tmFilter="0, 0; .2, .5; .8, .5; 1, 0"/>
                                        <p:tgtEl>
                                          <p:spTgt spid="287"/>
                                        </p:tgtEl>
                                      </p:cBhvr>
                                    </p:animEffect>
                                    <p:animScale>
                                      <p:cBhvr>
                                        <p:cTn id="626" dur="1000" autoRev="1" fill="hold"/>
                                        <p:tgtEl>
                                          <p:spTgt spid="287"/>
                                        </p:tgtEl>
                                      </p:cBhvr>
                                      <p:by x="105000" y="105000"/>
                                    </p:animScale>
                                  </p:childTnLst>
                                </p:cTn>
                              </p:par>
                              <p:par>
                                <p:cTn id="627" presetID="26" presetClass="emph" presetSubtype="0" dur="2000" repeatCount="indefinite" fill="hold" grpId="0" nodeType="withEffect">
                                  <p:stCondLst>
                                    <p:cond delay="4000"/>
                                  </p:stCondLst>
                                  <p:childTnLst>
                                    <p:animEffect transition="out" filter="fade">
                                      <p:cBhvr>
                                        <p:cTn id="628" dur="2000" tmFilter="0, 0; .2, .5; .8, .5; 1, 0"/>
                                        <p:tgtEl>
                                          <p:spTgt spid="288"/>
                                        </p:tgtEl>
                                      </p:cBhvr>
                                    </p:animEffect>
                                    <p:animScale>
                                      <p:cBhvr>
                                        <p:cTn id="629" dur="1000" autoRev="1" fill="hold"/>
                                        <p:tgtEl>
                                          <p:spTgt spid="288"/>
                                        </p:tgtEl>
                                      </p:cBhvr>
                                      <p:by x="105000" y="105000"/>
                                    </p:animScale>
                                  </p:childTnLst>
                                </p:cTn>
                              </p:par>
                              <p:par>
                                <p:cTn id="630" presetID="26" presetClass="emph" presetSubtype="0" dur="2000" repeatCount="indefinite" fill="hold" grpId="0" nodeType="withEffect">
                                  <p:stCondLst>
                                    <p:cond delay="4000"/>
                                  </p:stCondLst>
                                  <p:childTnLst>
                                    <p:animEffect transition="out" filter="fade">
                                      <p:cBhvr>
                                        <p:cTn id="631" dur="2000" tmFilter="0, 0; .2, .5; .8, .5; 1, 0"/>
                                        <p:tgtEl>
                                          <p:spTgt spid="289"/>
                                        </p:tgtEl>
                                      </p:cBhvr>
                                    </p:animEffect>
                                    <p:animScale>
                                      <p:cBhvr>
                                        <p:cTn id="632" dur="1000" autoRev="1" fill="hold"/>
                                        <p:tgtEl>
                                          <p:spTgt spid="289"/>
                                        </p:tgtEl>
                                      </p:cBhvr>
                                      <p:by x="105000" y="105000"/>
                                    </p:animScale>
                                  </p:childTnLst>
                                </p:cTn>
                              </p:par>
                              <p:par>
                                <p:cTn id="633" presetID="26" presetClass="emph" presetSubtype="0" dur="2000" repeatCount="indefinite" fill="hold" grpId="0" nodeType="withEffect">
                                  <p:stCondLst>
                                    <p:cond delay="4000"/>
                                  </p:stCondLst>
                                  <p:childTnLst>
                                    <p:animEffect transition="out" filter="fade">
                                      <p:cBhvr>
                                        <p:cTn id="634" dur="2000" tmFilter="0, 0; .2, .5; .8, .5; 1, 0"/>
                                        <p:tgtEl>
                                          <p:spTgt spid="290"/>
                                        </p:tgtEl>
                                      </p:cBhvr>
                                    </p:animEffect>
                                    <p:animScale>
                                      <p:cBhvr>
                                        <p:cTn id="635" dur="1000" autoRev="1" fill="hold"/>
                                        <p:tgtEl>
                                          <p:spTgt spid="290"/>
                                        </p:tgtEl>
                                      </p:cBhvr>
                                      <p:by x="105000" y="105000"/>
                                    </p:animScale>
                                  </p:childTnLst>
                                </p:cTn>
                              </p:par>
                              <p:par>
                                <p:cTn id="636" presetID="26" presetClass="emph" presetSubtype="0" dur="2000" repeatCount="indefinite" fill="hold" grpId="0" nodeType="withEffect">
                                  <p:stCondLst>
                                    <p:cond delay="4000"/>
                                  </p:stCondLst>
                                  <p:childTnLst>
                                    <p:animEffect transition="out" filter="fade">
                                      <p:cBhvr>
                                        <p:cTn id="637" dur="2000" tmFilter="0, 0; .2, .5; .8, .5; 1, 0"/>
                                        <p:tgtEl>
                                          <p:spTgt spid="291"/>
                                        </p:tgtEl>
                                      </p:cBhvr>
                                    </p:animEffect>
                                    <p:animScale>
                                      <p:cBhvr>
                                        <p:cTn id="638" dur="1000" autoRev="1" fill="hold"/>
                                        <p:tgtEl>
                                          <p:spTgt spid="291"/>
                                        </p:tgtEl>
                                      </p:cBhvr>
                                      <p:by x="105000" y="105000"/>
                                    </p:animScale>
                                  </p:childTnLst>
                                </p:cTn>
                              </p:par>
                              <p:par>
                                <p:cTn id="639" presetID="26" presetClass="emph" presetSubtype="0" dur="2000" repeatCount="indefinite" fill="hold" grpId="0" nodeType="withEffect">
                                  <p:stCondLst>
                                    <p:cond delay="4000"/>
                                  </p:stCondLst>
                                  <p:childTnLst>
                                    <p:animEffect transition="out" filter="fade">
                                      <p:cBhvr>
                                        <p:cTn id="640" dur="2000" tmFilter="0, 0; .2, .5; .8, .5; 1, 0"/>
                                        <p:tgtEl>
                                          <p:spTgt spid="292"/>
                                        </p:tgtEl>
                                      </p:cBhvr>
                                    </p:animEffect>
                                    <p:animScale>
                                      <p:cBhvr>
                                        <p:cTn id="641" dur="1000" autoRev="1" fill="hold"/>
                                        <p:tgtEl>
                                          <p:spTgt spid="292"/>
                                        </p:tgtEl>
                                      </p:cBhvr>
                                      <p:by x="105000" y="105000"/>
                                    </p:animScale>
                                  </p:childTnLst>
                                </p:cTn>
                              </p:par>
                              <p:par>
                                <p:cTn id="642" presetID="26" presetClass="emph" presetSubtype="0" dur="2000" repeatCount="indefinite" fill="hold" grpId="0" nodeType="withEffect">
                                  <p:stCondLst>
                                    <p:cond delay="4000"/>
                                  </p:stCondLst>
                                  <p:childTnLst>
                                    <p:animEffect transition="out" filter="fade">
                                      <p:cBhvr>
                                        <p:cTn id="643" dur="2000" tmFilter="0, 0; .2, .5; .8, .5; 1, 0"/>
                                        <p:tgtEl>
                                          <p:spTgt spid="293"/>
                                        </p:tgtEl>
                                      </p:cBhvr>
                                    </p:animEffect>
                                    <p:animScale>
                                      <p:cBhvr>
                                        <p:cTn id="644" dur="1000" autoRev="1" fill="hold"/>
                                        <p:tgtEl>
                                          <p:spTgt spid="293"/>
                                        </p:tgtEl>
                                      </p:cBhvr>
                                      <p:by x="105000" y="105000"/>
                                    </p:animScale>
                                  </p:childTnLst>
                                </p:cTn>
                              </p:par>
                              <p:par>
                                <p:cTn id="645" presetID="26" presetClass="emph" presetSubtype="0" dur="2000" repeatCount="indefinite" fill="hold" grpId="0" nodeType="withEffect">
                                  <p:stCondLst>
                                    <p:cond delay="4000"/>
                                  </p:stCondLst>
                                  <p:childTnLst>
                                    <p:animEffect transition="out" filter="fade">
                                      <p:cBhvr>
                                        <p:cTn id="646" dur="2000" tmFilter="0, 0; .2, .5; .8, .5; 1, 0"/>
                                        <p:tgtEl>
                                          <p:spTgt spid="294"/>
                                        </p:tgtEl>
                                      </p:cBhvr>
                                    </p:animEffect>
                                    <p:animScale>
                                      <p:cBhvr>
                                        <p:cTn id="647" dur="1000" autoRev="1" fill="hold"/>
                                        <p:tgtEl>
                                          <p:spTgt spid="294"/>
                                        </p:tgtEl>
                                      </p:cBhvr>
                                      <p:by x="105000" y="105000"/>
                                    </p:animScale>
                                  </p:childTnLst>
                                </p:cTn>
                              </p:par>
                              <p:par>
                                <p:cTn id="648" presetID="26" presetClass="emph" presetSubtype="0" dur="2000" repeatCount="indefinite" fill="hold" grpId="0" nodeType="withEffect">
                                  <p:stCondLst>
                                    <p:cond delay="4000"/>
                                  </p:stCondLst>
                                  <p:childTnLst>
                                    <p:animEffect transition="out" filter="fade">
                                      <p:cBhvr>
                                        <p:cTn id="649" dur="2000" tmFilter="0, 0; .2, .5; .8, .5; 1, 0"/>
                                        <p:tgtEl>
                                          <p:spTgt spid="295"/>
                                        </p:tgtEl>
                                      </p:cBhvr>
                                    </p:animEffect>
                                    <p:animScale>
                                      <p:cBhvr>
                                        <p:cTn id="650" dur="1000" autoRev="1" fill="hold"/>
                                        <p:tgtEl>
                                          <p:spTgt spid="295"/>
                                        </p:tgtEl>
                                      </p:cBhvr>
                                      <p:by x="105000" y="105000"/>
                                    </p:animScale>
                                  </p:childTnLst>
                                </p:cTn>
                              </p:par>
                              <p:par>
                                <p:cTn id="651" presetID="26" presetClass="emph" presetSubtype="0" dur="2000" repeatCount="indefinite" fill="hold" grpId="0" nodeType="withEffect">
                                  <p:stCondLst>
                                    <p:cond delay="4000"/>
                                  </p:stCondLst>
                                  <p:childTnLst>
                                    <p:animEffect transition="out" filter="fade">
                                      <p:cBhvr>
                                        <p:cTn id="652" dur="2000" tmFilter="0, 0; .2, .5; .8, .5; 1, 0"/>
                                        <p:tgtEl>
                                          <p:spTgt spid="296"/>
                                        </p:tgtEl>
                                      </p:cBhvr>
                                    </p:animEffect>
                                    <p:animScale>
                                      <p:cBhvr>
                                        <p:cTn id="653" dur="1000" autoRev="1" fill="hold"/>
                                        <p:tgtEl>
                                          <p:spTgt spid="296"/>
                                        </p:tgtEl>
                                      </p:cBhvr>
                                      <p:by x="105000" y="105000"/>
                                    </p:animScale>
                                  </p:childTnLst>
                                </p:cTn>
                              </p:par>
                              <p:par>
                                <p:cTn id="654" presetID="26" presetClass="emph" presetSubtype="0" dur="2000" repeatCount="indefinite" fill="hold" grpId="0" nodeType="withEffect">
                                  <p:stCondLst>
                                    <p:cond delay="4250"/>
                                  </p:stCondLst>
                                  <p:childTnLst>
                                    <p:animEffect transition="out" filter="fade">
                                      <p:cBhvr>
                                        <p:cTn id="655" dur="2000" tmFilter="0, 0; .2, .5; .8, .5; 1, 0"/>
                                        <p:tgtEl>
                                          <p:spTgt spid="279"/>
                                        </p:tgtEl>
                                      </p:cBhvr>
                                    </p:animEffect>
                                    <p:animScale>
                                      <p:cBhvr>
                                        <p:cTn id="656" dur="1000" autoRev="1" fill="hold"/>
                                        <p:tgtEl>
                                          <p:spTgt spid="279"/>
                                        </p:tgtEl>
                                      </p:cBhvr>
                                      <p:by x="105000" y="105000"/>
                                    </p:animScale>
                                  </p:childTnLst>
                                </p:cTn>
                              </p:par>
                              <p:par>
                                <p:cTn id="657" presetID="26" presetClass="emph" presetSubtype="0" dur="2000" repeatCount="indefinite" fill="hold" grpId="0" nodeType="withEffect">
                                  <p:stCondLst>
                                    <p:cond delay="4250"/>
                                  </p:stCondLst>
                                  <p:childTnLst>
                                    <p:animEffect transition="out" filter="fade">
                                      <p:cBhvr>
                                        <p:cTn id="658" dur="2000" tmFilter="0, 0; .2, .5; .8, .5; 1, 0"/>
                                        <p:tgtEl>
                                          <p:spTgt spid="280"/>
                                        </p:tgtEl>
                                      </p:cBhvr>
                                    </p:animEffect>
                                    <p:animScale>
                                      <p:cBhvr>
                                        <p:cTn id="659" dur="1000" autoRev="1" fill="hold"/>
                                        <p:tgtEl>
                                          <p:spTgt spid="280"/>
                                        </p:tgtEl>
                                      </p:cBhvr>
                                      <p:by x="105000" y="105000"/>
                                    </p:animScale>
                                  </p:childTnLst>
                                </p:cTn>
                              </p:par>
                              <p:par>
                                <p:cTn id="660" presetID="26" presetClass="emph" presetSubtype="0" dur="2000" repeatCount="indefinite" fill="hold" grpId="0" nodeType="withEffect">
                                  <p:stCondLst>
                                    <p:cond delay="4250"/>
                                  </p:stCondLst>
                                  <p:childTnLst>
                                    <p:animEffect transition="out" filter="fade">
                                      <p:cBhvr>
                                        <p:cTn id="661" dur="2000" tmFilter="0, 0; .2, .5; .8, .5; 1, 0"/>
                                        <p:tgtEl>
                                          <p:spTgt spid="281"/>
                                        </p:tgtEl>
                                      </p:cBhvr>
                                    </p:animEffect>
                                    <p:animScale>
                                      <p:cBhvr>
                                        <p:cTn id="662" dur="1000" autoRev="1" fill="hold"/>
                                        <p:tgtEl>
                                          <p:spTgt spid="281"/>
                                        </p:tgtEl>
                                      </p:cBhvr>
                                      <p:by x="105000" y="105000"/>
                                    </p:animScale>
                                  </p:childTnLst>
                                </p:cTn>
                              </p:par>
                              <p:par>
                                <p:cTn id="663" presetID="26" presetClass="emph" presetSubtype="0" dur="2000" repeatCount="indefinite" fill="hold" grpId="0" nodeType="withEffect">
                                  <p:stCondLst>
                                    <p:cond delay="4250"/>
                                  </p:stCondLst>
                                  <p:childTnLst>
                                    <p:animEffect transition="out" filter="fade">
                                      <p:cBhvr>
                                        <p:cTn id="664" dur="2000" tmFilter="0, 0; .2, .5; .8, .5; 1, 0"/>
                                        <p:tgtEl>
                                          <p:spTgt spid="282"/>
                                        </p:tgtEl>
                                      </p:cBhvr>
                                    </p:animEffect>
                                    <p:animScale>
                                      <p:cBhvr>
                                        <p:cTn id="665" dur="1000" autoRev="1" fill="hold"/>
                                        <p:tgtEl>
                                          <p:spTgt spid="282"/>
                                        </p:tgtEl>
                                      </p:cBhvr>
                                      <p:by x="105000" y="105000"/>
                                    </p:animScale>
                                  </p:childTnLst>
                                </p:cTn>
                              </p:par>
                              <p:par>
                                <p:cTn id="666" presetID="26" presetClass="emph" presetSubtype="0" dur="2000" repeatCount="indefinite" fill="hold" grpId="0" nodeType="withEffect">
                                  <p:stCondLst>
                                    <p:cond delay="4250"/>
                                  </p:stCondLst>
                                  <p:childTnLst>
                                    <p:animEffect transition="out" filter="fade">
                                      <p:cBhvr>
                                        <p:cTn id="667" dur="2000" tmFilter="0, 0; .2, .5; .8, .5; 1, 0"/>
                                        <p:tgtEl>
                                          <p:spTgt spid="283"/>
                                        </p:tgtEl>
                                      </p:cBhvr>
                                    </p:animEffect>
                                    <p:animScale>
                                      <p:cBhvr>
                                        <p:cTn id="668" dur="1000" autoRev="1" fill="hold"/>
                                        <p:tgtEl>
                                          <p:spTgt spid="283"/>
                                        </p:tgtEl>
                                      </p:cBhvr>
                                      <p:by x="105000" y="105000"/>
                                    </p:animScale>
                                  </p:childTnLst>
                                </p:cTn>
                              </p:par>
                              <p:par>
                                <p:cTn id="669" presetID="26" presetClass="emph" presetSubtype="0" dur="2000" repeatCount="indefinite" fill="hold" grpId="0" nodeType="withEffect">
                                  <p:stCondLst>
                                    <p:cond delay="4250"/>
                                  </p:stCondLst>
                                  <p:childTnLst>
                                    <p:animEffect transition="out" filter="fade">
                                      <p:cBhvr>
                                        <p:cTn id="670" dur="2000" tmFilter="0, 0; .2, .5; .8, .5; 1, 0"/>
                                        <p:tgtEl>
                                          <p:spTgt spid="284"/>
                                        </p:tgtEl>
                                      </p:cBhvr>
                                    </p:animEffect>
                                    <p:animScale>
                                      <p:cBhvr>
                                        <p:cTn id="671" dur="1000" autoRev="1" fill="hold"/>
                                        <p:tgtEl>
                                          <p:spTgt spid="284"/>
                                        </p:tgtEl>
                                      </p:cBhvr>
                                      <p:by x="105000" y="105000"/>
                                    </p:animScale>
                                  </p:childTnLst>
                                </p:cTn>
                              </p:par>
                              <p:par>
                                <p:cTn id="672" presetID="26" presetClass="emph" presetSubtype="0" dur="2000" repeatCount="indefinite" fill="hold" grpId="0" nodeType="withEffect">
                                  <p:stCondLst>
                                    <p:cond delay="4250"/>
                                  </p:stCondLst>
                                  <p:childTnLst>
                                    <p:animEffect transition="out" filter="fade">
                                      <p:cBhvr>
                                        <p:cTn id="673" dur="2000" tmFilter="0, 0; .2, .5; .8, .5; 1, 0"/>
                                        <p:tgtEl>
                                          <p:spTgt spid="285"/>
                                        </p:tgtEl>
                                      </p:cBhvr>
                                    </p:animEffect>
                                    <p:animScale>
                                      <p:cBhvr>
                                        <p:cTn id="674" dur="1000" autoRev="1" fill="hold"/>
                                        <p:tgtEl>
                                          <p:spTgt spid="285"/>
                                        </p:tgtEl>
                                      </p:cBhvr>
                                      <p:by x="105000" y="105000"/>
                                    </p:animScale>
                                  </p:childTnLst>
                                </p:cTn>
                              </p:par>
                              <p:par>
                                <p:cTn id="675" presetID="26" presetClass="emph" presetSubtype="0" dur="2000" repeatCount="indefinite" fill="hold" grpId="0" nodeType="withEffect">
                                  <p:stCondLst>
                                    <p:cond delay="4250"/>
                                  </p:stCondLst>
                                  <p:childTnLst>
                                    <p:animEffect transition="out" filter="fade">
                                      <p:cBhvr>
                                        <p:cTn id="676" dur="2000" tmFilter="0, 0; .2, .5; .8, .5; 1, 0"/>
                                        <p:tgtEl>
                                          <p:spTgt spid="286"/>
                                        </p:tgtEl>
                                      </p:cBhvr>
                                    </p:animEffect>
                                    <p:animScale>
                                      <p:cBhvr>
                                        <p:cTn id="677" dur="1000" autoRev="1" fill="hold"/>
                                        <p:tgtEl>
                                          <p:spTgt spid="286"/>
                                        </p:tgtEl>
                                      </p:cBhvr>
                                      <p:by x="105000" y="105000"/>
                                    </p:animScale>
                                  </p:childTnLst>
                                </p:cTn>
                              </p:par>
                              <p:par>
                                <p:cTn id="678" presetID="26" presetClass="emph" presetSubtype="0" dur="2000" repeatCount="indefinite" fill="hold" grpId="0" nodeType="withEffect">
                                  <p:stCondLst>
                                    <p:cond delay="4500"/>
                                  </p:stCondLst>
                                  <p:childTnLst>
                                    <p:animEffect transition="out" filter="fade">
                                      <p:cBhvr>
                                        <p:cTn id="679" dur="2000" tmFilter="0, 0; .2, .5; .8, .5; 1, 0"/>
                                        <p:tgtEl>
                                          <p:spTgt spid="273"/>
                                        </p:tgtEl>
                                      </p:cBhvr>
                                    </p:animEffect>
                                    <p:animScale>
                                      <p:cBhvr>
                                        <p:cTn id="680" dur="1000" autoRev="1" fill="hold"/>
                                        <p:tgtEl>
                                          <p:spTgt spid="273"/>
                                        </p:tgtEl>
                                      </p:cBhvr>
                                      <p:by x="105000" y="105000"/>
                                    </p:animScale>
                                  </p:childTnLst>
                                </p:cTn>
                              </p:par>
                              <p:par>
                                <p:cTn id="681" presetID="26" presetClass="emph" presetSubtype="0" dur="2000" repeatCount="indefinite" fill="hold" grpId="0" nodeType="withEffect">
                                  <p:stCondLst>
                                    <p:cond delay="4500"/>
                                  </p:stCondLst>
                                  <p:childTnLst>
                                    <p:animEffect transition="out" filter="fade">
                                      <p:cBhvr>
                                        <p:cTn id="682" dur="2000" tmFilter="0, 0; .2, .5; .8, .5; 1, 0"/>
                                        <p:tgtEl>
                                          <p:spTgt spid="274"/>
                                        </p:tgtEl>
                                      </p:cBhvr>
                                    </p:animEffect>
                                    <p:animScale>
                                      <p:cBhvr>
                                        <p:cTn id="683" dur="1000" autoRev="1" fill="hold"/>
                                        <p:tgtEl>
                                          <p:spTgt spid="274"/>
                                        </p:tgtEl>
                                      </p:cBhvr>
                                      <p:by x="105000" y="105000"/>
                                    </p:animScale>
                                  </p:childTnLst>
                                </p:cTn>
                              </p:par>
                              <p:par>
                                <p:cTn id="684" presetID="26" presetClass="emph" presetSubtype="0" dur="2000" repeatCount="indefinite" fill="hold" grpId="0" nodeType="withEffect">
                                  <p:stCondLst>
                                    <p:cond delay="4500"/>
                                  </p:stCondLst>
                                  <p:childTnLst>
                                    <p:animEffect transition="out" filter="fade">
                                      <p:cBhvr>
                                        <p:cTn id="685" dur="2000" tmFilter="0, 0; .2, .5; .8, .5; 1, 0"/>
                                        <p:tgtEl>
                                          <p:spTgt spid="275"/>
                                        </p:tgtEl>
                                      </p:cBhvr>
                                    </p:animEffect>
                                    <p:animScale>
                                      <p:cBhvr>
                                        <p:cTn id="686" dur="1000" autoRev="1" fill="hold"/>
                                        <p:tgtEl>
                                          <p:spTgt spid="275"/>
                                        </p:tgtEl>
                                      </p:cBhvr>
                                      <p:by x="105000" y="105000"/>
                                    </p:animScale>
                                  </p:childTnLst>
                                </p:cTn>
                              </p:par>
                              <p:par>
                                <p:cTn id="687" presetID="26" presetClass="emph" presetSubtype="0" dur="2000" repeatCount="indefinite" fill="hold" grpId="0" nodeType="withEffect">
                                  <p:stCondLst>
                                    <p:cond delay="4500"/>
                                  </p:stCondLst>
                                  <p:childTnLst>
                                    <p:animEffect transition="out" filter="fade">
                                      <p:cBhvr>
                                        <p:cTn id="688" dur="2000" tmFilter="0, 0; .2, .5; .8, .5; 1, 0"/>
                                        <p:tgtEl>
                                          <p:spTgt spid="276"/>
                                        </p:tgtEl>
                                      </p:cBhvr>
                                    </p:animEffect>
                                    <p:animScale>
                                      <p:cBhvr>
                                        <p:cTn id="689" dur="1000" autoRev="1" fill="hold"/>
                                        <p:tgtEl>
                                          <p:spTgt spid="276"/>
                                        </p:tgtEl>
                                      </p:cBhvr>
                                      <p:by x="105000" y="105000"/>
                                    </p:animScale>
                                  </p:childTnLst>
                                </p:cTn>
                              </p:par>
                              <p:par>
                                <p:cTn id="690" presetID="26" presetClass="emph" presetSubtype="0" dur="2000" repeatCount="indefinite" fill="hold" grpId="0" nodeType="withEffect">
                                  <p:stCondLst>
                                    <p:cond delay="4500"/>
                                  </p:stCondLst>
                                  <p:childTnLst>
                                    <p:animEffect transition="out" filter="fade">
                                      <p:cBhvr>
                                        <p:cTn id="691" dur="2000" tmFilter="0, 0; .2, .5; .8, .5; 1, 0"/>
                                        <p:tgtEl>
                                          <p:spTgt spid="277"/>
                                        </p:tgtEl>
                                      </p:cBhvr>
                                    </p:animEffect>
                                    <p:animScale>
                                      <p:cBhvr>
                                        <p:cTn id="692" dur="1000" autoRev="1" fill="hold"/>
                                        <p:tgtEl>
                                          <p:spTgt spid="277"/>
                                        </p:tgtEl>
                                      </p:cBhvr>
                                      <p:by x="105000" y="105000"/>
                                    </p:animScale>
                                  </p:childTnLst>
                                </p:cTn>
                              </p:par>
                              <p:par>
                                <p:cTn id="693" presetID="26" presetClass="emph" presetSubtype="0" dur="2000" repeatCount="indefinite" fill="hold" grpId="0" nodeType="withEffect">
                                  <p:stCondLst>
                                    <p:cond delay="4500"/>
                                  </p:stCondLst>
                                  <p:childTnLst>
                                    <p:animEffect transition="out" filter="fade">
                                      <p:cBhvr>
                                        <p:cTn id="694" dur="2000" tmFilter="0, 0; .2, .5; .8, .5; 1, 0"/>
                                        <p:tgtEl>
                                          <p:spTgt spid="278"/>
                                        </p:tgtEl>
                                      </p:cBhvr>
                                    </p:animEffect>
                                    <p:animScale>
                                      <p:cBhvr>
                                        <p:cTn id="695" dur="1000" autoRev="1" fill="hold"/>
                                        <p:tgtEl>
                                          <p:spTgt spid="278"/>
                                        </p:tgtEl>
                                      </p:cBhvr>
                                      <p:by x="105000" y="105000"/>
                                    </p:animScale>
                                  </p:childTnLst>
                                </p:cTn>
                              </p:par>
                              <p:par>
                                <p:cTn id="696" presetID="26" presetClass="emph" presetSubtype="0" dur="2000" repeatCount="indefinite" fill="hold" grpId="0" nodeType="withEffect">
                                  <p:stCondLst>
                                    <p:cond delay="4750"/>
                                  </p:stCondLst>
                                  <p:childTnLst>
                                    <p:animEffect transition="out" filter="fade">
                                      <p:cBhvr>
                                        <p:cTn id="697" dur="2000" tmFilter="0, 0; .2, .5; .8, .5; 1, 0"/>
                                        <p:tgtEl>
                                          <p:spTgt spid="269"/>
                                        </p:tgtEl>
                                      </p:cBhvr>
                                    </p:animEffect>
                                    <p:animScale>
                                      <p:cBhvr>
                                        <p:cTn id="698" dur="1000" autoRev="1" fill="hold"/>
                                        <p:tgtEl>
                                          <p:spTgt spid="269"/>
                                        </p:tgtEl>
                                      </p:cBhvr>
                                      <p:by x="105000" y="105000"/>
                                    </p:animScale>
                                  </p:childTnLst>
                                </p:cTn>
                              </p:par>
                              <p:par>
                                <p:cTn id="699" presetID="26" presetClass="emph" presetSubtype="0" dur="2000" repeatCount="indefinite" fill="hold" grpId="0" nodeType="withEffect">
                                  <p:stCondLst>
                                    <p:cond delay="4750"/>
                                  </p:stCondLst>
                                  <p:childTnLst>
                                    <p:animEffect transition="out" filter="fade">
                                      <p:cBhvr>
                                        <p:cTn id="700" dur="2000" tmFilter="0, 0; .2, .5; .8, .5; 1, 0"/>
                                        <p:tgtEl>
                                          <p:spTgt spid="270"/>
                                        </p:tgtEl>
                                      </p:cBhvr>
                                    </p:animEffect>
                                    <p:animScale>
                                      <p:cBhvr>
                                        <p:cTn id="701" dur="1000" autoRev="1" fill="hold"/>
                                        <p:tgtEl>
                                          <p:spTgt spid="270"/>
                                        </p:tgtEl>
                                      </p:cBhvr>
                                      <p:by x="105000" y="105000"/>
                                    </p:animScale>
                                  </p:childTnLst>
                                </p:cTn>
                              </p:par>
                              <p:par>
                                <p:cTn id="702" presetID="26" presetClass="emph" presetSubtype="0" dur="2000" repeatCount="indefinite" fill="hold" grpId="0" nodeType="withEffect">
                                  <p:stCondLst>
                                    <p:cond delay="4750"/>
                                  </p:stCondLst>
                                  <p:childTnLst>
                                    <p:animEffect transition="out" filter="fade">
                                      <p:cBhvr>
                                        <p:cTn id="703" dur="2000" tmFilter="0, 0; .2, .5; .8, .5; 1, 0"/>
                                        <p:tgtEl>
                                          <p:spTgt spid="271"/>
                                        </p:tgtEl>
                                      </p:cBhvr>
                                    </p:animEffect>
                                    <p:animScale>
                                      <p:cBhvr>
                                        <p:cTn id="704" dur="1000" autoRev="1" fill="hold"/>
                                        <p:tgtEl>
                                          <p:spTgt spid="271"/>
                                        </p:tgtEl>
                                      </p:cBhvr>
                                      <p:by x="105000" y="105000"/>
                                    </p:animScale>
                                  </p:childTnLst>
                                </p:cTn>
                              </p:par>
                              <p:par>
                                <p:cTn id="705" presetID="26" presetClass="emph" presetSubtype="0" dur="2000" repeatCount="indefinite" fill="hold" grpId="0" nodeType="withEffect">
                                  <p:stCondLst>
                                    <p:cond delay="4750"/>
                                  </p:stCondLst>
                                  <p:childTnLst>
                                    <p:animEffect transition="out" filter="fade">
                                      <p:cBhvr>
                                        <p:cTn id="706" dur="2000" tmFilter="0, 0; .2, .5; .8, .5; 1, 0"/>
                                        <p:tgtEl>
                                          <p:spTgt spid="272"/>
                                        </p:tgtEl>
                                      </p:cBhvr>
                                    </p:animEffect>
                                    <p:animScale>
                                      <p:cBhvr>
                                        <p:cTn id="707" dur="1000" autoRev="1" fill="hold"/>
                                        <p:tgtEl>
                                          <p:spTgt spid="272"/>
                                        </p:tgtEl>
                                      </p:cBhvr>
                                      <p:by x="105000" y="105000"/>
                                    </p:animScale>
                                  </p:childTnLst>
                                </p:cTn>
                              </p:par>
                              <p:par>
                                <p:cTn id="708" presetID="26" presetClass="emph" presetSubtype="0" dur="2000" repeatCount="indefinite" fill="hold" grpId="0" nodeType="withEffect">
                                  <p:stCondLst>
                                    <p:cond delay="5000"/>
                                  </p:stCondLst>
                                  <p:childTnLst>
                                    <p:animEffect transition="out" filter="fade">
                                      <p:cBhvr>
                                        <p:cTn id="709" dur="2000" tmFilter="0, 0; .2, .5; .8, .5; 1, 0"/>
                                        <p:tgtEl>
                                          <p:spTgt spid="267"/>
                                        </p:tgtEl>
                                      </p:cBhvr>
                                    </p:animEffect>
                                    <p:animScale>
                                      <p:cBhvr>
                                        <p:cTn id="710" dur="1000" autoRev="1" fill="hold"/>
                                        <p:tgtEl>
                                          <p:spTgt spid="267"/>
                                        </p:tgtEl>
                                      </p:cBhvr>
                                      <p:by x="105000" y="105000"/>
                                    </p:animScale>
                                  </p:childTnLst>
                                </p:cTn>
                              </p:par>
                              <p:par>
                                <p:cTn id="711" presetID="26" presetClass="emph" presetSubtype="0" dur="2000" repeatCount="indefinite" fill="hold" grpId="0" nodeType="withEffect">
                                  <p:stCondLst>
                                    <p:cond delay="5000"/>
                                  </p:stCondLst>
                                  <p:childTnLst>
                                    <p:animEffect transition="out" filter="fade">
                                      <p:cBhvr>
                                        <p:cTn id="712" dur="2000" tmFilter="0, 0; .2, .5; .8, .5; 1, 0"/>
                                        <p:tgtEl>
                                          <p:spTgt spid="268"/>
                                        </p:tgtEl>
                                      </p:cBhvr>
                                    </p:animEffect>
                                    <p:animScale>
                                      <p:cBhvr>
                                        <p:cTn id="713" dur="1000" autoRev="1" fill="hold"/>
                                        <p:tgtEl>
                                          <p:spTgt spid="268"/>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7" grpId="0" animBg="1"/>
      <p:bldP spid="268" grpId="0" animBg="1"/>
      <p:bldP spid="269" grpId="0" animBg="1"/>
      <p:bldP spid="270" grpId="0" animBg="1"/>
      <p:bldP spid="271" grpId="0" animBg="1"/>
      <p:bldP spid="272" grpId="0" animBg="1"/>
      <p:bldP spid="273" grpId="0" animBg="1"/>
      <p:bldP spid="274" grpId="0" animBg="1"/>
      <p:bldP spid="275" grpId="0" animBg="1"/>
      <p:bldP spid="276" grpId="0" animBg="1"/>
      <p:bldP spid="277" grpId="0" animBg="1"/>
      <p:bldP spid="278" grpId="0" animBg="1"/>
      <p:bldP spid="279" grpId="0" animBg="1"/>
      <p:bldP spid="280" grpId="0" animBg="1"/>
      <p:bldP spid="281" grpId="0" animBg="1"/>
      <p:bldP spid="282" grpId="0" animBg="1"/>
      <p:bldP spid="283" grpId="0" animBg="1"/>
      <p:bldP spid="284" grpId="0" animBg="1"/>
      <p:bldP spid="285" grpId="0" animBg="1"/>
      <p:bldP spid="286" grpId="0" animBg="1"/>
      <p:bldP spid="287" grpId="0" animBg="1"/>
      <p:bldP spid="288" grpId="0" animBg="1"/>
      <p:bldP spid="289" grpId="0" animBg="1"/>
      <p:bldP spid="290" grpId="0" animBg="1"/>
      <p:bldP spid="291" grpId="0" animBg="1"/>
      <p:bldP spid="292" grpId="0" animBg="1"/>
      <p:bldP spid="293" grpId="0" animBg="1"/>
      <p:bldP spid="294" grpId="0" animBg="1"/>
      <p:bldP spid="295" grpId="0" animBg="1"/>
      <p:bldP spid="296" grpId="0" animBg="1"/>
      <p:bldP spid="297" grpId="0" animBg="1"/>
      <p:bldP spid="298" grpId="0" animBg="1"/>
      <p:bldP spid="299" grpId="0" animBg="1"/>
      <p:bldP spid="300" grpId="0" animBg="1"/>
      <p:bldP spid="301" grpId="0" animBg="1"/>
      <p:bldP spid="302" grpId="0" animBg="1"/>
      <p:bldP spid="303" grpId="0" animBg="1"/>
      <p:bldP spid="304" grpId="0" animBg="1"/>
      <p:bldP spid="305" grpId="0" animBg="1"/>
      <p:bldP spid="306" grpId="0" animBg="1"/>
      <p:bldP spid="307" grpId="0" animBg="1"/>
      <p:bldP spid="308" grpId="0" animBg="1"/>
      <p:bldP spid="309" grpId="0" animBg="1"/>
      <p:bldP spid="310" grpId="0" animBg="1"/>
      <p:bldP spid="311" grpId="0" animBg="1"/>
      <p:bldP spid="312" grpId="0" animBg="1"/>
      <p:bldP spid="313" grpId="0" animBg="1"/>
      <p:bldP spid="314" grpId="0" animBg="1"/>
      <p:bldP spid="315" grpId="0" animBg="1"/>
      <p:bldP spid="316" grpId="0" animBg="1"/>
      <p:bldP spid="317" grpId="0" animBg="1"/>
      <p:bldP spid="318" grpId="0" animBg="1"/>
      <p:bldP spid="319" grpId="0" animBg="1"/>
      <p:bldP spid="320" grpId="0" animBg="1"/>
      <p:bldP spid="321" grpId="0" animBg="1"/>
      <p:bldP spid="322" grpId="0" animBg="1"/>
      <p:bldP spid="323" grpId="0" animBg="1"/>
      <p:bldP spid="324" grpId="0" animBg="1"/>
      <p:bldP spid="325" grpId="0" animBg="1"/>
      <p:bldP spid="326" grpId="0" animBg="1"/>
      <p:bldP spid="327" grpId="0" animBg="1"/>
      <p:bldP spid="328" grpId="0" animBg="1"/>
      <p:bldP spid="329" grpId="0" animBg="1"/>
      <p:bldP spid="330" grpId="0" animBg="1"/>
      <p:bldP spid="331" grpId="0" animBg="1"/>
      <p:bldP spid="332" grpId="0" animBg="1"/>
      <p:bldP spid="333" grpId="0" animBg="1"/>
      <p:bldP spid="334" grpId="0" animBg="1"/>
      <p:bldP spid="335" grpId="0" animBg="1"/>
      <p:bldP spid="336" grpId="0" animBg="1"/>
      <p:bldP spid="337" grpId="0" animBg="1"/>
      <p:bldP spid="338" grpId="0" animBg="1"/>
      <p:bldP spid="339" grpId="0" animBg="1"/>
      <p:bldP spid="340" grpId="0" animBg="1"/>
      <p:bldP spid="341" grpId="0" animBg="1"/>
      <p:bldP spid="342" grpId="0" animBg="1"/>
      <p:bldP spid="343" grpId="0" animBg="1"/>
      <p:bldP spid="344" grpId="0" animBg="1"/>
      <p:bldP spid="345" grpId="0" animBg="1"/>
      <p:bldP spid="346" grpId="0" animBg="1"/>
      <p:bldP spid="347" grpId="0" animBg="1"/>
      <p:bldP spid="348" grpId="0" animBg="1"/>
      <p:bldP spid="349" grpId="0" animBg="1"/>
      <p:bldP spid="350" grpId="0" animBg="1"/>
      <p:bldP spid="351" grpId="0" animBg="1"/>
      <p:bldP spid="352" grpId="0" animBg="1"/>
      <p:bldP spid="353" grpId="0" animBg="1"/>
      <p:bldP spid="354" grpId="0" animBg="1"/>
      <p:bldP spid="355" grpId="0" animBg="1"/>
      <p:bldP spid="356" grpId="0" animBg="1"/>
      <p:bldP spid="357" grpId="0" animBg="1"/>
      <p:bldP spid="358" grpId="0" animBg="1"/>
      <p:bldP spid="359" grpId="0" animBg="1"/>
      <p:bldP spid="360" grpId="0" animBg="1"/>
      <p:bldP spid="361" grpId="0" animBg="1"/>
      <p:bldP spid="362" grpId="0" animBg="1"/>
      <p:bldP spid="363" grpId="0" animBg="1"/>
      <p:bldP spid="364" grpId="0" animBg="1"/>
      <p:bldP spid="365" grpId="0" animBg="1"/>
      <p:bldP spid="366" grpId="0" animBg="1"/>
      <p:bldP spid="367" grpId="0" animBg="1"/>
      <p:bldP spid="368" grpId="0" animBg="1"/>
      <p:bldP spid="369" grpId="0" animBg="1"/>
      <p:bldP spid="370" grpId="0" animBg="1"/>
      <p:bldP spid="371" grpId="0" animBg="1"/>
      <p:bldP spid="372" grpId="0" animBg="1"/>
      <p:bldP spid="373" grpId="0" animBg="1"/>
      <p:bldP spid="374" grpId="0" animBg="1"/>
      <p:bldP spid="375" grpId="0" animBg="1"/>
      <p:bldP spid="376" grpId="0" animBg="1"/>
      <p:bldP spid="377" grpId="0" animBg="1"/>
      <p:bldP spid="378" grpId="0" animBg="1"/>
      <p:bldP spid="379" grpId="0" animBg="1"/>
      <p:bldP spid="380" grpId="0" animBg="1"/>
      <p:bldP spid="381" grpId="0" animBg="1"/>
      <p:bldP spid="382" grpId="0" animBg="1"/>
      <p:bldP spid="383" grpId="0" animBg="1"/>
      <p:bldP spid="384" grpId="0" animBg="1"/>
      <p:bldP spid="385" grpId="0" animBg="1"/>
      <p:bldP spid="386" grpId="0" animBg="1"/>
      <p:bldP spid="387" grpId="0" animBg="1"/>
      <p:bldP spid="388" grpId="0" animBg="1"/>
      <p:bldP spid="389" grpId="0" animBg="1"/>
      <p:bldP spid="390" grpId="0" animBg="1"/>
      <p:bldP spid="391" grpId="0" animBg="1"/>
      <p:bldP spid="392" grpId="0" animBg="1"/>
      <p:bldP spid="393" grpId="0" animBg="1"/>
      <p:bldP spid="394" grpId="0" animBg="1"/>
      <p:bldP spid="395" grpId="0" animBg="1"/>
      <p:bldP spid="396" grpId="0" animBg="1"/>
      <p:bldP spid="397" grpId="0" animBg="1"/>
      <p:bldP spid="398" grpId="0" animBg="1"/>
      <p:bldP spid="399" grpId="0" animBg="1"/>
      <p:bldP spid="400" grpId="0" animBg="1"/>
      <p:bldP spid="401" grpId="0" animBg="1"/>
      <p:bldP spid="402" grpId="0" animBg="1"/>
      <p:bldP spid="403" grpId="0" animBg="1"/>
      <p:bldP spid="404" grpId="0" animBg="1"/>
      <p:bldP spid="405" grpId="0" animBg="1"/>
      <p:bldP spid="406" grpId="0" animBg="1"/>
      <p:bldP spid="407" grpId="0" animBg="1"/>
      <p:bldP spid="408" grpId="0" animBg="1"/>
      <p:bldP spid="409" grpId="0" animBg="1"/>
      <p:bldP spid="410" grpId="0" animBg="1"/>
      <p:bldP spid="411" grpId="0" animBg="1"/>
      <p:bldP spid="412" grpId="0" animBg="1"/>
      <p:bldP spid="413" grpId="0" animBg="1"/>
      <p:bldP spid="414" grpId="0" animBg="1"/>
      <p:bldP spid="415" grpId="0" animBg="1"/>
      <p:bldP spid="416" grpId="0" animBg="1"/>
      <p:bldP spid="417" grpId="0" animBg="1"/>
      <p:bldP spid="418" grpId="0" animBg="1"/>
      <p:bldP spid="419" grpId="0" animBg="1"/>
      <p:bldP spid="420" grpId="0" animBg="1"/>
      <p:bldP spid="421" grpId="0" animBg="1"/>
      <p:bldP spid="422" grpId="0" animBg="1"/>
      <p:bldP spid="423" grpId="0" animBg="1"/>
      <p:bldP spid="424" grpId="0" animBg="1"/>
      <p:bldP spid="425" grpId="0" animBg="1"/>
      <p:bldP spid="426" grpId="0" animBg="1"/>
      <p:bldP spid="427" grpId="0" animBg="1"/>
      <p:bldP spid="428" grpId="0" animBg="1"/>
      <p:bldP spid="429" grpId="0" animBg="1"/>
      <p:bldP spid="430" grpId="0" animBg="1"/>
      <p:bldP spid="431" grpId="0" animBg="1"/>
      <p:bldP spid="432" grpId="0" animBg="1"/>
      <p:bldP spid="433" grpId="0" animBg="1"/>
      <p:bldP spid="434" grpId="0" animBg="1"/>
      <p:bldP spid="435" grpId="0" animBg="1"/>
      <p:bldP spid="436" grpId="0" animBg="1"/>
      <p:bldP spid="437" grpId="0" animBg="1"/>
      <p:bldP spid="438" grpId="0" animBg="1"/>
      <p:bldP spid="439" grpId="0" animBg="1"/>
      <p:bldP spid="440" grpId="0" animBg="1"/>
      <p:bldP spid="441" grpId="0" animBg="1"/>
      <p:bldP spid="442" grpId="0" animBg="1"/>
      <p:bldP spid="443" grpId="0" animBg="1"/>
      <p:bldP spid="444" grpId="0" animBg="1"/>
      <p:bldP spid="445" grpId="0" animBg="1"/>
      <p:bldP spid="446" grpId="0" animBg="1"/>
      <p:bldP spid="447" grpId="0" animBg="1"/>
      <p:bldP spid="448" grpId="0" animBg="1"/>
      <p:bldP spid="449" grpId="0" animBg="1"/>
      <p:bldP spid="450" grpId="0" animBg="1"/>
      <p:bldP spid="451" grpId="0" animBg="1"/>
      <p:bldP spid="452" grpId="0" animBg="1"/>
      <p:bldP spid="453" grpId="0" animBg="1"/>
      <p:bldP spid="454" grpId="0" animBg="1"/>
      <p:bldP spid="455" grpId="0" animBg="1"/>
      <p:bldP spid="456" grpId="0" animBg="1"/>
      <p:bldP spid="457" grpId="0" animBg="1"/>
      <p:bldP spid="458" grpId="0" animBg="1"/>
      <p:bldP spid="459" grpId="0" animBg="1"/>
      <p:bldP spid="460" grpId="0" animBg="1"/>
      <p:bldP spid="461" grpId="0" animBg="1"/>
      <p:bldP spid="462" grpId="0" animBg="1"/>
      <p:bldP spid="463" grpId="0" animBg="1"/>
      <p:bldP spid="464" grpId="0" animBg="1"/>
      <p:bldP spid="465" grpId="0" animBg="1"/>
      <p:bldP spid="466" grpId="0" animBg="1"/>
      <p:bldP spid="467" grpId="0" animBg="1"/>
      <p:bldP spid="468" grpId="0" animBg="1"/>
      <p:bldP spid="469" grpId="0" animBg="1"/>
      <p:bldP spid="470" grpId="0" animBg="1"/>
      <p:bldP spid="471" grpId="0" animBg="1"/>
      <p:bldP spid="472" grpId="0" animBg="1"/>
      <p:bldP spid="473" grpId="0" animBg="1"/>
      <p:bldP spid="474" grpId="0" animBg="1"/>
      <p:bldP spid="475" grpId="0" animBg="1"/>
      <p:bldP spid="476" grpId="0" animBg="1"/>
      <p:bldP spid="477" grpId="0" animBg="1"/>
      <p:bldP spid="478" grpId="0" animBg="1"/>
      <p:bldP spid="479" grpId="0" animBg="1"/>
      <p:bldP spid="480" grpId="0" animBg="1"/>
      <p:bldP spid="481" grpId="0" animBg="1"/>
      <p:bldP spid="482" grpId="0" animBg="1"/>
      <p:bldP spid="483" grpId="0" animBg="1"/>
      <p:bldP spid="484" grpId="0" animBg="1"/>
      <p:bldP spid="485" grpId="0" animBg="1"/>
      <p:bldP spid="486" grpId="0" animBg="1"/>
      <p:bldP spid="487" grpId="0" animBg="1"/>
      <p:bldP spid="488" grpId="0" animBg="1"/>
      <p:bldP spid="489" grpId="0" animBg="1"/>
      <p:bldP spid="490" grpId="0" animBg="1"/>
      <p:bldP spid="491" grpId="0" animBg="1"/>
      <p:bldP spid="492" grpId="0" animBg="1"/>
      <p:bldP spid="493" grpId="0" animBg="1"/>
      <p:bldP spid="2" grpId="0"/>
      <p:bldP spid="19" grpId="0">
        <p:tmplLst>
          <p:tmpl>
            <p:tnLst>
              <p:par>
                <p:cTn presetID="2" presetClass="entr" presetSubtype="2" decel="100000" fill="hold" nodeType="withEffect">
                  <p:stCondLst>
                    <p:cond delay="250"/>
                  </p:stCondLst>
                  <p:childTnLst>
                    <p:set>
                      <p:cBhvr>
                        <p:cTn dur="1" fill="hold">
                          <p:stCondLst>
                            <p:cond delay="0"/>
                          </p:stCondLst>
                        </p:cTn>
                        <p:tgtEl>
                          <p:spTgt spid="19"/>
                        </p:tgtEl>
                        <p:attrNameLst>
                          <p:attrName>style.visibility</p:attrName>
                        </p:attrNameLst>
                      </p:cBhvr>
                      <p:to>
                        <p:strVal val="visible"/>
                      </p:to>
                    </p:set>
                    <p:anim calcmode="lin" valueType="num">
                      <p:cBhvr additive="base">
                        <p:cTn dur="1000" fill="hold"/>
                        <p:tgtEl>
                          <p:spTgt spid="19"/>
                        </p:tgtEl>
                        <p:attrNameLst>
                          <p:attrName>ppt_x</p:attrName>
                        </p:attrNameLst>
                      </p:cBhvr>
                      <p:tavLst>
                        <p:tav tm="0">
                          <p:val>
                            <p:strVal val="1+#ppt_w/2"/>
                          </p:val>
                        </p:tav>
                        <p:tav tm="100000">
                          <p:val>
                            <p:strVal val="#ppt_x"/>
                          </p:val>
                        </p:tav>
                      </p:tavLst>
                    </p:anim>
                    <p:anim calcmode="lin" valueType="num">
                      <p:cBhvr additive="base">
                        <p:cTn dur="1000" fill="hold"/>
                        <p:tgtEl>
                          <p:spTgt spid="19"/>
                        </p:tgtEl>
                        <p:attrNameLst>
                          <p:attrName>ppt_y</p:attrName>
                        </p:attrNameLst>
                      </p:cBhvr>
                      <p:tavLst>
                        <p:tav tm="0">
                          <p:val>
                            <p:strVal val="#ppt_y"/>
                          </p:val>
                        </p:tav>
                        <p:tav tm="100000">
                          <p:val>
                            <p:strVal val="#ppt_y"/>
                          </p:val>
                        </p:tav>
                      </p:tavLst>
                    </p:anim>
                  </p:childTnLst>
                </p:cTn>
              </p:par>
            </p:tnLst>
          </p:tmpl>
        </p:tmplLst>
      </p:bldP>
      <p:bldP spid="20" grpId="0">
        <p:tmplLst>
          <p:tmpl>
            <p:tnLst>
              <p:par>
                <p:cTn presetID="2" presetClass="entr" presetSubtype="2" decel="100000" fill="hold" nodeType="withEffect">
                  <p:stCondLst>
                    <p:cond delay="250"/>
                  </p:stCondLst>
                  <p:childTnLst>
                    <p:set>
                      <p:cBhvr>
                        <p:cTn dur="1" fill="hold">
                          <p:stCondLst>
                            <p:cond delay="0"/>
                          </p:stCondLst>
                        </p:cTn>
                        <p:tgtEl>
                          <p:spTgt spid="20"/>
                        </p:tgtEl>
                        <p:attrNameLst>
                          <p:attrName>style.visibility</p:attrName>
                        </p:attrNameLst>
                      </p:cBhvr>
                      <p:to>
                        <p:strVal val="visible"/>
                      </p:to>
                    </p:set>
                    <p:anim calcmode="lin" valueType="num">
                      <p:cBhvr additive="base">
                        <p:cTn dur="1000" fill="hold"/>
                        <p:tgtEl>
                          <p:spTgt spid="20"/>
                        </p:tgtEl>
                        <p:attrNameLst>
                          <p:attrName>ppt_x</p:attrName>
                        </p:attrNameLst>
                      </p:cBhvr>
                      <p:tavLst>
                        <p:tav tm="0">
                          <p:val>
                            <p:strVal val="1+#ppt_w/2"/>
                          </p:val>
                        </p:tav>
                        <p:tav tm="100000">
                          <p:val>
                            <p:strVal val="#ppt_x"/>
                          </p:val>
                        </p:tav>
                      </p:tavLst>
                    </p:anim>
                    <p:anim calcmode="lin" valueType="num">
                      <p:cBhvr additive="base">
                        <p:cTn dur="1000" fill="hold"/>
                        <p:tgtEl>
                          <p:spTgt spid="20"/>
                        </p:tgtEl>
                        <p:attrNameLst>
                          <p:attrName>ppt_y</p:attrName>
                        </p:attrNameLst>
                      </p:cBhvr>
                      <p:tavLst>
                        <p:tav tm="0">
                          <p:val>
                            <p:strVal val="#ppt_y"/>
                          </p:val>
                        </p:tav>
                        <p:tav tm="100000">
                          <p:val>
                            <p:strVal val="#ppt_y"/>
                          </p:val>
                        </p:tav>
                      </p:tavLst>
                    </p:anim>
                  </p:childTnLst>
                </p:cTn>
              </p:par>
            </p:tnLst>
          </p:tmpl>
        </p:tmplLst>
      </p:bldP>
      <p:bldP spid="27" grpId="0" build="p">
        <p:tmplLst>
          <p:tmpl lvl="1">
            <p:tnLst>
              <p:par>
                <p:cTn presetID="2" presetClass="entr" presetSubtype="2" decel="100000" fill="hold" nodeType="withEffect">
                  <p:stCondLst>
                    <p:cond delay="250"/>
                  </p:stCondLst>
                  <p:childTnLst>
                    <p:set>
                      <p:cBhvr>
                        <p:cTn dur="1" fill="hold">
                          <p:stCondLst>
                            <p:cond delay="0"/>
                          </p:stCondLst>
                        </p:cTn>
                        <p:tgtEl>
                          <p:spTgt spid="27"/>
                        </p:tgtEl>
                        <p:attrNameLst>
                          <p:attrName>style.visibility</p:attrName>
                        </p:attrNameLst>
                      </p:cBhvr>
                      <p:to>
                        <p:strVal val="visible"/>
                      </p:to>
                    </p:set>
                    <p:anim calcmode="lin" valueType="num">
                      <p:cBhvr additive="base">
                        <p:cTn dur="1000" fill="hold"/>
                        <p:tgtEl>
                          <p:spTgt spid="27"/>
                        </p:tgtEl>
                        <p:attrNameLst>
                          <p:attrName>ppt_x</p:attrName>
                        </p:attrNameLst>
                      </p:cBhvr>
                      <p:tavLst>
                        <p:tav tm="0">
                          <p:val>
                            <p:strVal val="1+#ppt_w/2"/>
                          </p:val>
                        </p:tav>
                        <p:tav tm="100000">
                          <p:val>
                            <p:strVal val="#ppt_x"/>
                          </p:val>
                        </p:tav>
                      </p:tavLst>
                    </p:anim>
                    <p:anim calcmode="lin" valueType="num">
                      <p:cBhvr additive="base">
                        <p:cTn dur="1000" fill="hold"/>
                        <p:tgtEl>
                          <p:spTgt spid="27"/>
                        </p:tgtEl>
                        <p:attrNameLst>
                          <p:attrName>ppt_y</p:attrName>
                        </p:attrNameLst>
                      </p:cBhvr>
                      <p:tavLst>
                        <p:tav tm="0">
                          <p:val>
                            <p:strVal val="#ppt_y"/>
                          </p:val>
                        </p:tav>
                        <p:tav tm="100000">
                          <p:val>
                            <p:strVal val="#ppt_y"/>
                          </p:val>
                        </p:tav>
                      </p:tavLst>
                    </p:anim>
                  </p:childTnLst>
                </p:cTn>
              </p:par>
            </p:tnLst>
          </p:tmpl>
        </p:tmplLst>
      </p:bldP>
      <p:bldP spid="28" grpId="0" build="p">
        <p:tmplLst>
          <p:tmpl lvl="1">
            <p:tnLst>
              <p:par>
                <p:cTn presetID="2" presetClass="entr" presetSubtype="2" decel="100000" fill="hold" nodeType="withEffect">
                  <p:stCondLst>
                    <p:cond delay="250"/>
                  </p:stCondLst>
                  <p:childTnLst>
                    <p:set>
                      <p:cBhvr>
                        <p:cTn dur="1" fill="hold">
                          <p:stCondLst>
                            <p:cond delay="0"/>
                          </p:stCondLst>
                        </p:cTn>
                        <p:tgtEl>
                          <p:spTgt spid="28"/>
                        </p:tgtEl>
                        <p:attrNameLst>
                          <p:attrName>style.visibility</p:attrName>
                        </p:attrNameLst>
                      </p:cBhvr>
                      <p:to>
                        <p:strVal val="visible"/>
                      </p:to>
                    </p:set>
                    <p:anim calcmode="lin" valueType="num">
                      <p:cBhvr additive="base">
                        <p:cTn dur="1000" fill="hold"/>
                        <p:tgtEl>
                          <p:spTgt spid="28"/>
                        </p:tgtEl>
                        <p:attrNameLst>
                          <p:attrName>ppt_x</p:attrName>
                        </p:attrNameLst>
                      </p:cBhvr>
                      <p:tavLst>
                        <p:tav tm="0">
                          <p:val>
                            <p:strVal val="1+#ppt_w/2"/>
                          </p:val>
                        </p:tav>
                        <p:tav tm="100000">
                          <p:val>
                            <p:strVal val="#ppt_x"/>
                          </p:val>
                        </p:tav>
                      </p:tavLst>
                    </p:anim>
                    <p:anim calcmode="lin" valueType="num">
                      <p:cBhvr additive="base">
                        <p:cTn dur="1000" fill="hold"/>
                        <p:tgtEl>
                          <p:spTgt spid="28"/>
                        </p:tgtEl>
                        <p:attrNameLst>
                          <p:attrName>ppt_y</p:attrName>
                        </p:attrNameLst>
                      </p:cBhvr>
                      <p:tavLst>
                        <p:tav tm="0">
                          <p:val>
                            <p:strVal val="#ppt_y"/>
                          </p:val>
                        </p:tav>
                        <p:tav tm="100000">
                          <p:val>
                            <p:strVal val="#ppt_y"/>
                          </p:val>
                        </p:tav>
                      </p:tavLst>
                    </p:anim>
                  </p:childTnLst>
                </p:cTn>
              </p:par>
            </p:tnLst>
          </p:tmpl>
        </p:tmplLst>
      </p:bldP>
    </p:bld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5_Custom Layout">
    <p:spTree>
      <p:nvGrpSpPr>
        <p:cNvPr id="1" name=""/>
        <p:cNvGrpSpPr/>
        <p:nvPr/>
      </p:nvGrpSpPr>
      <p:grpSpPr>
        <a:xfrm>
          <a:off x="0" y="0"/>
          <a:ext cx="0" cy="0"/>
          <a:chOff x="0" y="0"/>
          <a:chExt cx="0" cy="0"/>
        </a:xfrm>
      </p:grpSpPr>
      <p:sp>
        <p:nvSpPr>
          <p:cNvPr id="48" name="Picture Placeholder 75">
            <a:extLst>
              <a:ext uri="{FF2B5EF4-FFF2-40B4-BE49-F238E27FC236}">
                <a16:creationId xmlns:a16="http://schemas.microsoft.com/office/drawing/2014/main" id="{E663C24A-6D61-4CE5-B812-FEFFD014239B}"/>
              </a:ext>
            </a:extLst>
          </p:cNvPr>
          <p:cNvSpPr>
            <a:spLocks noGrp="1" noChangeAspect="1"/>
          </p:cNvSpPr>
          <p:nvPr>
            <p:ph type="pic" sz="quarter" idx="57"/>
          </p:nvPr>
        </p:nvSpPr>
        <p:spPr>
          <a:xfrm>
            <a:off x="-657118" y="-1490653"/>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49" name="Picture Placeholder 75">
            <a:extLst>
              <a:ext uri="{FF2B5EF4-FFF2-40B4-BE49-F238E27FC236}">
                <a16:creationId xmlns:a16="http://schemas.microsoft.com/office/drawing/2014/main" id="{FC0F3EFD-29EA-4CF3-945D-F2BDFE1089BA}"/>
              </a:ext>
            </a:extLst>
          </p:cNvPr>
          <p:cNvSpPr>
            <a:spLocks noGrp="1" noChangeAspect="1"/>
          </p:cNvSpPr>
          <p:nvPr>
            <p:ph type="pic" sz="quarter" idx="58"/>
          </p:nvPr>
        </p:nvSpPr>
        <p:spPr>
          <a:xfrm>
            <a:off x="-2891069" y="-231196"/>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41" name="Picture Placeholder 75">
            <a:extLst>
              <a:ext uri="{FF2B5EF4-FFF2-40B4-BE49-F238E27FC236}">
                <a16:creationId xmlns:a16="http://schemas.microsoft.com/office/drawing/2014/main" id="{03EDB8AD-F804-43C3-A0D1-C12D7225E290}"/>
              </a:ext>
            </a:extLst>
          </p:cNvPr>
          <p:cNvSpPr>
            <a:spLocks noGrp="1" noChangeAspect="1"/>
          </p:cNvSpPr>
          <p:nvPr>
            <p:ph type="pic" sz="quarter" idx="50"/>
          </p:nvPr>
        </p:nvSpPr>
        <p:spPr>
          <a:xfrm>
            <a:off x="1728774" y="-1139772"/>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42" name="Picture Placeholder 75">
            <a:extLst>
              <a:ext uri="{FF2B5EF4-FFF2-40B4-BE49-F238E27FC236}">
                <a16:creationId xmlns:a16="http://schemas.microsoft.com/office/drawing/2014/main" id="{C5D21686-787F-4D1D-8E80-E2508F394D2B}"/>
              </a:ext>
            </a:extLst>
          </p:cNvPr>
          <p:cNvSpPr>
            <a:spLocks noGrp="1" noChangeAspect="1"/>
          </p:cNvSpPr>
          <p:nvPr>
            <p:ph type="pic" sz="quarter" idx="51"/>
          </p:nvPr>
        </p:nvSpPr>
        <p:spPr>
          <a:xfrm>
            <a:off x="-505177" y="119685"/>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43" name="Picture Placeholder 75">
            <a:extLst>
              <a:ext uri="{FF2B5EF4-FFF2-40B4-BE49-F238E27FC236}">
                <a16:creationId xmlns:a16="http://schemas.microsoft.com/office/drawing/2014/main" id="{A4D6FD94-3DFB-4DD1-A3E1-05F00BC1540C}"/>
              </a:ext>
            </a:extLst>
          </p:cNvPr>
          <p:cNvSpPr>
            <a:spLocks noGrp="1" noChangeAspect="1"/>
          </p:cNvSpPr>
          <p:nvPr>
            <p:ph type="pic" sz="quarter" idx="52"/>
          </p:nvPr>
        </p:nvSpPr>
        <p:spPr>
          <a:xfrm>
            <a:off x="-2739128" y="1379142"/>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28" name="Picture Placeholder 75">
            <a:extLst>
              <a:ext uri="{FF2B5EF4-FFF2-40B4-BE49-F238E27FC236}">
                <a16:creationId xmlns:a16="http://schemas.microsoft.com/office/drawing/2014/main" id="{6CAD025C-A654-4C88-A249-7079110D412A}"/>
              </a:ext>
            </a:extLst>
          </p:cNvPr>
          <p:cNvSpPr>
            <a:spLocks noGrp="1" noChangeAspect="1"/>
          </p:cNvSpPr>
          <p:nvPr>
            <p:ph type="pic" sz="quarter" idx="43"/>
          </p:nvPr>
        </p:nvSpPr>
        <p:spPr>
          <a:xfrm>
            <a:off x="3949279" y="-686603"/>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29" name="Picture Placeholder 75">
            <a:extLst>
              <a:ext uri="{FF2B5EF4-FFF2-40B4-BE49-F238E27FC236}">
                <a16:creationId xmlns:a16="http://schemas.microsoft.com/office/drawing/2014/main" id="{7D2A6AB2-B1B6-4E6E-A516-1624DC823BCE}"/>
              </a:ext>
            </a:extLst>
          </p:cNvPr>
          <p:cNvSpPr>
            <a:spLocks noGrp="1" noChangeAspect="1"/>
          </p:cNvSpPr>
          <p:nvPr>
            <p:ph type="pic" sz="quarter" idx="44"/>
          </p:nvPr>
        </p:nvSpPr>
        <p:spPr>
          <a:xfrm>
            <a:off x="1715328" y="572855"/>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30" name="Picture Placeholder 75">
            <a:extLst>
              <a:ext uri="{FF2B5EF4-FFF2-40B4-BE49-F238E27FC236}">
                <a16:creationId xmlns:a16="http://schemas.microsoft.com/office/drawing/2014/main" id="{9DD0859E-1EE8-4927-8BB2-F5754D3BD7BB}"/>
              </a:ext>
            </a:extLst>
          </p:cNvPr>
          <p:cNvSpPr>
            <a:spLocks noGrp="1" noChangeAspect="1"/>
          </p:cNvSpPr>
          <p:nvPr>
            <p:ph type="pic" sz="quarter" idx="45"/>
          </p:nvPr>
        </p:nvSpPr>
        <p:spPr>
          <a:xfrm>
            <a:off x="-518622" y="1832312"/>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31" name="Picture Placeholder 75">
            <a:extLst>
              <a:ext uri="{FF2B5EF4-FFF2-40B4-BE49-F238E27FC236}">
                <a16:creationId xmlns:a16="http://schemas.microsoft.com/office/drawing/2014/main" id="{F9FC8C08-0383-4EC2-82BB-1133D3D229E0}"/>
              </a:ext>
            </a:extLst>
          </p:cNvPr>
          <p:cNvSpPr>
            <a:spLocks noGrp="1" noChangeAspect="1"/>
          </p:cNvSpPr>
          <p:nvPr>
            <p:ph type="pic" sz="quarter" idx="46"/>
          </p:nvPr>
        </p:nvSpPr>
        <p:spPr>
          <a:xfrm>
            <a:off x="-2752573" y="3091769"/>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16" name="Picture Placeholder 75">
            <a:extLst>
              <a:ext uri="{FF2B5EF4-FFF2-40B4-BE49-F238E27FC236}">
                <a16:creationId xmlns:a16="http://schemas.microsoft.com/office/drawing/2014/main" id="{607EBF97-CA98-44E9-938D-F451E62350C1}"/>
              </a:ext>
            </a:extLst>
          </p:cNvPr>
          <p:cNvSpPr>
            <a:spLocks noGrp="1" noChangeAspect="1"/>
          </p:cNvSpPr>
          <p:nvPr>
            <p:ph type="pic" sz="quarter" idx="37"/>
          </p:nvPr>
        </p:nvSpPr>
        <p:spPr>
          <a:xfrm>
            <a:off x="6942516" y="-686603"/>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17" name="Picture Placeholder 75">
            <a:extLst>
              <a:ext uri="{FF2B5EF4-FFF2-40B4-BE49-F238E27FC236}">
                <a16:creationId xmlns:a16="http://schemas.microsoft.com/office/drawing/2014/main" id="{3D16D7ED-FD8B-4316-A459-2B2FB95393A8}"/>
              </a:ext>
            </a:extLst>
          </p:cNvPr>
          <p:cNvSpPr>
            <a:spLocks noGrp="1" noChangeAspect="1"/>
          </p:cNvSpPr>
          <p:nvPr>
            <p:ph type="pic" sz="quarter" idx="38"/>
          </p:nvPr>
        </p:nvSpPr>
        <p:spPr>
          <a:xfrm>
            <a:off x="4708566" y="572855"/>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18" name="Picture Placeholder 75">
            <a:extLst>
              <a:ext uri="{FF2B5EF4-FFF2-40B4-BE49-F238E27FC236}">
                <a16:creationId xmlns:a16="http://schemas.microsoft.com/office/drawing/2014/main" id="{0CDD9022-DE91-4943-A173-2B143DF81A30}"/>
              </a:ext>
            </a:extLst>
          </p:cNvPr>
          <p:cNvSpPr>
            <a:spLocks noGrp="1" noChangeAspect="1"/>
          </p:cNvSpPr>
          <p:nvPr>
            <p:ph type="pic" sz="quarter" idx="39"/>
          </p:nvPr>
        </p:nvSpPr>
        <p:spPr>
          <a:xfrm>
            <a:off x="2474615" y="1832312"/>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19" name="Picture Placeholder 75">
            <a:extLst>
              <a:ext uri="{FF2B5EF4-FFF2-40B4-BE49-F238E27FC236}">
                <a16:creationId xmlns:a16="http://schemas.microsoft.com/office/drawing/2014/main" id="{ABE95176-571E-450E-92C4-6C81EA4C7A3E}"/>
              </a:ext>
            </a:extLst>
          </p:cNvPr>
          <p:cNvSpPr>
            <a:spLocks noGrp="1" noChangeAspect="1"/>
          </p:cNvSpPr>
          <p:nvPr>
            <p:ph type="pic" sz="quarter" idx="40"/>
          </p:nvPr>
        </p:nvSpPr>
        <p:spPr>
          <a:xfrm>
            <a:off x="240664" y="3091769"/>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20" name="Picture Placeholder 75">
            <a:extLst>
              <a:ext uri="{FF2B5EF4-FFF2-40B4-BE49-F238E27FC236}">
                <a16:creationId xmlns:a16="http://schemas.microsoft.com/office/drawing/2014/main" id="{3EFAEF24-F8F9-40CF-94FB-D6695C184868}"/>
              </a:ext>
            </a:extLst>
          </p:cNvPr>
          <p:cNvSpPr>
            <a:spLocks noGrp="1" noChangeAspect="1"/>
          </p:cNvSpPr>
          <p:nvPr>
            <p:ph type="pic" sz="quarter" idx="41"/>
          </p:nvPr>
        </p:nvSpPr>
        <p:spPr>
          <a:xfrm>
            <a:off x="-1993286" y="4351226"/>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2" name="Picture Placeholder 75">
            <a:extLst>
              <a:ext uri="{FF2B5EF4-FFF2-40B4-BE49-F238E27FC236}">
                <a16:creationId xmlns:a16="http://schemas.microsoft.com/office/drawing/2014/main" id="{35C81404-E27E-4F36-A623-E57FC83C04C2}"/>
              </a:ext>
            </a:extLst>
          </p:cNvPr>
          <p:cNvSpPr>
            <a:spLocks noGrp="1" noChangeAspect="1"/>
          </p:cNvSpPr>
          <p:nvPr>
            <p:ph type="pic" sz="quarter" idx="24"/>
          </p:nvPr>
        </p:nvSpPr>
        <p:spPr>
          <a:xfrm>
            <a:off x="9672465" y="-531152"/>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4" name="Picture Placeholder 75">
            <a:extLst>
              <a:ext uri="{FF2B5EF4-FFF2-40B4-BE49-F238E27FC236}">
                <a16:creationId xmlns:a16="http://schemas.microsoft.com/office/drawing/2014/main" id="{FEAB132E-72A8-4AAE-84A4-48B1A95CEE6C}"/>
              </a:ext>
            </a:extLst>
          </p:cNvPr>
          <p:cNvSpPr>
            <a:spLocks noGrp="1" noChangeAspect="1"/>
          </p:cNvSpPr>
          <p:nvPr>
            <p:ph type="pic" sz="quarter" idx="25"/>
          </p:nvPr>
        </p:nvSpPr>
        <p:spPr>
          <a:xfrm>
            <a:off x="7438514" y="728306"/>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5" name="Picture Placeholder 75">
            <a:extLst>
              <a:ext uri="{FF2B5EF4-FFF2-40B4-BE49-F238E27FC236}">
                <a16:creationId xmlns:a16="http://schemas.microsoft.com/office/drawing/2014/main" id="{243FAE32-B9F4-4AE7-AE82-22570A22956A}"/>
              </a:ext>
            </a:extLst>
          </p:cNvPr>
          <p:cNvSpPr>
            <a:spLocks noGrp="1" noChangeAspect="1"/>
          </p:cNvSpPr>
          <p:nvPr>
            <p:ph type="pic" sz="quarter" idx="26"/>
          </p:nvPr>
        </p:nvSpPr>
        <p:spPr>
          <a:xfrm>
            <a:off x="5204564" y="1987763"/>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6" name="Picture Placeholder 75">
            <a:extLst>
              <a:ext uri="{FF2B5EF4-FFF2-40B4-BE49-F238E27FC236}">
                <a16:creationId xmlns:a16="http://schemas.microsoft.com/office/drawing/2014/main" id="{22DB54D1-378A-4542-9D02-E25B5BADC362}"/>
              </a:ext>
            </a:extLst>
          </p:cNvPr>
          <p:cNvSpPr>
            <a:spLocks noGrp="1" noChangeAspect="1"/>
          </p:cNvSpPr>
          <p:nvPr>
            <p:ph type="pic" sz="quarter" idx="27"/>
          </p:nvPr>
        </p:nvSpPr>
        <p:spPr>
          <a:xfrm>
            <a:off x="2970613" y="3247220"/>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7" name="Picture Placeholder 75">
            <a:extLst>
              <a:ext uri="{FF2B5EF4-FFF2-40B4-BE49-F238E27FC236}">
                <a16:creationId xmlns:a16="http://schemas.microsoft.com/office/drawing/2014/main" id="{8FFD3707-289A-4097-A634-5DFE56AC06FE}"/>
              </a:ext>
            </a:extLst>
          </p:cNvPr>
          <p:cNvSpPr>
            <a:spLocks noGrp="1" noChangeAspect="1"/>
          </p:cNvSpPr>
          <p:nvPr>
            <p:ph type="pic" sz="quarter" idx="28"/>
          </p:nvPr>
        </p:nvSpPr>
        <p:spPr>
          <a:xfrm>
            <a:off x="736662" y="4506677"/>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8" name="Picture Placeholder 75">
            <a:extLst>
              <a:ext uri="{FF2B5EF4-FFF2-40B4-BE49-F238E27FC236}">
                <a16:creationId xmlns:a16="http://schemas.microsoft.com/office/drawing/2014/main" id="{54A7639C-C713-48A6-BCBD-272206505DD0}"/>
              </a:ext>
            </a:extLst>
          </p:cNvPr>
          <p:cNvSpPr>
            <a:spLocks noGrp="1" noChangeAspect="1"/>
          </p:cNvSpPr>
          <p:nvPr>
            <p:ph type="pic" sz="quarter" idx="29"/>
          </p:nvPr>
        </p:nvSpPr>
        <p:spPr>
          <a:xfrm>
            <a:off x="-1497288" y="5766134"/>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10" name="Picture Placeholder 75">
            <a:extLst>
              <a:ext uri="{FF2B5EF4-FFF2-40B4-BE49-F238E27FC236}">
                <a16:creationId xmlns:a16="http://schemas.microsoft.com/office/drawing/2014/main" id="{EADC1BA6-7445-4738-896F-F25E3B51C125}"/>
              </a:ext>
            </a:extLst>
          </p:cNvPr>
          <p:cNvSpPr>
            <a:spLocks noGrp="1" noChangeAspect="1"/>
          </p:cNvSpPr>
          <p:nvPr>
            <p:ph type="pic" sz="quarter" idx="31"/>
          </p:nvPr>
        </p:nvSpPr>
        <p:spPr>
          <a:xfrm>
            <a:off x="10280074" y="813692"/>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11" name="Picture Placeholder 75">
            <a:extLst>
              <a:ext uri="{FF2B5EF4-FFF2-40B4-BE49-F238E27FC236}">
                <a16:creationId xmlns:a16="http://schemas.microsoft.com/office/drawing/2014/main" id="{C2B339F4-9FE6-4B11-BADC-2E50B1ADD1F5}"/>
              </a:ext>
            </a:extLst>
          </p:cNvPr>
          <p:cNvSpPr>
            <a:spLocks noGrp="1" noChangeAspect="1"/>
          </p:cNvSpPr>
          <p:nvPr>
            <p:ph type="pic" sz="quarter" idx="32"/>
          </p:nvPr>
        </p:nvSpPr>
        <p:spPr>
          <a:xfrm>
            <a:off x="8046124" y="2073149"/>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12" name="Picture Placeholder 75">
            <a:extLst>
              <a:ext uri="{FF2B5EF4-FFF2-40B4-BE49-F238E27FC236}">
                <a16:creationId xmlns:a16="http://schemas.microsoft.com/office/drawing/2014/main" id="{FFE71006-16E5-457F-9B4E-4C8C74041CF2}"/>
              </a:ext>
            </a:extLst>
          </p:cNvPr>
          <p:cNvSpPr>
            <a:spLocks noGrp="1" noChangeAspect="1"/>
          </p:cNvSpPr>
          <p:nvPr>
            <p:ph type="pic" sz="quarter" idx="33"/>
          </p:nvPr>
        </p:nvSpPr>
        <p:spPr>
          <a:xfrm>
            <a:off x="5812173" y="3332606"/>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13" name="Picture Placeholder 75">
            <a:extLst>
              <a:ext uri="{FF2B5EF4-FFF2-40B4-BE49-F238E27FC236}">
                <a16:creationId xmlns:a16="http://schemas.microsoft.com/office/drawing/2014/main" id="{6DDB9485-9DF7-49C5-ADFC-F845200EBD64}"/>
              </a:ext>
            </a:extLst>
          </p:cNvPr>
          <p:cNvSpPr>
            <a:spLocks noGrp="1" noChangeAspect="1"/>
          </p:cNvSpPr>
          <p:nvPr>
            <p:ph type="pic" sz="quarter" idx="34"/>
          </p:nvPr>
        </p:nvSpPr>
        <p:spPr>
          <a:xfrm>
            <a:off x="3578222" y="4592063"/>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14" name="Picture Placeholder 75">
            <a:extLst>
              <a:ext uri="{FF2B5EF4-FFF2-40B4-BE49-F238E27FC236}">
                <a16:creationId xmlns:a16="http://schemas.microsoft.com/office/drawing/2014/main" id="{C2FEBF29-F3C4-44EB-A394-6B97F83C159B}"/>
              </a:ext>
            </a:extLst>
          </p:cNvPr>
          <p:cNvSpPr>
            <a:spLocks noGrp="1" noChangeAspect="1"/>
          </p:cNvSpPr>
          <p:nvPr>
            <p:ph type="pic" sz="quarter" idx="35"/>
          </p:nvPr>
        </p:nvSpPr>
        <p:spPr>
          <a:xfrm>
            <a:off x="1344272" y="5851520"/>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53" name="Picture Placeholder 75">
            <a:extLst>
              <a:ext uri="{FF2B5EF4-FFF2-40B4-BE49-F238E27FC236}">
                <a16:creationId xmlns:a16="http://schemas.microsoft.com/office/drawing/2014/main" id="{2F015E8F-22EA-4453-8367-140895DC3255}"/>
              </a:ext>
            </a:extLst>
          </p:cNvPr>
          <p:cNvSpPr>
            <a:spLocks noGrp="1" noChangeAspect="1"/>
          </p:cNvSpPr>
          <p:nvPr>
            <p:ph type="pic" sz="quarter" idx="62"/>
          </p:nvPr>
        </p:nvSpPr>
        <p:spPr>
          <a:xfrm>
            <a:off x="10348604" y="2456075"/>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54" name="Picture Placeholder 75">
            <a:extLst>
              <a:ext uri="{FF2B5EF4-FFF2-40B4-BE49-F238E27FC236}">
                <a16:creationId xmlns:a16="http://schemas.microsoft.com/office/drawing/2014/main" id="{38BD2839-9FD8-4A47-8C6C-BA555D30B060}"/>
              </a:ext>
            </a:extLst>
          </p:cNvPr>
          <p:cNvSpPr>
            <a:spLocks noGrp="1" noChangeAspect="1"/>
          </p:cNvSpPr>
          <p:nvPr>
            <p:ph type="pic" sz="quarter" idx="63"/>
          </p:nvPr>
        </p:nvSpPr>
        <p:spPr>
          <a:xfrm>
            <a:off x="8114654" y="3715532"/>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55" name="Picture Placeholder 75">
            <a:extLst>
              <a:ext uri="{FF2B5EF4-FFF2-40B4-BE49-F238E27FC236}">
                <a16:creationId xmlns:a16="http://schemas.microsoft.com/office/drawing/2014/main" id="{36034C35-1CBE-46E5-9904-EDC510CB644A}"/>
              </a:ext>
            </a:extLst>
          </p:cNvPr>
          <p:cNvSpPr>
            <a:spLocks noGrp="1" noChangeAspect="1"/>
          </p:cNvSpPr>
          <p:nvPr>
            <p:ph type="pic" sz="quarter" idx="64"/>
          </p:nvPr>
        </p:nvSpPr>
        <p:spPr>
          <a:xfrm>
            <a:off x="5880703" y="4974989"/>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56" name="Picture Placeholder 75">
            <a:extLst>
              <a:ext uri="{FF2B5EF4-FFF2-40B4-BE49-F238E27FC236}">
                <a16:creationId xmlns:a16="http://schemas.microsoft.com/office/drawing/2014/main" id="{507BEDBC-9F75-40C5-8467-AA2A8746E709}"/>
              </a:ext>
            </a:extLst>
          </p:cNvPr>
          <p:cNvSpPr>
            <a:spLocks noGrp="1" noChangeAspect="1"/>
          </p:cNvSpPr>
          <p:nvPr>
            <p:ph type="pic" sz="quarter" idx="65"/>
          </p:nvPr>
        </p:nvSpPr>
        <p:spPr>
          <a:xfrm>
            <a:off x="3646752" y="6234445"/>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59" name="Picture Placeholder 75">
            <a:extLst>
              <a:ext uri="{FF2B5EF4-FFF2-40B4-BE49-F238E27FC236}">
                <a16:creationId xmlns:a16="http://schemas.microsoft.com/office/drawing/2014/main" id="{AECDF11A-996B-4276-B504-5061846D8626}"/>
              </a:ext>
            </a:extLst>
          </p:cNvPr>
          <p:cNvSpPr>
            <a:spLocks noGrp="1" noChangeAspect="1"/>
          </p:cNvSpPr>
          <p:nvPr>
            <p:ph type="pic" sz="quarter" idx="68"/>
          </p:nvPr>
        </p:nvSpPr>
        <p:spPr>
          <a:xfrm>
            <a:off x="10536718" y="4037823"/>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60" name="Picture Placeholder 75">
            <a:extLst>
              <a:ext uri="{FF2B5EF4-FFF2-40B4-BE49-F238E27FC236}">
                <a16:creationId xmlns:a16="http://schemas.microsoft.com/office/drawing/2014/main" id="{18FFBB60-78C0-41D6-B988-AE90BC50278F}"/>
              </a:ext>
            </a:extLst>
          </p:cNvPr>
          <p:cNvSpPr>
            <a:spLocks noGrp="1" noChangeAspect="1"/>
          </p:cNvSpPr>
          <p:nvPr>
            <p:ph type="pic" sz="quarter" idx="69"/>
          </p:nvPr>
        </p:nvSpPr>
        <p:spPr>
          <a:xfrm>
            <a:off x="8302767" y="5297280"/>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61" name="Picture Placeholder 75">
            <a:extLst>
              <a:ext uri="{FF2B5EF4-FFF2-40B4-BE49-F238E27FC236}">
                <a16:creationId xmlns:a16="http://schemas.microsoft.com/office/drawing/2014/main" id="{157843DF-2840-468E-B1B3-C729FF5281C6}"/>
              </a:ext>
            </a:extLst>
          </p:cNvPr>
          <p:cNvSpPr>
            <a:spLocks noGrp="1" noChangeAspect="1"/>
          </p:cNvSpPr>
          <p:nvPr>
            <p:ph type="pic" sz="quarter" idx="70"/>
          </p:nvPr>
        </p:nvSpPr>
        <p:spPr>
          <a:xfrm>
            <a:off x="6068817" y="6556737"/>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65" name="Picture Placeholder 75">
            <a:extLst>
              <a:ext uri="{FF2B5EF4-FFF2-40B4-BE49-F238E27FC236}">
                <a16:creationId xmlns:a16="http://schemas.microsoft.com/office/drawing/2014/main" id="{8DF2D5D1-AC63-4DDD-BF20-41ACF22FCE4B}"/>
              </a:ext>
            </a:extLst>
          </p:cNvPr>
          <p:cNvSpPr>
            <a:spLocks noGrp="1" noChangeAspect="1"/>
          </p:cNvSpPr>
          <p:nvPr>
            <p:ph type="pic" sz="quarter" idx="74"/>
          </p:nvPr>
        </p:nvSpPr>
        <p:spPr>
          <a:xfrm>
            <a:off x="11051634" y="5464020"/>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66" name="Picture Placeholder 75">
            <a:extLst>
              <a:ext uri="{FF2B5EF4-FFF2-40B4-BE49-F238E27FC236}">
                <a16:creationId xmlns:a16="http://schemas.microsoft.com/office/drawing/2014/main" id="{3932DA6D-A9C7-4444-87EB-1B1FFD57213B}"/>
              </a:ext>
            </a:extLst>
          </p:cNvPr>
          <p:cNvSpPr>
            <a:spLocks noGrp="1" noChangeAspect="1"/>
          </p:cNvSpPr>
          <p:nvPr>
            <p:ph type="pic" sz="quarter" idx="75"/>
          </p:nvPr>
        </p:nvSpPr>
        <p:spPr>
          <a:xfrm>
            <a:off x="8817684" y="6723477"/>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Tree>
    <p:extLst>
      <p:ext uri="{BB962C8B-B14F-4D97-AF65-F5344CB8AC3E}">
        <p14:creationId xmlns:p14="http://schemas.microsoft.com/office/powerpoint/2010/main" val="3522173360"/>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6" dur="3000" decel="100000" fill="hold" grpId="0" nodeType="withEffect">
                                  <p:stCondLst>
                                    <p:cond delay="0"/>
                                  </p:stCondLst>
                                  <p:childTnLst>
                                    <p:set>
                                      <p:cBhvr>
                                        <p:cTn id="6" dur="1" fill="hold">
                                          <p:stCondLst>
                                            <p:cond delay="0"/>
                                          </p:stCondLst>
                                        </p:cTn>
                                        <p:tgtEl>
                                          <p:spTgt spid="48"/>
                                        </p:tgtEl>
                                        <p:attrNameLst>
                                          <p:attrName>style.visibility</p:attrName>
                                        </p:attrNameLst>
                                      </p:cBhvr>
                                      <p:to>
                                        <p:strVal val="visible"/>
                                      </p:to>
                                    </p:set>
                                    <p:anim calcmode="lin" valueType="num">
                                      <p:cBhvr additive="base">
                                        <p:cTn id="7" dur="3000" fill="hold"/>
                                        <p:tgtEl>
                                          <p:spTgt spid="48"/>
                                        </p:tgtEl>
                                        <p:attrNameLst>
                                          <p:attrName>ppt_x</p:attrName>
                                        </p:attrNameLst>
                                      </p:cBhvr>
                                      <p:tavLst>
                                        <p:tav tm="0">
                                          <p:val>
                                            <p:strVal val="1+#ppt_w/2"/>
                                          </p:val>
                                        </p:tav>
                                        <p:tav tm="100000">
                                          <p:val>
                                            <p:strVal val="#ppt_x"/>
                                          </p:val>
                                        </p:tav>
                                      </p:tavLst>
                                    </p:anim>
                                    <p:anim calcmode="lin" valueType="num">
                                      <p:cBhvr additive="base">
                                        <p:cTn id="8" dur="3000" fill="hold"/>
                                        <p:tgtEl>
                                          <p:spTgt spid="48"/>
                                        </p:tgtEl>
                                        <p:attrNameLst>
                                          <p:attrName>ppt_y</p:attrName>
                                        </p:attrNameLst>
                                      </p:cBhvr>
                                      <p:tavLst>
                                        <p:tav tm="0">
                                          <p:val>
                                            <p:strVal val="1+#ppt_h/2"/>
                                          </p:val>
                                        </p:tav>
                                        <p:tav tm="100000">
                                          <p:val>
                                            <p:strVal val="#ppt_y"/>
                                          </p:val>
                                        </p:tav>
                                      </p:tavLst>
                                    </p:anim>
                                  </p:childTnLst>
                                </p:cTn>
                              </p:par>
                              <p:par>
                                <p:cTn id="9" presetID="2" presetClass="entr" presetSubtype="6" dur="3000" decel="100000" fill="hold" grpId="0" nodeType="withEffect">
                                  <p:stCondLst>
                                    <p:cond delay="0"/>
                                  </p:stCondLst>
                                  <p:childTnLst>
                                    <p:set>
                                      <p:cBhvr>
                                        <p:cTn id="10" dur="1" fill="hold">
                                          <p:stCondLst>
                                            <p:cond delay="0"/>
                                          </p:stCondLst>
                                        </p:cTn>
                                        <p:tgtEl>
                                          <p:spTgt spid="49"/>
                                        </p:tgtEl>
                                        <p:attrNameLst>
                                          <p:attrName>style.visibility</p:attrName>
                                        </p:attrNameLst>
                                      </p:cBhvr>
                                      <p:to>
                                        <p:strVal val="visible"/>
                                      </p:to>
                                    </p:set>
                                    <p:anim calcmode="lin" valueType="num">
                                      <p:cBhvr additive="base">
                                        <p:cTn id="11" dur="3000" fill="hold"/>
                                        <p:tgtEl>
                                          <p:spTgt spid="49"/>
                                        </p:tgtEl>
                                        <p:attrNameLst>
                                          <p:attrName>ppt_x</p:attrName>
                                        </p:attrNameLst>
                                      </p:cBhvr>
                                      <p:tavLst>
                                        <p:tav tm="0">
                                          <p:val>
                                            <p:strVal val="1+#ppt_w/2"/>
                                          </p:val>
                                        </p:tav>
                                        <p:tav tm="100000">
                                          <p:val>
                                            <p:strVal val="#ppt_x"/>
                                          </p:val>
                                        </p:tav>
                                      </p:tavLst>
                                    </p:anim>
                                    <p:anim calcmode="lin" valueType="num">
                                      <p:cBhvr additive="base">
                                        <p:cTn id="12" dur="3000" fill="hold"/>
                                        <p:tgtEl>
                                          <p:spTgt spid="49"/>
                                        </p:tgtEl>
                                        <p:attrNameLst>
                                          <p:attrName>ppt_y</p:attrName>
                                        </p:attrNameLst>
                                      </p:cBhvr>
                                      <p:tavLst>
                                        <p:tav tm="0">
                                          <p:val>
                                            <p:strVal val="1+#ppt_h/2"/>
                                          </p:val>
                                        </p:tav>
                                        <p:tav tm="100000">
                                          <p:val>
                                            <p:strVal val="#ppt_y"/>
                                          </p:val>
                                        </p:tav>
                                      </p:tavLst>
                                    </p:anim>
                                  </p:childTnLst>
                                </p:cTn>
                              </p:par>
                              <p:par>
                                <p:cTn id="13" presetID="2" presetClass="entr" presetSubtype="6" dur="3000" decel="100000" fill="hold" grpId="0" nodeType="withEffect">
                                  <p:stCondLst>
                                    <p:cond delay="0"/>
                                  </p:stCondLst>
                                  <p:childTnLst>
                                    <p:set>
                                      <p:cBhvr>
                                        <p:cTn id="14" dur="1" fill="hold">
                                          <p:stCondLst>
                                            <p:cond delay="0"/>
                                          </p:stCondLst>
                                        </p:cTn>
                                        <p:tgtEl>
                                          <p:spTgt spid="43"/>
                                        </p:tgtEl>
                                        <p:attrNameLst>
                                          <p:attrName>style.visibility</p:attrName>
                                        </p:attrNameLst>
                                      </p:cBhvr>
                                      <p:to>
                                        <p:strVal val="visible"/>
                                      </p:to>
                                    </p:set>
                                    <p:anim calcmode="lin" valueType="num">
                                      <p:cBhvr additive="base">
                                        <p:cTn id="15" dur="3000" fill="hold"/>
                                        <p:tgtEl>
                                          <p:spTgt spid="43"/>
                                        </p:tgtEl>
                                        <p:attrNameLst>
                                          <p:attrName>ppt_x</p:attrName>
                                        </p:attrNameLst>
                                      </p:cBhvr>
                                      <p:tavLst>
                                        <p:tav tm="0">
                                          <p:val>
                                            <p:strVal val="1+#ppt_w/2"/>
                                          </p:val>
                                        </p:tav>
                                        <p:tav tm="100000">
                                          <p:val>
                                            <p:strVal val="#ppt_x"/>
                                          </p:val>
                                        </p:tav>
                                      </p:tavLst>
                                    </p:anim>
                                    <p:anim calcmode="lin" valueType="num">
                                      <p:cBhvr additive="base">
                                        <p:cTn id="16" dur="3000" fill="hold"/>
                                        <p:tgtEl>
                                          <p:spTgt spid="43"/>
                                        </p:tgtEl>
                                        <p:attrNameLst>
                                          <p:attrName>ppt_y</p:attrName>
                                        </p:attrNameLst>
                                      </p:cBhvr>
                                      <p:tavLst>
                                        <p:tav tm="0">
                                          <p:val>
                                            <p:strVal val="1+#ppt_h/2"/>
                                          </p:val>
                                        </p:tav>
                                        <p:tav tm="100000">
                                          <p:val>
                                            <p:strVal val="#ppt_y"/>
                                          </p:val>
                                        </p:tav>
                                      </p:tavLst>
                                    </p:anim>
                                  </p:childTnLst>
                                </p:cTn>
                              </p:par>
                              <p:par>
                                <p:cTn id="17" presetID="2" presetClass="entr" presetSubtype="6" dur="3000" decel="100000" fill="hold" grpId="0" nodeType="withEffect">
                                  <p:stCondLst>
                                    <p:cond delay="0"/>
                                  </p:stCondLst>
                                  <p:childTnLst>
                                    <p:set>
                                      <p:cBhvr>
                                        <p:cTn id="18" dur="1" fill="hold">
                                          <p:stCondLst>
                                            <p:cond delay="0"/>
                                          </p:stCondLst>
                                        </p:cTn>
                                        <p:tgtEl>
                                          <p:spTgt spid="42"/>
                                        </p:tgtEl>
                                        <p:attrNameLst>
                                          <p:attrName>style.visibility</p:attrName>
                                        </p:attrNameLst>
                                      </p:cBhvr>
                                      <p:to>
                                        <p:strVal val="visible"/>
                                      </p:to>
                                    </p:set>
                                    <p:anim calcmode="lin" valueType="num">
                                      <p:cBhvr additive="base">
                                        <p:cTn id="19" dur="3000" fill="hold"/>
                                        <p:tgtEl>
                                          <p:spTgt spid="42"/>
                                        </p:tgtEl>
                                        <p:attrNameLst>
                                          <p:attrName>ppt_x</p:attrName>
                                        </p:attrNameLst>
                                      </p:cBhvr>
                                      <p:tavLst>
                                        <p:tav tm="0">
                                          <p:val>
                                            <p:strVal val="1+#ppt_w/2"/>
                                          </p:val>
                                        </p:tav>
                                        <p:tav tm="100000">
                                          <p:val>
                                            <p:strVal val="#ppt_x"/>
                                          </p:val>
                                        </p:tav>
                                      </p:tavLst>
                                    </p:anim>
                                    <p:anim calcmode="lin" valueType="num">
                                      <p:cBhvr additive="base">
                                        <p:cTn id="20" dur="3000" fill="hold"/>
                                        <p:tgtEl>
                                          <p:spTgt spid="42"/>
                                        </p:tgtEl>
                                        <p:attrNameLst>
                                          <p:attrName>ppt_y</p:attrName>
                                        </p:attrNameLst>
                                      </p:cBhvr>
                                      <p:tavLst>
                                        <p:tav tm="0">
                                          <p:val>
                                            <p:strVal val="1+#ppt_h/2"/>
                                          </p:val>
                                        </p:tav>
                                        <p:tav tm="100000">
                                          <p:val>
                                            <p:strVal val="#ppt_y"/>
                                          </p:val>
                                        </p:tav>
                                      </p:tavLst>
                                    </p:anim>
                                  </p:childTnLst>
                                </p:cTn>
                              </p:par>
                              <p:par>
                                <p:cTn id="21" presetID="2" presetClass="entr" presetSubtype="6" dur="3000" decel="100000" fill="hold" grpId="0" nodeType="withEffect">
                                  <p:stCondLst>
                                    <p:cond delay="0"/>
                                  </p:stCondLst>
                                  <p:childTnLst>
                                    <p:set>
                                      <p:cBhvr>
                                        <p:cTn id="22" dur="1" fill="hold">
                                          <p:stCondLst>
                                            <p:cond delay="0"/>
                                          </p:stCondLst>
                                        </p:cTn>
                                        <p:tgtEl>
                                          <p:spTgt spid="41"/>
                                        </p:tgtEl>
                                        <p:attrNameLst>
                                          <p:attrName>style.visibility</p:attrName>
                                        </p:attrNameLst>
                                      </p:cBhvr>
                                      <p:to>
                                        <p:strVal val="visible"/>
                                      </p:to>
                                    </p:set>
                                    <p:anim calcmode="lin" valueType="num">
                                      <p:cBhvr additive="base">
                                        <p:cTn id="23" dur="3000" fill="hold"/>
                                        <p:tgtEl>
                                          <p:spTgt spid="41"/>
                                        </p:tgtEl>
                                        <p:attrNameLst>
                                          <p:attrName>ppt_x</p:attrName>
                                        </p:attrNameLst>
                                      </p:cBhvr>
                                      <p:tavLst>
                                        <p:tav tm="0">
                                          <p:val>
                                            <p:strVal val="1+#ppt_w/2"/>
                                          </p:val>
                                        </p:tav>
                                        <p:tav tm="100000">
                                          <p:val>
                                            <p:strVal val="#ppt_x"/>
                                          </p:val>
                                        </p:tav>
                                      </p:tavLst>
                                    </p:anim>
                                    <p:anim calcmode="lin" valueType="num">
                                      <p:cBhvr additive="base">
                                        <p:cTn id="24" dur="3000" fill="hold"/>
                                        <p:tgtEl>
                                          <p:spTgt spid="41"/>
                                        </p:tgtEl>
                                        <p:attrNameLst>
                                          <p:attrName>ppt_y</p:attrName>
                                        </p:attrNameLst>
                                      </p:cBhvr>
                                      <p:tavLst>
                                        <p:tav tm="0">
                                          <p:val>
                                            <p:strVal val="1+#ppt_h/2"/>
                                          </p:val>
                                        </p:tav>
                                        <p:tav tm="100000">
                                          <p:val>
                                            <p:strVal val="#ppt_y"/>
                                          </p:val>
                                        </p:tav>
                                      </p:tavLst>
                                    </p:anim>
                                  </p:childTnLst>
                                </p:cTn>
                              </p:par>
                              <p:par>
                                <p:cTn id="25" presetID="2" presetClass="entr" presetSubtype="6" dur="3000" decel="100000" fill="hold" grpId="0" nodeType="withEffect">
                                  <p:stCondLst>
                                    <p:cond delay="0"/>
                                  </p:stCondLst>
                                  <p:childTnLst>
                                    <p:set>
                                      <p:cBhvr>
                                        <p:cTn id="26" dur="1" fill="hold">
                                          <p:stCondLst>
                                            <p:cond delay="0"/>
                                          </p:stCondLst>
                                        </p:cTn>
                                        <p:tgtEl>
                                          <p:spTgt spid="31"/>
                                        </p:tgtEl>
                                        <p:attrNameLst>
                                          <p:attrName>style.visibility</p:attrName>
                                        </p:attrNameLst>
                                      </p:cBhvr>
                                      <p:to>
                                        <p:strVal val="visible"/>
                                      </p:to>
                                    </p:set>
                                    <p:anim calcmode="lin" valueType="num">
                                      <p:cBhvr additive="base">
                                        <p:cTn id="27" dur="3000" fill="hold"/>
                                        <p:tgtEl>
                                          <p:spTgt spid="31"/>
                                        </p:tgtEl>
                                        <p:attrNameLst>
                                          <p:attrName>ppt_x</p:attrName>
                                        </p:attrNameLst>
                                      </p:cBhvr>
                                      <p:tavLst>
                                        <p:tav tm="0">
                                          <p:val>
                                            <p:strVal val="1+#ppt_w/2"/>
                                          </p:val>
                                        </p:tav>
                                        <p:tav tm="100000">
                                          <p:val>
                                            <p:strVal val="#ppt_x"/>
                                          </p:val>
                                        </p:tav>
                                      </p:tavLst>
                                    </p:anim>
                                    <p:anim calcmode="lin" valueType="num">
                                      <p:cBhvr additive="base">
                                        <p:cTn id="28" dur="3000" fill="hold"/>
                                        <p:tgtEl>
                                          <p:spTgt spid="31"/>
                                        </p:tgtEl>
                                        <p:attrNameLst>
                                          <p:attrName>ppt_y</p:attrName>
                                        </p:attrNameLst>
                                      </p:cBhvr>
                                      <p:tavLst>
                                        <p:tav tm="0">
                                          <p:val>
                                            <p:strVal val="1+#ppt_h/2"/>
                                          </p:val>
                                        </p:tav>
                                        <p:tav tm="100000">
                                          <p:val>
                                            <p:strVal val="#ppt_y"/>
                                          </p:val>
                                        </p:tav>
                                      </p:tavLst>
                                    </p:anim>
                                  </p:childTnLst>
                                </p:cTn>
                              </p:par>
                              <p:par>
                                <p:cTn id="29" presetID="2" presetClass="entr" presetSubtype="6" dur="3000" decel="100000" fill="hold" grpId="0" nodeType="withEffect">
                                  <p:stCondLst>
                                    <p:cond delay="0"/>
                                  </p:stCondLst>
                                  <p:childTnLst>
                                    <p:set>
                                      <p:cBhvr>
                                        <p:cTn id="30" dur="1" fill="hold">
                                          <p:stCondLst>
                                            <p:cond delay="0"/>
                                          </p:stCondLst>
                                        </p:cTn>
                                        <p:tgtEl>
                                          <p:spTgt spid="30"/>
                                        </p:tgtEl>
                                        <p:attrNameLst>
                                          <p:attrName>style.visibility</p:attrName>
                                        </p:attrNameLst>
                                      </p:cBhvr>
                                      <p:to>
                                        <p:strVal val="visible"/>
                                      </p:to>
                                    </p:set>
                                    <p:anim calcmode="lin" valueType="num">
                                      <p:cBhvr additive="base">
                                        <p:cTn id="31" dur="3000" fill="hold"/>
                                        <p:tgtEl>
                                          <p:spTgt spid="30"/>
                                        </p:tgtEl>
                                        <p:attrNameLst>
                                          <p:attrName>ppt_x</p:attrName>
                                        </p:attrNameLst>
                                      </p:cBhvr>
                                      <p:tavLst>
                                        <p:tav tm="0">
                                          <p:val>
                                            <p:strVal val="1+#ppt_w/2"/>
                                          </p:val>
                                        </p:tav>
                                        <p:tav tm="100000">
                                          <p:val>
                                            <p:strVal val="#ppt_x"/>
                                          </p:val>
                                        </p:tav>
                                      </p:tavLst>
                                    </p:anim>
                                    <p:anim calcmode="lin" valueType="num">
                                      <p:cBhvr additive="base">
                                        <p:cTn id="32" dur="3000" fill="hold"/>
                                        <p:tgtEl>
                                          <p:spTgt spid="30"/>
                                        </p:tgtEl>
                                        <p:attrNameLst>
                                          <p:attrName>ppt_y</p:attrName>
                                        </p:attrNameLst>
                                      </p:cBhvr>
                                      <p:tavLst>
                                        <p:tav tm="0">
                                          <p:val>
                                            <p:strVal val="1+#ppt_h/2"/>
                                          </p:val>
                                        </p:tav>
                                        <p:tav tm="100000">
                                          <p:val>
                                            <p:strVal val="#ppt_y"/>
                                          </p:val>
                                        </p:tav>
                                      </p:tavLst>
                                    </p:anim>
                                  </p:childTnLst>
                                </p:cTn>
                              </p:par>
                              <p:par>
                                <p:cTn id="33" presetID="2" presetClass="entr" presetSubtype="6" dur="3000" decel="100000" fill="hold" grpId="0" nodeType="withEffect">
                                  <p:stCondLst>
                                    <p:cond delay="0"/>
                                  </p:stCondLst>
                                  <p:childTnLst>
                                    <p:set>
                                      <p:cBhvr>
                                        <p:cTn id="34" dur="1" fill="hold">
                                          <p:stCondLst>
                                            <p:cond delay="0"/>
                                          </p:stCondLst>
                                        </p:cTn>
                                        <p:tgtEl>
                                          <p:spTgt spid="29"/>
                                        </p:tgtEl>
                                        <p:attrNameLst>
                                          <p:attrName>style.visibility</p:attrName>
                                        </p:attrNameLst>
                                      </p:cBhvr>
                                      <p:to>
                                        <p:strVal val="visible"/>
                                      </p:to>
                                    </p:set>
                                    <p:anim calcmode="lin" valueType="num">
                                      <p:cBhvr additive="base">
                                        <p:cTn id="35" dur="3000" fill="hold"/>
                                        <p:tgtEl>
                                          <p:spTgt spid="29"/>
                                        </p:tgtEl>
                                        <p:attrNameLst>
                                          <p:attrName>ppt_x</p:attrName>
                                        </p:attrNameLst>
                                      </p:cBhvr>
                                      <p:tavLst>
                                        <p:tav tm="0">
                                          <p:val>
                                            <p:strVal val="1+#ppt_w/2"/>
                                          </p:val>
                                        </p:tav>
                                        <p:tav tm="100000">
                                          <p:val>
                                            <p:strVal val="#ppt_x"/>
                                          </p:val>
                                        </p:tav>
                                      </p:tavLst>
                                    </p:anim>
                                    <p:anim calcmode="lin" valueType="num">
                                      <p:cBhvr additive="base">
                                        <p:cTn id="36" dur="3000" fill="hold"/>
                                        <p:tgtEl>
                                          <p:spTgt spid="29"/>
                                        </p:tgtEl>
                                        <p:attrNameLst>
                                          <p:attrName>ppt_y</p:attrName>
                                        </p:attrNameLst>
                                      </p:cBhvr>
                                      <p:tavLst>
                                        <p:tav tm="0">
                                          <p:val>
                                            <p:strVal val="1+#ppt_h/2"/>
                                          </p:val>
                                        </p:tav>
                                        <p:tav tm="100000">
                                          <p:val>
                                            <p:strVal val="#ppt_y"/>
                                          </p:val>
                                        </p:tav>
                                      </p:tavLst>
                                    </p:anim>
                                  </p:childTnLst>
                                </p:cTn>
                              </p:par>
                              <p:par>
                                <p:cTn id="37" presetID="2" presetClass="entr" presetSubtype="6" dur="3000" decel="100000" fill="hold" grpId="0" nodeType="withEffect">
                                  <p:stCondLst>
                                    <p:cond delay="0"/>
                                  </p:stCondLst>
                                  <p:childTnLst>
                                    <p:set>
                                      <p:cBhvr>
                                        <p:cTn id="38" dur="1" fill="hold">
                                          <p:stCondLst>
                                            <p:cond delay="0"/>
                                          </p:stCondLst>
                                        </p:cTn>
                                        <p:tgtEl>
                                          <p:spTgt spid="28"/>
                                        </p:tgtEl>
                                        <p:attrNameLst>
                                          <p:attrName>style.visibility</p:attrName>
                                        </p:attrNameLst>
                                      </p:cBhvr>
                                      <p:to>
                                        <p:strVal val="visible"/>
                                      </p:to>
                                    </p:set>
                                    <p:anim calcmode="lin" valueType="num">
                                      <p:cBhvr additive="base">
                                        <p:cTn id="39" dur="3000" fill="hold"/>
                                        <p:tgtEl>
                                          <p:spTgt spid="28"/>
                                        </p:tgtEl>
                                        <p:attrNameLst>
                                          <p:attrName>ppt_x</p:attrName>
                                        </p:attrNameLst>
                                      </p:cBhvr>
                                      <p:tavLst>
                                        <p:tav tm="0">
                                          <p:val>
                                            <p:strVal val="1+#ppt_w/2"/>
                                          </p:val>
                                        </p:tav>
                                        <p:tav tm="100000">
                                          <p:val>
                                            <p:strVal val="#ppt_x"/>
                                          </p:val>
                                        </p:tav>
                                      </p:tavLst>
                                    </p:anim>
                                    <p:anim calcmode="lin" valueType="num">
                                      <p:cBhvr additive="base">
                                        <p:cTn id="40" dur="3000" fill="hold"/>
                                        <p:tgtEl>
                                          <p:spTgt spid="28"/>
                                        </p:tgtEl>
                                        <p:attrNameLst>
                                          <p:attrName>ppt_y</p:attrName>
                                        </p:attrNameLst>
                                      </p:cBhvr>
                                      <p:tavLst>
                                        <p:tav tm="0">
                                          <p:val>
                                            <p:strVal val="1+#ppt_h/2"/>
                                          </p:val>
                                        </p:tav>
                                        <p:tav tm="100000">
                                          <p:val>
                                            <p:strVal val="#ppt_y"/>
                                          </p:val>
                                        </p:tav>
                                      </p:tavLst>
                                    </p:anim>
                                  </p:childTnLst>
                                </p:cTn>
                              </p:par>
                              <p:par>
                                <p:cTn id="41" presetID="2" presetClass="entr" presetSubtype="6" dur="3000" decel="100000" fill="hold" grpId="0" nodeType="withEffect">
                                  <p:stCondLst>
                                    <p:cond delay="0"/>
                                  </p:stCondLst>
                                  <p:childTnLst>
                                    <p:set>
                                      <p:cBhvr>
                                        <p:cTn id="42" dur="1" fill="hold">
                                          <p:stCondLst>
                                            <p:cond delay="0"/>
                                          </p:stCondLst>
                                        </p:cTn>
                                        <p:tgtEl>
                                          <p:spTgt spid="20"/>
                                        </p:tgtEl>
                                        <p:attrNameLst>
                                          <p:attrName>style.visibility</p:attrName>
                                        </p:attrNameLst>
                                      </p:cBhvr>
                                      <p:to>
                                        <p:strVal val="visible"/>
                                      </p:to>
                                    </p:set>
                                    <p:anim calcmode="lin" valueType="num">
                                      <p:cBhvr additive="base">
                                        <p:cTn id="43" dur="3000" fill="hold"/>
                                        <p:tgtEl>
                                          <p:spTgt spid="20"/>
                                        </p:tgtEl>
                                        <p:attrNameLst>
                                          <p:attrName>ppt_x</p:attrName>
                                        </p:attrNameLst>
                                      </p:cBhvr>
                                      <p:tavLst>
                                        <p:tav tm="0">
                                          <p:val>
                                            <p:strVal val="1+#ppt_w/2"/>
                                          </p:val>
                                        </p:tav>
                                        <p:tav tm="100000">
                                          <p:val>
                                            <p:strVal val="#ppt_x"/>
                                          </p:val>
                                        </p:tav>
                                      </p:tavLst>
                                    </p:anim>
                                    <p:anim calcmode="lin" valueType="num">
                                      <p:cBhvr additive="base">
                                        <p:cTn id="44" dur="3000" fill="hold"/>
                                        <p:tgtEl>
                                          <p:spTgt spid="20"/>
                                        </p:tgtEl>
                                        <p:attrNameLst>
                                          <p:attrName>ppt_y</p:attrName>
                                        </p:attrNameLst>
                                      </p:cBhvr>
                                      <p:tavLst>
                                        <p:tav tm="0">
                                          <p:val>
                                            <p:strVal val="1+#ppt_h/2"/>
                                          </p:val>
                                        </p:tav>
                                        <p:tav tm="100000">
                                          <p:val>
                                            <p:strVal val="#ppt_y"/>
                                          </p:val>
                                        </p:tav>
                                      </p:tavLst>
                                    </p:anim>
                                  </p:childTnLst>
                                </p:cTn>
                              </p:par>
                              <p:par>
                                <p:cTn id="45" presetID="2" presetClass="entr" presetSubtype="6" dur="3000" decel="100000" fill="hold" grpId="0" nodeType="withEffect">
                                  <p:stCondLst>
                                    <p:cond delay="0"/>
                                  </p:stCondLst>
                                  <p:childTnLst>
                                    <p:set>
                                      <p:cBhvr>
                                        <p:cTn id="46" dur="1" fill="hold">
                                          <p:stCondLst>
                                            <p:cond delay="0"/>
                                          </p:stCondLst>
                                        </p:cTn>
                                        <p:tgtEl>
                                          <p:spTgt spid="19"/>
                                        </p:tgtEl>
                                        <p:attrNameLst>
                                          <p:attrName>style.visibility</p:attrName>
                                        </p:attrNameLst>
                                      </p:cBhvr>
                                      <p:to>
                                        <p:strVal val="visible"/>
                                      </p:to>
                                    </p:set>
                                    <p:anim calcmode="lin" valueType="num">
                                      <p:cBhvr additive="base">
                                        <p:cTn id="47" dur="3000" fill="hold"/>
                                        <p:tgtEl>
                                          <p:spTgt spid="19"/>
                                        </p:tgtEl>
                                        <p:attrNameLst>
                                          <p:attrName>ppt_x</p:attrName>
                                        </p:attrNameLst>
                                      </p:cBhvr>
                                      <p:tavLst>
                                        <p:tav tm="0">
                                          <p:val>
                                            <p:strVal val="1+#ppt_w/2"/>
                                          </p:val>
                                        </p:tav>
                                        <p:tav tm="100000">
                                          <p:val>
                                            <p:strVal val="#ppt_x"/>
                                          </p:val>
                                        </p:tav>
                                      </p:tavLst>
                                    </p:anim>
                                    <p:anim calcmode="lin" valueType="num">
                                      <p:cBhvr additive="base">
                                        <p:cTn id="48" dur="3000" fill="hold"/>
                                        <p:tgtEl>
                                          <p:spTgt spid="19"/>
                                        </p:tgtEl>
                                        <p:attrNameLst>
                                          <p:attrName>ppt_y</p:attrName>
                                        </p:attrNameLst>
                                      </p:cBhvr>
                                      <p:tavLst>
                                        <p:tav tm="0">
                                          <p:val>
                                            <p:strVal val="1+#ppt_h/2"/>
                                          </p:val>
                                        </p:tav>
                                        <p:tav tm="100000">
                                          <p:val>
                                            <p:strVal val="#ppt_y"/>
                                          </p:val>
                                        </p:tav>
                                      </p:tavLst>
                                    </p:anim>
                                  </p:childTnLst>
                                </p:cTn>
                              </p:par>
                              <p:par>
                                <p:cTn id="49" presetID="2" presetClass="entr" presetSubtype="6" dur="3000" decel="100000" fill="hold" grpId="0" nodeType="withEffect">
                                  <p:stCondLst>
                                    <p:cond delay="0"/>
                                  </p:stCondLst>
                                  <p:childTnLst>
                                    <p:set>
                                      <p:cBhvr>
                                        <p:cTn id="50" dur="1" fill="hold">
                                          <p:stCondLst>
                                            <p:cond delay="0"/>
                                          </p:stCondLst>
                                        </p:cTn>
                                        <p:tgtEl>
                                          <p:spTgt spid="18"/>
                                        </p:tgtEl>
                                        <p:attrNameLst>
                                          <p:attrName>style.visibility</p:attrName>
                                        </p:attrNameLst>
                                      </p:cBhvr>
                                      <p:to>
                                        <p:strVal val="visible"/>
                                      </p:to>
                                    </p:set>
                                    <p:anim calcmode="lin" valueType="num">
                                      <p:cBhvr additive="base">
                                        <p:cTn id="51" dur="3000" fill="hold"/>
                                        <p:tgtEl>
                                          <p:spTgt spid="18"/>
                                        </p:tgtEl>
                                        <p:attrNameLst>
                                          <p:attrName>ppt_x</p:attrName>
                                        </p:attrNameLst>
                                      </p:cBhvr>
                                      <p:tavLst>
                                        <p:tav tm="0">
                                          <p:val>
                                            <p:strVal val="1+#ppt_w/2"/>
                                          </p:val>
                                        </p:tav>
                                        <p:tav tm="100000">
                                          <p:val>
                                            <p:strVal val="#ppt_x"/>
                                          </p:val>
                                        </p:tav>
                                      </p:tavLst>
                                    </p:anim>
                                    <p:anim calcmode="lin" valueType="num">
                                      <p:cBhvr additive="base">
                                        <p:cTn id="52" dur="3000" fill="hold"/>
                                        <p:tgtEl>
                                          <p:spTgt spid="18"/>
                                        </p:tgtEl>
                                        <p:attrNameLst>
                                          <p:attrName>ppt_y</p:attrName>
                                        </p:attrNameLst>
                                      </p:cBhvr>
                                      <p:tavLst>
                                        <p:tav tm="0">
                                          <p:val>
                                            <p:strVal val="1+#ppt_h/2"/>
                                          </p:val>
                                        </p:tav>
                                        <p:tav tm="100000">
                                          <p:val>
                                            <p:strVal val="#ppt_y"/>
                                          </p:val>
                                        </p:tav>
                                      </p:tavLst>
                                    </p:anim>
                                  </p:childTnLst>
                                </p:cTn>
                              </p:par>
                              <p:par>
                                <p:cTn id="53" presetID="2" presetClass="entr" presetSubtype="6" dur="3000" decel="100000" fill="hold" grpId="0" nodeType="withEffect">
                                  <p:stCondLst>
                                    <p:cond delay="0"/>
                                  </p:stCondLst>
                                  <p:childTnLst>
                                    <p:set>
                                      <p:cBhvr>
                                        <p:cTn id="54" dur="1" fill="hold">
                                          <p:stCondLst>
                                            <p:cond delay="0"/>
                                          </p:stCondLst>
                                        </p:cTn>
                                        <p:tgtEl>
                                          <p:spTgt spid="17"/>
                                        </p:tgtEl>
                                        <p:attrNameLst>
                                          <p:attrName>style.visibility</p:attrName>
                                        </p:attrNameLst>
                                      </p:cBhvr>
                                      <p:to>
                                        <p:strVal val="visible"/>
                                      </p:to>
                                    </p:set>
                                    <p:anim calcmode="lin" valueType="num">
                                      <p:cBhvr additive="base">
                                        <p:cTn id="55" dur="3000" fill="hold"/>
                                        <p:tgtEl>
                                          <p:spTgt spid="17"/>
                                        </p:tgtEl>
                                        <p:attrNameLst>
                                          <p:attrName>ppt_x</p:attrName>
                                        </p:attrNameLst>
                                      </p:cBhvr>
                                      <p:tavLst>
                                        <p:tav tm="0">
                                          <p:val>
                                            <p:strVal val="1+#ppt_w/2"/>
                                          </p:val>
                                        </p:tav>
                                        <p:tav tm="100000">
                                          <p:val>
                                            <p:strVal val="#ppt_x"/>
                                          </p:val>
                                        </p:tav>
                                      </p:tavLst>
                                    </p:anim>
                                    <p:anim calcmode="lin" valueType="num">
                                      <p:cBhvr additive="base">
                                        <p:cTn id="56" dur="3000" fill="hold"/>
                                        <p:tgtEl>
                                          <p:spTgt spid="17"/>
                                        </p:tgtEl>
                                        <p:attrNameLst>
                                          <p:attrName>ppt_y</p:attrName>
                                        </p:attrNameLst>
                                      </p:cBhvr>
                                      <p:tavLst>
                                        <p:tav tm="0">
                                          <p:val>
                                            <p:strVal val="1+#ppt_h/2"/>
                                          </p:val>
                                        </p:tav>
                                        <p:tav tm="100000">
                                          <p:val>
                                            <p:strVal val="#ppt_y"/>
                                          </p:val>
                                        </p:tav>
                                      </p:tavLst>
                                    </p:anim>
                                  </p:childTnLst>
                                </p:cTn>
                              </p:par>
                              <p:par>
                                <p:cTn id="57" presetID="2" presetClass="entr" presetSubtype="6" dur="3000" decel="100000" fill="hold" grpId="0" nodeType="withEffect">
                                  <p:stCondLst>
                                    <p:cond delay="0"/>
                                  </p:stCondLst>
                                  <p:childTnLst>
                                    <p:set>
                                      <p:cBhvr>
                                        <p:cTn id="58" dur="1" fill="hold">
                                          <p:stCondLst>
                                            <p:cond delay="0"/>
                                          </p:stCondLst>
                                        </p:cTn>
                                        <p:tgtEl>
                                          <p:spTgt spid="16"/>
                                        </p:tgtEl>
                                        <p:attrNameLst>
                                          <p:attrName>style.visibility</p:attrName>
                                        </p:attrNameLst>
                                      </p:cBhvr>
                                      <p:to>
                                        <p:strVal val="visible"/>
                                      </p:to>
                                    </p:set>
                                    <p:anim calcmode="lin" valueType="num">
                                      <p:cBhvr additive="base">
                                        <p:cTn id="59" dur="3000" fill="hold"/>
                                        <p:tgtEl>
                                          <p:spTgt spid="16"/>
                                        </p:tgtEl>
                                        <p:attrNameLst>
                                          <p:attrName>ppt_x</p:attrName>
                                        </p:attrNameLst>
                                      </p:cBhvr>
                                      <p:tavLst>
                                        <p:tav tm="0">
                                          <p:val>
                                            <p:strVal val="1+#ppt_w/2"/>
                                          </p:val>
                                        </p:tav>
                                        <p:tav tm="100000">
                                          <p:val>
                                            <p:strVal val="#ppt_x"/>
                                          </p:val>
                                        </p:tav>
                                      </p:tavLst>
                                    </p:anim>
                                    <p:anim calcmode="lin" valueType="num">
                                      <p:cBhvr additive="base">
                                        <p:cTn id="60" dur="3000" fill="hold"/>
                                        <p:tgtEl>
                                          <p:spTgt spid="16"/>
                                        </p:tgtEl>
                                        <p:attrNameLst>
                                          <p:attrName>ppt_y</p:attrName>
                                        </p:attrNameLst>
                                      </p:cBhvr>
                                      <p:tavLst>
                                        <p:tav tm="0">
                                          <p:val>
                                            <p:strVal val="1+#ppt_h/2"/>
                                          </p:val>
                                        </p:tav>
                                        <p:tav tm="100000">
                                          <p:val>
                                            <p:strVal val="#ppt_y"/>
                                          </p:val>
                                        </p:tav>
                                      </p:tavLst>
                                    </p:anim>
                                  </p:childTnLst>
                                </p:cTn>
                              </p:par>
                              <p:par>
                                <p:cTn id="61" presetID="2" presetClass="entr" presetSubtype="6" dur="3000" decel="100000" fill="hold" grpId="0" nodeType="withEffect">
                                  <p:stCondLst>
                                    <p:cond delay="0"/>
                                  </p:stCondLst>
                                  <p:childTnLst>
                                    <p:set>
                                      <p:cBhvr>
                                        <p:cTn id="62" dur="1" fill="hold">
                                          <p:stCondLst>
                                            <p:cond delay="0"/>
                                          </p:stCondLst>
                                        </p:cTn>
                                        <p:tgtEl>
                                          <p:spTgt spid="8"/>
                                        </p:tgtEl>
                                        <p:attrNameLst>
                                          <p:attrName>style.visibility</p:attrName>
                                        </p:attrNameLst>
                                      </p:cBhvr>
                                      <p:to>
                                        <p:strVal val="visible"/>
                                      </p:to>
                                    </p:set>
                                    <p:anim calcmode="lin" valueType="num">
                                      <p:cBhvr additive="base">
                                        <p:cTn id="63" dur="3000" fill="hold"/>
                                        <p:tgtEl>
                                          <p:spTgt spid="8"/>
                                        </p:tgtEl>
                                        <p:attrNameLst>
                                          <p:attrName>ppt_x</p:attrName>
                                        </p:attrNameLst>
                                      </p:cBhvr>
                                      <p:tavLst>
                                        <p:tav tm="0">
                                          <p:val>
                                            <p:strVal val="1+#ppt_w/2"/>
                                          </p:val>
                                        </p:tav>
                                        <p:tav tm="100000">
                                          <p:val>
                                            <p:strVal val="#ppt_x"/>
                                          </p:val>
                                        </p:tav>
                                      </p:tavLst>
                                    </p:anim>
                                    <p:anim calcmode="lin" valueType="num">
                                      <p:cBhvr additive="base">
                                        <p:cTn id="64" dur="3000" fill="hold"/>
                                        <p:tgtEl>
                                          <p:spTgt spid="8"/>
                                        </p:tgtEl>
                                        <p:attrNameLst>
                                          <p:attrName>ppt_y</p:attrName>
                                        </p:attrNameLst>
                                      </p:cBhvr>
                                      <p:tavLst>
                                        <p:tav tm="0">
                                          <p:val>
                                            <p:strVal val="1+#ppt_h/2"/>
                                          </p:val>
                                        </p:tav>
                                        <p:tav tm="100000">
                                          <p:val>
                                            <p:strVal val="#ppt_y"/>
                                          </p:val>
                                        </p:tav>
                                      </p:tavLst>
                                    </p:anim>
                                  </p:childTnLst>
                                </p:cTn>
                              </p:par>
                              <p:par>
                                <p:cTn id="65" presetID="2" presetClass="entr" presetSubtype="6" dur="3000" decel="100000" fill="hold" grpId="0" nodeType="withEffect">
                                  <p:stCondLst>
                                    <p:cond delay="0"/>
                                  </p:stCondLst>
                                  <p:childTnLst>
                                    <p:set>
                                      <p:cBhvr>
                                        <p:cTn id="66" dur="1" fill="hold">
                                          <p:stCondLst>
                                            <p:cond delay="0"/>
                                          </p:stCondLst>
                                        </p:cTn>
                                        <p:tgtEl>
                                          <p:spTgt spid="7"/>
                                        </p:tgtEl>
                                        <p:attrNameLst>
                                          <p:attrName>style.visibility</p:attrName>
                                        </p:attrNameLst>
                                      </p:cBhvr>
                                      <p:to>
                                        <p:strVal val="visible"/>
                                      </p:to>
                                    </p:set>
                                    <p:anim calcmode="lin" valueType="num">
                                      <p:cBhvr additive="base">
                                        <p:cTn id="67" dur="3000" fill="hold"/>
                                        <p:tgtEl>
                                          <p:spTgt spid="7"/>
                                        </p:tgtEl>
                                        <p:attrNameLst>
                                          <p:attrName>ppt_x</p:attrName>
                                        </p:attrNameLst>
                                      </p:cBhvr>
                                      <p:tavLst>
                                        <p:tav tm="0">
                                          <p:val>
                                            <p:strVal val="1+#ppt_w/2"/>
                                          </p:val>
                                        </p:tav>
                                        <p:tav tm="100000">
                                          <p:val>
                                            <p:strVal val="#ppt_x"/>
                                          </p:val>
                                        </p:tav>
                                      </p:tavLst>
                                    </p:anim>
                                    <p:anim calcmode="lin" valueType="num">
                                      <p:cBhvr additive="base">
                                        <p:cTn id="68" dur="3000" fill="hold"/>
                                        <p:tgtEl>
                                          <p:spTgt spid="7"/>
                                        </p:tgtEl>
                                        <p:attrNameLst>
                                          <p:attrName>ppt_y</p:attrName>
                                        </p:attrNameLst>
                                      </p:cBhvr>
                                      <p:tavLst>
                                        <p:tav tm="0">
                                          <p:val>
                                            <p:strVal val="1+#ppt_h/2"/>
                                          </p:val>
                                        </p:tav>
                                        <p:tav tm="100000">
                                          <p:val>
                                            <p:strVal val="#ppt_y"/>
                                          </p:val>
                                        </p:tav>
                                      </p:tavLst>
                                    </p:anim>
                                  </p:childTnLst>
                                </p:cTn>
                              </p:par>
                              <p:par>
                                <p:cTn id="69" presetID="2" presetClass="entr" presetSubtype="6" dur="3000" decel="100000" fill="hold" grpId="0" nodeType="withEffect">
                                  <p:stCondLst>
                                    <p:cond delay="0"/>
                                  </p:stCondLst>
                                  <p:childTnLst>
                                    <p:set>
                                      <p:cBhvr>
                                        <p:cTn id="70" dur="1" fill="hold">
                                          <p:stCondLst>
                                            <p:cond delay="0"/>
                                          </p:stCondLst>
                                        </p:cTn>
                                        <p:tgtEl>
                                          <p:spTgt spid="6"/>
                                        </p:tgtEl>
                                        <p:attrNameLst>
                                          <p:attrName>style.visibility</p:attrName>
                                        </p:attrNameLst>
                                      </p:cBhvr>
                                      <p:to>
                                        <p:strVal val="visible"/>
                                      </p:to>
                                    </p:set>
                                    <p:anim calcmode="lin" valueType="num">
                                      <p:cBhvr additive="base">
                                        <p:cTn id="71" dur="3000" fill="hold"/>
                                        <p:tgtEl>
                                          <p:spTgt spid="6"/>
                                        </p:tgtEl>
                                        <p:attrNameLst>
                                          <p:attrName>ppt_x</p:attrName>
                                        </p:attrNameLst>
                                      </p:cBhvr>
                                      <p:tavLst>
                                        <p:tav tm="0">
                                          <p:val>
                                            <p:strVal val="1+#ppt_w/2"/>
                                          </p:val>
                                        </p:tav>
                                        <p:tav tm="100000">
                                          <p:val>
                                            <p:strVal val="#ppt_x"/>
                                          </p:val>
                                        </p:tav>
                                      </p:tavLst>
                                    </p:anim>
                                    <p:anim calcmode="lin" valueType="num">
                                      <p:cBhvr additive="base">
                                        <p:cTn id="72" dur="3000" fill="hold"/>
                                        <p:tgtEl>
                                          <p:spTgt spid="6"/>
                                        </p:tgtEl>
                                        <p:attrNameLst>
                                          <p:attrName>ppt_y</p:attrName>
                                        </p:attrNameLst>
                                      </p:cBhvr>
                                      <p:tavLst>
                                        <p:tav tm="0">
                                          <p:val>
                                            <p:strVal val="1+#ppt_h/2"/>
                                          </p:val>
                                        </p:tav>
                                        <p:tav tm="100000">
                                          <p:val>
                                            <p:strVal val="#ppt_y"/>
                                          </p:val>
                                        </p:tav>
                                      </p:tavLst>
                                    </p:anim>
                                  </p:childTnLst>
                                </p:cTn>
                              </p:par>
                              <p:par>
                                <p:cTn id="73" presetID="2" presetClass="entr" presetSubtype="6" dur="3000" decel="100000" fill="hold" grpId="0" nodeType="withEffect">
                                  <p:stCondLst>
                                    <p:cond delay="0"/>
                                  </p:stCondLst>
                                  <p:childTnLst>
                                    <p:set>
                                      <p:cBhvr>
                                        <p:cTn id="74" dur="1" fill="hold">
                                          <p:stCondLst>
                                            <p:cond delay="0"/>
                                          </p:stCondLst>
                                        </p:cTn>
                                        <p:tgtEl>
                                          <p:spTgt spid="5"/>
                                        </p:tgtEl>
                                        <p:attrNameLst>
                                          <p:attrName>style.visibility</p:attrName>
                                        </p:attrNameLst>
                                      </p:cBhvr>
                                      <p:to>
                                        <p:strVal val="visible"/>
                                      </p:to>
                                    </p:set>
                                    <p:anim calcmode="lin" valueType="num">
                                      <p:cBhvr additive="base">
                                        <p:cTn id="75" dur="3000" fill="hold"/>
                                        <p:tgtEl>
                                          <p:spTgt spid="5"/>
                                        </p:tgtEl>
                                        <p:attrNameLst>
                                          <p:attrName>ppt_x</p:attrName>
                                        </p:attrNameLst>
                                      </p:cBhvr>
                                      <p:tavLst>
                                        <p:tav tm="0">
                                          <p:val>
                                            <p:strVal val="1+#ppt_w/2"/>
                                          </p:val>
                                        </p:tav>
                                        <p:tav tm="100000">
                                          <p:val>
                                            <p:strVal val="#ppt_x"/>
                                          </p:val>
                                        </p:tav>
                                      </p:tavLst>
                                    </p:anim>
                                    <p:anim calcmode="lin" valueType="num">
                                      <p:cBhvr additive="base">
                                        <p:cTn id="76" dur="3000" fill="hold"/>
                                        <p:tgtEl>
                                          <p:spTgt spid="5"/>
                                        </p:tgtEl>
                                        <p:attrNameLst>
                                          <p:attrName>ppt_y</p:attrName>
                                        </p:attrNameLst>
                                      </p:cBhvr>
                                      <p:tavLst>
                                        <p:tav tm="0">
                                          <p:val>
                                            <p:strVal val="1+#ppt_h/2"/>
                                          </p:val>
                                        </p:tav>
                                        <p:tav tm="100000">
                                          <p:val>
                                            <p:strVal val="#ppt_y"/>
                                          </p:val>
                                        </p:tav>
                                      </p:tavLst>
                                    </p:anim>
                                  </p:childTnLst>
                                </p:cTn>
                              </p:par>
                              <p:par>
                                <p:cTn id="77" presetID="2" presetClass="entr" presetSubtype="6" dur="3000" decel="100000" fill="hold" grpId="0" nodeType="withEffect">
                                  <p:stCondLst>
                                    <p:cond delay="0"/>
                                  </p:stCondLst>
                                  <p:childTnLst>
                                    <p:set>
                                      <p:cBhvr>
                                        <p:cTn id="78" dur="1" fill="hold">
                                          <p:stCondLst>
                                            <p:cond delay="0"/>
                                          </p:stCondLst>
                                        </p:cTn>
                                        <p:tgtEl>
                                          <p:spTgt spid="4"/>
                                        </p:tgtEl>
                                        <p:attrNameLst>
                                          <p:attrName>style.visibility</p:attrName>
                                        </p:attrNameLst>
                                      </p:cBhvr>
                                      <p:to>
                                        <p:strVal val="visible"/>
                                      </p:to>
                                    </p:set>
                                    <p:anim calcmode="lin" valueType="num">
                                      <p:cBhvr additive="base">
                                        <p:cTn id="79" dur="3000" fill="hold"/>
                                        <p:tgtEl>
                                          <p:spTgt spid="4"/>
                                        </p:tgtEl>
                                        <p:attrNameLst>
                                          <p:attrName>ppt_x</p:attrName>
                                        </p:attrNameLst>
                                      </p:cBhvr>
                                      <p:tavLst>
                                        <p:tav tm="0">
                                          <p:val>
                                            <p:strVal val="1+#ppt_w/2"/>
                                          </p:val>
                                        </p:tav>
                                        <p:tav tm="100000">
                                          <p:val>
                                            <p:strVal val="#ppt_x"/>
                                          </p:val>
                                        </p:tav>
                                      </p:tavLst>
                                    </p:anim>
                                    <p:anim calcmode="lin" valueType="num">
                                      <p:cBhvr additive="base">
                                        <p:cTn id="80" dur="3000" fill="hold"/>
                                        <p:tgtEl>
                                          <p:spTgt spid="4"/>
                                        </p:tgtEl>
                                        <p:attrNameLst>
                                          <p:attrName>ppt_y</p:attrName>
                                        </p:attrNameLst>
                                      </p:cBhvr>
                                      <p:tavLst>
                                        <p:tav tm="0">
                                          <p:val>
                                            <p:strVal val="1+#ppt_h/2"/>
                                          </p:val>
                                        </p:tav>
                                        <p:tav tm="100000">
                                          <p:val>
                                            <p:strVal val="#ppt_y"/>
                                          </p:val>
                                        </p:tav>
                                      </p:tavLst>
                                    </p:anim>
                                  </p:childTnLst>
                                </p:cTn>
                              </p:par>
                              <p:par>
                                <p:cTn id="81" presetID="2" presetClass="entr" presetSubtype="6" dur="3000" decel="100000" fill="hold" grpId="0" nodeType="withEffect">
                                  <p:stCondLst>
                                    <p:cond delay="0"/>
                                  </p:stCondLst>
                                  <p:childTnLst>
                                    <p:set>
                                      <p:cBhvr>
                                        <p:cTn id="82" dur="1" fill="hold">
                                          <p:stCondLst>
                                            <p:cond delay="0"/>
                                          </p:stCondLst>
                                        </p:cTn>
                                        <p:tgtEl>
                                          <p:spTgt spid="2"/>
                                        </p:tgtEl>
                                        <p:attrNameLst>
                                          <p:attrName>style.visibility</p:attrName>
                                        </p:attrNameLst>
                                      </p:cBhvr>
                                      <p:to>
                                        <p:strVal val="visible"/>
                                      </p:to>
                                    </p:set>
                                    <p:anim calcmode="lin" valueType="num">
                                      <p:cBhvr additive="base">
                                        <p:cTn id="83" dur="3000" fill="hold"/>
                                        <p:tgtEl>
                                          <p:spTgt spid="2"/>
                                        </p:tgtEl>
                                        <p:attrNameLst>
                                          <p:attrName>ppt_x</p:attrName>
                                        </p:attrNameLst>
                                      </p:cBhvr>
                                      <p:tavLst>
                                        <p:tav tm="0">
                                          <p:val>
                                            <p:strVal val="1+#ppt_w/2"/>
                                          </p:val>
                                        </p:tav>
                                        <p:tav tm="100000">
                                          <p:val>
                                            <p:strVal val="#ppt_x"/>
                                          </p:val>
                                        </p:tav>
                                      </p:tavLst>
                                    </p:anim>
                                    <p:anim calcmode="lin" valueType="num">
                                      <p:cBhvr additive="base">
                                        <p:cTn id="84" dur="3000" fill="hold"/>
                                        <p:tgtEl>
                                          <p:spTgt spid="2"/>
                                        </p:tgtEl>
                                        <p:attrNameLst>
                                          <p:attrName>ppt_y</p:attrName>
                                        </p:attrNameLst>
                                      </p:cBhvr>
                                      <p:tavLst>
                                        <p:tav tm="0">
                                          <p:val>
                                            <p:strVal val="1+#ppt_h/2"/>
                                          </p:val>
                                        </p:tav>
                                        <p:tav tm="100000">
                                          <p:val>
                                            <p:strVal val="#ppt_y"/>
                                          </p:val>
                                        </p:tav>
                                      </p:tavLst>
                                    </p:anim>
                                  </p:childTnLst>
                                </p:cTn>
                              </p:par>
                              <p:par>
                                <p:cTn id="85" presetID="2" presetClass="entr" presetSubtype="6" dur="3000" decel="100000" fill="hold" grpId="0" nodeType="withEffect">
                                  <p:stCondLst>
                                    <p:cond delay="0"/>
                                  </p:stCondLst>
                                  <p:childTnLst>
                                    <p:set>
                                      <p:cBhvr>
                                        <p:cTn id="86" dur="1" fill="hold">
                                          <p:stCondLst>
                                            <p:cond delay="0"/>
                                          </p:stCondLst>
                                        </p:cTn>
                                        <p:tgtEl>
                                          <p:spTgt spid="14"/>
                                        </p:tgtEl>
                                        <p:attrNameLst>
                                          <p:attrName>style.visibility</p:attrName>
                                        </p:attrNameLst>
                                      </p:cBhvr>
                                      <p:to>
                                        <p:strVal val="visible"/>
                                      </p:to>
                                    </p:set>
                                    <p:anim calcmode="lin" valueType="num">
                                      <p:cBhvr additive="base">
                                        <p:cTn id="87" dur="3000" fill="hold"/>
                                        <p:tgtEl>
                                          <p:spTgt spid="14"/>
                                        </p:tgtEl>
                                        <p:attrNameLst>
                                          <p:attrName>ppt_x</p:attrName>
                                        </p:attrNameLst>
                                      </p:cBhvr>
                                      <p:tavLst>
                                        <p:tav tm="0">
                                          <p:val>
                                            <p:strVal val="1+#ppt_w/2"/>
                                          </p:val>
                                        </p:tav>
                                        <p:tav tm="100000">
                                          <p:val>
                                            <p:strVal val="#ppt_x"/>
                                          </p:val>
                                        </p:tav>
                                      </p:tavLst>
                                    </p:anim>
                                    <p:anim calcmode="lin" valueType="num">
                                      <p:cBhvr additive="base">
                                        <p:cTn id="88" dur="3000" fill="hold"/>
                                        <p:tgtEl>
                                          <p:spTgt spid="14"/>
                                        </p:tgtEl>
                                        <p:attrNameLst>
                                          <p:attrName>ppt_y</p:attrName>
                                        </p:attrNameLst>
                                      </p:cBhvr>
                                      <p:tavLst>
                                        <p:tav tm="0">
                                          <p:val>
                                            <p:strVal val="1+#ppt_h/2"/>
                                          </p:val>
                                        </p:tav>
                                        <p:tav tm="100000">
                                          <p:val>
                                            <p:strVal val="#ppt_y"/>
                                          </p:val>
                                        </p:tav>
                                      </p:tavLst>
                                    </p:anim>
                                  </p:childTnLst>
                                </p:cTn>
                              </p:par>
                              <p:par>
                                <p:cTn id="89" presetID="2" presetClass="entr" presetSubtype="6" dur="3000" decel="100000" fill="hold" grpId="0" nodeType="withEffect">
                                  <p:stCondLst>
                                    <p:cond delay="0"/>
                                  </p:stCondLst>
                                  <p:childTnLst>
                                    <p:set>
                                      <p:cBhvr>
                                        <p:cTn id="90" dur="1" fill="hold">
                                          <p:stCondLst>
                                            <p:cond delay="0"/>
                                          </p:stCondLst>
                                        </p:cTn>
                                        <p:tgtEl>
                                          <p:spTgt spid="13"/>
                                        </p:tgtEl>
                                        <p:attrNameLst>
                                          <p:attrName>style.visibility</p:attrName>
                                        </p:attrNameLst>
                                      </p:cBhvr>
                                      <p:to>
                                        <p:strVal val="visible"/>
                                      </p:to>
                                    </p:set>
                                    <p:anim calcmode="lin" valueType="num">
                                      <p:cBhvr additive="base">
                                        <p:cTn id="91" dur="3000" fill="hold"/>
                                        <p:tgtEl>
                                          <p:spTgt spid="13"/>
                                        </p:tgtEl>
                                        <p:attrNameLst>
                                          <p:attrName>ppt_x</p:attrName>
                                        </p:attrNameLst>
                                      </p:cBhvr>
                                      <p:tavLst>
                                        <p:tav tm="0">
                                          <p:val>
                                            <p:strVal val="1+#ppt_w/2"/>
                                          </p:val>
                                        </p:tav>
                                        <p:tav tm="100000">
                                          <p:val>
                                            <p:strVal val="#ppt_x"/>
                                          </p:val>
                                        </p:tav>
                                      </p:tavLst>
                                    </p:anim>
                                    <p:anim calcmode="lin" valueType="num">
                                      <p:cBhvr additive="base">
                                        <p:cTn id="92" dur="3000" fill="hold"/>
                                        <p:tgtEl>
                                          <p:spTgt spid="13"/>
                                        </p:tgtEl>
                                        <p:attrNameLst>
                                          <p:attrName>ppt_y</p:attrName>
                                        </p:attrNameLst>
                                      </p:cBhvr>
                                      <p:tavLst>
                                        <p:tav tm="0">
                                          <p:val>
                                            <p:strVal val="1+#ppt_h/2"/>
                                          </p:val>
                                        </p:tav>
                                        <p:tav tm="100000">
                                          <p:val>
                                            <p:strVal val="#ppt_y"/>
                                          </p:val>
                                        </p:tav>
                                      </p:tavLst>
                                    </p:anim>
                                  </p:childTnLst>
                                </p:cTn>
                              </p:par>
                              <p:par>
                                <p:cTn id="93" presetID="2" presetClass="entr" presetSubtype="6" dur="3000" decel="100000" fill="hold" grpId="0" nodeType="withEffect">
                                  <p:stCondLst>
                                    <p:cond delay="0"/>
                                  </p:stCondLst>
                                  <p:childTnLst>
                                    <p:set>
                                      <p:cBhvr>
                                        <p:cTn id="94" dur="1" fill="hold">
                                          <p:stCondLst>
                                            <p:cond delay="0"/>
                                          </p:stCondLst>
                                        </p:cTn>
                                        <p:tgtEl>
                                          <p:spTgt spid="12"/>
                                        </p:tgtEl>
                                        <p:attrNameLst>
                                          <p:attrName>style.visibility</p:attrName>
                                        </p:attrNameLst>
                                      </p:cBhvr>
                                      <p:to>
                                        <p:strVal val="visible"/>
                                      </p:to>
                                    </p:set>
                                    <p:anim calcmode="lin" valueType="num">
                                      <p:cBhvr additive="base">
                                        <p:cTn id="95" dur="3000" fill="hold"/>
                                        <p:tgtEl>
                                          <p:spTgt spid="12"/>
                                        </p:tgtEl>
                                        <p:attrNameLst>
                                          <p:attrName>ppt_x</p:attrName>
                                        </p:attrNameLst>
                                      </p:cBhvr>
                                      <p:tavLst>
                                        <p:tav tm="0">
                                          <p:val>
                                            <p:strVal val="1+#ppt_w/2"/>
                                          </p:val>
                                        </p:tav>
                                        <p:tav tm="100000">
                                          <p:val>
                                            <p:strVal val="#ppt_x"/>
                                          </p:val>
                                        </p:tav>
                                      </p:tavLst>
                                    </p:anim>
                                    <p:anim calcmode="lin" valueType="num">
                                      <p:cBhvr additive="base">
                                        <p:cTn id="96" dur="3000" fill="hold"/>
                                        <p:tgtEl>
                                          <p:spTgt spid="12"/>
                                        </p:tgtEl>
                                        <p:attrNameLst>
                                          <p:attrName>ppt_y</p:attrName>
                                        </p:attrNameLst>
                                      </p:cBhvr>
                                      <p:tavLst>
                                        <p:tav tm="0">
                                          <p:val>
                                            <p:strVal val="1+#ppt_h/2"/>
                                          </p:val>
                                        </p:tav>
                                        <p:tav tm="100000">
                                          <p:val>
                                            <p:strVal val="#ppt_y"/>
                                          </p:val>
                                        </p:tav>
                                      </p:tavLst>
                                    </p:anim>
                                  </p:childTnLst>
                                </p:cTn>
                              </p:par>
                              <p:par>
                                <p:cTn id="97" presetID="2" presetClass="entr" presetSubtype="6" dur="3000" decel="100000" fill="hold" grpId="0" nodeType="withEffect">
                                  <p:stCondLst>
                                    <p:cond delay="0"/>
                                  </p:stCondLst>
                                  <p:childTnLst>
                                    <p:set>
                                      <p:cBhvr>
                                        <p:cTn id="98" dur="1" fill="hold">
                                          <p:stCondLst>
                                            <p:cond delay="0"/>
                                          </p:stCondLst>
                                        </p:cTn>
                                        <p:tgtEl>
                                          <p:spTgt spid="11"/>
                                        </p:tgtEl>
                                        <p:attrNameLst>
                                          <p:attrName>style.visibility</p:attrName>
                                        </p:attrNameLst>
                                      </p:cBhvr>
                                      <p:to>
                                        <p:strVal val="visible"/>
                                      </p:to>
                                    </p:set>
                                    <p:anim calcmode="lin" valueType="num">
                                      <p:cBhvr additive="base">
                                        <p:cTn id="99" dur="3000" fill="hold"/>
                                        <p:tgtEl>
                                          <p:spTgt spid="11"/>
                                        </p:tgtEl>
                                        <p:attrNameLst>
                                          <p:attrName>ppt_x</p:attrName>
                                        </p:attrNameLst>
                                      </p:cBhvr>
                                      <p:tavLst>
                                        <p:tav tm="0">
                                          <p:val>
                                            <p:strVal val="1+#ppt_w/2"/>
                                          </p:val>
                                        </p:tav>
                                        <p:tav tm="100000">
                                          <p:val>
                                            <p:strVal val="#ppt_x"/>
                                          </p:val>
                                        </p:tav>
                                      </p:tavLst>
                                    </p:anim>
                                    <p:anim calcmode="lin" valueType="num">
                                      <p:cBhvr additive="base">
                                        <p:cTn id="100" dur="3000" fill="hold"/>
                                        <p:tgtEl>
                                          <p:spTgt spid="11"/>
                                        </p:tgtEl>
                                        <p:attrNameLst>
                                          <p:attrName>ppt_y</p:attrName>
                                        </p:attrNameLst>
                                      </p:cBhvr>
                                      <p:tavLst>
                                        <p:tav tm="0">
                                          <p:val>
                                            <p:strVal val="1+#ppt_h/2"/>
                                          </p:val>
                                        </p:tav>
                                        <p:tav tm="100000">
                                          <p:val>
                                            <p:strVal val="#ppt_y"/>
                                          </p:val>
                                        </p:tav>
                                      </p:tavLst>
                                    </p:anim>
                                  </p:childTnLst>
                                </p:cTn>
                              </p:par>
                              <p:par>
                                <p:cTn id="101" presetID="2" presetClass="entr" presetSubtype="6" dur="3000" decel="100000" fill="hold" grpId="0" nodeType="withEffect">
                                  <p:stCondLst>
                                    <p:cond delay="0"/>
                                  </p:stCondLst>
                                  <p:childTnLst>
                                    <p:set>
                                      <p:cBhvr>
                                        <p:cTn id="102" dur="1" fill="hold">
                                          <p:stCondLst>
                                            <p:cond delay="0"/>
                                          </p:stCondLst>
                                        </p:cTn>
                                        <p:tgtEl>
                                          <p:spTgt spid="10"/>
                                        </p:tgtEl>
                                        <p:attrNameLst>
                                          <p:attrName>style.visibility</p:attrName>
                                        </p:attrNameLst>
                                      </p:cBhvr>
                                      <p:to>
                                        <p:strVal val="visible"/>
                                      </p:to>
                                    </p:set>
                                    <p:anim calcmode="lin" valueType="num">
                                      <p:cBhvr additive="base">
                                        <p:cTn id="103" dur="3000" fill="hold"/>
                                        <p:tgtEl>
                                          <p:spTgt spid="10"/>
                                        </p:tgtEl>
                                        <p:attrNameLst>
                                          <p:attrName>ppt_x</p:attrName>
                                        </p:attrNameLst>
                                      </p:cBhvr>
                                      <p:tavLst>
                                        <p:tav tm="0">
                                          <p:val>
                                            <p:strVal val="1+#ppt_w/2"/>
                                          </p:val>
                                        </p:tav>
                                        <p:tav tm="100000">
                                          <p:val>
                                            <p:strVal val="#ppt_x"/>
                                          </p:val>
                                        </p:tav>
                                      </p:tavLst>
                                    </p:anim>
                                    <p:anim calcmode="lin" valueType="num">
                                      <p:cBhvr additive="base">
                                        <p:cTn id="104" dur="3000" fill="hold"/>
                                        <p:tgtEl>
                                          <p:spTgt spid="10"/>
                                        </p:tgtEl>
                                        <p:attrNameLst>
                                          <p:attrName>ppt_y</p:attrName>
                                        </p:attrNameLst>
                                      </p:cBhvr>
                                      <p:tavLst>
                                        <p:tav tm="0">
                                          <p:val>
                                            <p:strVal val="1+#ppt_h/2"/>
                                          </p:val>
                                        </p:tav>
                                        <p:tav tm="100000">
                                          <p:val>
                                            <p:strVal val="#ppt_y"/>
                                          </p:val>
                                        </p:tav>
                                      </p:tavLst>
                                    </p:anim>
                                  </p:childTnLst>
                                </p:cTn>
                              </p:par>
                              <p:par>
                                <p:cTn id="105" presetID="2" presetClass="entr" presetSubtype="6" dur="3000" decel="100000" fill="hold" grpId="0" nodeType="withEffect">
                                  <p:stCondLst>
                                    <p:cond delay="0"/>
                                  </p:stCondLst>
                                  <p:childTnLst>
                                    <p:set>
                                      <p:cBhvr>
                                        <p:cTn id="106" dur="1" fill="hold">
                                          <p:stCondLst>
                                            <p:cond delay="0"/>
                                          </p:stCondLst>
                                        </p:cTn>
                                        <p:tgtEl>
                                          <p:spTgt spid="56"/>
                                        </p:tgtEl>
                                        <p:attrNameLst>
                                          <p:attrName>style.visibility</p:attrName>
                                        </p:attrNameLst>
                                      </p:cBhvr>
                                      <p:to>
                                        <p:strVal val="visible"/>
                                      </p:to>
                                    </p:set>
                                    <p:anim calcmode="lin" valueType="num">
                                      <p:cBhvr additive="base">
                                        <p:cTn id="107" dur="3000" fill="hold"/>
                                        <p:tgtEl>
                                          <p:spTgt spid="56"/>
                                        </p:tgtEl>
                                        <p:attrNameLst>
                                          <p:attrName>ppt_x</p:attrName>
                                        </p:attrNameLst>
                                      </p:cBhvr>
                                      <p:tavLst>
                                        <p:tav tm="0">
                                          <p:val>
                                            <p:strVal val="1+#ppt_w/2"/>
                                          </p:val>
                                        </p:tav>
                                        <p:tav tm="100000">
                                          <p:val>
                                            <p:strVal val="#ppt_x"/>
                                          </p:val>
                                        </p:tav>
                                      </p:tavLst>
                                    </p:anim>
                                    <p:anim calcmode="lin" valueType="num">
                                      <p:cBhvr additive="base">
                                        <p:cTn id="108" dur="3000" fill="hold"/>
                                        <p:tgtEl>
                                          <p:spTgt spid="56"/>
                                        </p:tgtEl>
                                        <p:attrNameLst>
                                          <p:attrName>ppt_y</p:attrName>
                                        </p:attrNameLst>
                                      </p:cBhvr>
                                      <p:tavLst>
                                        <p:tav tm="0">
                                          <p:val>
                                            <p:strVal val="1+#ppt_h/2"/>
                                          </p:val>
                                        </p:tav>
                                        <p:tav tm="100000">
                                          <p:val>
                                            <p:strVal val="#ppt_y"/>
                                          </p:val>
                                        </p:tav>
                                      </p:tavLst>
                                    </p:anim>
                                  </p:childTnLst>
                                </p:cTn>
                              </p:par>
                              <p:par>
                                <p:cTn id="109" presetID="2" presetClass="entr" presetSubtype="6" dur="3000" decel="100000" fill="hold" grpId="0" nodeType="withEffect">
                                  <p:stCondLst>
                                    <p:cond delay="0"/>
                                  </p:stCondLst>
                                  <p:childTnLst>
                                    <p:set>
                                      <p:cBhvr>
                                        <p:cTn id="110" dur="1" fill="hold">
                                          <p:stCondLst>
                                            <p:cond delay="0"/>
                                          </p:stCondLst>
                                        </p:cTn>
                                        <p:tgtEl>
                                          <p:spTgt spid="55"/>
                                        </p:tgtEl>
                                        <p:attrNameLst>
                                          <p:attrName>style.visibility</p:attrName>
                                        </p:attrNameLst>
                                      </p:cBhvr>
                                      <p:to>
                                        <p:strVal val="visible"/>
                                      </p:to>
                                    </p:set>
                                    <p:anim calcmode="lin" valueType="num">
                                      <p:cBhvr additive="base">
                                        <p:cTn id="111" dur="3000" fill="hold"/>
                                        <p:tgtEl>
                                          <p:spTgt spid="55"/>
                                        </p:tgtEl>
                                        <p:attrNameLst>
                                          <p:attrName>ppt_x</p:attrName>
                                        </p:attrNameLst>
                                      </p:cBhvr>
                                      <p:tavLst>
                                        <p:tav tm="0">
                                          <p:val>
                                            <p:strVal val="1+#ppt_w/2"/>
                                          </p:val>
                                        </p:tav>
                                        <p:tav tm="100000">
                                          <p:val>
                                            <p:strVal val="#ppt_x"/>
                                          </p:val>
                                        </p:tav>
                                      </p:tavLst>
                                    </p:anim>
                                    <p:anim calcmode="lin" valueType="num">
                                      <p:cBhvr additive="base">
                                        <p:cTn id="112" dur="3000" fill="hold"/>
                                        <p:tgtEl>
                                          <p:spTgt spid="55"/>
                                        </p:tgtEl>
                                        <p:attrNameLst>
                                          <p:attrName>ppt_y</p:attrName>
                                        </p:attrNameLst>
                                      </p:cBhvr>
                                      <p:tavLst>
                                        <p:tav tm="0">
                                          <p:val>
                                            <p:strVal val="1+#ppt_h/2"/>
                                          </p:val>
                                        </p:tav>
                                        <p:tav tm="100000">
                                          <p:val>
                                            <p:strVal val="#ppt_y"/>
                                          </p:val>
                                        </p:tav>
                                      </p:tavLst>
                                    </p:anim>
                                  </p:childTnLst>
                                </p:cTn>
                              </p:par>
                              <p:par>
                                <p:cTn id="113" presetID="2" presetClass="entr" presetSubtype="6" dur="3000" decel="100000" fill="hold" grpId="0" nodeType="withEffect">
                                  <p:stCondLst>
                                    <p:cond delay="0"/>
                                  </p:stCondLst>
                                  <p:childTnLst>
                                    <p:set>
                                      <p:cBhvr>
                                        <p:cTn id="114" dur="1" fill="hold">
                                          <p:stCondLst>
                                            <p:cond delay="0"/>
                                          </p:stCondLst>
                                        </p:cTn>
                                        <p:tgtEl>
                                          <p:spTgt spid="54"/>
                                        </p:tgtEl>
                                        <p:attrNameLst>
                                          <p:attrName>style.visibility</p:attrName>
                                        </p:attrNameLst>
                                      </p:cBhvr>
                                      <p:to>
                                        <p:strVal val="visible"/>
                                      </p:to>
                                    </p:set>
                                    <p:anim calcmode="lin" valueType="num">
                                      <p:cBhvr additive="base">
                                        <p:cTn id="115" dur="3000" fill="hold"/>
                                        <p:tgtEl>
                                          <p:spTgt spid="54"/>
                                        </p:tgtEl>
                                        <p:attrNameLst>
                                          <p:attrName>ppt_x</p:attrName>
                                        </p:attrNameLst>
                                      </p:cBhvr>
                                      <p:tavLst>
                                        <p:tav tm="0">
                                          <p:val>
                                            <p:strVal val="1+#ppt_w/2"/>
                                          </p:val>
                                        </p:tav>
                                        <p:tav tm="100000">
                                          <p:val>
                                            <p:strVal val="#ppt_x"/>
                                          </p:val>
                                        </p:tav>
                                      </p:tavLst>
                                    </p:anim>
                                    <p:anim calcmode="lin" valueType="num">
                                      <p:cBhvr additive="base">
                                        <p:cTn id="116" dur="3000" fill="hold"/>
                                        <p:tgtEl>
                                          <p:spTgt spid="54"/>
                                        </p:tgtEl>
                                        <p:attrNameLst>
                                          <p:attrName>ppt_y</p:attrName>
                                        </p:attrNameLst>
                                      </p:cBhvr>
                                      <p:tavLst>
                                        <p:tav tm="0">
                                          <p:val>
                                            <p:strVal val="1+#ppt_h/2"/>
                                          </p:val>
                                        </p:tav>
                                        <p:tav tm="100000">
                                          <p:val>
                                            <p:strVal val="#ppt_y"/>
                                          </p:val>
                                        </p:tav>
                                      </p:tavLst>
                                    </p:anim>
                                  </p:childTnLst>
                                </p:cTn>
                              </p:par>
                              <p:par>
                                <p:cTn id="117" presetID="2" presetClass="entr" presetSubtype="6" dur="3000" decel="100000" fill="hold" grpId="0" nodeType="withEffect">
                                  <p:stCondLst>
                                    <p:cond delay="0"/>
                                  </p:stCondLst>
                                  <p:childTnLst>
                                    <p:set>
                                      <p:cBhvr>
                                        <p:cTn id="118" dur="1" fill="hold">
                                          <p:stCondLst>
                                            <p:cond delay="0"/>
                                          </p:stCondLst>
                                        </p:cTn>
                                        <p:tgtEl>
                                          <p:spTgt spid="53"/>
                                        </p:tgtEl>
                                        <p:attrNameLst>
                                          <p:attrName>style.visibility</p:attrName>
                                        </p:attrNameLst>
                                      </p:cBhvr>
                                      <p:to>
                                        <p:strVal val="visible"/>
                                      </p:to>
                                    </p:set>
                                    <p:anim calcmode="lin" valueType="num">
                                      <p:cBhvr additive="base">
                                        <p:cTn id="119" dur="3000" fill="hold"/>
                                        <p:tgtEl>
                                          <p:spTgt spid="53"/>
                                        </p:tgtEl>
                                        <p:attrNameLst>
                                          <p:attrName>ppt_x</p:attrName>
                                        </p:attrNameLst>
                                      </p:cBhvr>
                                      <p:tavLst>
                                        <p:tav tm="0">
                                          <p:val>
                                            <p:strVal val="1+#ppt_w/2"/>
                                          </p:val>
                                        </p:tav>
                                        <p:tav tm="100000">
                                          <p:val>
                                            <p:strVal val="#ppt_x"/>
                                          </p:val>
                                        </p:tav>
                                      </p:tavLst>
                                    </p:anim>
                                    <p:anim calcmode="lin" valueType="num">
                                      <p:cBhvr additive="base">
                                        <p:cTn id="120" dur="3000" fill="hold"/>
                                        <p:tgtEl>
                                          <p:spTgt spid="53"/>
                                        </p:tgtEl>
                                        <p:attrNameLst>
                                          <p:attrName>ppt_y</p:attrName>
                                        </p:attrNameLst>
                                      </p:cBhvr>
                                      <p:tavLst>
                                        <p:tav tm="0">
                                          <p:val>
                                            <p:strVal val="1+#ppt_h/2"/>
                                          </p:val>
                                        </p:tav>
                                        <p:tav tm="100000">
                                          <p:val>
                                            <p:strVal val="#ppt_y"/>
                                          </p:val>
                                        </p:tav>
                                      </p:tavLst>
                                    </p:anim>
                                  </p:childTnLst>
                                </p:cTn>
                              </p:par>
                              <p:par>
                                <p:cTn id="121" presetID="2" presetClass="entr" presetSubtype="6" dur="3000" decel="100000" fill="hold" grpId="0" nodeType="withEffect">
                                  <p:stCondLst>
                                    <p:cond delay="0"/>
                                  </p:stCondLst>
                                  <p:childTnLst>
                                    <p:set>
                                      <p:cBhvr>
                                        <p:cTn id="122" dur="1" fill="hold">
                                          <p:stCondLst>
                                            <p:cond delay="0"/>
                                          </p:stCondLst>
                                        </p:cTn>
                                        <p:tgtEl>
                                          <p:spTgt spid="61"/>
                                        </p:tgtEl>
                                        <p:attrNameLst>
                                          <p:attrName>style.visibility</p:attrName>
                                        </p:attrNameLst>
                                      </p:cBhvr>
                                      <p:to>
                                        <p:strVal val="visible"/>
                                      </p:to>
                                    </p:set>
                                    <p:anim calcmode="lin" valueType="num">
                                      <p:cBhvr additive="base">
                                        <p:cTn id="123" dur="3000" fill="hold"/>
                                        <p:tgtEl>
                                          <p:spTgt spid="61"/>
                                        </p:tgtEl>
                                        <p:attrNameLst>
                                          <p:attrName>ppt_x</p:attrName>
                                        </p:attrNameLst>
                                      </p:cBhvr>
                                      <p:tavLst>
                                        <p:tav tm="0">
                                          <p:val>
                                            <p:strVal val="1+#ppt_w/2"/>
                                          </p:val>
                                        </p:tav>
                                        <p:tav tm="100000">
                                          <p:val>
                                            <p:strVal val="#ppt_x"/>
                                          </p:val>
                                        </p:tav>
                                      </p:tavLst>
                                    </p:anim>
                                    <p:anim calcmode="lin" valueType="num">
                                      <p:cBhvr additive="base">
                                        <p:cTn id="124" dur="3000" fill="hold"/>
                                        <p:tgtEl>
                                          <p:spTgt spid="61"/>
                                        </p:tgtEl>
                                        <p:attrNameLst>
                                          <p:attrName>ppt_y</p:attrName>
                                        </p:attrNameLst>
                                      </p:cBhvr>
                                      <p:tavLst>
                                        <p:tav tm="0">
                                          <p:val>
                                            <p:strVal val="1+#ppt_h/2"/>
                                          </p:val>
                                        </p:tav>
                                        <p:tav tm="100000">
                                          <p:val>
                                            <p:strVal val="#ppt_y"/>
                                          </p:val>
                                        </p:tav>
                                      </p:tavLst>
                                    </p:anim>
                                  </p:childTnLst>
                                </p:cTn>
                              </p:par>
                              <p:par>
                                <p:cTn id="125" presetID="2" presetClass="entr" presetSubtype="6" dur="3000" decel="100000" fill="hold" grpId="0" nodeType="withEffect">
                                  <p:stCondLst>
                                    <p:cond delay="0"/>
                                  </p:stCondLst>
                                  <p:childTnLst>
                                    <p:set>
                                      <p:cBhvr>
                                        <p:cTn id="126" dur="1" fill="hold">
                                          <p:stCondLst>
                                            <p:cond delay="0"/>
                                          </p:stCondLst>
                                        </p:cTn>
                                        <p:tgtEl>
                                          <p:spTgt spid="60"/>
                                        </p:tgtEl>
                                        <p:attrNameLst>
                                          <p:attrName>style.visibility</p:attrName>
                                        </p:attrNameLst>
                                      </p:cBhvr>
                                      <p:to>
                                        <p:strVal val="visible"/>
                                      </p:to>
                                    </p:set>
                                    <p:anim calcmode="lin" valueType="num">
                                      <p:cBhvr additive="base">
                                        <p:cTn id="127" dur="3000" fill="hold"/>
                                        <p:tgtEl>
                                          <p:spTgt spid="60"/>
                                        </p:tgtEl>
                                        <p:attrNameLst>
                                          <p:attrName>ppt_x</p:attrName>
                                        </p:attrNameLst>
                                      </p:cBhvr>
                                      <p:tavLst>
                                        <p:tav tm="0">
                                          <p:val>
                                            <p:strVal val="1+#ppt_w/2"/>
                                          </p:val>
                                        </p:tav>
                                        <p:tav tm="100000">
                                          <p:val>
                                            <p:strVal val="#ppt_x"/>
                                          </p:val>
                                        </p:tav>
                                      </p:tavLst>
                                    </p:anim>
                                    <p:anim calcmode="lin" valueType="num">
                                      <p:cBhvr additive="base">
                                        <p:cTn id="128" dur="3000" fill="hold"/>
                                        <p:tgtEl>
                                          <p:spTgt spid="60"/>
                                        </p:tgtEl>
                                        <p:attrNameLst>
                                          <p:attrName>ppt_y</p:attrName>
                                        </p:attrNameLst>
                                      </p:cBhvr>
                                      <p:tavLst>
                                        <p:tav tm="0">
                                          <p:val>
                                            <p:strVal val="1+#ppt_h/2"/>
                                          </p:val>
                                        </p:tav>
                                        <p:tav tm="100000">
                                          <p:val>
                                            <p:strVal val="#ppt_y"/>
                                          </p:val>
                                        </p:tav>
                                      </p:tavLst>
                                    </p:anim>
                                  </p:childTnLst>
                                </p:cTn>
                              </p:par>
                              <p:par>
                                <p:cTn id="129" presetID="2" presetClass="entr" presetSubtype="6" dur="3000" decel="100000" fill="hold" grpId="0" nodeType="withEffect">
                                  <p:stCondLst>
                                    <p:cond delay="0"/>
                                  </p:stCondLst>
                                  <p:childTnLst>
                                    <p:set>
                                      <p:cBhvr>
                                        <p:cTn id="130" dur="1" fill="hold">
                                          <p:stCondLst>
                                            <p:cond delay="0"/>
                                          </p:stCondLst>
                                        </p:cTn>
                                        <p:tgtEl>
                                          <p:spTgt spid="59"/>
                                        </p:tgtEl>
                                        <p:attrNameLst>
                                          <p:attrName>style.visibility</p:attrName>
                                        </p:attrNameLst>
                                      </p:cBhvr>
                                      <p:to>
                                        <p:strVal val="visible"/>
                                      </p:to>
                                    </p:set>
                                    <p:anim calcmode="lin" valueType="num">
                                      <p:cBhvr additive="base">
                                        <p:cTn id="131" dur="3000" fill="hold"/>
                                        <p:tgtEl>
                                          <p:spTgt spid="59"/>
                                        </p:tgtEl>
                                        <p:attrNameLst>
                                          <p:attrName>ppt_x</p:attrName>
                                        </p:attrNameLst>
                                      </p:cBhvr>
                                      <p:tavLst>
                                        <p:tav tm="0">
                                          <p:val>
                                            <p:strVal val="1+#ppt_w/2"/>
                                          </p:val>
                                        </p:tav>
                                        <p:tav tm="100000">
                                          <p:val>
                                            <p:strVal val="#ppt_x"/>
                                          </p:val>
                                        </p:tav>
                                      </p:tavLst>
                                    </p:anim>
                                    <p:anim calcmode="lin" valueType="num">
                                      <p:cBhvr additive="base">
                                        <p:cTn id="132" dur="3000" fill="hold"/>
                                        <p:tgtEl>
                                          <p:spTgt spid="59"/>
                                        </p:tgtEl>
                                        <p:attrNameLst>
                                          <p:attrName>ppt_y</p:attrName>
                                        </p:attrNameLst>
                                      </p:cBhvr>
                                      <p:tavLst>
                                        <p:tav tm="0">
                                          <p:val>
                                            <p:strVal val="1+#ppt_h/2"/>
                                          </p:val>
                                        </p:tav>
                                        <p:tav tm="100000">
                                          <p:val>
                                            <p:strVal val="#ppt_y"/>
                                          </p:val>
                                        </p:tav>
                                      </p:tavLst>
                                    </p:anim>
                                  </p:childTnLst>
                                </p:cTn>
                              </p:par>
                              <p:par>
                                <p:cTn id="133" presetID="2" presetClass="entr" presetSubtype="6" dur="3000" decel="100000" fill="hold" grpId="0" nodeType="withEffect">
                                  <p:stCondLst>
                                    <p:cond delay="0"/>
                                  </p:stCondLst>
                                  <p:childTnLst>
                                    <p:set>
                                      <p:cBhvr>
                                        <p:cTn id="134" dur="1" fill="hold">
                                          <p:stCondLst>
                                            <p:cond delay="0"/>
                                          </p:stCondLst>
                                        </p:cTn>
                                        <p:tgtEl>
                                          <p:spTgt spid="66"/>
                                        </p:tgtEl>
                                        <p:attrNameLst>
                                          <p:attrName>style.visibility</p:attrName>
                                        </p:attrNameLst>
                                      </p:cBhvr>
                                      <p:to>
                                        <p:strVal val="visible"/>
                                      </p:to>
                                    </p:set>
                                    <p:anim calcmode="lin" valueType="num">
                                      <p:cBhvr additive="base">
                                        <p:cTn id="135" dur="3000" fill="hold"/>
                                        <p:tgtEl>
                                          <p:spTgt spid="66"/>
                                        </p:tgtEl>
                                        <p:attrNameLst>
                                          <p:attrName>ppt_x</p:attrName>
                                        </p:attrNameLst>
                                      </p:cBhvr>
                                      <p:tavLst>
                                        <p:tav tm="0">
                                          <p:val>
                                            <p:strVal val="1+#ppt_w/2"/>
                                          </p:val>
                                        </p:tav>
                                        <p:tav tm="100000">
                                          <p:val>
                                            <p:strVal val="#ppt_x"/>
                                          </p:val>
                                        </p:tav>
                                      </p:tavLst>
                                    </p:anim>
                                    <p:anim calcmode="lin" valueType="num">
                                      <p:cBhvr additive="base">
                                        <p:cTn id="136" dur="3000" fill="hold"/>
                                        <p:tgtEl>
                                          <p:spTgt spid="66"/>
                                        </p:tgtEl>
                                        <p:attrNameLst>
                                          <p:attrName>ppt_y</p:attrName>
                                        </p:attrNameLst>
                                      </p:cBhvr>
                                      <p:tavLst>
                                        <p:tav tm="0">
                                          <p:val>
                                            <p:strVal val="1+#ppt_h/2"/>
                                          </p:val>
                                        </p:tav>
                                        <p:tav tm="100000">
                                          <p:val>
                                            <p:strVal val="#ppt_y"/>
                                          </p:val>
                                        </p:tav>
                                      </p:tavLst>
                                    </p:anim>
                                  </p:childTnLst>
                                </p:cTn>
                              </p:par>
                              <p:par>
                                <p:cTn id="137" presetID="2" presetClass="entr" presetSubtype="6" dur="3000" decel="100000" fill="hold" grpId="0" nodeType="withEffect">
                                  <p:stCondLst>
                                    <p:cond delay="0"/>
                                  </p:stCondLst>
                                  <p:childTnLst>
                                    <p:set>
                                      <p:cBhvr>
                                        <p:cTn id="138" dur="1" fill="hold">
                                          <p:stCondLst>
                                            <p:cond delay="0"/>
                                          </p:stCondLst>
                                        </p:cTn>
                                        <p:tgtEl>
                                          <p:spTgt spid="65"/>
                                        </p:tgtEl>
                                        <p:attrNameLst>
                                          <p:attrName>style.visibility</p:attrName>
                                        </p:attrNameLst>
                                      </p:cBhvr>
                                      <p:to>
                                        <p:strVal val="visible"/>
                                      </p:to>
                                    </p:set>
                                    <p:anim calcmode="lin" valueType="num">
                                      <p:cBhvr additive="base">
                                        <p:cTn id="139" dur="3000" fill="hold"/>
                                        <p:tgtEl>
                                          <p:spTgt spid="65"/>
                                        </p:tgtEl>
                                        <p:attrNameLst>
                                          <p:attrName>ppt_x</p:attrName>
                                        </p:attrNameLst>
                                      </p:cBhvr>
                                      <p:tavLst>
                                        <p:tav tm="0">
                                          <p:val>
                                            <p:strVal val="1+#ppt_w/2"/>
                                          </p:val>
                                        </p:tav>
                                        <p:tav tm="100000">
                                          <p:val>
                                            <p:strVal val="#ppt_x"/>
                                          </p:val>
                                        </p:tav>
                                      </p:tavLst>
                                    </p:anim>
                                    <p:anim calcmode="lin" valueType="num">
                                      <p:cBhvr additive="base">
                                        <p:cTn id="140" dur="3000" fill="hold"/>
                                        <p:tgtEl>
                                          <p:spTgt spid="6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animBg="1"/>
      <p:bldP spid="49" grpId="0" animBg="1"/>
      <p:bldP spid="41" grpId="0" animBg="1"/>
      <p:bldP spid="42" grpId="0" animBg="1"/>
      <p:bldP spid="43" grpId="0" animBg="1"/>
      <p:bldP spid="28" grpId="0" animBg="1"/>
      <p:bldP spid="29" grpId="0" animBg="1"/>
      <p:bldP spid="30" grpId="0" animBg="1"/>
      <p:bldP spid="31" grpId="0" animBg="1"/>
      <p:bldP spid="16" grpId="0" animBg="1"/>
      <p:bldP spid="17" grpId="0" animBg="1"/>
      <p:bldP spid="18" grpId="0" animBg="1"/>
      <p:bldP spid="19" grpId="0" animBg="1"/>
      <p:bldP spid="20" grpId="0" animBg="1"/>
      <p:bldP spid="2" grpId="0" animBg="1"/>
      <p:bldP spid="4" grpId="0" animBg="1"/>
      <p:bldP spid="5" grpId="0" animBg="1"/>
      <p:bldP spid="6" grpId="0" animBg="1"/>
      <p:bldP spid="7" grpId="0" animBg="1"/>
      <p:bldP spid="8" grpId="0" animBg="1"/>
      <p:bldP spid="10" grpId="0" animBg="1"/>
      <p:bldP spid="11" grpId="0" animBg="1"/>
      <p:bldP spid="12" grpId="0" animBg="1"/>
      <p:bldP spid="13" grpId="0" animBg="1"/>
      <p:bldP spid="14" grpId="0" animBg="1"/>
      <p:bldP spid="53" grpId="0" animBg="1"/>
      <p:bldP spid="54" grpId="0" animBg="1"/>
      <p:bldP spid="55" grpId="0" animBg="1"/>
      <p:bldP spid="56" grpId="0" animBg="1"/>
      <p:bldP spid="59" grpId="0" animBg="1"/>
      <p:bldP spid="60" grpId="0" animBg="1"/>
      <p:bldP spid="61" grpId="0" animBg="1"/>
      <p:bldP spid="65" grpId="0" animBg="1"/>
      <p:bldP spid="66" grpId="0" animBg="1"/>
    </p:bld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6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B13DB9B-D378-4E6B-8FA4-452DF397F209}"/>
              </a:ext>
            </a:extLst>
          </p:cNvPr>
          <p:cNvSpPr>
            <a:spLocks noGrp="1"/>
          </p:cNvSpPr>
          <p:nvPr>
            <p:ph type="pic" sz="quarter" idx="16"/>
          </p:nvPr>
        </p:nvSpPr>
        <p:spPr>
          <a:xfrm>
            <a:off x="6096000" y="-1"/>
            <a:ext cx="5314258" cy="6858000"/>
          </a:xfrm>
          <a:custGeom>
            <a:avLst/>
            <a:gdLst>
              <a:gd name="connsiteX0" fmla="*/ 0 w 10629900"/>
              <a:gd name="connsiteY0" fmla="*/ 0 h 13715999"/>
              <a:gd name="connsiteX1" fmla="*/ 10629900 w 10629900"/>
              <a:gd name="connsiteY1" fmla="*/ 0 h 13715999"/>
              <a:gd name="connsiteX2" fmla="*/ 10629900 w 10629900"/>
              <a:gd name="connsiteY2" fmla="*/ 13715999 h 13715999"/>
              <a:gd name="connsiteX3" fmla="*/ 0 w 10629900"/>
              <a:gd name="connsiteY3" fmla="*/ 13715999 h 13715999"/>
            </a:gdLst>
            <a:ahLst/>
            <a:cxnLst>
              <a:cxn ang="0">
                <a:pos x="connsiteX0" y="connsiteY0"/>
              </a:cxn>
              <a:cxn ang="0">
                <a:pos x="connsiteX1" y="connsiteY1"/>
              </a:cxn>
              <a:cxn ang="0">
                <a:pos x="connsiteX2" y="connsiteY2"/>
              </a:cxn>
              <a:cxn ang="0">
                <a:pos x="connsiteX3" y="connsiteY3"/>
              </a:cxn>
            </a:cxnLst>
            <a:rect l="l" t="t" r="r" b="b"/>
            <a:pathLst>
              <a:path w="10629900" h="13715999">
                <a:moveTo>
                  <a:pt x="0" y="0"/>
                </a:moveTo>
                <a:lnTo>
                  <a:pt x="10629900" y="0"/>
                </a:lnTo>
                <a:lnTo>
                  <a:pt x="10629900" y="13715999"/>
                </a:lnTo>
                <a:lnTo>
                  <a:pt x="0" y="13715999"/>
                </a:ln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Tree>
    <p:extLst>
      <p:ext uri="{BB962C8B-B14F-4D97-AF65-F5344CB8AC3E}">
        <p14:creationId xmlns:p14="http://schemas.microsoft.com/office/powerpoint/2010/main" val="3906192764"/>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1" dur="2000" decel="10000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2000" fill="hold"/>
                                        <p:tgtEl>
                                          <p:spTgt spid="4"/>
                                        </p:tgtEl>
                                        <p:attrNameLst>
                                          <p:attrName>ppt_x</p:attrName>
                                        </p:attrNameLst>
                                      </p:cBhvr>
                                      <p:tavLst>
                                        <p:tav tm="0">
                                          <p:val>
                                            <p:strVal val="#ppt_x"/>
                                          </p:val>
                                        </p:tav>
                                        <p:tav tm="100000">
                                          <p:val>
                                            <p:strVal val="#ppt_x"/>
                                          </p:val>
                                        </p:tav>
                                      </p:tavLst>
                                    </p:anim>
                                    <p:anim calcmode="lin" valueType="num">
                                      <p:cBhvr additive="base">
                                        <p:cTn id="8" dur="2000" fill="hold"/>
                                        <p:tgtEl>
                                          <p:spTgt spid="4"/>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7_Custom Layou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CD2B06C0-CBE8-405B-8A49-1EDA08527EB6}"/>
              </a:ext>
            </a:extLst>
          </p:cNvPr>
          <p:cNvSpPr>
            <a:spLocks noGrp="1"/>
          </p:cNvSpPr>
          <p:nvPr>
            <p:ph type="pic" sz="quarter" idx="16"/>
          </p:nvPr>
        </p:nvSpPr>
        <p:spPr>
          <a:xfrm>
            <a:off x="1566817" y="1035169"/>
            <a:ext cx="3476803" cy="4917057"/>
          </a:xfrm>
          <a:custGeom>
            <a:avLst/>
            <a:gdLst>
              <a:gd name="connsiteX0" fmla="*/ 0 w 10629900"/>
              <a:gd name="connsiteY0" fmla="*/ 0 h 13715999"/>
              <a:gd name="connsiteX1" fmla="*/ 10629900 w 10629900"/>
              <a:gd name="connsiteY1" fmla="*/ 0 h 13715999"/>
              <a:gd name="connsiteX2" fmla="*/ 10629900 w 10629900"/>
              <a:gd name="connsiteY2" fmla="*/ 13715999 h 13715999"/>
              <a:gd name="connsiteX3" fmla="*/ 0 w 10629900"/>
              <a:gd name="connsiteY3" fmla="*/ 13715999 h 13715999"/>
            </a:gdLst>
            <a:ahLst/>
            <a:cxnLst>
              <a:cxn ang="0">
                <a:pos x="connsiteX0" y="connsiteY0"/>
              </a:cxn>
              <a:cxn ang="0">
                <a:pos x="connsiteX1" y="connsiteY1"/>
              </a:cxn>
              <a:cxn ang="0">
                <a:pos x="connsiteX2" y="connsiteY2"/>
              </a:cxn>
              <a:cxn ang="0">
                <a:pos x="connsiteX3" y="connsiteY3"/>
              </a:cxn>
            </a:cxnLst>
            <a:rect l="l" t="t" r="r" b="b"/>
            <a:pathLst>
              <a:path w="10629900" h="13715999">
                <a:moveTo>
                  <a:pt x="0" y="0"/>
                </a:moveTo>
                <a:lnTo>
                  <a:pt x="10629900" y="0"/>
                </a:lnTo>
                <a:lnTo>
                  <a:pt x="10629900" y="13715999"/>
                </a:lnTo>
                <a:lnTo>
                  <a:pt x="0" y="13715999"/>
                </a:ln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Tree>
    <p:extLst>
      <p:ext uri="{BB962C8B-B14F-4D97-AF65-F5344CB8AC3E}">
        <p14:creationId xmlns:p14="http://schemas.microsoft.com/office/powerpoint/2010/main" val="2058173312"/>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1" dur="2000" decel="100000" fill="hold" grpId="0" nodeType="withEffect">
                                  <p:stCondLst>
                                    <p:cond delay="100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2000" fill="hold"/>
                                        <p:tgtEl>
                                          <p:spTgt spid="3"/>
                                        </p:tgtEl>
                                        <p:attrNameLst>
                                          <p:attrName>ppt_x</p:attrName>
                                        </p:attrNameLst>
                                      </p:cBhvr>
                                      <p:tavLst>
                                        <p:tav tm="0">
                                          <p:val>
                                            <p:strVal val="#ppt_x"/>
                                          </p:val>
                                        </p:tav>
                                        <p:tav tm="100000">
                                          <p:val>
                                            <p:strVal val="#ppt_x"/>
                                          </p:val>
                                        </p:tav>
                                      </p:tavLst>
                                    </p:anim>
                                    <p:anim calcmode="lin" valueType="num">
                                      <p:cBhvr additive="base">
                                        <p:cTn id="8" dur="2000" fill="hold"/>
                                        <p:tgtEl>
                                          <p:spTgt spid="3"/>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8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CB2A7E9-3614-483C-A98C-8ECE0BE80B01}"/>
              </a:ext>
            </a:extLst>
          </p:cNvPr>
          <p:cNvSpPr>
            <a:spLocks noGrp="1"/>
          </p:cNvSpPr>
          <p:nvPr>
            <p:ph type="pic" sz="quarter" idx="16"/>
          </p:nvPr>
        </p:nvSpPr>
        <p:spPr>
          <a:xfrm>
            <a:off x="781742" y="647700"/>
            <a:ext cx="10628516" cy="5524500"/>
          </a:xfrm>
          <a:custGeom>
            <a:avLst/>
            <a:gdLst>
              <a:gd name="connsiteX0" fmla="*/ 0 w 21259800"/>
              <a:gd name="connsiteY0" fmla="*/ 0 h 11049000"/>
              <a:gd name="connsiteX1" fmla="*/ 21259800 w 21259800"/>
              <a:gd name="connsiteY1" fmla="*/ 0 h 11049000"/>
              <a:gd name="connsiteX2" fmla="*/ 21259800 w 21259800"/>
              <a:gd name="connsiteY2" fmla="*/ 11049000 h 11049000"/>
              <a:gd name="connsiteX3" fmla="*/ 0 w 21259800"/>
              <a:gd name="connsiteY3" fmla="*/ 11049000 h 11049000"/>
            </a:gdLst>
            <a:ahLst/>
            <a:cxnLst>
              <a:cxn ang="0">
                <a:pos x="connsiteX0" y="connsiteY0"/>
              </a:cxn>
              <a:cxn ang="0">
                <a:pos x="connsiteX1" y="connsiteY1"/>
              </a:cxn>
              <a:cxn ang="0">
                <a:pos x="connsiteX2" y="connsiteY2"/>
              </a:cxn>
              <a:cxn ang="0">
                <a:pos x="connsiteX3" y="connsiteY3"/>
              </a:cxn>
            </a:cxnLst>
            <a:rect l="l" t="t" r="r" b="b"/>
            <a:pathLst>
              <a:path w="21259800" h="11049000">
                <a:moveTo>
                  <a:pt x="0" y="0"/>
                </a:moveTo>
                <a:lnTo>
                  <a:pt x="21259800" y="0"/>
                </a:lnTo>
                <a:lnTo>
                  <a:pt x="21259800" y="11049000"/>
                </a:lnTo>
                <a:lnTo>
                  <a:pt x="0" y="11049000"/>
                </a:ln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Tree>
    <p:extLst>
      <p:ext uri="{BB962C8B-B14F-4D97-AF65-F5344CB8AC3E}">
        <p14:creationId xmlns:p14="http://schemas.microsoft.com/office/powerpoint/2010/main" val="3552230704"/>
      </p:ext>
    </p:extLst>
  </p:cSld>
  <p:clrMapOvr>
    <a:masterClrMapping/>
  </p:clrMapOvr>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9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CB2A7E9-3614-483C-A98C-8ECE0BE80B01}"/>
              </a:ext>
            </a:extLst>
          </p:cNvPr>
          <p:cNvSpPr>
            <a:spLocks noGrp="1"/>
          </p:cNvSpPr>
          <p:nvPr>
            <p:ph type="pic" sz="quarter" idx="16"/>
          </p:nvPr>
        </p:nvSpPr>
        <p:spPr>
          <a:xfrm>
            <a:off x="3616788" y="647700"/>
            <a:ext cx="7793470" cy="5524500"/>
          </a:xfrm>
          <a:custGeom>
            <a:avLst/>
            <a:gdLst>
              <a:gd name="connsiteX0" fmla="*/ 0 w 21259800"/>
              <a:gd name="connsiteY0" fmla="*/ 0 h 11049000"/>
              <a:gd name="connsiteX1" fmla="*/ 21259800 w 21259800"/>
              <a:gd name="connsiteY1" fmla="*/ 0 h 11049000"/>
              <a:gd name="connsiteX2" fmla="*/ 21259800 w 21259800"/>
              <a:gd name="connsiteY2" fmla="*/ 11049000 h 11049000"/>
              <a:gd name="connsiteX3" fmla="*/ 0 w 21259800"/>
              <a:gd name="connsiteY3" fmla="*/ 11049000 h 11049000"/>
            </a:gdLst>
            <a:ahLst/>
            <a:cxnLst>
              <a:cxn ang="0">
                <a:pos x="connsiteX0" y="connsiteY0"/>
              </a:cxn>
              <a:cxn ang="0">
                <a:pos x="connsiteX1" y="connsiteY1"/>
              </a:cxn>
              <a:cxn ang="0">
                <a:pos x="connsiteX2" y="connsiteY2"/>
              </a:cxn>
              <a:cxn ang="0">
                <a:pos x="connsiteX3" y="connsiteY3"/>
              </a:cxn>
            </a:cxnLst>
            <a:rect l="l" t="t" r="r" b="b"/>
            <a:pathLst>
              <a:path w="21259800" h="11049000">
                <a:moveTo>
                  <a:pt x="0" y="0"/>
                </a:moveTo>
                <a:lnTo>
                  <a:pt x="21259800" y="0"/>
                </a:lnTo>
                <a:lnTo>
                  <a:pt x="21259800" y="11049000"/>
                </a:lnTo>
                <a:lnTo>
                  <a:pt x="0" y="11049000"/>
                </a:ln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Tree>
    <p:extLst>
      <p:ext uri="{BB962C8B-B14F-4D97-AF65-F5344CB8AC3E}">
        <p14:creationId xmlns:p14="http://schemas.microsoft.com/office/powerpoint/2010/main" val="2838576860"/>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8" dur="1900" decel="10000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900" fill="hold"/>
                                        <p:tgtEl>
                                          <p:spTgt spid="4"/>
                                        </p:tgtEl>
                                        <p:attrNameLst>
                                          <p:attrName>ppt_x</p:attrName>
                                        </p:attrNameLst>
                                      </p:cBhvr>
                                      <p:tavLst>
                                        <p:tav tm="0">
                                          <p:val>
                                            <p:strVal val="0-#ppt_w/2"/>
                                          </p:val>
                                        </p:tav>
                                        <p:tav tm="100000">
                                          <p:val>
                                            <p:strVal val="#ppt_x"/>
                                          </p:val>
                                        </p:tav>
                                      </p:tavLst>
                                    </p:anim>
                                    <p:anim calcmode="lin" valueType="num">
                                      <p:cBhvr additive="base">
                                        <p:cTn id="8" dur="190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20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90EE7DA-954F-470F-B4FB-970B10427B29}"/>
              </a:ext>
            </a:extLst>
          </p:cNvPr>
          <p:cNvSpPr>
            <a:spLocks noGrp="1"/>
          </p:cNvSpPr>
          <p:nvPr>
            <p:ph type="pic" sz="quarter" idx="16"/>
          </p:nvPr>
        </p:nvSpPr>
        <p:spPr>
          <a:xfrm>
            <a:off x="4526197" y="1082616"/>
            <a:ext cx="3139606" cy="4692770"/>
          </a:xfrm>
          <a:custGeom>
            <a:avLst/>
            <a:gdLst>
              <a:gd name="connsiteX0" fmla="*/ 0 w 6280030"/>
              <a:gd name="connsiteY0" fmla="*/ 0 h 9385539"/>
              <a:gd name="connsiteX1" fmla="*/ 6280030 w 6280030"/>
              <a:gd name="connsiteY1" fmla="*/ 0 h 9385539"/>
              <a:gd name="connsiteX2" fmla="*/ 6280030 w 6280030"/>
              <a:gd name="connsiteY2" fmla="*/ 9385539 h 9385539"/>
              <a:gd name="connsiteX3" fmla="*/ 0 w 6280030"/>
              <a:gd name="connsiteY3" fmla="*/ 9385539 h 9385539"/>
            </a:gdLst>
            <a:ahLst/>
            <a:cxnLst>
              <a:cxn ang="0">
                <a:pos x="connsiteX0" y="connsiteY0"/>
              </a:cxn>
              <a:cxn ang="0">
                <a:pos x="connsiteX1" y="connsiteY1"/>
              </a:cxn>
              <a:cxn ang="0">
                <a:pos x="connsiteX2" y="connsiteY2"/>
              </a:cxn>
              <a:cxn ang="0">
                <a:pos x="connsiteX3" y="connsiteY3"/>
              </a:cxn>
            </a:cxnLst>
            <a:rect l="l" t="t" r="r" b="b"/>
            <a:pathLst>
              <a:path w="6280030" h="9385539">
                <a:moveTo>
                  <a:pt x="0" y="0"/>
                </a:moveTo>
                <a:lnTo>
                  <a:pt x="6280030" y="0"/>
                </a:lnTo>
                <a:lnTo>
                  <a:pt x="6280030" y="9385539"/>
                </a:lnTo>
                <a:lnTo>
                  <a:pt x="0" y="9385539"/>
                </a:lnTo>
                <a:close/>
              </a:path>
            </a:pathLst>
          </a:custGeom>
          <a:pattFill prst="pct60">
            <a:fgClr>
              <a:schemeClr val="bg1"/>
            </a:fgClr>
            <a:bgClr>
              <a:schemeClr val="bg1">
                <a:lumMod val="85000"/>
              </a:schemeClr>
            </a:bgClr>
          </a:pattFill>
          <a:effectLst>
            <a:outerShdw dist="266700" dir="2700000" algn="tl" rotWithShape="0">
              <a:prstClr val="black">
                <a:alpha val="23000"/>
              </a:prstClr>
            </a:outerShdw>
          </a:effectLst>
        </p:spPr>
        <p:txBody>
          <a:bodyPr wrap="square" anchor="ctr">
            <a:noAutofit/>
          </a:bodyPr>
          <a:lstStyle>
            <a:lvl1pPr marL="0" indent="0" algn="ctr">
              <a:buFontTx/>
              <a:buNone/>
              <a:defRPr sz="1200"/>
            </a:lvl1pPr>
          </a:lstStyle>
          <a:p>
            <a:endParaRPr lang="en-US"/>
          </a:p>
        </p:txBody>
      </p:sp>
    </p:spTree>
    <p:extLst>
      <p:ext uri="{BB962C8B-B14F-4D97-AF65-F5344CB8AC3E}">
        <p14:creationId xmlns:p14="http://schemas.microsoft.com/office/powerpoint/2010/main" val="3227649590"/>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42" presetClass="path" presetSubtype="0" dur="2000" repeatCount="indefinite" accel="50000" decel="50000" autoRev="1" fill="hold" grpId="0" nodeType="withEffect">
                                  <p:stCondLst>
                                    <p:cond delay="0"/>
                                  </p:stCondLst>
                                  <p:childTnLst>
                                    <p:animMotion origin="layout" path="M 5.55112E-17 0 L -0.02246 -0.05093" pathEditMode="relative" rAng="0" ptsTypes="AA">
                                      <p:cBhvr>
                                        <p:cTn id="6" dur="2000" fill="hold"/>
                                        <p:tgtEl>
                                          <p:spTgt spid="4"/>
                                        </p:tgtEl>
                                        <p:attrNameLst>
                                          <p:attrName>ppt_x</p:attrName>
                                          <p:attrName>ppt_y</p:attrName>
                                        </p:attrNameLst>
                                      </p:cBhvr>
                                      <p:rCtr x="-1126" y="-254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21_Custom Layout">
    <p:spTree>
      <p:nvGrpSpPr>
        <p:cNvPr id="1" name=""/>
        <p:cNvGrpSpPr/>
        <p:nvPr/>
      </p:nvGrpSpPr>
      <p:grpSpPr>
        <a:xfrm>
          <a:off x="0" y="0"/>
          <a:ext cx="0" cy="0"/>
          <a:chOff x="0" y="0"/>
          <a:chExt cx="0" cy="0"/>
        </a:xfrm>
      </p:grpSpPr>
      <p:sp>
        <p:nvSpPr>
          <p:cNvPr id="33" name="Picture Placeholder 32">
            <a:extLst>
              <a:ext uri="{FF2B5EF4-FFF2-40B4-BE49-F238E27FC236}">
                <a16:creationId xmlns:a16="http://schemas.microsoft.com/office/drawing/2014/main" id="{8B8D9FE0-2BB0-4951-87E4-EC751C0312CD}"/>
              </a:ext>
            </a:extLst>
          </p:cNvPr>
          <p:cNvSpPr>
            <a:spLocks noGrp="1"/>
          </p:cNvSpPr>
          <p:nvPr>
            <p:ph type="pic" sz="quarter" idx="10"/>
          </p:nvPr>
        </p:nvSpPr>
        <p:spPr>
          <a:xfrm>
            <a:off x="781742" y="647700"/>
            <a:ext cx="5314258" cy="5524500"/>
          </a:xfrm>
          <a:custGeom>
            <a:avLst/>
            <a:gdLst>
              <a:gd name="connsiteX0" fmla="*/ 0 w 10172699"/>
              <a:gd name="connsiteY0" fmla="*/ 0 h 11049000"/>
              <a:gd name="connsiteX1" fmla="*/ 10172699 w 10172699"/>
              <a:gd name="connsiteY1" fmla="*/ 0 h 11049000"/>
              <a:gd name="connsiteX2" fmla="*/ 10172699 w 10172699"/>
              <a:gd name="connsiteY2" fmla="*/ 11049000 h 11049000"/>
              <a:gd name="connsiteX3" fmla="*/ 0 w 10172699"/>
              <a:gd name="connsiteY3" fmla="*/ 11049000 h 11049000"/>
            </a:gdLst>
            <a:ahLst/>
            <a:cxnLst>
              <a:cxn ang="0">
                <a:pos x="connsiteX0" y="connsiteY0"/>
              </a:cxn>
              <a:cxn ang="0">
                <a:pos x="connsiteX1" y="connsiteY1"/>
              </a:cxn>
              <a:cxn ang="0">
                <a:pos x="connsiteX2" y="connsiteY2"/>
              </a:cxn>
              <a:cxn ang="0">
                <a:pos x="connsiteX3" y="connsiteY3"/>
              </a:cxn>
            </a:cxnLst>
            <a:rect l="l" t="t" r="r" b="b"/>
            <a:pathLst>
              <a:path w="10172699" h="11049000">
                <a:moveTo>
                  <a:pt x="0" y="0"/>
                </a:moveTo>
                <a:lnTo>
                  <a:pt x="10172699" y="0"/>
                </a:lnTo>
                <a:lnTo>
                  <a:pt x="10172699" y="11049000"/>
                </a:lnTo>
                <a:lnTo>
                  <a:pt x="0" y="11049000"/>
                </a:lnTo>
                <a:close/>
              </a:path>
            </a:pathLst>
          </a:custGeom>
          <a:pattFill prst="pct60">
            <a:fgClr>
              <a:schemeClr val="bg1"/>
            </a:fgClr>
            <a:bgClr>
              <a:schemeClr val="bg1">
                <a:lumMod val="85000"/>
              </a:schemeClr>
            </a:bgClr>
          </a:pattFill>
        </p:spPr>
        <p:txBody>
          <a:bodyPr wrap="square">
            <a:noAutofit/>
          </a:bodyPr>
          <a:lstStyle/>
          <a:p>
            <a:endParaRPr lang="en-US"/>
          </a:p>
        </p:txBody>
      </p:sp>
      <p:sp>
        <p:nvSpPr>
          <p:cNvPr id="35" name="Picture Placeholder 34">
            <a:extLst>
              <a:ext uri="{FF2B5EF4-FFF2-40B4-BE49-F238E27FC236}">
                <a16:creationId xmlns:a16="http://schemas.microsoft.com/office/drawing/2014/main" id="{A70CBB4C-B5B4-4660-817C-385F23628B9D}"/>
              </a:ext>
            </a:extLst>
          </p:cNvPr>
          <p:cNvSpPr>
            <a:spLocks noGrp="1"/>
          </p:cNvSpPr>
          <p:nvPr>
            <p:ph type="pic" sz="quarter" idx="11"/>
          </p:nvPr>
        </p:nvSpPr>
        <p:spPr>
          <a:xfrm>
            <a:off x="6096000" y="647700"/>
            <a:ext cx="5314258" cy="5524500"/>
          </a:xfrm>
          <a:custGeom>
            <a:avLst/>
            <a:gdLst>
              <a:gd name="connsiteX0" fmla="*/ 0 w 10858500"/>
              <a:gd name="connsiteY0" fmla="*/ 0 h 11049000"/>
              <a:gd name="connsiteX1" fmla="*/ 10858500 w 10858500"/>
              <a:gd name="connsiteY1" fmla="*/ 0 h 11049000"/>
              <a:gd name="connsiteX2" fmla="*/ 10858500 w 10858500"/>
              <a:gd name="connsiteY2" fmla="*/ 11049000 h 11049000"/>
              <a:gd name="connsiteX3" fmla="*/ 0 w 10858500"/>
              <a:gd name="connsiteY3" fmla="*/ 11049000 h 11049000"/>
            </a:gdLst>
            <a:ahLst/>
            <a:cxnLst>
              <a:cxn ang="0">
                <a:pos x="connsiteX0" y="connsiteY0"/>
              </a:cxn>
              <a:cxn ang="0">
                <a:pos x="connsiteX1" y="connsiteY1"/>
              </a:cxn>
              <a:cxn ang="0">
                <a:pos x="connsiteX2" y="connsiteY2"/>
              </a:cxn>
              <a:cxn ang="0">
                <a:pos x="connsiteX3" y="connsiteY3"/>
              </a:cxn>
            </a:cxnLst>
            <a:rect l="l" t="t" r="r" b="b"/>
            <a:pathLst>
              <a:path w="10858500" h="11049000">
                <a:moveTo>
                  <a:pt x="0" y="0"/>
                </a:moveTo>
                <a:lnTo>
                  <a:pt x="10858500" y="0"/>
                </a:lnTo>
                <a:lnTo>
                  <a:pt x="10858500" y="11049000"/>
                </a:lnTo>
                <a:lnTo>
                  <a:pt x="0" y="11049000"/>
                </a:lnTo>
                <a:close/>
              </a:path>
            </a:pathLst>
          </a:custGeom>
          <a:pattFill prst="pct60">
            <a:fgClr>
              <a:schemeClr val="bg1"/>
            </a:fgClr>
            <a:bgClr>
              <a:schemeClr val="bg1">
                <a:lumMod val="85000"/>
              </a:schemeClr>
            </a:bgClr>
          </a:pattFill>
        </p:spPr>
        <p:txBody>
          <a:bodyPr wrap="square">
            <a:noAutofit/>
          </a:bodyPr>
          <a:lstStyle/>
          <a:p>
            <a:endParaRPr lang="en-US"/>
          </a:p>
        </p:txBody>
      </p:sp>
    </p:spTree>
    <p:extLst>
      <p:ext uri="{BB962C8B-B14F-4D97-AF65-F5344CB8AC3E}">
        <p14:creationId xmlns:p14="http://schemas.microsoft.com/office/powerpoint/2010/main" val="2967539557"/>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4" dur="1700" decel="100000" fill="hold" grpId="0" nodeType="withEffect">
                                  <p:stCondLst>
                                    <p:cond delay="0"/>
                                  </p:stCondLst>
                                  <p:childTnLst>
                                    <p:set>
                                      <p:cBhvr>
                                        <p:cTn id="6" dur="1" fill="hold">
                                          <p:stCondLst>
                                            <p:cond delay="0"/>
                                          </p:stCondLst>
                                        </p:cTn>
                                        <p:tgtEl>
                                          <p:spTgt spid="33"/>
                                        </p:tgtEl>
                                        <p:attrNameLst>
                                          <p:attrName>style.visibility</p:attrName>
                                        </p:attrNameLst>
                                      </p:cBhvr>
                                      <p:to>
                                        <p:strVal val="visible"/>
                                      </p:to>
                                    </p:set>
                                    <p:anim calcmode="lin" valueType="num">
                                      <p:cBhvr additive="base">
                                        <p:cTn id="7" dur="1700" fill="hold"/>
                                        <p:tgtEl>
                                          <p:spTgt spid="33"/>
                                        </p:tgtEl>
                                        <p:attrNameLst>
                                          <p:attrName>ppt_x</p:attrName>
                                        </p:attrNameLst>
                                      </p:cBhvr>
                                      <p:tavLst>
                                        <p:tav tm="0">
                                          <p:val>
                                            <p:strVal val="#ppt_x"/>
                                          </p:val>
                                        </p:tav>
                                        <p:tav tm="100000">
                                          <p:val>
                                            <p:strVal val="#ppt_x"/>
                                          </p:val>
                                        </p:tav>
                                      </p:tavLst>
                                    </p:anim>
                                    <p:anim calcmode="lin" valueType="num">
                                      <p:cBhvr additive="base">
                                        <p:cTn id="8" dur="1700" fill="hold"/>
                                        <p:tgtEl>
                                          <p:spTgt spid="33"/>
                                        </p:tgtEl>
                                        <p:attrNameLst>
                                          <p:attrName>ppt_y</p:attrName>
                                        </p:attrNameLst>
                                      </p:cBhvr>
                                      <p:tavLst>
                                        <p:tav tm="0">
                                          <p:val>
                                            <p:strVal val="1+#ppt_h/2"/>
                                          </p:val>
                                        </p:tav>
                                        <p:tav tm="100000">
                                          <p:val>
                                            <p:strVal val="#ppt_y"/>
                                          </p:val>
                                        </p:tav>
                                      </p:tavLst>
                                    </p:anim>
                                  </p:childTnLst>
                                </p:cTn>
                              </p:par>
                              <p:par>
                                <p:cTn id="9" presetID="2" presetClass="entr" presetSubtype="1" dur="1700" decel="100000" fill="hold" grpId="0" nodeType="withEffect">
                                  <p:stCondLst>
                                    <p:cond delay="0"/>
                                  </p:stCondLst>
                                  <p:childTnLst>
                                    <p:set>
                                      <p:cBhvr>
                                        <p:cTn id="10" dur="1" fill="hold">
                                          <p:stCondLst>
                                            <p:cond delay="0"/>
                                          </p:stCondLst>
                                        </p:cTn>
                                        <p:tgtEl>
                                          <p:spTgt spid="35"/>
                                        </p:tgtEl>
                                        <p:attrNameLst>
                                          <p:attrName>style.visibility</p:attrName>
                                        </p:attrNameLst>
                                      </p:cBhvr>
                                      <p:to>
                                        <p:strVal val="visible"/>
                                      </p:to>
                                    </p:set>
                                    <p:anim calcmode="lin" valueType="num">
                                      <p:cBhvr additive="base">
                                        <p:cTn id="11" dur="1700" fill="hold"/>
                                        <p:tgtEl>
                                          <p:spTgt spid="35"/>
                                        </p:tgtEl>
                                        <p:attrNameLst>
                                          <p:attrName>ppt_x</p:attrName>
                                        </p:attrNameLst>
                                      </p:cBhvr>
                                      <p:tavLst>
                                        <p:tav tm="0">
                                          <p:val>
                                            <p:strVal val="#ppt_x"/>
                                          </p:val>
                                        </p:tav>
                                        <p:tav tm="100000">
                                          <p:val>
                                            <p:strVal val="#ppt_x"/>
                                          </p:val>
                                        </p:tav>
                                      </p:tavLst>
                                    </p:anim>
                                    <p:anim calcmode="lin" valueType="num">
                                      <p:cBhvr additive="base">
                                        <p:cTn id="12" dur="1700" fill="hold"/>
                                        <p:tgtEl>
                                          <p:spTgt spid="35"/>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animBg="1"/>
      <p:bldP spid="35" grpId="0" animBg="1"/>
    </p:bld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24_Title Slide">
    <p:spTree>
      <p:nvGrpSpPr>
        <p:cNvPr id="1" name=""/>
        <p:cNvGrpSpPr/>
        <p:nvPr/>
      </p:nvGrpSpPr>
      <p:grpSpPr>
        <a:xfrm>
          <a:off x="0" y="0"/>
          <a:ext cx="0" cy="0"/>
          <a:chOff x="0" y="0"/>
          <a:chExt cx="0" cy="0"/>
        </a:xfrm>
      </p:grpSpPr>
      <p:sp>
        <p:nvSpPr>
          <p:cNvPr id="34" name="Picture Placeholder 33">
            <a:extLst>
              <a:ext uri="{FF2B5EF4-FFF2-40B4-BE49-F238E27FC236}">
                <a16:creationId xmlns:a16="http://schemas.microsoft.com/office/drawing/2014/main" id="{2E49EDA7-E0B3-44D6-ADA1-4C6DE88415FD}"/>
              </a:ext>
            </a:extLst>
          </p:cNvPr>
          <p:cNvSpPr>
            <a:spLocks noGrp="1"/>
          </p:cNvSpPr>
          <p:nvPr>
            <p:ph type="pic" sz="quarter" idx="11"/>
          </p:nvPr>
        </p:nvSpPr>
        <p:spPr>
          <a:xfrm>
            <a:off x="781742" y="3429762"/>
            <a:ext cx="3504744" cy="2743200"/>
          </a:xfrm>
          <a:custGeom>
            <a:avLst/>
            <a:gdLst>
              <a:gd name="connsiteX0" fmla="*/ 0 w 7010400"/>
              <a:gd name="connsiteY0" fmla="*/ 0 h 5486400"/>
              <a:gd name="connsiteX1" fmla="*/ 7010400 w 7010400"/>
              <a:gd name="connsiteY1" fmla="*/ 0 h 5486400"/>
              <a:gd name="connsiteX2" fmla="*/ 7010400 w 7010400"/>
              <a:gd name="connsiteY2" fmla="*/ 5486400 h 5486400"/>
              <a:gd name="connsiteX3" fmla="*/ 0 w 7010400"/>
              <a:gd name="connsiteY3" fmla="*/ 5486400 h 5486400"/>
            </a:gdLst>
            <a:ahLst/>
            <a:cxnLst>
              <a:cxn ang="0">
                <a:pos x="connsiteX0" y="connsiteY0"/>
              </a:cxn>
              <a:cxn ang="0">
                <a:pos x="connsiteX1" y="connsiteY1"/>
              </a:cxn>
              <a:cxn ang="0">
                <a:pos x="connsiteX2" y="connsiteY2"/>
              </a:cxn>
              <a:cxn ang="0">
                <a:pos x="connsiteX3" y="connsiteY3"/>
              </a:cxn>
            </a:cxnLst>
            <a:rect l="l" t="t" r="r" b="b"/>
            <a:pathLst>
              <a:path w="7010400" h="5486400">
                <a:moveTo>
                  <a:pt x="0" y="0"/>
                </a:moveTo>
                <a:lnTo>
                  <a:pt x="7010400" y="0"/>
                </a:lnTo>
                <a:lnTo>
                  <a:pt x="7010400" y="5486400"/>
                </a:lnTo>
                <a:lnTo>
                  <a:pt x="0" y="5486400"/>
                </a:lnTo>
                <a:close/>
              </a:path>
            </a:pathLst>
          </a:custGeom>
          <a:pattFill prst="pct60">
            <a:fgClr>
              <a:schemeClr val="bg1"/>
            </a:fgClr>
            <a:bgClr>
              <a:schemeClr val="bg1">
                <a:lumMod val="85000"/>
              </a:schemeClr>
            </a:bgClr>
          </a:pattFill>
        </p:spPr>
        <p:txBody>
          <a:bodyPr wrap="square" anchor="ctr">
            <a:noAutofit/>
          </a:bodyPr>
          <a:lstStyle>
            <a:lvl1pPr>
              <a:defRPr lang="en-US" sz="1200"/>
            </a:lvl1pPr>
          </a:lstStyle>
          <a:p>
            <a:pPr marL="0" lvl="0" indent="0" algn="ctr">
              <a:buFontTx/>
              <a:buNone/>
            </a:pPr>
            <a:endParaRPr lang="en-US"/>
          </a:p>
        </p:txBody>
      </p:sp>
      <p:sp>
        <p:nvSpPr>
          <p:cNvPr id="35" name="Picture Placeholder 34">
            <a:extLst>
              <a:ext uri="{FF2B5EF4-FFF2-40B4-BE49-F238E27FC236}">
                <a16:creationId xmlns:a16="http://schemas.microsoft.com/office/drawing/2014/main" id="{D3A46C86-1D5D-4D5A-81D6-35065A5DB85B}"/>
              </a:ext>
            </a:extLst>
          </p:cNvPr>
          <p:cNvSpPr>
            <a:spLocks noGrp="1"/>
          </p:cNvSpPr>
          <p:nvPr>
            <p:ph type="pic" sz="quarter" idx="12"/>
          </p:nvPr>
        </p:nvSpPr>
        <p:spPr>
          <a:xfrm>
            <a:off x="4343628" y="685038"/>
            <a:ext cx="3504744" cy="2743200"/>
          </a:xfrm>
          <a:custGeom>
            <a:avLst/>
            <a:gdLst>
              <a:gd name="connsiteX0" fmla="*/ 0 w 7010400"/>
              <a:gd name="connsiteY0" fmla="*/ 0 h 5486400"/>
              <a:gd name="connsiteX1" fmla="*/ 7010400 w 7010400"/>
              <a:gd name="connsiteY1" fmla="*/ 0 h 5486400"/>
              <a:gd name="connsiteX2" fmla="*/ 7010400 w 7010400"/>
              <a:gd name="connsiteY2" fmla="*/ 5486400 h 5486400"/>
              <a:gd name="connsiteX3" fmla="*/ 0 w 7010400"/>
              <a:gd name="connsiteY3" fmla="*/ 5486400 h 5486400"/>
            </a:gdLst>
            <a:ahLst/>
            <a:cxnLst>
              <a:cxn ang="0">
                <a:pos x="connsiteX0" y="connsiteY0"/>
              </a:cxn>
              <a:cxn ang="0">
                <a:pos x="connsiteX1" y="connsiteY1"/>
              </a:cxn>
              <a:cxn ang="0">
                <a:pos x="connsiteX2" y="connsiteY2"/>
              </a:cxn>
              <a:cxn ang="0">
                <a:pos x="connsiteX3" y="connsiteY3"/>
              </a:cxn>
            </a:cxnLst>
            <a:rect l="l" t="t" r="r" b="b"/>
            <a:pathLst>
              <a:path w="7010400" h="5486400">
                <a:moveTo>
                  <a:pt x="0" y="0"/>
                </a:moveTo>
                <a:lnTo>
                  <a:pt x="7010400" y="0"/>
                </a:lnTo>
                <a:lnTo>
                  <a:pt x="7010400" y="5486400"/>
                </a:lnTo>
                <a:lnTo>
                  <a:pt x="0" y="5486400"/>
                </a:lnTo>
                <a:close/>
              </a:path>
            </a:pathLst>
          </a:custGeom>
          <a:pattFill prst="pct60">
            <a:fgClr>
              <a:schemeClr val="bg1"/>
            </a:fgClr>
            <a:bgClr>
              <a:schemeClr val="bg1">
                <a:lumMod val="85000"/>
              </a:schemeClr>
            </a:bgClr>
          </a:pattFill>
        </p:spPr>
        <p:txBody>
          <a:bodyPr wrap="square" anchor="ctr">
            <a:noAutofit/>
          </a:bodyPr>
          <a:lstStyle>
            <a:lvl1pPr>
              <a:defRPr lang="en-US" sz="1200"/>
            </a:lvl1pPr>
          </a:lstStyle>
          <a:p>
            <a:pPr marL="0" lvl="0" indent="0" algn="ctr">
              <a:buFontTx/>
              <a:buNone/>
            </a:pPr>
            <a:endParaRPr lang="en-US"/>
          </a:p>
        </p:txBody>
      </p:sp>
      <p:sp>
        <p:nvSpPr>
          <p:cNvPr id="36" name="Picture Placeholder 35">
            <a:extLst>
              <a:ext uri="{FF2B5EF4-FFF2-40B4-BE49-F238E27FC236}">
                <a16:creationId xmlns:a16="http://schemas.microsoft.com/office/drawing/2014/main" id="{E7A46BF3-B94D-4FE7-864C-9D33C80DC724}"/>
              </a:ext>
            </a:extLst>
          </p:cNvPr>
          <p:cNvSpPr>
            <a:spLocks noGrp="1"/>
          </p:cNvSpPr>
          <p:nvPr>
            <p:ph type="pic" sz="quarter" idx="13"/>
          </p:nvPr>
        </p:nvSpPr>
        <p:spPr>
          <a:xfrm>
            <a:off x="7875262" y="3429762"/>
            <a:ext cx="3504744" cy="2743200"/>
          </a:xfrm>
          <a:custGeom>
            <a:avLst/>
            <a:gdLst>
              <a:gd name="connsiteX0" fmla="*/ 0 w 7010400"/>
              <a:gd name="connsiteY0" fmla="*/ 0 h 5486400"/>
              <a:gd name="connsiteX1" fmla="*/ 7010400 w 7010400"/>
              <a:gd name="connsiteY1" fmla="*/ 0 h 5486400"/>
              <a:gd name="connsiteX2" fmla="*/ 7010400 w 7010400"/>
              <a:gd name="connsiteY2" fmla="*/ 5486400 h 5486400"/>
              <a:gd name="connsiteX3" fmla="*/ 0 w 7010400"/>
              <a:gd name="connsiteY3" fmla="*/ 5486400 h 5486400"/>
            </a:gdLst>
            <a:ahLst/>
            <a:cxnLst>
              <a:cxn ang="0">
                <a:pos x="connsiteX0" y="connsiteY0"/>
              </a:cxn>
              <a:cxn ang="0">
                <a:pos x="connsiteX1" y="connsiteY1"/>
              </a:cxn>
              <a:cxn ang="0">
                <a:pos x="connsiteX2" y="connsiteY2"/>
              </a:cxn>
              <a:cxn ang="0">
                <a:pos x="connsiteX3" y="connsiteY3"/>
              </a:cxn>
            </a:cxnLst>
            <a:rect l="l" t="t" r="r" b="b"/>
            <a:pathLst>
              <a:path w="7010400" h="5486400">
                <a:moveTo>
                  <a:pt x="0" y="0"/>
                </a:moveTo>
                <a:lnTo>
                  <a:pt x="7010400" y="0"/>
                </a:lnTo>
                <a:lnTo>
                  <a:pt x="7010400" y="5486400"/>
                </a:lnTo>
                <a:lnTo>
                  <a:pt x="0" y="5486400"/>
                </a:lnTo>
                <a:close/>
              </a:path>
            </a:pathLst>
          </a:custGeom>
          <a:pattFill prst="pct60">
            <a:fgClr>
              <a:schemeClr val="bg1"/>
            </a:fgClr>
            <a:bgClr>
              <a:schemeClr val="bg1">
                <a:lumMod val="85000"/>
              </a:schemeClr>
            </a:bgClr>
          </a:pattFill>
        </p:spPr>
        <p:txBody>
          <a:bodyPr wrap="square" anchor="ctr">
            <a:noAutofit/>
          </a:bodyPr>
          <a:lstStyle>
            <a:lvl1pPr>
              <a:defRPr lang="en-US" sz="1200"/>
            </a:lvl1pPr>
          </a:lstStyle>
          <a:p>
            <a:pPr marL="0" lvl="0" indent="0" algn="ctr">
              <a:buFontTx/>
              <a:buNone/>
            </a:pPr>
            <a:endParaRPr lang="en-US"/>
          </a:p>
        </p:txBody>
      </p:sp>
    </p:spTree>
    <p:extLst>
      <p:ext uri="{BB962C8B-B14F-4D97-AF65-F5344CB8AC3E}">
        <p14:creationId xmlns:p14="http://schemas.microsoft.com/office/powerpoint/2010/main" val="3547586947"/>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4" dur="1000" decel="100000" fill="hold" grpId="0" nodeType="withEffect">
                                  <p:stCondLst>
                                    <p:cond delay="0"/>
                                  </p:stCondLst>
                                  <p:childTnLst>
                                    <p:set>
                                      <p:cBhvr>
                                        <p:cTn id="6" dur="1" fill="hold">
                                          <p:stCondLst>
                                            <p:cond delay="0"/>
                                          </p:stCondLst>
                                        </p:cTn>
                                        <p:tgtEl>
                                          <p:spTgt spid="34"/>
                                        </p:tgtEl>
                                        <p:attrNameLst>
                                          <p:attrName>style.visibility</p:attrName>
                                        </p:attrNameLst>
                                      </p:cBhvr>
                                      <p:to>
                                        <p:strVal val="visible"/>
                                      </p:to>
                                    </p:set>
                                    <p:anim calcmode="lin" valueType="num">
                                      <p:cBhvr additive="base">
                                        <p:cTn id="7" dur="1000" fill="hold"/>
                                        <p:tgtEl>
                                          <p:spTgt spid="34"/>
                                        </p:tgtEl>
                                        <p:attrNameLst>
                                          <p:attrName>ppt_x</p:attrName>
                                        </p:attrNameLst>
                                      </p:cBhvr>
                                      <p:tavLst>
                                        <p:tav tm="0">
                                          <p:val>
                                            <p:strVal val="#ppt_x"/>
                                          </p:val>
                                        </p:tav>
                                        <p:tav tm="100000">
                                          <p:val>
                                            <p:strVal val="#ppt_x"/>
                                          </p:val>
                                        </p:tav>
                                      </p:tavLst>
                                    </p:anim>
                                    <p:anim calcmode="lin" valueType="num">
                                      <p:cBhvr additive="base">
                                        <p:cTn id="8" dur="1000" fill="hold"/>
                                        <p:tgtEl>
                                          <p:spTgt spid="34"/>
                                        </p:tgtEl>
                                        <p:attrNameLst>
                                          <p:attrName>ppt_y</p:attrName>
                                        </p:attrNameLst>
                                      </p:cBhvr>
                                      <p:tavLst>
                                        <p:tav tm="0">
                                          <p:val>
                                            <p:strVal val="1+#ppt_h/2"/>
                                          </p:val>
                                        </p:tav>
                                        <p:tav tm="100000">
                                          <p:val>
                                            <p:strVal val="#ppt_y"/>
                                          </p:val>
                                        </p:tav>
                                      </p:tavLst>
                                    </p:anim>
                                  </p:childTnLst>
                                </p:cTn>
                              </p:par>
                              <p:par>
                                <p:cTn id="9" presetID="2" presetClass="entr" presetSubtype="1" dur="1000" decel="100000" fill="hold" grpId="0" nodeType="withEffect">
                                  <p:stCondLst>
                                    <p:cond delay="200"/>
                                  </p:stCondLst>
                                  <p:childTnLst>
                                    <p:set>
                                      <p:cBhvr>
                                        <p:cTn id="10" dur="1" fill="hold">
                                          <p:stCondLst>
                                            <p:cond delay="0"/>
                                          </p:stCondLst>
                                        </p:cTn>
                                        <p:tgtEl>
                                          <p:spTgt spid="35"/>
                                        </p:tgtEl>
                                        <p:attrNameLst>
                                          <p:attrName>style.visibility</p:attrName>
                                        </p:attrNameLst>
                                      </p:cBhvr>
                                      <p:to>
                                        <p:strVal val="visible"/>
                                      </p:to>
                                    </p:set>
                                    <p:anim calcmode="lin" valueType="num">
                                      <p:cBhvr additive="base">
                                        <p:cTn id="11" dur="1000" fill="hold"/>
                                        <p:tgtEl>
                                          <p:spTgt spid="35"/>
                                        </p:tgtEl>
                                        <p:attrNameLst>
                                          <p:attrName>ppt_x</p:attrName>
                                        </p:attrNameLst>
                                      </p:cBhvr>
                                      <p:tavLst>
                                        <p:tav tm="0">
                                          <p:val>
                                            <p:strVal val="#ppt_x"/>
                                          </p:val>
                                        </p:tav>
                                        <p:tav tm="100000">
                                          <p:val>
                                            <p:strVal val="#ppt_x"/>
                                          </p:val>
                                        </p:tav>
                                      </p:tavLst>
                                    </p:anim>
                                    <p:anim calcmode="lin" valueType="num">
                                      <p:cBhvr additive="base">
                                        <p:cTn id="12" dur="1000" fill="hold"/>
                                        <p:tgtEl>
                                          <p:spTgt spid="35"/>
                                        </p:tgtEl>
                                        <p:attrNameLst>
                                          <p:attrName>ppt_y</p:attrName>
                                        </p:attrNameLst>
                                      </p:cBhvr>
                                      <p:tavLst>
                                        <p:tav tm="0">
                                          <p:val>
                                            <p:strVal val="0-#ppt_h/2"/>
                                          </p:val>
                                        </p:tav>
                                        <p:tav tm="100000">
                                          <p:val>
                                            <p:strVal val="#ppt_y"/>
                                          </p:val>
                                        </p:tav>
                                      </p:tavLst>
                                    </p:anim>
                                  </p:childTnLst>
                                </p:cTn>
                              </p:par>
                              <p:par>
                                <p:cTn id="13" presetID="2" presetClass="entr" presetSubtype="4" dur="1000" decel="100000" fill="hold" grpId="0" nodeType="withEffect">
                                  <p:stCondLst>
                                    <p:cond delay="400"/>
                                  </p:stCondLst>
                                  <p:childTnLst>
                                    <p:set>
                                      <p:cBhvr>
                                        <p:cTn id="14" dur="1" fill="hold">
                                          <p:stCondLst>
                                            <p:cond delay="0"/>
                                          </p:stCondLst>
                                        </p:cTn>
                                        <p:tgtEl>
                                          <p:spTgt spid="36"/>
                                        </p:tgtEl>
                                        <p:attrNameLst>
                                          <p:attrName>style.visibility</p:attrName>
                                        </p:attrNameLst>
                                      </p:cBhvr>
                                      <p:to>
                                        <p:strVal val="visible"/>
                                      </p:to>
                                    </p:set>
                                    <p:anim calcmode="lin" valueType="num">
                                      <p:cBhvr additive="base">
                                        <p:cTn id="15" dur="1000" fill="hold"/>
                                        <p:tgtEl>
                                          <p:spTgt spid="36"/>
                                        </p:tgtEl>
                                        <p:attrNameLst>
                                          <p:attrName>ppt_x</p:attrName>
                                        </p:attrNameLst>
                                      </p:cBhvr>
                                      <p:tavLst>
                                        <p:tav tm="0">
                                          <p:val>
                                            <p:strVal val="#ppt_x"/>
                                          </p:val>
                                        </p:tav>
                                        <p:tav tm="100000">
                                          <p:val>
                                            <p:strVal val="#ppt_x"/>
                                          </p:val>
                                        </p:tav>
                                      </p:tavLst>
                                    </p:anim>
                                    <p:anim calcmode="lin" valueType="num">
                                      <p:cBhvr additive="base">
                                        <p:cTn id="16" dur="1000" fill="hold"/>
                                        <p:tgtEl>
                                          <p:spTgt spid="3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P spid="35" grpId="0" animBg="1"/>
      <p:bldP spid="36" grpId="0" animBg="1"/>
    </p:bld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25_Title Slide">
    <p:spTree>
      <p:nvGrpSpPr>
        <p:cNvPr id="1" name=""/>
        <p:cNvGrpSpPr/>
        <p:nvPr/>
      </p:nvGrpSpPr>
      <p:grpSpPr>
        <a:xfrm>
          <a:off x="0" y="0"/>
          <a:ext cx="0" cy="0"/>
          <a:chOff x="0" y="0"/>
          <a:chExt cx="0" cy="0"/>
        </a:xfrm>
      </p:grpSpPr>
      <p:sp>
        <p:nvSpPr>
          <p:cNvPr id="37" name="Picture Placeholder 36">
            <a:extLst>
              <a:ext uri="{FF2B5EF4-FFF2-40B4-BE49-F238E27FC236}">
                <a16:creationId xmlns:a16="http://schemas.microsoft.com/office/drawing/2014/main" id="{0244A630-990B-44C6-B5C2-E447990CE8E6}"/>
              </a:ext>
            </a:extLst>
          </p:cNvPr>
          <p:cNvSpPr>
            <a:spLocks noGrp="1"/>
          </p:cNvSpPr>
          <p:nvPr>
            <p:ph type="pic" sz="quarter" idx="11"/>
          </p:nvPr>
        </p:nvSpPr>
        <p:spPr>
          <a:xfrm>
            <a:off x="781742" y="667131"/>
            <a:ext cx="3504744" cy="2762631"/>
          </a:xfrm>
          <a:custGeom>
            <a:avLst/>
            <a:gdLst>
              <a:gd name="connsiteX0" fmla="*/ 0 w 7010400"/>
              <a:gd name="connsiteY0" fmla="*/ 0 h 5525261"/>
              <a:gd name="connsiteX1" fmla="*/ 7010400 w 7010400"/>
              <a:gd name="connsiteY1" fmla="*/ 0 h 5525261"/>
              <a:gd name="connsiteX2" fmla="*/ 7010400 w 7010400"/>
              <a:gd name="connsiteY2" fmla="*/ 5525261 h 5525261"/>
              <a:gd name="connsiteX3" fmla="*/ 0 w 7010400"/>
              <a:gd name="connsiteY3" fmla="*/ 5525261 h 5525261"/>
            </a:gdLst>
            <a:ahLst/>
            <a:cxnLst>
              <a:cxn ang="0">
                <a:pos x="connsiteX0" y="connsiteY0"/>
              </a:cxn>
              <a:cxn ang="0">
                <a:pos x="connsiteX1" y="connsiteY1"/>
              </a:cxn>
              <a:cxn ang="0">
                <a:pos x="connsiteX2" y="connsiteY2"/>
              </a:cxn>
              <a:cxn ang="0">
                <a:pos x="connsiteX3" y="connsiteY3"/>
              </a:cxn>
            </a:cxnLst>
            <a:rect l="l" t="t" r="r" b="b"/>
            <a:pathLst>
              <a:path w="7010400" h="5525261">
                <a:moveTo>
                  <a:pt x="0" y="0"/>
                </a:moveTo>
                <a:lnTo>
                  <a:pt x="7010400" y="0"/>
                </a:lnTo>
                <a:lnTo>
                  <a:pt x="7010400" y="5525261"/>
                </a:lnTo>
                <a:lnTo>
                  <a:pt x="0" y="5525261"/>
                </a:lnTo>
                <a:close/>
              </a:path>
            </a:pathLst>
          </a:custGeom>
          <a:pattFill prst="pct60">
            <a:fgClr>
              <a:schemeClr val="bg1"/>
            </a:fgClr>
            <a:bgClr>
              <a:schemeClr val="bg1">
                <a:lumMod val="85000"/>
              </a:schemeClr>
            </a:bgClr>
          </a:pattFill>
        </p:spPr>
        <p:txBody>
          <a:bodyPr wrap="square" anchor="ctr">
            <a:noAutofit/>
          </a:bodyPr>
          <a:lstStyle>
            <a:lvl1pPr>
              <a:defRPr lang="en-US" sz="1200"/>
            </a:lvl1pPr>
          </a:lstStyle>
          <a:p>
            <a:pPr marL="0" lvl="0" indent="0" algn="ctr">
              <a:buFontTx/>
              <a:buNone/>
            </a:pPr>
            <a:endParaRPr lang="en-US"/>
          </a:p>
        </p:txBody>
      </p:sp>
      <p:sp>
        <p:nvSpPr>
          <p:cNvPr id="38" name="Picture Placeholder 37">
            <a:extLst>
              <a:ext uri="{FF2B5EF4-FFF2-40B4-BE49-F238E27FC236}">
                <a16:creationId xmlns:a16="http://schemas.microsoft.com/office/drawing/2014/main" id="{937581DB-28D0-4142-B51E-CE474A5445BA}"/>
              </a:ext>
            </a:extLst>
          </p:cNvPr>
          <p:cNvSpPr>
            <a:spLocks noGrp="1"/>
          </p:cNvSpPr>
          <p:nvPr>
            <p:ph type="pic" sz="quarter" idx="12"/>
          </p:nvPr>
        </p:nvSpPr>
        <p:spPr>
          <a:xfrm>
            <a:off x="781742" y="3429761"/>
            <a:ext cx="7123771" cy="2743200"/>
          </a:xfrm>
          <a:custGeom>
            <a:avLst/>
            <a:gdLst>
              <a:gd name="connsiteX0" fmla="*/ 0 w 14020799"/>
              <a:gd name="connsiteY0" fmla="*/ 0 h 5486400"/>
              <a:gd name="connsiteX1" fmla="*/ 14020799 w 14020799"/>
              <a:gd name="connsiteY1" fmla="*/ 0 h 5486400"/>
              <a:gd name="connsiteX2" fmla="*/ 14020799 w 14020799"/>
              <a:gd name="connsiteY2" fmla="*/ 5486400 h 5486400"/>
              <a:gd name="connsiteX3" fmla="*/ 0 w 14020799"/>
              <a:gd name="connsiteY3" fmla="*/ 5486400 h 5486400"/>
            </a:gdLst>
            <a:ahLst/>
            <a:cxnLst>
              <a:cxn ang="0">
                <a:pos x="connsiteX0" y="connsiteY0"/>
              </a:cxn>
              <a:cxn ang="0">
                <a:pos x="connsiteX1" y="connsiteY1"/>
              </a:cxn>
              <a:cxn ang="0">
                <a:pos x="connsiteX2" y="connsiteY2"/>
              </a:cxn>
              <a:cxn ang="0">
                <a:pos x="connsiteX3" y="connsiteY3"/>
              </a:cxn>
            </a:cxnLst>
            <a:rect l="l" t="t" r="r" b="b"/>
            <a:pathLst>
              <a:path w="14020799" h="5486400">
                <a:moveTo>
                  <a:pt x="0" y="0"/>
                </a:moveTo>
                <a:lnTo>
                  <a:pt x="14020799" y="0"/>
                </a:lnTo>
                <a:lnTo>
                  <a:pt x="14020799" y="5486400"/>
                </a:lnTo>
                <a:lnTo>
                  <a:pt x="0" y="5486400"/>
                </a:lnTo>
                <a:close/>
              </a:path>
            </a:pathLst>
          </a:custGeom>
          <a:pattFill prst="pct60">
            <a:fgClr>
              <a:schemeClr val="bg1"/>
            </a:fgClr>
            <a:bgClr>
              <a:schemeClr val="bg1">
                <a:lumMod val="85000"/>
              </a:schemeClr>
            </a:bgClr>
          </a:pattFill>
        </p:spPr>
        <p:txBody>
          <a:bodyPr wrap="square" anchor="ctr">
            <a:noAutofit/>
          </a:bodyPr>
          <a:lstStyle>
            <a:lvl1pPr>
              <a:defRPr lang="en-US" sz="1200"/>
            </a:lvl1pPr>
          </a:lstStyle>
          <a:p>
            <a:pPr marL="0" lvl="0" indent="0" algn="ctr">
              <a:buFontTx/>
              <a:buNone/>
            </a:pPr>
            <a:endParaRPr lang="en-US"/>
          </a:p>
        </p:txBody>
      </p:sp>
      <p:sp>
        <p:nvSpPr>
          <p:cNvPr id="39" name="Picture Placeholder 38">
            <a:extLst>
              <a:ext uri="{FF2B5EF4-FFF2-40B4-BE49-F238E27FC236}">
                <a16:creationId xmlns:a16="http://schemas.microsoft.com/office/drawing/2014/main" id="{1B605010-9C23-46F9-B058-970E7275A1D0}"/>
              </a:ext>
            </a:extLst>
          </p:cNvPr>
          <p:cNvSpPr>
            <a:spLocks noGrp="1"/>
          </p:cNvSpPr>
          <p:nvPr>
            <p:ph type="pic" sz="quarter" idx="13"/>
          </p:nvPr>
        </p:nvSpPr>
        <p:spPr>
          <a:xfrm>
            <a:off x="7905514" y="647700"/>
            <a:ext cx="3504744" cy="5525261"/>
          </a:xfrm>
          <a:custGeom>
            <a:avLst/>
            <a:gdLst>
              <a:gd name="connsiteX0" fmla="*/ 0 w 7010401"/>
              <a:gd name="connsiteY0" fmla="*/ 0 h 11050522"/>
              <a:gd name="connsiteX1" fmla="*/ 7010401 w 7010401"/>
              <a:gd name="connsiteY1" fmla="*/ 0 h 11050522"/>
              <a:gd name="connsiteX2" fmla="*/ 7010401 w 7010401"/>
              <a:gd name="connsiteY2" fmla="*/ 11050522 h 11050522"/>
              <a:gd name="connsiteX3" fmla="*/ 0 w 7010401"/>
              <a:gd name="connsiteY3" fmla="*/ 11050522 h 11050522"/>
            </a:gdLst>
            <a:ahLst/>
            <a:cxnLst>
              <a:cxn ang="0">
                <a:pos x="connsiteX0" y="connsiteY0"/>
              </a:cxn>
              <a:cxn ang="0">
                <a:pos x="connsiteX1" y="connsiteY1"/>
              </a:cxn>
              <a:cxn ang="0">
                <a:pos x="connsiteX2" y="connsiteY2"/>
              </a:cxn>
              <a:cxn ang="0">
                <a:pos x="connsiteX3" y="connsiteY3"/>
              </a:cxn>
            </a:cxnLst>
            <a:rect l="l" t="t" r="r" b="b"/>
            <a:pathLst>
              <a:path w="7010401" h="11050522">
                <a:moveTo>
                  <a:pt x="0" y="0"/>
                </a:moveTo>
                <a:lnTo>
                  <a:pt x="7010401" y="0"/>
                </a:lnTo>
                <a:lnTo>
                  <a:pt x="7010401" y="11050522"/>
                </a:lnTo>
                <a:lnTo>
                  <a:pt x="0" y="11050522"/>
                </a:lnTo>
                <a:close/>
              </a:path>
            </a:pathLst>
          </a:custGeom>
          <a:pattFill prst="pct60">
            <a:fgClr>
              <a:schemeClr val="bg1"/>
            </a:fgClr>
            <a:bgClr>
              <a:schemeClr val="bg1">
                <a:lumMod val="85000"/>
              </a:schemeClr>
            </a:bgClr>
          </a:pattFill>
        </p:spPr>
        <p:txBody>
          <a:bodyPr wrap="square" anchor="ctr">
            <a:noAutofit/>
          </a:bodyPr>
          <a:lstStyle>
            <a:lvl1pPr>
              <a:defRPr lang="en-US" sz="1200"/>
            </a:lvl1pPr>
          </a:lstStyle>
          <a:p>
            <a:pPr marL="0" lvl="0" indent="0" algn="ctr">
              <a:buFontTx/>
              <a:buNone/>
            </a:pPr>
            <a:endParaRPr lang="en-US"/>
          </a:p>
        </p:txBody>
      </p:sp>
    </p:spTree>
    <p:extLst>
      <p:ext uri="{BB962C8B-B14F-4D97-AF65-F5344CB8AC3E}">
        <p14:creationId xmlns:p14="http://schemas.microsoft.com/office/powerpoint/2010/main" val="1184657496"/>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8" dur="1000" decel="100000" fill="hold" grpId="0" nodeType="withEffect">
                                  <p:stCondLst>
                                    <p:cond delay="0"/>
                                  </p:stCondLst>
                                  <p:childTnLst>
                                    <p:set>
                                      <p:cBhvr>
                                        <p:cTn id="6" dur="1" fill="hold">
                                          <p:stCondLst>
                                            <p:cond delay="0"/>
                                          </p:stCondLst>
                                        </p:cTn>
                                        <p:tgtEl>
                                          <p:spTgt spid="37"/>
                                        </p:tgtEl>
                                        <p:attrNameLst>
                                          <p:attrName>style.visibility</p:attrName>
                                        </p:attrNameLst>
                                      </p:cBhvr>
                                      <p:to>
                                        <p:strVal val="visible"/>
                                      </p:to>
                                    </p:set>
                                    <p:anim calcmode="lin" valueType="num">
                                      <p:cBhvr additive="base">
                                        <p:cTn id="7" dur="1000" fill="hold"/>
                                        <p:tgtEl>
                                          <p:spTgt spid="37"/>
                                        </p:tgtEl>
                                        <p:attrNameLst>
                                          <p:attrName>ppt_x</p:attrName>
                                        </p:attrNameLst>
                                      </p:cBhvr>
                                      <p:tavLst>
                                        <p:tav tm="0">
                                          <p:val>
                                            <p:strVal val="0-#ppt_w/2"/>
                                          </p:val>
                                        </p:tav>
                                        <p:tav tm="100000">
                                          <p:val>
                                            <p:strVal val="#ppt_x"/>
                                          </p:val>
                                        </p:tav>
                                      </p:tavLst>
                                    </p:anim>
                                    <p:anim calcmode="lin" valueType="num">
                                      <p:cBhvr additive="base">
                                        <p:cTn id="8" dur="1000" fill="hold"/>
                                        <p:tgtEl>
                                          <p:spTgt spid="37"/>
                                        </p:tgtEl>
                                        <p:attrNameLst>
                                          <p:attrName>ppt_y</p:attrName>
                                        </p:attrNameLst>
                                      </p:cBhvr>
                                      <p:tavLst>
                                        <p:tav tm="0">
                                          <p:val>
                                            <p:strVal val="#ppt_y"/>
                                          </p:val>
                                        </p:tav>
                                        <p:tav tm="100000">
                                          <p:val>
                                            <p:strVal val="#ppt_y"/>
                                          </p:val>
                                        </p:tav>
                                      </p:tavLst>
                                    </p:anim>
                                  </p:childTnLst>
                                </p:cTn>
                              </p:par>
                              <p:par>
                                <p:cTn id="9" presetID="2" presetClass="entr" presetSubtype="4" dur="1000" decel="100000" fill="hold" grpId="0" nodeType="withEffect">
                                  <p:stCondLst>
                                    <p:cond delay="200"/>
                                  </p:stCondLst>
                                  <p:childTnLst>
                                    <p:set>
                                      <p:cBhvr>
                                        <p:cTn id="10" dur="1" fill="hold">
                                          <p:stCondLst>
                                            <p:cond delay="0"/>
                                          </p:stCondLst>
                                        </p:cTn>
                                        <p:tgtEl>
                                          <p:spTgt spid="38"/>
                                        </p:tgtEl>
                                        <p:attrNameLst>
                                          <p:attrName>style.visibility</p:attrName>
                                        </p:attrNameLst>
                                      </p:cBhvr>
                                      <p:to>
                                        <p:strVal val="visible"/>
                                      </p:to>
                                    </p:set>
                                    <p:anim calcmode="lin" valueType="num">
                                      <p:cBhvr additive="base">
                                        <p:cTn id="11" dur="1000" fill="hold"/>
                                        <p:tgtEl>
                                          <p:spTgt spid="38"/>
                                        </p:tgtEl>
                                        <p:attrNameLst>
                                          <p:attrName>ppt_x</p:attrName>
                                        </p:attrNameLst>
                                      </p:cBhvr>
                                      <p:tavLst>
                                        <p:tav tm="0">
                                          <p:val>
                                            <p:strVal val="#ppt_x"/>
                                          </p:val>
                                        </p:tav>
                                        <p:tav tm="100000">
                                          <p:val>
                                            <p:strVal val="#ppt_x"/>
                                          </p:val>
                                        </p:tav>
                                      </p:tavLst>
                                    </p:anim>
                                    <p:anim calcmode="lin" valueType="num">
                                      <p:cBhvr additive="base">
                                        <p:cTn id="12" dur="1000" fill="hold"/>
                                        <p:tgtEl>
                                          <p:spTgt spid="38"/>
                                        </p:tgtEl>
                                        <p:attrNameLst>
                                          <p:attrName>ppt_y</p:attrName>
                                        </p:attrNameLst>
                                      </p:cBhvr>
                                      <p:tavLst>
                                        <p:tav tm="0">
                                          <p:val>
                                            <p:strVal val="1+#ppt_h/2"/>
                                          </p:val>
                                        </p:tav>
                                        <p:tav tm="100000">
                                          <p:val>
                                            <p:strVal val="#ppt_y"/>
                                          </p:val>
                                        </p:tav>
                                      </p:tavLst>
                                    </p:anim>
                                  </p:childTnLst>
                                </p:cTn>
                              </p:par>
                              <p:par>
                                <p:cTn id="13" presetID="2" presetClass="entr" presetSubtype="2" dur="1000" decel="100000" fill="hold" grpId="0" nodeType="withEffect">
                                  <p:stCondLst>
                                    <p:cond delay="400"/>
                                  </p:stCondLst>
                                  <p:childTnLst>
                                    <p:set>
                                      <p:cBhvr>
                                        <p:cTn id="14" dur="1" fill="hold">
                                          <p:stCondLst>
                                            <p:cond delay="0"/>
                                          </p:stCondLst>
                                        </p:cTn>
                                        <p:tgtEl>
                                          <p:spTgt spid="39"/>
                                        </p:tgtEl>
                                        <p:attrNameLst>
                                          <p:attrName>style.visibility</p:attrName>
                                        </p:attrNameLst>
                                      </p:cBhvr>
                                      <p:to>
                                        <p:strVal val="visible"/>
                                      </p:to>
                                    </p:set>
                                    <p:anim calcmode="lin" valueType="num">
                                      <p:cBhvr additive="base">
                                        <p:cTn id="15" dur="1000" fill="hold"/>
                                        <p:tgtEl>
                                          <p:spTgt spid="39"/>
                                        </p:tgtEl>
                                        <p:attrNameLst>
                                          <p:attrName>ppt_x</p:attrName>
                                        </p:attrNameLst>
                                      </p:cBhvr>
                                      <p:tavLst>
                                        <p:tav tm="0">
                                          <p:val>
                                            <p:strVal val="1+#ppt_w/2"/>
                                          </p:val>
                                        </p:tav>
                                        <p:tav tm="100000">
                                          <p:val>
                                            <p:strVal val="#ppt_x"/>
                                          </p:val>
                                        </p:tav>
                                      </p:tavLst>
                                    </p:anim>
                                    <p:anim calcmode="lin" valueType="num">
                                      <p:cBhvr additive="base">
                                        <p:cTn id="16" dur="1000" fill="hold"/>
                                        <p:tgtEl>
                                          <p:spTgt spid="3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animBg="1"/>
      <p:bldP spid="38" grpId="0" animBg="1"/>
      <p:bldP spid="39" grpId="0" animBg="1"/>
    </p:bld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26_Title Slide">
    <p:spTree>
      <p:nvGrpSpPr>
        <p:cNvPr id="1" name=""/>
        <p:cNvGrpSpPr/>
        <p:nvPr/>
      </p:nvGrpSpPr>
      <p:grpSpPr>
        <a:xfrm>
          <a:off x="0" y="0"/>
          <a:ext cx="0" cy="0"/>
          <a:chOff x="0" y="0"/>
          <a:chExt cx="0" cy="0"/>
        </a:xfrm>
      </p:grpSpPr>
      <p:sp>
        <p:nvSpPr>
          <p:cNvPr id="35" name="Picture Placeholder 34">
            <a:extLst>
              <a:ext uri="{FF2B5EF4-FFF2-40B4-BE49-F238E27FC236}">
                <a16:creationId xmlns:a16="http://schemas.microsoft.com/office/drawing/2014/main" id="{55541C4D-A1D1-493A-8547-B708240F2F00}"/>
              </a:ext>
            </a:extLst>
          </p:cNvPr>
          <p:cNvSpPr>
            <a:spLocks noGrp="1"/>
          </p:cNvSpPr>
          <p:nvPr>
            <p:ph type="pic" sz="quarter" idx="11"/>
          </p:nvPr>
        </p:nvSpPr>
        <p:spPr>
          <a:xfrm>
            <a:off x="848968" y="4357771"/>
            <a:ext cx="3504744" cy="2619375"/>
          </a:xfrm>
          <a:custGeom>
            <a:avLst/>
            <a:gdLst>
              <a:gd name="connsiteX0" fmla="*/ 0 w 7010400"/>
              <a:gd name="connsiteY0" fmla="*/ 0 h 5238750"/>
              <a:gd name="connsiteX1" fmla="*/ 7010400 w 7010400"/>
              <a:gd name="connsiteY1" fmla="*/ 0 h 5238750"/>
              <a:gd name="connsiteX2" fmla="*/ 7010400 w 7010400"/>
              <a:gd name="connsiteY2" fmla="*/ 5238750 h 5238750"/>
              <a:gd name="connsiteX3" fmla="*/ 0 w 7010400"/>
              <a:gd name="connsiteY3" fmla="*/ 5238750 h 5238750"/>
            </a:gdLst>
            <a:ahLst/>
            <a:cxnLst>
              <a:cxn ang="0">
                <a:pos x="connsiteX0" y="connsiteY0"/>
              </a:cxn>
              <a:cxn ang="0">
                <a:pos x="connsiteX1" y="connsiteY1"/>
              </a:cxn>
              <a:cxn ang="0">
                <a:pos x="connsiteX2" y="connsiteY2"/>
              </a:cxn>
              <a:cxn ang="0">
                <a:pos x="connsiteX3" y="connsiteY3"/>
              </a:cxn>
            </a:cxnLst>
            <a:rect l="l" t="t" r="r" b="b"/>
            <a:pathLst>
              <a:path w="7010400" h="5238750">
                <a:moveTo>
                  <a:pt x="0" y="0"/>
                </a:moveTo>
                <a:lnTo>
                  <a:pt x="7010400" y="0"/>
                </a:lnTo>
                <a:lnTo>
                  <a:pt x="7010400" y="5238750"/>
                </a:lnTo>
                <a:lnTo>
                  <a:pt x="0" y="5238750"/>
                </a:lnTo>
                <a:close/>
              </a:path>
            </a:pathLst>
          </a:custGeom>
          <a:pattFill prst="pct60">
            <a:fgClr>
              <a:schemeClr val="bg1"/>
            </a:fgClr>
            <a:bgClr>
              <a:schemeClr val="bg1">
                <a:lumMod val="85000"/>
              </a:schemeClr>
            </a:bgClr>
          </a:pattFill>
        </p:spPr>
        <p:txBody>
          <a:bodyPr wrap="square" anchor="ctr">
            <a:noAutofit/>
          </a:bodyPr>
          <a:lstStyle>
            <a:lvl1pPr>
              <a:defRPr lang="en-US" sz="1200"/>
            </a:lvl1pPr>
          </a:lstStyle>
          <a:p>
            <a:pPr marL="0" lvl="0" indent="0" algn="ctr">
              <a:buFontTx/>
              <a:buNone/>
            </a:pPr>
            <a:endParaRPr lang="en-US"/>
          </a:p>
        </p:txBody>
      </p:sp>
      <p:sp>
        <p:nvSpPr>
          <p:cNvPr id="38" name="Picture Placeholder 37">
            <a:extLst>
              <a:ext uri="{FF2B5EF4-FFF2-40B4-BE49-F238E27FC236}">
                <a16:creationId xmlns:a16="http://schemas.microsoft.com/office/drawing/2014/main" id="{10323BDD-FDAD-4B17-9EC0-CBB895127DE2}"/>
              </a:ext>
            </a:extLst>
          </p:cNvPr>
          <p:cNvSpPr>
            <a:spLocks noGrp="1"/>
          </p:cNvSpPr>
          <p:nvPr>
            <p:ph type="pic" sz="quarter" idx="12"/>
          </p:nvPr>
        </p:nvSpPr>
        <p:spPr>
          <a:xfrm>
            <a:off x="4353711" y="4357772"/>
            <a:ext cx="3504744" cy="2619375"/>
          </a:xfrm>
          <a:custGeom>
            <a:avLst/>
            <a:gdLst>
              <a:gd name="connsiteX0" fmla="*/ 0 w 7010400"/>
              <a:gd name="connsiteY0" fmla="*/ 0 h 5238750"/>
              <a:gd name="connsiteX1" fmla="*/ 7010400 w 7010400"/>
              <a:gd name="connsiteY1" fmla="*/ 0 h 5238750"/>
              <a:gd name="connsiteX2" fmla="*/ 7010400 w 7010400"/>
              <a:gd name="connsiteY2" fmla="*/ 5238750 h 5238750"/>
              <a:gd name="connsiteX3" fmla="*/ 0 w 7010400"/>
              <a:gd name="connsiteY3" fmla="*/ 5238750 h 5238750"/>
            </a:gdLst>
            <a:ahLst/>
            <a:cxnLst>
              <a:cxn ang="0">
                <a:pos x="connsiteX0" y="connsiteY0"/>
              </a:cxn>
              <a:cxn ang="0">
                <a:pos x="connsiteX1" y="connsiteY1"/>
              </a:cxn>
              <a:cxn ang="0">
                <a:pos x="connsiteX2" y="connsiteY2"/>
              </a:cxn>
              <a:cxn ang="0">
                <a:pos x="connsiteX3" y="connsiteY3"/>
              </a:cxn>
            </a:cxnLst>
            <a:rect l="l" t="t" r="r" b="b"/>
            <a:pathLst>
              <a:path w="7010400" h="5238750">
                <a:moveTo>
                  <a:pt x="0" y="0"/>
                </a:moveTo>
                <a:lnTo>
                  <a:pt x="7010400" y="0"/>
                </a:lnTo>
                <a:lnTo>
                  <a:pt x="7010400" y="5238750"/>
                </a:lnTo>
                <a:lnTo>
                  <a:pt x="0" y="5238750"/>
                </a:lnTo>
                <a:close/>
              </a:path>
            </a:pathLst>
          </a:custGeom>
          <a:pattFill prst="pct60">
            <a:fgClr>
              <a:schemeClr val="bg1"/>
            </a:fgClr>
            <a:bgClr>
              <a:schemeClr val="bg1">
                <a:lumMod val="85000"/>
              </a:schemeClr>
            </a:bgClr>
          </a:pattFill>
        </p:spPr>
        <p:txBody>
          <a:bodyPr wrap="square" anchor="ctr">
            <a:noAutofit/>
          </a:bodyPr>
          <a:lstStyle>
            <a:lvl1pPr>
              <a:defRPr lang="en-US" sz="1200"/>
            </a:lvl1pPr>
          </a:lstStyle>
          <a:p>
            <a:pPr marL="0" lvl="0" indent="0" algn="ctr">
              <a:buFontTx/>
              <a:buNone/>
            </a:pPr>
            <a:endParaRPr lang="en-US"/>
          </a:p>
        </p:txBody>
      </p:sp>
      <p:sp>
        <p:nvSpPr>
          <p:cNvPr id="39" name="Picture Placeholder 38">
            <a:extLst>
              <a:ext uri="{FF2B5EF4-FFF2-40B4-BE49-F238E27FC236}">
                <a16:creationId xmlns:a16="http://schemas.microsoft.com/office/drawing/2014/main" id="{7B9D4458-5A68-4C82-9759-3F61B7D6A093}"/>
              </a:ext>
            </a:extLst>
          </p:cNvPr>
          <p:cNvSpPr>
            <a:spLocks noGrp="1"/>
          </p:cNvSpPr>
          <p:nvPr>
            <p:ph type="pic" sz="quarter" idx="13"/>
          </p:nvPr>
        </p:nvSpPr>
        <p:spPr>
          <a:xfrm>
            <a:off x="7858455" y="4357772"/>
            <a:ext cx="3504744" cy="2619375"/>
          </a:xfrm>
          <a:custGeom>
            <a:avLst/>
            <a:gdLst>
              <a:gd name="connsiteX0" fmla="*/ 0 w 7010400"/>
              <a:gd name="connsiteY0" fmla="*/ 0 h 5238750"/>
              <a:gd name="connsiteX1" fmla="*/ 7010400 w 7010400"/>
              <a:gd name="connsiteY1" fmla="*/ 0 h 5238750"/>
              <a:gd name="connsiteX2" fmla="*/ 7010400 w 7010400"/>
              <a:gd name="connsiteY2" fmla="*/ 5238750 h 5238750"/>
              <a:gd name="connsiteX3" fmla="*/ 0 w 7010400"/>
              <a:gd name="connsiteY3" fmla="*/ 5238750 h 5238750"/>
            </a:gdLst>
            <a:ahLst/>
            <a:cxnLst>
              <a:cxn ang="0">
                <a:pos x="connsiteX0" y="connsiteY0"/>
              </a:cxn>
              <a:cxn ang="0">
                <a:pos x="connsiteX1" y="connsiteY1"/>
              </a:cxn>
              <a:cxn ang="0">
                <a:pos x="connsiteX2" y="connsiteY2"/>
              </a:cxn>
              <a:cxn ang="0">
                <a:pos x="connsiteX3" y="connsiteY3"/>
              </a:cxn>
            </a:cxnLst>
            <a:rect l="l" t="t" r="r" b="b"/>
            <a:pathLst>
              <a:path w="7010400" h="5238750">
                <a:moveTo>
                  <a:pt x="0" y="0"/>
                </a:moveTo>
                <a:lnTo>
                  <a:pt x="7010400" y="0"/>
                </a:lnTo>
                <a:lnTo>
                  <a:pt x="7010400" y="5238750"/>
                </a:lnTo>
                <a:lnTo>
                  <a:pt x="0" y="5238750"/>
                </a:lnTo>
                <a:close/>
              </a:path>
            </a:pathLst>
          </a:custGeom>
          <a:pattFill prst="pct60">
            <a:fgClr>
              <a:schemeClr val="bg1"/>
            </a:fgClr>
            <a:bgClr>
              <a:schemeClr val="bg1">
                <a:lumMod val="85000"/>
              </a:schemeClr>
            </a:bgClr>
          </a:pattFill>
        </p:spPr>
        <p:txBody>
          <a:bodyPr wrap="square" anchor="ctr">
            <a:noAutofit/>
          </a:bodyPr>
          <a:lstStyle>
            <a:lvl1pPr>
              <a:defRPr lang="en-US" sz="1200"/>
            </a:lvl1pPr>
          </a:lstStyle>
          <a:p>
            <a:pPr marL="0" lvl="0" indent="0" algn="ctr">
              <a:buFontTx/>
              <a:buNone/>
            </a:pPr>
            <a:endParaRPr lang="en-US"/>
          </a:p>
        </p:txBody>
      </p:sp>
    </p:spTree>
    <p:extLst>
      <p:ext uri="{BB962C8B-B14F-4D97-AF65-F5344CB8AC3E}">
        <p14:creationId xmlns:p14="http://schemas.microsoft.com/office/powerpoint/2010/main" val="2037004926"/>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4" dur="1000" decel="100000" fill="hold" grpId="0" nodeType="withEffect">
                                  <p:stCondLst>
                                    <p:cond delay="100"/>
                                  </p:stCondLst>
                                  <p:childTnLst>
                                    <p:set>
                                      <p:cBhvr>
                                        <p:cTn id="6" dur="1" fill="hold">
                                          <p:stCondLst>
                                            <p:cond delay="0"/>
                                          </p:stCondLst>
                                        </p:cTn>
                                        <p:tgtEl>
                                          <p:spTgt spid="35"/>
                                        </p:tgtEl>
                                        <p:attrNameLst>
                                          <p:attrName>style.visibility</p:attrName>
                                        </p:attrNameLst>
                                      </p:cBhvr>
                                      <p:to>
                                        <p:strVal val="visible"/>
                                      </p:to>
                                    </p:set>
                                    <p:anim calcmode="lin" valueType="num">
                                      <p:cBhvr additive="base">
                                        <p:cTn id="7" dur="1000" fill="hold"/>
                                        <p:tgtEl>
                                          <p:spTgt spid="35"/>
                                        </p:tgtEl>
                                        <p:attrNameLst>
                                          <p:attrName>ppt_x</p:attrName>
                                        </p:attrNameLst>
                                      </p:cBhvr>
                                      <p:tavLst>
                                        <p:tav tm="0">
                                          <p:val>
                                            <p:strVal val="#ppt_x"/>
                                          </p:val>
                                        </p:tav>
                                        <p:tav tm="100000">
                                          <p:val>
                                            <p:strVal val="#ppt_x"/>
                                          </p:val>
                                        </p:tav>
                                      </p:tavLst>
                                    </p:anim>
                                    <p:anim calcmode="lin" valueType="num">
                                      <p:cBhvr additive="base">
                                        <p:cTn id="8" dur="1000" fill="hold"/>
                                        <p:tgtEl>
                                          <p:spTgt spid="35"/>
                                        </p:tgtEl>
                                        <p:attrNameLst>
                                          <p:attrName>ppt_y</p:attrName>
                                        </p:attrNameLst>
                                      </p:cBhvr>
                                      <p:tavLst>
                                        <p:tav tm="0">
                                          <p:val>
                                            <p:strVal val="1+#ppt_h/2"/>
                                          </p:val>
                                        </p:tav>
                                        <p:tav tm="100000">
                                          <p:val>
                                            <p:strVal val="#ppt_y"/>
                                          </p:val>
                                        </p:tav>
                                      </p:tavLst>
                                    </p:anim>
                                  </p:childTnLst>
                                </p:cTn>
                              </p:par>
                              <p:par>
                                <p:cTn id="9" presetID="2" presetClass="entr" presetSubtype="4" dur="1000" decel="100000" fill="hold" grpId="0" nodeType="withEffect">
                                  <p:stCondLst>
                                    <p:cond delay="300"/>
                                  </p:stCondLst>
                                  <p:childTnLst>
                                    <p:set>
                                      <p:cBhvr>
                                        <p:cTn id="10" dur="1" fill="hold">
                                          <p:stCondLst>
                                            <p:cond delay="0"/>
                                          </p:stCondLst>
                                        </p:cTn>
                                        <p:tgtEl>
                                          <p:spTgt spid="38"/>
                                        </p:tgtEl>
                                        <p:attrNameLst>
                                          <p:attrName>style.visibility</p:attrName>
                                        </p:attrNameLst>
                                      </p:cBhvr>
                                      <p:to>
                                        <p:strVal val="visible"/>
                                      </p:to>
                                    </p:set>
                                    <p:anim calcmode="lin" valueType="num">
                                      <p:cBhvr additive="base">
                                        <p:cTn id="11" dur="1000" fill="hold"/>
                                        <p:tgtEl>
                                          <p:spTgt spid="38"/>
                                        </p:tgtEl>
                                        <p:attrNameLst>
                                          <p:attrName>ppt_x</p:attrName>
                                        </p:attrNameLst>
                                      </p:cBhvr>
                                      <p:tavLst>
                                        <p:tav tm="0">
                                          <p:val>
                                            <p:strVal val="#ppt_x"/>
                                          </p:val>
                                        </p:tav>
                                        <p:tav tm="100000">
                                          <p:val>
                                            <p:strVal val="#ppt_x"/>
                                          </p:val>
                                        </p:tav>
                                      </p:tavLst>
                                    </p:anim>
                                    <p:anim calcmode="lin" valueType="num">
                                      <p:cBhvr additive="base">
                                        <p:cTn id="12" dur="1000" fill="hold"/>
                                        <p:tgtEl>
                                          <p:spTgt spid="38"/>
                                        </p:tgtEl>
                                        <p:attrNameLst>
                                          <p:attrName>ppt_y</p:attrName>
                                        </p:attrNameLst>
                                      </p:cBhvr>
                                      <p:tavLst>
                                        <p:tav tm="0">
                                          <p:val>
                                            <p:strVal val="1+#ppt_h/2"/>
                                          </p:val>
                                        </p:tav>
                                        <p:tav tm="100000">
                                          <p:val>
                                            <p:strVal val="#ppt_y"/>
                                          </p:val>
                                        </p:tav>
                                      </p:tavLst>
                                    </p:anim>
                                  </p:childTnLst>
                                </p:cTn>
                              </p:par>
                              <p:par>
                                <p:cTn id="13" presetID="2" presetClass="entr" presetSubtype="4" dur="1000" decel="100000" fill="hold" grpId="0" nodeType="withEffect">
                                  <p:stCondLst>
                                    <p:cond delay="500"/>
                                  </p:stCondLst>
                                  <p:childTnLst>
                                    <p:set>
                                      <p:cBhvr>
                                        <p:cTn id="14" dur="1" fill="hold">
                                          <p:stCondLst>
                                            <p:cond delay="0"/>
                                          </p:stCondLst>
                                        </p:cTn>
                                        <p:tgtEl>
                                          <p:spTgt spid="39"/>
                                        </p:tgtEl>
                                        <p:attrNameLst>
                                          <p:attrName>style.visibility</p:attrName>
                                        </p:attrNameLst>
                                      </p:cBhvr>
                                      <p:to>
                                        <p:strVal val="visible"/>
                                      </p:to>
                                    </p:set>
                                    <p:anim calcmode="lin" valueType="num">
                                      <p:cBhvr additive="base">
                                        <p:cTn id="15" dur="1000" fill="hold"/>
                                        <p:tgtEl>
                                          <p:spTgt spid="39"/>
                                        </p:tgtEl>
                                        <p:attrNameLst>
                                          <p:attrName>ppt_x</p:attrName>
                                        </p:attrNameLst>
                                      </p:cBhvr>
                                      <p:tavLst>
                                        <p:tav tm="0">
                                          <p:val>
                                            <p:strVal val="#ppt_x"/>
                                          </p:val>
                                        </p:tav>
                                        <p:tav tm="100000">
                                          <p:val>
                                            <p:strVal val="#ppt_x"/>
                                          </p:val>
                                        </p:tav>
                                      </p:tavLst>
                                    </p:anim>
                                    <p:anim calcmode="lin" valueType="num">
                                      <p:cBhvr additive="base">
                                        <p:cTn id="16" dur="1000" fill="hold"/>
                                        <p:tgtEl>
                                          <p:spTgt spid="3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animBg="1"/>
      <p:bldP spid="38" grpId="0" animBg="1"/>
      <p:bldP spid="39" grpId="0" animBg="1"/>
    </p:bld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HEADLINE ONLY">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D580604-CA90-4824-BA71-7DD12488F4E8}"/>
              </a:ext>
            </a:extLst>
          </p:cNvPr>
          <p:cNvSpPr>
            <a:spLocks noGrp="1"/>
          </p:cNvSpPr>
          <p:nvPr>
            <p:ph type="title"/>
          </p:nvPr>
        </p:nvSpPr>
        <p:spPr/>
        <p:txBody>
          <a:bodyPr/>
          <a:lstStyle/>
          <a:p>
            <a:r>
              <a:rPr lang="de-DE"/>
              <a:t>Mastertitelformat bearbeiten</a:t>
            </a:r>
          </a:p>
        </p:txBody>
      </p:sp>
      <p:sp>
        <p:nvSpPr>
          <p:cNvPr id="3" name="Foliennummernplatzhalter 2">
            <a:extLst>
              <a:ext uri="{FF2B5EF4-FFF2-40B4-BE49-F238E27FC236}">
                <a16:creationId xmlns:a16="http://schemas.microsoft.com/office/drawing/2014/main" id="{648331E1-D418-47BC-B8D2-89EAF4B26D40}"/>
              </a:ext>
            </a:extLst>
          </p:cNvPr>
          <p:cNvSpPr>
            <a:spLocks noGrp="1"/>
          </p:cNvSpPr>
          <p:nvPr>
            <p:ph type="sldNum" sz="quarter" idx="10"/>
          </p:nvPr>
        </p:nvSpPr>
        <p:spPr/>
        <p:txBody>
          <a:bodyPr/>
          <a:lstStyle/>
          <a:p>
            <a:fld id="{A04BEB4F-8CE1-4F18-986F-6CE0A0BE9470}" type="slidenum">
              <a:rPr lang="de-DE" smtClean="0"/>
              <a:t>‹#›</a:t>
            </a:fld>
            <a:endParaRPr lang="de-DE"/>
          </a:p>
        </p:txBody>
      </p:sp>
      <p:sp>
        <p:nvSpPr>
          <p:cNvPr id="4" name="Freihandform: Form 12">
            <a:extLst>
              <a:ext uri="{FF2B5EF4-FFF2-40B4-BE49-F238E27FC236}">
                <a16:creationId xmlns:a16="http://schemas.microsoft.com/office/drawing/2014/main" id="{0126C203-783C-77D3-0581-3B7B49985F0F}"/>
              </a:ext>
            </a:extLst>
          </p:cNvPr>
          <p:cNvSpPr/>
          <p:nvPr userDrawn="1"/>
        </p:nvSpPr>
        <p:spPr>
          <a:xfrm flipH="1">
            <a:off x="0" y="1975610"/>
            <a:ext cx="9829800" cy="4882390"/>
          </a:xfrm>
          <a:custGeom>
            <a:avLst/>
            <a:gdLst>
              <a:gd name="connsiteX0" fmla="*/ 910059 w 9829800"/>
              <a:gd name="connsiteY0" fmla="*/ 0 h 4882390"/>
              <a:gd name="connsiteX1" fmla="*/ 3015085 w 9829800"/>
              <a:gd name="connsiteY1" fmla="*/ 0 h 4882390"/>
              <a:gd name="connsiteX2" fmla="*/ 7981950 w 9829800"/>
              <a:gd name="connsiteY2" fmla="*/ 0 h 4882390"/>
              <a:gd name="connsiteX3" fmla="*/ 9829800 w 9829800"/>
              <a:gd name="connsiteY3" fmla="*/ 0 h 4882390"/>
              <a:gd name="connsiteX4" fmla="*/ 9829800 w 9829800"/>
              <a:gd name="connsiteY4" fmla="*/ 4882390 h 4882390"/>
              <a:gd name="connsiteX5" fmla="*/ 7981950 w 9829800"/>
              <a:gd name="connsiteY5" fmla="*/ 4882390 h 4882390"/>
              <a:gd name="connsiteX6" fmla="*/ 2183098 w 9829800"/>
              <a:gd name="connsiteY6" fmla="*/ 4882390 h 4882390"/>
              <a:gd name="connsiteX7" fmla="*/ 78072 w 9829800"/>
              <a:gd name="connsiteY7" fmla="*/ 4882390 h 4882390"/>
              <a:gd name="connsiteX8" fmla="*/ 0 w 9829800"/>
              <a:gd name="connsiteY8" fmla="*/ 4804318 h 4882390"/>
              <a:gd name="connsiteX9" fmla="*/ 831987 w 9829800"/>
              <a:gd name="connsiteY9" fmla="*/ 78072 h 4882390"/>
              <a:gd name="connsiteX10" fmla="*/ 910059 w 9829800"/>
              <a:gd name="connsiteY10" fmla="*/ 0 h 4882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829800" h="4882390">
                <a:moveTo>
                  <a:pt x="910059" y="0"/>
                </a:moveTo>
                <a:lnTo>
                  <a:pt x="3015085" y="0"/>
                </a:lnTo>
                <a:lnTo>
                  <a:pt x="7981950" y="0"/>
                </a:lnTo>
                <a:lnTo>
                  <a:pt x="9829800" y="0"/>
                </a:lnTo>
                <a:lnTo>
                  <a:pt x="9829800" y="4882390"/>
                </a:lnTo>
                <a:lnTo>
                  <a:pt x="7981950" y="4882390"/>
                </a:lnTo>
                <a:lnTo>
                  <a:pt x="2183098" y="4882390"/>
                </a:lnTo>
                <a:lnTo>
                  <a:pt x="78072" y="4882390"/>
                </a:lnTo>
                <a:cubicBezTo>
                  <a:pt x="34957" y="4882390"/>
                  <a:pt x="0" y="4847433"/>
                  <a:pt x="0" y="4804318"/>
                </a:cubicBezTo>
                <a:lnTo>
                  <a:pt x="831987" y="78072"/>
                </a:lnTo>
                <a:cubicBezTo>
                  <a:pt x="831987" y="34957"/>
                  <a:pt x="866945" y="0"/>
                  <a:pt x="910059" y="0"/>
                </a:cubicBezTo>
                <a:close/>
              </a:path>
            </a:pathLst>
          </a:custGeom>
          <a:gradFill>
            <a:gsLst>
              <a:gs pos="0">
                <a:schemeClr val="bg1"/>
              </a:gs>
              <a:gs pos="95000">
                <a:srgbClr val="ECF0F4"/>
              </a:gs>
            </a:gsLst>
            <a:lin ang="5400000" scaled="1"/>
          </a:gradFill>
          <a:ln w="11652" cap="flat">
            <a:noFill/>
            <a:prstDash val="solid"/>
            <a:miter/>
          </a:ln>
        </p:spPr>
        <p:txBody>
          <a:bodyPr rtlCol="0" anchor="ctr"/>
          <a:lstStyle/>
          <a:p>
            <a:endParaRPr lang="de-DE"/>
          </a:p>
        </p:txBody>
      </p:sp>
    </p:spTree>
    <p:extLst>
      <p:ext uri="{BB962C8B-B14F-4D97-AF65-F5344CB8AC3E}">
        <p14:creationId xmlns:p14="http://schemas.microsoft.com/office/powerpoint/2010/main" val="3461791778"/>
      </p:ext>
    </p:extLst>
  </p:cSld>
  <p:clrMapOvr>
    <a:masterClrMapping/>
  </p:clrMapOvr>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0_Title Slide">
    <p:spTree>
      <p:nvGrpSpPr>
        <p:cNvPr id="1" name=""/>
        <p:cNvGrpSpPr/>
        <p:nvPr/>
      </p:nvGrpSpPr>
      <p:grpSpPr>
        <a:xfrm>
          <a:off x="0" y="0"/>
          <a:ext cx="0" cy="0"/>
          <a:chOff x="0" y="0"/>
          <a:chExt cx="0" cy="0"/>
        </a:xfrm>
      </p:grpSpPr>
      <p:sp>
        <p:nvSpPr>
          <p:cNvPr id="2" name="Rectangle: Diagonal Corners Rounded 1">
            <a:extLst>
              <a:ext uri="{FF2B5EF4-FFF2-40B4-BE49-F238E27FC236}">
                <a16:creationId xmlns:a16="http://schemas.microsoft.com/office/drawing/2014/main" id="{9B7649B2-2893-4336-9F6A-E261B8C7C7DB}"/>
              </a:ext>
            </a:extLst>
          </p:cNvPr>
          <p:cNvSpPr/>
          <p:nvPr userDrawn="1"/>
        </p:nvSpPr>
        <p:spPr>
          <a:xfrm>
            <a:off x="812800" y="728662"/>
            <a:ext cx="10566400" cy="5589588"/>
          </a:xfrm>
          <a:prstGeom prst="round2DiagRect">
            <a:avLst>
              <a:gd name="adj1" fmla="val 4770"/>
              <a:gd name="adj2" fmla="val 0"/>
            </a:avLst>
          </a:prstGeom>
          <a:solidFill>
            <a:schemeClr val="accent1">
              <a:alpha val="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Tree>
    <p:extLst>
      <p:ext uri="{BB962C8B-B14F-4D97-AF65-F5344CB8AC3E}">
        <p14:creationId xmlns:p14="http://schemas.microsoft.com/office/powerpoint/2010/main" val="2985051846"/>
      </p:ext>
    </p:extLst>
  </p:cSld>
  <p:clrMapOvr>
    <a:masterClrMapping/>
  </p:clrMapOvr>
  <p:transition/>
  <p:extLst>
    <p:ext uri="{DCECCB84-F9BA-43D5-87BE-67443E8EF086}">
      <p15:sldGuideLst xmlns:p15="http://schemas.microsoft.com/office/powerpoint/2012/main">
        <p15:guide id="1" orient="horz" pos="4320">
          <p15:clr>
            <a:srgbClr val="FBAE40"/>
          </p15:clr>
        </p15:guide>
        <p15:guide id="2" pos="7681">
          <p15:clr>
            <a:srgbClr val="FBAE40"/>
          </p15:clr>
        </p15:guide>
        <p15:guide id="3" pos="985">
          <p15:clr>
            <a:srgbClr val="FBAE40"/>
          </p15:clr>
        </p15:guide>
        <p15:guide id="4" pos="14377">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41_Custom Layou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D623F710-3A2E-425B-A333-5A92DAD13EA9}"/>
              </a:ext>
            </a:extLst>
          </p:cNvPr>
          <p:cNvSpPr>
            <a:spLocks noGrp="1" noChangeAspect="1"/>
          </p:cNvSpPr>
          <p:nvPr>
            <p:ph type="pic" sz="quarter" idx="13" hasCustomPrompt="1"/>
          </p:nvPr>
        </p:nvSpPr>
        <p:spPr>
          <a:xfrm>
            <a:off x="2910374" y="2477150"/>
            <a:ext cx="2103841" cy="4689762"/>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rot lat="19634922" lon="19414224" rev="3362221"/>
            </a:camera>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
        <p:nvSpPr>
          <p:cNvPr id="6" name="Picture Placeholder 4">
            <a:extLst>
              <a:ext uri="{FF2B5EF4-FFF2-40B4-BE49-F238E27FC236}">
                <a16:creationId xmlns:a16="http://schemas.microsoft.com/office/drawing/2014/main" id="{A28F13BA-1910-4632-AD0A-D7B0A4CE4C4D}"/>
              </a:ext>
            </a:extLst>
          </p:cNvPr>
          <p:cNvSpPr>
            <a:spLocks noGrp="1" noChangeAspect="1"/>
          </p:cNvSpPr>
          <p:nvPr>
            <p:ph type="pic" sz="quarter" idx="14" hasCustomPrompt="1"/>
          </p:nvPr>
        </p:nvSpPr>
        <p:spPr>
          <a:xfrm>
            <a:off x="5003114" y="956923"/>
            <a:ext cx="2103841" cy="4689762"/>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rot lat="19634922" lon="19414224" rev="3362221"/>
            </a:camera>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
        <p:nvSpPr>
          <p:cNvPr id="7" name="Picture Placeholder 4">
            <a:extLst>
              <a:ext uri="{FF2B5EF4-FFF2-40B4-BE49-F238E27FC236}">
                <a16:creationId xmlns:a16="http://schemas.microsoft.com/office/drawing/2014/main" id="{4DD410A9-9FE3-4789-A7BC-46C85AFCD272}"/>
              </a:ext>
            </a:extLst>
          </p:cNvPr>
          <p:cNvSpPr>
            <a:spLocks noGrp="1" noChangeAspect="1"/>
          </p:cNvSpPr>
          <p:nvPr>
            <p:ph type="pic" sz="quarter" idx="15" hasCustomPrompt="1"/>
          </p:nvPr>
        </p:nvSpPr>
        <p:spPr>
          <a:xfrm>
            <a:off x="7128261" y="-473642"/>
            <a:ext cx="2103841" cy="4689762"/>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rot lat="19634922" lon="19414224" rev="3362221"/>
            </a:camera>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Tree>
    <p:extLst>
      <p:ext uri="{BB962C8B-B14F-4D97-AF65-F5344CB8AC3E}">
        <p14:creationId xmlns:p14="http://schemas.microsoft.com/office/powerpoint/2010/main" val="55666819"/>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10" presetClass="entr" presetSubtype="0" dur="500" fill="hold" grpId="0" nodeType="withEffect">
                                  <p:stCondLst>
                                    <p:cond delay="140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dur="500" fill="hold" grpId="0" nodeType="withEffect">
                                  <p:stCondLst>
                                    <p:cond delay="160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par>
                                <p:cTn id="11" presetID="10" presetClass="entr" presetSubtype="0" dur="500" fill="hold" grpId="0" nodeType="withEffect">
                                  <p:stCondLst>
                                    <p:cond delay="180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42_Custom Layout">
    <p:spTree>
      <p:nvGrpSpPr>
        <p:cNvPr id="1" name=""/>
        <p:cNvGrpSpPr/>
        <p:nvPr/>
      </p:nvGrpSpPr>
      <p:grpSpPr>
        <a:xfrm>
          <a:off x="0" y="0"/>
          <a:ext cx="0" cy="0"/>
          <a:chOff x="0" y="0"/>
          <a:chExt cx="0" cy="0"/>
        </a:xfrm>
      </p:grpSpPr>
      <p:sp>
        <p:nvSpPr>
          <p:cNvPr id="7" name="Picture Placeholder 4">
            <a:extLst>
              <a:ext uri="{FF2B5EF4-FFF2-40B4-BE49-F238E27FC236}">
                <a16:creationId xmlns:a16="http://schemas.microsoft.com/office/drawing/2014/main" id="{4DD410A9-9FE3-4789-A7BC-46C85AFCD272}"/>
              </a:ext>
            </a:extLst>
          </p:cNvPr>
          <p:cNvSpPr>
            <a:spLocks noGrp="1" noChangeAspect="1"/>
          </p:cNvSpPr>
          <p:nvPr>
            <p:ph type="pic" sz="quarter" idx="15" hasCustomPrompt="1"/>
          </p:nvPr>
        </p:nvSpPr>
        <p:spPr>
          <a:xfrm>
            <a:off x="6012984" y="-254938"/>
            <a:ext cx="2103841" cy="4689762"/>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rot lat="19634922" lon="19414224" rev="3362221"/>
            </a:camera>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
        <p:nvSpPr>
          <p:cNvPr id="16" name="Picture Placeholder 4">
            <a:extLst>
              <a:ext uri="{FF2B5EF4-FFF2-40B4-BE49-F238E27FC236}">
                <a16:creationId xmlns:a16="http://schemas.microsoft.com/office/drawing/2014/main" id="{7A52C93F-F0CC-4A4A-ABA9-5A30489F2F8E}"/>
              </a:ext>
            </a:extLst>
          </p:cNvPr>
          <p:cNvSpPr>
            <a:spLocks noGrp="1" noChangeAspect="1"/>
          </p:cNvSpPr>
          <p:nvPr>
            <p:ph type="pic" sz="quarter" idx="16" hasCustomPrompt="1"/>
          </p:nvPr>
        </p:nvSpPr>
        <p:spPr>
          <a:xfrm>
            <a:off x="5311719" y="2240621"/>
            <a:ext cx="2103841" cy="4689762"/>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rot lat="19634922" lon="19414224" rev="3362221"/>
            </a:camera>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
        <p:nvSpPr>
          <p:cNvPr id="17" name="Picture Placeholder 4">
            <a:extLst>
              <a:ext uri="{FF2B5EF4-FFF2-40B4-BE49-F238E27FC236}">
                <a16:creationId xmlns:a16="http://schemas.microsoft.com/office/drawing/2014/main" id="{DAA3E768-26D8-4B93-883E-2190238146FB}"/>
              </a:ext>
            </a:extLst>
          </p:cNvPr>
          <p:cNvSpPr>
            <a:spLocks noGrp="1" noChangeAspect="1"/>
          </p:cNvSpPr>
          <p:nvPr>
            <p:ph type="pic" sz="quarter" idx="17" hasCustomPrompt="1"/>
          </p:nvPr>
        </p:nvSpPr>
        <p:spPr>
          <a:xfrm>
            <a:off x="1322508" y="-438770"/>
            <a:ext cx="2103841" cy="4689762"/>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rot lat="19634922" lon="19414224" rev="3362221"/>
            </a:camera>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
        <p:nvSpPr>
          <p:cNvPr id="18" name="Picture Placeholder 4">
            <a:extLst>
              <a:ext uri="{FF2B5EF4-FFF2-40B4-BE49-F238E27FC236}">
                <a16:creationId xmlns:a16="http://schemas.microsoft.com/office/drawing/2014/main" id="{9A96855E-0C0B-42CE-91C9-AE3C8F1221FD}"/>
              </a:ext>
            </a:extLst>
          </p:cNvPr>
          <p:cNvSpPr>
            <a:spLocks noGrp="1" noChangeAspect="1"/>
          </p:cNvSpPr>
          <p:nvPr>
            <p:ph type="pic" sz="quarter" idx="18" hasCustomPrompt="1"/>
          </p:nvPr>
        </p:nvSpPr>
        <p:spPr>
          <a:xfrm>
            <a:off x="9304707" y="4906796"/>
            <a:ext cx="2103841" cy="4689762"/>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rot lat="19634922" lon="19414224" rev="3362221"/>
            </a:camera>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
        <p:nvSpPr>
          <p:cNvPr id="19" name="Picture Placeholder 4">
            <a:extLst>
              <a:ext uri="{FF2B5EF4-FFF2-40B4-BE49-F238E27FC236}">
                <a16:creationId xmlns:a16="http://schemas.microsoft.com/office/drawing/2014/main" id="{931DAE40-C18E-4237-B28F-25D660550E74}"/>
              </a:ext>
            </a:extLst>
          </p:cNvPr>
          <p:cNvSpPr>
            <a:spLocks noGrp="1" noChangeAspect="1"/>
          </p:cNvSpPr>
          <p:nvPr>
            <p:ph type="pic" sz="quarter" idx="19" hasCustomPrompt="1"/>
          </p:nvPr>
        </p:nvSpPr>
        <p:spPr>
          <a:xfrm>
            <a:off x="10020490" y="2447842"/>
            <a:ext cx="2103841" cy="4689762"/>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rot lat="19634922" lon="19414224" rev="3362221"/>
            </a:camera>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
        <p:nvSpPr>
          <p:cNvPr id="20" name="Picture Placeholder 4">
            <a:extLst>
              <a:ext uri="{FF2B5EF4-FFF2-40B4-BE49-F238E27FC236}">
                <a16:creationId xmlns:a16="http://schemas.microsoft.com/office/drawing/2014/main" id="{02AD1624-5BD6-4E5E-B307-26317D0BDFEC}"/>
              </a:ext>
            </a:extLst>
          </p:cNvPr>
          <p:cNvSpPr>
            <a:spLocks noGrp="1" noChangeAspect="1"/>
          </p:cNvSpPr>
          <p:nvPr>
            <p:ph type="pic" sz="quarter" idx="20" hasCustomPrompt="1"/>
          </p:nvPr>
        </p:nvSpPr>
        <p:spPr>
          <a:xfrm>
            <a:off x="9899782" y="-558075"/>
            <a:ext cx="2103841" cy="4689762"/>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rot lat="19634922" lon="19414224" rev="3362221"/>
            </a:camera>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
        <p:nvSpPr>
          <p:cNvPr id="21" name="Picture Placeholder 4">
            <a:extLst>
              <a:ext uri="{FF2B5EF4-FFF2-40B4-BE49-F238E27FC236}">
                <a16:creationId xmlns:a16="http://schemas.microsoft.com/office/drawing/2014/main" id="{F76A9713-42A3-4558-AF3C-975E68B3604A}"/>
              </a:ext>
            </a:extLst>
          </p:cNvPr>
          <p:cNvSpPr>
            <a:spLocks noGrp="1" noChangeAspect="1"/>
          </p:cNvSpPr>
          <p:nvPr>
            <p:ph type="pic" sz="quarter" idx="21" hasCustomPrompt="1"/>
          </p:nvPr>
        </p:nvSpPr>
        <p:spPr>
          <a:xfrm>
            <a:off x="5917772" y="-3236375"/>
            <a:ext cx="2103841" cy="4689762"/>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rot lat="19634922" lon="19414224" rev="3362221"/>
            </a:camera>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
        <p:nvSpPr>
          <p:cNvPr id="22" name="Picture Placeholder 4">
            <a:extLst>
              <a:ext uri="{FF2B5EF4-FFF2-40B4-BE49-F238E27FC236}">
                <a16:creationId xmlns:a16="http://schemas.microsoft.com/office/drawing/2014/main" id="{AFD2B53B-0A07-43BF-9BEA-C72C900E6505}"/>
              </a:ext>
            </a:extLst>
          </p:cNvPr>
          <p:cNvSpPr>
            <a:spLocks noGrp="1" noChangeAspect="1"/>
          </p:cNvSpPr>
          <p:nvPr>
            <p:ph type="pic" sz="quarter" idx="22" hasCustomPrompt="1"/>
          </p:nvPr>
        </p:nvSpPr>
        <p:spPr>
          <a:xfrm>
            <a:off x="2027017" y="-2899146"/>
            <a:ext cx="2103841" cy="4689762"/>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rot lat="19634922" lon="19414224" rev="3362221"/>
            </a:camera>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Tree>
    <p:extLst>
      <p:ext uri="{BB962C8B-B14F-4D97-AF65-F5344CB8AC3E}">
        <p14:creationId xmlns:p14="http://schemas.microsoft.com/office/powerpoint/2010/main" val="2121108318"/>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10" presetClass="entr" presetSubtype="0" dur="300" fill="hold" grpId="0" nodeType="withEffect">
                                  <p:stCondLst>
                                    <p:cond delay="140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300"/>
                                        <p:tgtEl>
                                          <p:spTgt spid="17"/>
                                        </p:tgtEl>
                                      </p:cBhvr>
                                    </p:animEffect>
                                  </p:childTnLst>
                                </p:cTn>
                              </p:par>
                              <p:par>
                                <p:cTn id="8" presetID="10" presetClass="entr" presetSubtype="0" dur="300" fill="hold" grpId="0" nodeType="withEffect">
                                  <p:stCondLst>
                                    <p:cond delay="160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300"/>
                                        <p:tgtEl>
                                          <p:spTgt spid="16"/>
                                        </p:tgtEl>
                                      </p:cBhvr>
                                    </p:animEffect>
                                  </p:childTnLst>
                                </p:cTn>
                              </p:par>
                              <p:par>
                                <p:cTn id="11" presetID="10" presetClass="entr" presetSubtype="0" dur="300" fill="hold" grpId="0" nodeType="withEffect">
                                  <p:stCondLst>
                                    <p:cond delay="1800"/>
                                  </p:stCondLst>
                                  <p:childTnLst>
                                    <p:set>
                                      <p:cBhvr>
                                        <p:cTn id="12" dur="1" fill="hold">
                                          <p:stCondLst>
                                            <p:cond delay="0"/>
                                          </p:stCondLst>
                                        </p:cTn>
                                        <p:tgtEl>
                                          <p:spTgt spid="18"/>
                                        </p:tgtEl>
                                        <p:attrNameLst>
                                          <p:attrName>style.visibility</p:attrName>
                                        </p:attrNameLst>
                                      </p:cBhvr>
                                      <p:to>
                                        <p:strVal val="visible"/>
                                      </p:to>
                                    </p:set>
                                    <p:animEffect transition="in" filter="fade">
                                      <p:cBhvr>
                                        <p:cTn id="13" dur="300"/>
                                        <p:tgtEl>
                                          <p:spTgt spid="18"/>
                                        </p:tgtEl>
                                      </p:cBhvr>
                                    </p:animEffect>
                                  </p:childTnLst>
                                </p:cTn>
                              </p:par>
                              <p:par>
                                <p:cTn id="14" presetID="10" presetClass="entr" presetSubtype="0" dur="300" fill="hold" grpId="0" nodeType="withEffect">
                                  <p:stCondLst>
                                    <p:cond delay="2000"/>
                                  </p:stCondLst>
                                  <p:childTnLst>
                                    <p:set>
                                      <p:cBhvr>
                                        <p:cTn id="15" dur="1" fill="hold">
                                          <p:stCondLst>
                                            <p:cond delay="0"/>
                                          </p:stCondLst>
                                        </p:cTn>
                                        <p:tgtEl>
                                          <p:spTgt spid="22"/>
                                        </p:tgtEl>
                                        <p:attrNameLst>
                                          <p:attrName>style.visibility</p:attrName>
                                        </p:attrNameLst>
                                      </p:cBhvr>
                                      <p:to>
                                        <p:strVal val="visible"/>
                                      </p:to>
                                    </p:set>
                                    <p:animEffect transition="in" filter="fade">
                                      <p:cBhvr>
                                        <p:cTn id="16" dur="300"/>
                                        <p:tgtEl>
                                          <p:spTgt spid="22"/>
                                        </p:tgtEl>
                                      </p:cBhvr>
                                    </p:animEffect>
                                  </p:childTnLst>
                                </p:cTn>
                              </p:par>
                              <p:par>
                                <p:cTn id="17" presetID="10" presetClass="entr" presetSubtype="0" dur="300" fill="hold" grpId="0" nodeType="withEffect">
                                  <p:stCondLst>
                                    <p:cond delay="220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300"/>
                                        <p:tgtEl>
                                          <p:spTgt spid="7"/>
                                        </p:tgtEl>
                                      </p:cBhvr>
                                    </p:animEffect>
                                  </p:childTnLst>
                                </p:cTn>
                              </p:par>
                              <p:par>
                                <p:cTn id="20" presetID="10" presetClass="entr" presetSubtype="0" dur="300" fill="hold" grpId="0" nodeType="withEffect">
                                  <p:stCondLst>
                                    <p:cond delay="2400"/>
                                  </p:stCondLst>
                                  <p:childTnLst>
                                    <p:set>
                                      <p:cBhvr>
                                        <p:cTn id="21" dur="1" fill="hold">
                                          <p:stCondLst>
                                            <p:cond delay="0"/>
                                          </p:stCondLst>
                                        </p:cTn>
                                        <p:tgtEl>
                                          <p:spTgt spid="19"/>
                                        </p:tgtEl>
                                        <p:attrNameLst>
                                          <p:attrName>style.visibility</p:attrName>
                                        </p:attrNameLst>
                                      </p:cBhvr>
                                      <p:to>
                                        <p:strVal val="visible"/>
                                      </p:to>
                                    </p:set>
                                    <p:animEffect transition="in" filter="fade">
                                      <p:cBhvr>
                                        <p:cTn id="22" dur="300"/>
                                        <p:tgtEl>
                                          <p:spTgt spid="19"/>
                                        </p:tgtEl>
                                      </p:cBhvr>
                                    </p:animEffect>
                                  </p:childTnLst>
                                </p:cTn>
                              </p:par>
                              <p:par>
                                <p:cTn id="23" presetID="10" presetClass="entr" presetSubtype="0" dur="300" fill="hold" grpId="0" nodeType="withEffect">
                                  <p:stCondLst>
                                    <p:cond delay="2600"/>
                                  </p:stCondLst>
                                  <p:childTnLst>
                                    <p:set>
                                      <p:cBhvr>
                                        <p:cTn id="24" dur="1" fill="hold">
                                          <p:stCondLst>
                                            <p:cond delay="0"/>
                                          </p:stCondLst>
                                        </p:cTn>
                                        <p:tgtEl>
                                          <p:spTgt spid="21"/>
                                        </p:tgtEl>
                                        <p:attrNameLst>
                                          <p:attrName>style.visibility</p:attrName>
                                        </p:attrNameLst>
                                      </p:cBhvr>
                                      <p:to>
                                        <p:strVal val="visible"/>
                                      </p:to>
                                    </p:set>
                                    <p:animEffect transition="in" filter="fade">
                                      <p:cBhvr>
                                        <p:cTn id="25" dur="300"/>
                                        <p:tgtEl>
                                          <p:spTgt spid="21"/>
                                        </p:tgtEl>
                                      </p:cBhvr>
                                    </p:animEffect>
                                  </p:childTnLst>
                                </p:cTn>
                              </p:par>
                              <p:par>
                                <p:cTn id="26" presetID="10" presetClass="entr" presetSubtype="0" dur="300" fill="hold" grpId="0" nodeType="withEffect">
                                  <p:stCondLst>
                                    <p:cond delay="2800"/>
                                  </p:stCondLst>
                                  <p:childTnLst>
                                    <p:set>
                                      <p:cBhvr>
                                        <p:cTn id="27" dur="1" fill="hold">
                                          <p:stCondLst>
                                            <p:cond delay="0"/>
                                          </p:stCondLst>
                                        </p:cTn>
                                        <p:tgtEl>
                                          <p:spTgt spid="20"/>
                                        </p:tgtEl>
                                        <p:attrNameLst>
                                          <p:attrName>style.visibility</p:attrName>
                                        </p:attrNameLst>
                                      </p:cBhvr>
                                      <p:to>
                                        <p:strVal val="visible"/>
                                      </p:to>
                                    </p:set>
                                    <p:animEffect transition="in" filter="fade">
                                      <p:cBhvr>
                                        <p:cTn id="28" dur="3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6" grpId="0" animBg="1"/>
      <p:bldP spid="17" grpId="0" animBg="1"/>
      <p:bldP spid="18" grpId="0" animBg="1"/>
      <p:bldP spid="19" grpId="0" animBg="1"/>
      <p:bldP spid="20" grpId="0" animBg="1"/>
      <p:bldP spid="21" grpId="0" animBg="1"/>
      <p:bldP spid="22" grpId="0" animBg="1"/>
    </p:bld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49_Custom Layout">
    <p:spTree>
      <p:nvGrpSpPr>
        <p:cNvPr id="1" name=""/>
        <p:cNvGrpSpPr/>
        <p:nvPr/>
      </p:nvGrpSpPr>
      <p:grpSpPr>
        <a:xfrm>
          <a:off x="0" y="0"/>
          <a:ext cx="0" cy="0"/>
          <a:chOff x="0" y="0"/>
          <a:chExt cx="0" cy="0"/>
        </a:xfrm>
      </p:grpSpPr>
      <p:sp>
        <p:nvSpPr>
          <p:cNvPr id="7" name="Picture Placeholder 4">
            <a:extLst>
              <a:ext uri="{FF2B5EF4-FFF2-40B4-BE49-F238E27FC236}">
                <a16:creationId xmlns:a16="http://schemas.microsoft.com/office/drawing/2014/main" id="{4DD410A9-9FE3-4789-A7BC-46C85AFCD272}"/>
              </a:ext>
            </a:extLst>
          </p:cNvPr>
          <p:cNvSpPr>
            <a:spLocks noGrp="1" noChangeAspect="1"/>
          </p:cNvSpPr>
          <p:nvPr>
            <p:ph type="pic" sz="quarter" idx="15" hasCustomPrompt="1"/>
          </p:nvPr>
        </p:nvSpPr>
        <p:spPr>
          <a:xfrm>
            <a:off x="4527312" y="33960"/>
            <a:ext cx="3080233" cy="6866281"/>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rot lat="19634922" lon="19414224" rev="3362221"/>
            </a:camera>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Tree>
    <p:extLst>
      <p:ext uri="{BB962C8B-B14F-4D97-AF65-F5344CB8AC3E}">
        <p14:creationId xmlns:p14="http://schemas.microsoft.com/office/powerpoint/2010/main" val="2083205773"/>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10" presetClass="entr" presetSubtype="0" dur="300" fill="hold" grpId="0" nodeType="withEffect">
                                  <p:stCondLst>
                                    <p:cond delay="15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3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44_Custom Layout">
    <p:spTree>
      <p:nvGrpSpPr>
        <p:cNvPr id="1" name=""/>
        <p:cNvGrpSpPr/>
        <p:nvPr/>
      </p:nvGrpSpPr>
      <p:grpSpPr>
        <a:xfrm>
          <a:off x="0" y="0"/>
          <a:ext cx="0" cy="0"/>
          <a:chOff x="0" y="0"/>
          <a:chExt cx="0" cy="0"/>
        </a:xfrm>
      </p:grpSpPr>
      <p:sp>
        <p:nvSpPr>
          <p:cNvPr id="4" name="Picture Placeholder 4">
            <a:extLst>
              <a:ext uri="{FF2B5EF4-FFF2-40B4-BE49-F238E27FC236}">
                <a16:creationId xmlns:a16="http://schemas.microsoft.com/office/drawing/2014/main" id="{14A02EFB-B385-47FF-9B8B-D0AF70EB0ACA}"/>
              </a:ext>
            </a:extLst>
          </p:cNvPr>
          <p:cNvSpPr>
            <a:spLocks noGrp="1"/>
          </p:cNvSpPr>
          <p:nvPr>
            <p:ph type="pic" sz="quarter" idx="14" hasCustomPrompt="1"/>
          </p:nvPr>
        </p:nvSpPr>
        <p:spPr>
          <a:xfrm>
            <a:off x="3288140" y="625268"/>
            <a:ext cx="2757066" cy="5607464"/>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rot lat="21156044" lon="19471222" rev="2142000"/>
            </a:camera>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Tree>
    <p:extLst>
      <p:ext uri="{BB962C8B-B14F-4D97-AF65-F5344CB8AC3E}">
        <p14:creationId xmlns:p14="http://schemas.microsoft.com/office/powerpoint/2010/main" val="4023602673"/>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10" presetClass="entr" presetSubtype="0" dur="500" fill="hold" grpId="0" nodeType="withEffect">
                                  <p:stCondLst>
                                    <p:cond delay="140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47_Custom Layout">
    <p:spTree>
      <p:nvGrpSpPr>
        <p:cNvPr id="1" name=""/>
        <p:cNvGrpSpPr/>
        <p:nvPr/>
      </p:nvGrpSpPr>
      <p:grpSpPr>
        <a:xfrm>
          <a:off x="0" y="0"/>
          <a:ext cx="0" cy="0"/>
          <a:chOff x="0" y="0"/>
          <a:chExt cx="0" cy="0"/>
        </a:xfrm>
      </p:grpSpPr>
      <p:sp>
        <p:nvSpPr>
          <p:cNvPr id="8" name="Picture Placeholder 4">
            <a:extLst>
              <a:ext uri="{FF2B5EF4-FFF2-40B4-BE49-F238E27FC236}">
                <a16:creationId xmlns:a16="http://schemas.microsoft.com/office/drawing/2014/main" id="{BACFF124-91DE-4270-8B20-C6B773DA6F3E}"/>
              </a:ext>
            </a:extLst>
          </p:cNvPr>
          <p:cNvSpPr>
            <a:spLocks noGrp="1"/>
          </p:cNvSpPr>
          <p:nvPr>
            <p:ph type="pic" sz="quarter" idx="19" hasCustomPrompt="1"/>
          </p:nvPr>
        </p:nvSpPr>
        <p:spPr>
          <a:xfrm>
            <a:off x="1232834" y="1224083"/>
            <a:ext cx="2098275" cy="4255378"/>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rot lat="21156044" lon="19471222" rev="2142000"/>
            </a:camera>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
        <p:nvSpPr>
          <p:cNvPr id="9" name="Picture Placeholder 4">
            <a:extLst>
              <a:ext uri="{FF2B5EF4-FFF2-40B4-BE49-F238E27FC236}">
                <a16:creationId xmlns:a16="http://schemas.microsoft.com/office/drawing/2014/main" id="{D29ACF4C-B280-4B02-861A-2A89FDA38207}"/>
              </a:ext>
            </a:extLst>
          </p:cNvPr>
          <p:cNvSpPr>
            <a:spLocks noGrp="1"/>
          </p:cNvSpPr>
          <p:nvPr>
            <p:ph type="pic" sz="quarter" idx="20" hasCustomPrompt="1"/>
          </p:nvPr>
        </p:nvSpPr>
        <p:spPr>
          <a:xfrm>
            <a:off x="4999243" y="1224083"/>
            <a:ext cx="2098275" cy="4255378"/>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rot lat="21156044" lon="19471222" rev="2142000"/>
            </a:camera>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
        <p:nvSpPr>
          <p:cNvPr id="10" name="Picture Placeholder 4">
            <a:extLst>
              <a:ext uri="{FF2B5EF4-FFF2-40B4-BE49-F238E27FC236}">
                <a16:creationId xmlns:a16="http://schemas.microsoft.com/office/drawing/2014/main" id="{CEFB7973-0670-4441-9F1A-0A9A6A0C786C}"/>
              </a:ext>
            </a:extLst>
          </p:cNvPr>
          <p:cNvSpPr>
            <a:spLocks noGrp="1"/>
          </p:cNvSpPr>
          <p:nvPr>
            <p:ph type="pic" sz="quarter" idx="21" hasCustomPrompt="1"/>
          </p:nvPr>
        </p:nvSpPr>
        <p:spPr>
          <a:xfrm>
            <a:off x="8909132" y="1224083"/>
            <a:ext cx="2098275" cy="4255378"/>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rot lat="21156044" lon="19471222" rev="2142000"/>
            </a:camera>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Tree>
    <p:extLst>
      <p:ext uri="{BB962C8B-B14F-4D97-AF65-F5344CB8AC3E}">
        <p14:creationId xmlns:p14="http://schemas.microsoft.com/office/powerpoint/2010/main" val="34848896"/>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10" presetClass="entr" presetSubtype="0" dur="300" fill="hold" grpId="0" nodeType="withEffect">
                                  <p:stCondLst>
                                    <p:cond delay="140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300"/>
                                        <p:tgtEl>
                                          <p:spTgt spid="8"/>
                                        </p:tgtEl>
                                      </p:cBhvr>
                                    </p:animEffect>
                                  </p:childTnLst>
                                </p:cTn>
                              </p:par>
                              <p:par>
                                <p:cTn id="8" presetID="10" presetClass="entr" presetSubtype="0" dur="300" fill="hold" grpId="0" nodeType="withEffect">
                                  <p:stCondLst>
                                    <p:cond delay="160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300"/>
                                        <p:tgtEl>
                                          <p:spTgt spid="9"/>
                                        </p:tgtEl>
                                      </p:cBhvr>
                                    </p:animEffect>
                                  </p:childTnLst>
                                </p:cTn>
                              </p:par>
                              <p:par>
                                <p:cTn id="11" presetID="10" presetClass="entr" presetSubtype="0" dur="300" fill="hold" grpId="0" nodeType="withEffect">
                                  <p:stCondLst>
                                    <p:cond delay="18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3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46_Custom Layout">
    <p:spTree>
      <p:nvGrpSpPr>
        <p:cNvPr id="1" name=""/>
        <p:cNvGrpSpPr/>
        <p:nvPr/>
      </p:nvGrpSpPr>
      <p:grpSpPr>
        <a:xfrm>
          <a:off x="0" y="0"/>
          <a:ext cx="0" cy="0"/>
          <a:chOff x="0" y="0"/>
          <a:chExt cx="0" cy="0"/>
        </a:xfrm>
      </p:grpSpPr>
      <p:sp>
        <p:nvSpPr>
          <p:cNvPr id="11" name="Picture Placeholder 4">
            <a:extLst>
              <a:ext uri="{FF2B5EF4-FFF2-40B4-BE49-F238E27FC236}">
                <a16:creationId xmlns:a16="http://schemas.microsoft.com/office/drawing/2014/main" id="{BC04114F-B17C-47EC-AF69-2916485680D0}"/>
              </a:ext>
            </a:extLst>
          </p:cNvPr>
          <p:cNvSpPr>
            <a:spLocks noGrp="1"/>
          </p:cNvSpPr>
          <p:nvPr>
            <p:ph type="pic" sz="quarter" idx="14" hasCustomPrompt="1"/>
          </p:nvPr>
        </p:nvSpPr>
        <p:spPr>
          <a:xfrm>
            <a:off x="3805790" y="369627"/>
            <a:ext cx="2278521" cy="4634173"/>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rot lat="21156044" lon="19471222" rev="2142000"/>
            </a:camera>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
        <p:nvSpPr>
          <p:cNvPr id="12" name="Picture Placeholder 4">
            <a:extLst>
              <a:ext uri="{FF2B5EF4-FFF2-40B4-BE49-F238E27FC236}">
                <a16:creationId xmlns:a16="http://schemas.microsoft.com/office/drawing/2014/main" id="{B6222758-0FAF-4255-9C81-1A0F962F6FB8}"/>
              </a:ext>
            </a:extLst>
          </p:cNvPr>
          <p:cNvSpPr>
            <a:spLocks noGrp="1"/>
          </p:cNvSpPr>
          <p:nvPr>
            <p:ph type="pic" sz="quarter" idx="15" hasCustomPrompt="1"/>
          </p:nvPr>
        </p:nvSpPr>
        <p:spPr>
          <a:xfrm>
            <a:off x="8029802" y="1328498"/>
            <a:ext cx="2278521" cy="4634173"/>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rot lat="21156044" lon="19471222" rev="2142000"/>
            </a:camera>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
        <p:nvSpPr>
          <p:cNvPr id="13" name="Picture Placeholder 4">
            <a:extLst>
              <a:ext uri="{FF2B5EF4-FFF2-40B4-BE49-F238E27FC236}">
                <a16:creationId xmlns:a16="http://schemas.microsoft.com/office/drawing/2014/main" id="{BEC7EB88-1C11-44DF-B215-3D5169279634}"/>
              </a:ext>
            </a:extLst>
          </p:cNvPr>
          <p:cNvSpPr>
            <a:spLocks noGrp="1"/>
          </p:cNvSpPr>
          <p:nvPr>
            <p:ph type="pic" sz="quarter" idx="16" hasCustomPrompt="1"/>
          </p:nvPr>
        </p:nvSpPr>
        <p:spPr>
          <a:xfrm>
            <a:off x="7004941" y="4764436"/>
            <a:ext cx="2278521" cy="4634173"/>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rot lat="21156044" lon="19471222" rev="2142000"/>
            </a:camera>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
        <p:nvSpPr>
          <p:cNvPr id="14" name="Picture Placeholder 4">
            <a:extLst>
              <a:ext uri="{FF2B5EF4-FFF2-40B4-BE49-F238E27FC236}">
                <a16:creationId xmlns:a16="http://schemas.microsoft.com/office/drawing/2014/main" id="{533DC553-12CF-406F-9DB9-67DB3CFD36CA}"/>
              </a:ext>
            </a:extLst>
          </p:cNvPr>
          <p:cNvSpPr>
            <a:spLocks noGrp="1"/>
          </p:cNvSpPr>
          <p:nvPr>
            <p:ph type="pic" sz="quarter" idx="17" hasCustomPrompt="1"/>
          </p:nvPr>
        </p:nvSpPr>
        <p:spPr>
          <a:xfrm>
            <a:off x="4850430" y="-3081125"/>
            <a:ext cx="2278521" cy="4634173"/>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rot lat="21156044" lon="19471222" rev="2142000"/>
            </a:camera>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
        <p:nvSpPr>
          <p:cNvPr id="17" name="Picture Placeholder 4">
            <a:extLst>
              <a:ext uri="{FF2B5EF4-FFF2-40B4-BE49-F238E27FC236}">
                <a16:creationId xmlns:a16="http://schemas.microsoft.com/office/drawing/2014/main" id="{A89E6887-55DE-40BF-915A-82B7ABE85B25}"/>
              </a:ext>
            </a:extLst>
          </p:cNvPr>
          <p:cNvSpPr>
            <a:spLocks noGrp="1"/>
          </p:cNvSpPr>
          <p:nvPr>
            <p:ph type="pic" sz="quarter" idx="18" hasCustomPrompt="1"/>
          </p:nvPr>
        </p:nvSpPr>
        <p:spPr>
          <a:xfrm>
            <a:off x="628784" y="-4053479"/>
            <a:ext cx="2278521" cy="4634173"/>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rot lat="21156044" lon="19471222" rev="2142000"/>
            </a:camera>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
        <p:nvSpPr>
          <p:cNvPr id="18" name="Picture Placeholder 4">
            <a:extLst>
              <a:ext uri="{FF2B5EF4-FFF2-40B4-BE49-F238E27FC236}">
                <a16:creationId xmlns:a16="http://schemas.microsoft.com/office/drawing/2014/main" id="{7A5965A1-0BCC-4AA7-AA83-A54A26EEBB38}"/>
              </a:ext>
            </a:extLst>
          </p:cNvPr>
          <p:cNvSpPr>
            <a:spLocks noGrp="1"/>
          </p:cNvSpPr>
          <p:nvPr>
            <p:ph type="pic" sz="quarter" idx="19" hasCustomPrompt="1"/>
          </p:nvPr>
        </p:nvSpPr>
        <p:spPr>
          <a:xfrm>
            <a:off x="-289595" y="-669291"/>
            <a:ext cx="2278521" cy="4634173"/>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rot lat="21156044" lon="19471222" rev="2142000"/>
            </a:camera>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
        <p:nvSpPr>
          <p:cNvPr id="19" name="Picture Placeholder 4">
            <a:extLst>
              <a:ext uri="{FF2B5EF4-FFF2-40B4-BE49-F238E27FC236}">
                <a16:creationId xmlns:a16="http://schemas.microsoft.com/office/drawing/2014/main" id="{3D5E6D23-BAD6-4EE7-BEF0-298DCA579CAB}"/>
              </a:ext>
            </a:extLst>
          </p:cNvPr>
          <p:cNvSpPr>
            <a:spLocks noGrp="1"/>
          </p:cNvSpPr>
          <p:nvPr>
            <p:ph type="pic" sz="quarter" idx="20" hasCustomPrompt="1"/>
          </p:nvPr>
        </p:nvSpPr>
        <p:spPr>
          <a:xfrm>
            <a:off x="2889420" y="3753816"/>
            <a:ext cx="2278521" cy="4634173"/>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rot lat="21156044" lon="19471222" rev="2142000"/>
            </a:camera>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
        <p:nvSpPr>
          <p:cNvPr id="20" name="Picture Placeholder 4">
            <a:extLst>
              <a:ext uri="{FF2B5EF4-FFF2-40B4-BE49-F238E27FC236}">
                <a16:creationId xmlns:a16="http://schemas.microsoft.com/office/drawing/2014/main" id="{6F22F61A-69C9-4DA6-9D4F-E04805CAFB25}"/>
              </a:ext>
            </a:extLst>
          </p:cNvPr>
          <p:cNvSpPr>
            <a:spLocks noGrp="1"/>
          </p:cNvSpPr>
          <p:nvPr>
            <p:ph type="pic" sz="quarter" idx="21" hasCustomPrompt="1"/>
          </p:nvPr>
        </p:nvSpPr>
        <p:spPr>
          <a:xfrm>
            <a:off x="6088571" y="8142972"/>
            <a:ext cx="2278521" cy="4634173"/>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rot lat="21156044" lon="19471222" rev="2142000"/>
            </a:camera>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
        <p:nvSpPr>
          <p:cNvPr id="21" name="Picture Placeholder 4">
            <a:extLst>
              <a:ext uri="{FF2B5EF4-FFF2-40B4-BE49-F238E27FC236}">
                <a16:creationId xmlns:a16="http://schemas.microsoft.com/office/drawing/2014/main" id="{C6137A97-A52B-4418-9BB7-52427A63AFAE}"/>
              </a:ext>
            </a:extLst>
          </p:cNvPr>
          <p:cNvSpPr>
            <a:spLocks noGrp="1"/>
          </p:cNvSpPr>
          <p:nvPr>
            <p:ph type="pic" sz="quarter" idx="22" hasCustomPrompt="1"/>
          </p:nvPr>
        </p:nvSpPr>
        <p:spPr>
          <a:xfrm>
            <a:off x="11236624" y="5727928"/>
            <a:ext cx="2278521" cy="4634173"/>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rot lat="21156044" lon="19471222" rev="2142000"/>
            </a:camera>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Tree>
    <p:extLst>
      <p:ext uri="{BB962C8B-B14F-4D97-AF65-F5344CB8AC3E}">
        <p14:creationId xmlns:p14="http://schemas.microsoft.com/office/powerpoint/2010/main" val="121714006"/>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42" presetClass="path" presetSubtype="0" dur="5000" repeatCount="indefinite" accel="50000" decel="50000" autoRev="1" fill="hold" grpId="0" nodeType="withEffect">
                                  <p:stCondLst>
                                    <p:cond delay="0"/>
                                  </p:stCondLst>
                                  <p:childTnLst>
                                    <p:animMotion origin="layout" path="M -2.38901E-06 2.22222E-06 L -0.18135 -0.44757" pathEditMode="relative" rAng="0" ptsTypes="AA">
                                      <p:cBhvr>
                                        <p:cTn id="6" dur="5000" fill="hold"/>
                                        <p:tgtEl>
                                          <p:spTgt spid="18"/>
                                        </p:tgtEl>
                                        <p:attrNameLst>
                                          <p:attrName>ppt_x</p:attrName>
                                          <p:attrName>ppt_y</p:attrName>
                                        </p:attrNameLst>
                                      </p:cBhvr>
                                      <p:rCtr x="-9068" y="-22384"/>
                                    </p:animMotion>
                                  </p:childTnLst>
                                </p:cTn>
                              </p:par>
                              <p:par>
                                <p:cTn id="7" presetID="42" presetClass="path" presetSubtype="0" dur="5000" repeatCount="indefinite" accel="50000" decel="50000" autoRev="1" fill="hold" grpId="0" nodeType="withEffect">
                                  <p:stCondLst>
                                    <p:cond delay="100"/>
                                  </p:stCondLst>
                                  <p:childTnLst>
                                    <p:animMotion origin="layout" path="M 4.27418E-06 4.81481E-06 L -0.18136 -0.44757" pathEditMode="relative" rAng="0" ptsTypes="AA">
                                      <p:cBhvr>
                                        <p:cTn id="8" dur="5000" fill="hold"/>
                                        <p:tgtEl>
                                          <p:spTgt spid="19"/>
                                        </p:tgtEl>
                                        <p:attrNameLst>
                                          <p:attrName>ppt_x</p:attrName>
                                          <p:attrName>ppt_y</p:attrName>
                                        </p:attrNameLst>
                                      </p:cBhvr>
                                      <p:rCtr x="-9068" y="-22384"/>
                                    </p:animMotion>
                                  </p:childTnLst>
                                </p:cTn>
                              </p:par>
                              <p:par>
                                <p:cTn id="9" presetID="42" presetClass="path" presetSubtype="0" dur="5000" repeatCount="indefinite" accel="50000" decel="50000" autoRev="1" fill="hold" grpId="0" nodeType="withEffect">
                                  <p:stCondLst>
                                    <p:cond delay="200"/>
                                  </p:stCondLst>
                                  <p:childTnLst>
                                    <p:animMotion origin="layout" path="M 3.54511E-06 -1.48148E-06 L -0.18136 -0.44757" pathEditMode="relative" rAng="0" ptsTypes="AA">
                                      <p:cBhvr>
                                        <p:cTn id="10" dur="5000" fill="hold"/>
                                        <p:tgtEl>
                                          <p:spTgt spid="20"/>
                                        </p:tgtEl>
                                        <p:attrNameLst>
                                          <p:attrName>ppt_x</p:attrName>
                                          <p:attrName>ppt_y</p:attrName>
                                        </p:attrNameLst>
                                      </p:cBhvr>
                                      <p:rCtr x="-9068" y="-22384"/>
                                    </p:animMotion>
                                  </p:childTnLst>
                                </p:cTn>
                              </p:par>
                              <p:par>
                                <p:cTn id="11" presetID="42" presetClass="path" presetSubtype="0" dur="3000" repeatCount="indefinite" accel="50000" decel="50000" autoRev="1" fill="hold" grpId="0" nodeType="withEffect">
                                  <p:stCondLst>
                                    <p:cond delay="300"/>
                                  </p:stCondLst>
                                  <p:childTnLst>
                                    <p:animMotion origin="layout" path="M 1.89689E-06 -5E-06 L -0.18136 -0.44757" pathEditMode="relative" rAng="0" ptsTypes="AA">
                                      <p:cBhvr>
                                        <p:cTn id="12" dur="3000" fill="hold"/>
                                        <p:tgtEl>
                                          <p:spTgt spid="17"/>
                                        </p:tgtEl>
                                        <p:attrNameLst>
                                          <p:attrName>ppt_x</p:attrName>
                                          <p:attrName>ppt_y</p:attrName>
                                        </p:attrNameLst>
                                      </p:cBhvr>
                                      <p:rCtr x="-9068" y="-22373"/>
                                    </p:animMotion>
                                  </p:childTnLst>
                                </p:cTn>
                              </p:par>
                              <p:par>
                                <p:cTn id="13" presetID="42" presetClass="path" presetSubtype="0" dur="3000" repeatCount="indefinite" accel="50000" decel="50000" autoRev="1" fill="hold" grpId="0" nodeType="withEffect">
                                  <p:stCondLst>
                                    <p:cond delay="400"/>
                                  </p:stCondLst>
                                  <p:childTnLst>
                                    <p:animMotion origin="layout" path="M 3.84716E-06 -2.40741E-06 L -0.18136 -0.44757" pathEditMode="relative" rAng="0" ptsTypes="AA">
                                      <p:cBhvr>
                                        <p:cTn id="14" dur="3000" fill="hold"/>
                                        <p:tgtEl>
                                          <p:spTgt spid="11"/>
                                        </p:tgtEl>
                                        <p:attrNameLst>
                                          <p:attrName>ppt_x</p:attrName>
                                          <p:attrName>ppt_y</p:attrName>
                                        </p:attrNameLst>
                                      </p:cBhvr>
                                      <p:rCtr x="-9068" y="-22384"/>
                                    </p:animMotion>
                                  </p:childTnLst>
                                </p:cTn>
                              </p:par>
                              <p:par>
                                <p:cTn id="15" presetID="42" presetClass="path" presetSubtype="0" dur="3000" repeatCount="indefinite" accel="50000" decel="50000" autoRev="1" fill="hold" grpId="0" nodeType="withEffect">
                                  <p:stCondLst>
                                    <p:cond delay="500"/>
                                  </p:stCondLst>
                                  <p:childTnLst>
                                    <p:animMotion origin="layout" path="M 3.11808E-06 -3.14815E-06 L -0.18136 -0.44757" pathEditMode="relative" rAng="0" ptsTypes="AA">
                                      <p:cBhvr>
                                        <p:cTn id="16" dur="3000" fill="hold"/>
                                        <p:tgtEl>
                                          <p:spTgt spid="13"/>
                                        </p:tgtEl>
                                        <p:attrNameLst>
                                          <p:attrName>ppt_x</p:attrName>
                                          <p:attrName>ppt_y</p:attrName>
                                        </p:attrNameLst>
                                      </p:cBhvr>
                                      <p:rCtr x="-9068" y="-22384"/>
                                    </p:animMotion>
                                  </p:childTnLst>
                                </p:cTn>
                              </p:par>
                              <p:par>
                                <p:cTn id="17" presetID="42" presetClass="path" presetSubtype="0" dur="7000" repeatCount="indefinite" accel="50000" decel="50000" autoRev="1" fill="hold" grpId="0" nodeType="withEffect">
                                  <p:stCondLst>
                                    <p:cond delay="600"/>
                                  </p:stCondLst>
                                  <p:childTnLst>
                                    <p:animMotion origin="layout" path="M 2.82255E-06 2.59259E-06 L -0.18136 -0.44757" pathEditMode="relative" rAng="0" ptsTypes="AA">
                                      <p:cBhvr>
                                        <p:cTn id="18" dur="7000" fill="hold"/>
                                        <p:tgtEl>
                                          <p:spTgt spid="14"/>
                                        </p:tgtEl>
                                        <p:attrNameLst>
                                          <p:attrName>ppt_x</p:attrName>
                                          <p:attrName>ppt_y</p:attrName>
                                        </p:attrNameLst>
                                      </p:cBhvr>
                                      <p:rCtr x="-9068" y="-22373"/>
                                    </p:animMotion>
                                  </p:childTnLst>
                                </p:cTn>
                              </p:par>
                              <p:par>
                                <p:cTn id="19" presetID="42" presetClass="path" presetSubtype="0" dur="7000" repeatCount="indefinite" accel="50000" decel="50000" autoRev="1" fill="hold" grpId="0" nodeType="withEffect">
                                  <p:stCondLst>
                                    <p:cond delay="700"/>
                                  </p:stCondLst>
                                  <p:childTnLst>
                                    <p:animMotion origin="layout" path="M -5.14256E-07 2.77778E-06 L -0.18136 -0.44757" pathEditMode="relative" rAng="0" ptsTypes="AA">
                                      <p:cBhvr>
                                        <p:cTn id="20" dur="7000" fill="hold"/>
                                        <p:tgtEl>
                                          <p:spTgt spid="12"/>
                                        </p:tgtEl>
                                        <p:attrNameLst>
                                          <p:attrName>ppt_x</p:attrName>
                                          <p:attrName>ppt_y</p:attrName>
                                        </p:attrNameLst>
                                      </p:cBhvr>
                                      <p:rCtr x="-9068" y="-22384"/>
                                    </p:animMotion>
                                  </p:childTnLst>
                                </p:cTn>
                              </p:par>
                              <p:par>
                                <p:cTn id="21" presetID="42" presetClass="path" presetSubtype="0" dur="7000" repeatCount="indefinite" accel="50000" decel="50000" autoRev="1" fill="hold" grpId="0" nodeType="withEffect">
                                  <p:stCondLst>
                                    <p:cond delay="800"/>
                                  </p:stCondLst>
                                  <p:childTnLst>
                                    <p:animMotion origin="layout" path="M 2.89546E-06 -2.40741E-06 L -0.18136 -0.44757" pathEditMode="relative" rAng="0" ptsTypes="AA">
                                      <p:cBhvr>
                                        <p:cTn id="22" dur="7000" fill="hold"/>
                                        <p:tgtEl>
                                          <p:spTgt spid="21"/>
                                        </p:tgtEl>
                                        <p:attrNameLst>
                                          <p:attrName>ppt_x</p:attrName>
                                          <p:attrName>ppt_y</p:attrName>
                                        </p:attrNameLst>
                                      </p:cBhvr>
                                      <p:rCtr x="-9068" y="-2238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P spid="17" grpId="0" animBg="1"/>
      <p:bldP spid="18" grpId="0" animBg="1"/>
      <p:bldP spid="19" grpId="0" animBg="1"/>
      <p:bldP spid="20" grpId="0" animBg="1"/>
      <p:bldP spid="21" grpId="0" animBg="1"/>
    </p:bld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48_Custom Layout">
    <p:spTree>
      <p:nvGrpSpPr>
        <p:cNvPr id="1" name=""/>
        <p:cNvGrpSpPr/>
        <p:nvPr/>
      </p:nvGrpSpPr>
      <p:grpSpPr>
        <a:xfrm>
          <a:off x="0" y="0"/>
          <a:ext cx="0" cy="0"/>
          <a:chOff x="0" y="0"/>
          <a:chExt cx="0" cy="0"/>
        </a:xfrm>
      </p:grpSpPr>
      <p:sp>
        <p:nvSpPr>
          <p:cNvPr id="3" name="Picture Placeholder 4">
            <a:extLst>
              <a:ext uri="{FF2B5EF4-FFF2-40B4-BE49-F238E27FC236}">
                <a16:creationId xmlns:a16="http://schemas.microsoft.com/office/drawing/2014/main" id="{299FF38B-C933-4889-900A-6F061087770E}"/>
              </a:ext>
            </a:extLst>
          </p:cNvPr>
          <p:cNvSpPr>
            <a:spLocks noGrp="1"/>
          </p:cNvSpPr>
          <p:nvPr>
            <p:ph type="pic" sz="quarter" idx="20" hasCustomPrompt="1"/>
          </p:nvPr>
        </p:nvSpPr>
        <p:spPr>
          <a:xfrm>
            <a:off x="6315322" y="758218"/>
            <a:ext cx="2538913" cy="5149008"/>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rot lat="21156044" lon="19471222" rev="2142000"/>
            </a:camera>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Tree>
    <p:extLst>
      <p:ext uri="{BB962C8B-B14F-4D97-AF65-F5344CB8AC3E}">
        <p14:creationId xmlns:p14="http://schemas.microsoft.com/office/powerpoint/2010/main" val="965982969"/>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10" presetClass="entr" presetSubtype="0" dur="300" fill="hold" grpId="0" nodeType="withEffect">
                                  <p:stCondLst>
                                    <p:cond delay="160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3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50_Custom Layout">
    <p:spTree>
      <p:nvGrpSpPr>
        <p:cNvPr id="1" name=""/>
        <p:cNvGrpSpPr/>
        <p:nvPr/>
      </p:nvGrpSpPr>
      <p:grpSpPr>
        <a:xfrm>
          <a:off x="0" y="0"/>
          <a:ext cx="0" cy="0"/>
          <a:chOff x="0" y="0"/>
          <a:chExt cx="0" cy="0"/>
        </a:xfrm>
      </p:grpSpPr>
      <p:sp>
        <p:nvSpPr>
          <p:cNvPr id="3" name="Picture Placeholder 4">
            <a:extLst>
              <a:ext uri="{FF2B5EF4-FFF2-40B4-BE49-F238E27FC236}">
                <a16:creationId xmlns:a16="http://schemas.microsoft.com/office/drawing/2014/main" id="{2417F1E4-026F-483C-93F7-966CE4BE8C83}"/>
              </a:ext>
            </a:extLst>
          </p:cNvPr>
          <p:cNvSpPr>
            <a:spLocks noGrp="1" noChangeAspect="1"/>
          </p:cNvSpPr>
          <p:nvPr>
            <p:ph type="pic" sz="quarter" idx="15" hasCustomPrompt="1"/>
          </p:nvPr>
        </p:nvSpPr>
        <p:spPr>
          <a:xfrm>
            <a:off x="5029114" y="849622"/>
            <a:ext cx="2103841" cy="4689762"/>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rot lat="19634922" lon="19414224" rev="3362221"/>
            </a:camera>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Tree>
    <p:extLst>
      <p:ext uri="{BB962C8B-B14F-4D97-AF65-F5344CB8AC3E}">
        <p14:creationId xmlns:p14="http://schemas.microsoft.com/office/powerpoint/2010/main" val="1581231232"/>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10" presetClass="entr" presetSubtype="0" dur="300" fill="hold" grpId="0" nodeType="withEffect">
                                  <p:stCondLst>
                                    <p:cond delay="100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3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51_Custom Layout">
    <p:spTree>
      <p:nvGrpSpPr>
        <p:cNvPr id="1" name=""/>
        <p:cNvGrpSpPr/>
        <p:nvPr/>
      </p:nvGrpSpPr>
      <p:grpSpPr>
        <a:xfrm>
          <a:off x="0" y="0"/>
          <a:ext cx="0" cy="0"/>
          <a:chOff x="0" y="0"/>
          <a:chExt cx="0" cy="0"/>
        </a:xfrm>
      </p:grpSpPr>
      <p:sp>
        <p:nvSpPr>
          <p:cNvPr id="14" name="Picture Placeholder 4">
            <a:extLst>
              <a:ext uri="{FF2B5EF4-FFF2-40B4-BE49-F238E27FC236}">
                <a16:creationId xmlns:a16="http://schemas.microsoft.com/office/drawing/2014/main" id="{2EE59A4B-62F4-4433-BE85-26B188EF139D}"/>
              </a:ext>
            </a:extLst>
          </p:cNvPr>
          <p:cNvSpPr>
            <a:spLocks noGrp="1" noChangeAspect="1"/>
          </p:cNvSpPr>
          <p:nvPr>
            <p:ph type="pic" sz="quarter" idx="13" hasCustomPrompt="1"/>
          </p:nvPr>
        </p:nvSpPr>
        <p:spPr>
          <a:xfrm>
            <a:off x="6225994" y="11418"/>
            <a:ext cx="4034631" cy="8830592"/>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
        <p:nvSpPr>
          <p:cNvPr id="15" name="Picture Placeholder 4">
            <a:extLst>
              <a:ext uri="{FF2B5EF4-FFF2-40B4-BE49-F238E27FC236}">
                <a16:creationId xmlns:a16="http://schemas.microsoft.com/office/drawing/2014/main" id="{18337562-962D-485E-8F64-009D65426FF2}"/>
              </a:ext>
            </a:extLst>
          </p:cNvPr>
          <p:cNvSpPr>
            <a:spLocks noGrp="1" noChangeAspect="1"/>
          </p:cNvSpPr>
          <p:nvPr>
            <p:ph type="pic" sz="quarter" idx="14" hasCustomPrompt="1"/>
          </p:nvPr>
        </p:nvSpPr>
        <p:spPr>
          <a:xfrm>
            <a:off x="13383927" y="4078436"/>
            <a:ext cx="4034631" cy="8830592"/>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
        <p:nvSpPr>
          <p:cNvPr id="16" name="Picture Placeholder 4">
            <a:extLst>
              <a:ext uri="{FF2B5EF4-FFF2-40B4-BE49-F238E27FC236}">
                <a16:creationId xmlns:a16="http://schemas.microsoft.com/office/drawing/2014/main" id="{8F8AEF08-EB9B-4A32-8467-5998B2BB5650}"/>
              </a:ext>
            </a:extLst>
          </p:cNvPr>
          <p:cNvSpPr>
            <a:spLocks noGrp="1" noChangeAspect="1"/>
          </p:cNvSpPr>
          <p:nvPr>
            <p:ph type="pic" sz="quarter" idx="15" hasCustomPrompt="1"/>
          </p:nvPr>
        </p:nvSpPr>
        <p:spPr>
          <a:xfrm>
            <a:off x="-927309" y="-4065365"/>
            <a:ext cx="4034631" cy="8830592"/>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
        <p:nvSpPr>
          <p:cNvPr id="17" name="Picture Placeholder 4">
            <a:extLst>
              <a:ext uri="{FF2B5EF4-FFF2-40B4-BE49-F238E27FC236}">
                <a16:creationId xmlns:a16="http://schemas.microsoft.com/office/drawing/2014/main" id="{6EEEE568-1DB7-48CC-BF26-76D245147EB5}"/>
              </a:ext>
            </a:extLst>
          </p:cNvPr>
          <p:cNvSpPr>
            <a:spLocks noGrp="1" noChangeAspect="1"/>
          </p:cNvSpPr>
          <p:nvPr>
            <p:ph type="pic" sz="quarter" idx="16" hasCustomPrompt="1"/>
          </p:nvPr>
        </p:nvSpPr>
        <p:spPr>
          <a:xfrm>
            <a:off x="4768099" y="-5153771"/>
            <a:ext cx="4034631" cy="8830592"/>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
        <p:nvSpPr>
          <p:cNvPr id="18" name="Picture Placeholder 4">
            <a:extLst>
              <a:ext uri="{FF2B5EF4-FFF2-40B4-BE49-F238E27FC236}">
                <a16:creationId xmlns:a16="http://schemas.microsoft.com/office/drawing/2014/main" id="{467146EF-49BF-42F0-B8C7-5CD08CBA8640}"/>
              </a:ext>
            </a:extLst>
          </p:cNvPr>
          <p:cNvSpPr>
            <a:spLocks noGrp="1" noChangeAspect="1"/>
          </p:cNvSpPr>
          <p:nvPr>
            <p:ph type="pic" sz="quarter" idx="17" hasCustomPrompt="1"/>
          </p:nvPr>
        </p:nvSpPr>
        <p:spPr>
          <a:xfrm>
            <a:off x="11926033" y="-1086753"/>
            <a:ext cx="4034631" cy="8830592"/>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
        <p:nvSpPr>
          <p:cNvPr id="19" name="Picture Placeholder 4">
            <a:extLst>
              <a:ext uri="{FF2B5EF4-FFF2-40B4-BE49-F238E27FC236}">
                <a16:creationId xmlns:a16="http://schemas.microsoft.com/office/drawing/2014/main" id="{7B5FE4D9-3147-4486-96B9-5E08CA951EE6}"/>
              </a:ext>
            </a:extLst>
          </p:cNvPr>
          <p:cNvSpPr>
            <a:spLocks noGrp="1" noChangeAspect="1"/>
          </p:cNvSpPr>
          <p:nvPr>
            <p:ph type="pic" sz="quarter" idx="18" hasCustomPrompt="1"/>
          </p:nvPr>
        </p:nvSpPr>
        <p:spPr>
          <a:xfrm>
            <a:off x="-2385204" y="-9230553"/>
            <a:ext cx="4034631" cy="8830592"/>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
        <p:nvSpPr>
          <p:cNvPr id="20" name="Picture Placeholder 4">
            <a:extLst>
              <a:ext uri="{FF2B5EF4-FFF2-40B4-BE49-F238E27FC236}">
                <a16:creationId xmlns:a16="http://schemas.microsoft.com/office/drawing/2014/main" id="{EDE0EB38-B27B-4434-BFBD-E0630270C9A5}"/>
              </a:ext>
            </a:extLst>
          </p:cNvPr>
          <p:cNvSpPr>
            <a:spLocks noGrp="1" noChangeAspect="1"/>
          </p:cNvSpPr>
          <p:nvPr>
            <p:ph type="pic" sz="quarter" idx="19" hasCustomPrompt="1"/>
          </p:nvPr>
        </p:nvSpPr>
        <p:spPr>
          <a:xfrm>
            <a:off x="-2841811" y="-841556"/>
            <a:ext cx="4034631" cy="8830592"/>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
        <p:nvSpPr>
          <p:cNvPr id="21" name="Picture Placeholder 4">
            <a:extLst>
              <a:ext uri="{FF2B5EF4-FFF2-40B4-BE49-F238E27FC236}">
                <a16:creationId xmlns:a16="http://schemas.microsoft.com/office/drawing/2014/main" id="{4B8E2F39-97C7-4305-8208-06313DBAB462}"/>
              </a:ext>
            </a:extLst>
          </p:cNvPr>
          <p:cNvSpPr>
            <a:spLocks noGrp="1" noChangeAspect="1"/>
          </p:cNvSpPr>
          <p:nvPr>
            <p:ph type="pic" sz="quarter" idx="20" hasCustomPrompt="1"/>
          </p:nvPr>
        </p:nvSpPr>
        <p:spPr>
          <a:xfrm>
            <a:off x="4316123" y="3225462"/>
            <a:ext cx="4034631" cy="8830592"/>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
        <p:nvSpPr>
          <p:cNvPr id="22" name="Picture Placeholder 4">
            <a:extLst>
              <a:ext uri="{FF2B5EF4-FFF2-40B4-BE49-F238E27FC236}">
                <a16:creationId xmlns:a16="http://schemas.microsoft.com/office/drawing/2014/main" id="{9E02DE52-BA19-4266-8058-7F9FDAAF4A1C}"/>
              </a:ext>
            </a:extLst>
          </p:cNvPr>
          <p:cNvSpPr>
            <a:spLocks noGrp="1" noChangeAspect="1"/>
          </p:cNvSpPr>
          <p:nvPr>
            <p:ph type="pic" sz="quarter" idx="21" hasCustomPrompt="1"/>
          </p:nvPr>
        </p:nvSpPr>
        <p:spPr>
          <a:xfrm>
            <a:off x="-9995114" y="-4918338"/>
            <a:ext cx="4034631" cy="8830592"/>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Tree>
    <p:extLst>
      <p:ext uri="{BB962C8B-B14F-4D97-AF65-F5344CB8AC3E}">
        <p14:creationId xmlns:p14="http://schemas.microsoft.com/office/powerpoint/2010/main" val="3378277240"/>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42" presetClass="path" presetSubtype="0" dur="5000" repeatCount="indefinite" accel="20000" decel="20000" autoRev="1" fill="hold" grpId="0" nodeType="withEffect">
                                  <p:stCondLst>
                                    <p:cond delay="0"/>
                                  </p:stCondLst>
                                  <p:childTnLst>
                                    <p:animMotion origin="layout" path="M 4.68559E-06 -4.81481E-06 L 0.61313 0.62929" pathEditMode="relative" rAng="0" ptsTypes="AA">
                                      <p:cBhvr>
                                        <p:cTn id="6" dur="5000" fill="hold"/>
                                        <p:tgtEl>
                                          <p:spTgt spid="21"/>
                                        </p:tgtEl>
                                        <p:attrNameLst>
                                          <p:attrName>ppt_x</p:attrName>
                                          <p:attrName>ppt_y</p:attrName>
                                        </p:attrNameLst>
                                      </p:cBhvr>
                                      <p:rCtr x="30654" y="31458"/>
                                    </p:animMotion>
                                  </p:childTnLst>
                                </p:cTn>
                              </p:par>
                              <p:par>
                                <p:cTn id="7" presetID="42" presetClass="path" presetSubtype="0" dur="5000" repeatCount="indefinite" accel="20000" decel="20000" autoRev="1" fill="hold" grpId="0" nodeType="withEffect">
                                  <p:stCondLst>
                                    <p:cond delay="0"/>
                                  </p:stCondLst>
                                  <p:childTnLst>
                                    <p:animMotion origin="layout" path="M 4.68559E-06 -4.81481E-06 L 0.61313 0.62929" pathEditMode="relative" rAng="0" ptsTypes="AA">
                                      <p:cBhvr>
                                        <p:cTn id="8" dur="5000" fill="hold"/>
                                        <p:tgtEl>
                                          <p:spTgt spid="20"/>
                                        </p:tgtEl>
                                        <p:attrNameLst>
                                          <p:attrName>ppt_x</p:attrName>
                                          <p:attrName>ppt_y</p:attrName>
                                        </p:attrNameLst>
                                      </p:cBhvr>
                                      <p:rCtr x="30654" y="31458"/>
                                    </p:animMotion>
                                  </p:childTnLst>
                                </p:cTn>
                              </p:par>
                              <p:par>
                                <p:cTn id="9" presetID="42" presetClass="path" presetSubtype="0" dur="5000" repeatCount="indefinite" accel="20000" decel="20000" autoRev="1" fill="hold" grpId="0" nodeType="withEffect">
                                  <p:stCondLst>
                                    <p:cond delay="0"/>
                                  </p:stCondLst>
                                  <p:childTnLst>
                                    <p:animMotion origin="layout" path="M 4.68559E-06 -4.81481E-06 L 0.61313 0.62929" pathEditMode="relative" rAng="0" ptsTypes="AA">
                                      <p:cBhvr>
                                        <p:cTn id="10" dur="5000" fill="hold"/>
                                        <p:tgtEl>
                                          <p:spTgt spid="22"/>
                                        </p:tgtEl>
                                        <p:attrNameLst>
                                          <p:attrName>ppt_x</p:attrName>
                                          <p:attrName>ppt_y</p:attrName>
                                        </p:attrNameLst>
                                      </p:cBhvr>
                                      <p:rCtr x="30654" y="31458"/>
                                    </p:animMotion>
                                  </p:childTnLst>
                                </p:cTn>
                              </p:par>
                              <p:par>
                                <p:cTn id="11" presetID="42" presetClass="path" presetSubtype="0" dur="7000" repeatCount="indefinite" accel="20000" decel="20000" autoRev="1" fill="hold" grpId="0" nodeType="withEffect">
                                  <p:stCondLst>
                                    <p:cond delay="0"/>
                                  </p:stCondLst>
                                  <p:childTnLst>
                                    <p:animMotion origin="layout" path="M -4.34579E-06 2.96296E-06 L -0.58521 -0.59398" pathEditMode="relative" rAng="0" ptsTypes="AA">
                                      <p:cBhvr>
                                        <p:cTn id="12" dur="7000" fill="hold"/>
                                        <p:tgtEl>
                                          <p:spTgt spid="15"/>
                                        </p:tgtEl>
                                        <p:attrNameLst>
                                          <p:attrName>ppt_x</p:attrName>
                                          <p:attrName>ppt_y</p:attrName>
                                        </p:attrNameLst>
                                      </p:cBhvr>
                                      <p:rCtr x="-29261" y="-29699"/>
                                    </p:animMotion>
                                  </p:childTnLst>
                                </p:cTn>
                              </p:par>
                              <p:par>
                                <p:cTn id="13" presetID="42" presetClass="path" presetSubtype="0" dur="7000" repeatCount="indefinite" accel="20000" decel="20000" autoRev="1" fill="hold" grpId="0" nodeType="withEffect">
                                  <p:stCondLst>
                                    <p:cond delay="0"/>
                                  </p:stCondLst>
                                  <p:childTnLst>
                                    <p:animMotion origin="layout" path="M -4.34579E-06 2.96296E-06 L -0.58521 -0.59398" pathEditMode="relative" rAng="0" ptsTypes="AA">
                                      <p:cBhvr>
                                        <p:cTn id="14" dur="7000" fill="hold"/>
                                        <p:tgtEl>
                                          <p:spTgt spid="14"/>
                                        </p:tgtEl>
                                        <p:attrNameLst>
                                          <p:attrName>ppt_x</p:attrName>
                                          <p:attrName>ppt_y</p:attrName>
                                        </p:attrNameLst>
                                      </p:cBhvr>
                                      <p:rCtr x="-29261" y="-29699"/>
                                    </p:animMotion>
                                  </p:childTnLst>
                                </p:cTn>
                              </p:par>
                              <p:par>
                                <p:cTn id="15" presetID="42" presetClass="path" presetSubtype="0" dur="7000" repeatCount="indefinite" accel="20000" decel="20000" autoRev="1" fill="hold" grpId="0" nodeType="withEffect">
                                  <p:stCondLst>
                                    <p:cond delay="0"/>
                                  </p:stCondLst>
                                  <p:childTnLst>
                                    <p:animMotion origin="layout" path="M -4.34579E-06 2.96296E-06 L -0.58521 -0.59398" pathEditMode="relative" rAng="0" ptsTypes="AA">
                                      <p:cBhvr>
                                        <p:cTn id="16" dur="7000" fill="hold"/>
                                        <p:tgtEl>
                                          <p:spTgt spid="16"/>
                                        </p:tgtEl>
                                        <p:attrNameLst>
                                          <p:attrName>ppt_x</p:attrName>
                                          <p:attrName>ppt_y</p:attrName>
                                        </p:attrNameLst>
                                      </p:cBhvr>
                                      <p:rCtr x="-29261" y="-29699"/>
                                    </p:animMotion>
                                  </p:childTnLst>
                                </p:cTn>
                              </p:par>
                              <p:par>
                                <p:cTn id="17" presetID="42" presetClass="path" presetSubtype="0" dur="6000" repeatCount="indefinite" accel="20000" decel="20000" autoRev="1" fill="hold" grpId="0" nodeType="withEffect">
                                  <p:stCondLst>
                                    <p:cond delay="0"/>
                                  </p:stCondLst>
                                  <p:childTnLst>
                                    <p:animMotion origin="layout" path="M -4.11405E-06 -3.51852E-06 L 0.61314 0.62929" pathEditMode="relative" rAng="0" ptsTypes="AA">
                                      <p:cBhvr>
                                        <p:cTn id="18" dur="6000" fill="hold"/>
                                        <p:tgtEl>
                                          <p:spTgt spid="18"/>
                                        </p:tgtEl>
                                        <p:attrNameLst>
                                          <p:attrName>ppt_x</p:attrName>
                                          <p:attrName>ppt_y</p:attrName>
                                        </p:attrNameLst>
                                      </p:cBhvr>
                                      <p:rCtr x="30654" y="31458"/>
                                    </p:animMotion>
                                  </p:childTnLst>
                                </p:cTn>
                              </p:par>
                              <p:par>
                                <p:cTn id="19" presetID="42" presetClass="path" presetSubtype="0" dur="6000" repeatCount="indefinite" accel="20000" decel="20000" autoRev="1" fill="hold" grpId="0" nodeType="withEffect">
                                  <p:stCondLst>
                                    <p:cond delay="0"/>
                                  </p:stCondLst>
                                  <p:childTnLst>
                                    <p:animMotion origin="layout" path="M -4.11405E-06 -3.51852E-06 L 0.61314 0.62929" pathEditMode="relative" rAng="0" ptsTypes="AA">
                                      <p:cBhvr>
                                        <p:cTn id="20" dur="6000" fill="hold"/>
                                        <p:tgtEl>
                                          <p:spTgt spid="17"/>
                                        </p:tgtEl>
                                        <p:attrNameLst>
                                          <p:attrName>ppt_x</p:attrName>
                                          <p:attrName>ppt_y</p:attrName>
                                        </p:attrNameLst>
                                      </p:cBhvr>
                                      <p:rCtr x="30654" y="31458"/>
                                    </p:animMotion>
                                  </p:childTnLst>
                                </p:cTn>
                              </p:par>
                              <p:par>
                                <p:cTn id="21" presetID="42" presetClass="path" presetSubtype="0" dur="6000" repeatCount="indefinite" accel="20000" decel="20000" autoRev="1" fill="hold" grpId="0" nodeType="withEffect">
                                  <p:stCondLst>
                                    <p:cond delay="0"/>
                                  </p:stCondLst>
                                  <p:childTnLst>
                                    <p:animMotion origin="layout" path="M -4.11405E-06 -3.51852E-06 L 0.61314 0.62929" pathEditMode="relative" rAng="0" ptsTypes="AA">
                                      <p:cBhvr>
                                        <p:cTn id="22" dur="6000" fill="hold"/>
                                        <p:tgtEl>
                                          <p:spTgt spid="19"/>
                                        </p:tgtEl>
                                        <p:attrNameLst>
                                          <p:attrName>ppt_x</p:attrName>
                                          <p:attrName>ppt_y</p:attrName>
                                        </p:attrNameLst>
                                      </p:cBhvr>
                                      <p:rCtr x="30654" y="3145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animBg="1"/>
      <p:bldP spid="16" grpId="0" animBg="1"/>
      <p:bldP spid="17" grpId="0" animBg="1"/>
      <p:bldP spid="18" grpId="0" animBg="1"/>
      <p:bldP spid="19" grpId="0" animBg="1"/>
      <p:bldP spid="20" grpId="0" animBg="1"/>
      <p:bldP spid="21" grpId="0" animBg="1"/>
      <p:bldP spid="22" grpId="0" animBg="1"/>
    </p:bld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FA4954A8-B84C-457D-BB69-9D6B39AD76F3}"/>
              </a:ext>
            </a:extLst>
          </p:cNvPr>
          <p:cNvSpPr>
            <a:spLocks noGrp="1"/>
          </p:cNvSpPr>
          <p:nvPr>
            <p:ph type="sldNum" sz="quarter" idx="10"/>
          </p:nvPr>
        </p:nvSpPr>
        <p:spPr/>
        <p:txBody>
          <a:bodyPr/>
          <a:lstStyle/>
          <a:p>
            <a:fld id="{A04BEB4F-8CE1-4F18-986F-6CE0A0BE9470}" type="slidenum">
              <a:rPr lang="de-DE" smtClean="0"/>
              <a:t>‹#›</a:t>
            </a:fld>
            <a:endParaRPr lang="de-DE"/>
          </a:p>
        </p:txBody>
      </p:sp>
    </p:spTree>
    <p:extLst>
      <p:ext uri="{BB962C8B-B14F-4D97-AF65-F5344CB8AC3E}">
        <p14:creationId xmlns:p14="http://schemas.microsoft.com/office/powerpoint/2010/main" val="3590944682"/>
      </p:ext>
    </p:extLst>
  </p:cSld>
  <p:clrMapOvr>
    <a:masterClrMapping/>
  </p:clrMapOvr>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53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5DAAA84-8CB9-4126-A2A3-B5810518A7B3}"/>
              </a:ext>
            </a:extLst>
          </p:cNvPr>
          <p:cNvSpPr>
            <a:spLocks noGrp="1"/>
          </p:cNvSpPr>
          <p:nvPr>
            <p:ph type="pic" sz="quarter" idx="13"/>
          </p:nvPr>
        </p:nvSpPr>
        <p:spPr>
          <a:xfrm>
            <a:off x="6956138" y="1233179"/>
            <a:ext cx="4527231" cy="2759657"/>
          </a:xfrm>
          <a:custGeom>
            <a:avLst/>
            <a:gdLst>
              <a:gd name="connsiteX0" fmla="*/ 0 w 6263640"/>
              <a:gd name="connsiteY0" fmla="*/ 0 h 3817620"/>
              <a:gd name="connsiteX1" fmla="*/ 6263640 w 6263640"/>
              <a:gd name="connsiteY1" fmla="*/ 0 h 3817620"/>
              <a:gd name="connsiteX2" fmla="*/ 6263640 w 6263640"/>
              <a:gd name="connsiteY2" fmla="*/ 3817620 h 3817620"/>
              <a:gd name="connsiteX3" fmla="*/ 0 w 6263640"/>
              <a:gd name="connsiteY3" fmla="*/ 3817620 h 3817620"/>
            </a:gdLst>
            <a:ahLst/>
            <a:cxnLst>
              <a:cxn ang="0">
                <a:pos x="connsiteX0" y="connsiteY0"/>
              </a:cxn>
              <a:cxn ang="0">
                <a:pos x="connsiteX1" y="connsiteY1"/>
              </a:cxn>
              <a:cxn ang="0">
                <a:pos x="connsiteX2" y="connsiteY2"/>
              </a:cxn>
              <a:cxn ang="0">
                <a:pos x="connsiteX3" y="connsiteY3"/>
              </a:cxn>
            </a:cxnLst>
            <a:rect l="l" t="t" r="r" b="b"/>
            <a:pathLst>
              <a:path w="6263640" h="3817620">
                <a:moveTo>
                  <a:pt x="0" y="0"/>
                </a:moveTo>
                <a:lnTo>
                  <a:pt x="6263640" y="0"/>
                </a:lnTo>
                <a:lnTo>
                  <a:pt x="6263640" y="3817620"/>
                </a:lnTo>
                <a:lnTo>
                  <a:pt x="0" y="3817620"/>
                </a:lnTo>
                <a:close/>
              </a:path>
            </a:pathLst>
          </a:custGeom>
          <a:blipFill dpi="0" rotWithShape="1">
            <a:blip r:embed="rId2"/>
            <a:stretch>
              <a:fillRect/>
            </a:stretch>
          </a:blipFill>
          <a:effectLst/>
          <a:scene3d>
            <a:camera prst="isometricLeftDown"/>
            <a:lightRig rig="threePt" dir="t"/>
          </a:scene3d>
        </p:spPr>
        <p:txBody>
          <a:bodyPr wrap="square" anchor="ctr">
            <a:noAutofit/>
          </a:bodyPr>
          <a:lstStyle>
            <a:lvl1pPr marL="0" indent="0" algn="ctr">
              <a:buFontTx/>
              <a:buNone/>
              <a:defRPr sz="1200"/>
            </a:lvl1pPr>
          </a:lstStyle>
          <a:p>
            <a:endParaRPr lang="en-US"/>
          </a:p>
        </p:txBody>
      </p:sp>
    </p:spTree>
    <p:extLst>
      <p:ext uri="{BB962C8B-B14F-4D97-AF65-F5344CB8AC3E}">
        <p14:creationId xmlns:p14="http://schemas.microsoft.com/office/powerpoint/2010/main" val="2990889501"/>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4" dur="1500" decel="10000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500" fill="hold"/>
                                        <p:tgtEl>
                                          <p:spTgt spid="4"/>
                                        </p:tgtEl>
                                        <p:attrNameLst>
                                          <p:attrName>ppt_x</p:attrName>
                                        </p:attrNameLst>
                                      </p:cBhvr>
                                      <p:tavLst>
                                        <p:tav tm="0">
                                          <p:val>
                                            <p:strVal val="#ppt_x"/>
                                          </p:val>
                                        </p:tav>
                                        <p:tav tm="100000">
                                          <p:val>
                                            <p:strVal val="#ppt_x"/>
                                          </p:val>
                                        </p:tav>
                                      </p:tavLst>
                                    </p:anim>
                                    <p:anim calcmode="lin" valueType="num">
                                      <p:cBhvr additive="base">
                                        <p:cTn id="8" dur="1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55_Custom Layou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404C06A5-7833-4BEF-AEAC-88B10E26025F}"/>
              </a:ext>
            </a:extLst>
          </p:cNvPr>
          <p:cNvSpPr>
            <a:spLocks noGrp="1"/>
          </p:cNvSpPr>
          <p:nvPr>
            <p:ph type="pic" sz="quarter" idx="13"/>
          </p:nvPr>
        </p:nvSpPr>
        <p:spPr>
          <a:xfrm>
            <a:off x="4607685" y="2622324"/>
            <a:ext cx="3076629" cy="1848077"/>
          </a:xfrm>
          <a:custGeom>
            <a:avLst/>
            <a:gdLst>
              <a:gd name="connsiteX0" fmla="*/ 0 w 6762750"/>
              <a:gd name="connsiteY0" fmla="*/ 0 h 4086225"/>
              <a:gd name="connsiteX1" fmla="*/ 6762750 w 6762750"/>
              <a:gd name="connsiteY1" fmla="*/ 0 h 4086225"/>
              <a:gd name="connsiteX2" fmla="*/ 6762750 w 6762750"/>
              <a:gd name="connsiteY2" fmla="*/ 4086225 h 4086225"/>
              <a:gd name="connsiteX3" fmla="*/ 0 w 6762750"/>
              <a:gd name="connsiteY3" fmla="*/ 4086225 h 4086225"/>
            </a:gdLst>
            <a:ahLst/>
            <a:cxnLst>
              <a:cxn ang="0">
                <a:pos x="connsiteX0" y="connsiteY0"/>
              </a:cxn>
              <a:cxn ang="0">
                <a:pos x="connsiteX1" y="connsiteY1"/>
              </a:cxn>
              <a:cxn ang="0">
                <a:pos x="connsiteX2" y="connsiteY2"/>
              </a:cxn>
              <a:cxn ang="0">
                <a:pos x="connsiteX3" y="connsiteY3"/>
              </a:cxn>
            </a:cxnLst>
            <a:rect l="l" t="t" r="r" b="b"/>
            <a:pathLst>
              <a:path w="6762750" h="4086225">
                <a:moveTo>
                  <a:pt x="0" y="0"/>
                </a:moveTo>
                <a:lnTo>
                  <a:pt x="6762750" y="0"/>
                </a:lnTo>
                <a:lnTo>
                  <a:pt x="6762750" y="4086225"/>
                </a:lnTo>
                <a:lnTo>
                  <a:pt x="0" y="4086225"/>
                </a:lnTo>
                <a:close/>
              </a:path>
            </a:pathLst>
          </a:custGeom>
          <a:blipFill>
            <a:blip r:embed="rId2"/>
            <a:stretch>
              <a:fillRect/>
            </a:stretch>
          </a:blipFill>
          <a:effectLst/>
        </p:spPr>
        <p:txBody>
          <a:bodyPr wrap="square" anchor="ctr">
            <a:noAutofit/>
          </a:bodyPr>
          <a:lstStyle>
            <a:lvl1pPr marL="0" indent="0" algn="ctr">
              <a:buFontTx/>
              <a:buNone/>
              <a:defRPr sz="1200"/>
            </a:lvl1pPr>
          </a:lstStyle>
          <a:p>
            <a:endParaRPr lang="en-US"/>
          </a:p>
        </p:txBody>
      </p:sp>
    </p:spTree>
    <p:extLst>
      <p:ext uri="{BB962C8B-B14F-4D97-AF65-F5344CB8AC3E}">
        <p14:creationId xmlns:p14="http://schemas.microsoft.com/office/powerpoint/2010/main" val="2190538774"/>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4" dur="1500"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1500" fill="hold"/>
                                        <p:tgtEl>
                                          <p:spTgt spid="6"/>
                                        </p:tgtEl>
                                        <p:attrNameLst>
                                          <p:attrName>ppt_x</p:attrName>
                                        </p:attrNameLst>
                                      </p:cBhvr>
                                      <p:tavLst>
                                        <p:tav tm="0">
                                          <p:val>
                                            <p:strVal val="#ppt_x"/>
                                          </p:val>
                                        </p:tav>
                                        <p:tav tm="100000">
                                          <p:val>
                                            <p:strVal val="#ppt_x"/>
                                          </p:val>
                                        </p:tav>
                                      </p:tavLst>
                                    </p:anim>
                                    <p:anim calcmode="lin" valueType="num">
                                      <p:cBhvr additive="base">
                                        <p:cTn id="8" dur="1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57_Custom Layout">
    <p:spTree>
      <p:nvGrpSpPr>
        <p:cNvPr id="1" name=""/>
        <p:cNvGrpSpPr/>
        <p:nvPr/>
      </p:nvGrpSpPr>
      <p:grpSpPr>
        <a:xfrm>
          <a:off x="0" y="0"/>
          <a:ext cx="0" cy="0"/>
          <a:chOff x="0" y="0"/>
          <a:chExt cx="0" cy="0"/>
        </a:xfrm>
      </p:grpSpPr>
      <p:sp>
        <p:nvSpPr>
          <p:cNvPr id="4" name="Picture Placeholder 28">
            <a:extLst>
              <a:ext uri="{FF2B5EF4-FFF2-40B4-BE49-F238E27FC236}">
                <a16:creationId xmlns:a16="http://schemas.microsoft.com/office/drawing/2014/main" id="{B7AB7AFB-ED3D-4D6A-A9B8-52817BB37E1C}"/>
              </a:ext>
            </a:extLst>
          </p:cNvPr>
          <p:cNvSpPr>
            <a:spLocks noGrp="1"/>
          </p:cNvSpPr>
          <p:nvPr>
            <p:ph type="pic" sz="quarter" idx="14"/>
          </p:nvPr>
        </p:nvSpPr>
        <p:spPr>
          <a:xfrm>
            <a:off x="7553770" y="3302793"/>
            <a:ext cx="629044" cy="1144660"/>
          </a:xfrm>
          <a:custGeom>
            <a:avLst/>
            <a:gdLst>
              <a:gd name="connsiteX0" fmla="*/ 0 w 6261100"/>
              <a:gd name="connsiteY0" fmla="*/ 0 h 13509522"/>
              <a:gd name="connsiteX1" fmla="*/ 6261100 w 6261100"/>
              <a:gd name="connsiteY1" fmla="*/ 0 h 13509522"/>
              <a:gd name="connsiteX2" fmla="*/ 6261100 w 6261100"/>
              <a:gd name="connsiteY2" fmla="*/ 13509522 h 13509522"/>
              <a:gd name="connsiteX3" fmla="*/ 0 w 6261100"/>
              <a:gd name="connsiteY3" fmla="*/ 13509522 h 13509522"/>
            </a:gdLst>
            <a:ahLst/>
            <a:cxnLst>
              <a:cxn ang="0">
                <a:pos x="connsiteX0" y="connsiteY0"/>
              </a:cxn>
              <a:cxn ang="0">
                <a:pos x="connsiteX1" y="connsiteY1"/>
              </a:cxn>
              <a:cxn ang="0">
                <a:pos x="connsiteX2" y="connsiteY2"/>
              </a:cxn>
              <a:cxn ang="0">
                <a:pos x="connsiteX3" y="connsiteY3"/>
              </a:cxn>
            </a:cxnLst>
            <a:rect l="l" t="t" r="r" b="b"/>
            <a:pathLst>
              <a:path w="6261100" h="13509522">
                <a:moveTo>
                  <a:pt x="0" y="0"/>
                </a:moveTo>
                <a:lnTo>
                  <a:pt x="6261100" y="0"/>
                </a:lnTo>
                <a:lnTo>
                  <a:pt x="6261100" y="13509522"/>
                </a:lnTo>
                <a:lnTo>
                  <a:pt x="0" y="13509522"/>
                </a:lnTo>
                <a:close/>
              </a:path>
            </a:pathLst>
          </a:custGeom>
          <a:blipFill>
            <a:blip r:embed="rId2"/>
            <a:tile tx="0" ty="0" sx="100000" sy="100000" flip="none" algn="ctr"/>
          </a:blipFill>
          <a:effectLst/>
          <a:scene3d>
            <a:camera prst="isometricRightUp">
              <a:rot lat="1200000" lon="18899998" rev="780000"/>
            </a:camera>
            <a:lightRig rig="threePt" dir="t"/>
          </a:scene3d>
        </p:spPr>
        <p:txBody>
          <a:bodyPr wrap="square" anchor="ctr">
            <a:noAutofit/>
          </a:bodyPr>
          <a:lstStyle>
            <a:lvl1pPr marL="0" indent="0" algn="ctr">
              <a:buFontTx/>
              <a:buNone/>
              <a:defRPr sz="1200"/>
            </a:lvl1pPr>
          </a:lstStyle>
          <a:p>
            <a:endParaRPr lang="en-US"/>
          </a:p>
        </p:txBody>
      </p:sp>
      <p:sp>
        <p:nvSpPr>
          <p:cNvPr id="3" name="Picture Placeholder 3">
            <a:extLst>
              <a:ext uri="{FF2B5EF4-FFF2-40B4-BE49-F238E27FC236}">
                <a16:creationId xmlns:a16="http://schemas.microsoft.com/office/drawing/2014/main" id="{9A6D1CAE-3831-4DFC-A92E-1E7CD1BD657B}"/>
              </a:ext>
            </a:extLst>
          </p:cNvPr>
          <p:cNvSpPr>
            <a:spLocks noGrp="1"/>
          </p:cNvSpPr>
          <p:nvPr>
            <p:ph type="pic" sz="quarter" idx="13"/>
          </p:nvPr>
        </p:nvSpPr>
        <p:spPr>
          <a:xfrm>
            <a:off x="2228560" y="2434319"/>
            <a:ext cx="3565696" cy="2148840"/>
          </a:xfrm>
          <a:custGeom>
            <a:avLst/>
            <a:gdLst>
              <a:gd name="connsiteX0" fmla="*/ 0 w 6263640"/>
              <a:gd name="connsiteY0" fmla="*/ 0 h 3817620"/>
              <a:gd name="connsiteX1" fmla="*/ 6263640 w 6263640"/>
              <a:gd name="connsiteY1" fmla="*/ 0 h 3817620"/>
              <a:gd name="connsiteX2" fmla="*/ 6263640 w 6263640"/>
              <a:gd name="connsiteY2" fmla="*/ 3817620 h 3817620"/>
              <a:gd name="connsiteX3" fmla="*/ 0 w 6263640"/>
              <a:gd name="connsiteY3" fmla="*/ 3817620 h 3817620"/>
            </a:gdLst>
            <a:ahLst/>
            <a:cxnLst>
              <a:cxn ang="0">
                <a:pos x="connsiteX0" y="connsiteY0"/>
              </a:cxn>
              <a:cxn ang="0">
                <a:pos x="connsiteX1" y="connsiteY1"/>
              </a:cxn>
              <a:cxn ang="0">
                <a:pos x="connsiteX2" y="connsiteY2"/>
              </a:cxn>
              <a:cxn ang="0">
                <a:pos x="connsiteX3" y="connsiteY3"/>
              </a:cxn>
            </a:cxnLst>
            <a:rect l="l" t="t" r="r" b="b"/>
            <a:pathLst>
              <a:path w="6263640" h="3817620">
                <a:moveTo>
                  <a:pt x="0" y="0"/>
                </a:moveTo>
                <a:lnTo>
                  <a:pt x="6263640" y="0"/>
                </a:lnTo>
                <a:lnTo>
                  <a:pt x="6263640" y="3817620"/>
                </a:lnTo>
                <a:lnTo>
                  <a:pt x="0" y="3817620"/>
                </a:lnTo>
                <a:close/>
              </a:path>
            </a:pathLst>
          </a:custGeom>
          <a:blipFill dpi="0" rotWithShape="1">
            <a:blip r:embed="rId3"/>
            <a:stretch>
              <a:fillRect/>
            </a:stretch>
          </a:blipFill>
          <a:effectLst/>
          <a:scene3d>
            <a:camera prst="isometricRightUp"/>
            <a:lightRig rig="threePt" dir="t"/>
          </a:scene3d>
        </p:spPr>
        <p:txBody>
          <a:bodyPr wrap="square" anchor="ctr">
            <a:noAutofit/>
          </a:bodyPr>
          <a:lstStyle>
            <a:lvl1pPr marL="0" indent="0" algn="ctr">
              <a:buFontTx/>
              <a:buNone/>
              <a:defRPr sz="1200"/>
            </a:lvl1pPr>
          </a:lstStyle>
          <a:p>
            <a:endParaRPr lang="en-US"/>
          </a:p>
        </p:txBody>
      </p:sp>
    </p:spTree>
    <p:extLst>
      <p:ext uri="{BB962C8B-B14F-4D97-AF65-F5344CB8AC3E}">
        <p14:creationId xmlns:p14="http://schemas.microsoft.com/office/powerpoint/2010/main" val="141621498"/>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10" presetClass="entr" presetSubtype="0" dur="30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300"/>
                                        <p:tgtEl>
                                          <p:spTgt spid="3"/>
                                        </p:tgtEl>
                                      </p:cBhvr>
                                    </p:animEffect>
                                  </p:childTnLst>
                                </p:cTn>
                              </p:par>
                              <p:par>
                                <p:cTn id="8" presetID="10" presetClass="entr" presetSubtype="0" dur="300" fill="hold" grpId="0" nodeType="withEffect">
                                  <p:stCondLst>
                                    <p:cond delay="20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3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3" grpId="0" animBg="1"/>
    </p:bld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62_Custom Layout">
    <p:spTree>
      <p:nvGrpSpPr>
        <p:cNvPr id="1" name=""/>
        <p:cNvGrpSpPr/>
        <p:nvPr/>
      </p:nvGrpSpPr>
      <p:grpSpPr>
        <a:xfrm>
          <a:off x="0" y="0"/>
          <a:ext cx="0" cy="0"/>
          <a:chOff x="0" y="0"/>
          <a:chExt cx="0" cy="0"/>
        </a:xfrm>
      </p:grpSpPr>
      <p:sp>
        <p:nvSpPr>
          <p:cNvPr id="7" name="Picture Placeholder 28">
            <a:extLst>
              <a:ext uri="{FF2B5EF4-FFF2-40B4-BE49-F238E27FC236}">
                <a16:creationId xmlns:a16="http://schemas.microsoft.com/office/drawing/2014/main" id="{13D91D79-BB44-418C-A6E0-03C49B2BFFB4}"/>
              </a:ext>
            </a:extLst>
          </p:cNvPr>
          <p:cNvSpPr>
            <a:spLocks noGrp="1"/>
          </p:cNvSpPr>
          <p:nvPr>
            <p:ph type="pic" sz="quarter" idx="14"/>
          </p:nvPr>
        </p:nvSpPr>
        <p:spPr>
          <a:xfrm>
            <a:off x="4883751" y="3678129"/>
            <a:ext cx="643205" cy="1388019"/>
          </a:xfrm>
          <a:custGeom>
            <a:avLst/>
            <a:gdLst>
              <a:gd name="connsiteX0" fmla="*/ 0 w 6261100"/>
              <a:gd name="connsiteY0" fmla="*/ 0 h 13509522"/>
              <a:gd name="connsiteX1" fmla="*/ 6261100 w 6261100"/>
              <a:gd name="connsiteY1" fmla="*/ 0 h 13509522"/>
              <a:gd name="connsiteX2" fmla="*/ 6261100 w 6261100"/>
              <a:gd name="connsiteY2" fmla="*/ 13509522 h 13509522"/>
              <a:gd name="connsiteX3" fmla="*/ 0 w 6261100"/>
              <a:gd name="connsiteY3" fmla="*/ 13509522 h 13509522"/>
            </a:gdLst>
            <a:ahLst/>
            <a:cxnLst>
              <a:cxn ang="0">
                <a:pos x="connsiteX0" y="connsiteY0"/>
              </a:cxn>
              <a:cxn ang="0">
                <a:pos x="connsiteX1" y="connsiteY1"/>
              </a:cxn>
              <a:cxn ang="0">
                <a:pos x="connsiteX2" y="connsiteY2"/>
              </a:cxn>
              <a:cxn ang="0">
                <a:pos x="connsiteX3" y="connsiteY3"/>
              </a:cxn>
            </a:cxnLst>
            <a:rect l="l" t="t" r="r" b="b"/>
            <a:pathLst>
              <a:path w="6261100" h="13509522">
                <a:moveTo>
                  <a:pt x="0" y="0"/>
                </a:moveTo>
                <a:lnTo>
                  <a:pt x="6261100" y="0"/>
                </a:lnTo>
                <a:lnTo>
                  <a:pt x="6261100" y="13509522"/>
                </a:lnTo>
                <a:lnTo>
                  <a:pt x="0" y="13509522"/>
                </a:lnTo>
                <a:close/>
              </a:path>
            </a:pathLst>
          </a:custGeom>
          <a:blipFill dpi="0" rotWithShape="1">
            <a:blip r:embed="rId2"/>
            <a:stretch>
              <a:fillRect/>
            </a:stretch>
          </a:blipFill>
          <a:effectLst/>
          <a:scene3d>
            <a:camera prst="isometricTopUp"/>
            <a:lightRig rig="threePt" dir="t"/>
          </a:scene3d>
        </p:spPr>
        <p:txBody>
          <a:bodyPr wrap="square" anchor="ctr">
            <a:noAutofit/>
          </a:bodyPr>
          <a:lstStyle>
            <a:lvl1pPr marL="0" indent="0" algn="ctr">
              <a:buFontTx/>
              <a:buNone/>
              <a:defRPr sz="1200"/>
            </a:lvl1pPr>
          </a:lstStyle>
          <a:p>
            <a:endParaRPr lang="en-US"/>
          </a:p>
        </p:txBody>
      </p:sp>
      <p:sp>
        <p:nvSpPr>
          <p:cNvPr id="4" name="Picture Placeholder 3">
            <a:extLst>
              <a:ext uri="{FF2B5EF4-FFF2-40B4-BE49-F238E27FC236}">
                <a16:creationId xmlns:a16="http://schemas.microsoft.com/office/drawing/2014/main" id="{B1341CDB-C9B9-4F7E-86D0-A59CD06C8B23}"/>
              </a:ext>
            </a:extLst>
          </p:cNvPr>
          <p:cNvSpPr>
            <a:spLocks noGrp="1"/>
          </p:cNvSpPr>
          <p:nvPr>
            <p:ph type="pic" sz="quarter" idx="13"/>
          </p:nvPr>
        </p:nvSpPr>
        <p:spPr>
          <a:xfrm>
            <a:off x="4622164" y="1151763"/>
            <a:ext cx="4154933" cy="2532716"/>
          </a:xfrm>
          <a:custGeom>
            <a:avLst/>
            <a:gdLst>
              <a:gd name="connsiteX0" fmla="*/ 0 w 6263640"/>
              <a:gd name="connsiteY0" fmla="*/ 0 h 3817620"/>
              <a:gd name="connsiteX1" fmla="*/ 6263640 w 6263640"/>
              <a:gd name="connsiteY1" fmla="*/ 0 h 3817620"/>
              <a:gd name="connsiteX2" fmla="*/ 6263640 w 6263640"/>
              <a:gd name="connsiteY2" fmla="*/ 3817620 h 3817620"/>
              <a:gd name="connsiteX3" fmla="*/ 0 w 6263640"/>
              <a:gd name="connsiteY3" fmla="*/ 3817620 h 3817620"/>
            </a:gdLst>
            <a:ahLst/>
            <a:cxnLst>
              <a:cxn ang="0">
                <a:pos x="connsiteX0" y="connsiteY0"/>
              </a:cxn>
              <a:cxn ang="0">
                <a:pos x="connsiteX1" y="connsiteY1"/>
              </a:cxn>
              <a:cxn ang="0">
                <a:pos x="connsiteX2" y="connsiteY2"/>
              </a:cxn>
              <a:cxn ang="0">
                <a:pos x="connsiteX3" y="connsiteY3"/>
              </a:cxn>
            </a:cxnLst>
            <a:rect l="l" t="t" r="r" b="b"/>
            <a:pathLst>
              <a:path w="6263640" h="3817620">
                <a:moveTo>
                  <a:pt x="0" y="0"/>
                </a:moveTo>
                <a:lnTo>
                  <a:pt x="6263640" y="0"/>
                </a:lnTo>
                <a:lnTo>
                  <a:pt x="6263640" y="3817620"/>
                </a:lnTo>
                <a:lnTo>
                  <a:pt x="0" y="3817620"/>
                </a:lnTo>
                <a:close/>
              </a:path>
            </a:pathLst>
          </a:custGeom>
          <a:blipFill dpi="0" rotWithShape="1">
            <a:blip r:embed="rId3"/>
            <a:stretch>
              <a:fillRect/>
            </a:stretch>
          </a:blipFill>
          <a:effectLst/>
          <a:scene3d>
            <a:camera prst="isometricLeftDown"/>
            <a:lightRig rig="threePt" dir="t"/>
          </a:scene3d>
        </p:spPr>
        <p:txBody>
          <a:bodyPr wrap="square" anchor="ctr">
            <a:noAutofit/>
          </a:bodyPr>
          <a:lstStyle>
            <a:lvl1pPr marL="0" indent="0" algn="ctr">
              <a:buFontTx/>
              <a:buNone/>
              <a:defRPr sz="1200"/>
            </a:lvl1pPr>
          </a:lstStyle>
          <a:p>
            <a:endParaRPr lang="en-US"/>
          </a:p>
        </p:txBody>
      </p:sp>
    </p:spTree>
    <p:extLst>
      <p:ext uri="{BB962C8B-B14F-4D97-AF65-F5344CB8AC3E}">
        <p14:creationId xmlns:p14="http://schemas.microsoft.com/office/powerpoint/2010/main" val="1426692576"/>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1" dur="1500" decel="10000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500" fill="hold"/>
                                        <p:tgtEl>
                                          <p:spTgt spid="4"/>
                                        </p:tgtEl>
                                        <p:attrNameLst>
                                          <p:attrName>ppt_x</p:attrName>
                                        </p:attrNameLst>
                                      </p:cBhvr>
                                      <p:tavLst>
                                        <p:tav tm="0">
                                          <p:val>
                                            <p:strVal val="#ppt_x"/>
                                          </p:val>
                                        </p:tav>
                                        <p:tav tm="100000">
                                          <p:val>
                                            <p:strVal val="#ppt_x"/>
                                          </p:val>
                                        </p:tav>
                                      </p:tavLst>
                                    </p:anim>
                                    <p:anim calcmode="lin" valueType="num">
                                      <p:cBhvr additive="base">
                                        <p:cTn id="8" dur="1500" fill="hold"/>
                                        <p:tgtEl>
                                          <p:spTgt spid="4"/>
                                        </p:tgtEl>
                                        <p:attrNameLst>
                                          <p:attrName>ppt_y</p:attrName>
                                        </p:attrNameLst>
                                      </p:cBhvr>
                                      <p:tavLst>
                                        <p:tav tm="0">
                                          <p:val>
                                            <p:strVal val="0-#ppt_h/2"/>
                                          </p:val>
                                        </p:tav>
                                        <p:tav tm="100000">
                                          <p:val>
                                            <p:strVal val="#ppt_y"/>
                                          </p:val>
                                        </p:tav>
                                      </p:tavLst>
                                    </p:anim>
                                  </p:childTnLst>
                                </p:cTn>
                              </p:par>
                              <p:par>
                                <p:cTn id="9" presetID="2" presetClass="entr" presetSubtype="4" dur="1500" decel="10000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1500" fill="hold"/>
                                        <p:tgtEl>
                                          <p:spTgt spid="7"/>
                                        </p:tgtEl>
                                        <p:attrNameLst>
                                          <p:attrName>ppt_x</p:attrName>
                                        </p:attrNameLst>
                                      </p:cBhvr>
                                      <p:tavLst>
                                        <p:tav tm="0">
                                          <p:val>
                                            <p:strVal val="#ppt_x"/>
                                          </p:val>
                                        </p:tav>
                                        <p:tav tm="100000">
                                          <p:val>
                                            <p:strVal val="#ppt_x"/>
                                          </p:val>
                                        </p:tav>
                                      </p:tavLst>
                                    </p:anim>
                                    <p:anim calcmode="lin" valueType="num">
                                      <p:cBhvr additive="base">
                                        <p:cTn id="12" dur="1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4" grpId="0" animBg="1"/>
    </p:bld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65_Custom Layout">
    <p:spTree>
      <p:nvGrpSpPr>
        <p:cNvPr id="1" name=""/>
        <p:cNvGrpSpPr/>
        <p:nvPr/>
      </p:nvGrpSpPr>
      <p:grpSpPr>
        <a:xfrm>
          <a:off x="0" y="0"/>
          <a:ext cx="0" cy="0"/>
          <a:chOff x="0" y="0"/>
          <a:chExt cx="0" cy="0"/>
        </a:xfrm>
      </p:grpSpPr>
      <p:sp>
        <p:nvSpPr>
          <p:cNvPr id="9" name="Picture Placeholder 3">
            <a:extLst>
              <a:ext uri="{FF2B5EF4-FFF2-40B4-BE49-F238E27FC236}">
                <a16:creationId xmlns:a16="http://schemas.microsoft.com/office/drawing/2014/main" id="{BB034F9E-2ACF-49E2-B371-928DA82F5E40}"/>
              </a:ext>
            </a:extLst>
          </p:cNvPr>
          <p:cNvSpPr>
            <a:spLocks noGrp="1"/>
          </p:cNvSpPr>
          <p:nvPr>
            <p:ph type="pic" sz="quarter" idx="14"/>
          </p:nvPr>
        </p:nvSpPr>
        <p:spPr>
          <a:xfrm>
            <a:off x="10770215" y="940007"/>
            <a:ext cx="3878940" cy="2364480"/>
          </a:xfrm>
          <a:custGeom>
            <a:avLst/>
            <a:gdLst>
              <a:gd name="connsiteX0" fmla="*/ 0 w 6263640"/>
              <a:gd name="connsiteY0" fmla="*/ 0 h 3817620"/>
              <a:gd name="connsiteX1" fmla="*/ 6263640 w 6263640"/>
              <a:gd name="connsiteY1" fmla="*/ 0 h 3817620"/>
              <a:gd name="connsiteX2" fmla="*/ 6263640 w 6263640"/>
              <a:gd name="connsiteY2" fmla="*/ 3817620 h 3817620"/>
              <a:gd name="connsiteX3" fmla="*/ 0 w 6263640"/>
              <a:gd name="connsiteY3" fmla="*/ 3817620 h 3817620"/>
            </a:gdLst>
            <a:ahLst/>
            <a:cxnLst>
              <a:cxn ang="0">
                <a:pos x="connsiteX0" y="connsiteY0"/>
              </a:cxn>
              <a:cxn ang="0">
                <a:pos x="connsiteX1" y="connsiteY1"/>
              </a:cxn>
              <a:cxn ang="0">
                <a:pos x="connsiteX2" y="connsiteY2"/>
              </a:cxn>
              <a:cxn ang="0">
                <a:pos x="connsiteX3" y="connsiteY3"/>
              </a:cxn>
            </a:cxnLst>
            <a:rect l="l" t="t" r="r" b="b"/>
            <a:pathLst>
              <a:path w="6263640" h="3817620">
                <a:moveTo>
                  <a:pt x="0" y="0"/>
                </a:moveTo>
                <a:lnTo>
                  <a:pt x="6263640" y="0"/>
                </a:lnTo>
                <a:lnTo>
                  <a:pt x="6263640" y="3817620"/>
                </a:lnTo>
                <a:lnTo>
                  <a:pt x="0" y="3817620"/>
                </a:lnTo>
                <a:close/>
              </a:path>
            </a:pathLst>
          </a:custGeom>
          <a:blipFill dpi="0" rotWithShape="1">
            <a:blip r:embed="rId2"/>
            <a:stretch>
              <a:fillRect/>
            </a:stretch>
          </a:blipFill>
          <a:effectLst/>
          <a:scene3d>
            <a:camera prst="isometricLeftDown"/>
            <a:lightRig rig="threePt" dir="t"/>
          </a:scene3d>
        </p:spPr>
        <p:txBody>
          <a:bodyPr wrap="square" anchor="ctr">
            <a:noAutofit/>
          </a:bodyPr>
          <a:lstStyle>
            <a:lvl1pPr marL="0" indent="0" algn="ctr">
              <a:buFontTx/>
              <a:buNone/>
              <a:defRPr sz="1200"/>
            </a:lvl1pPr>
          </a:lstStyle>
          <a:p>
            <a:endParaRPr lang="en-US"/>
          </a:p>
        </p:txBody>
      </p:sp>
      <p:sp>
        <p:nvSpPr>
          <p:cNvPr id="8" name="Picture Placeholder 3">
            <a:extLst>
              <a:ext uri="{FF2B5EF4-FFF2-40B4-BE49-F238E27FC236}">
                <a16:creationId xmlns:a16="http://schemas.microsoft.com/office/drawing/2014/main" id="{FB1E58D5-5B5E-4334-95CB-7C04506A1221}"/>
              </a:ext>
            </a:extLst>
          </p:cNvPr>
          <p:cNvSpPr>
            <a:spLocks noGrp="1"/>
          </p:cNvSpPr>
          <p:nvPr>
            <p:ph type="pic" sz="quarter" idx="15"/>
          </p:nvPr>
        </p:nvSpPr>
        <p:spPr>
          <a:xfrm>
            <a:off x="4858032" y="1543376"/>
            <a:ext cx="3878940" cy="2364480"/>
          </a:xfrm>
          <a:custGeom>
            <a:avLst/>
            <a:gdLst>
              <a:gd name="connsiteX0" fmla="*/ 0 w 6263640"/>
              <a:gd name="connsiteY0" fmla="*/ 0 h 3817620"/>
              <a:gd name="connsiteX1" fmla="*/ 6263640 w 6263640"/>
              <a:gd name="connsiteY1" fmla="*/ 0 h 3817620"/>
              <a:gd name="connsiteX2" fmla="*/ 6263640 w 6263640"/>
              <a:gd name="connsiteY2" fmla="*/ 3817620 h 3817620"/>
              <a:gd name="connsiteX3" fmla="*/ 0 w 6263640"/>
              <a:gd name="connsiteY3" fmla="*/ 3817620 h 3817620"/>
            </a:gdLst>
            <a:ahLst/>
            <a:cxnLst>
              <a:cxn ang="0">
                <a:pos x="connsiteX0" y="connsiteY0"/>
              </a:cxn>
              <a:cxn ang="0">
                <a:pos x="connsiteX1" y="connsiteY1"/>
              </a:cxn>
              <a:cxn ang="0">
                <a:pos x="connsiteX2" y="connsiteY2"/>
              </a:cxn>
              <a:cxn ang="0">
                <a:pos x="connsiteX3" y="connsiteY3"/>
              </a:cxn>
            </a:cxnLst>
            <a:rect l="l" t="t" r="r" b="b"/>
            <a:pathLst>
              <a:path w="6263640" h="3817620">
                <a:moveTo>
                  <a:pt x="0" y="0"/>
                </a:moveTo>
                <a:lnTo>
                  <a:pt x="6263640" y="0"/>
                </a:lnTo>
                <a:lnTo>
                  <a:pt x="6263640" y="3817620"/>
                </a:lnTo>
                <a:lnTo>
                  <a:pt x="0" y="3817620"/>
                </a:lnTo>
                <a:close/>
              </a:path>
            </a:pathLst>
          </a:custGeom>
          <a:blipFill dpi="0" rotWithShape="1">
            <a:blip r:embed="rId2"/>
            <a:stretch>
              <a:fillRect/>
            </a:stretch>
          </a:blipFill>
          <a:effectLst/>
          <a:scene3d>
            <a:camera prst="isometricRightUp"/>
            <a:lightRig rig="threePt" dir="t"/>
          </a:scene3d>
        </p:spPr>
        <p:txBody>
          <a:bodyPr wrap="square" anchor="ctr">
            <a:noAutofit/>
          </a:bodyPr>
          <a:lstStyle>
            <a:lvl1pPr marL="0" indent="0" algn="ctr">
              <a:buFontTx/>
              <a:buNone/>
              <a:defRPr sz="1200"/>
            </a:lvl1pPr>
          </a:lstStyle>
          <a:p>
            <a:endParaRPr lang="en-US"/>
          </a:p>
        </p:txBody>
      </p:sp>
      <p:sp>
        <p:nvSpPr>
          <p:cNvPr id="4" name="Picture Placeholder 3">
            <a:extLst>
              <a:ext uri="{FF2B5EF4-FFF2-40B4-BE49-F238E27FC236}">
                <a16:creationId xmlns:a16="http://schemas.microsoft.com/office/drawing/2014/main" id="{B1341CDB-C9B9-4F7E-86D0-A59CD06C8B23}"/>
              </a:ext>
            </a:extLst>
          </p:cNvPr>
          <p:cNvSpPr>
            <a:spLocks noGrp="1"/>
          </p:cNvSpPr>
          <p:nvPr>
            <p:ph type="pic" sz="quarter" idx="13"/>
          </p:nvPr>
        </p:nvSpPr>
        <p:spPr>
          <a:xfrm>
            <a:off x="8830745" y="3278705"/>
            <a:ext cx="3878940" cy="2364480"/>
          </a:xfrm>
          <a:custGeom>
            <a:avLst/>
            <a:gdLst>
              <a:gd name="connsiteX0" fmla="*/ 0 w 6263640"/>
              <a:gd name="connsiteY0" fmla="*/ 0 h 3817620"/>
              <a:gd name="connsiteX1" fmla="*/ 6263640 w 6263640"/>
              <a:gd name="connsiteY1" fmla="*/ 0 h 3817620"/>
              <a:gd name="connsiteX2" fmla="*/ 6263640 w 6263640"/>
              <a:gd name="connsiteY2" fmla="*/ 3817620 h 3817620"/>
              <a:gd name="connsiteX3" fmla="*/ 0 w 6263640"/>
              <a:gd name="connsiteY3" fmla="*/ 3817620 h 3817620"/>
            </a:gdLst>
            <a:ahLst/>
            <a:cxnLst>
              <a:cxn ang="0">
                <a:pos x="connsiteX0" y="connsiteY0"/>
              </a:cxn>
              <a:cxn ang="0">
                <a:pos x="connsiteX1" y="connsiteY1"/>
              </a:cxn>
              <a:cxn ang="0">
                <a:pos x="connsiteX2" y="connsiteY2"/>
              </a:cxn>
              <a:cxn ang="0">
                <a:pos x="connsiteX3" y="connsiteY3"/>
              </a:cxn>
            </a:cxnLst>
            <a:rect l="l" t="t" r="r" b="b"/>
            <a:pathLst>
              <a:path w="6263640" h="3817620">
                <a:moveTo>
                  <a:pt x="0" y="0"/>
                </a:moveTo>
                <a:lnTo>
                  <a:pt x="6263640" y="0"/>
                </a:lnTo>
                <a:lnTo>
                  <a:pt x="6263640" y="3817620"/>
                </a:lnTo>
                <a:lnTo>
                  <a:pt x="0" y="3817620"/>
                </a:lnTo>
                <a:close/>
              </a:path>
            </a:pathLst>
          </a:custGeom>
          <a:blipFill dpi="0" rotWithShape="1">
            <a:blip r:embed="rId2"/>
            <a:stretch>
              <a:fillRect/>
            </a:stretch>
          </a:blipFill>
          <a:effectLst/>
          <a:scene3d>
            <a:camera prst="isometricLeftDown"/>
            <a:lightRig rig="threePt" dir="t"/>
          </a:scene3d>
        </p:spPr>
        <p:txBody>
          <a:bodyPr wrap="square" anchor="ctr">
            <a:noAutofit/>
          </a:bodyPr>
          <a:lstStyle>
            <a:lvl1pPr marL="0" indent="0" algn="ctr">
              <a:buFontTx/>
              <a:buNone/>
              <a:defRPr sz="1200"/>
            </a:lvl1pPr>
          </a:lstStyle>
          <a:p>
            <a:endParaRPr lang="en-US"/>
          </a:p>
        </p:txBody>
      </p:sp>
    </p:spTree>
    <p:extLst>
      <p:ext uri="{BB962C8B-B14F-4D97-AF65-F5344CB8AC3E}">
        <p14:creationId xmlns:p14="http://schemas.microsoft.com/office/powerpoint/2010/main" val="3988295453"/>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4" dur="1500" decel="10000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1500" fill="hold"/>
                                        <p:tgtEl>
                                          <p:spTgt spid="8"/>
                                        </p:tgtEl>
                                        <p:attrNameLst>
                                          <p:attrName>ppt_x</p:attrName>
                                        </p:attrNameLst>
                                      </p:cBhvr>
                                      <p:tavLst>
                                        <p:tav tm="0">
                                          <p:val>
                                            <p:strVal val="#ppt_x"/>
                                          </p:val>
                                        </p:tav>
                                        <p:tav tm="100000">
                                          <p:val>
                                            <p:strVal val="#ppt_x"/>
                                          </p:val>
                                        </p:tav>
                                      </p:tavLst>
                                    </p:anim>
                                    <p:anim calcmode="lin" valueType="num">
                                      <p:cBhvr additive="base">
                                        <p:cTn id="8" dur="1500" fill="hold"/>
                                        <p:tgtEl>
                                          <p:spTgt spid="8"/>
                                        </p:tgtEl>
                                        <p:attrNameLst>
                                          <p:attrName>ppt_y</p:attrName>
                                        </p:attrNameLst>
                                      </p:cBhvr>
                                      <p:tavLst>
                                        <p:tav tm="0">
                                          <p:val>
                                            <p:strVal val="1+#ppt_h/2"/>
                                          </p:val>
                                        </p:tav>
                                        <p:tav tm="100000">
                                          <p:val>
                                            <p:strVal val="#ppt_y"/>
                                          </p:val>
                                        </p:tav>
                                      </p:tavLst>
                                    </p:anim>
                                  </p:childTnLst>
                                </p:cTn>
                              </p:par>
                              <p:par>
                                <p:cTn id="9" presetID="2" presetClass="entr" presetSubtype="4" dur="1500" decel="100000" fill="hold" grpId="0" nodeType="withEffect">
                                  <p:stCondLst>
                                    <p:cond delay="200"/>
                                  </p:stCondLst>
                                  <p:childTnLst>
                                    <p:set>
                                      <p:cBhvr>
                                        <p:cTn id="10" dur="1" fill="hold">
                                          <p:stCondLst>
                                            <p:cond delay="0"/>
                                          </p:stCondLst>
                                        </p:cTn>
                                        <p:tgtEl>
                                          <p:spTgt spid="4"/>
                                        </p:tgtEl>
                                        <p:attrNameLst>
                                          <p:attrName>style.visibility</p:attrName>
                                        </p:attrNameLst>
                                      </p:cBhvr>
                                      <p:to>
                                        <p:strVal val="visible"/>
                                      </p:to>
                                    </p:set>
                                    <p:anim calcmode="lin" valueType="num">
                                      <p:cBhvr additive="base">
                                        <p:cTn id="11" dur="1500" fill="hold"/>
                                        <p:tgtEl>
                                          <p:spTgt spid="4"/>
                                        </p:tgtEl>
                                        <p:attrNameLst>
                                          <p:attrName>ppt_x</p:attrName>
                                        </p:attrNameLst>
                                      </p:cBhvr>
                                      <p:tavLst>
                                        <p:tav tm="0">
                                          <p:val>
                                            <p:strVal val="#ppt_x"/>
                                          </p:val>
                                        </p:tav>
                                        <p:tav tm="100000">
                                          <p:val>
                                            <p:strVal val="#ppt_x"/>
                                          </p:val>
                                        </p:tav>
                                      </p:tavLst>
                                    </p:anim>
                                    <p:anim calcmode="lin" valueType="num">
                                      <p:cBhvr additive="base">
                                        <p:cTn id="12" dur="1500" fill="hold"/>
                                        <p:tgtEl>
                                          <p:spTgt spid="4"/>
                                        </p:tgtEl>
                                        <p:attrNameLst>
                                          <p:attrName>ppt_y</p:attrName>
                                        </p:attrNameLst>
                                      </p:cBhvr>
                                      <p:tavLst>
                                        <p:tav tm="0">
                                          <p:val>
                                            <p:strVal val="1+#ppt_h/2"/>
                                          </p:val>
                                        </p:tav>
                                        <p:tav tm="100000">
                                          <p:val>
                                            <p:strVal val="#ppt_y"/>
                                          </p:val>
                                        </p:tav>
                                      </p:tavLst>
                                    </p:anim>
                                  </p:childTnLst>
                                </p:cTn>
                              </p:par>
                              <p:par>
                                <p:cTn id="13" presetID="2" presetClass="entr" presetSubtype="1" dur="1500" decel="100000" fill="hold" grpId="0" nodeType="withEffect">
                                  <p:stCondLst>
                                    <p:cond delay="400"/>
                                  </p:stCondLst>
                                  <p:childTnLst>
                                    <p:set>
                                      <p:cBhvr>
                                        <p:cTn id="14" dur="1" fill="hold">
                                          <p:stCondLst>
                                            <p:cond delay="0"/>
                                          </p:stCondLst>
                                        </p:cTn>
                                        <p:tgtEl>
                                          <p:spTgt spid="9"/>
                                        </p:tgtEl>
                                        <p:attrNameLst>
                                          <p:attrName>style.visibility</p:attrName>
                                        </p:attrNameLst>
                                      </p:cBhvr>
                                      <p:to>
                                        <p:strVal val="visible"/>
                                      </p:to>
                                    </p:set>
                                    <p:anim calcmode="lin" valueType="num">
                                      <p:cBhvr additive="base">
                                        <p:cTn id="15" dur="1500" fill="hold"/>
                                        <p:tgtEl>
                                          <p:spTgt spid="9"/>
                                        </p:tgtEl>
                                        <p:attrNameLst>
                                          <p:attrName>ppt_x</p:attrName>
                                        </p:attrNameLst>
                                      </p:cBhvr>
                                      <p:tavLst>
                                        <p:tav tm="0">
                                          <p:val>
                                            <p:strVal val="#ppt_x"/>
                                          </p:val>
                                        </p:tav>
                                        <p:tav tm="100000">
                                          <p:val>
                                            <p:strVal val="#ppt_x"/>
                                          </p:val>
                                        </p:tav>
                                      </p:tavLst>
                                    </p:anim>
                                    <p:anim calcmode="lin" valueType="num">
                                      <p:cBhvr additive="base">
                                        <p:cTn id="16" dur="1500" fill="hold"/>
                                        <p:tgtEl>
                                          <p:spTgt spid="9"/>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8" grpId="0" animBg="1"/>
      <p:bldP spid="4" grpId="0" animBg="1"/>
    </p:bld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66_Custom Layou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151603B5-AB83-43BF-A00A-6612535A162F}"/>
              </a:ext>
            </a:extLst>
          </p:cNvPr>
          <p:cNvSpPr>
            <a:spLocks noGrp="1" noChangeAspect="1"/>
          </p:cNvSpPr>
          <p:nvPr>
            <p:ph type="pic" sz="quarter" idx="13"/>
          </p:nvPr>
        </p:nvSpPr>
        <p:spPr>
          <a:xfrm>
            <a:off x="3500556" y="56076"/>
            <a:ext cx="4845689" cy="6654409"/>
          </a:xfrm>
          <a:custGeom>
            <a:avLst/>
            <a:gdLst>
              <a:gd name="connsiteX0" fmla="*/ 0 w 8965220"/>
              <a:gd name="connsiteY0" fmla="*/ 0 h 12310009"/>
              <a:gd name="connsiteX1" fmla="*/ 8965220 w 8965220"/>
              <a:gd name="connsiteY1" fmla="*/ 0 h 12310009"/>
              <a:gd name="connsiteX2" fmla="*/ 8965220 w 8965220"/>
              <a:gd name="connsiteY2" fmla="*/ 12310009 h 12310009"/>
              <a:gd name="connsiteX3" fmla="*/ 0 w 8965220"/>
              <a:gd name="connsiteY3" fmla="*/ 12310009 h 12310009"/>
            </a:gdLst>
            <a:ahLst/>
            <a:cxnLst>
              <a:cxn ang="0">
                <a:pos x="connsiteX0" y="connsiteY0"/>
              </a:cxn>
              <a:cxn ang="0">
                <a:pos x="connsiteX1" y="connsiteY1"/>
              </a:cxn>
              <a:cxn ang="0">
                <a:pos x="connsiteX2" y="connsiteY2"/>
              </a:cxn>
              <a:cxn ang="0">
                <a:pos x="connsiteX3" y="connsiteY3"/>
              </a:cxn>
            </a:cxnLst>
            <a:rect l="l" t="t" r="r" b="b"/>
            <a:pathLst>
              <a:path w="8965220" h="12310009">
                <a:moveTo>
                  <a:pt x="0" y="0"/>
                </a:moveTo>
                <a:lnTo>
                  <a:pt x="8965220" y="0"/>
                </a:lnTo>
                <a:lnTo>
                  <a:pt x="8965220" y="12310009"/>
                </a:lnTo>
                <a:lnTo>
                  <a:pt x="0" y="12310009"/>
                </a:lnTo>
                <a:close/>
              </a:path>
            </a:pathLst>
          </a:custGeom>
          <a:blipFill dpi="0" rotWithShape="1">
            <a:blip r:embed="rId2"/>
            <a:stretch>
              <a:fillRect/>
            </a:stretch>
          </a:blipFill>
          <a:effectLst/>
          <a:scene3d>
            <a:camera prst="isometricTopUp"/>
            <a:lightRig rig="threePt" dir="t"/>
          </a:scene3d>
        </p:spPr>
        <p:txBody>
          <a:bodyPr wrap="square" anchor="ctr">
            <a:noAutofit/>
          </a:bodyPr>
          <a:lstStyle>
            <a:lvl1pPr marL="0" indent="0" algn="ctr">
              <a:buFontTx/>
              <a:buNone/>
              <a:defRPr sz="1200"/>
            </a:lvl1pPr>
          </a:lstStyle>
          <a:p>
            <a:endParaRPr lang="en-US"/>
          </a:p>
        </p:txBody>
      </p:sp>
    </p:spTree>
    <p:extLst>
      <p:ext uri="{BB962C8B-B14F-4D97-AF65-F5344CB8AC3E}">
        <p14:creationId xmlns:p14="http://schemas.microsoft.com/office/powerpoint/2010/main" val="1991327296"/>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12" dur="1500" decel="10000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1500" fill="hold"/>
                                        <p:tgtEl>
                                          <p:spTgt spid="3"/>
                                        </p:tgtEl>
                                        <p:attrNameLst>
                                          <p:attrName>ppt_x</p:attrName>
                                        </p:attrNameLst>
                                      </p:cBhvr>
                                      <p:tavLst>
                                        <p:tav tm="0">
                                          <p:val>
                                            <p:strVal val="0-#ppt_w/2"/>
                                          </p:val>
                                        </p:tav>
                                        <p:tav tm="100000">
                                          <p:val>
                                            <p:strVal val="#ppt_x"/>
                                          </p:val>
                                        </p:tav>
                                      </p:tavLst>
                                    </p:anim>
                                    <p:anim calcmode="lin" valueType="num">
                                      <p:cBhvr additive="base">
                                        <p:cTn id="8" dur="1500" fill="hold"/>
                                        <p:tgtEl>
                                          <p:spTgt spid="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67_Custom Layou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E847EA13-01D4-45C3-B0E5-1D3667AA00EB}"/>
              </a:ext>
            </a:extLst>
          </p:cNvPr>
          <p:cNvSpPr>
            <a:spLocks noGrp="1"/>
          </p:cNvSpPr>
          <p:nvPr>
            <p:ph type="pic" sz="quarter" idx="13"/>
          </p:nvPr>
        </p:nvSpPr>
        <p:spPr>
          <a:xfrm>
            <a:off x="4151339" y="834571"/>
            <a:ext cx="3874810" cy="5181601"/>
          </a:xfrm>
          <a:custGeom>
            <a:avLst/>
            <a:gdLst>
              <a:gd name="connsiteX0" fmla="*/ 0 w 7750629"/>
              <a:gd name="connsiteY0" fmla="*/ 0 h 10363201"/>
              <a:gd name="connsiteX1" fmla="*/ 7750629 w 7750629"/>
              <a:gd name="connsiteY1" fmla="*/ 0 h 10363201"/>
              <a:gd name="connsiteX2" fmla="*/ 7750629 w 7750629"/>
              <a:gd name="connsiteY2" fmla="*/ 10363201 h 10363201"/>
              <a:gd name="connsiteX3" fmla="*/ 0 w 7750629"/>
              <a:gd name="connsiteY3" fmla="*/ 10363201 h 10363201"/>
            </a:gdLst>
            <a:ahLst/>
            <a:cxnLst>
              <a:cxn ang="0">
                <a:pos x="connsiteX0" y="connsiteY0"/>
              </a:cxn>
              <a:cxn ang="0">
                <a:pos x="connsiteX1" y="connsiteY1"/>
              </a:cxn>
              <a:cxn ang="0">
                <a:pos x="connsiteX2" y="connsiteY2"/>
              </a:cxn>
              <a:cxn ang="0">
                <a:pos x="connsiteX3" y="connsiteY3"/>
              </a:cxn>
            </a:cxnLst>
            <a:rect l="l" t="t" r="r" b="b"/>
            <a:pathLst>
              <a:path w="7750629" h="10363201">
                <a:moveTo>
                  <a:pt x="0" y="0"/>
                </a:moveTo>
                <a:lnTo>
                  <a:pt x="7750629" y="0"/>
                </a:lnTo>
                <a:lnTo>
                  <a:pt x="7750629" y="10363201"/>
                </a:lnTo>
                <a:lnTo>
                  <a:pt x="0" y="10363201"/>
                </a:lnTo>
                <a:close/>
              </a:path>
            </a:pathLst>
          </a:custGeom>
          <a:blipFill>
            <a:blip r:embed="rId2"/>
            <a:stretch>
              <a:fillRect/>
            </a:stretch>
          </a:blipFill>
          <a:effectLst/>
        </p:spPr>
        <p:txBody>
          <a:bodyPr wrap="square" anchor="ctr">
            <a:noAutofit/>
          </a:bodyPr>
          <a:lstStyle>
            <a:lvl1pPr marL="0" indent="0" algn="ctr">
              <a:buFontTx/>
              <a:buNone/>
              <a:defRPr sz="1200"/>
            </a:lvl1pPr>
          </a:lstStyle>
          <a:p>
            <a:endParaRPr lang="en-US"/>
          </a:p>
        </p:txBody>
      </p:sp>
    </p:spTree>
    <p:extLst>
      <p:ext uri="{BB962C8B-B14F-4D97-AF65-F5344CB8AC3E}">
        <p14:creationId xmlns:p14="http://schemas.microsoft.com/office/powerpoint/2010/main" val="94633306"/>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4" dur="2000" decel="10000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2000" fill="hold"/>
                                        <p:tgtEl>
                                          <p:spTgt spid="8"/>
                                        </p:tgtEl>
                                        <p:attrNameLst>
                                          <p:attrName>ppt_x</p:attrName>
                                        </p:attrNameLst>
                                      </p:cBhvr>
                                      <p:tavLst>
                                        <p:tav tm="0">
                                          <p:val>
                                            <p:strVal val="#ppt_x"/>
                                          </p:val>
                                        </p:tav>
                                        <p:tav tm="100000">
                                          <p:val>
                                            <p:strVal val="#ppt_x"/>
                                          </p:val>
                                        </p:tav>
                                      </p:tavLst>
                                    </p:anim>
                                    <p:anim calcmode="lin" valueType="num">
                                      <p:cBhvr additive="base">
                                        <p:cTn id="8" dur="20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68_Custom Layout">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FD77B443-E4CE-4B2B-BCA4-5E82A0D3FC56}"/>
              </a:ext>
            </a:extLst>
          </p:cNvPr>
          <p:cNvSpPr>
            <a:spLocks noGrp="1"/>
          </p:cNvSpPr>
          <p:nvPr>
            <p:ph type="pic" sz="quarter" idx="14" hasCustomPrompt="1"/>
          </p:nvPr>
        </p:nvSpPr>
        <p:spPr>
          <a:xfrm>
            <a:off x="909826" y="1479237"/>
            <a:ext cx="3256941" cy="4468697"/>
          </a:xfrm>
          <a:custGeom>
            <a:avLst/>
            <a:gdLst>
              <a:gd name="connsiteX0" fmla="*/ 0 w 6514730"/>
              <a:gd name="connsiteY0" fmla="*/ 0 h 8937393"/>
              <a:gd name="connsiteX1" fmla="*/ 6514730 w 6514730"/>
              <a:gd name="connsiteY1" fmla="*/ 0 h 8937393"/>
              <a:gd name="connsiteX2" fmla="*/ 6514730 w 6514730"/>
              <a:gd name="connsiteY2" fmla="*/ 8937393 h 8937393"/>
              <a:gd name="connsiteX3" fmla="*/ 0 w 6514730"/>
              <a:gd name="connsiteY3" fmla="*/ 8937393 h 8937393"/>
            </a:gdLst>
            <a:ahLst/>
            <a:cxnLst>
              <a:cxn ang="0">
                <a:pos x="connsiteX0" y="connsiteY0"/>
              </a:cxn>
              <a:cxn ang="0">
                <a:pos x="connsiteX1" y="connsiteY1"/>
              </a:cxn>
              <a:cxn ang="0">
                <a:pos x="connsiteX2" y="connsiteY2"/>
              </a:cxn>
              <a:cxn ang="0">
                <a:pos x="connsiteX3" y="connsiteY3"/>
              </a:cxn>
            </a:cxnLst>
            <a:rect l="l" t="t" r="r" b="b"/>
            <a:pathLst>
              <a:path w="6514729" h="8937393">
                <a:moveTo>
                  <a:pt x="0" y="0"/>
                </a:moveTo>
                <a:lnTo>
                  <a:pt x="6514730" y="0"/>
                </a:lnTo>
                <a:lnTo>
                  <a:pt x="6514730" y="8937393"/>
                </a:lnTo>
                <a:lnTo>
                  <a:pt x="0" y="8937393"/>
                </a:lnTo>
                <a:close/>
              </a:path>
            </a:pathLst>
          </a:custGeom>
          <a:blipFill>
            <a:blip r:embed="rId2"/>
            <a:stretch>
              <a:fillRect/>
            </a:stretch>
          </a:blipFill>
          <a:effectLst/>
        </p:spPr>
        <p:txBody>
          <a:bodyPr wrap="square" anchor="ctr">
            <a:noAutofit/>
          </a:bodyPr>
          <a:lstStyle>
            <a:lvl1pPr marL="0" indent="0" algn="ctr">
              <a:buFontTx/>
              <a:buNone/>
              <a:defRPr sz="1200"/>
            </a:lvl1pPr>
          </a:lstStyle>
          <a:p>
            <a:r>
              <a:rPr lang="en-US"/>
              <a:t> </a:t>
            </a:r>
          </a:p>
        </p:txBody>
      </p:sp>
      <p:sp>
        <p:nvSpPr>
          <p:cNvPr id="8" name="Picture Placeholder 7">
            <a:extLst>
              <a:ext uri="{FF2B5EF4-FFF2-40B4-BE49-F238E27FC236}">
                <a16:creationId xmlns:a16="http://schemas.microsoft.com/office/drawing/2014/main" id="{33EDA427-109E-4E2F-B440-99F7E6FF3656}"/>
              </a:ext>
            </a:extLst>
          </p:cNvPr>
          <p:cNvSpPr>
            <a:spLocks noGrp="1"/>
          </p:cNvSpPr>
          <p:nvPr>
            <p:ph type="pic" sz="quarter" idx="13" hasCustomPrompt="1"/>
          </p:nvPr>
        </p:nvSpPr>
        <p:spPr>
          <a:xfrm>
            <a:off x="4213241" y="823246"/>
            <a:ext cx="3720054" cy="5113654"/>
          </a:xfrm>
          <a:custGeom>
            <a:avLst/>
            <a:gdLst>
              <a:gd name="connsiteX0" fmla="*/ 0 w 7441077"/>
              <a:gd name="connsiteY0" fmla="*/ 0 h 10227307"/>
              <a:gd name="connsiteX1" fmla="*/ 7441077 w 7441077"/>
              <a:gd name="connsiteY1" fmla="*/ 0 h 10227307"/>
              <a:gd name="connsiteX2" fmla="*/ 7441077 w 7441077"/>
              <a:gd name="connsiteY2" fmla="*/ 10227307 h 10227307"/>
              <a:gd name="connsiteX3" fmla="*/ 0 w 7441077"/>
              <a:gd name="connsiteY3" fmla="*/ 10227307 h 10227307"/>
            </a:gdLst>
            <a:ahLst/>
            <a:cxnLst>
              <a:cxn ang="0">
                <a:pos x="connsiteX0" y="connsiteY0"/>
              </a:cxn>
              <a:cxn ang="0">
                <a:pos x="connsiteX1" y="connsiteY1"/>
              </a:cxn>
              <a:cxn ang="0">
                <a:pos x="connsiteX2" y="connsiteY2"/>
              </a:cxn>
              <a:cxn ang="0">
                <a:pos x="connsiteX3" y="connsiteY3"/>
              </a:cxn>
            </a:cxnLst>
            <a:rect l="l" t="t" r="r" b="b"/>
            <a:pathLst>
              <a:path w="7441077" h="10227307">
                <a:moveTo>
                  <a:pt x="0" y="0"/>
                </a:moveTo>
                <a:lnTo>
                  <a:pt x="7441077" y="0"/>
                </a:lnTo>
                <a:lnTo>
                  <a:pt x="7441077" y="10227307"/>
                </a:lnTo>
                <a:lnTo>
                  <a:pt x="0" y="10227307"/>
                </a:lnTo>
                <a:close/>
              </a:path>
            </a:pathLst>
          </a:custGeom>
          <a:blipFill>
            <a:blip r:embed="rId2"/>
            <a:stretch>
              <a:fillRect/>
            </a:stretch>
          </a:blipFill>
          <a:effectLst/>
        </p:spPr>
        <p:txBody>
          <a:bodyPr wrap="square" anchor="ctr">
            <a:noAutofit/>
          </a:bodyPr>
          <a:lstStyle>
            <a:lvl1pPr marL="0" indent="0" algn="ctr">
              <a:buFontTx/>
              <a:buNone/>
              <a:defRPr sz="1200"/>
            </a:lvl1pPr>
          </a:lstStyle>
          <a:p>
            <a:r>
              <a:rPr lang="en-US"/>
              <a:t> </a:t>
            </a:r>
          </a:p>
        </p:txBody>
      </p:sp>
    </p:spTree>
    <p:extLst>
      <p:ext uri="{BB962C8B-B14F-4D97-AF65-F5344CB8AC3E}">
        <p14:creationId xmlns:p14="http://schemas.microsoft.com/office/powerpoint/2010/main" val="2040055303"/>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8" dur="1500" decel="10000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1500" fill="hold"/>
                                        <p:tgtEl>
                                          <p:spTgt spid="8"/>
                                        </p:tgtEl>
                                        <p:attrNameLst>
                                          <p:attrName>ppt_x</p:attrName>
                                        </p:attrNameLst>
                                      </p:cBhvr>
                                      <p:tavLst>
                                        <p:tav tm="0">
                                          <p:val>
                                            <p:strVal val="0-#ppt_w/2"/>
                                          </p:val>
                                        </p:tav>
                                        <p:tav tm="100000">
                                          <p:val>
                                            <p:strVal val="#ppt_x"/>
                                          </p:val>
                                        </p:tav>
                                      </p:tavLst>
                                    </p:anim>
                                    <p:anim calcmode="lin" valueType="num">
                                      <p:cBhvr additive="base">
                                        <p:cTn id="8" dur="1500" fill="hold"/>
                                        <p:tgtEl>
                                          <p:spTgt spid="8"/>
                                        </p:tgtEl>
                                        <p:attrNameLst>
                                          <p:attrName>ppt_y</p:attrName>
                                        </p:attrNameLst>
                                      </p:cBhvr>
                                      <p:tavLst>
                                        <p:tav tm="0">
                                          <p:val>
                                            <p:strVal val="#ppt_y"/>
                                          </p:val>
                                        </p:tav>
                                        <p:tav tm="100000">
                                          <p:val>
                                            <p:strVal val="#ppt_y"/>
                                          </p:val>
                                        </p:tav>
                                      </p:tavLst>
                                    </p:anim>
                                  </p:childTnLst>
                                </p:cTn>
                              </p:par>
                              <p:par>
                                <p:cTn id="9" presetID="2" presetClass="entr" presetSubtype="2" dur="2000" decel="100000" fill="hold" grpId="0" nodeType="withEffect">
                                  <p:stCondLst>
                                    <p:cond delay="70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2000" fill="hold"/>
                                        <p:tgtEl>
                                          <p:spTgt spid="9"/>
                                        </p:tgtEl>
                                        <p:attrNameLst>
                                          <p:attrName>ppt_x</p:attrName>
                                        </p:attrNameLst>
                                      </p:cBhvr>
                                      <p:tavLst>
                                        <p:tav tm="0">
                                          <p:val>
                                            <p:strVal val="1+#ppt_w/2"/>
                                          </p:val>
                                        </p:tav>
                                        <p:tav tm="100000">
                                          <p:val>
                                            <p:strVal val="#ppt_x"/>
                                          </p:val>
                                        </p:tav>
                                      </p:tavLst>
                                    </p:anim>
                                    <p:anim calcmode="lin" valueType="num">
                                      <p:cBhvr additive="base">
                                        <p:cTn id="12" dur="200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8" grpId="0" animBg="1"/>
    </p:bld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69_Custom Layout">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605AE822-AEAC-4FB9-A43E-290DA7E678D5}"/>
              </a:ext>
            </a:extLst>
          </p:cNvPr>
          <p:cNvSpPr>
            <a:spLocks noGrp="1" noChangeAspect="1"/>
          </p:cNvSpPr>
          <p:nvPr>
            <p:ph type="pic" sz="quarter" idx="13" hasCustomPrompt="1"/>
          </p:nvPr>
        </p:nvSpPr>
        <p:spPr>
          <a:xfrm>
            <a:off x="3077676" y="3000853"/>
            <a:ext cx="5991184" cy="8235591"/>
          </a:xfrm>
          <a:custGeom>
            <a:avLst/>
            <a:gdLst>
              <a:gd name="connsiteX0" fmla="*/ 0 w 7441077"/>
              <a:gd name="connsiteY0" fmla="*/ 0 h 10227307"/>
              <a:gd name="connsiteX1" fmla="*/ 7441077 w 7441077"/>
              <a:gd name="connsiteY1" fmla="*/ 0 h 10227307"/>
              <a:gd name="connsiteX2" fmla="*/ 7441077 w 7441077"/>
              <a:gd name="connsiteY2" fmla="*/ 10227307 h 10227307"/>
              <a:gd name="connsiteX3" fmla="*/ 0 w 7441077"/>
              <a:gd name="connsiteY3" fmla="*/ 10227307 h 10227307"/>
            </a:gdLst>
            <a:ahLst/>
            <a:cxnLst>
              <a:cxn ang="0">
                <a:pos x="connsiteX0" y="connsiteY0"/>
              </a:cxn>
              <a:cxn ang="0">
                <a:pos x="connsiteX1" y="connsiteY1"/>
              </a:cxn>
              <a:cxn ang="0">
                <a:pos x="connsiteX2" y="connsiteY2"/>
              </a:cxn>
              <a:cxn ang="0">
                <a:pos x="connsiteX3" y="connsiteY3"/>
              </a:cxn>
            </a:cxnLst>
            <a:rect l="l" t="t" r="r" b="b"/>
            <a:pathLst>
              <a:path w="7441077" h="10227307">
                <a:moveTo>
                  <a:pt x="0" y="0"/>
                </a:moveTo>
                <a:lnTo>
                  <a:pt x="7441077" y="0"/>
                </a:lnTo>
                <a:lnTo>
                  <a:pt x="7441077" y="10227307"/>
                </a:lnTo>
                <a:lnTo>
                  <a:pt x="0" y="10227307"/>
                </a:lnTo>
                <a:close/>
              </a:path>
            </a:pathLst>
          </a:custGeom>
          <a:blipFill>
            <a:blip r:embed="rId2"/>
            <a:stretch>
              <a:fillRect/>
            </a:stretch>
          </a:blipFill>
          <a:effectLst/>
        </p:spPr>
        <p:txBody>
          <a:bodyPr wrap="square" anchor="ctr">
            <a:noAutofit/>
          </a:bodyPr>
          <a:lstStyle>
            <a:lvl1pPr marL="0" indent="0" algn="ctr">
              <a:buFontTx/>
              <a:buNone/>
              <a:defRPr sz="1200"/>
            </a:lvl1pPr>
          </a:lstStyle>
          <a:p>
            <a:r>
              <a:rPr lang="en-US"/>
              <a:t> </a:t>
            </a:r>
          </a:p>
        </p:txBody>
      </p:sp>
    </p:spTree>
    <p:extLst>
      <p:ext uri="{BB962C8B-B14F-4D97-AF65-F5344CB8AC3E}">
        <p14:creationId xmlns:p14="http://schemas.microsoft.com/office/powerpoint/2010/main" val="225506539"/>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4" dur="1500" decel="10000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1500" fill="hold"/>
                                        <p:tgtEl>
                                          <p:spTgt spid="14"/>
                                        </p:tgtEl>
                                        <p:attrNameLst>
                                          <p:attrName>ppt_x</p:attrName>
                                        </p:attrNameLst>
                                      </p:cBhvr>
                                      <p:tavLst>
                                        <p:tav tm="0">
                                          <p:val>
                                            <p:strVal val="#ppt_x"/>
                                          </p:val>
                                        </p:tav>
                                        <p:tav tm="100000">
                                          <p:val>
                                            <p:strVal val="#ppt_x"/>
                                          </p:val>
                                        </p:tav>
                                      </p:tavLst>
                                    </p:anim>
                                    <p:anim calcmode="lin" valueType="num">
                                      <p:cBhvr additive="base">
                                        <p:cTn id="8" dur="1500" fill="hold"/>
                                        <p:tgtEl>
                                          <p:spTgt spid="1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73_Custom Layou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DCE07B66-5987-495D-B793-0151B7A8F8DC}"/>
              </a:ext>
            </a:extLst>
          </p:cNvPr>
          <p:cNvSpPr>
            <a:spLocks noGrp="1" noChangeAspect="1"/>
          </p:cNvSpPr>
          <p:nvPr>
            <p:ph type="pic" sz="quarter" idx="13" hasCustomPrompt="1"/>
          </p:nvPr>
        </p:nvSpPr>
        <p:spPr>
          <a:xfrm>
            <a:off x="3086677" y="-542318"/>
            <a:ext cx="6399967" cy="8786779"/>
          </a:xfrm>
          <a:custGeom>
            <a:avLst/>
            <a:gdLst>
              <a:gd name="connsiteX0" fmla="*/ 0 w 5420811"/>
              <a:gd name="connsiteY0" fmla="*/ 0 h 7441488"/>
              <a:gd name="connsiteX1" fmla="*/ 5420811 w 5420811"/>
              <a:gd name="connsiteY1" fmla="*/ 0 h 7441488"/>
              <a:gd name="connsiteX2" fmla="*/ 5420811 w 5420811"/>
              <a:gd name="connsiteY2" fmla="*/ 7441488 h 7441488"/>
              <a:gd name="connsiteX3" fmla="*/ 0 w 5420811"/>
              <a:gd name="connsiteY3" fmla="*/ 7441488 h 7441488"/>
            </a:gdLst>
            <a:ahLst/>
            <a:cxnLst>
              <a:cxn ang="0">
                <a:pos x="connsiteX0" y="connsiteY0"/>
              </a:cxn>
              <a:cxn ang="0">
                <a:pos x="connsiteX1" y="connsiteY1"/>
              </a:cxn>
              <a:cxn ang="0">
                <a:pos x="connsiteX2" y="connsiteY2"/>
              </a:cxn>
              <a:cxn ang="0">
                <a:pos x="connsiteX3" y="connsiteY3"/>
              </a:cxn>
            </a:cxnLst>
            <a:rect l="l" t="t" r="r" b="b"/>
            <a:pathLst>
              <a:path w="5420811" h="7441488">
                <a:moveTo>
                  <a:pt x="0" y="0"/>
                </a:moveTo>
                <a:lnTo>
                  <a:pt x="5420811" y="0"/>
                </a:lnTo>
                <a:lnTo>
                  <a:pt x="5420811" y="7441488"/>
                </a:lnTo>
                <a:lnTo>
                  <a:pt x="0" y="7441488"/>
                </a:lnTo>
                <a:close/>
              </a:path>
            </a:pathLst>
          </a:custGeom>
          <a:blipFill>
            <a:blip r:embed="rId2"/>
            <a:stretch>
              <a:fillRect/>
            </a:stretch>
          </a:blipFill>
          <a:effectLst/>
          <a:scene3d>
            <a:camera prst="isometricTopUp">
              <a:rot lat="19391480" lon="17604000" rev="4500000"/>
            </a:camera>
            <a:lightRig rig="threePt" dir="t"/>
          </a:scene3d>
        </p:spPr>
        <p:txBody>
          <a:bodyPr wrap="square" anchor="ctr">
            <a:noAutofit/>
          </a:bodyPr>
          <a:lstStyle>
            <a:lvl1pPr marL="0" indent="0" algn="ctr">
              <a:buFontTx/>
              <a:buNone/>
              <a:defRPr sz="1200"/>
            </a:lvl1pPr>
          </a:lstStyle>
          <a:p>
            <a:r>
              <a:rPr lang="en-US"/>
              <a:t> </a:t>
            </a:r>
          </a:p>
        </p:txBody>
      </p:sp>
    </p:spTree>
    <p:extLst>
      <p:ext uri="{BB962C8B-B14F-4D97-AF65-F5344CB8AC3E}">
        <p14:creationId xmlns:p14="http://schemas.microsoft.com/office/powerpoint/2010/main" val="2873266741"/>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12" dur="1500"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1500" fill="hold"/>
                                        <p:tgtEl>
                                          <p:spTgt spid="6"/>
                                        </p:tgtEl>
                                        <p:attrNameLst>
                                          <p:attrName>ppt_x</p:attrName>
                                        </p:attrNameLst>
                                      </p:cBhvr>
                                      <p:tavLst>
                                        <p:tav tm="0">
                                          <p:val>
                                            <p:strVal val="0-#ppt_w/2"/>
                                          </p:val>
                                        </p:tav>
                                        <p:tav tm="100000">
                                          <p:val>
                                            <p:strVal val="#ppt_x"/>
                                          </p:val>
                                        </p:tav>
                                      </p:tavLst>
                                    </p:anim>
                                    <p:anim calcmode="lin" valueType="num">
                                      <p:cBhvr additive="base">
                                        <p:cTn id="8" dur="1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9_Title Slide">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3590E3F0-9DBF-3130-7161-E7AB0BFFC343}"/>
              </a:ext>
            </a:extLst>
          </p:cNvPr>
          <p:cNvSpPr>
            <a:spLocks noGrp="1"/>
          </p:cNvSpPr>
          <p:nvPr>
            <p:ph type="pic" sz="quarter" idx="10"/>
          </p:nvPr>
        </p:nvSpPr>
        <p:spPr>
          <a:xfrm>
            <a:off x="812800" y="3782868"/>
            <a:ext cx="2361929" cy="2194937"/>
          </a:xfrm>
          <a:custGeom>
            <a:avLst/>
            <a:gdLst>
              <a:gd name="connsiteX0" fmla="*/ 76343 w 3520440"/>
              <a:gd name="connsiteY0" fmla="*/ 0 h 2515404"/>
              <a:gd name="connsiteX1" fmla="*/ 3444097 w 3520440"/>
              <a:gd name="connsiteY1" fmla="*/ 0 h 2515404"/>
              <a:gd name="connsiteX2" fmla="*/ 3520440 w 3520440"/>
              <a:gd name="connsiteY2" fmla="*/ 76343 h 2515404"/>
              <a:gd name="connsiteX3" fmla="*/ 3520440 w 3520440"/>
              <a:gd name="connsiteY3" fmla="*/ 2439061 h 2515404"/>
              <a:gd name="connsiteX4" fmla="*/ 3444097 w 3520440"/>
              <a:gd name="connsiteY4" fmla="*/ 2515404 h 2515404"/>
              <a:gd name="connsiteX5" fmla="*/ 76343 w 3520440"/>
              <a:gd name="connsiteY5" fmla="*/ 2515404 h 2515404"/>
              <a:gd name="connsiteX6" fmla="*/ 0 w 3520440"/>
              <a:gd name="connsiteY6" fmla="*/ 2439061 h 2515404"/>
              <a:gd name="connsiteX7" fmla="*/ 0 w 3520440"/>
              <a:gd name="connsiteY7" fmla="*/ 76343 h 2515404"/>
              <a:gd name="connsiteX8" fmla="*/ 76343 w 3520440"/>
              <a:gd name="connsiteY8" fmla="*/ 0 h 2515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20440" h="2515404">
                <a:moveTo>
                  <a:pt x="76343" y="0"/>
                </a:moveTo>
                <a:lnTo>
                  <a:pt x="3444097" y="0"/>
                </a:lnTo>
                <a:cubicBezTo>
                  <a:pt x="3486260" y="0"/>
                  <a:pt x="3520440" y="34180"/>
                  <a:pt x="3520440" y="76343"/>
                </a:cubicBezTo>
                <a:lnTo>
                  <a:pt x="3520440" y="2439061"/>
                </a:lnTo>
                <a:cubicBezTo>
                  <a:pt x="3520440" y="2481224"/>
                  <a:pt x="3486260" y="2515404"/>
                  <a:pt x="3444097" y="2515404"/>
                </a:cubicBezTo>
                <a:lnTo>
                  <a:pt x="76343" y="2515404"/>
                </a:lnTo>
                <a:cubicBezTo>
                  <a:pt x="34180" y="2515404"/>
                  <a:pt x="0" y="2481224"/>
                  <a:pt x="0" y="2439061"/>
                </a:cubicBezTo>
                <a:lnTo>
                  <a:pt x="0" y="76343"/>
                </a:lnTo>
                <a:cubicBezTo>
                  <a:pt x="0" y="34180"/>
                  <a:pt x="34180" y="0"/>
                  <a:pt x="76343" y="0"/>
                </a:cubicBezTo>
                <a:close/>
              </a:path>
            </a:pathLst>
          </a:custGeom>
          <a:pattFill prst="pct20">
            <a:fgClr>
              <a:srgbClr val="92D050"/>
            </a:fgClr>
            <a:bgClr>
              <a:schemeClr val="bg1"/>
            </a:bgClr>
          </a:pattFill>
          <a:ln>
            <a:noFill/>
          </a:ln>
        </p:spPr>
        <p:txBody>
          <a:bodyPr wrap="square">
            <a:noAutofit/>
          </a:bodyPr>
          <a:lstStyle>
            <a:lvl1pPr>
              <a:defRPr sz="1200">
                <a:latin typeface="Arial" panose="020B0604020202020204" pitchFamily="34" charset="0"/>
                <a:cs typeface="Arial" panose="020B0604020202020204" pitchFamily="34" charset="0"/>
              </a:defRPr>
            </a:lvl1pPr>
          </a:lstStyle>
          <a:p>
            <a:endParaRPr lang="en-ID"/>
          </a:p>
        </p:txBody>
      </p:sp>
      <p:sp>
        <p:nvSpPr>
          <p:cNvPr id="10" name="Picture Placeholder 9">
            <a:extLst>
              <a:ext uri="{FF2B5EF4-FFF2-40B4-BE49-F238E27FC236}">
                <a16:creationId xmlns:a16="http://schemas.microsoft.com/office/drawing/2014/main" id="{31908662-8E75-37A5-2118-C0002F884883}"/>
              </a:ext>
            </a:extLst>
          </p:cNvPr>
          <p:cNvSpPr>
            <a:spLocks noGrp="1"/>
          </p:cNvSpPr>
          <p:nvPr>
            <p:ph type="pic" sz="quarter" idx="11"/>
          </p:nvPr>
        </p:nvSpPr>
        <p:spPr>
          <a:xfrm>
            <a:off x="3534077" y="3782863"/>
            <a:ext cx="2361929" cy="2194937"/>
          </a:xfrm>
          <a:custGeom>
            <a:avLst/>
            <a:gdLst>
              <a:gd name="connsiteX0" fmla="*/ 76343 w 3520440"/>
              <a:gd name="connsiteY0" fmla="*/ 0 h 2515404"/>
              <a:gd name="connsiteX1" fmla="*/ 3444097 w 3520440"/>
              <a:gd name="connsiteY1" fmla="*/ 0 h 2515404"/>
              <a:gd name="connsiteX2" fmla="*/ 3520440 w 3520440"/>
              <a:gd name="connsiteY2" fmla="*/ 76343 h 2515404"/>
              <a:gd name="connsiteX3" fmla="*/ 3520440 w 3520440"/>
              <a:gd name="connsiteY3" fmla="*/ 2439061 h 2515404"/>
              <a:gd name="connsiteX4" fmla="*/ 3444097 w 3520440"/>
              <a:gd name="connsiteY4" fmla="*/ 2515404 h 2515404"/>
              <a:gd name="connsiteX5" fmla="*/ 76343 w 3520440"/>
              <a:gd name="connsiteY5" fmla="*/ 2515404 h 2515404"/>
              <a:gd name="connsiteX6" fmla="*/ 0 w 3520440"/>
              <a:gd name="connsiteY6" fmla="*/ 2439061 h 2515404"/>
              <a:gd name="connsiteX7" fmla="*/ 0 w 3520440"/>
              <a:gd name="connsiteY7" fmla="*/ 76343 h 2515404"/>
              <a:gd name="connsiteX8" fmla="*/ 76343 w 3520440"/>
              <a:gd name="connsiteY8" fmla="*/ 0 h 2515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20440" h="2515404">
                <a:moveTo>
                  <a:pt x="76343" y="0"/>
                </a:moveTo>
                <a:lnTo>
                  <a:pt x="3444097" y="0"/>
                </a:lnTo>
                <a:cubicBezTo>
                  <a:pt x="3486260" y="0"/>
                  <a:pt x="3520440" y="34180"/>
                  <a:pt x="3520440" y="76343"/>
                </a:cubicBezTo>
                <a:lnTo>
                  <a:pt x="3520440" y="2439061"/>
                </a:lnTo>
                <a:cubicBezTo>
                  <a:pt x="3520440" y="2481224"/>
                  <a:pt x="3486260" y="2515404"/>
                  <a:pt x="3444097" y="2515404"/>
                </a:cubicBezTo>
                <a:lnTo>
                  <a:pt x="76343" y="2515404"/>
                </a:lnTo>
                <a:cubicBezTo>
                  <a:pt x="34180" y="2515404"/>
                  <a:pt x="0" y="2481224"/>
                  <a:pt x="0" y="2439061"/>
                </a:cubicBezTo>
                <a:lnTo>
                  <a:pt x="0" y="76343"/>
                </a:lnTo>
                <a:cubicBezTo>
                  <a:pt x="0" y="34180"/>
                  <a:pt x="34180" y="0"/>
                  <a:pt x="76343" y="0"/>
                </a:cubicBezTo>
                <a:close/>
              </a:path>
            </a:pathLst>
          </a:custGeom>
          <a:pattFill prst="pct20">
            <a:fgClr>
              <a:srgbClr val="92D050"/>
            </a:fgClr>
            <a:bgClr>
              <a:schemeClr val="bg1"/>
            </a:bgClr>
          </a:pattFill>
          <a:ln>
            <a:noFill/>
          </a:ln>
        </p:spPr>
        <p:txBody>
          <a:bodyPr wrap="square">
            <a:noAutofit/>
          </a:bodyPr>
          <a:lstStyle>
            <a:lvl1pPr>
              <a:defRPr sz="1200">
                <a:latin typeface="Arial" panose="020B0604020202020204" pitchFamily="34" charset="0"/>
                <a:cs typeface="Arial" panose="020B0604020202020204" pitchFamily="34" charset="0"/>
              </a:defRPr>
            </a:lvl1pPr>
          </a:lstStyle>
          <a:p>
            <a:endParaRPr lang="en-ID"/>
          </a:p>
        </p:txBody>
      </p:sp>
      <p:sp>
        <p:nvSpPr>
          <p:cNvPr id="9" name="Picture Placeholder 8">
            <a:extLst>
              <a:ext uri="{FF2B5EF4-FFF2-40B4-BE49-F238E27FC236}">
                <a16:creationId xmlns:a16="http://schemas.microsoft.com/office/drawing/2014/main" id="{E867CA75-6D62-FD70-1749-604F6BBB6250}"/>
              </a:ext>
            </a:extLst>
          </p:cNvPr>
          <p:cNvSpPr>
            <a:spLocks noGrp="1"/>
          </p:cNvSpPr>
          <p:nvPr>
            <p:ph type="pic" sz="quarter" idx="12"/>
          </p:nvPr>
        </p:nvSpPr>
        <p:spPr>
          <a:xfrm>
            <a:off x="6275674" y="3782863"/>
            <a:ext cx="2361929" cy="2194937"/>
          </a:xfrm>
          <a:custGeom>
            <a:avLst/>
            <a:gdLst>
              <a:gd name="connsiteX0" fmla="*/ 76343 w 3520440"/>
              <a:gd name="connsiteY0" fmla="*/ 0 h 2515404"/>
              <a:gd name="connsiteX1" fmla="*/ 3444097 w 3520440"/>
              <a:gd name="connsiteY1" fmla="*/ 0 h 2515404"/>
              <a:gd name="connsiteX2" fmla="*/ 3520440 w 3520440"/>
              <a:gd name="connsiteY2" fmla="*/ 76343 h 2515404"/>
              <a:gd name="connsiteX3" fmla="*/ 3520440 w 3520440"/>
              <a:gd name="connsiteY3" fmla="*/ 2439061 h 2515404"/>
              <a:gd name="connsiteX4" fmla="*/ 3444097 w 3520440"/>
              <a:gd name="connsiteY4" fmla="*/ 2515404 h 2515404"/>
              <a:gd name="connsiteX5" fmla="*/ 76343 w 3520440"/>
              <a:gd name="connsiteY5" fmla="*/ 2515404 h 2515404"/>
              <a:gd name="connsiteX6" fmla="*/ 0 w 3520440"/>
              <a:gd name="connsiteY6" fmla="*/ 2439061 h 2515404"/>
              <a:gd name="connsiteX7" fmla="*/ 0 w 3520440"/>
              <a:gd name="connsiteY7" fmla="*/ 76343 h 2515404"/>
              <a:gd name="connsiteX8" fmla="*/ 76343 w 3520440"/>
              <a:gd name="connsiteY8" fmla="*/ 0 h 2515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20440" h="2515404">
                <a:moveTo>
                  <a:pt x="76343" y="0"/>
                </a:moveTo>
                <a:lnTo>
                  <a:pt x="3444097" y="0"/>
                </a:lnTo>
                <a:cubicBezTo>
                  <a:pt x="3486260" y="0"/>
                  <a:pt x="3520440" y="34180"/>
                  <a:pt x="3520440" y="76343"/>
                </a:cubicBezTo>
                <a:lnTo>
                  <a:pt x="3520440" y="2439061"/>
                </a:lnTo>
                <a:cubicBezTo>
                  <a:pt x="3520440" y="2481224"/>
                  <a:pt x="3486260" y="2515404"/>
                  <a:pt x="3444097" y="2515404"/>
                </a:cubicBezTo>
                <a:lnTo>
                  <a:pt x="76343" y="2515404"/>
                </a:lnTo>
                <a:cubicBezTo>
                  <a:pt x="34180" y="2515404"/>
                  <a:pt x="0" y="2481224"/>
                  <a:pt x="0" y="2439061"/>
                </a:cubicBezTo>
                <a:lnTo>
                  <a:pt x="0" y="76343"/>
                </a:lnTo>
                <a:cubicBezTo>
                  <a:pt x="0" y="34180"/>
                  <a:pt x="34180" y="0"/>
                  <a:pt x="76343" y="0"/>
                </a:cubicBezTo>
                <a:close/>
              </a:path>
            </a:pathLst>
          </a:custGeom>
          <a:pattFill prst="pct20">
            <a:fgClr>
              <a:srgbClr val="92D050"/>
            </a:fgClr>
            <a:bgClr>
              <a:schemeClr val="bg1"/>
            </a:bgClr>
          </a:pattFill>
          <a:ln>
            <a:noFill/>
          </a:ln>
        </p:spPr>
        <p:txBody>
          <a:bodyPr wrap="square">
            <a:noAutofit/>
          </a:bodyPr>
          <a:lstStyle>
            <a:lvl1pPr>
              <a:defRPr sz="1200">
                <a:latin typeface="Arial" panose="020B0604020202020204" pitchFamily="34" charset="0"/>
                <a:cs typeface="Arial" panose="020B0604020202020204" pitchFamily="34" charset="0"/>
              </a:defRPr>
            </a:lvl1pPr>
          </a:lstStyle>
          <a:p>
            <a:endParaRPr lang="en-ID"/>
          </a:p>
        </p:txBody>
      </p:sp>
      <p:sp>
        <p:nvSpPr>
          <p:cNvPr id="4" name="Picture Placeholder 8">
            <a:extLst>
              <a:ext uri="{FF2B5EF4-FFF2-40B4-BE49-F238E27FC236}">
                <a16:creationId xmlns:a16="http://schemas.microsoft.com/office/drawing/2014/main" id="{59A946D1-E7B6-A676-DDEC-8662D7BD7C84}"/>
              </a:ext>
            </a:extLst>
          </p:cNvPr>
          <p:cNvSpPr>
            <a:spLocks noGrp="1"/>
          </p:cNvSpPr>
          <p:nvPr>
            <p:ph type="pic" sz="quarter" idx="13"/>
          </p:nvPr>
        </p:nvSpPr>
        <p:spPr>
          <a:xfrm>
            <a:off x="9017271" y="3782864"/>
            <a:ext cx="2361929" cy="2194937"/>
          </a:xfrm>
          <a:custGeom>
            <a:avLst/>
            <a:gdLst>
              <a:gd name="connsiteX0" fmla="*/ 76343 w 3520440"/>
              <a:gd name="connsiteY0" fmla="*/ 0 h 2515404"/>
              <a:gd name="connsiteX1" fmla="*/ 3444097 w 3520440"/>
              <a:gd name="connsiteY1" fmla="*/ 0 h 2515404"/>
              <a:gd name="connsiteX2" fmla="*/ 3520440 w 3520440"/>
              <a:gd name="connsiteY2" fmla="*/ 76343 h 2515404"/>
              <a:gd name="connsiteX3" fmla="*/ 3520440 w 3520440"/>
              <a:gd name="connsiteY3" fmla="*/ 2439061 h 2515404"/>
              <a:gd name="connsiteX4" fmla="*/ 3444097 w 3520440"/>
              <a:gd name="connsiteY4" fmla="*/ 2515404 h 2515404"/>
              <a:gd name="connsiteX5" fmla="*/ 76343 w 3520440"/>
              <a:gd name="connsiteY5" fmla="*/ 2515404 h 2515404"/>
              <a:gd name="connsiteX6" fmla="*/ 0 w 3520440"/>
              <a:gd name="connsiteY6" fmla="*/ 2439061 h 2515404"/>
              <a:gd name="connsiteX7" fmla="*/ 0 w 3520440"/>
              <a:gd name="connsiteY7" fmla="*/ 76343 h 2515404"/>
              <a:gd name="connsiteX8" fmla="*/ 76343 w 3520440"/>
              <a:gd name="connsiteY8" fmla="*/ 0 h 2515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20440" h="2515404">
                <a:moveTo>
                  <a:pt x="76343" y="0"/>
                </a:moveTo>
                <a:lnTo>
                  <a:pt x="3444097" y="0"/>
                </a:lnTo>
                <a:cubicBezTo>
                  <a:pt x="3486260" y="0"/>
                  <a:pt x="3520440" y="34180"/>
                  <a:pt x="3520440" y="76343"/>
                </a:cubicBezTo>
                <a:lnTo>
                  <a:pt x="3520440" y="2439061"/>
                </a:lnTo>
                <a:cubicBezTo>
                  <a:pt x="3520440" y="2481224"/>
                  <a:pt x="3486260" y="2515404"/>
                  <a:pt x="3444097" y="2515404"/>
                </a:cubicBezTo>
                <a:lnTo>
                  <a:pt x="76343" y="2515404"/>
                </a:lnTo>
                <a:cubicBezTo>
                  <a:pt x="34180" y="2515404"/>
                  <a:pt x="0" y="2481224"/>
                  <a:pt x="0" y="2439061"/>
                </a:cubicBezTo>
                <a:lnTo>
                  <a:pt x="0" y="76343"/>
                </a:lnTo>
                <a:cubicBezTo>
                  <a:pt x="0" y="34180"/>
                  <a:pt x="34180" y="0"/>
                  <a:pt x="76343" y="0"/>
                </a:cubicBezTo>
                <a:close/>
              </a:path>
            </a:pathLst>
          </a:custGeom>
          <a:pattFill prst="pct20">
            <a:fgClr>
              <a:srgbClr val="92D050"/>
            </a:fgClr>
            <a:bgClr>
              <a:schemeClr val="bg1"/>
            </a:bgClr>
          </a:pattFill>
          <a:ln>
            <a:noFill/>
          </a:ln>
        </p:spPr>
        <p:txBody>
          <a:bodyPr wrap="square">
            <a:noAutofit/>
          </a:bodyPr>
          <a:lstStyle>
            <a:lvl1pPr>
              <a:defRPr sz="1200">
                <a:latin typeface="Arial" panose="020B0604020202020204" pitchFamily="34" charset="0"/>
                <a:cs typeface="Arial" panose="020B0604020202020204" pitchFamily="34" charset="0"/>
              </a:defRPr>
            </a:lvl1pPr>
          </a:lstStyle>
          <a:p>
            <a:endParaRPr lang="en-ID"/>
          </a:p>
        </p:txBody>
      </p:sp>
    </p:spTree>
    <p:extLst>
      <p:ext uri="{BB962C8B-B14F-4D97-AF65-F5344CB8AC3E}">
        <p14:creationId xmlns:p14="http://schemas.microsoft.com/office/powerpoint/2010/main" val="1322428001"/>
      </p:ext>
    </p:extLst>
  </p:cSld>
  <p:clrMapOvr>
    <a:masterClrMapping/>
  </p:clrMapOvr>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78_Custom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83F78BE3-93BA-4AE7-9B9D-7F0CFDEBEEF1}"/>
              </a:ext>
            </a:extLst>
          </p:cNvPr>
          <p:cNvSpPr>
            <a:spLocks noGrp="1" noChangeAspect="1"/>
          </p:cNvSpPr>
          <p:nvPr>
            <p:ph type="pic" sz="quarter" idx="13" hasCustomPrompt="1"/>
          </p:nvPr>
        </p:nvSpPr>
        <p:spPr>
          <a:xfrm>
            <a:off x="2216167" y="477415"/>
            <a:ext cx="3369125" cy="462160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lightRig rig="threePt" dir="t"/>
          </a:scene3d>
          <a:sp3d prstMaterial="matte"/>
        </p:spPr>
        <p:txBody>
          <a:bodyPr wrap="square" anchor="ctr">
            <a:noAutofit/>
          </a:bodyPr>
          <a:lstStyle>
            <a:lvl1pPr marL="0" indent="0" algn="ctr">
              <a:buFontTx/>
              <a:buNone/>
              <a:defRPr sz="1200"/>
            </a:lvl1pPr>
          </a:lstStyle>
          <a:p>
            <a:r>
              <a:rPr lang="en-US"/>
              <a:t> </a:t>
            </a:r>
          </a:p>
        </p:txBody>
      </p:sp>
      <p:sp>
        <p:nvSpPr>
          <p:cNvPr id="14" name="Picture Placeholder 13">
            <a:extLst>
              <a:ext uri="{FF2B5EF4-FFF2-40B4-BE49-F238E27FC236}">
                <a16:creationId xmlns:a16="http://schemas.microsoft.com/office/drawing/2014/main" id="{BE979228-4867-46D4-8D83-B558D8D1F035}"/>
              </a:ext>
            </a:extLst>
          </p:cNvPr>
          <p:cNvSpPr>
            <a:spLocks noGrp="1" noChangeAspect="1"/>
          </p:cNvSpPr>
          <p:nvPr>
            <p:ph type="pic" sz="quarter" idx="14" hasCustomPrompt="1"/>
          </p:nvPr>
        </p:nvSpPr>
        <p:spPr>
          <a:xfrm>
            <a:off x="6707311" y="-30480"/>
            <a:ext cx="3369125" cy="462160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LeftDown"/>
            <a:lightRig rig="threePt" dir="t"/>
          </a:scene3d>
          <a:sp3d prstMaterial="matte"/>
        </p:spPr>
        <p:txBody>
          <a:bodyPr wrap="square" anchor="ctr">
            <a:noAutofit/>
          </a:bodyPr>
          <a:lstStyle>
            <a:lvl1pPr marL="0" indent="0" algn="ctr">
              <a:buFontTx/>
              <a:buNone/>
              <a:defRPr sz="1200"/>
            </a:lvl1pPr>
          </a:lstStyle>
          <a:p>
            <a:r>
              <a:rPr lang="en-US"/>
              <a:t> </a:t>
            </a:r>
          </a:p>
        </p:txBody>
      </p:sp>
      <p:sp>
        <p:nvSpPr>
          <p:cNvPr id="15" name="Picture Placeholder 14">
            <a:extLst>
              <a:ext uri="{FF2B5EF4-FFF2-40B4-BE49-F238E27FC236}">
                <a16:creationId xmlns:a16="http://schemas.microsoft.com/office/drawing/2014/main" id="{1E197C23-33DC-4B31-96DD-D6405E2FD36E}"/>
              </a:ext>
            </a:extLst>
          </p:cNvPr>
          <p:cNvSpPr>
            <a:spLocks noGrp="1" noChangeAspect="1"/>
          </p:cNvSpPr>
          <p:nvPr>
            <p:ph type="pic" sz="quarter" idx="15" hasCustomPrompt="1"/>
          </p:nvPr>
        </p:nvSpPr>
        <p:spPr>
          <a:xfrm>
            <a:off x="4532072" y="3119941"/>
            <a:ext cx="3369125" cy="462160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BottomDown"/>
            <a:lightRig rig="threePt" dir="t"/>
          </a:scene3d>
          <a:sp3d prstMaterial="matte"/>
        </p:spPr>
        <p:txBody>
          <a:bodyPr wrap="square" anchor="ctr">
            <a:noAutofit/>
          </a:bodyPr>
          <a:lstStyle>
            <a:lvl1pPr marL="0" indent="0" algn="ctr">
              <a:buFontTx/>
              <a:buNone/>
              <a:defRPr sz="1200"/>
            </a:lvl1pPr>
          </a:lstStyle>
          <a:p>
            <a:r>
              <a:rPr lang="en-US"/>
              <a:t> </a:t>
            </a:r>
          </a:p>
        </p:txBody>
      </p:sp>
    </p:spTree>
    <p:extLst>
      <p:ext uri="{BB962C8B-B14F-4D97-AF65-F5344CB8AC3E}">
        <p14:creationId xmlns:p14="http://schemas.microsoft.com/office/powerpoint/2010/main" val="3545583295"/>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10" presetClass="entr" presetSubtype="0" dur="30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300"/>
                                        <p:tgtEl>
                                          <p:spTgt spid="14"/>
                                        </p:tgtEl>
                                      </p:cBhvr>
                                    </p:animEffect>
                                  </p:childTnLst>
                                </p:cTn>
                              </p:par>
                              <p:par>
                                <p:cTn id="8" presetID="10" presetClass="entr" presetSubtype="0" dur="300" fill="hold" grpId="0" nodeType="withEffect">
                                  <p:stCondLst>
                                    <p:cond delay="20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300"/>
                                        <p:tgtEl>
                                          <p:spTgt spid="7"/>
                                        </p:tgtEl>
                                      </p:cBhvr>
                                    </p:animEffect>
                                  </p:childTnLst>
                                </p:cTn>
                              </p:par>
                              <p:par>
                                <p:cTn id="11" presetID="10" presetClass="entr" presetSubtype="0" dur="300" fill="hold" grpId="0" nodeType="withEffect">
                                  <p:stCondLst>
                                    <p:cond delay="400"/>
                                  </p:stCondLst>
                                  <p:childTnLst>
                                    <p:set>
                                      <p:cBhvr>
                                        <p:cTn id="12" dur="1" fill="hold">
                                          <p:stCondLst>
                                            <p:cond delay="0"/>
                                          </p:stCondLst>
                                        </p:cTn>
                                        <p:tgtEl>
                                          <p:spTgt spid="15"/>
                                        </p:tgtEl>
                                        <p:attrNameLst>
                                          <p:attrName>style.visibility</p:attrName>
                                        </p:attrNameLst>
                                      </p:cBhvr>
                                      <p:to>
                                        <p:strVal val="visible"/>
                                      </p:to>
                                    </p:set>
                                    <p:animEffect transition="in" filter="fade">
                                      <p:cBhvr>
                                        <p:cTn id="13" dur="3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4" grpId="0" animBg="1"/>
      <p:bldP spid="15" grpId="0" animBg="1"/>
    </p:bld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79_Custom Layou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4E1B043C-CA58-4020-9ABB-9FC0E0BC68B9}"/>
              </a:ext>
            </a:extLst>
          </p:cNvPr>
          <p:cNvSpPr>
            <a:spLocks noGrp="1"/>
          </p:cNvSpPr>
          <p:nvPr>
            <p:ph type="pic" sz="quarter" idx="13" hasCustomPrompt="1"/>
          </p:nvPr>
        </p:nvSpPr>
        <p:spPr>
          <a:xfrm>
            <a:off x="4136234" y="19052"/>
            <a:ext cx="3976675" cy="6463349"/>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rot lat="1800000" lon="2250000" rev="2196000"/>
            </a:camera>
            <a:lightRig rig="threePt" dir="t"/>
          </a:scene3d>
          <a:sp3d prstMaterial="matte"/>
        </p:spPr>
        <p:txBody>
          <a:bodyPr wrap="square" anchor="ctr">
            <a:noAutofit/>
          </a:bodyPr>
          <a:lstStyle>
            <a:lvl1pPr marL="0" indent="0" algn="ctr">
              <a:buFontTx/>
              <a:buNone/>
              <a:defRPr sz="1200"/>
            </a:lvl1pPr>
          </a:lstStyle>
          <a:p>
            <a:r>
              <a:rPr lang="en-US"/>
              <a:t> </a:t>
            </a:r>
          </a:p>
        </p:txBody>
      </p:sp>
    </p:spTree>
    <p:extLst>
      <p:ext uri="{BB962C8B-B14F-4D97-AF65-F5344CB8AC3E}">
        <p14:creationId xmlns:p14="http://schemas.microsoft.com/office/powerpoint/2010/main" val="2370107178"/>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1" presetClass="entr" presetSubtype="0" dur="1" fill="hold" grpId="1" nodeType="withEffect">
                                  <p:stCondLst>
                                    <p:cond delay="100"/>
                                  </p:stCondLst>
                                  <p:childTnLst>
                                    <p:set>
                                      <p:cBhvr>
                                        <p:cTn id="6" dur="1" fill="hold">
                                          <p:stCondLst>
                                            <p:cond delay="0"/>
                                          </p:stCondLst>
                                        </p:cTn>
                                        <p:tgtEl>
                                          <p:spTgt spid="6"/>
                                        </p:tgtEl>
                                        <p:attrNameLst>
                                          <p:attrName>style.visibility</p:attrName>
                                        </p:attrNameLst>
                                      </p:cBhvr>
                                      <p:to>
                                        <p:strVal val="visible"/>
                                      </p:to>
                                    </p:set>
                                  </p:childTnLst>
                                </p:cTn>
                              </p:par>
                              <p:par>
                                <p:cTn id="7" presetID="42" presetClass="path" presetSubtype="0" dur="1500" decel="100000" fill="hold" grpId="0" nodeType="withEffect">
                                  <p:stCondLst>
                                    <p:cond delay="0"/>
                                  </p:stCondLst>
                                  <p:childTnLst>
                                    <p:animMotion origin="layout" path="M -3.44486E-06 1.66667E-06 L 0.3262 -0.18148" pathEditMode="relative" rAng="0" ptsTypes="AA">
                                      <p:cBhvr>
                                        <p:cTn id="8" dur="1500" spd="-100000" fill="hold"/>
                                        <p:tgtEl>
                                          <p:spTgt spid="6"/>
                                        </p:tgtEl>
                                        <p:attrNameLst>
                                          <p:attrName>ppt_x</p:attrName>
                                          <p:attrName>ppt_y</p:attrName>
                                        </p:attrNameLst>
                                      </p:cBhvr>
                                      <p:rCtr x="16306" y="-907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6" grpId="1" animBg="1"/>
    </p:bld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81_Custom Layout">
    <p:spTree>
      <p:nvGrpSpPr>
        <p:cNvPr id="1" name=""/>
        <p:cNvGrpSpPr/>
        <p:nvPr/>
      </p:nvGrpSpPr>
      <p:grpSpPr>
        <a:xfrm>
          <a:off x="0" y="0"/>
          <a:ext cx="0" cy="0"/>
          <a:chOff x="0" y="0"/>
          <a:chExt cx="0" cy="0"/>
        </a:xfrm>
      </p:grpSpPr>
      <p:sp>
        <p:nvSpPr>
          <p:cNvPr id="8" name="Picture Placeholder 6">
            <a:extLst>
              <a:ext uri="{FF2B5EF4-FFF2-40B4-BE49-F238E27FC236}">
                <a16:creationId xmlns:a16="http://schemas.microsoft.com/office/drawing/2014/main" id="{A6497792-ED6D-4F54-8610-2FD55173DAC9}"/>
              </a:ext>
            </a:extLst>
          </p:cNvPr>
          <p:cNvSpPr>
            <a:spLocks noGrp="1"/>
          </p:cNvSpPr>
          <p:nvPr>
            <p:ph type="pic" sz="quarter" idx="14" hasCustomPrompt="1"/>
          </p:nvPr>
        </p:nvSpPr>
        <p:spPr>
          <a:xfrm>
            <a:off x="7130435" y="-1252135"/>
            <a:ext cx="3885694" cy="502920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rot lat="1440000" lon="2400000" rev="3660000"/>
            </a:camera>
            <a:lightRig rig="threePt" dir="t"/>
          </a:scene3d>
        </p:spPr>
        <p:txBody>
          <a:bodyPr wrap="square" anchor="ctr">
            <a:noAutofit/>
          </a:bodyPr>
          <a:lstStyle>
            <a:lvl1pPr marL="0" indent="0" algn="ctr">
              <a:buFontTx/>
              <a:buNone/>
              <a:defRPr sz="1200"/>
            </a:lvl1pPr>
          </a:lstStyle>
          <a:p>
            <a:r>
              <a:rPr lang="en-US"/>
              <a:t>  </a:t>
            </a:r>
          </a:p>
        </p:txBody>
      </p:sp>
      <p:sp>
        <p:nvSpPr>
          <p:cNvPr id="4" name="Picture Placeholder 6">
            <a:extLst>
              <a:ext uri="{FF2B5EF4-FFF2-40B4-BE49-F238E27FC236}">
                <a16:creationId xmlns:a16="http://schemas.microsoft.com/office/drawing/2014/main" id="{F395A455-90B6-47E0-8201-16D4F23F8B8B}"/>
              </a:ext>
            </a:extLst>
          </p:cNvPr>
          <p:cNvSpPr>
            <a:spLocks noGrp="1"/>
          </p:cNvSpPr>
          <p:nvPr>
            <p:ph type="pic" sz="quarter" idx="13" hasCustomPrompt="1"/>
          </p:nvPr>
        </p:nvSpPr>
        <p:spPr>
          <a:xfrm>
            <a:off x="4510480" y="952867"/>
            <a:ext cx="3163961" cy="5202959"/>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rot lat="0" lon="0" rev="2592000"/>
            </a:camera>
            <a:lightRig rig="threePt" dir="t"/>
          </a:scene3d>
        </p:spPr>
        <p:txBody>
          <a:bodyPr wrap="square" anchor="ctr">
            <a:noAutofit/>
          </a:bodyPr>
          <a:lstStyle>
            <a:lvl1pPr marL="0" indent="0" algn="ctr">
              <a:buFontTx/>
              <a:buNone/>
              <a:defRPr sz="1200"/>
            </a:lvl1pPr>
          </a:lstStyle>
          <a:p>
            <a:r>
              <a:rPr lang="en-US"/>
              <a:t> </a:t>
            </a:r>
          </a:p>
        </p:txBody>
      </p:sp>
      <p:sp>
        <p:nvSpPr>
          <p:cNvPr id="13" name="Picture Placeholder 6">
            <a:extLst>
              <a:ext uri="{FF2B5EF4-FFF2-40B4-BE49-F238E27FC236}">
                <a16:creationId xmlns:a16="http://schemas.microsoft.com/office/drawing/2014/main" id="{C8BF64FE-1E33-45BC-BDD7-7BD551FA39A6}"/>
              </a:ext>
            </a:extLst>
          </p:cNvPr>
          <p:cNvSpPr>
            <a:spLocks noGrp="1"/>
          </p:cNvSpPr>
          <p:nvPr>
            <p:ph type="pic" sz="quarter" idx="19" hasCustomPrompt="1"/>
          </p:nvPr>
        </p:nvSpPr>
        <p:spPr>
          <a:xfrm>
            <a:off x="372160" y="4958957"/>
            <a:ext cx="3885694" cy="502920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rot lat="1440000" lon="2400000" rev="3660000"/>
            </a:camera>
            <a:lightRig rig="threePt" dir="t"/>
          </a:scene3d>
        </p:spPr>
        <p:txBody>
          <a:bodyPr wrap="square" anchor="ctr">
            <a:noAutofit/>
          </a:bodyPr>
          <a:lstStyle>
            <a:lvl1pPr marL="0" indent="0" algn="ctr">
              <a:buFontTx/>
              <a:buNone/>
              <a:defRPr sz="1200"/>
            </a:lvl1pPr>
          </a:lstStyle>
          <a:p>
            <a:r>
              <a:rPr lang="en-US"/>
              <a:t> </a:t>
            </a:r>
          </a:p>
        </p:txBody>
      </p:sp>
      <p:sp>
        <p:nvSpPr>
          <p:cNvPr id="12" name="Picture Placeholder 6">
            <a:extLst>
              <a:ext uri="{FF2B5EF4-FFF2-40B4-BE49-F238E27FC236}">
                <a16:creationId xmlns:a16="http://schemas.microsoft.com/office/drawing/2014/main" id="{29ECFF06-47C2-4779-9C66-22674E15A749}"/>
              </a:ext>
            </a:extLst>
          </p:cNvPr>
          <p:cNvSpPr>
            <a:spLocks noGrp="1"/>
          </p:cNvSpPr>
          <p:nvPr>
            <p:ph type="pic" sz="quarter" idx="18" hasCustomPrompt="1"/>
          </p:nvPr>
        </p:nvSpPr>
        <p:spPr>
          <a:xfrm>
            <a:off x="9200746" y="4728760"/>
            <a:ext cx="3885694" cy="502920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rot lat="1440000" lon="2400000" rev="3660000"/>
            </a:camera>
            <a:lightRig rig="threePt" dir="t"/>
          </a:scene3d>
        </p:spPr>
        <p:txBody>
          <a:bodyPr wrap="square" anchor="ctr">
            <a:noAutofit/>
          </a:bodyPr>
          <a:lstStyle>
            <a:lvl1pPr marL="0" indent="0" algn="ctr">
              <a:buFontTx/>
              <a:buNone/>
              <a:defRPr sz="1200"/>
            </a:lvl1pPr>
          </a:lstStyle>
          <a:p>
            <a:r>
              <a:rPr lang="en-US"/>
              <a:t> </a:t>
            </a:r>
          </a:p>
        </p:txBody>
      </p:sp>
      <p:sp>
        <p:nvSpPr>
          <p:cNvPr id="11" name="Picture Placeholder 6">
            <a:extLst>
              <a:ext uri="{FF2B5EF4-FFF2-40B4-BE49-F238E27FC236}">
                <a16:creationId xmlns:a16="http://schemas.microsoft.com/office/drawing/2014/main" id="{6B245FDF-2A7F-47E6-A435-6D63863F3409}"/>
              </a:ext>
            </a:extLst>
          </p:cNvPr>
          <p:cNvSpPr>
            <a:spLocks noGrp="1"/>
          </p:cNvSpPr>
          <p:nvPr>
            <p:ph type="pic" sz="quarter" idx="17" hasCustomPrompt="1"/>
          </p:nvPr>
        </p:nvSpPr>
        <p:spPr>
          <a:xfrm>
            <a:off x="12555067" y="1705429"/>
            <a:ext cx="3885694" cy="502920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rot lat="1440000" lon="2400000" rev="3660000"/>
            </a:camera>
            <a:lightRig rig="threePt" dir="t"/>
          </a:scene3d>
        </p:spPr>
        <p:txBody>
          <a:bodyPr wrap="square" anchor="ctr">
            <a:noAutofit/>
          </a:bodyPr>
          <a:lstStyle>
            <a:lvl1pPr marL="0" indent="0" algn="ctr">
              <a:buFontTx/>
              <a:buNone/>
              <a:defRPr sz="1200"/>
            </a:lvl1pPr>
          </a:lstStyle>
          <a:p>
            <a:r>
              <a:rPr lang="en-US"/>
              <a:t> </a:t>
            </a:r>
          </a:p>
        </p:txBody>
      </p:sp>
      <p:sp>
        <p:nvSpPr>
          <p:cNvPr id="10" name="Picture Placeholder 6">
            <a:extLst>
              <a:ext uri="{FF2B5EF4-FFF2-40B4-BE49-F238E27FC236}">
                <a16:creationId xmlns:a16="http://schemas.microsoft.com/office/drawing/2014/main" id="{806396D0-282B-4936-BB42-1F4A486620B8}"/>
              </a:ext>
            </a:extLst>
          </p:cNvPr>
          <p:cNvSpPr>
            <a:spLocks noGrp="1"/>
          </p:cNvSpPr>
          <p:nvPr>
            <p:ph type="pic" sz="quarter" idx="16" hasCustomPrompt="1"/>
          </p:nvPr>
        </p:nvSpPr>
        <p:spPr>
          <a:xfrm>
            <a:off x="-1660359" y="-1161656"/>
            <a:ext cx="3885694" cy="502920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rot lat="1440000" lon="2400000" rev="3660000"/>
            </a:camera>
            <a:lightRig rig="threePt" dir="t"/>
          </a:scene3d>
        </p:spPr>
        <p:txBody>
          <a:bodyPr wrap="square" anchor="ctr">
            <a:noAutofit/>
          </a:bodyPr>
          <a:lstStyle>
            <a:lvl1pPr marL="0" indent="0" algn="ctr">
              <a:buFontTx/>
              <a:buNone/>
              <a:defRPr sz="1200"/>
            </a:lvl1pPr>
          </a:lstStyle>
          <a:p>
            <a:r>
              <a:rPr lang="en-US"/>
              <a:t> </a:t>
            </a:r>
          </a:p>
        </p:txBody>
      </p:sp>
      <p:sp>
        <p:nvSpPr>
          <p:cNvPr id="9" name="Picture Placeholder 6">
            <a:extLst>
              <a:ext uri="{FF2B5EF4-FFF2-40B4-BE49-F238E27FC236}">
                <a16:creationId xmlns:a16="http://schemas.microsoft.com/office/drawing/2014/main" id="{F81EECD4-1CBF-4857-A094-2EEA3921566A}"/>
              </a:ext>
            </a:extLst>
          </p:cNvPr>
          <p:cNvSpPr>
            <a:spLocks noGrp="1"/>
          </p:cNvSpPr>
          <p:nvPr>
            <p:ph type="pic" sz="quarter" idx="15" hasCustomPrompt="1"/>
          </p:nvPr>
        </p:nvSpPr>
        <p:spPr>
          <a:xfrm>
            <a:off x="1731615" y="-4228734"/>
            <a:ext cx="3885694" cy="502920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rot lat="1440000" lon="2400000" rev="3660000"/>
            </a:camera>
            <a:lightRig rig="threePt" dir="t"/>
          </a:scene3d>
        </p:spPr>
        <p:txBody>
          <a:bodyPr wrap="square" anchor="ctr">
            <a:noAutofit/>
          </a:bodyPr>
          <a:lstStyle>
            <a:lvl1pPr marL="0" indent="0" algn="ctr">
              <a:buFontTx/>
              <a:buNone/>
              <a:defRPr sz="1200"/>
            </a:lvl1pPr>
          </a:lstStyle>
          <a:p>
            <a:r>
              <a:rPr lang="en-US"/>
              <a:t> </a:t>
            </a:r>
          </a:p>
        </p:txBody>
      </p:sp>
    </p:spTree>
    <p:extLst>
      <p:ext uri="{BB962C8B-B14F-4D97-AF65-F5344CB8AC3E}">
        <p14:creationId xmlns:p14="http://schemas.microsoft.com/office/powerpoint/2010/main" val="3053777032"/>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10" presetClass="entr" presetSubtype="0" dur="50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 presetClass="entr" presetSubtype="0" dur="1" fill="hold" grpId="1" nodeType="withEffect">
                                  <p:stCondLst>
                                    <p:cond delay="500"/>
                                  </p:stCondLst>
                                  <p:childTnLst>
                                    <p:set>
                                      <p:cBhvr>
                                        <p:cTn id="9" dur="1" fill="hold">
                                          <p:stCondLst>
                                            <p:cond delay="0"/>
                                          </p:stCondLst>
                                        </p:cTn>
                                        <p:tgtEl>
                                          <p:spTgt spid="13"/>
                                        </p:tgtEl>
                                        <p:attrNameLst>
                                          <p:attrName>style.visibility</p:attrName>
                                        </p:attrNameLst>
                                      </p:cBhvr>
                                      <p:to>
                                        <p:strVal val="visible"/>
                                      </p:to>
                                    </p:set>
                                  </p:childTnLst>
                                </p:cTn>
                              </p:par>
                              <p:par>
                                <p:cTn id="10" presetID="42" presetClass="path" presetSubtype="0" dur="1500" decel="100000" fill="hold" grpId="0" nodeType="withEffect">
                                  <p:stCondLst>
                                    <p:cond delay="500"/>
                                  </p:stCondLst>
                                  <p:childTnLst>
                                    <p:animMotion origin="layout" path="M -4.12967E-06 -4.81481E-06 L -0.27893 0.45186" pathEditMode="relative" rAng="0" ptsTypes="AA">
                                      <p:cBhvr>
                                        <p:cTn id="11" dur="1500" spd="-100000" fill="hold"/>
                                        <p:tgtEl>
                                          <p:spTgt spid="13"/>
                                        </p:tgtEl>
                                        <p:attrNameLst>
                                          <p:attrName>ppt_x</p:attrName>
                                          <p:attrName>ppt_y</p:attrName>
                                        </p:attrNameLst>
                                      </p:cBhvr>
                                      <p:rCtr x="-13950" y="22593"/>
                                    </p:animMotion>
                                  </p:childTnLst>
                                </p:cTn>
                              </p:par>
                              <p:par>
                                <p:cTn id="12" presetID="1" presetClass="entr" presetSubtype="0" dur="1" fill="hold" grpId="0" nodeType="withEffect">
                                  <p:stCondLst>
                                    <p:cond delay="600"/>
                                  </p:stCondLst>
                                  <p:childTnLst>
                                    <p:set>
                                      <p:cBhvr>
                                        <p:cTn id="13" dur="1" fill="hold">
                                          <p:stCondLst>
                                            <p:cond delay="0"/>
                                          </p:stCondLst>
                                        </p:cTn>
                                        <p:tgtEl>
                                          <p:spTgt spid="12"/>
                                        </p:tgtEl>
                                        <p:attrNameLst>
                                          <p:attrName>style.visibility</p:attrName>
                                        </p:attrNameLst>
                                      </p:cBhvr>
                                      <p:to>
                                        <p:strVal val="visible"/>
                                      </p:to>
                                    </p:set>
                                  </p:childTnLst>
                                </p:cTn>
                              </p:par>
                              <p:par>
                                <p:cTn id="14" presetID="42" presetClass="path" presetSubtype="0" dur="1500" decel="100000" fill="hold" grpId="1" nodeType="withEffect">
                                  <p:stCondLst>
                                    <p:cond delay="600"/>
                                  </p:stCondLst>
                                  <p:childTnLst>
                                    <p:animMotion origin="layout" path="M 1.40737E-06 -4.25926E-06 L 0.34911 0.34387" pathEditMode="relative" rAng="0" ptsTypes="AA">
                                      <p:cBhvr>
                                        <p:cTn id="15" dur="1500" spd="-100000" fill="hold"/>
                                        <p:tgtEl>
                                          <p:spTgt spid="12"/>
                                        </p:tgtEl>
                                        <p:attrNameLst>
                                          <p:attrName>ppt_x</p:attrName>
                                          <p:attrName>ppt_y</p:attrName>
                                        </p:attrNameLst>
                                      </p:cBhvr>
                                      <p:rCtr x="17452" y="17188"/>
                                    </p:animMotion>
                                  </p:childTnLst>
                                </p:cTn>
                              </p:par>
                              <p:par>
                                <p:cTn id="16" presetID="1" presetClass="entr" presetSubtype="0" dur="1" fill="hold" grpId="0" nodeType="withEffect">
                                  <p:stCondLst>
                                    <p:cond delay="700"/>
                                  </p:stCondLst>
                                  <p:childTnLst>
                                    <p:set>
                                      <p:cBhvr>
                                        <p:cTn id="17" dur="1" fill="hold">
                                          <p:stCondLst>
                                            <p:cond delay="0"/>
                                          </p:stCondLst>
                                        </p:cTn>
                                        <p:tgtEl>
                                          <p:spTgt spid="11"/>
                                        </p:tgtEl>
                                        <p:attrNameLst>
                                          <p:attrName>style.visibility</p:attrName>
                                        </p:attrNameLst>
                                      </p:cBhvr>
                                      <p:to>
                                        <p:strVal val="visible"/>
                                      </p:to>
                                    </p:set>
                                  </p:childTnLst>
                                </p:cTn>
                              </p:par>
                              <p:par>
                                <p:cTn id="18" presetID="42" presetClass="path" presetSubtype="0" dur="1500" decel="100000" fill="hold" grpId="1" nodeType="withEffect">
                                  <p:stCondLst>
                                    <p:cond delay="700"/>
                                  </p:stCondLst>
                                  <p:childTnLst>
                                    <p:animMotion origin="layout" path="M 1.40737E-06 -4.25926E-06 L 0.34911 0.34387" pathEditMode="relative" rAng="0" ptsTypes="AA">
                                      <p:cBhvr>
                                        <p:cTn id="19" dur="1500" spd="-100000" fill="hold"/>
                                        <p:tgtEl>
                                          <p:spTgt spid="11"/>
                                        </p:tgtEl>
                                        <p:attrNameLst>
                                          <p:attrName>ppt_x</p:attrName>
                                          <p:attrName>ppt_y</p:attrName>
                                        </p:attrNameLst>
                                      </p:cBhvr>
                                      <p:rCtr x="17452" y="17188"/>
                                    </p:animMotion>
                                  </p:childTnLst>
                                </p:cTn>
                              </p:par>
                              <p:par>
                                <p:cTn id="20" presetID="1" presetClass="entr" presetSubtype="0" dur="1" fill="hold" grpId="0" nodeType="withEffect">
                                  <p:stCondLst>
                                    <p:cond delay="800"/>
                                  </p:stCondLst>
                                  <p:childTnLst>
                                    <p:set>
                                      <p:cBhvr>
                                        <p:cTn id="21" dur="1" fill="hold">
                                          <p:stCondLst>
                                            <p:cond delay="0"/>
                                          </p:stCondLst>
                                        </p:cTn>
                                        <p:tgtEl>
                                          <p:spTgt spid="8"/>
                                        </p:tgtEl>
                                        <p:attrNameLst>
                                          <p:attrName>style.visibility</p:attrName>
                                        </p:attrNameLst>
                                      </p:cBhvr>
                                      <p:to>
                                        <p:strVal val="visible"/>
                                      </p:to>
                                    </p:set>
                                  </p:childTnLst>
                                </p:cTn>
                              </p:par>
                              <p:par>
                                <p:cTn id="22" presetID="42" presetClass="path" presetSubtype="0" dur="1500" decel="100000" fill="hold" grpId="1" nodeType="withEffect">
                                  <p:stCondLst>
                                    <p:cond delay="800"/>
                                  </p:stCondLst>
                                  <p:childTnLst>
                                    <p:animMotion origin="layout" path="M -3.93569E-06 -3.51852E-06 L 0.29944 -0.49247" pathEditMode="relative" rAng="0" ptsTypes="AA">
                                      <p:cBhvr>
                                        <p:cTn id="23" dur="1500" spd="-100000" fill="hold"/>
                                        <p:tgtEl>
                                          <p:spTgt spid="8"/>
                                        </p:tgtEl>
                                        <p:attrNameLst>
                                          <p:attrName>ppt_x</p:attrName>
                                          <p:attrName>ppt_y</p:attrName>
                                        </p:attrNameLst>
                                      </p:cBhvr>
                                      <p:rCtr x="14972" y="-24618"/>
                                    </p:animMotion>
                                  </p:childTnLst>
                                </p:cTn>
                              </p:par>
                              <p:par>
                                <p:cTn id="24" presetID="1" presetClass="entr" presetSubtype="0" dur="1" fill="hold" grpId="0" nodeType="withEffect">
                                  <p:stCondLst>
                                    <p:cond delay="900"/>
                                  </p:stCondLst>
                                  <p:childTnLst>
                                    <p:set>
                                      <p:cBhvr>
                                        <p:cTn id="25" dur="1" fill="hold">
                                          <p:stCondLst>
                                            <p:cond delay="0"/>
                                          </p:stCondLst>
                                        </p:cTn>
                                        <p:tgtEl>
                                          <p:spTgt spid="9"/>
                                        </p:tgtEl>
                                        <p:attrNameLst>
                                          <p:attrName>style.visibility</p:attrName>
                                        </p:attrNameLst>
                                      </p:cBhvr>
                                      <p:to>
                                        <p:strVal val="visible"/>
                                      </p:to>
                                    </p:set>
                                  </p:childTnLst>
                                </p:cTn>
                              </p:par>
                              <p:par>
                                <p:cTn id="26" presetID="42" presetClass="path" presetSubtype="0" dur="1500" decel="100000" fill="hold" grpId="1" nodeType="withEffect">
                                  <p:stCondLst>
                                    <p:cond delay="900"/>
                                  </p:stCondLst>
                                  <p:childTnLst>
                                    <p:animMotion origin="layout" path="M -3.93569E-06 -3.51852E-06 L 0.29944 -0.49247" pathEditMode="relative" rAng="0" ptsTypes="AA">
                                      <p:cBhvr>
                                        <p:cTn id="27" dur="1500" spd="-100000" fill="hold"/>
                                        <p:tgtEl>
                                          <p:spTgt spid="9"/>
                                        </p:tgtEl>
                                        <p:attrNameLst>
                                          <p:attrName>ppt_x</p:attrName>
                                          <p:attrName>ppt_y</p:attrName>
                                        </p:attrNameLst>
                                      </p:cBhvr>
                                      <p:rCtr x="14972" y="-24618"/>
                                    </p:animMotion>
                                  </p:childTnLst>
                                </p:cTn>
                              </p:par>
                              <p:par>
                                <p:cTn id="28" presetID="1" presetClass="entr" presetSubtype="0" dur="1" fill="hold" grpId="0" nodeType="withEffect">
                                  <p:stCondLst>
                                    <p:cond delay="1000"/>
                                  </p:stCondLst>
                                  <p:childTnLst>
                                    <p:set>
                                      <p:cBhvr>
                                        <p:cTn id="29" dur="1" fill="hold">
                                          <p:stCondLst>
                                            <p:cond delay="0"/>
                                          </p:stCondLst>
                                        </p:cTn>
                                        <p:tgtEl>
                                          <p:spTgt spid="10"/>
                                        </p:tgtEl>
                                        <p:attrNameLst>
                                          <p:attrName>style.visibility</p:attrName>
                                        </p:attrNameLst>
                                      </p:cBhvr>
                                      <p:to>
                                        <p:strVal val="visible"/>
                                      </p:to>
                                    </p:set>
                                  </p:childTnLst>
                                </p:cTn>
                              </p:par>
                              <p:par>
                                <p:cTn id="30" presetID="42" presetClass="path" presetSubtype="0" dur="1500" decel="100000" fill="hold" grpId="1" nodeType="withEffect">
                                  <p:stCondLst>
                                    <p:cond delay="1000"/>
                                  </p:stCondLst>
                                  <p:childTnLst>
                                    <p:animMotion origin="layout" path="M -4.06588E-06 -2.22222E-06 L -0.41374 -0.39722" pathEditMode="relative" rAng="0" ptsTypes="AA">
                                      <p:cBhvr>
                                        <p:cTn id="31" dur="1500" spd="-100000" fill="hold"/>
                                        <p:tgtEl>
                                          <p:spTgt spid="10"/>
                                        </p:tgtEl>
                                        <p:attrNameLst>
                                          <p:attrName>ppt_x</p:attrName>
                                          <p:attrName>ppt_y</p:attrName>
                                        </p:attrNameLst>
                                      </p:cBhvr>
                                      <p:rCtr x="-20687" y="-1986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4" grpId="0" animBg="1"/>
      <p:bldP spid="13" grpId="0" animBg="1"/>
      <p:bldP spid="13" grpId="1" animBg="1"/>
      <p:bldP spid="12" grpId="0" animBg="1"/>
      <p:bldP spid="12" grpId="1" animBg="1"/>
      <p:bldP spid="11" grpId="0" animBg="1"/>
      <p:bldP spid="11" grpId="1" animBg="1"/>
      <p:bldP spid="10" grpId="0" animBg="1"/>
      <p:bldP spid="10" grpId="1" animBg="1"/>
      <p:bldP spid="9" grpId="0" animBg="1"/>
      <p:bldP spid="9" grpId="1" animBg="1"/>
    </p:bld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83_Custom Layout">
    <p:spTree>
      <p:nvGrpSpPr>
        <p:cNvPr id="1" name=""/>
        <p:cNvGrpSpPr/>
        <p:nvPr/>
      </p:nvGrpSpPr>
      <p:grpSpPr>
        <a:xfrm>
          <a:off x="0" y="0"/>
          <a:ext cx="0" cy="0"/>
          <a:chOff x="0" y="0"/>
          <a:chExt cx="0" cy="0"/>
        </a:xfrm>
      </p:grpSpPr>
      <p:sp>
        <p:nvSpPr>
          <p:cNvPr id="3" name="Picture Placeholder 14">
            <a:extLst>
              <a:ext uri="{FF2B5EF4-FFF2-40B4-BE49-F238E27FC236}">
                <a16:creationId xmlns:a16="http://schemas.microsoft.com/office/drawing/2014/main" id="{1485ED5A-661D-47FA-AB95-328051D18E31}"/>
              </a:ext>
            </a:extLst>
          </p:cNvPr>
          <p:cNvSpPr>
            <a:spLocks noGrp="1"/>
          </p:cNvSpPr>
          <p:nvPr>
            <p:ph type="pic" sz="quarter" idx="15" hasCustomPrompt="1"/>
          </p:nvPr>
        </p:nvSpPr>
        <p:spPr>
          <a:xfrm>
            <a:off x="6008258" y="1298576"/>
            <a:ext cx="4068550" cy="626364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BottomDown">
              <a:rot lat="19620000" lon="3000000" rev="17412000"/>
            </a:camera>
            <a:lightRig rig="threePt" dir="t"/>
          </a:scene3d>
          <a:sp3d prstMaterial="matte"/>
        </p:spPr>
        <p:txBody>
          <a:bodyPr wrap="square" anchor="ctr">
            <a:noAutofit/>
          </a:bodyPr>
          <a:lstStyle>
            <a:lvl1pPr marL="0" indent="0" algn="ctr">
              <a:buFontTx/>
              <a:buNone/>
              <a:defRPr sz="1200"/>
            </a:lvl1pPr>
          </a:lstStyle>
          <a:p>
            <a:r>
              <a:rPr lang="en-US"/>
              <a:t> </a:t>
            </a:r>
          </a:p>
        </p:txBody>
      </p:sp>
      <p:sp>
        <p:nvSpPr>
          <p:cNvPr id="8" name="Picture Placeholder 14">
            <a:extLst>
              <a:ext uri="{FF2B5EF4-FFF2-40B4-BE49-F238E27FC236}">
                <a16:creationId xmlns:a16="http://schemas.microsoft.com/office/drawing/2014/main" id="{F86CCD24-EEBD-44B1-AAE0-E278A9981069}"/>
              </a:ext>
            </a:extLst>
          </p:cNvPr>
          <p:cNvSpPr>
            <a:spLocks noGrp="1"/>
          </p:cNvSpPr>
          <p:nvPr>
            <p:ph type="pic" sz="quarter" idx="16" hasCustomPrompt="1"/>
          </p:nvPr>
        </p:nvSpPr>
        <p:spPr>
          <a:xfrm>
            <a:off x="6008258" y="165346"/>
            <a:ext cx="4068550" cy="626364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outerShdw blurRad="1257300" dist="1041400" dir="1800000" sx="99000" sy="99000" algn="ctr" rotWithShape="0">
              <a:prstClr val="black">
                <a:alpha val="40000"/>
              </a:prstClr>
            </a:outerShdw>
          </a:effectLst>
          <a:scene3d>
            <a:camera prst="isometricBottomDown">
              <a:rot lat="19620000" lon="3000000" rev="17412000"/>
            </a:camera>
            <a:lightRig rig="threePt" dir="t"/>
          </a:scene3d>
          <a:sp3d prstMaterial="matte"/>
        </p:spPr>
        <p:txBody>
          <a:bodyPr wrap="square" anchor="ctr">
            <a:noAutofit/>
          </a:bodyPr>
          <a:lstStyle>
            <a:lvl1pPr marL="0" indent="0" algn="ctr">
              <a:buFontTx/>
              <a:buNone/>
              <a:defRPr sz="1200"/>
            </a:lvl1pPr>
          </a:lstStyle>
          <a:p>
            <a:r>
              <a:rPr lang="en-US"/>
              <a:t> </a:t>
            </a:r>
          </a:p>
        </p:txBody>
      </p:sp>
      <p:sp>
        <p:nvSpPr>
          <p:cNvPr id="9" name="Picture Placeholder 14">
            <a:extLst>
              <a:ext uri="{FF2B5EF4-FFF2-40B4-BE49-F238E27FC236}">
                <a16:creationId xmlns:a16="http://schemas.microsoft.com/office/drawing/2014/main" id="{ABA520E2-51C3-40D7-AEDE-9D02A83EC15D}"/>
              </a:ext>
            </a:extLst>
          </p:cNvPr>
          <p:cNvSpPr>
            <a:spLocks noGrp="1"/>
          </p:cNvSpPr>
          <p:nvPr>
            <p:ph type="pic" sz="quarter" idx="17" hasCustomPrompt="1"/>
          </p:nvPr>
        </p:nvSpPr>
        <p:spPr>
          <a:xfrm>
            <a:off x="6008258" y="-967883"/>
            <a:ext cx="4068550" cy="626364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outerShdw blurRad="1257300" dist="1041400" dir="1800000" sx="99000" sy="99000" algn="ctr" rotWithShape="0">
              <a:prstClr val="black">
                <a:alpha val="40000"/>
              </a:prstClr>
            </a:outerShdw>
          </a:effectLst>
          <a:scene3d>
            <a:camera prst="isometricBottomDown">
              <a:rot lat="19620000" lon="3000000" rev="17412000"/>
            </a:camera>
            <a:lightRig rig="threePt" dir="t"/>
          </a:scene3d>
          <a:sp3d prstMaterial="matte"/>
        </p:spPr>
        <p:txBody>
          <a:bodyPr wrap="square" anchor="ctr">
            <a:noAutofit/>
          </a:bodyPr>
          <a:lstStyle>
            <a:lvl1pPr marL="0" indent="0" algn="ctr">
              <a:buFontTx/>
              <a:buNone/>
              <a:defRPr sz="1200"/>
            </a:lvl1pPr>
          </a:lstStyle>
          <a:p>
            <a:r>
              <a:rPr lang="en-US"/>
              <a:t> </a:t>
            </a:r>
          </a:p>
        </p:txBody>
      </p:sp>
    </p:spTree>
    <p:extLst>
      <p:ext uri="{BB962C8B-B14F-4D97-AF65-F5344CB8AC3E}">
        <p14:creationId xmlns:p14="http://schemas.microsoft.com/office/powerpoint/2010/main" val="3514025570"/>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10" presetClass="entr" presetSubtype="0" dur="500" fill="hold" grpId="0" nodeType="withEffect">
                                  <p:stCondLst>
                                    <p:cond delay="230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dur="500" fill="hold" grpId="0" nodeType="withEffect">
                                  <p:stCondLst>
                                    <p:cond delay="270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42" presetClass="path" presetSubtype="0" dur="1500" decel="100000" fill="hold" grpId="1" nodeType="withEffect">
                                  <p:stCondLst>
                                    <p:cond delay="2100"/>
                                  </p:stCondLst>
                                  <p:childTnLst>
                                    <p:animMotion origin="layout" path="M -4.63351E-06 2.96296E-06 L -4.63351E-06 0.25" pathEditMode="relative" rAng="0" ptsTypes="AA">
                                      <p:cBhvr>
                                        <p:cTn id="12" dur="1500" spd="-100000" fill="hold"/>
                                        <p:tgtEl>
                                          <p:spTgt spid="8"/>
                                        </p:tgtEl>
                                        <p:attrNameLst>
                                          <p:attrName>ppt_x</p:attrName>
                                          <p:attrName>ppt_y</p:attrName>
                                        </p:attrNameLst>
                                      </p:cBhvr>
                                      <p:rCtr x="0" y="12500"/>
                                    </p:animMotion>
                                  </p:childTnLst>
                                </p:cTn>
                              </p:par>
                              <p:par>
                                <p:cTn id="13" presetID="10" presetClass="entr" presetSubtype="0" dur="500" fill="hold" grpId="0" nodeType="withEffect">
                                  <p:stCondLst>
                                    <p:cond delay="310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500"/>
                                        <p:tgtEl>
                                          <p:spTgt spid="9"/>
                                        </p:tgtEl>
                                      </p:cBhvr>
                                    </p:animEffect>
                                  </p:childTnLst>
                                </p:cTn>
                              </p:par>
                              <p:par>
                                <p:cTn id="16" presetID="42" presetClass="path" presetSubtype="0" dur="1500" decel="100000" fill="hold" grpId="1" nodeType="withEffect">
                                  <p:stCondLst>
                                    <p:cond delay="2500"/>
                                  </p:stCondLst>
                                  <p:childTnLst>
                                    <p:animMotion origin="layout" path="M -4.63351E-06 7.40741E-07 L -4.63351E-06 0.25" pathEditMode="relative" rAng="0" ptsTypes="AA">
                                      <p:cBhvr>
                                        <p:cTn id="17" dur="1500" spd="-100000" fill="hold"/>
                                        <p:tgtEl>
                                          <p:spTgt spid="9"/>
                                        </p:tgtEl>
                                        <p:attrNameLst>
                                          <p:attrName>ppt_x</p:attrName>
                                          <p:attrName>ppt_y</p:attrName>
                                        </p:attrNameLst>
                                      </p:cBhvr>
                                      <p:rCtr x="0" y="1250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8" grpId="0" animBg="1"/>
      <p:bldP spid="8" grpId="1" animBg="1"/>
      <p:bldP spid="9" grpId="0" animBg="1"/>
      <p:bldP spid="9" grpId="1" animBg="1"/>
    </p:bld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86_Custom Layout">
    <p:spTree>
      <p:nvGrpSpPr>
        <p:cNvPr id="1" name=""/>
        <p:cNvGrpSpPr/>
        <p:nvPr/>
      </p:nvGrpSpPr>
      <p:grpSpPr>
        <a:xfrm>
          <a:off x="0" y="0"/>
          <a:ext cx="0" cy="0"/>
          <a:chOff x="0" y="0"/>
          <a:chExt cx="0" cy="0"/>
        </a:xfrm>
      </p:grpSpPr>
      <p:sp>
        <p:nvSpPr>
          <p:cNvPr id="11" name="Picture Placeholder 6">
            <a:extLst>
              <a:ext uri="{FF2B5EF4-FFF2-40B4-BE49-F238E27FC236}">
                <a16:creationId xmlns:a16="http://schemas.microsoft.com/office/drawing/2014/main" id="{97F12BB4-E64D-4CC7-BB98-979542600629}"/>
              </a:ext>
            </a:extLst>
          </p:cNvPr>
          <p:cNvSpPr>
            <a:spLocks noGrp="1"/>
          </p:cNvSpPr>
          <p:nvPr>
            <p:ph type="pic" sz="quarter" idx="13" hasCustomPrompt="1"/>
          </p:nvPr>
        </p:nvSpPr>
        <p:spPr>
          <a:xfrm>
            <a:off x="4284699" y="24182"/>
            <a:ext cx="3565696" cy="658368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rot lat="3000000" lon="3000000" rev="3960000"/>
            </a:camera>
            <a:lightRig rig="threePt" dir="t"/>
          </a:scene3d>
          <a:sp3d prstMaterial="matte"/>
        </p:spPr>
        <p:txBody>
          <a:bodyPr wrap="square" anchor="ctr">
            <a:noAutofit/>
          </a:bodyPr>
          <a:lstStyle>
            <a:lvl1pPr marL="0" indent="0" algn="ctr">
              <a:buFontTx/>
              <a:buNone/>
              <a:defRPr sz="1200"/>
            </a:lvl1pPr>
          </a:lstStyle>
          <a:p>
            <a:r>
              <a:rPr lang="en-US"/>
              <a:t> </a:t>
            </a:r>
          </a:p>
        </p:txBody>
      </p:sp>
      <p:sp>
        <p:nvSpPr>
          <p:cNvPr id="14" name="Picture Placeholder 6">
            <a:extLst>
              <a:ext uri="{FF2B5EF4-FFF2-40B4-BE49-F238E27FC236}">
                <a16:creationId xmlns:a16="http://schemas.microsoft.com/office/drawing/2014/main" id="{529CB4CC-F54C-4AA5-8343-ACE0D81CE77F}"/>
              </a:ext>
            </a:extLst>
          </p:cNvPr>
          <p:cNvSpPr>
            <a:spLocks noGrp="1"/>
          </p:cNvSpPr>
          <p:nvPr>
            <p:ph type="pic" sz="quarter" idx="16" hasCustomPrompt="1"/>
          </p:nvPr>
        </p:nvSpPr>
        <p:spPr>
          <a:xfrm>
            <a:off x="7670801" y="2007234"/>
            <a:ext cx="3565696" cy="658368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rot lat="18600000" lon="3000000" rev="17640000"/>
            </a:camera>
            <a:lightRig rig="threePt" dir="t"/>
          </a:scene3d>
          <a:sp3d prstMaterial="matte"/>
        </p:spPr>
        <p:txBody>
          <a:bodyPr wrap="square" anchor="ctr">
            <a:noAutofit/>
          </a:bodyPr>
          <a:lstStyle>
            <a:lvl1pPr marL="0" indent="0" algn="ctr">
              <a:buFontTx/>
              <a:buNone/>
              <a:defRPr sz="1200"/>
            </a:lvl1pPr>
          </a:lstStyle>
          <a:p>
            <a:r>
              <a:rPr lang="en-US"/>
              <a:t> </a:t>
            </a:r>
          </a:p>
        </p:txBody>
      </p:sp>
      <p:sp>
        <p:nvSpPr>
          <p:cNvPr id="24" name="Picture Placeholder 6">
            <a:extLst>
              <a:ext uri="{FF2B5EF4-FFF2-40B4-BE49-F238E27FC236}">
                <a16:creationId xmlns:a16="http://schemas.microsoft.com/office/drawing/2014/main" id="{3D99A0DA-7D07-4249-A498-3ECFEC79A936}"/>
              </a:ext>
            </a:extLst>
          </p:cNvPr>
          <p:cNvSpPr>
            <a:spLocks noGrp="1"/>
          </p:cNvSpPr>
          <p:nvPr>
            <p:ph type="pic" sz="quarter" idx="17" hasCustomPrompt="1"/>
          </p:nvPr>
        </p:nvSpPr>
        <p:spPr>
          <a:xfrm>
            <a:off x="4405964" y="4005045"/>
            <a:ext cx="3565696" cy="658368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rot lat="3000000" lon="3000000" rev="3960000"/>
            </a:camera>
            <a:lightRig rig="threePt" dir="t"/>
          </a:scene3d>
          <a:sp3d prstMaterial="matte"/>
        </p:spPr>
        <p:txBody>
          <a:bodyPr wrap="square" anchor="ctr">
            <a:noAutofit/>
          </a:bodyPr>
          <a:lstStyle>
            <a:lvl1pPr marL="0" indent="0" algn="ctr">
              <a:buFontTx/>
              <a:buNone/>
              <a:defRPr sz="1200"/>
            </a:lvl1pPr>
          </a:lstStyle>
          <a:p>
            <a:r>
              <a:rPr lang="en-US"/>
              <a:t> </a:t>
            </a:r>
          </a:p>
        </p:txBody>
      </p:sp>
      <p:sp>
        <p:nvSpPr>
          <p:cNvPr id="25" name="Picture Placeholder 6">
            <a:extLst>
              <a:ext uri="{FF2B5EF4-FFF2-40B4-BE49-F238E27FC236}">
                <a16:creationId xmlns:a16="http://schemas.microsoft.com/office/drawing/2014/main" id="{A40C83F4-4617-45B0-AEBC-B7A1DAEE8A4F}"/>
              </a:ext>
            </a:extLst>
          </p:cNvPr>
          <p:cNvSpPr>
            <a:spLocks noGrp="1"/>
          </p:cNvSpPr>
          <p:nvPr>
            <p:ph type="pic" sz="quarter" idx="18" hasCustomPrompt="1"/>
          </p:nvPr>
        </p:nvSpPr>
        <p:spPr>
          <a:xfrm>
            <a:off x="939785" y="2035093"/>
            <a:ext cx="3565696" cy="658368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rot lat="18600000" lon="3000000" rev="17640000"/>
            </a:camera>
            <a:lightRig rig="threePt" dir="t"/>
          </a:scene3d>
          <a:sp3d prstMaterial="matte"/>
        </p:spPr>
        <p:txBody>
          <a:bodyPr wrap="square" anchor="ctr">
            <a:noAutofit/>
          </a:bodyPr>
          <a:lstStyle>
            <a:lvl1pPr marL="0" indent="0" algn="ctr">
              <a:buFontTx/>
              <a:buNone/>
              <a:defRPr sz="1200"/>
            </a:lvl1pPr>
          </a:lstStyle>
          <a:p>
            <a:r>
              <a:rPr lang="en-US"/>
              <a:t> </a:t>
            </a:r>
          </a:p>
        </p:txBody>
      </p:sp>
      <p:sp>
        <p:nvSpPr>
          <p:cNvPr id="26" name="Picture Placeholder 6">
            <a:extLst>
              <a:ext uri="{FF2B5EF4-FFF2-40B4-BE49-F238E27FC236}">
                <a16:creationId xmlns:a16="http://schemas.microsoft.com/office/drawing/2014/main" id="{B2DDB705-8583-4205-A6AC-A0C9FE6C24C7}"/>
              </a:ext>
            </a:extLst>
          </p:cNvPr>
          <p:cNvSpPr>
            <a:spLocks noGrp="1"/>
          </p:cNvSpPr>
          <p:nvPr>
            <p:ph type="pic" sz="quarter" idx="19" hasCustomPrompt="1"/>
          </p:nvPr>
        </p:nvSpPr>
        <p:spPr>
          <a:xfrm>
            <a:off x="920738" y="-1993030"/>
            <a:ext cx="3565696" cy="658368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rot lat="18600000" lon="3000000" rev="17640000"/>
            </a:camera>
            <a:lightRig rig="threePt" dir="t"/>
          </a:scene3d>
          <a:sp3d prstMaterial="matte"/>
        </p:spPr>
        <p:txBody>
          <a:bodyPr wrap="square" anchor="ctr">
            <a:noAutofit/>
          </a:bodyPr>
          <a:lstStyle>
            <a:lvl1pPr marL="0" indent="0" algn="ctr">
              <a:buFontTx/>
              <a:buNone/>
              <a:defRPr sz="1200"/>
            </a:lvl1pPr>
          </a:lstStyle>
          <a:p>
            <a:r>
              <a:rPr lang="en-US"/>
              <a:t> </a:t>
            </a:r>
          </a:p>
        </p:txBody>
      </p:sp>
      <p:sp>
        <p:nvSpPr>
          <p:cNvPr id="27" name="Picture Placeholder 6">
            <a:extLst>
              <a:ext uri="{FF2B5EF4-FFF2-40B4-BE49-F238E27FC236}">
                <a16:creationId xmlns:a16="http://schemas.microsoft.com/office/drawing/2014/main" id="{F041FFFF-ABCB-478C-81C8-2748EDA068E5}"/>
              </a:ext>
            </a:extLst>
          </p:cNvPr>
          <p:cNvSpPr>
            <a:spLocks noGrp="1"/>
          </p:cNvSpPr>
          <p:nvPr>
            <p:ph type="pic" sz="quarter" idx="20" hasCustomPrompt="1"/>
          </p:nvPr>
        </p:nvSpPr>
        <p:spPr>
          <a:xfrm>
            <a:off x="7637782" y="-1985773"/>
            <a:ext cx="3565696" cy="658368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rot lat="18600000" lon="3000000" rev="17640000"/>
            </a:camera>
            <a:lightRig rig="threePt" dir="t"/>
          </a:scene3d>
          <a:sp3d prstMaterial="matte"/>
        </p:spPr>
        <p:txBody>
          <a:bodyPr wrap="square" anchor="ctr">
            <a:noAutofit/>
          </a:bodyPr>
          <a:lstStyle>
            <a:lvl1pPr marL="0" indent="0" algn="ctr">
              <a:buFontTx/>
              <a:buNone/>
              <a:defRPr sz="1200"/>
            </a:lvl1pPr>
          </a:lstStyle>
          <a:p>
            <a:r>
              <a:rPr lang="en-US"/>
              <a:t> </a:t>
            </a:r>
          </a:p>
        </p:txBody>
      </p:sp>
      <p:sp>
        <p:nvSpPr>
          <p:cNvPr id="28" name="Picture Placeholder 6">
            <a:extLst>
              <a:ext uri="{FF2B5EF4-FFF2-40B4-BE49-F238E27FC236}">
                <a16:creationId xmlns:a16="http://schemas.microsoft.com/office/drawing/2014/main" id="{E8C46F02-D220-4F1D-A205-CD188B1EADC6}"/>
              </a:ext>
            </a:extLst>
          </p:cNvPr>
          <p:cNvSpPr>
            <a:spLocks noGrp="1"/>
          </p:cNvSpPr>
          <p:nvPr>
            <p:ph type="pic" sz="quarter" idx="21" hasCustomPrompt="1"/>
          </p:nvPr>
        </p:nvSpPr>
        <p:spPr>
          <a:xfrm>
            <a:off x="11021082" y="5552"/>
            <a:ext cx="3565696" cy="658368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rot lat="3000000" lon="3000000" rev="3960000"/>
            </a:camera>
            <a:lightRig rig="threePt" dir="t"/>
          </a:scene3d>
          <a:sp3d prstMaterial="matte"/>
        </p:spPr>
        <p:txBody>
          <a:bodyPr wrap="square" anchor="ctr">
            <a:noAutofit/>
          </a:bodyPr>
          <a:lstStyle>
            <a:lvl1pPr marL="0" indent="0" algn="ctr">
              <a:buFontTx/>
              <a:buNone/>
              <a:defRPr sz="1200"/>
            </a:lvl1pPr>
          </a:lstStyle>
          <a:p>
            <a:r>
              <a:rPr lang="en-US"/>
              <a:t> </a:t>
            </a:r>
          </a:p>
        </p:txBody>
      </p:sp>
      <p:sp>
        <p:nvSpPr>
          <p:cNvPr id="29" name="Picture Placeholder 6">
            <a:extLst>
              <a:ext uri="{FF2B5EF4-FFF2-40B4-BE49-F238E27FC236}">
                <a16:creationId xmlns:a16="http://schemas.microsoft.com/office/drawing/2014/main" id="{EF1A4BA8-0A92-4533-9270-471B0E0C082E}"/>
              </a:ext>
            </a:extLst>
          </p:cNvPr>
          <p:cNvSpPr>
            <a:spLocks noGrp="1"/>
          </p:cNvSpPr>
          <p:nvPr>
            <p:ph type="pic" sz="quarter" idx="22" hasCustomPrompt="1"/>
          </p:nvPr>
        </p:nvSpPr>
        <p:spPr>
          <a:xfrm>
            <a:off x="4288626" y="-4013106"/>
            <a:ext cx="3565696" cy="658368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rot lat="3000000" lon="3000000" rev="3960000"/>
            </a:camera>
            <a:lightRig rig="threePt" dir="t"/>
          </a:scene3d>
          <a:sp3d prstMaterial="matte"/>
        </p:spPr>
        <p:txBody>
          <a:bodyPr wrap="square" anchor="ctr">
            <a:noAutofit/>
          </a:bodyPr>
          <a:lstStyle>
            <a:lvl1pPr marL="0" indent="0" algn="ctr">
              <a:buFontTx/>
              <a:buNone/>
              <a:defRPr sz="1200"/>
            </a:lvl1pPr>
          </a:lstStyle>
          <a:p>
            <a:r>
              <a:rPr lang="en-US"/>
              <a:t> </a:t>
            </a:r>
          </a:p>
        </p:txBody>
      </p:sp>
      <p:sp>
        <p:nvSpPr>
          <p:cNvPr id="32" name="Picture Placeholder 6">
            <a:extLst>
              <a:ext uri="{FF2B5EF4-FFF2-40B4-BE49-F238E27FC236}">
                <a16:creationId xmlns:a16="http://schemas.microsoft.com/office/drawing/2014/main" id="{9DC83989-293D-49EE-BAB8-4BA6670BF53C}"/>
              </a:ext>
            </a:extLst>
          </p:cNvPr>
          <p:cNvSpPr>
            <a:spLocks noGrp="1"/>
          </p:cNvSpPr>
          <p:nvPr>
            <p:ph type="pic" sz="quarter" idx="23" hasCustomPrompt="1"/>
          </p:nvPr>
        </p:nvSpPr>
        <p:spPr>
          <a:xfrm>
            <a:off x="-2510582" y="3574"/>
            <a:ext cx="3565696" cy="658368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rot lat="3000000" lon="3000000" rev="3960000"/>
            </a:camera>
            <a:lightRig rig="threePt" dir="t"/>
          </a:scene3d>
          <a:sp3d prstMaterial="matte"/>
        </p:spPr>
        <p:txBody>
          <a:bodyPr wrap="square" anchor="ctr">
            <a:noAutofit/>
          </a:bodyPr>
          <a:lstStyle>
            <a:lvl1pPr marL="0" indent="0" algn="ctr">
              <a:buFontTx/>
              <a:buNone/>
              <a:defRPr sz="1200"/>
            </a:lvl1pPr>
          </a:lstStyle>
          <a:p>
            <a:r>
              <a:rPr lang="en-US"/>
              <a:t> </a:t>
            </a:r>
          </a:p>
        </p:txBody>
      </p:sp>
    </p:spTree>
    <p:extLst>
      <p:ext uri="{BB962C8B-B14F-4D97-AF65-F5344CB8AC3E}">
        <p14:creationId xmlns:p14="http://schemas.microsoft.com/office/powerpoint/2010/main" val="4284872950"/>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10" presetClass="entr" presetSubtype="0" dur="300" fill="hold" grpId="0" nodeType="withEffect">
                                  <p:stCondLst>
                                    <p:cond delay="130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300"/>
                                        <p:tgtEl>
                                          <p:spTgt spid="11"/>
                                        </p:tgtEl>
                                      </p:cBhvr>
                                    </p:animEffect>
                                  </p:childTnLst>
                                </p:cTn>
                              </p:par>
                              <p:par>
                                <p:cTn id="8" presetID="10" presetClass="entr" presetSubtype="0" dur="300" fill="hold" grpId="0" nodeType="withEffect">
                                  <p:stCondLst>
                                    <p:cond delay="2300"/>
                                  </p:stCondLst>
                                  <p:childTnLst>
                                    <p:set>
                                      <p:cBhvr>
                                        <p:cTn id="9" dur="1" fill="hold">
                                          <p:stCondLst>
                                            <p:cond delay="0"/>
                                          </p:stCondLst>
                                        </p:cTn>
                                        <p:tgtEl>
                                          <p:spTgt spid="14"/>
                                        </p:tgtEl>
                                        <p:attrNameLst>
                                          <p:attrName>style.visibility</p:attrName>
                                        </p:attrNameLst>
                                      </p:cBhvr>
                                      <p:to>
                                        <p:strVal val="visible"/>
                                      </p:to>
                                    </p:set>
                                    <p:animEffect transition="in" filter="fade">
                                      <p:cBhvr>
                                        <p:cTn id="10" dur="300"/>
                                        <p:tgtEl>
                                          <p:spTgt spid="14"/>
                                        </p:tgtEl>
                                      </p:cBhvr>
                                    </p:animEffect>
                                  </p:childTnLst>
                                </p:cTn>
                              </p:par>
                              <p:par>
                                <p:cTn id="11" presetID="10" presetClass="entr" presetSubtype="0" dur="300" fill="hold" grpId="0" nodeType="withEffect">
                                  <p:stCondLst>
                                    <p:cond delay="2400"/>
                                  </p:stCondLst>
                                  <p:childTnLst>
                                    <p:set>
                                      <p:cBhvr>
                                        <p:cTn id="12" dur="1" fill="hold">
                                          <p:stCondLst>
                                            <p:cond delay="0"/>
                                          </p:stCondLst>
                                        </p:cTn>
                                        <p:tgtEl>
                                          <p:spTgt spid="24"/>
                                        </p:tgtEl>
                                        <p:attrNameLst>
                                          <p:attrName>style.visibility</p:attrName>
                                        </p:attrNameLst>
                                      </p:cBhvr>
                                      <p:to>
                                        <p:strVal val="visible"/>
                                      </p:to>
                                    </p:set>
                                    <p:animEffect transition="in" filter="fade">
                                      <p:cBhvr>
                                        <p:cTn id="13" dur="300"/>
                                        <p:tgtEl>
                                          <p:spTgt spid="24"/>
                                        </p:tgtEl>
                                      </p:cBhvr>
                                    </p:animEffect>
                                  </p:childTnLst>
                                </p:cTn>
                              </p:par>
                              <p:par>
                                <p:cTn id="14" presetID="10" presetClass="entr" presetSubtype="0" dur="300" fill="hold" grpId="0" nodeType="withEffect">
                                  <p:stCondLst>
                                    <p:cond delay="2500"/>
                                  </p:stCondLst>
                                  <p:childTnLst>
                                    <p:set>
                                      <p:cBhvr>
                                        <p:cTn id="15" dur="1" fill="hold">
                                          <p:stCondLst>
                                            <p:cond delay="0"/>
                                          </p:stCondLst>
                                        </p:cTn>
                                        <p:tgtEl>
                                          <p:spTgt spid="25"/>
                                        </p:tgtEl>
                                        <p:attrNameLst>
                                          <p:attrName>style.visibility</p:attrName>
                                        </p:attrNameLst>
                                      </p:cBhvr>
                                      <p:to>
                                        <p:strVal val="visible"/>
                                      </p:to>
                                    </p:set>
                                    <p:animEffect transition="in" filter="fade">
                                      <p:cBhvr>
                                        <p:cTn id="16" dur="300"/>
                                        <p:tgtEl>
                                          <p:spTgt spid="25"/>
                                        </p:tgtEl>
                                      </p:cBhvr>
                                    </p:animEffect>
                                  </p:childTnLst>
                                </p:cTn>
                              </p:par>
                              <p:par>
                                <p:cTn id="17" presetID="10" presetClass="entr" presetSubtype="0" dur="300" fill="hold" grpId="0" nodeType="withEffect">
                                  <p:stCondLst>
                                    <p:cond delay="2600"/>
                                  </p:stCondLst>
                                  <p:childTnLst>
                                    <p:set>
                                      <p:cBhvr>
                                        <p:cTn id="18" dur="1" fill="hold">
                                          <p:stCondLst>
                                            <p:cond delay="0"/>
                                          </p:stCondLst>
                                        </p:cTn>
                                        <p:tgtEl>
                                          <p:spTgt spid="32"/>
                                        </p:tgtEl>
                                        <p:attrNameLst>
                                          <p:attrName>style.visibility</p:attrName>
                                        </p:attrNameLst>
                                      </p:cBhvr>
                                      <p:to>
                                        <p:strVal val="visible"/>
                                      </p:to>
                                    </p:set>
                                    <p:animEffect transition="in" filter="fade">
                                      <p:cBhvr>
                                        <p:cTn id="19" dur="300"/>
                                        <p:tgtEl>
                                          <p:spTgt spid="32"/>
                                        </p:tgtEl>
                                      </p:cBhvr>
                                    </p:animEffect>
                                  </p:childTnLst>
                                </p:cTn>
                              </p:par>
                              <p:par>
                                <p:cTn id="20" presetID="10" presetClass="entr" presetSubtype="0" dur="300" fill="hold" grpId="0" nodeType="withEffect">
                                  <p:stCondLst>
                                    <p:cond delay="2700"/>
                                  </p:stCondLst>
                                  <p:childTnLst>
                                    <p:set>
                                      <p:cBhvr>
                                        <p:cTn id="21" dur="1" fill="hold">
                                          <p:stCondLst>
                                            <p:cond delay="0"/>
                                          </p:stCondLst>
                                        </p:cTn>
                                        <p:tgtEl>
                                          <p:spTgt spid="26"/>
                                        </p:tgtEl>
                                        <p:attrNameLst>
                                          <p:attrName>style.visibility</p:attrName>
                                        </p:attrNameLst>
                                      </p:cBhvr>
                                      <p:to>
                                        <p:strVal val="visible"/>
                                      </p:to>
                                    </p:set>
                                    <p:animEffect transition="in" filter="fade">
                                      <p:cBhvr>
                                        <p:cTn id="22" dur="300"/>
                                        <p:tgtEl>
                                          <p:spTgt spid="26"/>
                                        </p:tgtEl>
                                      </p:cBhvr>
                                    </p:animEffect>
                                  </p:childTnLst>
                                </p:cTn>
                              </p:par>
                              <p:par>
                                <p:cTn id="23" presetID="10" presetClass="entr" presetSubtype="0" dur="300" fill="hold" grpId="0" nodeType="withEffect">
                                  <p:stCondLst>
                                    <p:cond delay="2800"/>
                                  </p:stCondLst>
                                  <p:childTnLst>
                                    <p:set>
                                      <p:cBhvr>
                                        <p:cTn id="24" dur="1" fill="hold">
                                          <p:stCondLst>
                                            <p:cond delay="0"/>
                                          </p:stCondLst>
                                        </p:cTn>
                                        <p:tgtEl>
                                          <p:spTgt spid="29"/>
                                        </p:tgtEl>
                                        <p:attrNameLst>
                                          <p:attrName>style.visibility</p:attrName>
                                        </p:attrNameLst>
                                      </p:cBhvr>
                                      <p:to>
                                        <p:strVal val="visible"/>
                                      </p:to>
                                    </p:set>
                                    <p:animEffect transition="in" filter="fade">
                                      <p:cBhvr>
                                        <p:cTn id="25" dur="300"/>
                                        <p:tgtEl>
                                          <p:spTgt spid="29"/>
                                        </p:tgtEl>
                                      </p:cBhvr>
                                    </p:animEffect>
                                  </p:childTnLst>
                                </p:cTn>
                              </p:par>
                              <p:par>
                                <p:cTn id="26" presetID="10" presetClass="entr" presetSubtype="0" dur="300" fill="hold" grpId="0" nodeType="withEffect">
                                  <p:stCondLst>
                                    <p:cond delay="2900"/>
                                  </p:stCondLst>
                                  <p:childTnLst>
                                    <p:set>
                                      <p:cBhvr>
                                        <p:cTn id="27" dur="1" fill="hold">
                                          <p:stCondLst>
                                            <p:cond delay="0"/>
                                          </p:stCondLst>
                                        </p:cTn>
                                        <p:tgtEl>
                                          <p:spTgt spid="27"/>
                                        </p:tgtEl>
                                        <p:attrNameLst>
                                          <p:attrName>style.visibility</p:attrName>
                                        </p:attrNameLst>
                                      </p:cBhvr>
                                      <p:to>
                                        <p:strVal val="visible"/>
                                      </p:to>
                                    </p:set>
                                    <p:animEffect transition="in" filter="fade">
                                      <p:cBhvr>
                                        <p:cTn id="28" dur="300"/>
                                        <p:tgtEl>
                                          <p:spTgt spid="27"/>
                                        </p:tgtEl>
                                      </p:cBhvr>
                                    </p:animEffect>
                                  </p:childTnLst>
                                </p:cTn>
                              </p:par>
                              <p:par>
                                <p:cTn id="29" presetID="10" presetClass="entr" presetSubtype="0" dur="300" fill="hold" grpId="0" nodeType="withEffect">
                                  <p:stCondLst>
                                    <p:cond delay="3000"/>
                                  </p:stCondLst>
                                  <p:childTnLst>
                                    <p:set>
                                      <p:cBhvr>
                                        <p:cTn id="30" dur="1" fill="hold">
                                          <p:stCondLst>
                                            <p:cond delay="0"/>
                                          </p:stCondLst>
                                        </p:cTn>
                                        <p:tgtEl>
                                          <p:spTgt spid="28"/>
                                        </p:tgtEl>
                                        <p:attrNameLst>
                                          <p:attrName>style.visibility</p:attrName>
                                        </p:attrNameLst>
                                      </p:cBhvr>
                                      <p:to>
                                        <p:strVal val="visible"/>
                                      </p:to>
                                    </p:set>
                                    <p:animEffect transition="in" filter="fade">
                                      <p:cBhvr>
                                        <p:cTn id="31" dur="3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4" grpId="0" animBg="1"/>
      <p:bldP spid="24" grpId="0" animBg="1"/>
      <p:bldP spid="25" grpId="0" animBg="1"/>
      <p:bldP spid="26" grpId="0" animBg="1"/>
      <p:bldP spid="27" grpId="0" animBg="1"/>
      <p:bldP spid="28" grpId="0" animBg="1"/>
      <p:bldP spid="29" grpId="0" animBg="1"/>
      <p:bldP spid="32" grpId="0" animBg="1"/>
    </p:bld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88_Custom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F2516F8B-E0FE-4C4A-820B-A5DC7B2F2B55}"/>
              </a:ext>
            </a:extLst>
          </p:cNvPr>
          <p:cNvSpPr>
            <a:spLocks noGrp="1"/>
          </p:cNvSpPr>
          <p:nvPr>
            <p:ph type="pic" sz="quarter" idx="19" hasCustomPrompt="1"/>
          </p:nvPr>
        </p:nvSpPr>
        <p:spPr>
          <a:xfrm>
            <a:off x="4178324" y="-82822"/>
            <a:ext cx="3154269" cy="749808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rot lat="18420000" lon="3000000" rev="17310000"/>
            </a:camera>
            <a:lightRig rig="threePt" dir="t"/>
          </a:scene3d>
          <a:sp3d prstMaterial="matte"/>
        </p:spPr>
        <p:txBody>
          <a:bodyPr wrap="square" anchor="ctr">
            <a:noAutofit/>
          </a:bodyPr>
          <a:lstStyle>
            <a:lvl1pPr marL="0" indent="0" algn="ctr">
              <a:buFontTx/>
              <a:buNone/>
              <a:defRPr sz="1200"/>
            </a:lvl1pPr>
          </a:lstStyle>
          <a:p>
            <a:r>
              <a:rPr lang="en-US"/>
              <a:t> </a:t>
            </a:r>
          </a:p>
        </p:txBody>
      </p:sp>
      <p:sp>
        <p:nvSpPr>
          <p:cNvPr id="23" name="Picture Placeholder 6">
            <a:extLst>
              <a:ext uri="{FF2B5EF4-FFF2-40B4-BE49-F238E27FC236}">
                <a16:creationId xmlns:a16="http://schemas.microsoft.com/office/drawing/2014/main" id="{A4626463-2253-4697-9500-AEF47C1C3A30}"/>
              </a:ext>
            </a:extLst>
          </p:cNvPr>
          <p:cNvSpPr>
            <a:spLocks noGrp="1"/>
          </p:cNvSpPr>
          <p:nvPr>
            <p:ph type="pic" sz="quarter" idx="20" hasCustomPrompt="1"/>
          </p:nvPr>
        </p:nvSpPr>
        <p:spPr>
          <a:xfrm>
            <a:off x="9435489" y="-1820952"/>
            <a:ext cx="3154269" cy="749808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rot lat="18420000" lon="3000000" rev="17310000"/>
            </a:camera>
            <a:lightRig rig="threePt" dir="t"/>
          </a:scene3d>
          <a:sp3d prstMaterial="matte"/>
        </p:spPr>
        <p:txBody>
          <a:bodyPr wrap="square" anchor="ctr">
            <a:noAutofit/>
          </a:bodyPr>
          <a:lstStyle>
            <a:lvl1pPr marL="0" indent="0" algn="ctr">
              <a:buFontTx/>
              <a:buNone/>
              <a:defRPr sz="1200"/>
            </a:lvl1pPr>
          </a:lstStyle>
          <a:p>
            <a:r>
              <a:rPr lang="en-US"/>
              <a:t> </a:t>
            </a:r>
          </a:p>
        </p:txBody>
      </p:sp>
      <p:sp>
        <p:nvSpPr>
          <p:cNvPr id="24" name="Picture Placeholder 6">
            <a:extLst>
              <a:ext uri="{FF2B5EF4-FFF2-40B4-BE49-F238E27FC236}">
                <a16:creationId xmlns:a16="http://schemas.microsoft.com/office/drawing/2014/main" id="{7703B000-8D12-4B1A-ACB6-C06DD087F7AB}"/>
              </a:ext>
            </a:extLst>
          </p:cNvPr>
          <p:cNvSpPr>
            <a:spLocks noGrp="1"/>
          </p:cNvSpPr>
          <p:nvPr>
            <p:ph type="pic" sz="quarter" idx="21" hasCustomPrompt="1"/>
          </p:nvPr>
        </p:nvSpPr>
        <p:spPr>
          <a:xfrm>
            <a:off x="-1024430" y="1650794"/>
            <a:ext cx="3154269" cy="749808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rot lat="18420000" lon="3000000" rev="17310000"/>
            </a:camera>
            <a:lightRig rig="threePt" dir="t"/>
          </a:scene3d>
          <a:sp3d prstMaterial="matte"/>
        </p:spPr>
        <p:txBody>
          <a:bodyPr wrap="square" anchor="ctr">
            <a:noAutofit/>
          </a:bodyPr>
          <a:lstStyle>
            <a:lvl1pPr marL="0" indent="0" algn="ctr">
              <a:buFontTx/>
              <a:buNone/>
              <a:defRPr sz="1200"/>
            </a:lvl1pPr>
          </a:lstStyle>
          <a:p>
            <a:r>
              <a:rPr lang="en-US"/>
              <a:t> </a:t>
            </a:r>
          </a:p>
        </p:txBody>
      </p:sp>
      <p:sp>
        <p:nvSpPr>
          <p:cNvPr id="25" name="Picture Placeholder 6">
            <a:extLst>
              <a:ext uri="{FF2B5EF4-FFF2-40B4-BE49-F238E27FC236}">
                <a16:creationId xmlns:a16="http://schemas.microsoft.com/office/drawing/2014/main" id="{8000927B-DD2F-4561-A86B-BAA2792A8F74}"/>
              </a:ext>
            </a:extLst>
          </p:cNvPr>
          <p:cNvSpPr>
            <a:spLocks noGrp="1"/>
          </p:cNvSpPr>
          <p:nvPr>
            <p:ph type="pic" sz="quarter" idx="22" hasCustomPrompt="1"/>
          </p:nvPr>
        </p:nvSpPr>
        <p:spPr>
          <a:xfrm>
            <a:off x="-6246799" y="3379874"/>
            <a:ext cx="3154269" cy="749808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rot lat="18420000" lon="3000000" rev="17310000"/>
            </a:camera>
            <a:lightRig rig="threePt" dir="t"/>
          </a:scene3d>
          <a:sp3d prstMaterial="matte"/>
        </p:spPr>
        <p:txBody>
          <a:bodyPr wrap="square" anchor="ctr">
            <a:noAutofit/>
          </a:bodyPr>
          <a:lstStyle>
            <a:lvl1pPr marL="0" indent="0" algn="ctr">
              <a:buFontTx/>
              <a:buNone/>
              <a:defRPr sz="1200"/>
            </a:lvl1pPr>
          </a:lstStyle>
          <a:p>
            <a:r>
              <a:rPr lang="en-US"/>
              <a:t> </a:t>
            </a:r>
          </a:p>
        </p:txBody>
      </p:sp>
      <p:sp>
        <p:nvSpPr>
          <p:cNvPr id="26" name="Picture Placeholder 6">
            <a:extLst>
              <a:ext uri="{FF2B5EF4-FFF2-40B4-BE49-F238E27FC236}">
                <a16:creationId xmlns:a16="http://schemas.microsoft.com/office/drawing/2014/main" id="{0A9600A9-5EAC-4F18-91A0-4E6C5F394585}"/>
              </a:ext>
            </a:extLst>
          </p:cNvPr>
          <p:cNvSpPr>
            <a:spLocks noGrp="1"/>
          </p:cNvSpPr>
          <p:nvPr>
            <p:ph type="pic" sz="quarter" idx="23" hasCustomPrompt="1"/>
          </p:nvPr>
        </p:nvSpPr>
        <p:spPr>
          <a:xfrm>
            <a:off x="-11632841" y="5171234"/>
            <a:ext cx="3154269" cy="749808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rot lat="18420000" lon="3000000" rev="17310000"/>
            </a:camera>
            <a:lightRig rig="threePt" dir="t"/>
          </a:scene3d>
          <a:sp3d prstMaterial="matte"/>
        </p:spPr>
        <p:txBody>
          <a:bodyPr wrap="square" anchor="ctr">
            <a:noAutofit/>
          </a:bodyPr>
          <a:lstStyle>
            <a:lvl1pPr marL="0" indent="0" algn="ctr">
              <a:buFontTx/>
              <a:buNone/>
              <a:defRPr sz="1200"/>
            </a:lvl1pPr>
          </a:lstStyle>
          <a:p>
            <a:r>
              <a:rPr lang="en-US"/>
              <a:t> </a:t>
            </a:r>
          </a:p>
        </p:txBody>
      </p:sp>
      <p:sp>
        <p:nvSpPr>
          <p:cNvPr id="27" name="Picture Placeholder 6">
            <a:extLst>
              <a:ext uri="{FF2B5EF4-FFF2-40B4-BE49-F238E27FC236}">
                <a16:creationId xmlns:a16="http://schemas.microsoft.com/office/drawing/2014/main" id="{37EEC992-E907-4E25-8861-053D3E578F0C}"/>
              </a:ext>
            </a:extLst>
          </p:cNvPr>
          <p:cNvSpPr>
            <a:spLocks noGrp="1"/>
          </p:cNvSpPr>
          <p:nvPr>
            <p:ph type="pic" sz="quarter" idx="24" hasCustomPrompt="1"/>
          </p:nvPr>
        </p:nvSpPr>
        <p:spPr>
          <a:xfrm>
            <a:off x="20764331" y="-2359182"/>
            <a:ext cx="3154269" cy="749808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rot lat="18420000" lon="3000000" rev="17310000"/>
            </a:camera>
            <a:lightRig rig="threePt" dir="t"/>
          </a:scene3d>
          <a:sp3d prstMaterial="matte"/>
        </p:spPr>
        <p:txBody>
          <a:bodyPr wrap="square" anchor="ctr">
            <a:noAutofit/>
          </a:bodyPr>
          <a:lstStyle>
            <a:lvl1pPr marL="0" indent="0" algn="ctr">
              <a:buFontTx/>
              <a:buNone/>
              <a:defRPr sz="1200"/>
            </a:lvl1pPr>
          </a:lstStyle>
          <a:p>
            <a:r>
              <a:rPr lang="en-US"/>
              <a:t> </a:t>
            </a:r>
          </a:p>
        </p:txBody>
      </p:sp>
      <p:sp>
        <p:nvSpPr>
          <p:cNvPr id="28" name="Picture Placeholder 6">
            <a:extLst>
              <a:ext uri="{FF2B5EF4-FFF2-40B4-BE49-F238E27FC236}">
                <a16:creationId xmlns:a16="http://schemas.microsoft.com/office/drawing/2014/main" id="{611DF2A1-D74B-4D29-98F3-927F8A285DB3}"/>
              </a:ext>
            </a:extLst>
          </p:cNvPr>
          <p:cNvSpPr>
            <a:spLocks noGrp="1"/>
          </p:cNvSpPr>
          <p:nvPr>
            <p:ph type="pic" sz="quarter" idx="25" hasCustomPrompt="1"/>
          </p:nvPr>
        </p:nvSpPr>
        <p:spPr>
          <a:xfrm>
            <a:off x="26021497" y="-4097312"/>
            <a:ext cx="3154269" cy="749808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rot lat="18420000" lon="3000000" rev="17310000"/>
            </a:camera>
            <a:lightRig rig="threePt" dir="t"/>
          </a:scene3d>
          <a:sp3d prstMaterial="matte"/>
        </p:spPr>
        <p:txBody>
          <a:bodyPr wrap="square" anchor="ctr">
            <a:noAutofit/>
          </a:bodyPr>
          <a:lstStyle>
            <a:lvl1pPr marL="0" indent="0" algn="ctr">
              <a:buFontTx/>
              <a:buNone/>
              <a:defRPr sz="1200"/>
            </a:lvl1pPr>
          </a:lstStyle>
          <a:p>
            <a:r>
              <a:rPr lang="en-US"/>
              <a:t> </a:t>
            </a:r>
          </a:p>
        </p:txBody>
      </p:sp>
      <p:sp>
        <p:nvSpPr>
          <p:cNvPr id="29" name="Picture Placeholder 6">
            <a:extLst>
              <a:ext uri="{FF2B5EF4-FFF2-40B4-BE49-F238E27FC236}">
                <a16:creationId xmlns:a16="http://schemas.microsoft.com/office/drawing/2014/main" id="{4E68B947-3A67-4B79-9911-051D6B757252}"/>
              </a:ext>
            </a:extLst>
          </p:cNvPr>
          <p:cNvSpPr>
            <a:spLocks noGrp="1"/>
          </p:cNvSpPr>
          <p:nvPr>
            <p:ph type="pic" sz="quarter" idx="26" hasCustomPrompt="1"/>
          </p:nvPr>
        </p:nvSpPr>
        <p:spPr>
          <a:xfrm>
            <a:off x="15561577" y="-625566"/>
            <a:ext cx="3154269" cy="749808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rot lat="18420000" lon="3000000" rev="17310000"/>
            </a:camera>
            <a:lightRig rig="threePt" dir="t"/>
          </a:scene3d>
          <a:sp3d prstMaterial="matte"/>
        </p:spPr>
        <p:txBody>
          <a:bodyPr wrap="square" anchor="ctr">
            <a:noAutofit/>
          </a:bodyPr>
          <a:lstStyle>
            <a:lvl1pPr marL="0" indent="0" algn="ctr">
              <a:buFontTx/>
              <a:buNone/>
              <a:defRPr sz="1200"/>
            </a:lvl1pPr>
          </a:lstStyle>
          <a:p>
            <a:r>
              <a:rPr lang="en-US"/>
              <a:t> </a:t>
            </a:r>
          </a:p>
        </p:txBody>
      </p:sp>
      <p:sp>
        <p:nvSpPr>
          <p:cNvPr id="30" name="Picture Placeholder 6">
            <a:extLst>
              <a:ext uri="{FF2B5EF4-FFF2-40B4-BE49-F238E27FC236}">
                <a16:creationId xmlns:a16="http://schemas.microsoft.com/office/drawing/2014/main" id="{4060BDBD-2126-4E95-81A9-F0DE44CC68D1}"/>
              </a:ext>
            </a:extLst>
          </p:cNvPr>
          <p:cNvSpPr>
            <a:spLocks noGrp="1"/>
          </p:cNvSpPr>
          <p:nvPr>
            <p:ph type="pic" sz="quarter" idx="27" hasCustomPrompt="1"/>
          </p:nvPr>
        </p:nvSpPr>
        <p:spPr>
          <a:xfrm>
            <a:off x="10339208" y="1103514"/>
            <a:ext cx="3154269" cy="749808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rot lat="18420000" lon="3000000" rev="17310000"/>
            </a:camera>
            <a:lightRig rig="threePt" dir="t"/>
          </a:scene3d>
          <a:sp3d prstMaterial="matte"/>
        </p:spPr>
        <p:txBody>
          <a:bodyPr wrap="square" anchor="ctr">
            <a:noAutofit/>
          </a:bodyPr>
          <a:lstStyle>
            <a:lvl1pPr marL="0" indent="0" algn="ctr">
              <a:buFontTx/>
              <a:buNone/>
              <a:defRPr sz="1200"/>
            </a:lvl1pPr>
          </a:lstStyle>
          <a:p>
            <a:r>
              <a:rPr lang="en-US"/>
              <a:t> </a:t>
            </a:r>
          </a:p>
        </p:txBody>
      </p:sp>
      <p:sp>
        <p:nvSpPr>
          <p:cNvPr id="31" name="Picture Placeholder 6">
            <a:extLst>
              <a:ext uri="{FF2B5EF4-FFF2-40B4-BE49-F238E27FC236}">
                <a16:creationId xmlns:a16="http://schemas.microsoft.com/office/drawing/2014/main" id="{7D11A113-C1B4-4B9C-AC18-EC628568D82B}"/>
              </a:ext>
            </a:extLst>
          </p:cNvPr>
          <p:cNvSpPr>
            <a:spLocks noGrp="1"/>
          </p:cNvSpPr>
          <p:nvPr>
            <p:ph type="pic" sz="quarter" idx="28" hasCustomPrompt="1"/>
          </p:nvPr>
        </p:nvSpPr>
        <p:spPr>
          <a:xfrm>
            <a:off x="4953166" y="2894874"/>
            <a:ext cx="3154269" cy="749808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rot lat="18420000" lon="3000000" rev="17310000"/>
            </a:camera>
            <a:lightRig rig="threePt" dir="t"/>
          </a:scene3d>
          <a:sp3d prstMaterial="matte"/>
        </p:spPr>
        <p:txBody>
          <a:bodyPr wrap="square" anchor="ctr">
            <a:noAutofit/>
          </a:bodyPr>
          <a:lstStyle>
            <a:lvl1pPr marL="0" indent="0" algn="ctr">
              <a:buFontTx/>
              <a:buNone/>
              <a:defRPr sz="1200"/>
            </a:lvl1pPr>
          </a:lstStyle>
          <a:p>
            <a:r>
              <a:rPr lang="en-US"/>
              <a:t> </a:t>
            </a:r>
          </a:p>
        </p:txBody>
      </p:sp>
      <p:sp>
        <p:nvSpPr>
          <p:cNvPr id="32" name="Picture Placeholder 6">
            <a:extLst>
              <a:ext uri="{FF2B5EF4-FFF2-40B4-BE49-F238E27FC236}">
                <a16:creationId xmlns:a16="http://schemas.microsoft.com/office/drawing/2014/main" id="{71596971-2921-4B94-B0AB-B47F97CA222A}"/>
              </a:ext>
            </a:extLst>
          </p:cNvPr>
          <p:cNvSpPr>
            <a:spLocks noGrp="1"/>
          </p:cNvSpPr>
          <p:nvPr>
            <p:ph type="pic" sz="quarter" idx="29" hasCustomPrompt="1"/>
          </p:nvPr>
        </p:nvSpPr>
        <p:spPr>
          <a:xfrm>
            <a:off x="13826551" y="-6479347"/>
            <a:ext cx="3154269" cy="749808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rot lat="18420000" lon="3000000" rev="17310000"/>
            </a:camera>
            <a:lightRig rig="threePt" dir="t"/>
          </a:scene3d>
          <a:sp3d prstMaterial="matte"/>
        </p:spPr>
        <p:txBody>
          <a:bodyPr wrap="square" anchor="ctr">
            <a:noAutofit/>
          </a:bodyPr>
          <a:lstStyle>
            <a:lvl1pPr marL="0" indent="0" algn="ctr">
              <a:buFontTx/>
              <a:buNone/>
              <a:defRPr sz="1200"/>
            </a:lvl1pPr>
          </a:lstStyle>
          <a:p>
            <a:r>
              <a:rPr lang="en-US"/>
              <a:t> </a:t>
            </a:r>
          </a:p>
        </p:txBody>
      </p:sp>
      <p:sp>
        <p:nvSpPr>
          <p:cNvPr id="33" name="Picture Placeholder 6">
            <a:extLst>
              <a:ext uri="{FF2B5EF4-FFF2-40B4-BE49-F238E27FC236}">
                <a16:creationId xmlns:a16="http://schemas.microsoft.com/office/drawing/2014/main" id="{0D869799-5865-4C17-A764-D9457241E00D}"/>
              </a:ext>
            </a:extLst>
          </p:cNvPr>
          <p:cNvSpPr>
            <a:spLocks noGrp="1"/>
          </p:cNvSpPr>
          <p:nvPr>
            <p:ph type="pic" sz="quarter" idx="30" hasCustomPrompt="1"/>
          </p:nvPr>
        </p:nvSpPr>
        <p:spPr>
          <a:xfrm>
            <a:off x="19083716" y="-8217477"/>
            <a:ext cx="3154269" cy="749808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rot lat="18420000" lon="3000000" rev="17310000"/>
            </a:camera>
            <a:lightRig rig="threePt" dir="t"/>
          </a:scene3d>
          <a:sp3d prstMaterial="matte"/>
        </p:spPr>
        <p:txBody>
          <a:bodyPr wrap="square" anchor="ctr">
            <a:noAutofit/>
          </a:bodyPr>
          <a:lstStyle>
            <a:lvl1pPr marL="0" indent="0" algn="ctr">
              <a:buFontTx/>
              <a:buNone/>
              <a:defRPr sz="1200"/>
            </a:lvl1pPr>
          </a:lstStyle>
          <a:p>
            <a:r>
              <a:rPr lang="en-US"/>
              <a:t> </a:t>
            </a:r>
          </a:p>
        </p:txBody>
      </p:sp>
      <p:sp>
        <p:nvSpPr>
          <p:cNvPr id="34" name="Picture Placeholder 6">
            <a:extLst>
              <a:ext uri="{FF2B5EF4-FFF2-40B4-BE49-F238E27FC236}">
                <a16:creationId xmlns:a16="http://schemas.microsoft.com/office/drawing/2014/main" id="{566937C7-F205-4656-A8E8-906793DD2E11}"/>
              </a:ext>
            </a:extLst>
          </p:cNvPr>
          <p:cNvSpPr>
            <a:spLocks noGrp="1"/>
          </p:cNvSpPr>
          <p:nvPr>
            <p:ph type="pic" sz="quarter" idx="31" hasCustomPrompt="1"/>
          </p:nvPr>
        </p:nvSpPr>
        <p:spPr>
          <a:xfrm>
            <a:off x="8623797" y="-4745731"/>
            <a:ext cx="3154269" cy="749808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rot lat="18420000" lon="3000000" rev="17310000"/>
            </a:camera>
            <a:lightRig rig="threePt" dir="t"/>
          </a:scene3d>
          <a:sp3d prstMaterial="matte"/>
        </p:spPr>
        <p:txBody>
          <a:bodyPr wrap="square" anchor="ctr">
            <a:noAutofit/>
          </a:bodyPr>
          <a:lstStyle>
            <a:lvl1pPr marL="0" indent="0" algn="ctr">
              <a:buFontTx/>
              <a:buNone/>
              <a:defRPr sz="1200"/>
            </a:lvl1pPr>
          </a:lstStyle>
          <a:p>
            <a:r>
              <a:rPr lang="en-US"/>
              <a:t> </a:t>
            </a:r>
          </a:p>
        </p:txBody>
      </p:sp>
      <p:sp>
        <p:nvSpPr>
          <p:cNvPr id="35" name="Picture Placeholder 6">
            <a:extLst>
              <a:ext uri="{FF2B5EF4-FFF2-40B4-BE49-F238E27FC236}">
                <a16:creationId xmlns:a16="http://schemas.microsoft.com/office/drawing/2014/main" id="{D72442AB-B35D-4075-8B3B-92AA68A6072F}"/>
              </a:ext>
            </a:extLst>
          </p:cNvPr>
          <p:cNvSpPr>
            <a:spLocks noGrp="1"/>
          </p:cNvSpPr>
          <p:nvPr>
            <p:ph type="pic" sz="quarter" idx="32" hasCustomPrompt="1"/>
          </p:nvPr>
        </p:nvSpPr>
        <p:spPr>
          <a:xfrm>
            <a:off x="3401428" y="-3016651"/>
            <a:ext cx="3154269" cy="749808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rot lat="18420000" lon="3000000" rev="17310000"/>
            </a:camera>
            <a:lightRig rig="threePt" dir="t"/>
          </a:scene3d>
          <a:sp3d prstMaterial="matte"/>
        </p:spPr>
        <p:txBody>
          <a:bodyPr wrap="square" anchor="ctr">
            <a:noAutofit/>
          </a:bodyPr>
          <a:lstStyle>
            <a:lvl1pPr marL="0" indent="0" algn="ctr">
              <a:buFontTx/>
              <a:buNone/>
              <a:defRPr sz="1200"/>
            </a:lvl1pPr>
          </a:lstStyle>
          <a:p>
            <a:r>
              <a:rPr lang="en-US"/>
              <a:t> </a:t>
            </a:r>
          </a:p>
        </p:txBody>
      </p:sp>
      <p:sp>
        <p:nvSpPr>
          <p:cNvPr id="36" name="Picture Placeholder 6">
            <a:extLst>
              <a:ext uri="{FF2B5EF4-FFF2-40B4-BE49-F238E27FC236}">
                <a16:creationId xmlns:a16="http://schemas.microsoft.com/office/drawing/2014/main" id="{6B46F04C-4E8E-4C12-BDE6-6EE31FC8A4EA}"/>
              </a:ext>
            </a:extLst>
          </p:cNvPr>
          <p:cNvSpPr>
            <a:spLocks noGrp="1"/>
          </p:cNvSpPr>
          <p:nvPr>
            <p:ph type="pic" sz="quarter" idx="33" hasCustomPrompt="1"/>
          </p:nvPr>
        </p:nvSpPr>
        <p:spPr>
          <a:xfrm>
            <a:off x="-1984613" y="-1225291"/>
            <a:ext cx="3154269" cy="749808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rot lat="18420000" lon="3000000" rev="17310000"/>
            </a:camera>
            <a:lightRig rig="threePt" dir="t"/>
          </a:scene3d>
          <a:sp3d prstMaterial="matte"/>
        </p:spPr>
        <p:txBody>
          <a:bodyPr wrap="square" anchor="ctr">
            <a:noAutofit/>
          </a:bodyPr>
          <a:lstStyle>
            <a:lvl1pPr marL="0" indent="0" algn="ctr">
              <a:buFontTx/>
              <a:buNone/>
              <a:defRPr sz="1200"/>
            </a:lvl1pPr>
          </a:lstStyle>
          <a:p>
            <a:r>
              <a:rPr lang="en-US"/>
              <a:t> </a:t>
            </a:r>
          </a:p>
        </p:txBody>
      </p:sp>
    </p:spTree>
    <p:extLst>
      <p:ext uri="{BB962C8B-B14F-4D97-AF65-F5344CB8AC3E}">
        <p14:creationId xmlns:p14="http://schemas.microsoft.com/office/powerpoint/2010/main" val="3656307864"/>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42" presetClass="path" presetSubtype="0" dur="6000" repeatCount="indefinite" accel="50000" decel="50000" autoRev="1" fill="hold" grpId="0" nodeType="withEffect">
                                  <p:stCondLst>
                                    <p:cond delay="0"/>
                                  </p:stCondLst>
                                  <p:childTnLst>
                                    <p:animMotion origin="layout" path="M 3.62062E-06 5E-06 L 0.86967 -0.51355" pathEditMode="relative" rAng="0" ptsTypes="AA">
                                      <p:cBhvr>
                                        <p:cTn id="6" dur="6000" fill="hold"/>
                                        <p:tgtEl>
                                          <p:spTgt spid="26"/>
                                        </p:tgtEl>
                                        <p:attrNameLst>
                                          <p:attrName>ppt_x</p:attrName>
                                          <p:attrName>ppt_y</p:attrName>
                                        </p:attrNameLst>
                                      </p:cBhvr>
                                      <p:rCtr x="43484" y="-25683"/>
                                    </p:animMotion>
                                  </p:childTnLst>
                                </p:cTn>
                              </p:par>
                              <p:par>
                                <p:cTn id="7" presetID="42" presetClass="path" presetSubtype="0" dur="6000" repeatCount="indefinite" accel="50000" decel="50000" autoRev="1" fill="hold" grpId="0" nodeType="withEffect">
                                  <p:stCondLst>
                                    <p:cond delay="0"/>
                                  </p:stCondLst>
                                  <p:childTnLst>
                                    <p:animMotion origin="layout" path="M 3.62062E-06 5E-06 L 0.86967 -0.51355" pathEditMode="relative" rAng="0" ptsTypes="AA">
                                      <p:cBhvr>
                                        <p:cTn id="8" dur="6000" fill="hold"/>
                                        <p:tgtEl>
                                          <p:spTgt spid="25"/>
                                        </p:tgtEl>
                                        <p:attrNameLst>
                                          <p:attrName>ppt_x</p:attrName>
                                          <p:attrName>ppt_y</p:attrName>
                                        </p:attrNameLst>
                                      </p:cBhvr>
                                      <p:rCtr x="43484" y="-25683"/>
                                    </p:animMotion>
                                  </p:childTnLst>
                                </p:cTn>
                              </p:par>
                              <p:par>
                                <p:cTn id="9" presetID="42" presetClass="path" presetSubtype="0" dur="6000" repeatCount="indefinite" accel="50000" decel="50000" autoRev="1" fill="hold" grpId="0" nodeType="withEffect">
                                  <p:stCondLst>
                                    <p:cond delay="0"/>
                                  </p:stCondLst>
                                  <p:childTnLst>
                                    <p:animMotion origin="layout" path="M 3.62062E-06 5E-06 L 0.86967 -0.51355" pathEditMode="relative" rAng="0" ptsTypes="AA">
                                      <p:cBhvr>
                                        <p:cTn id="10" dur="6000" fill="hold"/>
                                        <p:tgtEl>
                                          <p:spTgt spid="24"/>
                                        </p:tgtEl>
                                        <p:attrNameLst>
                                          <p:attrName>ppt_x</p:attrName>
                                          <p:attrName>ppt_y</p:attrName>
                                        </p:attrNameLst>
                                      </p:cBhvr>
                                      <p:rCtr x="43484" y="-25683"/>
                                    </p:animMotion>
                                  </p:childTnLst>
                                </p:cTn>
                              </p:par>
                              <p:par>
                                <p:cTn id="11" presetID="42" presetClass="path" presetSubtype="0" dur="6000" repeatCount="indefinite" accel="50000" decel="50000" autoRev="1" fill="hold" grpId="0" nodeType="withEffect">
                                  <p:stCondLst>
                                    <p:cond delay="0"/>
                                  </p:stCondLst>
                                  <p:childTnLst>
                                    <p:animMotion origin="layout" path="M 3.62062E-06 5E-06 L 0.86967 -0.51355" pathEditMode="relative" rAng="0" ptsTypes="AA">
                                      <p:cBhvr>
                                        <p:cTn id="12" dur="6000" fill="hold"/>
                                        <p:tgtEl>
                                          <p:spTgt spid="7"/>
                                        </p:tgtEl>
                                        <p:attrNameLst>
                                          <p:attrName>ppt_x</p:attrName>
                                          <p:attrName>ppt_y</p:attrName>
                                        </p:attrNameLst>
                                      </p:cBhvr>
                                      <p:rCtr x="43484" y="-25683"/>
                                    </p:animMotion>
                                  </p:childTnLst>
                                </p:cTn>
                              </p:par>
                              <p:par>
                                <p:cTn id="13" presetID="42" presetClass="path" presetSubtype="0" dur="6000" repeatCount="indefinite" accel="50000" decel="50000" autoRev="1" fill="hold" grpId="0" nodeType="withEffect">
                                  <p:stCondLst>
                                    <p:cond delay="0"/>
                                  </p:stCondLst>
                                  <p:childTnLst>
                                    <p:animMotion origin="layout" path="M 3.62062E-06 5E-06 L 0.86967 -0.51355" pathEditMode="relative" rAng="0" ptsTypes="AA">
                                      <p:cBhvr>
                                        <p:cTn id="14" dur="6000" fill="hold"/>
                                        <p:tgtEl>
                                          <p:spTgt spid="23"/>
                                        </p:tgtEl>
                                        <p:attrNameLst>
                                          <p:attrName>ppt_x</p:attrName>
                                          <p:attrName>ppt_y</p:attrName>
                                        </p:attrNameLst>
                                      </p:cBhvr>
                                      <p:rCtr x="43484" y="-25683"/>
                                    </p:animMotion>
                                  </p:childTnLst>
                                </p:cTn>
                              </p:par>
                              <p:par>
                                <p:cTn id="15" presetID="42" presetClass="path" presetSubtype="0" dur="8000" repeatCount="indefinite" accel="50000" decel="50000" autoRev="1" fill="hold" grpId="0" nodeType="withEffect">
                                  <p:stCondLst>
                                    <p:cond delay="0"/>
                                  </p:stCondLst>
                                  <p:childTnLst>
                                    <p:animMotion origin="layout" path="M 3.09855E-06 1.2963E-06 L -1.28714 0.75949" pathEditMode="relative" rAng="0" ptsTypes="AA">
                                      <p:cBhvr>
                                        <p:cTn id="16" dur="8000" fill="hold"/>
                                        <p:tgtEl>
                                          <p:spTgt spid="28"/>
                                        </p:tgtEl>
                                        <p:attrNameLst>
                                          <p:attrName>ppt_x</p:attrName>
                                          <p:attrName>ppt_y</p:attrName>
                                        </p:attrNameLst>
                                      </p:cBhvr>
                                      <p:rCtr x="-64360" y="37975"/>
                                    </p:animMotion>
                                  </p:childTnLst>
                                </p:cTn>
                              </p:par>
                              <p:par>
                                <p:cTn id="17" presetID="42" presetClass="path" presetSubtype="0" dur="8000" repeatCount="indefinite" accel="50000" decel="50000" autoRev="1" fill="hold" grpId="0" nodeType="withEffect">
                                  <p:stCondLst>
                                    <p:cond delay="0"/>
                                  </p:stCondLst>
                                  <p:childTnLst>
                                    <p:animMotion origin="layout" path="M 3.09855E-06 1.2963E-06 L -1.28714 0.75949" pathEditMode="relative" rAng="0" ptsTypes="AA">
                                      <p:cBhvr>
                                        <p:cTn id="18" dur="8000" fill="hold"/>
                                        <p:tgtEl>
                                          <p:spTgt spid="27"/>
                                        </p:tgtEl>
                                        <p:attrNameLst>
                                          <p:attrName>ppt_x</p:attrName>
                                          <p:attrName>ppt_y</p:attrName>
                                        </p:attrNameLst>
                                      </p:cBhvr>
                                      <p:rCtr x="-64360" y="37975"/>
                                    </p:animMotion>
                                  </p:childTnLst>
                                </p:cTn>
                              </p:par>
                              <p:par>
                                <p:cTn id="19" presetID="42" presetClass="path" presetSubtype="0" dur="8000" repeatCount="indefinite" accel="50000" decel="50000" autoRev="1" fill="hold" grpId="0" nodeType="withEffect">
                                  <p:stCondLst>
                                    <p:cond delay="0"/>
                                  </p:stCondLst>
                                  <p:childTnLst>
                                    <p:animMotion origin="layout" path="M 3.09855E-06 1.2963E-06 L -1.28714 0.75949" pathEditMode="relative" rAng="0" ptsTypes="AA">
                                      <p:cBhvr>
                                        <p:cTn id="20" dur="8000" fill="hold"/>
                                        <p:tgtEl>
                                          <p:spTgt spid="29"/>
                                        </p:tgtEl>
                                        <p:attrNameLst>
                                          <p:attrName>ppt_x</p:attrName>
                                          <p:attrName>ppt_y</p:attrName>
                                        </p:attrNameLst>
                                      </p:cBhvr>
                                      <p:rCtr x="-64360" y="37975"/>
                                    </p:animMotion>
                                  </p:childTnLst>
                                </p:cTn>
                              </p:par>
                              <p:par>
                                <p:cTn id="21" presetID="42" presetClass="path" presetSubtype="0" dur="8000" repeatCount="indefinite" accel="50000" decel="50000" autoRev="1" fill="hold" grpId="0" nodeType="withEffect">
                                  <p:stCondLst>
                                    <p:cond delay="0"/>
                                  </p:stCondLst>
                                  <p:childTnLst>
                                    <p:animMotion origin="layout" path="M 3.09855E-06 1.2963E-06 L -1.28714 0.75949" pathEditMode="relative" rAng="0" ptsTypes="AA">
                                      <p:cBhvr>
                                        <p:cTn id="22" dur="8000" fill="hold"/>
                                        <p:tgtEl>
                                          <p:spTgt spid="30"/>
                                        </p:tgtEl>
                                        <p:attrNameLst>
                                          <p:attrName>ppt_x</p:attrName>
                                          <p:attrName>ppt_y</p:attrName>
                                        </p:attrNameLst>
                                      </p:cBhvr>
                                      <p:rCtr x="-64360" y="37975"/>
                                    </p:animMotion>
                                  </p:childTnLst>
                                </p:cTn>
                              </p:par>
                              <p:par>
                                <p:cTn id="23" presetID="42" presetClass="path" presetSubtype="0" dur="8000" repeatCount="indefinite" accel="50000" decel="50000" autoRev="1" fill="hold" grpId="0" nodeType="withEffect">
                                  <p:stCondLst>
                                    <p:cond delay="0"/>
                                  </p:stCondLst>
                                  <p:childTnLst>
                                    <p:animMotion origin="layout" path="M 3.09855E-06 1.2963E-06 L -1.28714 0.75949" pathEditMode="relative" rAng="0" ptsTypes="AA">
                                      <p:cBhvr>
                                        <p:cTn id="24" dur="8000" fill="hold"/>
                                        <p:tgtEl>
                                          <p:spTgt spid="31"/>
                                        </p:tgtEl>
                                        <p:attrNameLst>
                                          <p:attrName>ppt_x</p:attrName>
                                          <p:attrName>ppt_y</p:attrName>
                                        </p:attrNameLst>
                                      </p:cBhvr>
                                      <p:rCtr x="-64360" y="37975"/>
                                    </p:animMotion>
                                  </p:childTnLst>
                                </p:cTn>
                              </p:par>
                              <p:par>
                                <p:cTn id="25" presetID="42" presetClass="path" presetSubtype="0" dur="10000" repeatCount="indefinite" accel="50000" decel="50000" autoRev="1" fill="hold" grpId="0" nodeType="withEffect">
                                  <p:stCondLst>
                                    <p:cond delay="0"/>
                                  </p:stCondLst>
                                  <p:childTnLst>
                                    <p:animMotion origin="layout" path="M 3.09855E-06 1.2963E-06 L -1.28714 0.75949" pathEditMode="relative" rAng="0" ptsTypes="AA">
                                      <p:cBhvr>
                                        <p:cTn id="26" dur="10000" fill="hold"/>
                                        <p:tgtEl>
                                          <p:spTgt spid="33"/>
                                        </p:tgtEl>
                                        <p:attrNameLst>
                                          <p:attrName>ppt_x</p:attrName>
                                          <p:attrName>ppt_y</p:attrName>
                                        </p:attrNameLst>
                                      </p:cBhvr>
                                      <p:rCtr x="-64360" y="37975"/>
                                    </p:animMotion>
                                  </p:childTnLst>
                                </p:cTn>
                              </p:par>
                              <p:par>
                                <p:cTn id="27" presetID="42" presetClass="path" presetSubtype="0" dur="10000" repeatCount="indefinite" accel="50000" decel="50000" autoRev="1" fill="hold" grpId="0" nodeType="withEffect">
                                  <p:stCondLst>
                                    <p:cond delay="0"/>
                                  </p:stCondLst>
                                  <p:childTnLst>
                                    <p:animMotion origin="layout" path="M 3.09855E-06 1.2963E-06 L -1.28714 0.75949" pathEditMode="relative" rAng="0" ptsTypes="AA">
                                      <p:cBhvr>
                                        <p:cTn id="28" dur="10000" fill="hold"/>
                                        <p:tgtEl>
                                          <p:spTgt spid="32"/>
                                        </p:tgtEl>
                                        <p:attrNameLst>
                                          <p:attrName>ppt_x</p:attrName>
                                          <p:attrName>ppt_y</p:attrName>
                                        </p:attrNameLst>
                                      </p:cBhvr>
                                      <p:rCtr x="-64360" y="37975"/>
                                    </p:animMotion>
                                  </p:childTnLst>
                                </p:cTn>
                              </p:par>
                              <p:par>
                                <p:cTn id="29" presetID="42" presetClass="path" presetSubtype="0" dur="10000" repeatCount="indefinite" accel="50000" decel="50000" autoRev="1" fill="hold" grpId="0" nodeType="withEffect">
                                  <p:stCondLst>
                                    <p:cond delay="0"/>
                                  </p:stCondLst>
                                  <p:childTnLst>
                                    <p:animMotion origin="layout" path="M 3.09855E-06 1.2963E-06 L -1.28714 0.75949" pathEditMode="relative" rAng="0" ptsTypes="AA">
                                      <p:cBhvr>
                                        <p:cTn id="30" dur="10000" fill="hold"/>
                                        <p:tgtEl>
                                          <p:spTgt spid="34"/>
                                        </p:tgtEl>
                                        <p:attrNameLst>
                                          <p:attrName>ppt_x</p:attrName>
                                          <p:attrName>ppt_y</p:attrName>
                                        </p:attrNameLst>
                                      </p:cBhvr>
                                      <p:rCtr x="-64360" y="37975"/>
                                    </p:animMotion>
                                  </p:childTnLst>
                                </p:cTn>
                              </p:par>
                              <p:par>
                                <p:cTn id="31" presetID="42" presetClass="path" presetSubtype="0" dur="10000" repeatCount="indefinite" accel="50000" decel="50000" autoRev="1" fill="hold" grpId="0" nodeType="withEffect">
                                  <p:stCondLst>
                                    <p:cond delay="0"/>
                                  </p:stCondLst>
                                  <p:childTnLst>
                                    <p:animMotion origin="layout" path="M 3.09855E-06 1.2963E-06 L -1.28714 0.75949" pathEditMode="relative" rAng="0" ptsTypes="AA">
                                      <p:cBhvr>
                                        <p:cTn id="32" dur="10000" fill="hold"/>
                                        <p:tgtEl>
                                          <p:spTgt spid="35"/>
                                        </p:tgtEl>
                                        <p:attrNameLst>
                                          <p:attrName>ppt_x</p:attrName>
                                          <p:attrName>ppt_y</p:attrName>
                                        </p:attrNameLst>
                                      </p:cBhvr>
                                      <p:rCtr x="-64360" y="37975"/>
                                    </p:animMotion>
                                  </p:childTnLst>
                                </p:cTn>
                              </p:par>
                              <p:par>
                                <p:cTn id="33" presetID="42" presetClass="path" presetSubtype="0" dur="10000" repeatCount="indefinite" accel="50000" decel="50000" autoRev="1" fill="hold" grpId="0" nodeType="withEffect">
                                  <p:stCondLst>
                                    <p:cond delay="0"/>
                                  </p:stCondLst>
                                  <p:childTnLst>
                                    <p:animMotion origin="layout" path="M 3.09855E-06 1.2963E-06 L -1.28714 0.75949" pathEditMode="relative" rAng="0" ptsTypes="AA">
                                      <p:cBhvr>
                                        <p:cTn id="34" dur="10000" fill="hold"/>
                                        <p:tgtEl>
                                          <p:spTgt spid="36"/>
                                        </p:tgtEl>
                                        <p:attrNameLst>
                                          <p:attrName>ppt_x</p:attrName>
                                          <p:attrName>ppt_y</p:attrName>
                                        </p:attrNameLst>
                                      </p:cBhvr>
                                      <p:rCtr x="-64360" y="3797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23" grpId="0" animBg="1"/>
      <p:bldP spid="24" grpId="0" animBg="1"/>
      <p:bldP spid="25" grpId="0" animBg="1"/>
      <p:bldP spid="26" grpId="0" animBg="1"/>
      <p:bldP spid="27" grpId="0" animBg="1"/>
      <p:bldP spid="28" grpId="0" animBg="1"/>
      <p:bldP spid="29" grpId="0" animBg="1"/>
      <p:bldP spid="30" grpId="0" animBg="1"/>
      <p:bldP spid="31" grpId="0" animBg="1"/>
      <p:bldP spid="32" grpId="0" animBg="1"/>
      <p:bldP spid="33" grpId="0" animBg="1"/>
      <p:bldP spid="34" grpId="0" animBg="1"/>
      <p:bldP spid="35" grpId="0" animBg="1"/>
      <p:bldP spid="36" grpId="0" animBg="1"/>
    </p:bld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type="title" preserve="1">
  <p:cSld name="Blank Page Light">
    <p:spTree>
      <p:nvGrpSpPr>
        <p:cNvPr id="1" name=""/>
        <p:cNvGrpSpPr/>
        <p:nvPr/>
      </p:nvGrpSpPr>
      <p:grpSpPr>
        <a:xfrm>
          <a:off x="0" y="0"/>
          <a:ext cx="0" cy="0"/>
          <a:chOff x="0" y="0"/>
          <a:chExt cx="0" cy="0"/>
        </a:xfrm>
      </p:grpSpPr>
      <p:sp>
        <p:nvSpPr>
          <p:cNvPr id="11" name="Foliennumm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991376312"/>
      </p:ext>
    </p:extLst>
  </p:cSld>
  <p:clrMapOvr>
    <a:masterClrMapping/>
  </p:clrMapOvr>
  <p:transition spd="med"/>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WELCOME SLIDE">
    <p:spTree>
      <p:nvGrpSpPr>
        <p:cNvPr id="1" name=""/>
        <p:cNvGrpSpPr/>
        <p:nvPr/>
      </p:nvGrpSpPr>
      <p:grpSpPr>
        <a:xfrm>
          <a:off x="0" y="0"/>
          <a:ext cx="0" cy="0"/>
          <a:chOff x="0" y="0"/>
          <a:chExt cx="0" cy="0"/>
        </a:xfrm>
      </p:grpSpPr>
      <p:sp>
        <p:nvSpPr>
          <p:cNvPr id="33" name="Rechteck 32">
            <a:extLst>
              <a:ext uri="{FF2B5EF4-FFF2-40B4-BE49-F238E27FC236}">
                <a16:creationId xmlns:a16="http://schemas.microsoft.com/office/drawing/2014/main" id="{95791B20-6611-4BC3-9643-F8853AFBD8B7}"/>
              </a:ext>
            </a:extLst>
          </p:cNvPr>
          <p:cNvSpPr/>
          <p:nvPr userDrawn="1"/>
        </p:nvSpPr>
        <p:spPr>
          <a:xfrm>
            <a:off x="0" y="0"/>
            <a:ext cx="5772243" cy="990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4" name="Bildplatzhalter 63">
            <a:extLst>
              <a:ext uri="{FF2B5EF4-FFF2-40B4-BE49-F238E27FC236}">
                <a16:creationId xmlns:a16="http://schemas.microsoft.com/office/drawing/2014/main" id="{27D8A489-906F-4514-8E3F-C8B31E0E5A05}"/>
              </a:ext>
            </a:extLst>
          </p:cNvPr>
          <p:cNvSpPr>
            <a:spLocks noGrp="1"/>
          </p:cNvSpPr>
          <p:nvPr>
            <p:ph type="pic" sz="quarter" idx="10"/>
          </p:nvPr>
        </p:nvSpPr>
        <p:spPr>
          <a:xfrm>
            <a:off x="0" y="0"/>
            <a:ext cx="12191999" cy="6858000"/>
          </a:xfrm>
          <a:custGeom>
            <a:avLst/>
            <a:gdLst>
              <a:gd name="connsiteX0" fmla="*/ 5788920 w 12191999"/>
              <a:gd name="connsiteY0" fmla="*/ 3246099 h 6858000"/>
              <a:gd name="connsiteX1" fmla="*/ 5801118 w 12191999"/>
              <a:gd name="connsiteY1" fmla="*/ 3246099 h 6858000"/>
              <a:gd name="connsiteX2" fmla="*/ 5820770 w 12191999"/>
              <a:gd name="connsiteY2" fmla="*/ 3254231 h 6858000"/>
              <a:gd name="connsiteX3" fmla="*/ 5827546 w 12191999"/>
              <a:gd name="connsiteY3" fmla="*/ 3277949 h 6858000"/>
              <a:gd name="connsiteX4" fmla="*/ 5827546 w 12191999"/>
              <a:gd name="connsiteY4" fmla="*/ 3283370 h 6858000"/>
              <a:gd name="connsiteX5" fmla="*/ 5820092 w 12191999"/>
              <a:gd name="connsiteY5" fmla="*/ 3307089 h 6858000"/>
              <a:gd name="connsiteX6" fmla="*/ 5799762 w 12191999"/>
              <a:gd name="connsiteY6" fmla="*/ 3315220 h 6858000"/>
              <a:gd name="connsiteX7" fmla="*/ 5788920 w 12191999"/>
              <a:gd name="connsiteY7" fmla="*/ 3315220 h 6858000"/>
              <a:gd name="connsiteX8" fmla="*/ 5303038 w 12191999"/>
              <a:gd name="connsiteY8" fmla="*/ 3246099 h 6858000"/>
              <a:gd name="connsiteX9" fmla="*/ 5315236 w 12191999"/>
              <a:gd name="connsiteY9" fmla="*/ 3246099 h 6858000"/>
              <a:gd name="connsiteX10" fmla="*/ 5334888 w 12191999"/>
              <a:gd name="connsiteY10" fmla="*/ 3254231 h 6858000"/>
              <a:gd name="connsiteX11" fmla="*/ 5341664 w 12191999"/>
              <a:gd name="connsiteY11" fmla="*/ 3277949 h 6858000"/>
              <a:gd name="connsiteX12" fmla="*/ 5341664 w 12191999"/>
              <a:gd name="connsiteY12" fmla="*/ 3283370 h 6858000"/>
              <a:gd name="connsiteX13" fmla="*/ 5334210 w 12191999"/>
              <a:gd name="connsiteY13" fmla="*/ 3307089 h 6858000"/>
              <a:gd name="connsiteX14" fmla="*/ 5313880 w 12191999"/>
              <a:gd name="connsiteY14" fmla="*/ 3315220 h 6858000"/>
              <a:gd name="connsiteX15" fmla="*/ 5303038 w 12191999"/>
              <a:gd name="connsiteY15" fmla="*/ 3315220 h 6858000"/>
              <a:gd name="connsiteX16" fmla="*/ 4985215 w 12191999"/>
              <a:gd name="connsiteY16" fmla="*/ 3246099 h 6858000"/>
              <a:gd name="connsiteX17" fmla="*/ 5002835 w 12191999"/>
              <a:gd name="connsiteY17" fmla="*/ 3246099 h 6858000"/>
              <a:gd name="connsiteX18" fmla="*/ 5015710 w 12191999"/>
              <a:gd name="connsiteY18" fmla="*/ 3250165 h 6858000"/>
              <a:gd name="connsiteX19" fmla="*/ 5019776 w 12191999"/>
              <a:gd name="connsiteY19" fmla="*/ 3262363 h 6858000"/>
              <a:gd name="connsiteX20" fmla="*/ 5015033 w 12191999"/>
              <a:gd name="connsiteY20" fmla="*/ 3273883 h 6858000"/>
              <a:gd name="connsiteX21" fmla="*/ 5002157 w 12191999"/>
              <a:gd name="connsiteY21" fmla="*/ 3277949 h 6858000"/>
              <a:gd name="connsiteX22" fmla="*/ 4985215 w 12191999"/>
              <a:gd name="connsiteY22" fmla="*/ 3277949 h 6858000"/>
              <a:gd name="connsiteX23" fmla="*/ 6397458 w 12191999"/>
              <a:gd name="connsiteY23" fmla="*/ 3245421 h 6858000"/>
              <a:gd name="connsiteX24" fmla="*/ 6414400 w 12191999"/>
              <a:gd name="connsiteY24" fmla="*/ 3253553 h 6858000"/>
              <a:gd name="connsiteX25" fmla="*/ 6420499 w 12191999"/>
              <a:gd name="connsiteY25" fmla="*/ 3277949 h 6858000"/>
              <a:gd name="connsiteX26" fmla="*/ 6420499 w 12191999"/>
              <a:gd name="connsiteY26" fmla="*/ 3283370 h 6858000"/>
              <a:gd name="connsiteX27" fmla="*/ 6414400 w 12191999"/>
              <a:gd name="connsiteY27" fmla="*/ 3307766 h 6858000"/>
              <a:gd name="connsiteX28" fmla="*/ 6397458 w 12191999"/>
              <a:gd name="connsiteY28" fmla="*/ 3315898 h 6858000"/>
              <a:gd name="connsiteX29" fmla="*/ 6380517 w 12191999"/>
              <a:gd name="connsiteY29" fmla="*/ 3307088 h 6858000"/>
              <a:gd name="connsiteX30" fmla="*/ 6374418 w 12191999"/>
              <a:gd name="connsiteY30" fmla="*/ 3282692 h 6858000"/>
              <a:gd name="connsiteX31" fmla="*/ 6374418 w 12191999"/>
              <a:gd name="connsiteY31" fmla="*/ 3277271 h 6858000"/>
              <a:gd name="connsiteX32" fmla="*/ 6380517 w 12191999"/>
              <a:gd name="connsiteY32" fmla="*/ 3253553 h 6858000"/>
              <a:gd name="connsiteX33" fmla="*/ 6397458 w 12191999"/>
              <a:gd name="connsiteY33" fmla="*/ 3245421 h 6858000"/>
              <a:gd name="connsiteX34" fmla="*/ 4831387 w 12191999"/>
              <a:gd name="connsiteY34" fmla="*/ 3245421 h 6858000"/>
              <a:gd name="connsiteX35" fmla="*/ 4848329 w 12191999"/>
              <a:gd name="connsiteY35" fmla="*/ 3253553 h 6858000"/>
              <a:gd name="connsiteX36" fmla="*/ 4854428 w 12191999"/>
              <a:gd name="connsiteY36" fmla="*/ 3277949 h 6858000"/>
              <a:gd name="connsiteX37" fmla="*/ 4854428 w 12191999"/>
              <a:gd name="connsiteY37" fmla="*/ 3283370 h 6858000"/>
              <a:gd name="connsiteX38" fmla="*/ 4848329 w 12191999"/>
              <a:gd name="connsiteY38" fmla="*/ 3307766 h 6858000"/>
              <a:gd name="connsiteX39" fmla="*/ 4831387 w 12191999"/>
              <a:gd name="connsiteY39" fmla="*/ 3315898 h 6858000"/>
              <a:gd name="connsiteX40" fmla="*/ 4814446 w 12191999"/>
              <a:gd name="connsiteY40" fmla="*/ 3307088 h 6858000"/>
              <a:gd name="connsiteX41" fmla="*/ 4808347 w 12191999"/>
              <a:gd name="connsiteY41" fmla="*/ 3282692 h 6858000"/>
              <a:gd name="connsiteX42" fmla="*/ 4808347 w 12191999"/>
              <a:gd name="connsiteY42" fmla="*/ 3277271 h 6858000"/>
              <a:gd name="connsiteX43" fmla="*/ 4814446 w 12191999"/>
              <a:gd name="connsiteY43" fmla="*/ 3253553 h 6858000"/>
              <a:gd name="connsiteX44" fmla="*/ 4831387 w 12191999"/>
              <a:gd name="connsiteY44" fmla="*/ 3245421 h 6858000"/>
              <a:gd name="connsiteX45" fmla="*/ 6211780 w 12191999"/>
              <a:gd name="connsiteY45" fmla="*/ 3233223 h 6858000"/>
              <a:gd name="connsiteX46" fmla="*/ 6211780 w 12191999"/>
              <a:gd name="connsiteY46" fmla="*/ 3328773 h 6858000"/>
              <a:gd name="connsiteX47" fmla="*/ 6272092 w 12191999"/>
              <a:gd name="connsiteY47" fmla="*/ 3328773 h 6858000"/>
              <a:gd name="connsiteX48" fmla="*/ 6272092 w 12191999"/>
              <a:gd name="connsiteY48" fmla="*/ 3315220 h 6858000"/>
              <a:gd name="connsiteX49" fmla="*/ 6228721 w 12191999"/>
              <a:gd name="connsiteY49" fmla="*/ 3315220 h 6858000"/>
              <a:gd name="connsiteX50" fmla="*/ 6228721 w 12191999"/>
              <a:gd name="connsiteY50" fmla="*/ 3233223 h 6858000"/>
              <a:gd name="connsiteX51" fmla="*/ 5132947 w 12191999"/>
              <a:gd name="connsiteY51" fmla="*/ 3233223 h 6858000"/>
              <a:gd name="connsiteX52" fmla="*/ 5132947 w 12191999"/>
              <a:gd name="connsiteY52" fmla="*/ 3328773 h 6858000"/>
              <a:gd name="connsiteX53" fmla="*/ 5193258 w 12191999"/>
              <a:gd name="connsiteY53" fmla="*/ 3328773 h 6858000"/>
              <a:gd name="connsiteX54" fmla="*/ 5193258 w 12191999"/>
              <a:gd name="connsiteY54" fmla="*/ 3315220 h 6858000"/>
              <a:gd name="connsiteX55" fmla="*/ 5149888 w 12191999"/>
              <a:gd name="connsiteY55" fmla="*/ 3315220 h 6858000"/>
              <a:gd name="connsiteX56" fmla="*/ 5149888 w 12191999"/>
              <a:gd name="connsiteY56" fmla="*/ 3233223 h 6858000"/>
              <a:gd name="connsiteX57" fmla="*/ 7150338 w 12191999"/>
              <a:gd name="connsiteY57" fmla="*/ 3232546 h 6858000"/>
              <a:gd name="connsiteX58" fmla="*/ 7150338 w 12191999"/>
              <a:gd name="connsiteY58" fmla="*/ 3328096 h 6858000"/>
              <a:gd name="connsiteX59" fmla="*/ 7166602 w 12191999"/>
              <a:gd name="connsiteY59" fmla="*/ 3328096 h 6858000"/>
              <a:gd name="connsiteX60" fmla="*/ 7166602 w 12191999"/>
              <a:gd name="connsiteY60" fmla="*/ 3232546 h 6858000"/>
              <a:gd name="connsiteX61" fmla="*/ 6980246 w 12191999"/>
              <a:gd name="connsiteY61" fmla="*/ 3232546 h 6858000"/>
              <a:gd name="connsiteX62" fmla="*/ 6980246 w 12191999"/>
              <a:gd name="connsiteY62" fmla="*/ 3246099 h 6858000"/>
              <a:gd name="connsiteX63" fmla="*/ 7010063 w 12191999"/>
              <a:gd name="connsiteY63" fmla="*/ 3246099 h 6858000"/>
              <a:gd name="connsiteX64" fmla="*/ 7010063 w 12191999"/>
              <a:gd name="connsiteY64" fmla="*/ 3328096 h 6858000"/>
              <a:gd name="connsiteX65" fmla="*/ 7026327 w 12191999"/>
              <a:gd name="connsiteY65" fmla="*/ 3328096 h 6858000"/>
              <a:gd name="connsiteX66" fmla="*/ 7026327 w 12191999"/>
              <a:gd name="connsiteY66" fmla="*/ 3246099 h 6858000"/>
              <a:gd name="connsiteX67" fmla="*/ 7056144 w 12191999"/>
              <a:gd name="connsiteY67" fmla="*/ 3246099 h 6858000"/>
              <a:gd name="connsiteX68" fmla="*/ 7056144 w 12191999"/>
              <a:gd name="connsiteY68" fmla="*/ 3232546 h 6858000"/>
              <a:gd name="connsiteX69" fmla="*/ 6707827 w 12191999"/>
              <a:gd name="connsiteY69" fmla="*/ 3232546 h 6858000"/>
              <a:gd name="connsiteX70" fmla="*/ 6707827 w 12191999"/>
              <a:gd name="connsiteY70" fmla="*/ 3328096 h 6858000"/>
              <a:gd name="connsiteX71" fmla="*/ 6724091 w 12191999"/>
              <a:gd name="connsiteY71" fmla="*/ 3328096 h 6858000"/>
              <a:gd name="connsiteX72" fmla="*/ 6724091 w 12191999"/>
              <a:gd name="connsiteY72" fmla="*/ 3232546 h 6858000"/>
              <a:gd name="connsiteX73" fmla="*/ 5941394 w 12191999"/>
              <a:gd name="connsiteY73" fmla="*/ 3232546 h 6858000"/>
              <a:gd name="connsiteX74" fmla="*/ 5941394 w 12191999"/>
              <a:gd name="connsiteY74" fmla="*/ 3328096 h 6858000"/>
              <a:gd name="connsiteX75" fmla="*/ 6003739 w 12191999"/>
              <a:gd name="connsiteY75" fmla="*/ 3328096 h 6858000"/>
              <a:gd name="connsiteX76" fmla="*/ 6003739 w 12191999"/>
              <a:gd name="connsiteY76" fmla="*/ 3314543 h 6858000"/>
              <a:gd name="connsiteX77" fmla="*/ 5957658 w 12191999"/>
              <a:gd name="connsiteY77" fmla="*/ 3314543 h 6858000"/>
              <a:gd name="connsiteX78" fmla="*/ 5957658 w 12191999"/>
              <a:gd name="connsiteY78" fmla="*/ 3285403 h 6858000"/>
              <a:gd name="connsiteX79" fmla="*/ 5996962 w 12191999"/>
              <a:gd name="connsiteY79" fmla="*/ 3285403 h 6858000"/>
              <a:gd name="connsiteX80" fmla="*/ 5997640 w 12191999"/>
              <a:gd name="connsiteY80" fmla="*/ 3285403 h 6858000"/>
              <a:gd name="connsiteX81" fmla="*/ 5997640 w 12191999"/>
              <a:gd name="connsiteY81" fmla="*/ 3272528 h 6858000"/>
              <a:gd name="connsiteX82" fmla="*/ 5958335 w 12191999"/>
              <a:gd name="connsiteY82" fmla="*/ 3272528 h 6858000"/>
              <a:gd name="connsiteX83" fmla="*/ 5958335 w 12191999"/>
              <a:gd name="connsiteY83" fmla="*/ 3246099 h 6858000"/>
              <a:gd name="connsiteX84" fmla="*/ 6003739 w 12191999"/>
              <a:gd name="connsiteY84" fmla="*/ 3246099 h 6858000"/>
              <a:gd name="connsiteX85" fmla="*/ 6003739 w 12191999"/>
              <a:gd name="connsiteY85" fmla="*/ 3232546 h 6858000"/>
              <a:gd name="connsiteX86" fmla="*/ 5772657 w 12191999"/>
              <a:gd name="connsiteY86" fmla="*/ 3232546 h 6858000"/>
              <a:gd name="connsiteX87" fmla="*/ 5772657 w 12191999"/>
              <a:gd name="connsiteY87" fmla="*/ 3327418 h 6858000"/>
              <a:gd name="connsiteX88" fmla="*/ 5799762 w 12191999"/>
              <a:gd name="connsiteY88" fmla="*/ 3327418 h 6858000"/>
              <a:gd name="connsiteX89" fmla="*/ 5822804 w 12191999"/>
              <a:gd name="connsiteY89" fmla="*/ 3321997 h 6858000"/>
              <a:gd name="connsiteX90" fmla="*/ 5838389 w 12191999"/>
              <a:gd name="connsiteY90" fmla="*/ 3306411 h 6858000"/>
              <a:gd name="connsiteX91" fmla="*/ 5843810 w 12191999"/>
              <a:gd name="connsiteY91" fmla="*/ 3282693 h 6858000"/>
              <a:gd name="connsiteX92" fmla="*/ 5843810 w 12191999"/>
              <a:gd name="connsiteY92" fmla="*/ 3277949 h 6858000"/>
              <a:gd name="connsiteX93" fmla="*/ 5838389 w 12191999"/>
              <a:gd name="connsiteY93" fmla="*/ 3254231 h 6858000"/>
              <a:gd name="connsiteX94" fmla="*/ 5823480 w 12191999"/>
              <a:gd name="connsiteY94" fmla="*/ 3237967 h 6858000"/>
              <a:gd name="connsiteX95" fmla="*/ 5801118 w 12191999"/>
              <a:gd name="connsiteY95" fmla="*/ 3232546 h 6858000"/>
              <a:gd name="connsiteX96" fmla="*/ 5655421 w 12191999"/>
              <a:gd name="connsiteY96" fmla="*/ 3232546 h 6858000"/>
              <a:gd name="connsiteX97" fmla="*/ 5655421 w 12191999"/>
              <a:gd name="connsiteY97" fmla="*/ 3328096 h 6858000"/>
              <a:gd name="connsiteX98" fmla="*/ 5671685 w 12191999"/>
              <a:gd name="connsiteY98" fmla="*/ 3328096 h 6858000"/>
              <a:gd name="connsiteX99" fmla="*/ 5671685 w 12191999"/>
              <a:gd name="connsiteY99" fmla="*/ 3232546 h 6858000"/>
              <a:gd name="connsiteX100" fmla="*/ 5448058 w 12191999"/>
              <a:gd name="connsiteY100" fmla="*/ 3232546 h 6858000"/>
              <a:gd name="connsiteX101" fmla="*/ 5470420 w 12191999"/>
              <a:gd name="connsiteY101" fmla="*/ 3328096 h 6858000"/>
              <a:gd name="connsiteX102" fmla="*/ 5486685 w 12191999"/>
              <a:gd name="connsiteY102" fmla="*/ 3328096 h 6858000"/>
              <a:gd name="connsiteX103" fmla="*/ 5504980 w 12191999"/>
              <a:gd name="connsiteY103" fmla="*/ 3258297 h 6858000"/>
              <a:gd name="connsiteX104" fmla="*/ 5523277 w 12191999"/>
              <a:gd name="connsiteY104" fmla="*/ 3328096 h 6858000"/>
              <a:gd name="connsiteX105" fmla="*/ 5538863 w 12191999"/>
              <a:gd name="connsiteY105" fmla="*/ 3328096 h 6858000"/>
              <a:gd name="connsiteX106" fmla="*/ 5561226 w 12191999"/>
              <a:gd name="connsiteY106" fmla="*/ 3232546 h 6858000"/>
              <a:gd name="connsiteX107" fmla="*/ 5544962 w 12191999"/>
              <a:gd name="connsiteY107" fmla="*/ 3232546 h 6858000"/>
              <a:gd name="connsiteX108" fmla="*/ 5530055 w 12191999"/>
              <a:gd name="connsiteY108" fmla="*/ 3304378 h 6858000"/>
              <a:gd name="connsiteX109" fmla="*/ 5511757 w 12191999"/>
              <a:gd name="connsiteY109" fmla="*/ 3232546 h 6858000"/>
              <a:gd name="connsiteX110" fmla="*/ 5497527 w 12191999"/>
              <a:gd name="connsiteY110" fmla="*/ 3232546 h 6858000"/>
              <a:gd name="connsiteX111" fmla="*/ 5479229 w 12191999"/>
              <a:gd name="connsiteY111" fmla="*/ 3304378 h 6858000"/>
              <a:gd name="connsiteX112" fmla="*/ 5464321 w 12191999"/>
              <a:gd name="connsiteY112" fmla="*/ 3232546 h 6858000"/>
              <a:gd name="connsiteX113" fmla="*/ 5286775 w 12191999"/>
              <a:gd name="connsiteY113" fmla="*/ 3232546 h 6858000"/>
              <a:gd name="connsiteX114" fmla="*/ 5286775 w 12191999"/>
              <a:gd name="connsiteY114" fmla="*/ 3327418 h 6858000"/>
              <a:gd name="connsiteX115" fmla="*/ 5313880 w 12191999"/>
              <a:gd name="connsiteY115" fmla="*/ 3327418 h 6858000"/>
              <a:gd name="connsiteX116" fmla="*/ 5336922 w 12191999"/>
              <a:gd name="connsiteY116" fmla="*/ 3321997 h 6858000"/>
              <a:gd name="connsiteX117" fmla="*/ 5352507 w 12191999"/>
              <a:gd name="connsiteY117" fmla="*/ 3306411 h 6858000"/>
              <a:gd name="connsiteX118" fmla="*/ 5357928 w 12191999"/>
              <a:gd name="connsiteY118" fmla="*/ 3282693 h 6858000"/>
              <a:gd name="connsiteX119" fmla="*/ 5357928 w 12191999"/>
              <a:gd name="connsiteY119" fmla="*/ 3277949 h 6858000"/>
              <a:gd name="connsiteX120" fmla="*/ 5352507 w 12191999"/>
              <a:gd name="connsiteY120" fmla="*/ 3254231 h 6858000"/>
              <a:gd name="connsiteX121" fmla="*/ 5337598 w 12191999"/>
              <a:gd name="connsiteY121" fmla="*/ 3237967 h 6858000"/>
              <a:gd name="connsiteX122" fmla="*/ 5315236 w 12191999"/>
              <a:gd name="connsiteY122" fmla="*/ 3232546 h 6858000"/>
              <a:gd name="connsiteX123" fmla="*/ 4968274 w 12191999"/>
              <a:gd name="connsiteY123" fmla="*/ 3232546 h 6858000"/>
              <a:gd name="connsiteX124" fmla="*/ 4968274 w 12191999"/>
              <a:gd name="connsiteY124" fmla="*/ 3328096 h 6858000"/>
              <a:gd name="connsiteX125" fmla="*/ 4985215 w 12191999"/>
              <a:gd name="connsiteY125" fmla="*/ 3328096 h 6858000"/>
              <a:gd name="connsiteX126" fmla="*/ 4985215 w 12191999"/>
              <a:gd name="connsiteY126" fmla="*/ 3291502 h 6858000"/>
              <a:gd name="connsiteX127" fmla="*/ 5003512 w 12191999"/>
              <a:gd name="connsiteY127" fmla="*/ 3291502 h 6858000"/>
              <a:gd name="connsiteX128" fmla="*/ 5023164 w 12191999"/>
              <a:gd name="connsiteY128" fmla="*/ 3328774 h 6858000"/>
              <a:gd name="connsiteX129" fmla="*/ 5040784 w 12191999"/>
              <a:gd name="connsiteY129" fmla="*/ 3328774 h 6858000"/>
              <a:gd name="connsiteX130" fmla="*/ 5040784 w 12191999"/>
              <a:gd name="connsiteY130" fmla="*/ 3328096 h 6858000"/>
              <a:gd name="connsiteX131" fmla="*/ 5019098 w 12191999"/>
              <a:gd name="connsiteY131" fmla="*/ 3288114 h 6858000"/>
              <a:gd name="connsiteX132" fmla="*/ 5031974 w 12191999"/>
              <a:gd name="connsiteY132" fmla="*/ 3277949 h 6858000"/>
              <a:gd name="connsiteX133" fmla="*/ 5036718 w 12191999"/>
              <a:gd name="connsiteY133" fmla="*/ 3261685 h 6858000"/>
              <a:gd name="connsiteX134" fmla="*/ 5027908 w 12191999"/>
              <a:gd name="connsiteY134" fmla="*/ 3240000 h 6858000"/>
              <a:gd name="connsiteX135" fmla="*/ 5002157 w 12191999"/>
              <a:gd name="connsiteY135" fmla="*/ 3232546 h 6858000"/>
              <a:gd name="connsiteX136" fmla="*/ 4589463 w 12191999"/>
              <a:gd name="connsiteY136" fmla="*/ 3232546 h 6858000"/>
              <a:gd name="connsiteX137" fmla="*/ 4611826 w 12191999"/>
              <a:gd name="connsiteY137" fmla="*/ 3328096 h 6858000"/>
              <a:gd name="connsiteX138" fmla="*/ 4627412 w 12191999"/>
              <a:gd name="connsiteY138" fmla="*/ 3328096 h 6858000"/>
              <a:gd name="connsiteX139" fmla="*/ 4645709 w 12191999"/>
              <a:gd name="connsiteY139" fmla="*/ 3258297 h 6858000"/>
              <a:gd name="connsiteX140" fmla="*/ 4664006 w 12191999"/>
              <a:gd name="connsiteY140" fmla="*/ 3328096 h 6858000"/>
              <a:gd name="connsiteX141" fmla="*/ 4679592 w 12191999"/>
              <a:gd name="connsiteY141" fmla="*/ 3328096 h 6858000"/>
              <a:gd name="connsiteX142" fmla="*/ 4701955 w 12191999"/>
              <a:gd name="connsiteY142" fmla="*/ 3232546 h 6858000"/>
              <a:gd name="connsiteX143" fmla="*/ 4685692 w 12191999"/>
              <a:gd name="connsiteY143" fmla="*/ 3232546 h 6858000"/>
              <a:gd name="connsiteX144" fmla="*/ 4670782 w 12191999"/>
              <a:gd name="connsiteY144" fmla="*/ 3304378 h 6858000"/>
              <a:gd name="connsiteX145" fmla="*/ 4653164 w 12191999"/>
              <a:gd name="connsiteY145" fmla="*/ 3232546 h 6858000"/>
              <a:gd name="connsiteX146" fmla="*/ 4638932 w 12191999"/>
              <a:gd name="connsiteY146" fmla="*/ 3232546 h 6858000"/>
              <a:gd name="connsiteX147" fmla="*/ 4620635 w 12191999"/>
              <a:gd name="connsiteY147" fmla="*/ 3304378 h 6858000"/>
              <a:gd name="connsiteX148" fmla="*/ 4605727 w 12191999"/>
              <a:gd name="connsiteY148" fmla="*/ 3232546 h 6858000"/>
              <a:gd name="connsiteX149" fmla="*/ 7468161 w 12191999"/>
              <a:gd name="connsiteY149" fmla="*/ 3231868 h 6858000"/>
              <a:gd name="connsiteX150" fmla="*/ 7443766 w 12191999"/>
              <a:gd name="connsiteY150" fmla="*/ 3239322 h 6858000"/>
              <a:gd name="connsiteX151" fmla="*/ 7434278 w 12191999"/>
              <a:gd name="connsiteY151" fmla="*/ 3258297 h 6858000"/>
              <a:gd name="connsiteX152" fmla="*/ 7447154 w 12191999"/>
              <a:gd name="connsiteY152" fmla="*/ 3279982 h 6858000"/>
              <a:gd name="connsiteX153" fmla="*/ 7465451 w 12191999"/>
              <a:gd name="connsiteY153" fmla="*/ 3287436 h 6858000"/>
              <a:gd name="connsiteX154" fmla="*/ 7481714 w 12191999"/>
              <a:gd name="connsiteY154" fmla="*/ 3294213 h 6858000"/>
              <a:gd name="connsiteX155" fmla="*/ 7486458 w 12191999"/>
              <a:gd name="connsiteY155" fmla="*/ 3303700 h 6858000"/>
              <a:gd name="connsiteX156" fmla="*/ 7481714 w 12191999"/>
              <a:gd name="connsiteY156" fmla="*/ 3312509 h 6858000"/>
              <a:gd name="connsiteX157" fmla="*/ 7468839 w 12191999"/>
              <a:gd name="connsiteY157" fmla="*/ 3315898 h 6858000"/>
              <a:gd name="connsiteX158" fmla="*/ 7453253 w 12191999"/>
              <a:gd name="connsiteY158" fmla="*/ 3311154 h 6858000"/>
              <a:gd name="connsiteX159" fmla="*/ 7447831 w 12191999"/>
              <a:gd name="connsiteY159" fmla="*/ 3298279 h 6858000"/>
              <a:gd name="connsiteX160" fmla="*/ 7430890 w 12191999"/>
              <a:gd name="connsiteY160" fmla="*/ 3298279 h 6858000"/>
              <a:gd name="connsiteX161" fmla="*/ 7435634 w 12191999"/>
              <a:gd name="connsiteY161" fmla="*/ 3313865 h 6858000"/>
              <a:gd name="connsiteX162" fmla="*/ 7449187 w 12191999"/>
              <a:gd name="connsiteY162" fmla="*/ 3324707 h 6858000"/>
              <a:gd name="connsiteX163" fmla="*/ 7468161 w 12191999"/>
              <a:gd name="connsiteY163" fmla="*/ 3328773 h 6858000"/>
              <a:gd name="connsiteX164" fmla="*/ 7493235 w 12191999"/>
              <a:gd name="connsiteY164" fmla="*/ 3321997 h 6858000"/>
              <a:gd name="connsiteX165" fmla="*/ 7502722 w 12191999"/>
              <a:gd name="connsiteY165" fmla="*/ 3303022 h 6858000"/>
              <a:gd name="connsiteX166" fmla="*/ 7499334 w 12191999"/>
              <a:gd name="connsiteY166" fmla="*/ 3290147 h 6858000"/>
              <a:gd name="connsiteX167" fmla="*/ 7489169 w 12191999"/>
              <a:gd name="connsiteY167" fmla="*/ 3280659 h 6858000"/>
              <a:gd name="connsiteX168" fmla="*/ 7471550 w 12191999"/>
              <a:gd name="connsiteY168" fmla="*/ 3273205 h 6858000"/>
              <a:gd name="connsiteX169" fmla="*/ 7455286 w 12191999"/>
              <a:gd name="connsiteY169" fmla="*/ 3266429 h 6858000"/>
              <a:gd name="connsiteX170" fmla="*/ 7450542 w 12191999"/>
              <a:gd name="connsiteY170" fmla="*/ 3257619 h 6858000"/>
              <a:gd name="connsiteX171" fmla="*/ 7455286 w 12191999"/>
              <a:gd name="connsiteY171" fmla="*/ 3248132 h 6858000"/>
              <a:gd name="connsiteX172" fmla="*/ 7468161 w 12191999"/>
              <a:gd name="connsiteY172" fmla="*/ 3244744 h 6858000"/>
              <a:gd name="connsiteX173" fmla="*/ 7481714 w 12191999"/>
              <a:gd name="connsiteY173" fmla="*/ 3248809 h 6858000"/>
              <a:gd name="connsiteX174" fmla="*/ 7486458 w 12191999"/>
              <a:gd name="connsiteY174" fmla="*/ 3260330 h 6858000"/>
              <a:gd name="connsiteX175" fmla="*/ 7502722 w 12191999"/>
              <a:gd name="connsiteY175" fmla="*/ 3260330 h 6858000"/>
              <a:gd name="connsiteX176" fmla="*/ 7497978 w 12191999"/>
              <a:gd name="connsiteY176" fmla="*/ 3245421 h 6858000"/>
              <a:gd name="connsiteX177" fmla="*/ 7485780 w 12191999"/>
              <a:gd name="connsiteY177" fmla="*/ 3235256 h 6858000"/>
              <a:gd name="connsiteX178" fmla="*/ 7468161 w 12191999"/>
              <a:gd name="connsiteY178" fmla="*/ 3231868 h 6858000"/>
              <a:gd name="connsiteX179" fmla="*/ 7303489 w 12191999"/>
              <a:gd name="connsiteY179" fmla="*/ 3231868 h 6858000"/>
              <a:gd name="connsiteX180" fmla="*/ 7282482 w 12191999"/>
              <a:gd name="connsiteY180" fmla="*/ 3237289 h 6858000"/>
              <a:gd name="connsiteX181" fmla="*/ 7268928 w 12191999"/>
              <a:gd name="connsiteY181" fmla="*/ 3252875 h 6858000"/>
              <a:gd name="connsiteX182" fmla="*/ 7264185 w 12191999"/>
              <a:gd name="connsiteY182" fmla="*/ 3276594 h 6858000"/>
              <a:gd name="connsiteX183" fmla="*/ 7264185 w 12191999"/>
              <a:gd name="connsiteY183" fmla="*/ 3285403 h 6858000"/>
              <a:gd name="connsiteX184" fmla="*/ 7268928 w 12191999"/>
              <a:gd name="connsiteY184" fmla="*/ 3308444 h 6858000"/>
              <a:gd name="connsiteX185" fmla="*/ 7282482 w 12191999"/>
              <a:gd name="connsiteY185" fmla="*/ 3324030 h 6858000"/>
              <a:gd name="connsiteX186" fmla="*/ 7302811 w 12191999"/>
              <a:gd name="connsiteY186" fmla="*/ 3329451 h 6858000"/>
              <a:gd name="connsiteX187" fmla="*/ 7329240 w 12191999"/>
              <a:gd name="connsiteY187" fmla="*/ 3320641 h 6858000"/>
              <a:gd name="connsiteX188" fmla="*/ 7340102 w 12191999"/>
              <a:gd name="connsiteY188" fmla="*/ 3298279 h 6858000"/>
              <a:gd name="connsiteX189" fmla="*/ 7340760 w 12191999"/>
              <a:gd name="connsiteY189" fmla="*/ 3298279 h 6858000"/>
              <a:gd name="connsiteX190" fmla="*/ 7340760 w 12191999"/>
              <a:gd name="connsiteY190" fmla="*/ 3296923 h 6858000"/>
              <a:gd name="connsiteX191" fmla="*/ 7340102 w 12191999"/>
              <a:gd name="connsiteY191" fmla="*/ 3298279 h 6858000"/>
              <a:gd name="connsiteX192" fmla="*/ 7323819 w 12191999"/>
              <a:gd name="connsiteY192" fmla="*/ 3298279 h 6858000"/>
              <a:gd name="connsiteX193" fmla="*/ 7317720 w 12191999"/>
              <a:gd name="connsiteY193" fmla="*/ 3313187 h 6858000"/>
              <a:gd name="connsiteX194" fmla="*/ 7302811 w 12191999"/>
              <a:gd name="connsiteY194" fmla="*/ 3317253 h 6858000"/>
              <a:gd name="connsiteX195" fmla="*/ 7286548 w 12191999"/>
              <a:gd name="connsiteY195" fmla="*/ 3309121 h 6858000"/>
              <a:gd name="connsiteX196" fmla="*/ 7281126 w 12191999"/>
              <a:gd name="connsiteY196" fmla="*/ 3285403 h 6858000"/>
              <a:gd name="connsiteX197" fmla="*/ 7281126 w 12191999"/>
              <a:gd name="connsiteY197" fmla="*/ 3276594 h 6858000"/>
              <a:gd name="connsiteX198" fmla="*/ 7287225 w 12191999"/>
              <a:gd name="connsiteY198" fmla="*/ 3253553 h 6858000"/>
              <a:gd name="connsiteX199" fmla="*/ 7304167 w 12191999"/>
              <a:gd name="connsiteY199" fmla="*/ 3245421 h 6858000"/>
              <a:gd name="connsiteX200" fmla="*/ 7318398 w 12191999"/>
              <a:gd name="connsiteY200" fmla="*/ 3250165 h 6858000"/>
              <a:gd name="connsiteX201" fmla="*/ 7324497 w 12191999"/>
              <a:gd name="connsiteY201" fmla="*/ 3265073 h 6858000"/>
              <a:gd name="connsiteX202" fmla="*/ 7340760 w 12191999"/>
              <a:gd name="connsiteY202" fmla="*/ 3265073 h 6858000"/>
              <a:gd name="connsiteX203" fmla="*/ 7329240 w 12191999"/>
              <a:gd name="connsiteY203" fmla="*/ 3240678 h 6858000"/>
              <a:gd name="connsiteX204" fmla="*/ 7303489 w 12191999"/>
              <a:gd name="connsiteY204" fmla="*/ 3231868 h 6858000"/>
              <a:gd name="connsiteX205" fmla="*/ 6856912 w 12191999"/>
              <a:gd name="connsiteY205" fmla="*/ 3231868 h 6858000"/>
              <a:gd name="connsiteX206" fmla="*/ 6832516 w 12191999"/>
              <a:gd name="connsiteY206" fmla="*/ 3239322 h 6858000"/>
              <a:gd name="connsiteX207" fmla="*/ 6823029 w 12191999"/>
              <a:gd name="connsiteY207" fmla="*/ 3258297 h 6858000"/>
              <a:gd name="connsiteX208" fmla="*/ 6835905 w 12191999"/>
              <a:gd name="connsiteY208" fmla="*/ 3279982 h 6858000"/>
              <a:gd name="connsiteX209" fmla="*/ 6854202 w 12191999"/>
              <a:gd name="connsiteY209" fmla="*/ 3287436 h 6858000"/>
              <a:gd name="connsiteX210" fmla="*/ 6870465 w 12191999"/>
              <a:gd name="connsiteY210" fmla="*/ 3294213 h 6858000"/>
              <a:gd name="connsiteX211" fmla="*/ 6875209 w 12191999"/>
              <a:gd name="connsiteY211" fmla="*/ 3303700 h 6858000"/>
              <a:gd name="connsiteX212" fmla="*/ 6870465 w 12191999"/>
              <a:gd name="connsiteY212" fmla="*/ 3312509 h 6858000"/>
              <a:gd name="connsiteX213" fmla="*/ 6857590 w 12191999"/>
              <a:gd name="connsiteY213" fmla="*/ 3315898 h 6858000"/>
              <a:gd name="connsiteX214" fmla="*/ 6842004 w 12191999"/>
              <a:gd name="connsiteY214" fmla="*/ 3311154 h 6858000"/>
              <a:gd name="connsiteX215" fmla="*/ 6836582 w 12191999"/>
              <a:gd name="connsiteY215" fmla="*/ 3298279 h 6858000"/>
              <a:gd name="connsiteX216" fmla="*/ 6819641 w 12191999"/>
              <a:gd name="connsiteY216" fmla="*/ 3298279 h 6858000"/>
              <a:gd name="connsiteX217" fmla="*/ 6824384 w 12191999"/>
              <a:gd name="connsiteY217" fmla="*/ 3313865 h 6858000"/>
              <a:gd name="connsiteX218" fmla="*/ 6837938 w 12191999"/>
              <a:gd name="connsiteY218" fmla="*/ 3324707 h 6858000"/>
              <a:gd name="connsiteX219" fmla="*/ 6856912 w 12191999"/>
              <a:gd name="connsiteY219" fmla="*/ 3328773 h 6858000"/>
              <a:gd name="connsiteX220" fmla="*/ 6881986 w 12191999"/>
              <a:gd name="connsiteY220" fmla="*/ 3321997 h 6858000"/>
              <a:gd name="connsiteX221" fmla="*/ 6891473 w 12191999"/>
              <a:gd name="connsiteY221" fmla="*/ 3303022 h 6858000"/>
              <a:gd name="connsiteX222" fmla="*/ 6888085 w 12191999"/>
              <a:gd name="connsiteY222" fmla="*/ 3290147 h 6858000"/>
              <a:gd name="connsiteX223" fmla="*/ 6877920 w 12191999"/>
              <a:gd name="connsiteY223" fmla="*/ 3280659 h 6858000"/>
              <a:gd name="connsiteX224" fmla="*/ 6860301 w 12191999"/>
              <a:gd name="connsiteY224" fmla="*/ 3273205 h 6858000"/>
              <a:gd name="connsiteX225" fmla="*/ 6844037 w 12191999"/>
              <a:gd name="connsiteY225" fmla="*/ 3266429 h 6858000"/>
              <a:gd name="connsiteX226" fmla="*/ 6839293 w 12191999"/>
              <a:gd name="connsiteY226" fmla="*/ 3257619 h 6858000"/>
              <a:gd name="connsiteX227" fmla="*/ 6844037 w 12191999"/>
              <a:gd name="connsiteY227" fmla="*/ 3248132 h 6858000"/>
              <a:gd name="connsiteX228" fmla="*/ 6856912 w 12191999"/>
              <a:gd name="connsiteY228" fmla="*/ 3244744 h 6858000"/>
              <a:gd name="connsiteX229" fmla="*/ 6870465 w 12191999"/>
              <a:gd name="connsiteY229" fmla="*/ 3248809 h 6858000"/>
              <a:gd name="connsiteX230" fmla="*/ 6875209 w 12191999"/>
              <a:gd name="connsiteY230" fmla="*/ 3260330 h 6858000"/>
              <a:gd name="connsiteX231" fmla="*/ 6891473 w 12191999"/>
              <a:gd name="connsiteY231" fmla="*/ 3260330 h 6858000"/>
              <a:gd name="connsiteX232" fmla="*/ 6886729 w 12191999"/>
              <a:gd name="connsiteY232" fmla="*/ 3245421 h 6858000"/>
              <a:gd name="connsiteX233" fmla="*/ 6874531 w 12191999"/>
              <a:gd name="connsiteY233" fmla="*/ 3235256 h 6858000"/>
              <a:gd name="connsiteX234" fmla="*/ 6856912 w 12191999"/>
              <a:gd name="connsiteY234" fmla="*/ 3231868 h 6858000"/>
              <a:gd name="connsiteX235" fmla="*/ 6398136 w 12191999"/>
              <a:gd name="connsiteY235" fmla="*/ 3231868 h 6858000"/>
              <a:gd name="connsiteX236" fmla="*/ 6377128 w 12191999"/>
              <a:gd name="connsiteY236" fmla="*/ 3237289 h 6858000"/>
              <a:gd name="connsiteX237" fmla="*/ 6362898 w 12191999"/>
              <a:gd name="connsiteY237" fmla="*/ 3253553 h 6858000"/>
              <a:gd name="connsiteX238" fmla="*/ 6358154 w 12191999"/>
              <a:gd name="connsiteY238" fmla="*/ 3277949 h 6858000"/>
              <a:gd name="connsiteX239" fmla="*/ 6358154 w 12191999"/>
              <a:gd name="connsiteY239" fmla="*/ 3283370 h 6858000"/>
              <a:gd name="connsiteX240" fmla="*/ 6362898 w 12191999"/>
              <a:gd name="connsiteY240" fmla="*/ 3307766 h 6858000"/>
              <a:gd name="connsiteX241" fmla="*/ 6377128 w 12191999"/>
              <a:gd name="connsiteY241" fmla="*/ 3324030 h 6858000"/>
              <a:gd name="connsiteX242" fmla="*/ 6398136 w 12191999"/>
              <a:gd name="connsiteY242" fmla="*/ 3329451 h 6858000"/>
              <a:gd name="connsiteX243" fmla="*/ 6419143 w 12191999"/>
              <a:gd name="connsiteY243" fmla="*/ 3324030 h 6858000"/>
              <a:gd name="connsiteX244" fmla="*/ 6432697 w 12191999"/>
              <a:gd name="connsiteY244" fmla="*/ 3307766 h 6858000"/>
              <a:gd name="connsiteX245" fmla="*/ 6437440 w 12191999"/>
              <a:gd name="connsiteY245" fmla="*/ 3283370 h 6858000"/>
              <a:gd name="connsiteX246" fmla="*/ 6438118 w 12191999"/>
              <a:gd name="connsiteY246" fmla="*/ 3283370 h 6858000"/>
              <a:gd name="connsiteX247" fmla="*/ 6438118 w 12191999"/>
              <a:gd name="connsiteY247" fmla="*/ 3277949 h 6858000"/>
              <a:gd name="connsiteX248" fmla="*/ 6433374 w 12191999"/>
              <a:gd name="connsiteY248" fmla="*/ 3253553 h 6858000"/>
              <a:gd name="connsiteX249" fmla="*/ 6419143 w 12191999"/>
              <a:gd name="connsiteY249" fmla="*/ 3237289 h 6858000"/>
              <a:gd name="connsiteX250" fmla="*/ 6398136 w 12191999"/>
              <a:gd name="connsiteY250" fmla="*/ 3231868 h 6858000"/>
              <a:gd name="connsiteX251" fmla="*/ 4832065 w 12191999"/>
              <a:gd name="connsiteY251" fmla="*/ 3231868 h 6858000"/>
              <a:gd name="connsiteX252" fmla="*/ 4811057 w 12191999"/>
              <a:gd name="connsiteY252" fmla="*/ 3237289 h 6858000"/>
              <a:gd name="connsiteX253" fmla="*/ 4796828 w 12191999"/>
              <a:gd name="connsiteY253" fmla="*/ 3253553 h 6858000"/>
              <a:gd name="connsiteX254" fmla="*/ 4792083 w 12191999"/>
              <a:gd name="connsiteY254" fmla="*/ 3277949 h 6858000"/>
              <a:gd name="connsiteX255" fmla="*/ 4792083 w 12191999"/>
              <a:gd name="connsiteY255" fmla="*/ 3283370 h 6858000"/>
              <a:gd name="connsiteX256" fmla="*/ 4796828 w 12191999"/>
              <a:gd name="connsiteY256" fmla="*/ 3307766 h 6858000"/>
              <a:gd name="connsiteX257" fmla="*/ 4811057 w 12191999"/>
              <a:gd name="connsiteY257" fmla="*/ 3324030 h 6858000"/>
              <a:gd name="connsiteX258" fmla="*/ 4832065 w 12191999"/>
              <a:gd name="connsiteY258" fmla="*/ 3329451 h 6858000"/>
              <a:gd name="connsiteX259" fmla="*/ 4853072 w 12191999"/>
              <a:gd name="connsiteY259" fmla="*/ 3324030 h 6858000"/>
              <a:gd name="connsiteX260" fmla="*/ 4866626 w 12191999"/>
              <a:gd name="connsiteY260" fmla="*/ 3307766 h 6858000"/>
              <a:gd name="connsiteX261" fmla="*/ 4871369 w 12191999"/>
              <a:gd name="connsiteY261" fmla="*/ 3283370 h 6858000"/>
              <a:gd name="connsiteX262" fmla="*/ 4872047 w 12191999"/>
              <a:gd name="connsiteY262" fmla="*/ 3283370 h 6858000"/>
              <a:gd name="connsiteX263" fmla="*/ 4872047 w 12191999"/>
              <a:gd name="connsiteY263" fmla="*/ 3277949 h 6858000"/>
              <a:gd name="connsiteX264" fmla="*/ 4867303 w 12191999"/>
              <a:gd name="connsiteY264" fmla="*/ 3253553 h 6858000"/>
              <a:gd name="connsiteX265" fmla="*/ 4853072 w 12191999"/>
              <a:gd name="connsiteY265" fmla="*/ 3237289 h 6858000"/>
              <a:gd name="connsiteX266" fmla="*/ 4832065 w 12191999"/>
              <a:gd name="connsiteY266" fmla="*/ 3231868 h 6858000"/>
              <a:gd name="connsiteX267" fmla="*/ 6570939 w 12191999"/>
              <a:gd name="connsiteY267" fmla="*/ 3231190 h 6858000"/>
              <a:gd name="connsiteX268" fmla="*/ 6541800 w 12191999"/>
              <a:gd name="connsiteY268" fmla="*/ 3243388 h 6858000"/>
              <a:gd name="connsiteX269" fmla="*/ 6531635 w 12191999"/>
              <a:gd name="connsiteY269" fmla="*/ 3277271 h 6858000"/>
              <a:gd name="connsiteX270" fmla="*/ 6531635 w 12191999"/>
              <a:gd name="connsiteY270" fmla="*/ 3284725 h 6858000"/>
              <a:gd name="connsiteX271" fmla="*/ 6537056 w 12191999"/>
              <a:gd name="connsiteY271" fmla="*/ 3308443 h 6858000"/>
              <a:gd name="connsiteX272" fmla="*/ 6551287 w 12191999"/>
              <a:gd name="connsiteY272" fmla="*/ 3324029 h 6858000"/>
              <a:gd name="connsiteX273" fmla="*/ 6572295 w 12191999"/>
              <a:gd name="connsiteY273" fmla="*/ 3329451 h 6858000"/>
              <a:gd name="connsiteX274" fmla="*/ 6593302 w 12191999"/>
              <a:gd name="connsiteY274" fmla="*/ 3326062 h 6858000"/>
              <a:gd name="connsiteX275" fmla="*/ 6607533 w 12191999"/>
              <a:gd name="connsiteY275" fmla="*/ 3315897 h 6858000"/>
              <a:gd name="connsiteX276" fmla="*/ 6607533 w 12191999"/>
              <a:gd name="connsiteY276" fmla="*/ 3279304 h 6858000"/>
              <a:gd name="connsiteX277" fmla="*/ 6571617 w 12191999"/>
              <a:gd name="connsiteY277" fmla="*/ 3279304 h 6858000"/>
              <a:gd name="connsiteX278" fmla="*/ 6571617 w 12191999"/>
              <a:gd name="connsiteY278" fmla="*/ 3292179 h 6858000"/>
              <a:gd name="connsiteX279" fmla="*/ 6591269 w 12191999"/>
              <a:gd name="connsiteY279" fmla="*/ 3292179 h 6858000"/>
              <a:gd name="connsiteX280" fmla="*/ 6591269 w 12191999"/>
              <a:gd name="connsiteY280" fmla="*/ 3311154 h 6858000"/>
              <a:gd name="connsiteX281" fmla="*/ 6572972 w 12191999"/>
              <a:gd name="connsiteY281" fmla="*/ 3317253 h 6858000"/>
              <a:gd name="connsiteX282" fmla="*/ 6554675 w 12191999"/>
              <a:gd name="connsiteY282" fmla="*/ 3308443 h 6858000"/>
              <a:gd name="connsiteX283" fmla="*/ 6547899 w 12191999"/>
              <a:gd name="connsiteY283" fmla="*/ 3284725 h 6858000"/>
              <a:gd name="connsiteX284" fmla="*/ 6547899 w 12191999"/>
              <a:gd name="connsiteY284" fmla="*/ 3277271 h 6858000"/>
              <a:gd name="connsiteX285" fmla="*/ 6553998 w 12191999"/>
              <a:gd name="connsiteY285" fmla="*/ 3253553 h 6858000"/>
              <a:gd name="connsiteX286" fmla="*/ 6570939 w 12191999"/>
              <a:gd name="connsiteY286" fmla="*/ 3245421 h 6858000"/>
              <a:gd name="connsiteX287" fmla="*/ 6591269 w 12191999"/>
              <a:gd name="connsiteY287" fmla="*/ 3262362 h 6858000"/>
              <a:gd name="connsiteX288" fmla="*/ 6607533 w 12191999"/>
              <a:gd name="connsiteY288" fmla="*/ 3262362 h 6858000"/>
              <a:gd name="connsiteX289" fmla="*/ 6596013 w 12191999"/>
              <a:gd name="connsiteY289" fmla="*/ 3239322 h 6858000"/>
              <a:gd name="connsiteX290" fmla="*/ 6570939 w 12191999"/>
              <a:gd name="connsiteY290" fmla="*/ 3231190 h 6858000"/>
              <a:gd name="connsiteX291" fmla="*/ 6488943 w 12191999"/>
              <a:gd name="connsiteY291" fmla="*/ 3019083 h 6858000"/>
              <a:gd name="connsiteX292" fmla="*/ 6550610 w 12191999"/>
              <a:gd name="connsiteY292" fmla="*/ 3019083 h 6858000"/>
              <a:gd name="connsiteX293" fmla="*/ 6550610 w 12191999"/>
              <a:gd name="connsiteY293" fmla="*/ 3076006 h 6858000"/>
              <a:gd name="connsiteX294" fmla="*/ 6488943 w 12191999"/>
              <a:gd name="connsiteY294" fmla="*/ 3076006 h 6858000"/>
              <a:gd name="connsiteX295" fmla="*/ 6476745 w 12191999"/>
              <a:gd name="connsiteY295" fmla="*/ 3063808 h 6858000"/>
              <a:gd name="connsiteX296" fmla="*/ 6476745 w 12191999"/>
              <a:gd name="connsiteY296" fmla="*/ 3031281 h 6858000"/>
              <a:gd name="connsiteX297" fmla="*/ 6488943 w 12191999"/>
              <a:gd name="connsiteY297" fmla="*/ 3019083 h 6858000"/>
              <a:gd name="connsiteX298" fmla="*/ 5127526 w 12191999"/>
              <a:gd name="connsiteY298" fmla="*/ 2880163 h 6858000"/>
              <a:gd name="connsiteX299" fmla="*/ 5176316 w 12191999"/>
              <a:gd name="connsiteY299" fmla="*/ 2880163 h 6858000"/>
              <a:gd name="connsiteX300" fmla="*/ 5188515 w 12191999"/>
              <a:gd name="connsiteY300" fmla="*/ 2892361 h 6858000"/>
              <a:gd name="connsiteX301" fmla="*/ 5188515 w 12191999"/>
              <a:gd name="connsiteY301" fmla="*/ 2937764 h 6858000"/>
              <a:gd name="connsiteX302" fmla="*/ 5115327 w 12191999"/>
              <a:gd name="connsiteY302" fmla="*/ 2937764 h 6858000"/>
              <a:gd name="connsiteX303" fmla="*/ 5115327 w 12191999"/>
              <a:gd name="connsiteY303" fmla="*/ 2892361 h 6858000"/>
              <a:gd name="connsiteX304" fmla="*/ 5127526 w 12191999"/>
              <a:gd name="connsiteY304" fmla="*/ 2880163 h 6858000"/>
              <a:gd name="connsiteX305" fmla="*/ 7131364 w 12191999"/>
              <a:gd name="connsiteY305" fmla="*/ 2798166 h 6858000"/>
              <a:gd name="connsiteX306" fmla="*/ 7131364 w 12191999"/>
              <a:gd name="connsiteY306" fmla="*/ 3158003 h 6858000"/>
              <a:gd name="connsiteX307" fmla="*/ 7262152 w 12191999"/>
              <a:gd name="connsiteY307" fmla="*/ 3158003 h 6858000"/>
              <a:gd name="connsiteX308" fmla="*/ 7262830 w 12191999"/>
              <a:gd name="connsiteY308" fmla="*/ 2879485 h 6858000"/>
              <a:gd name="connsiteX309" fmla="*/ 7291292 w 12191999"/>
              <a:gd name="connsiteY309" fmla="*/ 2879485 h 6858000"/>
              <a:gd name="connsiteX310" fmla="*/ 7310944 w 12191999"/>
              <a:gd name="connsiteY310" fmla="*/ 2904558 h 6858000"/>
              <a:gd name="connsiteX311" fmla="*/ 7369223 w 12191999"/>
              <a:gd name="connsiteY311" fmla="*/ 3158003 h 6858000"/>
              <a:gd name="connsiteX312" fmla="*/ 7503399 w 12191999"/>
              <a:gd name="connsiteY312" fmla="*/ 3158003 h 6858000"/>
              <a:gd name="connsiteX313" fmla="*/ 7429534 w 12191999"/>
              <a:gd name="connsiteY313" fmla="*/ 2838826 h 6858000"/>
              <a:gd name="connsiteX314" fmla="*/ 7377354 w 12191999"/>
              <a:gd name="connsiteY314" fmla="*/ 2798166 h 6858000"/>
              <a:gd name="connsiteX315" fmla="*/ 7131364 w 12191999"/>
              <a:gd name="connsiteY315" fmla="*/ 2798166 h 6858000"/>
              <a:gd name="connsiteX316" fmla="*/ 6736966 w 12191999"/>
              <a:gd name="connsiteY316" fmla="*/ 2798166 h 6858000"/>
              <a:gd name="connsiteX317" fmla="*/ 6736966 w 12191999"/>
              <a:gd name="connsiteY317" fmla="*/ 3158003 h 6858000"/>
              <a:gd name="connsiteX318" fmla="*/ 6867754 w 12191999"/>
              <a:gd name="connsiteY318" fmla="*/ 3158003 h 6858000"/>
              <a:gd name="connsiteX319" fmla="*/ 6868432 w 12191999"/>
              <a:gd name="connsiteY319" fmla="*/ 3158003 h 6858000"/>
              <a:gd name="connsiteX320" fmla="*/ 6868432 w 12191999"/>
              <a:gd name="connsiteY320" fmla="*/ 2879485 h 6858000"/>
              <a:gd name="connsiteX321" fmla="*/ 6896894 w 12191999"/>
              <a:gd name="connsiteY321" fmla="*/ 2879485 h 6858000"/>
              <a:gd name="connsiteX322" fmla="*/ 6916546 w 12191999"/>
              <a:gd name="connsiteY322" fmla="*/ 2904558 h 6858000"/>
              <a:gd name="connsiteX323" fmla="*/ 6974825 w 12191999"/>
              <a:gd name="connsiteY323" fmla="*/ 3158003 h 6858000"/>
              <a:gd name="connsiteX324" fmla="*/ 7109001 w 12191999"/>
              <a:gd name="connsiteY324" fmla="*/ 3158003 h 6858000"/>
              <a:gd name="connsiteX325" fmla="*/ 7035136 w 12191999"/>
              <a:gd name="connsiteY325" fmla="*/ 2838826 h 6858000"/>
              <a:gd name="connsiteX326" fmla="*/ 6982957 w 12191999"/>
              <a:gd name="connsiteY326" fmla="*/ 2798166 h 6858000"/>
              <a:gd name="connsiteX327" fmla="*/ 6736966 w 12191999"/>
              <a:gd name="connsiteY327" fmla="*/ 2798166 h 6858000"/>
              <a:gd name="connsiteX328" fmla="*/ 6387294 w 12191999"/>
              <a:gd name="connsiteY328" fmla="*/ 2798166 h 6858000"/>
              <a:gd name="connsiteX329" fmla="*/ 6346634 w 12191999"/>
              <a:gd name="connsiteY329" fmla="*/ 2838826 h 6858000"/>
              <a:gd name="connsiteX330" fmla="*/ 6346634 w 12191999"/>
              <a:gd name="connsiteY330" fmla="*/ 2880840 h 6858000"/>
              <a:gd name="connsiteX331" fmla="*/ 6539090 w 12191999"/>
              <a:gd name="connsiteY331" fmla="*/ 2880840 h 6858000"/>
              <a:gd name="connsiteX332" fmla="*/ 6551287 w 12191999"/>
              <a:gd name="connsiteY332" fmla="*/ 2893038 h 6858000"/>
              <a:gd name="connsiteX333" fmla="*/ 6551287 w 12191999"/>
              <a:gd name="connsiteY333" fmla="*/ 2937764 h 6858000"/>
              <a:gd name="connsiteX334" fmla="*/ 6387294 w 12191999"/>
              <a:gd name="connsiteY334" fmla="*/ 2937764 h 6858000"/>
              <a:gd name="connsiteX335" fmla="*/ 6346634 w 12191999"/>
              <a:gd name="connsiteY335" fmla="*/ 2978423 h 6858000"/>
              <a:gd name="connsiteX336" fmla="*/ 6346634 w 12191999"/>
              <a:gd name="connsiteY336" fmla="*/ 3117343 h 6858000"/>
              <a:gd name="connsiteX337" fmla="*/ 6387294 w 12191999"/>
              <a:gd name="connsiteY337" fmla="*/ 3158003 h 6858000"/>
              <a:gd name="connsiteX338" fmla="*/ 6681398 w 12191999"/>
              <a:gd name="connsiteY338" fmla="*/ 3158003 h 6858000"/>
              <a:gd name="connsiteX339" fmla="*/ 6681398 w 12191999"/>
              <a:gd name="connsiteY339" fmla="*/ 2838826 h 6858000"/>
              <a:gd name="connsiteX340" fmla="*/ 6640738 w 12191999"/>
              <a:gd name="connsiteY340" fmla="*/ 2798166 h 6858000"/>
              <a:gd name="connsiteX341" fmla="*/ 5746228 w 12191999"/>
              <a:gd name="connsiteY341" fmla="*/ 2798166 h 6858000"/>
              <a:gd name="connsiteX342" fmla="*/ 5746228 w 12191999"/>
              <a:gd name="connsiteY342" fmla="*/ 3158003 h 6858000"/>
              <a:gd name="connsiteX343" fmla="*/ 5877016 w 12191999"/>
              <a:gd name="connsiteY343" fmla="*/ 3158003 h 6858000"/>
              <a:gd name="connsiteX344" fmla="*/ 5877016 w 12191999"/>
              <a:gd name="connsiteY344" fmla="*/ 2880163 h 6858000"/>
              <a:gd name="connsiteX345" fmla="*/ 5950881 w 12191999"/>
              <a:gd name="connsiteY345" fmla="*/ 2880163 h 6858000"/>
              <a:gd name="connsiteX346" fmla="*/ 5951559 w 12191999"/>
              <a:gd name="connsiteY346" fmla="*/ 3158003 h 6858000"/>
              <a:gd name="connsiteX347" fmla="*/ 6082347 w 12191999"/>
              <a:gd name="connsiteY347" fmla="*/ 3158003 h 6858000"/>
              <a:gd name="connsiteX348" fmla="*/ 6082347 w 12191999"/>
              <a:gd name="connsiteY348" fmla="*/ 2880163 h 6858000"/>
              <a:gd name="connsiteX349" fmla="*/ 6110809 w 12191999"/>
              <a:gd name="connsiteY349" fmla="*/ 2880163 h 6858000"/>
              <a:gd name="connsiteX350" fmla="*/ 6130461 w 12191999"/>
              <a:gd name="connsiteY350" fmla="*/ 2905236 h 6858000"/>
              <a:gd name="connsiteX351" fmla="*/ 6188062 w 12191999"/>
              <a:gd name="connsiteY351" fmla="*/ 3158003 h 6858000"/>
              <a:gd name="connsiteX352" fmla="*/ 6322239 w 12191999"/>
              <a:gd name="connsiteY352" fmla="*/ 3158003 h 6858000"/>
              <a:gd name="connsiteX353" fmla="*/ 6248374 w 12191999"/>
              <a:gd name="connsiteY353" fmla="*/ 2838826 h 6858000"/>
              <a:gd name="connsiteX354" fmla="*/ 6196194 w 12191999"/>
              <a:gd name="connsiteY354" fmla="*/ 2798166 h 6858000"/>
              <a:gd name="connsiteX355" fmla="*/ 5746228 w 12191999"/>
              <a:gd name="connsiteY355" fmla="*/ 2798166 h 6858000"/>
              <a:gd name="connsiteX356" fmla="*/ 5025876 w 12191999"/>
              <a:gd name="connsiteY356" fmla="*/ 2798166 h 6858000"/>
              <a:gd name="connsiteX357" fmla="*/ 4985216 w 12191999"/>
              <a:gd name="connsiteY357" fmla="*/ 2838826 h 6858000"/>
              <a:gd name="connsiteX358" fmla="*/ 4985216 w 12191999"/>
              <a:gd name="connsiteY358" fmla="*/ 3117343 h 6858000"/>
              <a:gd name="connsiteX359" fmla="*/ 5025876 w 12191999"/>
              <a:gd name="connsiteY359" fmla="*/ 3158003 h 6858000"/>
              <a:gd name="connsiteX360" fmla="*/ 5279320 w 12191999"/>
              <a:gd name="connsiteY360" fmla="*/ 3158003 h 6858000"/>
              <a:gd name="connsiteX361" fmla="*/ 5319981 w 12191999"/>
              <a:gd name="connsiteY361" fmla="*/ 3117343 h 6858000"/>
              <a:gd name="connsiteX362" fmla="*/ 5319981 w 12191999"/>
              <a:gd name="connsiteY362" fmla="*/ 3076684 h 6858000"/>
              <a:gd name="connsiteX363" fmla="*/ 5127526 w 12191999"/>
              <a:gd name="connsiteY363" fmla="*/ 3076684 h 6858000"/>
              <a:gd name="connsiteX364" fmla="*/ 5115327 w 12191999"/>
              <a:gd name="connsiteY364" fmla="*/ 3064486 h 6858000"/>
              <a:gd name="connsiteX365" fmla="*/ 5115327 w 12191999"/>
              <a:gd name="connsiteY365" fmla="*/ 3019761 h 6858000"/>
              <a:gd name="connsiteX366" fmla="*/ 5319981 w 12191999"/>
              <a:gd name="connsiteY366" fmla="*/ 3019761 h 6858000"/>
              <a:gd name="connsiteX367" fmla="*/ 5319981 w 12191999"/>
              <a:gd name="connsiteY367" fmla="*/ 2838826 h 6858000"/>
              <a:gd name="connsiteX368" fmla="*/ 5279320 w 12191999"/>
              <a:gd name="connsiteY368" fmla="*/ 2798166 h 6858000"/>
              <a:gd name="connsiteX369" fmla="*/ 5561227 w 12191999"/>
              <a:gd name="connsiteY369" fmla="*/ 2651114 h 6858000"/>
              <a:gd name="connsiteX370" fmla="*/ 5560549 w 12191999"/>
              <a:gd name="connsiteY370" fmla="*/ 3158003 h 6858000"/>
              <a:gd name="connsiteX371" fmla="*/ 5692015 w 12191999"/>
              <a:gd name="connsiteY371" fmla="*/ 3158003 h 6858000"/>
              <a:gd name="connsiteX372" fmla="*/ 5692015 w 12191999"/>
              <a:gd name="connsiteY372" fmla="*/ 2651114 h 6858000"/>
              <a:gd name="connsiteX373" fmla="*/ 5374870 w 12191999"/>
              <a:gd name="connsiteY373" fmla="*/ 2651114 h 6858000"/>
              <a:gd name="connsiteX374" fmla="*/ 5374870 w 12191999"/>
              <a:gd name="connsiteY374" fmla="*/ 3158003 h 6858000"/>
              <a:gd name="connsiteX375" fmla="*/ 5505658 w 12191999"/>
              <a:gd name="connsiteY375" fmla="*/ 3158003 h 6858000"/>
              <a:gd name="connsiteX376" fmla="*/ 5505658 w 12191999"/>
              <a:gd name="connsiteY376" fmla="*/ 2651114 h 6858000"/>
              <a:gd name="connsiteX377" fmla="*/ 4589463 w 12191999"/>
              <a:gd name="connsiteY377" fmla="*/ 2650436 h 6858000"/>
              <a:gd name="connsiteX378" fmla="*/ 4589463 w 12191999"/>
              <a:gd name="connsiteY378" fmla="*/ 3158003 h 6858000"/>
              <a:gd name="connsiteX379" fmla="*/ 4720251 w 12191999"/>
              <a:gd name="connsiteY379" fmla="*/ 3158003 h 6858000"/>
              <a:gd name="connsiteX380" fmla="*/ 4720929 w 12191999"/>
              <a:gd name="connsiteY380" fmla="*/ 2878807 h 6858000"/>
              <a:gd name="connsiteX381" fmla="*/ 4749391 w 12191999"/>
              <a:gd name="connsiteY381" fmla="*/ 2878807 h 6858000"/>
              <a:gd name="connsiteX382" fmla="*/ 4769043 w 12191999"/>
              <a:gd name="connsiteY382" fmla="*/ 2903881 h 6858000"/>
              <a:gd name="connsiteX383" fmla="*/ 4827322 w 12191999"/>
              <a:gd name="connsiteY383" fmla="*/ 3157325 h 6858000"/>
              <a:gd name="connsiteX384" fmla="*/ 4961498 w 12191999"/>
              <a:gd name="connsiteY384" fmla="*/ 3157325 h 6858000"/>
              <a:gd name="connsiteX385" fmla="*/ 4887633 w 12191999"/>
              <a:gd name="connsiteY385" fmla="*/ 2838148 h 6858000"/>
              <a:gd name="connsiteX386" fmla="*/ 4835453 w 12191999"/>
              <a:gd name="connsiteY386" fmla="*/ 2797488 h 6858000"/>
              <a:gd name="connsiteX387" fmla="*/ 4720929 w 12191999"/>
              <a:gd name="connsiteY387" fmla="*/ 2797488 h 6858000"/>
              <a:gd name="connsiteX388" fmla="*/ 4720251 w 12191999"/>
              <a:gd name="connsiteY388" fmla="*/ 2650436 h 6858000"/>
              <a:gd name="connsiteX389" fmla="*/ 7537283 w 12191999"/>
              <a:gd name="connsiteY389" fmla="*/ 2567085 h 6858000"/>
              <a:gd name="connsiteX390" fmla="*/ 7647741 w 12191999"/>
              <a:gd name="connsiteY390" fmla="*/ 2678221 h 6858000"/>
              <a:gd name="connsiteX391" fmla="*/ 7535927 w 12191999"/>
              <a:gd name="connsiteY391" fmla="*/ 2790712 h 6858000"/>
              <a:gd name="connsiteX392" fmla="*/ 7480359 w 12191999"/>
              <a:gd name="connsiteY392" fmla="*/ 2775804 h 6858000"/>
              <a:gd name="connsiteX393" fmla="*/ 7502722 w 12191999"/>
              <a:gd name="connsiteY393" fmla="*/ 2773093 h 6858000"/>
              <a:gd name="connsiteX394" fmla="*/ 7524407 w 12191999"/>
              <a:gd name="connsiteY394" fmla="*/ 2765639 h 6858000"/>
              <a:gd name="connsiteX395" fmla="*/ 7550836 w 12191999"/>
              <a:gd name="connsiteY395" fmla="*/ 2748020 h 6858000"/>
              <a:gd name="connsiteX396" fmla="*/ 7569810 w 12191999"/>
              <a:gd name="connsiteY396" fmla="*/ 2731078 h 6858000"/>
              <a:gd name="connsiteX397" fmla="*/ 7592851 w 12191999"/>
              <a:gd name="connsiteY397" fmla="*/ 2718203 h 6858000"/>
              <a:gd name="connsiteX398" fmla="*/ 7601660 w 12191999"/>
              <a:gd name="connsiteY398" fmla="*/ 2716170 h 6858000"/>
              <a:gd name="connsiteX399" fmla="*/ 7617924 w 12191999"/>
              <a:gd name="connsiteY399" fmla="*/ 2712104 h 6858000"/>
              <a:gd name="connsiteX400" fmla="*/ 7630122 w 12191999"/>
              <a:gd name="connsiteY400" fmla="*/ 2708716 h 6858000"/>
              <a:gd name="connsiteX401" fmla="*/ 7631477 w 12191999"/>
              <a:gd name="connsiteY401" fmla="*/ 2707360 h 6858000"/>
              <a:gd name="connsiteX402" fmla="*/ 7629444 w 12191999"/>
              <a:gd name="connsiteY402" fmla="*/ 2706005 h 6858000"/>
              <a:gd name="connsiteX403" fmla="*/ 7613858 w 12191999"/>
              <a:gd name="connsiteY403" fmla="*/ 2700584 h 6858000"/>
              <a:gd name="connsiteX404" fmla="*/ 7603693 w 12191999"/>
              <a:gd name="connsiteY404" fmla="*/ 2700584 h 6858000"/>
              <a:gd name="connsiteX405" fmla="*/ 7590140 w 12191999"/>
              <a:gd name="connsiteY405" fmla="*/ 2708038 h 6858000"/>
              <a:gd name="connsiteX406" fmla="*/ 7568455 w 12191999"/>
              <a:gd name="connsiteY406" fmla="*/ 2720913 h 6858000"/>
              <a:gd name="connsiteX407" fmla="*/ 7550836 w 12191999"/>
              <a:gd name="connsiteY407" fmla="*/ 2725657 h 6858000"/>
              <a:gd name="connsiteX408" fmla="*/ 7546092 w 12191999"/>
              <a:gd name="connsiteY408" fmla="*/ 2725657 h 6858000"/>
              <a:gd name="connsiteX409" fmla="*/ 7560323 w 12191999"/>
              <a:gd name="connsiteY409" fmla="*/ 2714137 h 6858000"/>
              <a:gd name="connsiteX410" fmla="*/ 7569810 w 12191999"/>
              <a:gd name="connsiteY410" fmla="*/ 2702617 h 6858000"/>
              <a:gd name="connsiteX411" fmla="*/ 7586752 w 12191999"/>
              <a:gd name="connsiteY411" fmla="*/ 2690419 h 6858000"/>
              <a:gd name="connsiteX412" fmla="*/ 7600983 w 12191999"/>
              <a:gd name="connsiteY412" fmla="*/ 2682287 h 6858000"/>
              <a:gd name="connsiteX413" fmla="*/ 7609792 w 12191999"/>
              <a:gd name="connsiteY413" fmla="*/ 2678899 h 6858000"/>
              <a:gd name="connsiteX414" fmla="*/ 7615891 w 12191999"/>
              <a:gd name="connsiteY414" fmla="*/ 2678221 h 6858000"/>
              <a:gd name="connsiteX415" fmla="*/ 7632833 w 12191999"/>
              <a:gd name="connsiteY415" fmla="*/ 2672122 h 6858000"/>
              <a:gd name="connsiteX416" fmla="*/ 7640287 w 12191999"/>
              <a:gd name="connsiteY416" fmla="*/ 2670089 h 6858000"/>
              <a:gd name="connsiteX417" fmla="*/ 7640964 w 12191999"/>
              <a:gd name="connsiteY417" fmla="*/ 2668734 h 6858000"/>
              <a:gd name="connsiteX418" fmla="*/ 7640287 w 12191999"/>
              <a:gd name="connsiteY418" fmla="*/ 2668056 h 6858000"/>
              <a:gd name="connsiteX419" fmla="*/ 7621312 w 12191999"/>
              <a:gd name="connsiteY419" fmla="*/ 2663312 h 6858000"/>
              <a:gd name="connsiteX420" fmla="*/ 7605726 w 12191999"/>
              <a:gd name="connsiteY420" fmla="*/ 2665345 h 6858000"/>
              <a:gd name="connsiteX421" fmla="*/ 7592173 w 12191999"/>
              <a:gd name="connsiteY421" fmla="*/ 2675510 h 6858000"/>
              <a:gd name="connsiteX422" fmla="*/ 7588107 w 12191999"/>
              <a:gd name="connsiteY422" fmla="*/ 2678221 h 6858000"/>
              <a:gd name="connsiteX423" fmla="*/ 7570488 w 12191999"/>
              <a:gd name="connsiteY423" fmla="*/ 2687031 h 6858000"/>
              <a:gd name="connsiteX424" fmla="*/ 7552191 w 12191999"/>
              <a:gd name="connsiteY424" fmla="*/ 2689741 h 6858000"/>
              <a:gd name="connsiteX425" fmla="*/ 7546770 w 12191999"/>
              <a:gd name="connsiteY425" fmla="*/ 2686353 h 6858000"/>
              <a:gd name="connsiteX426" fmla="*/ 7544737 w 12191999"/>
              <a:gd name="connsiteY426" fmla="*/ 2678221 h 6858000"/>
              <a:gd name="connsiteX427" fmla="*/ 7544059 w 12191999"/>
              <a:gd name="connsiteY427" fmla="*/ 2672800 h 6858000"/>
              <a:gd name="connsiteX428" fmla="*/ 7544737 w 12191999"/>
              <a:gd name="connsiteY428" fmla="*/ 2657214 h 6858000"/>
              <a:gd name="connsiteX429" fmla="*/ 7546092 w 12191999"/>
              <a:gd name="connsiteY429" fmla="*/ 2642983 h 6858000"/>
              <a:gd name="connsiteX430" fmla="*/ 7526440 w 12191999"/>
              <a:gd name="connsiteY430" fmla="*/ 2623331 h 6858000"/>
              <a:gd name="connsiteX431" fmla="*/ 7493235 w 12191999"/>
              <a:gd name="connsiteY431" fmla="*/ 2584704 h 6858000"/>
              <a:gd name="connsiteX432" fmla="*/ 7491202 w 12191999"/>
              <a:gd name="connsiteY432" fmla="*/ 2581316 h 6858000"/>
              <a:gd name="connsiteX433" fmla="*/ 7489169 w 12191999"/>
              <a:gd name="connsiteY433" fmla="*/ 2582671 h 6858000"/>
              <a:gd name="connsiteX434" fmla="*/ 7483070 w 12191999"/>
              <a:gd name="connsiteY434" fmla="*/ 2608422 h 6858000"/>
              <a:gd name="connsiteX435" fmla="*/ 7495945 w 12191999"/>
              <a:gd name="connsiteY435" fmla="*/ 2633495 h 6858000"/>
              <a:gd name="connsiteX436" fmla="*/ 7505433 w 12191999"/>
              <a:gd name="connsiteY436" fmla="*/ 2647049 h 6858000"/>
              <a:gd name="connsiteX437" fmla="*/ 7507466 w 12191999"/>
              <a:gd name="connsiteY437" fmla="*/ 2659924 h 6858000"/>
              <a:gd name="connsiteX438" fmla="*/ 7497301 w 12191999"/>
              <a:gd name="connsiteY438" fmla="*/ 2652470 h 6858000"/>
              <a:gd name="connsiteX439" fmla="*/ 7487136 w 12191999"/>
              <a:gd name="connsiteY439" fmla="*/ 2645016 h 6858000"/>
              <a:gd name="connsiteX440" fmla="*/ 7466128 w 12191999"/>
              <a:gd name="connsiteY440" fmla="*/ 2626719 h 6858000"/>
              <a:gd name="connsiteX441" fmla="*/ 7464773 w 12191999"/>
              <a:gd name="connsiteY441" fmla="*/ 2626719 h 6858000"/>
              <a:gd name="connsiteX442" fmla="*/ 7463418 w 12191999"/>
              <a:gd name="connsiteY442" fmla="*/ 2629429 h 6858000"/>
              <a:gd name="connsiteX443" fmla="*/ 7467484 w 12191999"/>
              <a:gd name="connsiteY443" fmla="*/ 2661957 h 6858000"/>
              <a:gd name="connsiteX444" fmla="*/ 7480359 w 12191999"/>
              <a:gd name="connsiteY444" fmla="*/ 2676866 h 6858000"/>
              <a:gd name="connsiteX445" fmla="*/ 7489846 w 12191999"/>
              <a:gd name="connsiteY445" fmla="*/ 2685675 h 6858000"/>
              <a:gd name="connsiteX446" fmla="*/ 7496623 w 12191999"/>
              <a:gd name="connsiteY446" fmla="*/ 2695840 h 6858000"/>
              <a:gd name="connsiteX447" fmla="*/ 7493912 w 12191999"/>
              <a:gd name="connsiteY447" fmla="*/ 2708716 h 6858000"/>
              <a:gd name="connsiteX448" fmla="*/ 7487814 w 12191999"/>
              <a:gd name="connsiteY448" fmla="*/ 2717525 h 6858000"/>
              <a:gd name="connsiteX449" fmla="*/ 7472905 w 12191999"/>
              <a:gd name="connsiteY449" fmla="*/ 2718880 h 6858000"/>
              <a:gd name="connsiteX450" fmla="*/ 7466128 w 12191999"/>
              <a:gd name="connsiteY450" fmla="*/ 2724979 h 6858000"/>
              <a:gd name="connsiteX451" fmla="*/ 7462740 w 12191999"/>
              <a:gd name="connsiteY451" fmla="*/ 2735822 h 6858000"/>
              <a:gd name="connsiteX452" fmla="*/ 7466806 w 12191999"/>
              <a:gd name="connsiteY452" fmla="*/ 2746665 h 6858000"/>
              <a:gd name="connsiteX453" fmla="*/ 7469517 w 12191999"/>
              <a:gd name="connsiteY453" fmla="*/ 2748697 h 6858000"/>
              <a:gd name="connsiteX454" fmla="*/ 7475616 w 12191999"/>
              <a:gd name="connsiteY454" fmla="*/ 2745987 h 6858000"/>
              <a:gd name="connsiteX455" fmla="*/ 7499334 w 12191999"/>
              <a:gd name="connsiteY455" fmla="*/ 2732434 h 6858000"/>
              <a:gd name="connsiteX456" fmla="*/ 7487136 w 12191999"/>
              <a:gd name="connsiteY456" fmla="*/ 2743954 h 6858000"/>
              <a:gd name="connsiteX457" fmla="*/ 7460029 w 12191999"/>
              <a:gd name="connsiteY457" fmla="*/ 2755474 h 6858000"/>
              <a:gd name="connsiteX458" fmla="*/ 7455963 w 12191999"/>
              <a:gd name="connsiteY458" fmla="*/ 2754119 h 6858000"/>
              <a:gd name="connsiteX459" fmla="*/ 7426146 w 12191999"/>
              <a:gd name="connsiteY459" fmla="*/ 2678221 h 6858000"/>
              <a:gd name="connsiteX460" fmla="*/ 7537283 w 12191999"/>
              <a:gd name="connsiteY460" fmla="*/ 2567085 h 6858000"/>
              <a:gd name="connsiteX461" fmla="*/ 7535927 w 12191999"/>
              <a:gd name="connsiteY461" fmla="*/ 2552854 h 6858000"/>
              <a:gd name="connsiteX462" fmla="*/ 7409205 w 12191999"/>
              <a:gd name="connsiteY462" fmla="*/ 2679576 h 6858000"/>
              <a:gd name="connsiteX463" fmla="*/ 7535927 w 12191999"/>
              <a:gd name="connsiteY463" fmla="*/ 2806299 h 6858000"/>
              <a:gd name="connsiteX464" fmla="*/ 7662650 w 12191999"/>
              <a:gd name="connsiteY464" fmla="*/ 2679576 h 6858000"/>
              <a:gd name="connsiteX465" fmla="*/ 7535927 w 12191999"/>
              <a:gd name="connsiteY465" fmla="*/ 2552854 h 6858000"/>
              <a:gd name="connsiteX466" fmla="*/ 0 w 12191999"/>
              <a:gd name="connsiteY466" fmla="*/ 0 h 6858000"/>
              <a:gd name="connsiteX467" fmla="*/ 12191999 w 12191999"/>
              <a:gd name="connsiteY467" fmla="*/ 0 h 6858000"/>
              <a:gd name="connsiteX468" fmla="*/ 12191999 w 12191999"/>
              <a:gd name="connsiteY468" fmla="*/ 6858000 h 6858000"/>
              <a:gd name="connsiteX469" fmla="*/ 0 w 12191999"/>
              <a:gd name="connsiteY46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Lst>
            <a:rect l="l" t="t" r="r" b="b"/>
            <a:pathLst>
              <a:path w="12191999" h="6858000">
                <a:moveTo>
                  <a:pt x="5788920" y="3246099"/>
                </a:moveTo>
                <a:lnTo>
                  <a:pt x="5801118" y="3246099"/>
                </a:lnTo>
                <a:cubicBezTo>
                  <a:pt x="5809927" y="3246099"/>
                  <a:pt x="5816026" y="3248810"/>
                  <a:pt x="5820770" y="3254231"/>
                </a:cubicBezTo>
                <a:cubicBezTo>
                  <a:pt x="5825513" y="3259652"/>
                  <a:pt x="5827546" y="3267784"/>
                  <a:pt x="5827546" y="3277949"/>
                </a:cubicBezTo>
                <a:lnTo>
                  <a:pt x="5827546" y="3283370"/>
                </a:lnTo>
                <a:cubicBezTo>
                  <a:pt x="5826869" y="3293535"/>
                  <a:pt x="5824836" y="3301667"/>
                  <a:pt x="5820092" y="3307089"/>
                </a:cubicBezTo>
                <a:cubicBezTo>
                  <a:pt x="5815348" y="3312510"/>
                  <a:pt x="5808572" y="3315220"/>
                  <a:pt x="5799762" y="3315220"/>
                </a:cubicBezTo>
                <a:lnTo>
                  <a:pt x="5788920" y="3315220"/>
                </a:lnTo>
                <a:close/>
                <a:moveTo>
                  <a:pt x="5303038" y="3246099"/>
                </a:moveTo>
                <a:lnTo>
                  <a:pt x="5315236" y="3246099"/>
                </a:lnTo>
                <a:cubicBezTo>
                  <a:pt x="5324045" y="3246099"/>
                  <a:pt x="5330144" y="3248810"/>
                  <a:pt x="5334888" y="3254231"/>
                </a:cubicBezTo>
                <a:cubicBezTo>
                  <a:pt x="5339631" y="3259652"/>
                  <a:pt x="5341664" y="3267784"/>
                  <a:pt x="5341664" y="3277949"/>
                </a:cubicBezTo>
                <a:lnTo>
                  <a:pt x="5341664" y="3283370"/>
                </a:lnTo>
                <a:cubicBezTo>
                  <a:pt x="5340987" y="3293535"/>
                  <a:pt x="5338954" y="3301667"/>
                  <a:pt x="5334210" y="3307089"/>
                </a:cubicBezTo>
                <a:cubicBezTo>
                  <a:pt x="5329467" y="3312510"/>
                  <a:pt x="5322690" y="3315220"/>
                  <a:pt x="5313880" y="3315220"/>
                </a:cubicBezTo>
                <a:lnTo>
                  <a:pt x="5303038" y="3315220"/>
                </a:lnTo>
                <a:close/>
                <a:moveTo>
                  <a:pt x="4985215" y="3246099"/>
                </a:moveTo>
                <a:lnTo>
                  <a:pt x="5002835" y="3246099"/>
                </a:lnTo>
                <a:cubicBezTo>
                  <a:pt x="5008256" y="3246099"/>
                  <a:pt x="5013000" y="3246777"/>
                  <a:pt x="5015710" y="3250165"/>
                </a:cubicBezTo>
                <a:cubicBezTo>
                  <a:pt x="5018421" y="3253553"/>
                  <a:pt x="5019776" y="3256942"/>
                  <a:pt x="5019776" y="3262363"/>
                </a:cubicBezTo>
                <a:cubicBezTo>
                  <a:pt x="5019776" y="3267107"/>
                  <a:pt x="5018421" y="3271173"/>
                  <a:pt x="5015033" y="3273883"/>
                </a:cubicBezTo>
                <a:cubicBezTo>
                  <a:pt x="5012322" y="3276594"/>
                  <a:pt x="5007578" y="3277949"/>
                  <a:pt x="5002157" y="3277949"/>
                </a:cubicBezTo>
                <a:lnTo>
                  <a:pt x="4985215" y="3277949"/>
                </a:lnTo>
                <a:close/>
                <a:moveTo>
                  <a:pt x="6397458" y="3245421"/>
                </a:moveTo>
                <a:cubicBezTo>
                  <a:pt x="6404912" y="3245421"/>
                  <a:pt x="6410334" y="3248132"/>
                  <a:pt x="6414400" y="3253553"/>
                </a:cubicBezTo>
                <a:cubicBezTo>
                  <a:pt x="6418466" y="3258974"/>
                  <a:pt x="6420499" y="3267106"/>
                  <a:pt x="6420499" y="3277949"/>
                </a:cubicBezTo>
                <a:lnTo>
                  <a:pt x="6420499" y="3283370"/>
                </a:lnTo>
                <a:cubicBezTo>
                  <a:pt x="6420499" y="3294213"/>
                  <a:pt x="6418466" y="3302345"/>
                  <a:pt x="6414400" y="3307766"/>
                </a:cubicBezTo>
                <a:cubicBezTo>
                  <a:pt x="6410334" y="3313187"/>
                  <a:pt x="6404912" y="3315898"/>
                  <a:pt x="6397458" y="3315898"/>
                </a:cubicBezTo>
                <a:cubicBezTo>
                  <a:pt x="6390004" y="3315898"/>
                  <a:pt x="6384583" y="3312509"/>
                  <a:pt x="6380517" y="3307088"/>
                </a:cubicBezTo>
                <a:cubicBezTo>
                  <a:pt x="6376451" y="3300989"/>
                  <a:pt x="6374418" y="3293535"/>
                  <a:pt x="6374418" y="3282692"/>
                </a:cubicBezTo>
                <a:lnTo>
                  <a:pt x="6374418" y="3277271"/>
                </a:lnTo>
                <a:cubicBezTo>
                  <a:pt x="6374418" y="3267106"/>
                  <a:pt x="6376451" y="3258974"/>
                  <a:pt x="6380517" y="3253553"/>
                </a:cubicBezTo>
                <a:cubicBezTo>
                  <a:pt x="6384583" y="3248132"/>
                  <a:pt x="6390004" y="3245421"/>
                  <a:pt x="6397458" y="3245421"/>
                </a:cubicBezTo>
                <a:close/>
                <a:moveTo>
                  <a:pt x="4831387" y="3245421"/>
                </a:moveTo>
                <a:cubicBezTo>
                  <a:pt x="4838842" y="3245421"/>
                  <a:pt x="4844263" y="3248132"/>
                  <a:pt x="4848329" y="3253553"/>
                </a:cubicBezTo>
                <a:cubicBezTo>
                  <a:pt x="4852395" y="3258974"/>
                  <a:pt x="4854428" y="3267106"/>
                  <a:pt x="4854428" y="3277949"/>
                </a:cubicBezTo>
                <a:lnTo>
                  <a:pt x="4854428" y="3283370"/>
                </a:lnTo>
                <a:cubicBezTo>
                  <a:pt x="4854428" y="3294213"/>
                  <a:pt x="4852395" y="3302345"/>
                  <a:pt x="4848329" y="3307766"/>
                </a:cubicBezTo>
                <a:cubicBezTo>
                  <a:pt x="4844263" y="3313187"/>
                  <a:pt x="4838842" y="3315898"/>
                  <a:pt x="4831387" y="3315898"/>
                </a:cubicBezTo>
                <a:cubicBezTo>
                  <a:pt x="4823933" y="3315898"/>
                  <a:pt x="4818512" y="3312509"/>
                  <a:pt x="4814446" y="3307088"/>
                </a:cubicBezTo>
                <a:cubicBezTo>
                  <a:pt x="4810380" y="3300989"/>
                  <a:pt x="4808347" y="3293535"/>
                  <a:pt x="4808347" y="3282692"/>
                </a:cubicBezTo>
                <a:lnTo>
                  <a:pt x="4808347" y="3277271"/>
                </a:lnTo>
                <a:cubicBezTo>
                  <a:pt x="4808347" y="3267106"/>
                  <a:pt x="4810380" y="3258974"/>
                  <a:pt x="4814446" y="3253553"/>
                </a:cubicBezTo>
                <a:cubicBezTo>
                  <a:pt x="4818512" y="3248132"/>
                  <a:pt x="4823933" y="3245421"/>
                  <a:pt x="4831387" y="3245421"/>
                </a:cubicBezTo>
                <a:close/>
                <a:moveTo>
                  <a:pt x="6211780" y="3233223"/>
                </a:moveTo>
                <a:lnTo>
                  <a:pt x="6211780" y="3328773"/>
                </a:lnTo>
                <a:lnTo>
                  <a:pt x="6272092" y="3328773"/>
                </a:lnTo>
                <a:lnTo>
                  <a:pt x="6272092" y="3315220"/>
                </a:lnTo>
                <a:lnTo>
                  <a:pt x="6228721" y="3315220"/>
                </a:lnTo>
                <a:lnTo>
                  <a:pt x="6228721" y="3233223"/>
                </a:lnTo>
                <a:close/>
                <a:moveTo>
                  <a:pt x="5132947" y="3233223"/>
                </a:moveTo>
                <a:lnTo>
                  <a:pt x="5132947" y="3328773"/>
                </a:lnTo>
                <a:lnTo>
                  <a:pt x="5193258" y="3328773"/>
                </a:lnTo>
                <a:lnTo>
                  <a:pt x="5193258" y="3315220"/>
                </a:lnTo>
                <a:lnTo>
                  <a:pt x="5149888" y="3315220"/>
                </a:lnTo>
                <a:lnTo>
                  <a:pt x="5149888" y="3233223"/>
                </a:lnTo>
                <a:close/>
                <a:moveTo>
                  <a:pt x="7150338" y="3232546"/>
                </a:moveTo>
                <a:lnTo>
                  <a:pt x="7150338" y="3328096"/>
                </a:lnTo>
                <a:lnTo>
                  <a:pt x="7166602" y="3328096"/>
                </a:lnTo>
                <a:lnTo>
                  <a:pt x="7166602" y="3232546"/>
                </a:lnTo>
                <a:close/>
                <a:moveTo>
                  <a:pt x="6980246" y="3232546"/>
                </a:moveTo>
                <a:lnTo>
                  <a:pt x="6980246" y="3246099"/>
                </a:lnTo>
                <a:lnTo>
                  <a:pt x="7010063" y="3246099"/>
                </a:lnTo>
                <a:lnTo>
                  <a:pt x="7010063" y="3328096"/>
                </a:lnTo>
                <a:lnTo>
                  <a:pt x="7026327" y="3328096"/>
                </a:lnTo>
                <a:lnTo>
                  <a:pt x="7026327" y="3246099"/>
                </a:lnTo>
                <a:lnTo>
                  <a:pt x="7056144" y="3246099"/>
                </a:lnTo>
                <a:lnTo>
                  <a:pt x="7056144" y="3232546"/>
                </a:lnTo>
                <a:close/>
                <a:moveTo>
                  <a:pt x="6707827" y="3232546"/>
                </a:moveTo>
                <a:lnTo>
                  <a:pt x="6707827" y="3328096"/>
                </a:lnTo>
                <a:lnTo>
                  <a:pt x="6724091" y="3328096"/>
                </a:lnTo>
                <a:lnTo>
                  <a:pt x="6724091" y="3232546"/>
                </a:lnTo>
                <a:close/>
                <a:moveTo>
                  <a:pt x="5941394" y="3232546"/>
                </a:moveTo>
                <a:lnTo>
                  <a:pt x="5941394" y="3328096"/>
                </a:lnTo>
                <a:lnTo>
                  <a:pt x="6003739" y="3328096"/>
                </a:lnTo>
                <a:lnTo>
                  <a:pt x="6003739" y="3314543"/>
                </a:lnTo>
                <a:lnTo>
                  <a:pt x="5957658" y="3314543"/>
                </a:lnTo>
                <a:lnTo>
                  <a:pt x="5957658" y="3285403"/>
                </a:lnTo>
                <a:lnTo>
                  <a:pt x="5996962" y="3285403"/>
                </a:lnTo>
                <a:lnTo>
                  <a:pt x="5997640" y="3285403"/>
                </a:lnTo>
                <a:lnTo>
                  <a:pt x="5997640" y="3272528"/>
                </a:lnTo>
                <a:lnTo>
                  <a:pt x="5958335" y="3272528"/>
                </a:lnTo>
                <a:lnTo>
                  <a:pt x="5958335" y="3246099"/>
                </a:lnTo>
                <a:lnTo>
                  <a:pt x="6003739" y="3246099"/>
                </a:lnTo>
                <a:lnTo>
                  <a:pt x="6003739" y="3232546"/>
                </a:lnTo>
                <a:close/>
                <a:moveTo>
                  <a:pt x="5772657" y="3232546"/>
                </a:moveTo>
                <a:lnTo>
                  <a:pt x="5772657" y="3327418"/>
                </a:lnTo>
                <a:lnTo>
                  <a:pt x="5799762" y="3327418"/>
                </a:lnTo>
                <a:cubicBezTo>
                  <a:pt x="5808572" y="3327418"/>
                  <a:pt x="5816026" y="3325385"/>
                  <a:pt x="5822804" y="3321997"/>
                </a:cubicBezTo>
                <a:cubicBezTo>
                  <a:pt x="5829579" y="3318609"/>
                  <a:pt x="5835001" y="3313187"/>
                  <a:pt x="5838389" y="3306411"/>
                </a:cubicBezTo>
                <a:cubicBezTo>
                  <a:pt x="5841777" y="3299634"/>
                  <a:pt x="5843810" y="3291502"/>
                  <a:pt x="5843810" y="3282693"/>
                </a:cubicBezTo>
                <a:lnTo>
                  <a:pt x="5843810" y="3277949"/>
                </a:lnTo>
                <a:cubicBezTo>
                  <a:pt x="5843810" y="3269140"/>
                  <a:pt x="5841777" y="3261008"/>
                  <a:pt x="5838389" y="3254231"/>
                </a:cubicBezTo>
                <a:cubicBezTo>
                  <a:pt x="5835001" y="3246777"/>
                  <a:pt x="5830257" y="3242033"/>
                  <a:pt x="5823480" y="3237967"/>
                </a:cubicBezTo>
                <a:cubicBezTo>
                  <a:pt x="5817381" y="3234579"/>
                  <a:pt x="5809250" y="3232546"/>
                  <a:pt x="5801118" y="3232546"/>
                </a:cubicBezTo>
                <a:close/>
                <a:moveTo>
                  <a:pt x="5655421" y="3232546"/>
                </a:moveTo>
                <a:lnTo>
                  <a:pt x="5655421" y="3328096"/>
                </a:lnTo>
                <a:lnTo>
                  <a:pt x="5671685" y="3328096"/>
                </a:lnTo>
                <a:lnTo>
                  <a:pt x="5671685" y="3232546"/>
                </a:lnTo>
                <a:close/>
                <a:moveTo>
                  <a:pt x="5448058" y="3232546"/>
                </a:moveTo>
                <a:lnTo>
                  <a:pt x="5470420" y="3328096"/>
                </a:lnTo>
                <a:lnTo>
                  <a:pt x="5486685" y="3328096"/>
                </a:lnTo>
                <a:lnTo>
                  <a:pt x="5504980" y="3258297"/>
                </a:lnTo>
                <a:lnTo>
                  <a:pt x="5523277" y="3328096"/>
                </a:lnTo>
                <a:lnTo>
                  <a:pt x="5538863" y="3328096"/>
                </a:lnTo>
                <a:lnTo>
                  <a:pt x="5561226" y="3232546"/>
                </a:lnTo>
                <a:lnTo>
                  <a:pt x="5544962" y="3232546"/>
                </a:lnTo>
                <a:lnTo>
                  <a:pt x="5530055" y="3304378"/>
                </a:lnTo>
                <a:lnTo>
                  <a:pt x="5511757" y="3232546"/>
                </a:lnTo>
                <a:lnTo>
                  <a:pt x="5497527" y="3232546"/>
                </a:lnTo>
                <a:lnTo>
                  <a:pt x="5479229" y="3304378"/>
                </a:lnTo>
                <a:lnTo>
                  <a:pt x="5464321" y="3232546"/>
                </a:lnTo>
                <a:close/>
                <a:moveTo>
                  <a:pt x="5286775" y="3232546"/>
                </a:moveTo>
                <a:lnTo>
                  <a:pt x="5286775" y="3327418"/>
                </a:lnTo>
                <a:lnTo>
                  <a:pt x="5313880" y="3327418"/>
                </a:lnTo>
                <a:cubicBezTo>
                  <a:pt x="5322690" y="3327418"/>
                  <a:pt x="5330144" y="3325385"/>
                  <a:pt x="5336922" y="3321997"/>
                </a:cubicBezTo>
                <a:cubicBezTo>
                  <a:pt x="5343697" y="3318609"/>
                  <a:pt x="5349119" y="3313187"/>
                  <a:pt x="5352507" y="3306411"/>
                </a:cubicBezTo>
                <a:cubicBezTo>
                  <a:pt x="5355895" y="3299634"/>
                  <a:pt x="5357928" y="3291502"/>
                  <a:pt x="5357928" y="3282693"/>
                </a:cubicBezTo>
                <a:lnTo>
                  <a:pt x="5357928" y="3277949"/>
                </a:lnTo>
                <a:cubicBezTo>
                  <a:pt x="5357928" y="3269140"/>
                  <a:pt x="5355895" y="3261008"/>
                  <a:pt x="5352507" y="3254231"/>
                </a:cubicBezTo>
                <a:cubicBezTo>
                  <a:pt x="5349119" y="3246777"/>
                  <a:pt x="5344375" y="3242033"/>
                  <a:pt x="5337598" y="3237967"/>
                </a:cubicBezTo>
                <a:cubicBezTo>
                  <a:pt x="5331501" y="3234579"/>
                  <a:pt x="5323368" y="3232546"/>
                  <a:pt x="5315236" y="3232546"/>
                </a:cubicBezTo>
                <a:close/>
                <a:moveTo>
                  <a:pt x="4968274" y="3232546"/>
                </a:moveTo>
                <a:lnTo>
                  <a:pt x="4968274" y="3328096"/>
                </a:lnTo>
                <a:lnTo>
                  <a:pt x="4985215" y="3328096"/>
                </a:lnTo>
                <a:lnTo>
                  <a:pt x="4985215" y="3291502"/>
                </a:lnTo>
                <a:lnTo>
                  <a:pt x="5003512" y="3291502"/>
                </a:lnTo>
                <a:lnTo>
                  <a:pt x="5023164" y="3328774"/>
                </a:lnTo>
                <a:lnTo>
                  <a:pt x="5040784" y="3328774"/>
                </a:lnTo>
                <a:lnTo>
                  <a:pt x="5040784" y="3328096"/>
                </a:lnTo>
                <a:lnTo>
                  <a:pt x="5019098" y="3288114"/>
                </a:lnTo>
                <a:cubicBezTo>
                  <a:pt x="5024520" y="3285403"/>
                  <a:pt x="5028586" y="3282015"/>
                  <a:pt x="5031974" y="3277949"/>
                </a:cubicBezTo>
                <a:cubicBezTo>
                  <a:pt x="5035362" y="3273206"/>
                  <a:pt x="5036718" y="3267784"/>
                  <a:pt x="5036718" y="3261685"/>
                </a:cubicBezTo>
                <a:cubicBezTo>
                  <a:pt x="5036718" y="3252198"/>
                  <a:pt x="5034007" y="3244744"/>
                  <a:pt x="5027908" y="3240000"/>
                </a:cubicBezTo>
                <a:cubicBezTo>
                  <a:pt x="5021809" y="3235257"/>
                  <a:pt x="5013000" y="3232546"/>
                  <a:pt x="5002157" y="3232546"/>
                </a:cubicBezTo>
                <a:close/>
                <a:moveTo>
                  <a:pt x="4589463" y="3232546"/>
                </a:moveTo>
                <a:lnTo>
                  <a:pt x="4611826" y="3328096"/>
                </a:lnTo>
                <a:lnTo>
                  <a:pt x="4627412" y="3328096"/>
                </a:lnTo>
                <a:lnTo>
                  <a:pt x="4645709" y="3258297"/>
                </a:lnTo>
                <a:lnTo>
                  <a:pt x="4664006" y="3328096"/>
                </a:lnTo>
                <a:lnTo>
                  <a:pt x="4679592" y="3328096"/>
                </a:lnTo>
                <a:lnTo>
                  <a:pt x="4701955" y="3232546"/>
                </a:lnTo>
                <a:lnTo>
                  <a:pt x="4685692" y="3232546"/>
                </a:lnTo>
                <a:lnTo>
                  <a:pt x="4670782" y="3304378"/>
                </a:lnTo>
                <a:lnTo>
                  <a:pt x="4653164" y="3232546"/>
                </a:lnTo>
                <a:lnTo>
                  <a:pt x="4638932" y="3232546"/>
                </a:lnTo>
                <a:lnTo>
                  <a:pt x="4620635" y="3304378"/>
                </a:lnTo>
                <a:lnTo>
                  <a:pt x="4605727" y="3232546"/>
                </a:lnTo>
                <a:close/>
                <a:moveTo>
                  <a:pt x="7468161" y="3231868"/>
                </a:moveTo>
                <a:cubicBezTo>
                  <a:pt x="7457996" y="3231868"/>
                  <a:pt x="7449865" y="3234579"/>
                  <a:pt x="7443766" y="3239322"/>
                </a:cubicBezTo>
                <a:cubicBezTo>
                  <a:pt x="7437667" y="3244066"/>
                  <a:pt x="7434278" y="3250842"/>
                  <a:pt x="7434278" y="3258297"/>
                </a:cubicBezTo>
                <a:cubicBezTo>
                  <a:pt x="7434278" y="3267106"/>
                  <a:pt x="7438344" y="3274561"/>
                  <a:pt x="7447154" y="3279982"/>
                </a:cubicBezTo>
                <a:cubicBezTo>
                  <a:pt x="7451897" y="3282692"/>
                  <a:pt x="7457996" y="3285403"/>
                  <a:pt x="7465451" y="3287436"/>
                </a:cubicBezTo>
                <a:cubicBezTo>
                  <a:pt x="7473583" y="3289469"/>
                  <a:pt x="7479004" y="3292180"/>
                  <a:pt x="7481714" y="3294213"/>
                </a:cubicBezTo>
                <a:cubicBezTo>
                  <a:pt x="7485103" y="3296246"/>
                  <a:pt x="7486458" y="3299634"/>
                  <a:pt x="7486458" y="3303700"/>
                </a:cubicBezTo>
                <a:cubicBezTo>
                  <a:pt x="7486458" y="3307766"/>
                  <a:pt x="7485103" y="3310477"/>
                  <a:pt x="7481714" y="3312509"/>
                </a:cubicBezTo>
                <a:cubicBezTo>
                  <a:pt x="7479004" y="3314542"/>
                  <a:pt x="7474938" y="3315898"/>
                  <a:pt x="7468839" y="3315898"/>
                </a:cubicBezTo>
                <a:cubicBezTo>
                  <a:pt x="7462062" y="3315898"/>
                  <a:pt x="7456641" y="3313865"/>
                  <a:pt x="7453253" y="3311154"/>
                </a:cubicBezTo>
                <a:cubicBezTo>
                  <a:pt x="7449865" y="3307766"/>
                  <a:pt x="7447831" y="3303700"/>
                  <a:pt x="7447831" y="3298279"/>
                </a:cubicBezTo>
                <a:lnTo>
                  <a:pt x="7430890" y="3298279"/>
                </a:lnTo>
                <a:cubicBezTo>
                  <a:pt x="7430890" y="3304378"/>
                  <a:pt x="7432245" y="3309121"/>
                  <a:pt x="7435634" y="3313865"/>
                </a:cubicBezTo>
                <a:cubicBezTo>
                  <a:pt x="7439022" y="3318608"/>
                  <a:pt x="7443766" y="3321997"/>
                  <a:pt x="7449187" y="3324707"/>
                </a:cubicBezTo>
                <a:cubicBezTo>
                  <a:pt x="7454608" y="3327418"/>
                  <a:pt x="7461385" y="3328773"/>
                  <a:pt x="7468161" y="3328773"/>
                </a:cubicBezTo>
                <a:cubicBezTo>
                  <a:pt x="7479004" y="3328773"/>
                  <a:pt x="7487136" y="3326740"/>
                  <a:pt x="7493235" y="3321997"/>
                </a:cubicBezTo>
                <a:cubicBezTo>
                  <a:pt x="7500011" y="3317253"/>
                  <a:pt x="7502722" y="3311154"/>
                  <a:pt x="7502722" y="3303022"/>
                </a:cubicBezTo>
                <a:cubicBezTo>
                  <a:pt x="7502722" y="3298279"/>
                  <a:pt x="7501367" y="3293535"/>
                  <a:pt x="7499334" y="3290147"/>
                </a:cubicBezTo>
                <a:cubicBezTo>
                  <a:pt x="7497301" y="3286758"/>
                  <a:pt x="7493912" y="3283370"/>
                  <a:pt x="7489169" y="3280659"/>
                </a:cubicBezTo>
                <a:cubicBezTo>
                  <a:pt x="7485103" y="3277949"/>
                  <a:pt x="7479004" y="3275238"/>
                  <a:pt x="7471550" y="3273205"/>
                </a:cubicBezTo>
                <a:cubicBezTo>
                  <a:pt x="7464095" y="3271172"/>
                  <a:pt x="7458674" y="3268462"/>
                  <a:pt x="7455286" y="3266429"/>
                </a:cubicBezTo>
                <a:cubicBezTo>
                  <a:pt x="7451897" y="3263718"/>
                  <a:pt x="7450542" y="3261007"/>
                  <a:pt x="7450542" y="3257619"/>
                </a:cubicBezTo>
                <a:cubicBezTo>
                  <a:pt x="7450542" y="3253553"/>
                  <a:pt x="7452575" y="3250165"/>
                  <a:pt x="7455286" y="3248132"/>
                </a:cubicBezTo>
                <a:cubicBezTo>
                  <a:pt x="7458674" y="3246099"/>
                  <a:pt x="7462740" y="3244744"/>
                  <a:pt x="7468161" y="3244744"/>
                </a:cubicBezTo>
                <a:cubicBezTo>
                  <a:pt x="7474260" y="3244744"/>
                  <a:pt x="7478326" y="3246099"/>
                  <a:pt x="7481714" y="3248809"/>
                </a:cubicBezTo>
                <a:cubicBezTo>
                  <a:pt x="7485103" y="3251520"/>
                  <a:pt x="7486458" y="3255586"/>
                  <a:pt x="7486458" y="3260330"/>
                </a:cubicBezTo>
                <a:lnTo>
                  <a:pt x="7502722" y="3260330"/>
                </a:lnTo>
                <a:cubicBezTo>
                  <a:pt x="7502722" y="3254908"/>
                  <a:pt x="7500689" y="3250165"/>
                  <a:pt x="7497978" y="3245421"/>
                </a:cubicBezTo>
                <a:cubicBezTo>
                  <a:pt x="7495268" y="3241355"/>
                  <a:pt x="7491202" y="3237967"/>
                  <a:pt x="7485780" y="3235256"/>
                </a:cubicBezTo>
                <a:cubicBezTo>
                  <a:pt x="7481037" y="3233223"/>
                  <a:pt x="7474938" y="3231868"/>
                  <a:pt x="7468161" y="3231868"/>
                </a:cubicBezTo>
                <a:close/>
                <a:moveTo>
                  <a:pt x="7303489" y="3231868"/>
                </a:moveTo>
                <a:cubicBezTo>
                  <a:pt x="7295357" y="3231868"/>
                  <a:pt x="7288581" y="3233901"/>
                  <a:pt x="7282482" y="3237289"/>
                </a:cubicBezTo>
                <a:cubicBezTo>
                  <a:pt x="7276383" y="3240678"/>
                  <a:pt x="7272317" y="3246099"/>
                  <a:pt x="7268928" y="3252875"/>
                </a:cubicBezTo>
                <a:cubicBezTo>
                  <a:pt x="7265540" y="3259652"/>
                  <a:pt x="7264185" y="3267784"/>
                  <a:pt x="7264185" y="3276594"/>
                </a:cubicBezTo>
                <a:lnTo>
                  <a:pt x="7264185" y="3285403"/>
                </a:lnTo>
                <a:cubicBezTo>
                  <a:pt x="7264185" y="3294213"/>
                  <a:pt x="7265540" y="3301667"/>
                  <a:pt x="7268928" y="3308444"/>
                </a:cubicBezTo>
                <a:cubicBezTo>
                  <a:pt x="7272317" y="3315220"/>
                  <a:pt x="7276383" y="3320641"/>
                  <a:pt x="7282482" y="3324030"/>
                </a:cubicBezTo>
                <a:cubicBezTo>
                  <a:pt x="7288581" y="3327418"/>
                  <a:pt x="7295357" y="3329451"/>
                  <a:pt x="7302811" y="3329451"/>
                </a:cubicBezTo>
                <a:cubicBezTo>
                  <a:pt x="7313654" y="3329451"/>
                  <a:pt x="7322464" y="3326063"/>
                  <a:pt x="7329240" y="3320641"/>
                </a:cubicBezTo>
                <a:lnTo>
                  <a:pt x="7340102" y="3298279"/>
                </a:lnTo>
                <a:lnTo>
                  <a:pt x="7340760" y="3298279"/>
                </a:lnTo>
                <a:lnTo>
                  <a:pt x="7340760" y="3296923"/>
                </a:lnTo>
                <a:lnTo>
                  <a:pt x="7340102" y="3298279"/>
                </a:lnTo>
                <a:lnTo>
                  <a:pt x="7323819" y="3298279"/>
                </a:lnTo>
                <a:cubicBezTo>
                  <a:pt x="7323141" y="3305055"/>
                  <a:pt x="7321108" y="3310477"/>
                  <a:pt x="7317720" y="3313187"/>
                </a:cubicBezTo>
                <a:cubicBezTo>
                  <a:pt x="7314332" y="3315898"/>
                  <a:pt x="7309588" y="3317253"/>
                  <a:pt x="7302811" y="3317253"/>
                </a:cubicBezTo>
                <a:cubicBezTo>
                  <a:pt x="7295357" y="3317253"/>
                  <a:pt x="7289936" y="3314542"/>
                  <a:pt x="7286548" y="3309121"/>
                </a:cubicBezTo>
                <a:cubicBezTo>
                  <a:pt x="7283159" y="3303700"/>
                  <a:pt x="7281126" y="3295568"/>
                  <a:pt x="7281126" y="3285403"/>
                </a:cubicBezTo>
                <a:lnTo>
                  <a:pt x="7281126" y="3276594"/>
                </a:lnTo>
                <a:cubicBezTo>
                  <a:pt x="7281126" y="3266429"/>
                  <a:pt x="7283159" y="3258974"/>
                  <a:pt x="7287225" y="3253553"/>
                </a:cubicBezTo>
                <a:cubicBezTo>
                  <a:pt x="7291291" y="3248132"/>
                  <a:pt x="7296713" y="3245421"/>
                  <a:pt x="7304167" y="3245421"/>
                </a:cubicBezTo>
                <a:cubicBezTo>
                  <a:pt x="7310266" y="3245421"/>
                  <a:pt x="7315009" y="3247454"/>
                  <a:pt x="7318398" y="3250165"/>
                </a:cubicBezTo>
                <a:cubicBezTo>
                  <a:pt x="7321786" y="3253553"/>
                  <a:pt x="7323819" y="3258297"/>
                  <a:pt x="7324497" y="3265073"/>
                </a:cubicBezTo>
                <a:lnTo>
                  <a:pt x="7340760" y="3265073"/>
                </a:lnTo>
                <a:cubicBezTo>
                  <a:pt x="7339405" y="3254231"/>
                  <a:pt x="7335339" y="3246099"/>
                  <a:pt x="7329240" y="3240678"/>
                </a:cubicBezTo>
                <a:cubicBezTo>
                  <a:pt x="7322464" y="3234579"/>
                  <a:pt x="7314332" y="3231868"/>
                  <a:pt x="7303489" y="3231868"/>
                </a:cubicBezTo>
                <a:close/>
                <a:moveTo>
                  <a:pt x="6856912" y="3231868"/>
                </a:moveTo>
                <a:cubicBezTo>
                  <a:pt x="6846747" y="3231868"/>
                  <a:pt x="6838615" y="3234579"/>
                  <a:pt x="6832516" y="3239322"/>
                </a:cubicBezTo>
                <a:cubicBezTo>
                  <a:pt x="6826418" y="3244066"/>
                  <a:pt x="6823029" y="3250842"/>
                  <a:pt x="6823029" y="3258297"/>
                </a:cubicBezTo>
                <a:cubicBezTo>
                  <a:pt x="6823029" y="3267106"/>
                  <a:pt x="6827095" y="3274561"/>
                  <a:pt x="6835905" y="3279982"/>
                </a:cubicBezTo>
                <a:cubicBezTo>
                  <a:pt x="6840648" y="3282692"/>
                  <a:pt x="6846747" y="3285403"/>
                  <a:pt x="6854202" y="3287436"/>
                </a:cubicBezTo>
                <a:cubicBezTo>
                  <a:pt x="6862333" y="3289469"/>
                  <a:pt x="6867755" y="3292180"/>
                  <a:pt x="6870465" y="3294213"/>
                </a:cubicBezTo>
                <a:cubicBezTo>
                  <a:pt x="6873854" y="3296246"/>
                  <a:pt x="6875209" y="3299634"/>
                  <a:pt x="6875209" y="3303700"/>
                </a:cubicBezTo>
                <a:cubicBezTo>
                  <a:pt x="6875209" y="3307766"/>
                  <a:pt x="6873854" y="3310477"/>
                  <a:pt x="6870465" y="3312509"/>
                </a:cubicBezTo>
                <a:cubicBezTo>
                  <a:pt x="6867755" y="3314542"/>
                  <a:pt x="6863689" y="3315898"/>
                  <a:pt x="6857590" y="3315898"/>
                </a:cubicBezTo>
                <a:cubicBezTo>
                  <a:pt x="6850813" y="3315898"/>
                  <a:pt x="6845392" y="3313865"/>
                  <a:pt x="6842004" y="3311154"/>
                </a:cubicBezTo>
                <a:cubicBezTo>
                  <a:pt x="6838615" y="3307766"/>
                  <a:pt x="6836582" y="3303700"/>
                  <a:pt x="6836582" y="3298279"/>
                </a:cubicBezTo>
                <a:lnTo>
                  <a:pt x="6819641" y="3298279"/>
                </a:lnTo>
                <a:cubicBezTo>
                  <a:pt x="6819641" y="3304378"/>
                  <a:pt x="6820996" y="3309121"/>
                  <a:pt x="6824384" y="3313865"/>
                </a:cubicBezTo>
                <a:cubicBezTo>
                  <a:pt x="6827773" y="3318608"/>
                  <a:pt x="6832516" y="3321997"/>
                  <a:pt x="6837938" y="3324707"/>
                </a:cubicBezTo>
                <a:cubicBezTo>
                  <a:pt x="6843359" y="3327418"/>
                  <a:pt x="6850136" y="3328773"/>
                  <a:pt x="6856912" y="3328773"/>
                </a:cubicBezTo>
                <a:cubicBezTo>
                  <a:pt x="6867755" y="3328773"/>
                  <a:pt x="6875887" y="3326740"/>
                  <a:pt x="6881986" y="3321997"/>
                </a:cubicBezTo>
                <a:cubicBezTo>
                  <a:pt x="6888762" y="3317253"/>
                  <a:pt x="6891473" y="3311154"/>
                  <a:pt x="6891473" y="3303022"/>
                </a:cubicBezTo>
                <a:cubicBezTo>
                  <a:pt x="6891473" y="3298279"/>
                  <a:pt x="6890118" y="3293535"/>
                  <a:pt x="6888085" y="3290147"/>
                </a:cubicBezTo>
                <a:cubicBezTo>
                  <a:pt x="6886052" y="3286758"/>
                  <a:pt x="6882663" y="3283370"/>
                  <a:pt x="6877920" y="3280659"/>
                </a:cubicBezTo>
                <a:cubicBezTo>
                  <a:pt x="6873854" y="3277949"/>
                  <a:pt x="6867755" y="3275238"/>
                  <a:pt x="6860301" y="3273205"/>
                </a:cubicBezTo>
                <a:cubicBezTo>
                  <a:pt x="6852846" y="3271172"/>
                  <a:pt x="6847425" y="3268462"/>
                  <a:pt x="6844037" y="3266429"/>
                </a:cubicBezTo>
                <a:cubicBezTo>
                  <a:pt x="6840648" y="3263718"/>
                  <a:pt x="6839293" y="3261007"/>
                  <a:pt x="6839293" y="3257619"/>
                </a:cubicBezTo>
                <a:cubicBezTo>
                  <a:pt x="6839293" y="3253553"/>
                  <a:pt x="6841326" y="3250165"/>
                  <a:pt x="6844037" y="3248132"/>
                </a:cubicBezTo>
                <a:cubicBezTo>
                  <a:pt x="6847425" y="3246099"/>
                  <a:pt x="6851491" y="3244744"/>
                  <a:pt x="6856912" y="3244744"/>
                </a:cubicBezTo>
                <a:cubicBezTo>
                  <a:pt x="6863011" y="3244744"/>
                  <a:pt x="6867077" y="3246099"/>
                  <a:pt x="6870465" y="3248809"/>
                </a:cubicBezTo>
                <a:cubicBezTo>
                  <a:pt x="6873854" y="3251520"/>
                  <a:pt x="6875209" y="3255586"/>
                  <a:pt x="6875209" y="3260330"/>
                </a:cubicBezTo>
                <a:lnTo>
                  <a:pt x="6891473" y="3260330"/>
                </a:lnTo>
                <a:cubicBezTo>
                  <a:pt x="6891473" y="3254908"/>
                  <a:pt x="6889440" y="3250165"/>
                  <a:pt x="6886729" y="3245421"/>
                </a:cubicBezTo>
                <a:cubicBezTo>
                  <a:pt x="6884019" y="3241355"/>
                  <a:pt x="6879953" y="3237967"/>
                  <a:pt x="6874531" y="3235256"/>
                </a:cubicBezTo>
                <a:cubicBezTo>
                  <a:pt x="6869788" y="3233223"/>
                  <a:pt x="6863689" y="3231868"/>
                  <a:pt x="6856912" y="3231868"/>
                </a:cubicBezTo>
                <a:close/>
                <a:moveTo>
                  <a:pt x="6398136" y="3231868"/>
                </a:moveTo>
                <a:cubicBezTo>
                  <a:pt x="6390004" y="3231868"/>
                  <a:pt x="6383227" y="3233223"/>
                  <a:pt x="6377128" y="3237289"/>
                </a:cubicBezTo>
                <a:cubicBezTo>
                  <a:pt x="6371029" y="3240678"/>
                  <a:pt x="6366286" y="3246099"/>
                  <a:pt x="6362898" y="3253553"/>
                </a:cubicBezTo>
                <a:cubicBezTo>
                  <a:pt x="6359509" y="3260330"/>
                  <a:pt x="6358154" y="3268462"/>
                  <a:pt x="6358154" y="3277949"/>
                </a:cubicBezTo>
                <a:lnTo>
                  <a:pt x="6358154" y="3283370"/>
                </a:lnTo>
                <a:cubicBezTo>
                  <a:pt x="6358154" y="3292857"/>
                  <a:pt x="6359509" y="3300989"/>
                  <a:pt x="6362898" y="3307766"/>
                </a:cubicBezTo>
                <a:cubicBezTo>
                  <a:pt x="6366286" y="3314542"/>
                  <a:pt x="6371029" y="3319964"/>
                  <a:pt x="6377128" y="3324030"/>
                </a:cubicBezTo>
                <a:cubicBezTo>
                  <a:pt x="6383227" y="3327418"/>
                  <a:pt x="6390682" y="3329451"/>
                  <a:pt x="6398136" y="3329451"/>
                </a:cubicBezTo>
                <a:cubicBezTo>
                  <a:pt x="6406268" y="3329451"/>
                  <a:pt x="6413044" y="3328096"/>
                  <a:pt x="6419143" y="3324030"/>
                </a:cubicBezTo>
                <a:cubicBezTo>
                  <a:pt x="6424565" y="3319964"/>
                  <a:pt x="6429308" y="3314542"/>
                  <a:pt x="6432697" y="3307766"/>
                </a:cubicBezTo>
                <a:cubicBezTo>
                  <a:pt x="6436085" y="3300989"/>
                  <a:pt x="6437440" y="3292857"/>
                  <a:pt x="6437440" y="3283370"/>
                </a:cubicBezTo>
                <a:lnTo>
                  <a:pt x="6438118" y="3283370"/>
                </a:lnTo>
                <a:lnTo>
                  <a:pt x="6438118" y="3277949"/>
                </a:lnTo>
                <a:cubicBezTo>
                  <a:pt x="6438118" y="3268462"/>
                  <a:pt x="6436763" y="3260330"/>
                  <a:pt x="6433374" y="3253553"/>
                </a:cubicBezTo>
                <a:cubicBezTo>
                  <a:pt x="6429986" y="3246099"/>
                  <a:pt x="6425242" y="3241355"/>
                  <a:pt x="6419143" y="3237289"/>
                </a:cubicBezTo>
                <a:cubicBezTo>
                  <a:pt x="6413044" y="3233901"/>
                  <a:pt x="6405590" y="3231868"/>
                  <a:pt x="6398136" y="3231868"/>
                </a:cubicBezTo>
                <a:close/>
                <a:moveTo>
                  <a:pt x="4832065" y="3231868"/>
                </a:moveTo>
                <a:cubicBezTo>
                  <a:pt x="4823933" y="3231868"/>
                  <a:pt x="4817156" y="3233223"/>
                  <a:pt x="4811057" y="3237289"/>
                </a:cubicBezTo>
                <a:cubicBezTo>
                  <a:pt x="4804959" y="3240678"/>
                  <a:pt x="4800215" y="3246099"/>
                  <a:pt x="4796828" y="3253553"/>
                </a:cubicBezTo>
                <a:cubicBezTo>
                  <a:pt x="4793438" y="3260330"/>
                  <a:pt x="4792083" y="3268462"/>
                  <a:pt x="4792083" y="3277949"/>
                </a:cubicBezTo>
                <a:lnTo>
                  <a:pt x="4792083" y="3283370"/>
                </a:lnTo>
                <a:cubicBezTo>
                  <a:pt x="4792083" y="3292857"/>
                  <a:pt x="4793438" y="3300989"/>
                  <a:pt x="4796828" y="3307766"/>
                </a:cubicBezTo>
                <a:cubicBezTo>
                  <a:pt x="4800215" y="3314542"/>
                  <a:pt x="4804959" y="3319964"/>
                  <a:pt x="4811057" y="3324030"/>
                </a:cubicBezTo>
                <a:cubicBezTo>
                  <a:pt x="4817156" y="3327418"/>
                  <a:pt x="4824611" y="3329451"/>
                  <a:pt x="4832065" y="3329451"/>
                </a:cubicBezTo>
                <a:cubicBezTo>
                  <a:pt x="4840198" y="3329451"/>
                  <a:pt x="4846973" y="3328096"/>
                  <a:pt x="4853072" y="3324030"/>
                </a:cubicBezTo>
                <a:cubicBezTo>
                  <a:pt x="4858494" y="3319964"/>
                  <a:pt x="4863237" y="3314542"/>
                  <a:pt x="4866626" y="3307766"/>
                </a:cubicBezTo>
                <a:cubicBezTo>
                  <a:pt x="4870014" y="3300989"/>
                  <a:pt x="4871369" y="3292857"/>
                  <a:pt x="4871369" y="3283370"/>
                </a:cubicBezTo>
                <a:lnTo>
                  <a:pt x="4872047" y="3283370"/>
                </a:lnTo>
                <a:lnTo>
                  <a:pt x="4872047" y="3277949"/>
                </a:lnTo>
                <a:cubicBezTo>
                  <a:pt x="4872047" y="3268462"/>
                  <a:pt x="4870692" y="3260330"/>
                  <a:pt x="4867303" y="3253553"/>
                </a:cubicBezTo>
                <a:cubicBezTo>
                  <a:pt x="4863915" y="3246099"/>
                  <a:pt x="4859171" y="3241355"/>
                  <a:pt x="4853072" y="3237289"/>
                </a:cubicBezTo>
                <a:cubicBezTo>
                  <a:pt x="4846973" y="3233901"/>
                  <a:pt x="4839519" y="3231868"/>
                  <a:pt x="4832065" y="3231868"/>
                </a:cubicBezTo>
                <a:close/>
                <a:moveTo>
                  <a:pt x="6570939" y="3231190"/>
                </a:moveTo>
                <a:cubicBezTo>
                  <a:pt x="6558064" y="3231190"/>
                  <a:pt x="6548576" y="3235256"/>
                  <a:pt x="6541800" y="3243388"/>
                </a:cubicBezTo>
                <a:cubicBezTo>
                  <a:pt x="6535023" y="3251520"/>
                  <a:pt x="6531635" y="3263040"/>
                  <a:pt x="6531635" y="3277271"/>
                </a:cubicBezTo>
                <a:lnTo>
                  <a:pt x="6531635" y="3284725"/>
                </a:lnTo>
                <a:cubicBezTo>
                  <a:pt x="6531635" y="3293535"/>
                  <a:pt x="6533668" y="3301667"/>
                  <a:pt x="6537056" y="3308443"/>
                </a:cubicBezTo>
                <a:cubicBezTo>
                  <a:pt x="6540444" y="3315220"/>
                  <a:pt x="6545188" y="3320641"/>
                  <a:pt x="6551287" y="3324029"/>
                </a:cubicBezTo>
                <a:cubicBezTo>
                  <a:pt x="6557386" y="3327418"/>
                  <a:pt x="6564163" y="3329451"/>
                  <a:pt x="6572295" y="3329451"/>
                </a:cubicBezTo>
                <a:cubicBezTo>
                  <a:pt x="6580426" y="3329451"/>
                  <a:pt x="6587203" y="3328095"/>
                  <a:pt x="6593302" y="3326062"/>
                </a:cubicBezTo>
                <a:cubicBezTo>
                  <a:pt x="6599401" y="3324029"/>
                  <a:pt x="6604144" y="3320641"/>
                  <a:pt x="6607533" y="3315897"/>
                </a:cubicBezTo>
                <a:lnTo>
                  <a:pt x="6607533" y="3279304"/>
                </a:lnTo>
                <a:lnTo>
                  <a:pt x="6571617" y="3279304"/>
                </a:lnTo>
                <a:lnTo>
                  <a:pt x="6571617" y="3292179"/>
                </a:lnTo>
                <a:lnTo>
                  <a:pt x="6591269" y="3292179"/>
                </a:lnTo>
                <a:lnTo>
                  <a:pt x="6591269" y="3311154"/>
                </a:lnTo>
                <a:cubicBezTo>
                  <a:pt x="6587203" y="3315220"/>
                  <a:pt x="6581782" y="3317253"/>
                  <a:pt x="6572972" y="3317253"/>
                </a:cubicBezTo>
                <a:cubicBezTo>
                  <a:pt x="6564840" y="3317253"/>
                  <a:pt x="6558741" y="3313864"/>
                  <a:pt x="6554675" y="3308443"/>
                </a:cubicBezTo>
                <a:cubicBezTo>
                  <a:pt x="6549932" y="3303022"/>
                  <a:pt x="6547899" y="3294890"/>
                  <a:pt x="6547899" y="3284725"/>
                </a:cubicBezTo>
                <a:lnTo>
                  <a:pt x="6547899" y="3277271"/>
                </a:lnTo>
                <a:cubicBezTo>
                  <a:pt x="6547899" y="3267106"/>
                  <a:pt x="6549932" y="3258974"/>
                  <a:pt x="6553998" y="3253553"/>
                </a:cubicBezTo>
                <a:cubicBezTo>
                  <a:pt x="6558064" y="3248131"/>
                  <a:pt x="6563485" y="3245421"/>
                  <a:pt x="6570939" y="3245421"/>
                </a:cubicBezTo>
                <a:cubicBezTo>
                  <a:pt x="6582459" y="3245421"/>
                  <a:pt x="6589236" y="3250842"/>
                  <a:pt x="6591269" y="3262362"/>
                </a:cubicBezTo>
                <a:lnTo>
                  <a:pt x="6607533" y="3262362"/>
                </a:lnTo>
                <a:cubicBezTo>
                  <a:pt x="6606178" y="3252197"/>
                  <a:pt x="6602112" y="3244743"/>
                  <a:pt x="6596013" y="3239322"/>
                </a:cubicBezTo>
                <a:cubicBezTo>
                  <a:pt x="6589914" y="3233901"/>
                  <a:pt x="6581782" y="3231190"/>
                  <a:pt x="6570939" y="3231190"/>
                </a:cubicBezTo>
                <a:close/>
                <a:moveTo>
                  <a:pt x="6488943" y="3019083"/>
                </a:moveTo>
                <a:lnTo>
                  <a:pt x="6550610" y="3019083"/>
                </a:lnTo>
                <a:lnTo>
                  <a:pt x="6550610" y="3076006"/>
                </a:lnTo>
                <a:lnTo>
                  <a:pt x="6488943" y="3076006"/>
                </a:lnTo>
                <a:cubicBezTo>
                  <a:pt x="6482166" y="3076006"/>
                  <a:pt x="6476745" y="3070585"/>
                  <a:pt x="6476745" y="3063808"/>
                </a:cubicBezTo>
                <a:lnTo>
                  <a:pt x="6476745" y="3031281"/>
                </a:lnTo>
                <a:cubicBezTo>
                  <a:pt x="6476745" y="3024504"/>
                  <a:pt x="6482166" y="3019083"/>
                  <a:pt x="6488943" y="3019083"/>
                </a:cubicBezTo>
                <a:close/>
                <a:moveTo>
                  <a:pt x="5127526" y="2880163"/>
                </a:moveTo>
                <a:lnTo>
                  <a:pt x="5176316" y="2880163"/>
                </a:lnTo>
                <a:cubicBezTo>
                  <a:pt x="5183094" y="2880163"/>
                  <a:pt x="5188515" y="2885584"/>
                  <a:pt x="5188515" y="2892361"/>
                </a:cubicBezTo>
                <a:lnTo>
                  <a:pt x="5188515" y="2937764"/>
                </a:lnTo>
                <a:lnTo>
                  <a:pt x="5115327" y="2937764"/>
                </a:lnTo>
                <a:lnTo>
                  <a:pt x="5115327" y="2892361"/>
                </a:lnTo>
                <a:cubicBezTo>
                  <a:pt x="5115327" y="2885584"/>
                  <a:pt x="5120748" y="2880163"/>
                  <a:pt x="5127526" y="2880163"/>
                </a:cubicBezTo>
                <a:close/>
                <a:moveTo>
                  <a:pt x="7131364" y="2798166"/>
                </a:moveTo>
                <a:lnTo>
                  <a:pt x="7131364" y="3158003"/>
                </a:lnTo>
                <a:lnTo>
                  <a:pt x="7262152" y="3158003"/>
                </a:lnTo>
                <a:lnTo>
                  <a:pt x="7262830" y="2879485"/>
                </a:lnTo>
                <a:cubicBezTo>
                  <a:pt x="7262830" y="2879485"/>
                  <a:pt x="7291292" y="2879485"/>
                  <a:pt x="7291292" y="2879485"/>
                </a:cubicBezTo>
                <a:cubicBezTo>
                  <a:pt x="7302134" y="2879485"/>
                  <a:pt x="7305522" y="2881518"/>
                  <a:pt x="7310944" y="2904558"/>
                </a:cubicBezTo>
                <a:lnTo>
                  <a:pt x="7369223" y="3158003"/>
                </a:lnTo>
                <a:lnTo>
                  <a:pt x="7503399" y="3158003"/>
                </a:lnTo>
                <a:cubicBezTo>
                  <a:pt x="7503399" y="3158003"/>
                  <a:pt x="7435633" y="2867287"/>
                  <a:pt x="7429534" y="2838826"/>
                </a:cubicBezTo>
                <a:cubicBezTo>
                  <a:pt x="7423435" y="2811042"/>
                  <a:pt x="7399717" y="2798166"/>
                  <a:pt x="7377354" y="2798166"/>
                </a:cubicBezTo>
                <a:cubicBezTo>
                  <a:pt x="7360413" y="2798166"/>
                  <a:pt x="7131364" y="2798166"/>
                  <a:pt x="7131364" y="2798166"/>
                </a:cubicBezTo>
                <a:close/>
                <a:moveTo>
                  <a:pt x="6736966" y="2798166"/>
                </a:moveTo>
                <a:lnTo>
                  <a:pt x="6736966" y="3158003"/>
                </a:lnTo>
                <a:lnTo>
                  <a:pt x="6867754" y="3158003"/>
                </a:lnTo>
                <a:lnTo>
                  <a:pt x="6868432" y="3158003"/>
                </a:lnTo>
                <a:lnTo>
                  <a:pt x="6868432" y="2879485"/>
                </a:lnTo>
                <a:cubicBezTo>
                  <a:pt x="6868432" y="2879485"/>
                  <a:pt x="6896894" y="2879485"/>
                  <a:pt x="6896894" y="2879485"/>
                </a:cubicBezTo>
                <a:cubicBezTo>
                  <a:pt x="6907736" y="2879485"/>
                  <a:pt x="6911125" y="2881518"/>
                  <a:pt x="6916546" y="2904558"/>
                </a:cubicBezTo>
                <a:lnTo>
                  <a:pt x="6974825" y="3158003"/>
                </a:lnTo>
                <a:lnTo>
                  <a:pt x="7109001" y="3158003"/>
                </a:lnTo>
                <a:cubicBezTo>
                  <a:pt x="7109001" y="3158003"/>
                  <a:pt x="7041235" y="2867287"/>
                  <a:pt x="7035136" y="2838826"/>
                </a:cubicBezTo>
                <a:cubicBezTo>
                  <a:pt x="7029037" y="2811042"/>
                  <a:pt x="7005319" y="2798166"/>
                  <a:pt x="6982957" y="2798166"/>
                </a:cubicBezTo>
                <a:cubicBezTo>
                  <a:pt x="6966015" y="2798166"/>
                  <a:pt x="6736966" y="2798166"/>
                  <a:pt x="6736966" y="2798166"/>
                </a:cubicBezTo>
                <a:close/>
                <a:moveTo>
                  <a:pt x="6387294" y="2798166"/>
                </a:moveTo>
                <a:cubicBezTo>
                  <a:pt x="6364931" y="2798166"/>
                  <a:pt x="6346634" y="2816463"/>
                  <a:pt x="6346634" y="2838826"/>
                </a:cubicBezTo>
                <a:lnTo>
                  <a:pt x="6346634" y="2880840"/>
                </a:lnTo>
                <a:lnTo>
                  <a:pt x="6539090" y="2880840"/>
                </a:lnTo>
                <a:cubicBezTo>
                  <a:pt x="6545866" y="2880840"/>
                  <a:pt x="6551287" y="2886262"/>
                  <a:pt x="6551287" y="2893038"/>
                </a:cubicBezTo>
                <a:lnTo>
                  <a:pt x="6551287" y="2937764"/>
                </a:lnTo>
                <a:lnTo>
                  <a:pt x="6387294" y="2937764"/>
                </a:lnTo>
                <a:cubicBezTo>
                  <a:pt x="6364931" y="2937764"/>
                  <a:pt x="6346634" y="2956061"/>
                  <a:pt x="6346634" y="2978423"/>
                </a:cubicBezTo>
                <a:lnTo>
                  <a:pt x="6346634" y="3117343"/>
                </a:lnTo>
                <a:cubicBezTo>
                  <a:pt x="6346634" y="3139706"/>
                  <a:pt x="6364931" y="3158003"/>
                  <a:pt x="6387294" y="3158003"/>
                </a:cubicBezTo>
                <a:lnTo>
                  <a:pt x="6681398" y="3158003"/>
                </a:lnTo>
                <a:lnTo>
                  <a:pt x="6681398" y="2838826"/>
                </a:lnTo>
                <a:cubicBezTo>
                  <a:pt x="6681398" y="2816463"/>
                  <a:pt x="6663101" y="2798166"/>
                  <a:pt x="6640738" y="2798166"/>
                </a:cubicBezTo>
                <a:close/>
                <a:moveTo>
                  <a:pt x="5746228" y="2798166"/>
                </a:moveTo>
                <a:lnTo>
                  <a:pt x="5746228" y="3158003"/>
                </a:lnTo>
                <a:lnTo>
                  <a:pt x="5877016" y="3158003"/>
                </a:lnTo>
                <a:lnTo>
                  <a:pt x="5877016" y="2880163"/>
                </a:lnTo>
                <a:lnTo>
                  <a:pt x="5950881" y="2880163"/>
                </a:lnTo>
                <a:lnTo>
                  <a:pt x="5951559" y="3158003"/>
                </a:lnTo>
                <a:lnTo>
                  <a:pt x="6082347" y="3158003"/>
                </a:lnTo>
                <a:lnTo>
                  <a:pt x="6082347" y="2880163"/>
                </a:lnTo>
                <a:cubicBezTo>
                  <a:pt x="6082347" y="2880163"/>
                  <a:pt x="6110809" y="2880163"/>
                  <a:pt x="6110809" y="2880163"/>
                </a:cubicBezTo>
                <a:cubicBezTo>
                  <a:pt x="6121652" y="2880163"/>
                  <a:pt x="6125040" y="2882196"/>
                  <a:pt x="6130461" y="2905236"/>
                </a:cubicBezTo>
                <a:lnTo>
                  <a:pt x="6188062" y="3158003"/>
                </a:lnTo>
                <a:lnTo>
                  <a:pt x="6322239" y="3158003"/>
                </a:lnTo>
                <a:cubicBezTo>
                  <a:pt x="6322239" y="3158003"/>
                  <a:pt x="6254473" y="2867287"/>
                  <a:pt x="6248374" y="2838826"/>
                </a:cubicBezTo>
                <a:cubicBezTo>
                  <a:pt x="6242275" y="2811042"/>
                  <a:pt x="6218557" y="2798166"/>
                  <a:pt x="6196194" y="2798166"/>
                </a:cubicBezTo>
                <a:cubicBezTo>
                  <a:pt x="6179253" y="2798166"/>
                  <a:pt x="5746228" y="2798166"/>
                  <a:pt x="5746228" y="2798166"/>
                </a:cubicBezTo>
                <a:close/>
                <a:moveTo>
                  <a:pt x="5025876" y="2798166"/>
                </a:moveTo>
                <a:cubicBezTo>
                  <a:pt x="5003513" y="2798166"/>
                  <a:pt x="4985216" y="2816463"/>
                  <a:pt x="4985216" y="2838826"/>
                </a:cubicBezTo>
                <a:lnTo>
                  <a:pt x="4985216" y="3117343"/>
                </a:lnTo>
                <a:cubicBezTo>
                  <a:pt x="4985216" y="3139706"/>
                  <a:pt x="5003513" y="3158003"/>
                  <a:pt x="5025876" y="3158003"/>
                </a:cubicBezTo>
                <a:lnTo>
                  <a:pt x="5279320" y="3158003"/>
                </a:lnTo>
                <a:cubicBezTo>
                  <a:pt x="5301683" y="3158003"/>
                  <a:pt x="5319981" y="3139706"/>
                  <a:pt x="5319981" y="3117343"/>
                </a:cubicBezTo>
                <a:lnTo>
                  <a:pt x="5319981" y="3076684"/>
                </a:lnTo>
                <a:lnTo>
                  <a:pt x="5127526" y="3076684"/>
                </a:lnTo>
                <a:cubicBezTo>
                  <a:pt x="5120748" y="3076684"/>
                  <a:pt x="5115327" y="3071263"/>
                  <a:pt x="5115327" y="3064486"/>
                </a:cubicBezTo>
                <a:lnTo>
                  <a:pt x="5115327" y="3019761"/>
                </a:lnTo>
                <a:lnTo>
                  <a:pt x="5319981" y="3019761"/>
                </a:lnTo>
                <a:lnTo>
                  <a:pt x="5319981" y="2838826"/>
                </a:lnTo>
                <a:cubicBezTo>
                  <a:pt x="5319981" y="2816463"/>
                  <a:pt x="5301683" y="2798166"/>
                  <a:pt x="5279320" y="2798166"/>
                </a:cubicBezTo>
                <a:close/>
                <a:moveTo>
                  <a:pt x="5561227" y="2651114"/>
                </a:moveTo>
                <a:lnTo>
                  <a:pt x="5560549" y="3158003"/>
                </a:lnTo>
                <a:lnTo>
                  <a:pt x="5692015" y="3158003"/>
                </a:lnTo>
                <a:lnTo>
                  <a:pt x="5692015" y="2651114"/>
                </a:lnTo>
                <a:close/>
                <a:moveTo>
                  <a:pt x="5374870" y="2651114"/>
                </a:moveTo>
                <a:lnTo>
                  <a:pt x="5374870" y="3158003"/>
                </a:lnTo>
                <a:lnTo>
                  <a:pt x="5505658" y="3158003"/>
                </a:lnTo>
                <a:lnTo>
                  <a:pt x="5505658" y="2651114"/>
                </a:lnTo>
                <a:close/>
                <a:moveTo>
                  <a:pt x="4589463" y="2650436"/>
                </a:moveTo>
                <a:lnTo>
                  <a:pt x="4589463" y="3158003"/>
                </a:lnTo>
                <a:lnTo>
                  <a:pt x="4720251" y="3158003"/>
                </a:lnTo>
                <a:lnTo>
                  <a:pt x="4720929" y="2878807"/>
                </a:lnTo>
                <a:cubicBezTo>
                  <a:pt x="4720929" y="2878807"/>
                  <a:pt x="4749391" y="2878807"/>
                  <a:pt x="4749391" y="2878807"/>
                </a:cubicBezTo>
                <a:cubicBezTo>
                  <a:pt x="4760233" y="2878807"/>
                  <a:pt x="4763622" y="2880840"/>
                  <a:pt x="4769043" y="2903881"/>
                </a:cubicBezTo>
                <a:lnTo>
                  <a:pt x="4827322" y="3157325"/>
                </a:lnTo>
                <a:lnTo>
                  <a:pt x="4961498" y="3157325"/>
                </a:lnTo>
                <a:cubicBezTo>
                  <a:pt x="4961498" y="3157325"/>
                  <a:pt x="4893732" y="2866609"/>
                  <a:pt x="4887633" y="2838148"/>
                </a:cubicBezTo>
                <a:cubicBezTo>
                  <a:pt x="4881534" y="2810364"/>
                  <a:pt x="4857816" y="2797488"/>
                  <a:pt x="4835453" y="2797488"/>
                </a:cubicBezTo>
                <a:cubicBezTo>
                  <a:pt x="4831388" y="2797488"/>
                  <a:pt x="4720929" y="2797488"/>
                  <a:pt x="4720929" y="2797488"/>
                </a:cubicBezTo>
                <a:lnTo>
                  <a:pt x="4720251" y="2650436"/>
                </a:lnTo>
                <a:close/>
                <a:moveTo>
                  <a:pt x="7537283" y="2567085"/>
                </a:moveTo>
                <a:cubicBezTo>
                  <a:pt x="7598272" y="2567085"/>
                  <a:pt x="7647741" y="2616554"/>
                  <a:pt x="7647741" y="2678221"/>
                </a:cubicBezTo>
                <a:cubicBezTo>
                  <a:pt x="7646386" y="2739210"/>
                  <a:pt x="7596239" y="2790712"/>
                  <a:pt x="7535927" y="2790712"/>
                </a:cubicBezTo>
                <a:cubicBezTo>
                  <a:pt x="7515597" y="2790712"/>
                  <a:pt x="7496623" y="2785291"/>
                  <a:pt x="7480359" y="2775804"/>
                </a:cubicBezTo>
                <a:cubicBezTo>
                  <a:pt x="7487136" y="2775804"/>
                  <a:pt x="7495945" y="2774449"/>
                  <a:pt x="7502722" y="2773093"/>
                </a:cubicBezTo>
                <a:cubicBezTo>
                  <a:pt x="7510176" y="2771738"/>
                  <a:pt x="7517631" y="2769027"/>
                  <a:pt x="7524407" y="2765639"/>
                </a:cubicBezTo>
                <a:cubicBezTo>
                  <a:pt x="7533894" y="2761573"/>
                  <a:pt x="7543382" y="2756829"/>
                  <a:pt x="7550836" y="2748020"/>
                </a:cubicBezTo>
                <a:cubicBezTo>
                  <a:pt x="7556257" y="2741921"/>
                  <a:pt x="7563034" y="2735144"/>
                  <a:pt x="7569810" y="2731078"/>
                </a:cubicBezTo>
                <a:cubicBezTo>
                  <a:pt x="7577265" y="2726335"/>
                  <a:pt x="7584719" y="2721591"/>
                  <a:pt x="7592851" y="2718203"/>
                </a:cubicBezTo>
                <a:cubicBezTo>
                  <a:pt x="7595561" y="2716848"/>
                  <a:pt x="7598950" y="2716170"/>
                  <a:pt x="7601660" y="2716170"/>
                </a:cubicBezTo>
                <a:cubicBezTo>
                  <a:pt x="7607082" y="2716170"/>
                  <a:pt x="7612503" y="2714137"/>
                  <a:pt x="7617924" y="2712104"/>
                </a:cubicBezTo>
                <a:cubicBezTo>
                  <a:pt x="7621990" y="2710749"/>
                  <a:pt x="7626056" y="2709393"/>
                  <a:pt x="7630122" y="2708716"/>
                </a:cubicBezTo>
                <a:cubicBezTo>
                  <a:pt x="7630800" y="2708716"/>
                  <a:pt x="7631477" y="2708716"/>
                  <a:pt x="7631477" y="2707360"/>
                </a:cubicBezTo>
                <a:cubicBezTo>
                  <a:pt x="7631477" y="2706005"/>
                  <a:pt x="7630122" y="2706683"/>
                  <a:pt x="7629444" y="2706005"/>
                </a:cubicBezTo>
                <a:cubicBezTo>
                  <a:pt x="7624023" y="2704650"/>
                  <a:pt x="7618602" y="2702617"/>
                  <a:pt x="7613858" y="2700584"/>
                </a:cubicBezTo>
                <a:cubicBezTo>
                  <a:pt x="7610470" y="2699906"/>
                  <a:pt x="7607082" y="2699228"/>
                  <a:pt x="7603693" y="2700584"/>
                </a:cubicBezTo>
                <a:cubicBezTo>
                  <a:pt x="7598272" y="2701939"/>
                  <a:pt x="7594206" y="2704650"/>
                  <a:pt x="7590140" y="2708038"/>
                </a:cubicBezTo>
                <a:cubicBezTo>
                  <a:pt x="7583363" y="2713459"/>
                  <a:pt x="7575909" y="2718203"/>
                  <a:pt x="7568455" y="2720913"/>
                </a:cubicBezTo>
                <a:cubicBezTo>
                  <a:pt x="7563034" y="2723624"/>
                  <a:pt x="7556935" y="2724979"/>
                  <a:pt x="7550836" y="2725657"/>
                </a:cubicBezTo>
                <a:cubicBezTo>
                  <a:pt x="7549480" y="2725657"/>
                  <a:pt x="7547448" y="2726335"/>
                  <a:pt x="7546092" y="2725657"/>
                </a:cubicBezTo>
                <a:cubicBezTo>
                  <a:pt x="7550836" y="2722269"/>
                  <a:pt x="7556257" y="2719558"/>
                  <a:pt x="7560323" y="2714137"/>
                </a:cubicBezTo>
                <a:cubicBezTo>
                  <a:pt x="7563711" y="2710071"/>
                  <a:pt x="7566422" y="2706005"/>
                  <a:pt x="7569810" y="2702617"/>
                </a:cubicBezTo>
                <a:cubicBezTo>
                  <a:pt x="7575232" y="2697873"/>
                  <a:pt x="7580653" y="2693807"/>
                  <a:pt x="7586752" y="2690419"/>
                </a:cubicBezTo>
                <a:lnTo>
                  <a:pt x="7600983" y="2682287"/>
                </a:lnTo>
                <a:cubicBezTo>
                  <a:pt x="7603693" y="2680932"/>
                  <a:pt x="7607082" y="2679576"/>
                  <a:pt x="7609792" y="2678899"/>
                </a:cubicBezTo>
                <a:cubicBezTo>
                  <a:pt x="7611825" y="2678221"/>
                  <a:pt x="7613858" y="2678221"/>
                  <a:pt x="7615891" y="2678221"/>
                </a:cubicBezTo>
                <a:cubicBezTo>
                  <a:pt x="7621312" y="2678221"/>
                  <a:pt x="7627411" y="2674155"/>
                  <a:pt x="7632833" y="2672122"/>
                </a:cubicBezTo>
                <a:cubicBezTo>
                  <a:pt x="7635543" y="2671444"/>
                  <a:pt x="7638254" y="2671444"/>
                  <a:pt x="7640287" y="2670089"/>
                </a:cubicBezTo>
                <a:cubicBezTo>
                  <a:pt x="7640964" y="2670089"/>
                  <a:pt x="7640964" y="2669411"/>
                  <a:pt x="7640964" y="2668734"/>
                </a:cubicBezTo>
                <a:lnTo>
                  <a:pt x="7640287" y="2668056"/>
                </a:lnTo>
                <a:cubicBezTo>
                  <a:pt x="7633510" y="2667378"/>
                  <a:pt x="7628089" y="2665345"/>
                  <a:pt x="7621312" y="2663312"/>
                </a:cubicBezTo>
                <a:cubicBezTo>
                  <a:pt x="7615891" y="2662635"/>
                  <a:pt x="7610470" y="2662635"/>
                  <a:pt x="7605726" y="2665345"/>
                </a:cubicBezTo>
                <a:cubicBezTo>
                  <a:pt x="7600983" y="2668734"/>
                  <a:pt x="7596917" y="2672122"/>
                  <a:pt x="7592173" y="2675510"/>
                </a:cubicBezTo>
                <a:cubicBezTo>
                  <a:pt x="7590818" y="2676188"/>
                  <a:pt x="7589463" y="2677543"/>
                  <a:pt x="7588107" y="2678221"/>
                </a:cubicBezTo>
                <a:cubicBezTo>
                  <a:pt x="7582686" y="2681609"/>
                  <a:pt x="7576587" y="2684998"/>
                  <a:pt x="7570488" y="2687031"/>
                </a:cubicBezTo>
                <a:cubicBezTo>
                  <a:pt x="7564389" y="2689063"/>
                  <a:pt x="7558290" y="2689741"/>
                  <a:pt x="7552191" y="2689741"/>
                </a:cubicBezTo>
                <a:cubicBezTo>
                  <a:pt x="7550158" y="2689741"/>
                  <a:pt x="7548125" y="2688386"/>
                  <a:pt x="7546770" y="2686353"/>
                </a:cubicBezTo>
                <a:cubicBezTo>
                  <a:pt x="7545415" y="2683642"/>
                  <a:pt x="7544737" y="2680932"/>
                  <a:pt x="7544737" y="2678221"/>
                </a:cubicBezTo>
                <a:cubicBezTo>
                  <a:pt x="7544737" y="2676188"/>
                  <a:pt x="7544737" y="2674833"/>
                  <a:pt x="7544059" y="2672800"/>
                </a:cubicBezTo>
                <a:cubicBezTo>
                  <a:pt x="7544059" y="2668056"/>
                  <a:pt x="7543382" y="2661957"/>
                  <a:pt x="7544737" y="2657214"/>
                </a:cubicBezTo>
                <a:cubicBezTo>
                  <a:pt x="7545415" y="2652470"/>
                  <a:pt x="7546770" y="2647726"/>
                  <a:pt x="7546092" y="2642983"/>
                </a:cubicBezTo>
                <a:cubicBezTo>
                  <a:pt x="7544737" y="2638917"/>
                  <a:pt x="7539316" y="2634173"/>
                  <a:pt x="7526440" y="2623331"/>
                </a:cubicBezTo>
                <a:cubicBezTo>
                  <a:pt x="7513565" y="2611810"/>
                  <a:pt x="7500011" y="2596902"/>
                  <a:pt x="7493235" y="2584704"/>
                </a:cubicBezTo>
                <a:cubicBezTo>
                  <a:pt x="7492557" y="2583349"/>
                  <a:pt x="7491879" y="2581993"/>
                  <a:pt x="7491202" y="2581316"/>
                </a:cubicBezTo>
                <a:cubicBezTo>
                  <a:pt x="7489846" y="2581316"/>
                  <a:pt x="7489846" y="2581993"/>
                  <a:pt x="7489169" y="2582671"/>
                </a:cubicBezTo>
                <a:cubicBezTo>
                  <a:pt x="7483748" y="2590125"/>
                  <a:pt x="7481714" y="2598935"/>
                  <a:pt x="7483070" y="2608422"/>
                </a:cubicBezTo>
                <a:cubicBezTo>
                  <a:pt x="7485103" y="2617909"/>
                  <a:pt x="7489169" y="2626041"/>
                  <a:pt x="7495945" y="2633495"/>
                </a:cubicBezTo>
                <a:cubicBezTo>
                  <a:pt x="7499334" y="2637561"/>
                  <a:pt x="7503400" y="2642983"/>
                  <a:pt x="7505433" y="2647049"/>
                </a:cubicBezTo>
                <a:cubicBezTo>
                  <a:pt x="7507466" y="2651115"/>
                  <a:pt x="7508143" y="2655181"/>
                  <a:pt x="7507466" y="2659924"/>
                </a:cubicBezTo>
                <a:lnTo>
                  <a:pt x="7497301" y="2652470"/>
                </a:lnTo>
                <a:cubicBezTo>
                  <a:pt x="7497301" y="2652470"/>
                  <a:pt x="7493235" y="2649759"/>
                  <a:pt x="7487136" y="2645016"/>
                </a:cubicBezTo>
                <a:cubicBezTo>
                  <a:pt x="7481714" y="2640950"/>
                  <a:pt x="7475616" y="2637561"/>
                  <a:pt x="7466128" y="2626719"/>
                </a:cubicBezTo>
                <a:cubicBezTo>
                  <a:pt x="7466128" y="2626041"/>
                  <a:pt x="7465451" y="2626041"/>
                  <a:pt x="7464773" y="2626719"/>
                </a:cubicBezTo>
                <a:cubicBezTo>
                  <a:pt x="7464095" y="2627397"/>
                  <a:pt x="7464095" y="2628074"/>
                  <a:pt x="7463418" y="2629429"/>
                </a:cubicBezTo>
                <a:cubicBezTo>
                  <a:pt x="7462062" y="2640272"/>
                  <a:pt x="7461385" y="2653148"/>
                  <a:pt x="7467484" y="2661957"/>
                </a:cubicBezTo>
                <a:cubicBezTo>
                  <a:pt x="7470872" y="2667378"/>
                  <a:pt x="7475616" y="2672122"/>
                  <a:pt x="7480359" y="2676866"/>
                </a:cubicBezTo>
                <a:cubicBezTo>
                  <a:pt x="7483748" y="2679576"/>
                  <a:pt x="7486458" y="2682965"/>
                  <a:pt x="7489846" y="2685675"/>
                </a:cubicBezTo>
                <a:cubicBezTo>
                  <a:pt x="7493235" y="2688386"/>
                  <a:pt x="7496623" y="2691774"/>
                  <a:pt x="7496623" y="2695840"/>
                </a:cubicBezTo>
                <a:cubicBezTo>
                  <a:pt x="7497301" y="2700584"/>
                  <a:pt x="7495268" y="2704650"/>
                  <a:pt x="7493912" y="2708716"/>
                </a:cubicBezTo>
                <a:cubicBezTo>
                  <a:pt x="7491879" y="2712104"/>
                  <a:pt x="7490524" y="2715492"/>
                  <a:pt x="7487814" y="2717525"/>
                </a:cubicBezTo>
                <a:cubicBezTo>
                  <a:pt x="7483748" y="2720236"/>
                  <a:pt x="7477649" y="2718203"/>
                  <a:pt x="7472905" y="2718880"/>
                </a:cubicBezTo>
                <a:cubicBezTo>
                  <a:pt x="7469517" y="2718880"/>
                  <a:pt x="7467484" y="2722269"/>
                  <a:pt x="7466128" y="2724979"/>
                </a:cubicBezTo>
                <a:cubicBezTo>
                  <a:pt x="7464095" y="2728368"/>
                  <a:pt x="7462062" y="2731756"/>
                  <a:pt x="7462740" y="2735822"/>
                </a:cubicBezTo>
                <a:cubicBezTo>
                  <a:pt x="7463418" y="2740566"/>
                  <a:pt x="7465451" y="2744632"/>
                  <a:pt x="7466806" y="2746665"/>
                </a:cubicBezTo>
                <a:cubicBezTo>
                  <a:pt x="7467484" y="2747342"/>
                  <a:pt x="7468161" y="2748697"/>
                  <a:pt x="7469517" y="2748697"/>
                </a:cubicBezTo>
                <a:cubicBezTo>
                  <a:pt x="7471550" y="2748020"/>
                  <a:pt x="7473583" y="2747342"/>
                  <a:pt x="7475616" y="2745987"/>
                </a:cubicBezTo>
                <a:cubicBezTo>
                  <a:pt x="7485103" y="2737855"/>
                  <a:pt x="7489169" y="2735144"/>
                  <a:pt x="7499334" y="2732434"/>
                </a:cubicBezTo>
                <a:cubicBezTo>
                  <a:pt x="7493235" y="2735144"/>
                  <a:pt x="7488491" y="2741921"/>
                  <a:pt x="7487136" y="2743954"/>
                </a:cubicBezTo>
                <a:cubicBezTo>
                  <a:pt x="7479004" y="2753441"/>
                  <a:pt x="7471550" y="2757507"/>
                  <a:pt x="7460029" y="2755474"/>
                </a:cubicBezTo>
                <a:cubicBezTo>
                  <a:pt x="7457319" y="2754796"/>
                  <a:pt x="7455963" y="2754119"/>
                  <a:pt x="7455963" y="2754119"/>
                </a:cubicBezTo>
                <a:cubicBezTo>
                  <a:pt x="7445121" y="2742599"/>
                  <a:pt x="7426146" y="2716170"/>
                  <a:pt x="7426146" y="2678221"/>
                </a:cubicBezTo>
                <a:cubicBezTo>
                  <a:pt x="7426146" y="2617232"/>
                  <a:pt x="7475616" y="2567085"/>
                  <a:pt x="7537283" y="2567085"/>
                </a:cubicBezTo>
                <a:close/>
                <a:moveTo>
                  <a:pt x="7535927" y="2552854"/>
                </a:moveTo>
                <a:cubicBezTo>
                  <a:pt x="7466128" y="2552854"/>
                  <a:pt x="7409205" y="2609777"/>
                  <a:pt x="7409205" y="2679576"/>
                </a:cubicBezTo>
                <a:cubicBezTo>
                  <a:pt x="7409205" y="2749375"/>
                  <a:pt x="7466128" y="2806299"/>
                  <a:pt x="7535927" y="2806299"/>
                </a:cubicBezTo>
                <a:cubicBezTo>
                  <a:pt x="7605726" y="2806299"/>
                  <a:pt x="7662650" y="2749375"/>
                  <a:pt x="7662650" y="2679576"/>
                </a:cubicBezTo>
                <a:cubicBezTo>
                  <a:pt x="7662650" y="2609777"/>
                  <a:pt x="7605726" y="2552854"/>
                  <a:pt x="7535927" y="2552854"/>
                </a:cubicBezTo>
                <a:close/>
                <a:moveTo>
                  <a:pt x="0" y="0"/>
                </a:moveTo>
                <a:lnTo>
                  <a:pt x="12191999" y="0"/>
                </a:lnTo>
                <a:lnTo>
                  <a:pt x="12191999" y="6858000"/>
                </a:lnTo>
                <a:lnTo>
                  <a:pt x="0" y="6858000"/>
                </a:lnTo>
                <a:close/>
              </a:path>
            </a:pathLst>
          </a:custGeom>
          <a:blipFill>
            <a:blip r:embed="rId2"/>
            <a:stretch>
              <a:fillRect/>
            </a:stretch>
          </a:blipFill>
        </p:spPr>
        <p:txBody>
          <a:bodyPr wrap="square">
            <a:noAutofit/>
          </a:bodyPr>
          <a:lstStyle>
            <a:lvl1pPr marL="285750" indent="-285750" algn="ctr">
              <a:buFontTx/>
              <a:buBlip>
                <a:blip r:embed="rId3"/>
              </a:buBlip>
              <a:defRPr>
                <a:solidFill>
                  <a:schemeClr val="bg1"/>
                </a:solidFill>
              </a:defRPr>
            </a:lvl1pPr>
          </a:lstStyle>
          <a:p>
            <a:endParaRPr lang="en-US"/>
          </a:p>
          <a:p>
            <a:endParaRPr lang="en-US"/>
          </a:p>
          <a:p>
            <a:r>
              <a:rPr lang="en-US"/>
              <a:t>Fill image placeholder and make the image 30% darker!</a:t>
            </a:r>
            <a:endParaRPr lang="de-DE"/>
          </a:p>
        </p:txBody>
      </p:sp>
      <p:sp>
        <p:nvSpPr>
          <p:cNvPr id="65" name="Titel 1">
            <a:extLst>
              <a:ext uri="{FF2B5EF4-FFF2-40B4-BE49-F238E27FC236}">
                <a16:creationId xmlns:a16="http://schemas.microsoft.com/office/drawing/2014/main" id="{E49B6C10-9696-4A20-A390-BBF8A02CA45E}"/>
              </a:ext>
            </a:extLst>
          </p:cNvPr>
          <p:cNvSpPr>
            <a:spLocks noGrp="1"/>
          </p:cNvSpPr>
          <p:nvPr>
            <p:ph type="title" hasCustomPrompt="1"/>
          </p:nvPr>
        </p:nvSpPr>
        <p:spPr>
          <a:xfrm>
            <a:off x="815952" y="3728788"/>
            <a:ext cx="10560096" cy="1148012"/>
          </a:xfrm>
        </p:spPr>
        <p:txBody>
          <a:bodyPr anchor="t">
            <a:normAutofit/>
          </a:bodyPr>
          <a:lstStyle>
            <a:lvl1pPr algn="ctr">
              <a:lnSpc>
                <a:spcPct val="100000"/>
              </a:lnSpc>
              <a:defRPr sz="3600">
                <a:solidFill>
                  <a:schemeClr val="bg1"/>
                </a:solidFill>
              </a:defRPr>
            </a:lvl1pPr>
          </a:lstStyle>
          <a:p>
            <a:r>
              <a:rPr lang="de-DE"/>
              <a:t>Headline</a:t>
            </a:r>
          </a:p>
        </p:txBody>
      </p:sp>
      <p:grpSp>
        <p:nvGrpSpPr>
          <p:cNvPr id="3" name="Grafik 1">
            <a:extLst>
              <a:ext uri="{FF2B5EF4-FFF2-40B4-BE49-F238E27FC236}">
                <a16:creationId xmlns:a16="http://schemas.microsoft.com/office/drawing/2014/main" id="{E72B9C0B-F869-48CB-84AA-6132E62EFC1D}"/>
              </a:ext>
            </a:extLst>
          </p:cNvPr>
          <p:cNvGrpSpPr/>
          <p:nvPr/>
        </p:nvGrpSpPr>
        <p:grpSpPr>
          <a:xfrm>
            <a:off x="4588770" y="2552700"/>
            <a:ext cx="3077435" cy="777671"/>
            <a:chOff x="4591049" y="2550319"/>
            <a:chExt cx="3068013" cy="775290"/>
          </a:xfrm>
          <a:solidFill>
            <a:schemeClr val="accent1"/>
          </a:solidFill>
        </p:grpSpPr>
        <p:grpSp>
          <p:nvGrpSpPr>
            <p:cNvPr id="4" name="Grafik 1">
              <a:extLst>
                <a:ext uri="{FF2B5EF4-FFF2-40B4-BE49-F238E27FC236}">
                  <a16:creationId xmlns:a16="http://schemas.microsoft.com/office/drawing/2014/main" id="{E72B9C0B-F869-48CB-84AA-6132E62EFC1D}"/>
                </a:ext>
              </a:extLst>
            </p:cNvPr>
            <p:cNvGrpSpPr/>
            <p:nvPr/>
          </p:nvGrpSpPr>
          <p:grpSpPr>
            <a:xfrm>
              <a:off x="4591049" y="2647737"/>
              <a:ext cx="2909031" cy="506712"/>
              <a:chOff x="4591049" y="2647737"/>
              <a:chExt cx="2909031" cy="506712"/>
            </a:xfrm>
            <a:solidFill>
              <a:srgbClr val="E42313"/>
            </a:solidFill>
          </p:grpSpPr>
          <p:sp>
            <p:nvSpPr>
              <p:cNvPr id="5" name="Freihandform: Form 4">
                <a:extLst>
                  <a:ext uri="{FF2B5EF4-FFF2-40B4-BE49-F238E27FC236}">
                    <a16:creationId xmlns:a16="http://schemas.microsoft.com/office/drawing/2014/main" id="{58083A5F-77D4-479C-8508-64182CD83B35}"/>
                  </a:ext>
                </a:extLst>
              </p:cNvPr>
              <p:cNvSpPr/>
              <p:nvPr/>
            </p:nvSpPr>
            <p:spPr>
              <a:xfrm>
                <a:off x="4591049" y="2647737"/>
                <a:ext cx="371408" cy="506712"/>
              </a:xfrm>
              <a:custGeom>
                <a:avLst/>
                <a:gdLst>
                  <a:gd name="connsiteX0" fmla="*/ 130568 w 371408"/>
                  <a:gd name="connsiteY0" fmla="*/ 506713 h 506712"/>
                  <a:gd name="connsiteX1" fmla="*/ 0 w 371408"/>
                  <a:gd name="connsiteY1" fmla="*/ 506713 h 506712"/>
                  <a:gd name="connsiteX2" fmla="*/ 0 w 371408"/>
                  <a:gd name="connsiteY2" fmla="*/ 0 h 506712"/>
                  <a:gd name="connsiteX3" fmla="*/ 130568 w 371408"/>
                  <a:gd name="connsiteY3" fmla="*/ 0 h 506712"/>
                  <a:gd name="connsiteX4" fmla="*/ 131245 w 371408"/>
                  <a:gd name="connsiteY4" fmla="*/ 146805 h 506712"/>
                  <a:gd name="connsiteX5" fmla="*/ 245576 w 371408"/>
                  <a:gd name="connsiteY5" fmla="*/ 146805 h 506712"/>
                  <a:gd name="connsiteX6" fmla="*/ 297668 w 371408"/>
                  <a:gd name="connsiteY6" fmla="*/ 187396 h 506712"/>
                  <a:gd name="connsiteX7" fmla="*/ 371409 w 371408"/>
                  <a:gd name="connsiteY7" fmla="*/ 506036 h 506712"/>
                  <a:gd name="connsiteX8" fmla="*/ 237458 w 371408"/>
                  <a:gd name="connsiteY8" fmla="*/ 506036 h 506712"/>
                  <a:gd name="connsiteX9" fmla="*/ 179278 w 371408"/>
                  <a:gd name="connsiteY9" fmla="*/ 253018 h 506712"/>
                  <a:gd name="connsiteX10" fmla="*/ 159658 w 371408"/>
                  <a:gd name="connsiteY10" fmla="*/ 227987 h 506712"/>
                  <a:gd name="connsiteX11" fmla="*/ 131245 w 371408"/>
                  <a:gd name="connsiteY11" fmla="*/ 227987 h 506712"/>
                  <a:gd name="connsiteX12" fmla="*/ 130568 w 371408"/>
                  <a:gd name="connsiteY12" fmla="*/ 506713 h 506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1408" h="506712">
                    <a:moveTo>
                      <a:pt x="130568" y="506713"/>
                    </a:moveTo>
                    <a:lnTo>
                      <a:pt x="0" y="506713"/>
                    </a:lnTo>
                    <a:lnTo>
                      <a:pt x="0" y="0"/>
                    </a:lnTo>
                    <a:lnTo>
                      <a:pt x="130568" y="0"/>
                    </a:lnTo>
                    <a:lnTo>
                      <a:pt x="131245" y="146805"/>
                    </a:lnTo>
                    <a:cubicBezTo>
                      <a:pt x="131245" y="146805"/>
                      <a:pt x="241517" y="146805"/>
                      <a:pt x="245576" y="146805"/>
                    </a:cubicBezTo>
                    <a:cubicBezTo>
                      <a:pt x="267902" y="146805"/>
                      <a:pt x="291580" y="159659"/>
                      <a:pt x="297668" y="187396"/>
                    </a:cubicBezTo>
                    <a:cubicBezTo>
                      <a:pt x="303757" y="215810"/>
                      <a:pt x="371409" y="506036"/>
                      <a:pt x="371409" y="506036"/>
                    </a:cubicBezTo>
                    <a:lnTo>
                      <a:pt x="237458" y="506036"/>
                    </a:lnTo>
                    <a:lnTo>
                      <a:pt x="179278" y="253018"/>
                    </a:lnTo>
                    <a:cubicBezTo>
                      <a:pt x="173865" y="230017"/>
                      <a:pt x="170483" y="227987"/>
                      <a:pt x="159658" y="227987"/>
                    </a:cubicBezTo>
                    <a:cubicBezTo>
                      <a:pt x="159658" y="227987"/>
                      <a:pt x="131245" y="227987"/>
                      <a:pt x="131245" y="227987"/>
                    </a:cubicBezTo>
                    <a:lnTo>
                      <a:pt x="130568" y="506713"/>
                    </a:lnTo>
                    <a:close/>
                  </a:path>
                </a:pathLst>
              </a:custGeom>
              <a:solidFill>
                <a:srgbClr val="E42313"/>
              </a:solidFill>
              <a:ln w="6756" cap="flat">
                <a:noFill/>
                <a:prstDash val="solid"/>
                <a:miter/>
              </a:ln>
            </p:spPr>
            <p:txBody>
              <a:bodyPr rtlCol="0" anchor="ctr"/>
              <a:lstStyle/>
              <a:p>
                <a:endParaRPr lang="de-DE"/>
              </a:p>
            </p:txBody>
          </p:sp>
          <p:sp>
            <p:nvSpPr>
              <p:cNvPr id="6" name="Freihandform: Form 5">
                <a:extLst>
                  <a:ext uri="{FF2B5EF4-FFF2-40B4-BE49-F238E27FC236}">
                    <a16:creationId xmlns:a16="http://schemas.microsoft.com/office/drawing/2014/main" id="{579284D4-7742-420B-AEF0-593FD613EBDC}"/>
                  </a:ext>
                </a:extLst>
              </p:cNvPr>
              <p:cNvSpPr/>
              <p:nvPr/>
            </p:nvSpPr>
            <p:spPr>
              <a:xfrm>
                <a:off x="4986136" y="2795218"/>
                <a:ext cx="334200" cy="359231"/>
              </a:xfrm>
              <a:custGeom>
                <a:avLst/>
                <a:gdLst>
                  <a:gd name="connsiteX0" fmla="*/ 129892 w 334200"/>
                  <a:gd name="connsiteY0" fmla="*/ 139363 h 359231"/>
                  <a:gd name="connsiteX1" fmla="*/ 129892 w 334200"/>
                  <a:gd name="connsiteY1" fmla="*/ 94036 h 359231"/>
                  <a:gd name="connsiteX2" fmla="*/ 142069 w 334200"/>
                  <a:gd name="connsiteY2" fmla="*/ 81859 h 359231"/>
                  <a:gd name="connsiteX3" fmla="*/ 190778 w 334200"/>
                  <a:gd name="connsiteY3" fmla="*/ 81859 h 359231"/>
                  <a:gd name="connsiteX4" fmla="*/ 202956 w 334200"/>
                  <a:gd name="connsiteY4" fmla="*/ 94036 h 359231"/>
                  <a:gd name="connsiteX5" fmla="*/ 202956 w 334200"/>
                  <a:gd name="connsiteY5" fmla="*/ 139363 h 359231"/>
                  <a:gd name="connsiteX6" fmla="*/ 129892 w 334200"/>
                  <a:gd name="connsiteY6" fmla="*/ 139363 h 359231"/>
                  <a:gd name="connsiteX7" fmla="*/ 334200 w 334200"/>
                  <a:gd name="connsiteY7" fmla="*/ 40591 h 359231"/>
                  <a:gd name="connsiteX8" fmla="*/ 293609 w 334200"/>
                  <a:gd name="connsiteY8" fmla="*/ 0 h 359231"/>
                  <a:gd name="connsiteX9" fmla="*/ 40591 w 334200"/>
                  <a:gd name="connsiteY9" fmla="*/ 0 h 359231"/>
                  <a:gd name="connsiteX10" fmla="*/ 0 w 334200"/>
                  <a:gd name="connsiteY10" fmla="*/ 40591 h 359231"/>
                  <a:gd name="connsiteX11" fmla="*/ 0 w 334200"/>
                  <a:gd name="connsiteY11" fmla="*/ 318641 h 359231"/>
                  <a:gd name="connsiteX12" fmla="*/ 40591 w 334200"/>
                  <a:gd name="connsiteY12" fmla="*/ 359232 h 359231"/>
                  <a:gd name="connsiteX13" fmla="*/ 293609 w 334200"/>
                  <a:gd name="connsiteY13" fmla="*/ 359232 h 359231"/>
                  <a:gd name="connsiteX14" fmla="*/ 334200 w 334200"/>
                  <a:gd name="connsiteY14" fmla="*/ 318641 h 359231"/>
                  <a:gd name="connsiteX15" fmla="*/ 334200 w 334200"/>
                  <a:gd name="connsiteY15" fmla="*/ 278049 h 359231"/>
                  <a:gd name="connsiteX16" fmla="*/ 142069 w 334200"/>
                  <a:gd name="connsiteY16" fmla="*/ 278049 h 359231"/>
                  <a:gd name="connsiteX17" fmla="*/ 129892 w 334200"/>
                  <a:gd name="connsiteY17" fmla="*/ 265872 h 359231"/>
                  <a:gd name="connsiteX18" fmla="*/ 129892 w 334200"/>
                  <a:gd name="connsiteY18" fmla="*/ 221222 h 359231"/>
                  <a:gd name="connsiteX19" fmla="*/ 334200 w 334200"/>
                  <a:gd name="connsiteY19" fmla="*/ 221222 h 359231"/>
                  <a:gd name="connsiteX20" fmla="*/ 334200 w 334200"/>
                  <a:gd name="connsiteY20" fmla="*/ 40591 h 3592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34200" h="359231">
                    <a:moveTo>
                      <a:pt x="129892" y="139363"/>
                    </a:moveTo>
                    <a:lnTo>
                      <a:pt x="129892" y="94036"/>
                    </a:lnTo>
                    <a:cubicBezTo>
                      <a:pt x="129892" y="87271"/>
                      <a:pt x="135304" y="81859"/>
                      <a:pt x="142069" y="81859"/>
                    </a:cubicBezTo>
                    <a:lnTo>
                      <a:pt x="190778" y="81859"/>
                    </a:lnTo>
                    <a:cubicBezTo>
                      <a:pt x="197544" y="81859"/>
                      <a:pt x="202956" y="87271"/>
                      <a:pt x="202956" y="94036"/>
                    </a:cubicBezTo>
                    <a:lnTo>
                      <a:pt x="202956" y="139363"/>
                    </a:lnTo>
                    <a:lnTo>
                      <a:pt x="129892" y="139363"/>
                    </a:lnTo>
                    <a:close/>
                    <a:moveTo>
                      <a:pt x="334200" y="40591"/>
                    </a:moveTo>
                    <a:cubicBezTo>
                      <a:pt x="334200" y="18266"/>
                      <a:pt x="315934" y="0"/>
                      <a:pt x="293609" y="0"/>
                    </a:cubicBezTo>
                    <a:lnTo>
                      <a:pt x="40591" y="0"/>
                    </a:lnTo>
                    <a:cubicBezTo>
                      <a:pt x="18266" y="0"/>
                      <a:pt x="0" y="18266"/>
                      <a:pt x="0" y="40591"/>
                    </a:cubicBezTo>
                    <a:lnTo>
                      <a:pt x="0" y="318641"/>
                    </a:lnTo>
                    <a:cubicBezTo>
                      <a:pt x="0" y="340966"/>
                      <a:pt x="18266" y="359232"/>
                      <a:pt x="40591" y="359232"/>
                    </a:cubicBezTo>
                    <a:lnTo>
                      <a:pt x="293609" y="359232"/>
                    </a:lnTo>
                    <a:cubicBezTo>
                      <a:pt x="315934" y="359232"/>
                      <a:pt x="334200" y="340966"/>
                      <a:pt x="334200" y="318641"/>
                    </a:cubicBezTo>
                    <a:lnTo>
                      <a:pt x="334200" y="278049"/>
                    </a:lnTo>
                    <a:lnTo>
                      <a:pt x="142069" y="278049"/>
                    </a:lnTo>
                    <a:cubicBezTo>
                      <a:pt x="135304" y="278049"/>
                      <a:pt x="129892" y="272637"/>
                      <a:pt x="129892" y="265872"/>
                    </a:cubicBezTo>
                    <a:lnTo>
                      <a:pt x="129892" y="221222"/>
                    </a:lnTo>
                    <a:lnTo>
                      <a:pt x="334200" y="221222"/>
                    </a:lnTo>
                    <a:lnTo>
                      <a:pt x="334200" y="40591"/>
                    </a:lnTo>
                    <a:close/>
                  </a:path>
                </a:pathLst>
              </a:custGeom>
              <a:solidFill>
                <a:srgbClr val="E42313"/>
              </a:solidFill>
              <a:ln w="6756" cap="flat">
                <a:noFill/>
                <a:prstDash val="solid"/>
                <a:miter/>
              </a:ln>
            </p:spPr>
            <p:txBody>
              <a:bodyPr rtlCol="0" anchor="ctr"/>
              <a:lstStyle/>
              <a:p>
                <a:endParaRPr lang="de-DE"/>
              </a:p>
            </p:txBody>
          </p:sp>
          <p:sp>
            <p:nvSpPr>
              <p:cNvPr id="7" name="Freihandform: Form 6">
                <a:extLst>
                  <a:ext uri="{FF2B5EF4-FFF2-40B4-BE49-F238E27FC236}">
                    <a16:creationId xmlns:a16="http://schemas.microsoft.com/office/drawing/2014/main" id="{2C1D9E28-FAB9-4CC4-89E4-6856ADF02602}"/>
                  </a:ext>
                </a:extLst>
              </p:cNvPr>
              <p:cNvSpPr/>
              <p:nvPr/>
            </p:nvSpPr>
            <p:spPr>
              <a:xfrm>
                <a:off x="5375134" y="2648414"/>
                <a:ext cx="130568" cy="506036"/>
              </a:xfrm>
              <a:custGeom>
                <a:avLst/>
                <a:gdLst>
                  <a:gd name="connsiteX0" fmla="*/ 130568 w 130568"/>
                  <a:gd name="connsiteY0" fmla="*/ 506036 h 506036"/>
                  <a:gd name="connsiteX1" fmla="*/ 0 w 130568"/>
                  <a:gd name="connsiteY1" fmla="*/ 506036 h 506036"/>
                  <a:gd name="connsiteX2" fmla="*/ 0 w 130568"/>
                  <a:gd name="connsiteY2" fmla="*/ 0 h 506036"/>
                  <a:gd name="connsiteX3" fmla="*/ 130568 w 130568"/>
                  <a:gd name="connsiteY3" fmla="*/ 0 h 506036"/>
                </a:gdLst>
                <a:ahLst/>
                <a:cxnLst>
                  <a:cxn ang="0">
                    <a:pos x="connsiteX0" y="connsiteY0"/>
                  </a:cxn>
                  <a:cxn ang="0">
                    <a:pos x="connsiteX1" y="connsiteY1"/>
                  </a:cxn>
                  <a:cxn ang="0">
                    <a:pos x="connsiteX2" y="connsiteY2"/>
                  </a:cxn>
                  <a:cxn ang="0">
                    <a:pos x="connsiteX3" y="connsiteY3"/>
                  </a:cxn>
                </a:cxnLst>
                <a:rect l="l" t="t" r="r" b="b"/>
                <a:pathLst>
                  <a:path w="130568" h="506035">
                    <a:moveTo>
                      <a:pt x="130568" y="506036"/>
                    </a:moveTo>
                    <a:lnTo>
                      <a:pt x="0" y="506036"/>
                    </a:lnTo>
                    <a:lnTo>
                      <a:pt x="0" y="0"/>
                    </a:lnTo>
                    <a:lnTo>
                      <a:pt x="130568" y="0"/>
                    </a:lnTo>
                    <a:close/>
                  </a:path>
                </a:pathLst>
              </a:custGeom>
              <a:solidFill>
                <a:srgbClr val="E42313"/>
              </a:solidFill>
              <a:ln w="6756" cap="flat">
                <a:noFill/>
                <a:prstDash val="solid"/>
                <a:miter/>
              </a:ln>
            </p:spPr>
            <p:txBody>
              <a:bodyPr rtlCol="0" anchor="ctr"/>
              <a:lstStyle/>
              <a:p>
                <a:endParaRPr lang="de-DE"/>
              </a:p>
            </p:txBody>
          </p:sp>
          <p:sp>
            <p:nvSpPr>
              <p:cNvPr id="8" name="Freihandform: Form 7">
                <a:extLst>
                  <a:ext uri="{FF2B5EF4-FFF2-40B4-BE49-F238E27FC236}">
                    <a16:creationId xmlns:a16="http://schemas.microsoft.com/office/drawing/2014/main" id="{B1111EF9-F8B0-41DB-A38B-C294A1CD9955}"/>
                  </a:ext>
                </a:extLst>
              </p:cNvPr>
              <p:cNvSpPr/>
              <p:nvPr/>
            </p:nvSpPr>
            <p:spPr>
              <a:xfrm>
                <a:off x="5560500" y="2648414"/>
                <a:ext cx="131244" cy="506036"/>
              </a:xfrm>
              <a:custGeom>
                <a:avLst/>
                <a:gdLst>
                  <a:gd name="connsiteX0" fmla="*/ 131245 w 131244"/>
                  <a:gd name="connsiteY0" fmla="*/ 506036 h 506036"/>
                  <a:gd name="connsiteX1" fmla="*/ 0 w 131244"/>
                  <a:gd name="connsiteY1" fmla="*/ 506036 h 506036"/>
                  <a:gd name="connsiteX2" fmla="*/ 676 w 131244"/>
                  <a:gd name="connsiteY2" fmla="*/ 0 h 506036"/>
                  <a:gd name="connsiteX3" fmla="*/ 131245 w 131244"/>
                  <a:gd name="connsiteY3" fmla="*/ 0 h 506036"/>
                </a:gdLst>
                <a:ahLst/>
                <a:cxnLst>
                  <a:cxn ang="0">
                    <a:pos x="connsiteX0" y="connsiteY0"/>
                  </a:cxn>
                  <a:cxn ang="0">
                    <a:pos x="connsiteX1" y="connsiteY1"/>
                  </a:cxn>
                  <a:cxn ang="0">
                    <a:pos x="connsiteX2" y="connsiteY2"/>
                  </a:cxn>
                  <a:cxn ang="0">
                    <a:pos x="connsiteX3" y="connsiteY3"/>
                  </a:cxn>
                </a:cxnLst>
                <a:rect l="l" t="t" r="r" b="b"/>
                <a:pathLst>
                  <a:path w="131244" h="506035">
                    <a:moveTo>
                      <a:pt x="131245" y="506036"/>
                    </a:moveTo>
                    <a:lnTo>
                      <a:pt x="0" y="506036"/>
                    </a:lnTo>
                    <a:lnTo>
                      <a:pt x="676" y="0"/>
                    </a:lnTo>
                    <a:lnTo>
                      <a:pt x="131245" y="0"/>
                    </a:lnTo>
                    <a:close/>
                  </a:path>
                </a:pathLst>
              </a:custGeom>
              <a:solidFill>
                <a:srgbClr val="E42313"/>
              </a:solidFill>
              <a:ln w="6756" cap="flat">
                <a:noFill/>
                <a:prstDash val="solid"/>
                <a:miter/>
              </a:ln>
            </p:spPr>
            <p:txBody>
              <a:bodyPr rtlCol="0" anchor="ctr"/>
              <a:lstStyle/>
              <a:p>
                <a:endParaRPr lang="de-DE"/>
              </a:p>
            </p:txBody>
          </p:sp>
          <p:sp>
            <p:nvSpPr>
              <p:cNvPr id="9" name="Freihandform: Form 8">
                <a:extLst>
                  <a:ext uri="{FF2B5EF4-FFF2-40B4-BE49-F238E27FC236}">
                    <a16:creationId xmlns:a16="http://schemas.microsoft.com/office/drawing/2014/main" id="{026DEAB6-643A-4744-AA87-D92715142968}"/>
                  </a:ext>
                </a:extLst>
              </p:cNvPr>
              <p:cNvSpPr/>
              <p:nvPr/>
            </p:nvSpPr>
            <p:spPr>
              <a:xfrm>
                <a:off x="5745866" y="2795218"/>
                <a:ext cx="575041" cy="359231"/>
              </a:xfrm>
              <a:custGeom>
                <a:avLst/>
                <a:gdLst>
                  <a:gd name="connsiteX0" fmla="*/ 335553 w 575041"/>
                  <a:gd name="connsiteY0" fmla="*/ 359232 h 359231"/>
                  <a:gd name="connsiteX1" fmla="*/ 204985 w 575041"/>
                  <a:gd name="connsiteY1" fmla="*/ 359232 h 359231"/>
                  <a:gd name="connsiteX2" fmla="*/ 204309 w 575041"/>
                  <a:gd name="connsiteY2" fmla="*/ 81859 h 359231"/>
                  <a:gd name="connsiteX3" fmla="*/ 130568 w 575041"/>
                  <a:gd name="connsiteY3" fmla="*/ 81859 h 359231"/>
                  <a:gd name="connsiteX4" fmla="*/ 130568 w 575041"/>
                  <a:gd name="connsiteY4" fmla="*/ 359232 h 359231"/>
                  <a:gd name="connsiteX5" fmla="*/ 0 w 575041"/>
                  <a:gd name="connsiteY5" fmla="*/ 359232 h 359231"/>
                  <a:gd name="connsiteX6" fmla="*/ 0 w 575041"/>
                  <a:gd name="connsiteY6" fmla="*/ 0 h 359231"/>
                  <a:gd name="connsiteX7" fmla="*/ 449209 w 575041"/>
                  <a:gd name="connsiteY7" fmla="*/ 0 h 359231"/>
                  <a:gd name="connsiteX8" fmla="*/ 501301 w 575041"/>
                  <a:gd name="connsiteY8" fmla="*/ 40591 h 359231"/>
                  <a:gd name="connsiteX9" fmla="*/ 575041 w 575041"/>
                  <a:gd name="connsiteY9" fmla="*/ 359232 h 359231"/>
                  <a:gd name="connsiteX10" fmla="*/ 441090 w 575041"/>
                  <a:gd name="connsiteY10" fmla="*/ 359232 h 359231"/>
                  <a:gd name="connsiteX11" fmla="*/ 383586 w 575041"/>
                  <a:gd name="connsiteY11" fmla="*/ 106890 h 359231"/>
                  <a:gd name="connsiteX12" fmla="*/ 363967 w 575041"/>
                  <a:gd name="connsiteY12" fmla="*/ 81859 h 359231"/>
                  <a:gd name="connsiteX13" fmla="*/ 335553 w 575041"/>
                  <a:gd name="connsiteY13" fmla="*/ 81859 h 359231"/>
                  <a:gd name="connsiteX14" fmla="*/ 335553 w 575041"/>
                  <a:gd name="connsiteY14" fmla="*/ 359232 h 3592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5041" h="359231">
                    <a:moveTo>
                      <a:pt x="335553" y="359232"/>
                    </a:moveTo>
                    <a:lnTo>
                      <a:pt x="204985" y="359232"/>
                    </a:lnTo>
                    <a:lnTo>
                      <a:pt x="204309" y="81859"/>
                    </a:lnTo>
                    <a:lnTo>
                      <a:pt x="130568" y="81859"/>
                    </a:lnTo>
                    <a:lnTo>
                      <a:pt x="130568" y="359232"/>
                    </a:lnTo>
                    <a:lnTo>
                      <a:pt x="0" y="359232"/>
                    </a:lnTo>
                    <a:lnTo>
                      <a:pt x="0" y="0"/>
                    </a:lnTo>
                    <a:cubicBezTo>
                      <a:pt x="0" y="0"/>
                      <a:pt x="432296" y="0"/>
                      <a:pt x="449209" y="0"/>
                    </a:cubicBezTo>
                    <a:cubicBezTo>
                      <a:pt x="471534" y="0"/>
                      <a:pt x="495212" y="12854"/>
                      <a:pt x="501301" y="40591"/>
                    </a:cubicBezTo>
                    <a:cubicBezTo>
                      <a:pt x="507389" y="69005"/>
                      <a:pt x="575041" y="359232"/>
                      <a:pt x="575041" y="359232"/>
                    </a:cubicBezTo>
                    <a:lnTo>
                      <a:pt x="441090" y="359232"/>
                    </a:lnTo>
                    <a:lnTo>
                      <a:pt x="383586" y="106890"/>
                    </a:lnTo>
                    <a:cubicBezTo>
                      <a:pt x="378174" y="83888"/>
                      <a:pt x="374792" y="81859"/>
                      <a:pt x="363967" y="81859"/>
                    </a:cubicBezTo>
                    <a:cubicBezTo>
                      <a:pt x="363967" y="81859"/>
                      <a:pt x="335553" y="81859"/>
                      <a:pt x="335553" y="81859"/>
                    </a:cubicBezTo>
                    <a:lnTo>
                      <a:pt x="335553" y="359232"/>
                    </a:lnTo>
                    <a:close/>
                  </a:path>
                </a:pathLst>
              </a:custGeom>
              <a:solidFill>
                <a:srgbClr val="E42313"/>
              </a:solidFill>
              <a:ln w="6756" cap="flat">
                <a:noFill/>
                <a:prstDash val="solid"/>
                <a:miter/>
              </a:ln>
            </p:spPr>
            <p:txBody>
              <a:bodyPr rtlCol="0" anchor="ctr"/>
              <a:lstStyle/>
              <a:p>
                <a:endParaRPr lang="de-DE"/>
              </a:p>
            </p:txBody>
          </p:sp>
          <p:sp>
            <p:nvSpPr>
              <p:cNvPr id="10" name="Freihandform: Form 9">
                <a:extLst>
                  <a:ext uri="{FF2B5EF4-FFF2-40B4-BE49-F238E27FC236}">
                    <a16:creationId xmlns:a16="http://schemas.microsoft.com/office/drawing/2014/main" id="{137E4C79-C1AE-4EB2-900E-ABAED0229BFA}"/>
                  </a:ext>
                </a:extLst>
              </p:cNvPr>
              <p:cNvSpPr/>
              <p:nvPr/>
            </p:nvSpPr>
            <p:spPr>
              <a:xfrm>
                <a:off x="6345262" y="2795218"/>
                <a:ext cx="334200" cy="359231"/>
              </a:xfrm>
              <a:custGeom>
                <a:avLst/>
                <a:gdLst>
                  <a:gd name="connsiteX0" fmla="*/ 0 w 334200"/>
                  <a:gd name="connsiteY0" fmla="*/ 40591 h 359231"/>
                  <a:gd name="connsiteX1" fmla="*/ 40591 w 334200"/>
                  <a:gd name="connsiteY1" fmla="*/ 0 h 359231"/>
                  <a:gd name="connsiteX2" fmla="*/ 293609 w 334200"/>
                  <a:gd name="connsiteY2" fmla="*/ 0 h 359231"/>
                  <a:gd name="connsiteX3" fmla="*/ 334201 w 334200"/>
                  <a:gd name="connsiteY3" fmla="*/ 40591 h 359231"/>
                  <a:gd name="connsiteX4" fmla="*/ 334201 w 334200"/>
                  <a:gd name="connsiteY4" fmla="*/ 359232 h 359231"/>
                  <a:gd name="connsiteX5" fmla="*/ 40591 w 334200"/>
                  <a:gd name="connsiteY5" fmla="*/ 359232 h 359231"/>
                  <a:gd name="connsiteX6" fmla="*/ 0 w 334200"/>
                  <a:gd name="connsiteY6" fmla="*/ 318641 h 359231"/>
                  <a:gd name="connsiteX7" fmla="*/ 0 w 334200"/>
                  <a:gd name="connsiteY7" fmla="*/ 179954 h 359231"/>
                  <a:gd name="connsiteX8" fmla="*/ 40591 w 334200"/>
                  <a:gd name="connsiteY8" fmla="*/ 139363 h 359231"/>
                  <a:gd name="connsiteX9" fmla="*/ 204309 w 334200"/>
                  <a:gd name="connsiteY9" fmla="*/ 139363 h 359231"/>
                  <a:gd name="connsiteX10" fmla="*/ 204309 w 334200"/>
                  <a:gd name="connsiteY10" fmla="*/ 94713 h 359231"/>
                  <a:gd name="connsiteX11" fmla="*/ 192132 w 334200"/>
                  <a:gd name="connsiteY11" fmla="*/ 82535 h 359231"/>
                  <a:gd name="connsiteX12" fmla="*/ 0 w 334200"/>
                  <a:gd name="connsiteY12" fmla="*/ 82535 h 359231"/>
                  <a:gd name="connsiteX13" fmla="*/ 0 w 334200"/>
                  <a:gd name="connsiteY13" fmla="*/ 40591 h 359231"/>
                  <a:gd name="connsiteX14" fmla="*/ 203632 w 334200"/>
                  <a:gd name="connsiteY14" fmla="*/ 220545 h 359231"/>
                  <a:gd name="connsiteX15" fmla="*/ 142069 w 334200"/>
                  <a:gd name="connsiteY15" fmla="*/ 220545 h 359231"/>
                  <a:gd name="connsiteX16" fmla="*/ 129892 w 334200"/>
                  <a:gd name="connsiteY16" fmla="*/ 232723 h 359231"/>
                  <a:gd name="connsiteX17" fmla="*/ 129892 w 334200"/>
                  <a:gd name="connsiteY17" fmla="*/ 265196 h 359231"/>
                  <a:gd name="connsiteX18" fmla="*/ 142069 w 334200"/>
                  <a:gd name="connsiteY18" fmla="*/ 277373 h 359231"/>
                  <a:gd name="connsiteX19" fmla="*/ 203632 w 334200"/>
                  <a:gd name="connsiteY19" fmla="*/ 277373 h 359231"/>
                  <a:gd name="connsiteX20" fmla="*/ 203632 w 334200"/>
                  <a:gd name="connsiteY20" fmla="*/ 220545 h 3592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34200" h="359231">
                    <a:moveTo>
                      <a:pt x="0" y="40591"/>
                    </a:moveTo>
                    <a:cubicBezTo>
                      <a:pt x="0" y="18266"/>
                      <a:pt x="18266" y="0"/>
                      <a:pt x="40591" y="0"/>
                    </a:cubicBezTo>
                    <a:lnTo>
                      <a:pt x="293609" y="0"/>
                    </a:lnTo>
                    <a:cubicBezTo>
                      <a:pt x="315934" y="0"/>
                      <a:pt x="334201" y="18266"/>
                      <a:pt x="334201" y="40591"/>
                    </a:cubicBezTo>
                    <a:lnTo>
                      <a:pt x="334201" y="359232"/>
                    </a:lnTo>
                    <a:lnTo>
                      <a:pt x="40591" y="359232"/>
                    </a:lnTo>
                    <a:cubicBezTo>
                      <a:pt x="18266" y="359232"/>
                      <a:pt x="0" y="340966"/>
                      <a:pt x="0" y="318641"/>
                    </a:cubicBezTo>
                    <a:lnTo>
                      <a:pt x="0" y="179954"/>
                    </a:lnTo>
                    <a:cubicBezTo>
                      <a:pt x="0" y="157629"/>
                      <a:pt x="18266" y="139363"/>
                      <a:pt x="40591" y="139363"/>
                    </a:cubicBezTo>
                    <a:lnTo>
                      <a:pt x="204309" y="139363"/>
                    </a:lnTo>
                    <a:lnTo>
                      <a:pt x="204309" y="94713"/>
                    </a:lnTo>
                    <a:cubicBezTo>
                      <a:pt x="204309" y="87947"/>
                      <a:pt x="198897" y="82535"/>
                      <a:pt x="192132" y="82535"/>
                    </a:cubicBezTo>
                    <a:lnTo>
                      <a:pt x="0" y="82535"/>
                    </a:lnTo>
                    <a:lnTo>
                      <a:pt x="0" y="40591"/>
                    </a:lnTo>
                    <a:close/>
                    <a:moveTo>
                      <a:pt x="203632" y="220545"/>
                    </a:moveTo>
                    <a:lnTo>
                      <a:pt x="142069" y="220545"/>
                    </a:lnTo>
                    <a:cubicBezTo>
                      <a:pt x="135304" y="220545"/>
                      <a:pt x="129892" y="225957"/>
                      <a:pt x="129892" y="232723"/>
                    </a:cubicBezTo>
                    <a:lnTo>
                      <a:pt x="129892" y="265196"/>
                    </a:lnTo>
                    <a:cubicBezTo>
                      <a:pt x="129892" y="271961"/>
                      <a:pt x="135304" y="277373"/>
                      <a:pt x="142069" y="277373"/>
                    </a:cubicBezTo>
                    <a:lnTo>
                      <a:pt x="203632" y="277373"/>
                    </a:lnTo>
                    <a:lnTo>
                      <a:pt x="203632" y="220545"/>
                    </a:lnTo>
                    <a:close/>
                  </a:path>
                </a:pathLst>
              </a:custGeom>
              <a:solidFill>
                <a:srgbClr val="E42313"/>
              </a:solidFill>
              <a:ln w="6756" cap="flat">
                <a:noFill/>
                <a:prstDash val="solid"/>
                <a:miter/>
              </a:ln>
            </p:spPr>
            <p:txBody>
              <a:bodyPr rtlCol="0" anchor="ctr"/>
              <a:lstStyle/>
              <a:p>
                <a:endParaRPr lang="de-DE"/>
              </a:p>
            </p:txBody>
          </p:sp>
          <p:sp>
            <p:nvSpPr>
              <p:cNvPr id="11" name="Freihandform: Form 10">
                <a:extLst>
                  <a:ext uri="{FF2B5EF4-FFF2-40B4-BE49-F238E27FC236}">
                    <a16:creationId xmlns:a16="http://schemas.microsoft.com/office/drawing/2014/main" id="{553C28DD-4771-494C-8B79-F72570976330}"/>
                  </a:ext>
                </a:extLst>
              </p:cNvPr>
              <p:cNvSpPr/>
              <p:nvPr/>
            </p:nvSpPr>
            <p:spPr>
              <a:xfrm>
                <a:off x="6734937" y="2795218"/>
                <a:ext cx="371408" cy="359231"/>
              </a:xfrm>
              <a:custGeom>
                <a:avLst/>
                <a:gdLst>
                  <a:gd name="connsiteX0" fmla="*/ 130568 w 371408"/>
                  <a:gd name="connsiteY0" fmla="*/ 359232 h 359231"/>
                  <a:gd name="connsiteX1" fmla="*/ 0 w 371408"/>
                  <a:gd name="connsiteY1" fmla="*/ 359232 h 359231"/>
                  <a:gd name="connsiteX2" fmla="*/ 0 w 371408"/>
                  <a:gd name="connsiteY2" fmla="*/ 0 h 359231"/>
                  <a:gd name="connsiteX3" fmla="*/ 245577 w 371408"/>
                  <a:gd name="connsiteY3" fmla="*/ 0 h 359231"/>
                  <a:gd name="connsiteX4" fmla="*/ 297668 w 371408"/>
                  <a:gd name="connsiteY4" fmla="*/ 40591 h 359231"/>
                  <a:gd name="connsiteX5" fmla="*/ 371409 w 371408"/>
                  <a:gd name="connsiteY5" fmla="*/ 359232 h 359231"/>
                  <a:gd name="connsiteX6" fmla="*/ 237458 w 371408"/>
                  <a:gd name="connsiteY6" fmla="*/ 359232 h 359231"/>
                  <a:gd name="connsiteX7" fmla="*/ 179278 w 371408"/>
                  <a:gd name="connsiteY7" fmla="*/ 106214 h 359231"/>
                  <a:gd name="connsiteX8" fmla="*/ 159659 w 371408"/>
                  <a:gd name="connsiteY8" fmla="*/ 81182 h 359231"/>
                  <a:gd name="connsiteX9" fmla="*/ 131245 w 371408"/>
                  <a:gd name="connsiteY9" fmla="*/ 81182 h 359231"/>
                  <a:gd name="connsiteX10" fmla="*/ 131245 w 371408"/>
                  <a:gd name="connsiteY10" fmla="*/ 359232 h 3592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71408" h="359231">
                    <a:moveTo>
                      <a:pt x="130568" y="359232"/>
                    </a:moveTo>
                    <a:lnTo>
                      <a:pt x="0" y="359232"/>
                    </a:lnTo>
                    <a:lnTo>
                      <a:pt x="0" y="0"/>
                    </a:lnTo>
                    <a:cubicBezTo>
                      <a:pt x="0" y="0"/>
                      <a:pt x="228664" y="0"/>
                      <a:pt x="245577" y="0"/>
                    </a:cubicBezTo>
                    <a:cubicBezTo>
                      <a:pt x="267902" y="0"/>
                      <a:pt x="291580" y="12854"/>
                      <a:pt x="297668" y="40591"/>
                    </a:cubicBezTo>
                    <a:cubicBezTo>
                      <a:pt x="303757" y="69005"/>
                      <a:pt x="371409" y="359232"/>
                      <a:pt x="371409" y="359232"/>
                    </a:cubicBezTo>
                    <a:lnTo>
                      <a:pt x="237458" y="359232"/>
                    </a:lnTo>
                    <a:lnTo>
                      <a:pt x="179278" y="106214"/>
                    </a:lnTo>
                    <a:cubicBezTo>
                      <a:pt x="173865" y="83212"/>
                      <a:pt x="170483" y="81182"/>
                      <a:pt x="159659" y="81182"/>
                    </a:cubicBezTo>
                    <a:cubicBezTo>
                      <a:pt x="159659" y="81182"/>
                      <a:pt x="131245" y="81182"/>
                      <a:pt x="131245" y="81182"/>
                    </a:cubicBezTo>
                    <a:lnTo>
                      <a:pt x="131245" y="359232"/>
                    </a:lnTo>
                    <a:close/>
                  </a:path>
                </a:pathLst>
              </a:custGeom>
              <a:solidFill>
                <a:srgbClr val="E42313"/>
              </a:solidFill>
              <a:ln w="6756" cap="flat">
                <a:noFill/>
                <a:prstDash val="solid"/>
                <a:miter/>
              </a:ln>
            </p:spPr>
            <p:txBody>
              <a:bodyPr rtlCol="0" anchor="ctr"/>
              <a:lstStyle/>
              <a:p>
                <a:endParaRPr lang="de-DE"/>
              </a:p>
            </p:txBody>
          </p:sp>
          <p:sp>
            <p:nvSpPr>
              <p:cNvPr id="12" name="Freihandform: Form 11">
                <a:extLst>
                  <a:ext uri="{FF2B5EF4-FFF2-40B4-BE49-F238E27FC236}">
                    <a16:creationId xmlns:a16="http://schemas.microsoft.com/office/drawing/2014/main" id="{F0A37EDF-F005-4EAF-A322-521F22B924A6}"/>
                  </a:ext>
                </a:extLst>
              </p:cNvPr>
              <p:cNvSpPr/>
              <p:nvPr/>
            </p:nvSpPr>
            <p:spPr>
              <a:xfrm>
                <a:off x="7128671" y="2795218"/>
                <a:ext cx="371408" cy="359231"/>
              </a:xfrm>
              <a:custGeom>
                <a:avLst/>
                <a:gdLst>
                  <a:gd name="connsiteX0" fmla="*/ 130568 w 371408"/>
                  <a:gd name="connsiteY0" fmla="*/ 359232 h 359231"/>
                  <a:gd name="connsiteX1" fmla="*/ 0 w 371408"/>
                  <a:gd name="connsiteY1" fmla="*/ 359232 h 359231"/>
                  <a:gd name="connsiteX2" fmla="*/ 0 w 371408"/>
                  <a:gd name="connsiteY2" fmla="*/ 0 h 359231"/>
                  <a:gd name="connsiteX3" fmla="*/ 245576 w 371408"/>
                  <a:gd name="connsiteY3" fmla="*/ 0 h 359231"/>
                  <a:gd name="connsiteX4" fmla="*/ 297668 w 371408"/>
                  <a:gd name="connsiteY4" fmla="*/ 40591 h 359231"/>
                  <a:gd name="connsiteX5" fmla="*/ 371409 w 371408"/>
                  <a:gd name="connsiteY5" fmla="*/ 359232 h 359231"/>
                  <a:gd name="connsiteX6" fmla="*/ 237458 w 371408"/>
                  <a:gd name="connsiteY6" fmla="*/ 359232 h 359231"/>
                  <a:gd name="connsiteX7" fmla="*/ 179278 w 371408"/>
                  <a:gd name="connsiteY7" fmla="*/ 106214 h 359231"/>
                  <a:gd name="connsiteX8" fmla="*/ 159659 w 371408"/>
                  <a:gd name="connsiteY8" fmla="*/ 81182 h 359231"/>
                  <a:gd name="connsiteX9" fmla="*/ 131245 w 371408"/>
                  <a:gd name="connsiteY9" fmla="*/ 81182 h 359231"/>
                  <a:gd name="connsiteX10" fmla="*/ 130568 w 371408"/>
                  <a:gd name="connsiteY10" fmla="*/ 359232 h 3592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71408" h="359231">
                    <a:moveTo>
                      <a:pt x="130568" y="359232"/>
                    </a:moveTo>
                    <a:lnTo>
                      <a:pt x="0" y="359232"/>
                    </a:lnTo>
                    <a:lnTo>
                      <a:pt x="0" y="0"/>
                    </a:lnTo>
                    <a:cubicBezTo>
                      <a:pt x="0" y="0"/>
                      <a:pt x="228663" y="0"/>
                      <a:pt x="245576" y="0"/>
                    </a:cubicBezTo>
                    <a:cubicBezTo>
                      <a:pt x="267902" y="0"/>
                      <a:pt x="291580" y="12854"/>
                      <a:pt x="297668" y="40591"/>
                    </a:cubicBezTo>
                    <a:cubicBezTo>
                      <a:pt x="303757" y="69005"/>
                      <a:pt x="371409" y="359232"/>
                      <a:pt x="371409" y="359232"/>
                    </a:cubicBezTo>
                    <a:lnTo>
                      <a:pt x="237458" y="359232"/>
                    </a:lnTo>
                    <a:lnTo>
                      <a:pt x="179278" y="106214"/>
                    </a:lnTo>
                    <a:cubicBezTo>
                      <a:pt x="173865" y="83212"/>
                      <a:pt x="170483" y="81182"/>
                      <a:pt x="159659" y="81182"/>
                    </a:cubicBezTo>
                    <a:cubicBezTo>
                      <a:pt x="159659" y="81182"/>
                      <a:pt x="131245" y="81182"/>
                      <a:pt x="131245" y="81182"/>
                    </a:cubicBezTo>
                    <a:lnTo>
                      <a:pt x="130568" y="359232"/>
                    </a:lnTo>
                    <a:close/>
                  </a:path>
                </a:pathLst>
              </a:custGeom>
              <a:solidFill>
                <a:srgbClr val="E42313"/>
              </a:solidFill>
              <a:ln w="6756" cap="flat">
                <a:noFill/>
                <a:prstDash val="solid"/>
                <a:miter/>
              </a:ln>
            </p:spPr>
            <p:txBody>
              <a:bodyPr rtlCol="0" anchor="ctr"/>
              <a:lstStyle/>
              <a:p>
                <a:endParaRPr lang="de-DE"/>
              </a:p>
            </p:txBody>
          </p:sp>
        </p:grpSp>
        <p:grpSp>
          <p:nvGrpSpPr>
            <p:cNvPr id="13" name="Grafik 1">
              <a:extLst>
                <a:ext uri="{FF2B5EF4-FFF2-40B4-BE49-F238E27FC236}">
                  <a16:creationId xmlns:a16="http://schemas.microsoft.com/office/drawing/2014/main" id="{E72B9C0B-F869-48CB-84AA-6132E62EFC1D}"/>
                </a:ext>
              </a:extLst>
            </p:cNvPr>
            <p:cNvGrpSpPr/>
            <p:nvPr/>
          </p:nvGrpSpPr>
          <p:grpSpPr>
            <a:xfrm>
              <a:off x="4591049" y="3227514"/>
              <a:ext cx="2908354" cy="98095"/>
              <a:chOff x="4591049" y="3227514"/>
              <a:chExt cx="2908354" cy="98095"/>
            </a:xfrm>
            <a:solidFill>
              <a:srgbClr val="004A99"/>
            </a:solidFill>
          </p:grpSpPr>
          <p:sp>
            <p:nvSpPr>
              <p:cNvPr id="14" name="Freihandform: Form 13">
                <a:extLst>
                  <a:ext uri="{FF2B5EF4-FFF2-40B4-BE49-F238E27FC236}">
                    <a16:creationId xmlns:a16="http://schemas.microsoft.com/office/drawing/2014/main" id="{343F8408-BC72-40CC-A7BC-F2E8825533AD}"/>
                  </a:ext>
                </a:extLst>
              </p:cNvPr>
              <p:cNvSpPr/>
              <p:nvPr/>
            </p:nvSpPr>
            <p:spPr>
              <a:xfrm>
                <a:off x="4591049" y="3228867"/>
                <a:ext cx="112302" cy="95389"/>
              </a:xfrm>
              <a:custGeom>
                <a:avLst/>
                <a:gdLst>
                  <a:gd name="connsiteX0" fmla="*/ 81182 w 112302"/>
                  <a:gd name="connsiteY0" fmla="*/ 71711 h 95389"/>
                  <a:gd name="connsiteX1" fmla="*/ 96066 w 112302"/>
                  <a:gd name="connsiteY1" fmla="*/ 0 h 95389"/>
                  <a:gd name="connsiteX2" fmla="*/ 112302 w 112302"/>
                  <a:gd name="connsiteY2" fmla="*/ 0 h 95389"/>
                  <a:gd name="connsiteX3" fmla="*/ 89977 w 112302"/>
                  <a:gd name="connsiteY3" fmla="*/ 95389 h 95389"/>
                  <a:gd name="connsiteX4" fmla="*/ 74417 w 112302"/>
                  <a:gd name="connsiteY4" fmla="*/ 95389 h 95389"/>
                  <a:gd name="connsiteX5" fmla="*/ 56151 w 112302"/>
                  <a:gd name="connsiteY5" fmla="*/ 25708 h 95389"/>
                  <a:gd name="connsiteX6" fmla="*/ 37885 w 112302"/>
                  <a:gd name="connsiteY6" fmla="*/ 95389 h 95389"/>
                  <a:gd name="connsiteX7" fmla="*/ 22325 w 112302"/>
                  <a:gd name="connsiteY7" fmla="*/ 95389 h 95389"/>
                  <a:gd name="connsiteX8" fmla="*/ 0 w 112302"/>
                  <a:gd name="connsiteY8" fmla="*/ 0 h 95389"/>
                  <a:gd name="connsiteX9" fmla="*/ 16236 w 112302"/>
                  <a:gd name="connsiteY9" fmla="*/ 0 h 95389"/>
                  <a:gd name="connsiteX10" fmla="*/ 31120 w 112302"/>
                  <a:gd name="connsiteY10" fmla="*/ 71711 h 95389"/>
                  <a:gd name="connsiteX11" fmla="*/ 49386 w 112302"/>
                  <a:gd name="connsiteY11" fmla="*/ 0 h 95389"/>
                  <a:gd name="connsiteX12" fmla="*/ 63593 w 112302"/>
                  <a:gd name="connsiteY12" fmla="*/ 0 h 95389"/>
                  <a:gd name="connsiteX13" fmla="*/ 81182 w 112302"/>
                  <a:gd name="connsiteY13" fmla="*/ 71711 h 95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2302" h="95389">
                    <a:moveTo>
                      <a:pt x="81182" y="71711"/>
                    </a:moveTo>
                    <a:lnTo>
                      <a:pt x="96066" y="0"/>
                    </a:lnTo>
                    <a:lnTo>
                      <a:pt x="112302" y="0"/>
                    </a:lnTo>
                    <a:lnTo>
                      <a:pt x="89977" y="95389"/>
                    </a:lnTo>
                    <a:lnTo>
                      <a:pt x="74417" y="95389"/>
                    </a:lnTo>
                    <a:lnTo>
                      <a:pt x="56151" y="25708"/>
                    </a:lnTo>
                    <a:lnTo>
                      <a:pt x="37885" y="95389"/>
                    </a:lnTo>
                    <a:lnTo>
                      <a:pt x="22325" y="95389"/>
                    </a:lnTo>
                    <a:lnTo>
                      <a:pt x="0" y="0"/>
                    </a:lnTo>
                    <a:lnTo>
                      <a:pt x="16236" y="0"/>
                    </a:lnTo>
                    <a:lnTo>
                      <a:pt x="31120" y="71711"/>
                    </a:lnTo>
                    <a:lnTo>
                      <a:pt x="49386" y="0"/>
                    </a:lnTo>
                    <a:lnTo>
                      <a:pt x="63593" y="0"/>
                    </a:lnTo>
                    <a:lnTo>
                      <a:pt x="81182" y="71711"/>
                    </a:lnTo>
                    <a:close/>
                  </a:path>
                </a:pathLst>
              </a:custGeom>
              <a:solidFill>
                <a:srgbClr val="004A99"/>
              </a:solidFill>
              <a:ln w="6756" cap="flat">
                <a:noFill/>
                <a:prstDash val="solid"/>
                <a:miter/>
              </a:ln>
            </p:spPr>
            <p:txBody>
              <a:bodyPr rtlCol="0" anchor="ctr"/>
              <a:lstStyle/>
              <a:p>
                <a:endParaRPr lang="de-DE"/>
              </a:p>
            </p:txBody>
          </p:sp>
          <p:sp>
            <p:nvSpPr>
              <p:cNvPr id="15" name="Freihandform: Form 14">
                <a:extLst>
                  <a:ext uri="{FF2B5EF4-FFF2-40B4-BE49-F238E27FC236}">
                    <a16:creationId xmlns:a16="http://schemas.microsoft.com/office/drawing/2014/main" id="{7A388A9B-D78F-4A1B-8E62-90E301794707}"/>
                  </a:ext>
                </a:extLst>
              </p:cNvPr>
              <p:cNvSpPr/>
              <p:nvPr/>
            </p:nvSpPr>
            <p:spPr>
              <a:xfrm>
                <a:off x="4793328" y="3228191"/>
                <a:ext cx="79829" cy="97418"/>
              </a:xfrm>
              <a:custGeom>
                <a:avLst/>
                <a:gdLst>
                  <a:gd name="connsiteX0" fmla="*/ 79153 w 79829"/>
                  <a:gd name="connsiteY0" fmla="*/ 51415 h 97418"/>
                  <a:gd name="connsiteX1" fmla="*/ 74417 w 79829"/>
                  <a:gd name="connsiteY1" fmla="*/ 75770 h 97418"/>
                  <a:gd name="connsiteX2" fmla="*/ 60887 w 79829"/>
                  <a:gd name="connsiteY2" fmla="*/ 92007 h 97418"/>
                  <a:gd name="connsiteX3" fmla="*/ 39915 w 79829"/>
                  <a:gd name="connsiteY3" fmla="*/ 97419 h 97418"/>
                  <a:gd name="connsiteX4" fmla="*/ 18943 w 79829"/>
                  <a:gd name="connsiteY4" fmla="*/ 92007 h 97418"/>
                  <a:gd name="connsiteX5" fmla="*/ 4736 w 79829"/>
                  <a:gd name="connsiteY5" fmla="*/ 75770 h 97418"/>
                  <a:gd name="connsiteX6" fmla="*/ 0 w 79829"/>
                  <a:gd name="connsiteY6" fmla="*/ 51415 h 97418"/>
                  <a:gd name="connsiteX7" fmla="*/ 0 w 79829"/>
                  <a:gd name="connsiteY7" fmla="*/ 46003 h 97418"/>
                  <a:gd name="connsiteX8" fmla="*/ 4736 w 79829"/>
                  <a:gd name="connsiteY8" fmla="*/ 21649 h 97418"/>
                  <a:gd name="connsiteX9" fmla="*/ 18943 w 79829"/>
                  <a:gd name="connsiteY9" fmla="*/ 5412 h 97418"/>
                  <a:gd name="connsiteX10" fmla="*/ 39915 w 79829"/>
                  <a:gd name="connsiteY10" fmla="*/ 0 h 97418"/>
                  <a:gd name="connsiteX11" fmla="*/ 60887 w 79829"/>
                  <a:gd name="connsiteY11" fmla="*/ 5412 h 97418"/>
                  <a:gd name="connsiteX12" fmla="*/ 75094 w 79829"/>
                  <a:gd name="connsiteY12" fmla="*/ 21649 h 97418"/>
                  <a:gd name="connsiteX13" fmla="*/ 79829 w 79829"/>
                  <a:gd name="connsiteY13" fmla="*/ 46003 h 97418"/>
                  <a:gd name="connsiteX14" fmla="*/ 79829 w 79829"/>
                  <a:gd name="connsiteY14" fmla="*/ 51415 h 97418"/>
                  <a:gd name="connsiteX15" fmla="*/ 62240 w 79829"/>
                  <a:gd name="connsiteY15" fmla="*/ 46003 h 97418"/>
                  <a:gd name="connsiteX16" fmla="*/ 56151 w 79829"/>
                  <a:gd name="connsiteY16" fmla="*/ 21649 h 97418"/>
                  <a:gd name="connsiteX17" fmla="*/ 39238 w 79829"/>
                  <a:gd name="connsiteY17" fmla="*/ 13530 h 97418"/>
                  <a:gd name="connsiteX18" fmla="*/ 22325 w 79829"/>
                  <a:gd name="connsiteY18" fmla="*/ 21649 h 97418"/>
                  <a:gd name="connsiteX19" fmla="*/ 16236 w 79829"/>
                  <a:gd name="connsiteY19" fmla="*/ 45327 h 97418"/>
                  <a:gd name="connsiteX20" fmla="*/ 16236 w 79829"/>
                  <a:gd name="connsiteY20" fmla="*/ 50739 h 97418"/>
                  <a:gd name="connsiteX21" fmla="*/ 22325 w 79829"/>
                  <a:gd name="connsiteY21" fmla="*/ 75094 h 97418"/>
                  <a:gd name="connsiteX22" fmla="*/ 39238 w 79829"/>
                  <a:gd name="connsiteY22" fmla="*/ 83888 h 97418"/>
                  <a:gd name="connsiteX23" fmla="*/ 56151 w 79829"/>
                  <a:gd name="connsiteY23" fmla="*/ 75770 h 97418"/>
                  <a:gd name="connsiteX24" fmla="*/ 62240 w 79829"/>
                  <a:gd name="connsiteY24" fmla="*/ 51415 h 97418"/>
                  <a:gd name="connsiteX25" fmla="*/ 62240 w 79829"/>
                  <a:gd name="connsiteY25" fmla="*/ 46003 h 97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79829" h="97418">
                    <a:moveTo>
                      <a:pt x="79153" y="51415"/>
                    </a:moveTo>
                    <a:cubicBezTo>
                      <a:pt x="79153" y="60887"/>
                      <a:pt x="77800" y="69005"/>
                      <a:pt x="74417" y="75770"/>
                    </a:cubicBezTo>
                    <a:cubicBezTo>
                      <a:pt x="71035" y="82535"/>
                      <a:pt x="66299" y="87947"/>
                      <a:pt x="60887" y="92007"/>
                    </a:cubicBezTo>
                    <a:cubicBezTo>
                      <a:pt x="54798" y="96066"/>
                      <a:pt x="48033" y="97419"/>
                      <a:pt x="39915" y="97419"/>
                    </a:cubicBezTo>
                    <a:cubicBezTo>
                      <a:pt x="32473" y="97419"/>
                      <a:pt x="25031" y="95389"/>
                      <a:pt x="18943" y="92007"/>
                    </a:cubicBezTo>
                    <a:cubicBezTo>
                      <a:pt x="12854" y="87947"/>
                      <a:pt x="8118" y="82535"/>
                      <a:pt x="4736" y="75770"/>
                    </a:cubicBezTo>
                    <a:cubicBezTo>
                      <a:pt x="1353" y="69005"/>
                      <a:pt x="0" y="60887"/>
                      <a:pt x="0" y="51415"/>
                    </a:cubicBezTo>
                    <a:lnTo>
                      <a:pt x="0" y="46003"/>
                    </a:lnTo>
                    <a:cubicBezTo>
                      <a:pt x="0" y="36532"/>
                      <a:pt x="1353" y="28414"/>
                      <a:pt x="4736" y="21649"/>
                    </a:cubicBezTo>
                    <a:cubicBezTo>
                      <a:pt x="8118" y="14207"/>
                      <a:pt x="12854" y="8795"/>
                      <a:pt x="18943" y="5412"/>
                    </a:cubicBezTo>
                    <a:cubicBezTo>
                      <a:pt x="25031" y="1353"/>
                      <a:pt x="31796" y="0"/>
                      <a:pt x="39915" y="0"/>
                    </a:cubicBezTo>
                    <a:cubicBezTo>
                      <a:pt x="47356" y="0"/>
                      <a:pt x="54798" y="2030"/>
                      <a:pt x="60887" y="5412"/>
                    </a:cubicBezTo>
                    <a:cubicBezTo>
                      <a:pt x="66975" y="9471"/>
                      <a:pt x="71711" y="14207"/>
                      <a:pt x="75094" y="21649"/>
                    </a:cubicBezTo>
                    <a:cubicBezTo>
                      <a:pt x="78476" y="28414"/>
                      <a:pt x="79829" y="36532"/>
                      <a:pt x="79829" y="46003"/>
                    </a:cubicBezTo>
                    <a:lnTo>
                      <a:pt x="79829" y="51415"/>
                    </a:lnTo>
                    <a:close/>
                    <a:moveTo>
                      <a:pt x="62240" y="46003"/>
                    </a:moveTo>
                    <a:cubicBezTo>
                      <a:pt x="62240" y="35179"/>
                      <a:pt x="60210" y="27061"/>
                      <a:pt x="56151" y="21649"/>
                    </a:cubicBezTo>
                    <a:cubicBezTo>
                      <a:pt x="52092" y="16236"/>
                      <a:pt x="46680" y="13530"/>
                      <a:pt x="39238" y="13530"/>
                    </a:cubicBezTo>
                    <a:cubicBezTo>
                      <a:pt x="31796" y="13530"/>
                      <a:pt x="26384" y="16236"/>
                      <a:pt x="22325" y="21649"/>
                    </a:cubicBezTo>
                    <a:cubicBezTo>
                      <a:pt x="18266" y="27061"/>
                      <a:pt x="16236" y="35179"/>
                      <a:pt x="16236" y="45327"/>
                    </a:cubicBezTo>
                    <a:lnTo>
                      <a:pt x="16236" y="50739"/>
                    </a:lnTo>
                    <a:cubicBezTo>
                      <a:pt x="16236" y="61563"/>
                      <a:pt x="18266" y="69005"/>
                      <a:pt x="22325" y="75094"/>
                    </a:cubicBezTo>
                    <a:cubicBezTo>
                      <a:pt x="26384" y="80506"/>
                      <a:pt x="31796" y="83888"/>
                      <a:pt x="39238" y="83888"/>
                    </a:cubicBezTo>
                    <a:cubicBezTo>
                      <a:pt x="46680" y="83888"/>
                      <a:pt x="52092" y="81182"/>
                      <a:pt x="56151" y="75770"/>
                    </a:cubicBezTo>
                    <a:cubicBezTo>
                      <a:pt x="60210" y="70358"/>
                      <a:pt x="62240" y="62240"/>
                      <a:pt x="62240" y="51415"/>
                    </a:cubicBezTo>
                    <a:lnTo>
                      <a:pt x="62240" y="46003"/>
                    </a:lnTo>
                    <a:close/>
                  </a:path>
                </a:pathLst>
              </a:custGeom>
              <a:solidFill>
                <a:srgbClr val="004A99"/>
              </a:solidFill>
              <a:ln w="6756" cap="flat">
                <a:noFill/>
                <a:prstDash val="solid"/>
                <a:miter/>
              </a:ln>
            </p:spPr>
            <p:txBody>
              <a:bodyPr rtlCol="0" anchor="ctr"/>
              <a:lstStyle/>
              <a:p>
                <a:endParaRPr lang="de-DE"/>
              </a:p>
            </p:txBody>
          </p:sp>
          <p:sp>
            <p:nvSpPr>
              <p:cNvPr id="16" name="Freihandform: Form 15">
                <a:extLst>
                  <a:ext uri="{FF2B5EF4-FFF2-40B4-BE49-F238E27FC236}">
                    <a16:creationId xmlns:a16="http://schemas.microsoft.com/office/drawing/2014/main" id="{509569AE-9E67-46F9-883D-90CB7FD78A9A}"/>
                  </a:ext>
                </a:extLst>
              </p:cNvPr>
              <p:cNvSpPr/>
              <p:nvPr/>
            </p:nvSpPr>
            <p:spPr>
              <a:xfrm>
                <a:off x="4969223" y="3228867"/>
                <a:ext cx="72387" cy="96065"/>
              </a:xfrm>
              <a:custGeom>
                <a:avLst/>
                <a:gdLst>
                  <a:gd name="connsiteX0" fmla="*/ 35179 w 72387"/>
                  <a:gd name="connsiteY0" fmla="*/ 58857 h 96065"/>
                  <a:gd name="connsiteX1" fmla="*/ 16913 w 72387"/>
                  <a:gd name="connsiteY1" fmla="*/ 58857 h 96065"/>
                  <a:gd name="connsiteX2" fmla="*/ 16913 w 72387"/>
                  <a:gd name="connsiteY2" fmla="*/ 95389 h 96065"/>
                  <a:gd name="connsiteX3" fmla="*/ 0 w 72387"/>
                  <a:gd name="connsiteY3" fmla="*/ 95389 h 96065"/>
                  <a:gd name="connsiteX4" fmla="*/ 0 w 72387"/>
                  <a:gd name="connsiteY4" fmla="*/ 0 h 96065"/>
                  <a:gd name="connsiteX5" fmla="*/ 33826 w 72387"/>
                  <a:gd name="connsiteY5" fmla="*/ 0 h 96065"/>
                  <a:gd name="connsiteX6" fmla="*/ 59534 w 72387"/>
                  <a:gd name="connsiteY6" fmla="*/ 7442 h 96065"/>
                  <a:gd name="connsiteX7" fmla="*/ 68328 w 72387"/>
                  <a:gd name="connsiteY7" fmla="*/ 29090 h 96065"/>
                  <a:gd name="connsiteX8" fmla="*/ 63593 w 72387"/>
                  <a:gd name="connsiteY8" fmla="*/ 45327 h 96065"/>
                  <a:gd name="connsiteX9" fmla="*/ 50739 w 72387"/>
                  <a:gd name="connsiteY9" fmla="*/ 55475 h 96065"/>
                  <a:gd name="connsiteX10" fmla="*/ 72388 w 72387"/>
                  <a:gd name="connsiteY10" fmla="*/ 95389 h 96065"/>
                  <a:gd name="connsiteX11" fmla="*/ 72388 w 72387"/>
                  <a:gd name="connsiteY11" fmla="*/ 96066 h 96065"/>
                  <a:gd name="connsiteX12" fmla="*/ 54798 w 72387"/>
                  <a:gd name="connsiteY12" fmla="*/ 96066 h 96065"/>
                  <a:gd name="connsiteX13" fmla="*/ 35179 w 72387"/>
                  <a:gd name="connsiteY13" fmla="*/ 58857 h 96065"/>
                  <a:gd name="connsiteX14" fmla="*/ 16913 w 72387"/>
                  <a:gd name="connsiteY14" fmla="*/ 45327 h 96065"/>
                  <a:gd name="connsiteX15" fmla="*/ 33826 w 72387"/>
                  <a:gd name="connsiteY15" fmla="*/ 45327 h 96065"/>
                  <a:gd name="connsiteX16" fmla="*/ 46680 w 72387"/>
                  <a:gd name="connsiteY16" fmla="*/ 41268 h 96065"/>
                  <a:gd name="connsiteX17" fmla="*/ 51415 w 72387"/>
                  <a:gd name="connsiteY17" fmla="*/ 29767 h 96065"/>
                  <a:gd name="connsiteX18" fmla="*/ 47356 w 72387"/>
                  <a:gd name="connsiteY18" fmla="*/ 17589 h 96065"/>
                  <a:gd name="connsiteX19" fmla="*/ 34502 w 72387"/>
                  <a:gd name="connsiteY19" fmla="*/ 13530 h 96065"/>
                  <a:gd name="connsiteX20" fmla="*/ 16913 w 72387"/>
                  <a:gd name="connsiteY20" fmla="*/ 13530 h 96065"/>
                  <a:gd name="connsiteX21" fmla="*/ 16913 w 72387"/>
                  <a:gd name="connsiteY21" fmla="*/ 45327 h 96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2387" h="96065">
                    <a:moveTo>
                      <a:pt x="35179" y="58857"/>
                    </a:moveTo>
                    <a:lnTo>
                      <a:pt x="16913" y="58857"/>
                    </a:lnTo>
                    <a:lnTo>
                      <a:pt x="16913" y="95389"/>
                    </a:lnTo>
                    <a:lnTo>
                      <a:pt x="0" y="95389"/>
                    </a:lnTo>
                    <a:lnTo>
                      <a:pt x="0" y="0"/>
                    </a:lnTo>
                    <a:lnTo>
                      <a:pt x="33826" y="0"/>
                    </a:lnTo>
                    <a:cubicBezTo>
                      <a:pt x="44650" y="0"/>
                      <a:pt x="53445" y="2706"/>
                      <a:pt x="59534" y="7442"/>
                    </a:cubicBezTo>
                    <a:cubicBezTo>
                      <a:pt x="65622" y="12177"/>
                      <a:pt x="68328" y="19619"/>
                      <a:pt x="68328" y="29090"/>
                    </a:cubicBezTo>
                    <a:cubicBezTo>
                      <a:pt x="68328" y="35179"/>
                      <a:pt x="66975" y="40591"/>
                      <a:pt x="63593" y="45327"/>
                    </a:cubicBezTo>
                    <a:cubicBezTo>
                      <a:pt x="60210" y="49386"/>
                      <a:pt x="56151" y="52768"/>
                      <a:pt x="50739" y="55475"/>
                    </a:cubicBezTo>
                    <a:lnTo>
                      <a:pt x="72388" y="95389"/>
                    </a:lnTo>
                    <a:lnTo>
                      <a:pt x="72388" y="96066"/>
                    </a:lnTo>
                    <a:lnTo>
                      <a:pt x="54798" y="96066"/>
                    </a:lnTo>
                    <a:lnTo>
                      <a:pt x="35179" y="58857"/>
                    </a:lnTo>
                    <a:close/>
                    <a:moveTo>
                      <a:pt x="16913" y="45327"/>
                    </a:moveTo>
                    <a:lnTo>
                      <a:pt x="33826" y="45327"/>
                    </a:lnTo>
                    <a:cubicBezTo>
                      <a:pt x="39238" y="45327"/>
                      <a:pt x="43974" y="43974"/>
                      <a:pt x="46680" y="41268"/>
                    </a:cubicBezTo>
                    <a:cubicBezTo>
                      <a:pt x="50062" y="38562"/>
                      <a:pt x="51415" y="34502"/>
                      <a:pt x="51415" y="29767"/>
                    </a:cubicBezTo>
                    <a:cubicBezTo>
                      <a:pt x="51415" y="24355"/>
                      <a:pt x="50062" y="20972"/>
                      <a:pt x="47356" y="17589"/>
                    </a:cubicBezTo>
                    <a:cubicBezTo>
                      <a:pt x="44650" y="14207"/>
                      <a:pt x="39915" y="13530"/>
                      <a:pt x="34502" y="13530"/>
                    </a:cubicBezTo>
                    <a:lnTo>
                      <a:pt x="16913" y="13530"/>
                    </a:lnTo>
                    <a:lnTo>
                      <a:pt x="16913" y="45327"/>
                    </a:lnTo>
                    <a:close/>
                  </a:path>
                </a:pathLst>
              </a:custGeom>
              <a:solidFill>
                <a:srgbClr val="004A99"/>
              </a:solidFill>
              <a:ln w="6756" cap="flat">
                <a:noFill/>
                <a:prstDash val="solid"/>
                <a:miter/>
              </a:ln>
            </p:spPr>
            <p:txBody>
              <a:bodyPr rtlCol="0" anchor="ctr"/>
              <a:lstStyle/>
              <a:p>
                <a:endParaRPr lang="de-DE"/>
              </a:p>
            </p:txBody>
          </p:sp>
          <p:sp>
            <p:nvSpPr>
              <p:cNvPr id="17" name="Freihandform: Form 16">
                <a:extLst>
                  <a:ext uri="{FF2B5EF4-FFF2-40B4-BE49-F238E27FC236}">
                    <a16:creationId xmlns:a16="http://schemas.microsoft.com/office/drawing/2014/main" id="{44E13A90-B692-434D-980B-6C31734AFFDB}"/>
                  </a:ext>
                </a:extLst>
              </p:cNvPr>
              <p:cNvSpPr/>
              <p:nvPr/>
            </p:nvSpPr>
            <p:spPr>
              <a:xfrm>
                <a:off x="5133617" y="3229544"/>
                <a:ext cx="60210" cy="95389"/>
              </a:xfrm>
              <a:custGeom>
                <a:avLst/>
                <a:gdLst>
                  <a:gd name="connsiteX0" fmla="*/ 16913 w 60210"/>
                  <a:gd name="connsiteY0" fmla="*/ 81859 h 95389"/>
                  <a:gd name="connsiteX1" fmla="*/ 60210 w 60210"/>
                  <a:gd name="connsiteY1" fmla="*/ 81859 h 95389"/>
                  <a:gd name="connsiteX2" fmla="*/ 60210 w 60210"/>
                  <a:gd name="connsiteY2" fmla="*/ 95389 h 95389"/>
                  <a:gd name="connsiteX3" fmla="*/ 0 w 60210"/>
                  <a:gd name="connsiteY3" fmla="*/ 95389 h 95389"/>
                  <a:gd name="connsiteX4" fmla="*/ 0 w 60210"/>
                  <a:gd name="connsiteY4" fmla="*/ 0 h 95389"/>
                  <a:gd name="connsiteX5" fmla="*/ 16913 w 60210"/>
                  <a:gd name="connsiteY5" fmla="*/ 0 h 95389"/>
                  <a:gd name="connsiteX6" fmla="*/ 16913 w 60210"/>
                  <a:gd name="connsiteY6" fmla="*/ 81859 h 95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210" h="95389">
                    <a:moveTo>
                      <a:pt x="16913" y="81859"/>
                    </a:moveTo>
                    <a:lnTo>
                      <a:pt x="60210" y="81859"/>
                    </a:lnTo>
                    <a:lnTo>
                      <a:pt x="60210" y="95389"/>
                    </a:lnTo>
                    <a:lnTo>
                      <a:pt x="0" y="95389"/>
                    </a:lnTo>
                    <a:lnTo>
                      <a:pt x="0" y="0"/>
                    </a:lnTo>
                    <a:lnTo>
                      <a:pt x="16913" y="0"/>
                    </a:lnTo>
                    <a:lnTo>
                      <a:pt x="16913" y="81859"/>
                    </a:lnTo>
                    <a:close/>
                  </a:path>
                </a:pathLst>
              </a:custGeom>
              <a:solidFill>
                <a:srgbClr val="004A99"/>
              </a:solidFill>
              <a:ln w="6756" cap="flat">
                <a:noFill/>
                <a:prstDash val="solid"/>
                <a:miter/>
              </a:ln>
            </p:spPr>
            <p:txBody>
              <a:bodyPr rtlCol="0" anchor="ctr"/>
              <a:lstStyle/>
              <a:p>
                <a:endParaRPr lang="de-DE"/>
              </a:p>
            </p:txBody>
          </p:sp>
          <p:sp>
            <p:nvSpPr>
              <p:cNvPr id="18" name="Freihandform: Form 17">
                <a:extLst>
                  <a:ext uri="{FF2B5EF4-FFF2-40B4-BE49-F238E27FC236}">
                    <a16:creationId xmlns:a16="http://schemas.microsoft.com/office/drawing/2014/main" id="{6E57E184-3ED3-4E2B-809C-62EEA18CB7A6}"/>
                  </a:ext>
                </a:extLst>
              </p:cNvPr>
              <p:cNvSpPr/>
              <p:nvPr/>
            </p:nvSpPr>
            <p:spPr>
              <a:xfrm>
                <a:off x="5287187" y="3228867"/>
                <a:ext cx="71034" cy="95389"/>
              </a:xfrm>
              <a:custGeom>
                <a:avLst/>
                <a:gdLst>
                  <a:gd name="connsiteX0" fmla="*/ 0 w 71034"/>
                  <a:gd name="connsiteY0" fmla="*/ 95389 h 95389"/>
                  <a:gd name="connsiteX1" fmla="*/ 0 w 71034"/>
                  <a:gd name="connsiteY1" fmla="*/ 0 h 95389"/>
                  <a:gd name="connsiteX2" fmla="*/ 28414 w 71034"/>
                  <a:gd name="connsiteY2" fmla="*/ 0 h 95389"/>
                  <a:gd name="connsiteX3" fmla="*/ 50739 w 71034"/>
                  <a:gd name="connsiteY3" fmla="*/ 5412 h 95389"/>
                  <a:gd name="connsiteX4" fmla="*/ 65622 w 71034"/>
                  <a:gd name="connsiteY4" fmla="*/ 21649 h 95389"/>
                  <a:gd name="connsiteX5" fmla="*/ 71034 w 71034"/>
                  <a:gd name="connsiteY5" fmla="*/ 45327 h 95389"/>
                  <a:gd name="connsiteX6" fmla="*/ 71034 w 71034"/>
                  <a:gd name="connsiteY6" fmla="*/ 50062 h 95389"/>
                  <a:gd name="connsiteX7" fmla="*/ 65622 w 71034"/>
                  <a:gd name="connsiteY7" fmla="*/ 73741 h 95389"/>
                  <a:gd name="connsiteX8" fmla="*/ 50062 w 71034"/>
                  <a:gd name="connsiteY8" fmla="*/ 89301 h 95389"/>
                  <a:gd name="connsiteX9" fmla="*/ 27061 w 71034"/>
                  <a:gd name="connsiteY9" fmla="*/ 94713 h 95389"/>
                  <a:gd name="connsiteX10" fmla="*/ 0 w 71034"/>
                  <a:gd name="connsiteY10" fmla="*/ 94713 h 95389"/>
                  <a:gd name="connsiteX11" fmla="*/ 16236 w 71034"/>
                  <a:gd name="connsiteY11" fmla="*/ 13530 h 95389"/>
                  <a:gd name="connsiteX12" fmla="*/ 16236 w 71034"/>
                  <a:gd name="connsiteY12" fmla="*/ 82535 h 95389"/>
                  <a:gd name="connsiteX13" fmla="*/ 27061 w 71034"/>
                  <a:gd name="connsiteY13" fmla="*/ 82535 h 95389"/>
                  <a:gd name="connsiteX14" fmla="*/ 47356 w 71034"/>
                  <a:gd name="connsiteY14" fmla="*/ 74417 h 95389"/>
                  <a:gd name="connsiteX15" fmla="*/ 54798 w 71034"/>
                  <a:gd name="connsiteY15" fmla="*/ 50739 h 95389"/>
                  <a:gd name="connsiteX16" fmla="*/ 54798 w 71034"/>
                  <a:gd name="connsiteY16" fmla="*/ 45327 h 95389"/>
                  <a:gd name="connsiteX17" fmla="*/ 48033 w 71034"/>
                  <a:gd name="connsiteY17" fmla="*/ 21649 h 95389"/>
                  <a:gd name="connsiteX18" fmla="*/ 28414 w 71034"/>
                  <a:gd name="connsiteY18" fmla="*/ 13530 h 95389"/>
                  <a:gd name="connsiteX19" fmla="*/ 16236 w 71034"/>
                  <a:gd name="connsiteY19" fmla="*/ 13530 h 95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1034" h="95389">
                    <a:moveTo>
                      <a:pt x="0" y="95389"/>
                    </a:moveTo>
                    <a:lnTo>
                      <a:pt x="0" y="0"/>
                    </a:lnTo>
                    <a:lnTo>
                      <a:pt x="28414" y="0"/>
                    </a:lnTo>
                    <a:cubicBezTo>
                      <a:pt x="36532" y="0"/>
                      <a:pt x="44650" y="2030"/>
                      <a:pt x="50739" y="5412"/>
                    </a:cubicBezTo>
                    <a:cubicBezTo>
                      <a:pt x="57504" y="9471"/>
                      <a:pt x="62240" y="14207"/>
                      <a:pt x="65622" y="21649"/>
                    </a:cubicBezTo>
                    <a:cubicBezTo>
                      <a:pt x="69005" y="28414"/>
                      <a:pt x="71034" y="36532"/>
                      <a:pt x="71034" y="45327"/>
                    </a:cubicBezTo>
                    <a:lnTo>
                      <a:pt x="71034" y="50062"/>
                    </a:lnTo>
                    <a:cubicBezTo>
                      <a:pt x="71034" y="58857"/>
                      <a:pt x="69005" y="66975"/>
                      <a:pt x="65622" y="73741"/>
                    </a:cubicBezTo>
                    <a:cubicBezTo>
                      <a:pt x="62240" y="80506"/>
                      <a:pt x="56828" y="85918"/>
                      <a:pt x="50062" y="89301"/>
                    </a:cubicBezTo>
                    <a:cubicBezTo>
                      <a:pt x="43297" y="92683"/>
                      <a:pt x="35855" y="94713"/>
                      <a:pt x="27061" y="94713"/>
                    </a:cubicBezTo>
                    <a:lnTo>
                      <a:pt x="0" y="94713"/>
                    </a:lnTo>
                    <a:close/>
                    <a:moveTo>
                      <a:pt x="16236" y="13530"/>
                    </a:moveTo>
                    <a:lnTo>
                      <a:pt x="16236" y="82535"/>
                    </a:lnTo>
                    <a:lnTo>
                      <a:pt x="27061" y="82535"/>
                    </a:lnTo>
                    <a:cubicBezTo>
                      <a:pt x="35855" y="82535"/>
                      <a:pt x="42621" y="79829"/>
                      <a:pt x="47356" y="74417"/>
                    </a:cubicBezTo>
                    <a:cubicBezTo>
                      <a:pt x="52092" y="69005"/>
                      <a:pt x="54122" y="60887"/>
                      <a:pt x="54798" y="50739"/>
                    </a:cubicBezTo>
                    <a:lnTo>
                      <a:pt x="54798" y="45327"/>
                    </a:lnTo>
                    <a:cubicBezTo>
                      <a:pt x="54798" y="35179"/>
                      <a:pt x="52768" y="27061"/>
                      <a:pt x="48033" y="21649"/>
                    </a:cubicBezTo>
                    <a:cubicBezTo>
                      <a:pt x="43297" y="16236"/>
                      <a:pt x="37209" y="13530"/>
                      <a:pt x="28414" y="13530"/>
                    </a:cubicBezTo>
                    <a:lnTo>
                      <a:pt x="16236" y="13530"/>
                    </a:lnTo>
                    <a:close/>
                  </a:path>
                </a:pathLst>
              </a:custGeom>
              <a:solidFill>
                <a:srgbClr val="004A99"/>
              </a:solidFill>
              <a:ln w="6756" cap="flat">
                <a:noFill/>
                <a:prstDash val="solid"/>
                <a:miter/>
              </a:ln>
            </p:spPr>
            <p:txBody>
              <a:bodyPr rtlCol="0" anchor="ctr"/>
              <a:lstStyle/>
              <a:p>
                <a:endParaRPr lang="de-DE"/>
              </a:p>
            </p:txBody>
          </p:sp>
          <p:sp>
            <p:nvSpPr>
              <p:cNvPr id="19" name="Freihandform: Form 18">
                <a:extLst>
                  <a:ext uri="{FF2B5EF4-FFF2-40B4-BE49-F238E27FC236}">
                    <a16:creationId xmlns:a16="http://schemas.microsoft.com/office/drawing/2014/main" id="{37F12070-7049-454F-B3DF-8F630B280409}"/>
                  </a:ext>
                </a:extLst>
              </p:cNvPr>
              <p:cNvSpPr/>
              <p:nvPr/>
            </p:nvSpPr>
            <p:spPr>
              <a:xfrm>
                <a:off x="5448198" y="3228867"/>
                <a:ext cx="112978" cy="95389"/>
              </a:xfrm>
              <a:custGeom>
                <a:avLst/>
                <a:gdLst>
                  <a:gd name="connsiteX0" fmla="*/ 81859 w 112978"/>
                  <a:gd name="connsiteY0" fmla="*/ 71711 h 95389"/>
                  <a:gd name="connsiteX1" fmla="*/ 96742 w 112978"/>
                  <a:gd name="connsiteY1" fmla="*/ 0 h 95389"/>
                  <a:gd name="connsiteX2" fmla="*/ 112979 w 112978"/>
                  <a:gd name="connsiteY2" fmla="*/ 0 h 95389"/>
                  <a:gd name="connsiteX3" fmla="*/ 90654 w 112978"/>
                  <a:gd name="connsiteY3" fmla="*/ 95389 h 95389"/>
                  <a:gd name="connsiteX4" fmla="*/ 75094 w 112978"/>
                  <a:gd name="connsiteY4" fmla="*/ 95389 h 95389"/>
                  <a:gd name="connsiteX5" fmla="*/ 56828 w 112978"/>
                  <a:gd name="connsiteY5" fmla="*/ 25708 h 95389"/>
                  <a:gd name="connsiteX6" fmla="*/ 38562 w 112978"/>
                  <a:gd name="connsiteY6" fmla="*/ 95389 h 95389"/>
                  <a:gd name="connsiteX7" fmla="*/ 22325 w 112978"/>
                  <a:gd name="connsiteY7" fmla="*/ 95389 h 95389"/>
                  <a:gd name="connsiteX8" fmla="*/ 0 w 112978"/>
                  <a:gd name="connsiteY8" fmla="*/ 0 h 95389"/>
                  <a:gd name="connsiteX9" fmla="*/ 16237 w 112978"/>
                  <a:gd name="connsiteY9" fmla="*/ 0 h 95389"/>
                  <a:gd name="connsiteX10" fmla="*/ 31120 w 112978"/>
                  <a:gd name="connsiteY10" fmla="*/ 71711 h 95389"/>
                  <a:gd name="connsiteX11" fmla="*/ 49386 w 112978"/>
                  <a:gd name="connsiteY11" fmla="*/ 0 h 95389"/>
                  <a:gd name="connsiteX12" fmla="*/ 63593 w 112978"/>
                  <a:gd name="connsiteY12" fmla="*/ 0 h 95389"/>
                  <a:gd name="connsiteX13" fmla="*/ 81859 w 112978"/>
                  <a:gd name="connsiteY13" fmla="*/ 71711 h 95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2977" h="95389">
                    <a:moveTo>
                      <a:pt x="81859" y="71711"/>
                    </a:moveTo>
                    <a:lnTo>
                      <a:pt x="96742" y="0"/>
                    </a:lnTo>
                    <a:lnTo>
                      <a:pt x="112979" y="0"/>
                    </a:lnTo>
                    <a:lnTo>
                      <a:pt x="90654" y="95389"/>
                    </a:lnTo>
                    <a:lnTo>
                      <a:pt x="75094" y="95389"/>
                    </a:lnTo>
                    <a:lnTo>
                      <a:pt x="56828" y="25708"/>
                    </a:lnTo>
                    <a:lnTo>
                      <a:pt x="38562" y="95389"/>
                    </a:lnTo>
                    <a:lnTo>
                      <a:pt x="22325" y="95389"/>
                    </a:lnTo>
                    <a:lnTo>
                      <a:pt x="0" y="0"/>
                    </a:lnTo>
                    <a:lnTo>
                      <a:pt x="16237" y="0"/>
                    </a:lnTo>
                    <a:lnTo>
                      <a:pt x="31120" y="71711"/>
                    </a:lnTo>
                    <a:lnTo>
                      <a:pt x="49386" y="0"/>
                    </a:lnTo>
                    <a:lnTo>
                      <a:pt x="63593" y="0"/>
                    </a:lnTo>
                    <a:lnTo>
                      <a:pt x="81859" y="71711"/>
                    </a:lnTo>
                    <a:close/>
                  </a:path>
                </a:pathLst>
              </a:custGeom>
              <a:solidFill>
                <a:srgbClr val="004A99"/>
              </a:solidFill>
              <a:ln w="6756" cap="flat">
                <a:noFill/>
                <a:prstDash val="solid"/>
                <a:miter/>
              </a:ln>
            </p:spPr>
            <p:txBody>
              <a:bodyPr rtlCol="0" anchor="ctr"/>
              <a:lstStyle/>
              <a:p>
                <a:endParaRPr lang="de-DE"/>
              </a:p>
            </p:txBody>
          </p:sp>
          <p:sp>
            <p:nvSpPr>
              <p:cNvPr id="20" name="Freihandform: Form 19">
                <a:extLst>
                  <a:ext uri="{FF2B5EF4-FFF2-40B4-BE49-F238E27FC236}">
                    <a16:creationId xmlns:a16="http://schemas.microsoft.com/office/drawing/2014/main" id="{2338123D-D495-423F-8F95-A09D0183CFAF}"/>
                  </a:ext>
                </a:extLst>
              </p:cNvPr>
              <p:cNvSpPr/>
              <p:nvPr/>
            </p:nvSpPr>
            <p:spPr>
              <a:xfrm>
                <a:off x="5655213" y="3228867"/>
                <a:ext cx="16236" cy="95389"/>
              </a:xfrm>
              <a:custGeom>
                <a:avLst/>
                <a:gdLst>
                  <a:gd name="connsiteX0" fmla="*/ 16236 w 16236"/>
                  <a:gd name="connsiteY0" fmla="*/ 95389 h 95389"/>
                  <a:gd name="connsiteX1" fmla="*/ 0 w 16236"/>
                  <a:gd name="connsiteY1" fmla="*/ 95389 h 95389"/>
                  <a:gd name="connsiteX2" fmla="*/ 0 w 16236"/>
                  <a:gd name="connsiteY2" fmla="*/ 0 h 95389"/>
                  <a:gd name="connsiteX3" fmla="*/ 16236 w 16236"/>
                  <a:gd name="connsiteY3" fmla="*/ 0 h 95389"/>
                  <a:gd name="connsiteX4" fmla="*/ 16236 w 16236"/>
                  <a:gd name="connsiteY4" fmla="*/ 95389 h 953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36" h="95389">
                    <a:moveTo>
                      <a:pt x="16236" y="95389"/>
                    </a:moveTo>
                    <a:lnTo>
                      <a:pt x="0" y="95389"/>
                    </a:lnTo>
                    <a:lnTo>
                      <a:pt x="0" y="0"/>
                    </a:lnTo>
                    <a:lnTo>
                      <a:pt x="16236" y="0"/>
                    </a:lnTo>
                    <a:lnTo>
                      <a:pt x="16236" y="95389"/>
                    </a:lnTo>
                    <a:close/>
                  </a:path>
                </a:pathLst>
              </a:custGeom>
              <a:solidFill>
                <a:srgbClr val="004A99"/>
              </a:solidFill>
              <a:ln w="6756" cap="flat">
                <a:noFill/>
                <a:prstDash val="solid"/>
                <a:miter/>
              </a:ln>
            </p:spPr>
            <p:txBody>
              <a:bodyPr rtlCol="0" anchor="ctr"/>
              <a:lstStyle/>
              <a:p>
                <a:endParaRPr lang="de-DE"/>
              </a:p>
            </p:txBody>
          </p:sp>
          <p:sp>
            <p:nvSpPr>
              <p:cNvPr id="21" name="Freihandform: Form 20">
                <a:extLst>
                  <a:ext uri="{FF2B5EF4-FFF2-40B4-BE49-F238E27FC236}">
                    <a16:creationId xmlns:a16="http://schemas.microsoft.com/office/drawing/2014/main" id="{2D35AB38-CA29-427B-B916-02403D33A6E5}"/>
                  </a:ext>
                </a:extLst>
              </p:cNvPr>
              <p:cNvSpPr/>
              <p:nvPr/>
            </p:nvSpPr>
            <p:spPr>
              <a:xfrm>
                <a:off x="5772251" y="3228867"/>
                <a:ext cx="71034" cy="95389"/>
              </a:xfrm>
              <a:custGeom>
                <a:avLst/>
                <a:gdLst>
                  <a:gd name="connsiteX0" fmla="*/ 0 w 71034"/>
                  <a:gd name="connsiteY0" fmla="*/ 95389 h 95389"/>
                  <a:gd name="connsiteX1" fmla="*/ 0 w 71034"/>
                  <a:gd name="connsiteY1" fmla="*/ 0 h 95389"/>
                  <a:gd name="connsiteX2" fmla="*/ 28414 w 71034"/>
                  <a:gd name="connsiteY2" fmla="*/ 0 h 95389"/>
                  <a:gd name="connsiteX3" fmla="*/ 50739 w 71034"/>
                  <a:gd name="connsiteY3" fmla="*/ 5412 h 95389"/>
                  <a:gd name="connsiteX4" fmla="*/ 65622 w 71034"/>
                  <a:gd name="connsiteY4" fmla="*/ 21649 h 95389"/>
                  <a:gd name="connsiteX5" fmla="*/ 71034 w 71034"/>
                  <a:gd name="connsiteY5" fmla="*/ 45327 h 95389"/>
                  <a:gd name="connsiteX6" fmla="*/ 71034 w 71034"/>
                  <a:gd name="connsiteY6" fmla="*/ 50062 h 95389"/>
                  <a:gd name="connsiteX7" fmla="*/ 65622 w 71034"/>
                  <a:gd name="connsiteY7" fmla="*/ 73741 h 95389"/>
                  <a:gd name="connsiteX8" fmla="*/ 50062 w 71034"/>
                  <a:gd name="connsiteY8" fmla="*/ 89301 h 95389"/>
                  <a:gd name="connsiteX9" fmla="*/ 27061 w 71034"/>
                  <a:gd name="connsiteY9" fmla="*/ 94713 h 95389"/>
                  <a:gd name="connsiteX10" fmla="*/ 0 w 71034"/>
                  <a:gd name="connsiteY10" fmla="*/ 94713 h 95389"/>
                  <a:gd name="connsiteX11" fmla="*/ 16236 w 71034"/>
                  <a:gd name="connsiteY11" fmla="*/ 13530 h 95389"/>
                  <a:gd name="connsiteX12" fmla="*/ 16236 w 71034"/>
                  <a:gd name="connsiteY12" fmla="*/ 82535 h 95389"/>
                  <a:gd name="connsiteX13" fmla="*/ 27061 w 71034"/>
                  <a:gd name="connsiteY13" fmla="*/ 82535 h 95389"/>
                  <a:gd name="connsiteX14" fmla="*/ 47356 w 71034"/>
                  <a:gd name="connsiteY14" fmla="*/ 74417 h 95389"/>
                  <a:gd name="connsiteX15" fmla="*/ 54798 w 71034"/>
                  <a:gd name="connsiteY15" fmla="*/ 50739 h 95389"/>
                  <a:gd name="connsiteX16" fmla="*/ 54798 w 71034"/>
                  <a:gd name="connsiteY16" fmla="*/ 45327 h 95389"/>
                  <a:gd name="connsiteX17" fmla="*/ 48033 w 71034"/>
                  <a:gd name="connsiteY17" fmla="*/ 21649 h 95389"/>
                  <a:gd name="connsiteX18" fmla="*/ 28414 w 71034"/>
                  <a:gd name="connsiteY18" fmla="*/ 13530 h 95389"/>
                  <a:gd name="connsiteX19" fmla="*/ 16236 w 71034"/>
                  <a:gd name="connsiteY19" fmla="*/ 13530 h 95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1034" h="95389">
                    <a:moveTo>
                      <a:pt x="0" y="95389"/>
                    </a:moveTo>
                    <a:lnTo>
                      <a:pt x="0" y="0"/>
                    </a:lnTo>
                    <a:lnTo>
                      <a:pt x="28414" y="0"/>
                    </a:lnTo>
                    <a:cubicBezTo>
                      <a:pt x="36532" y="0"/>
                      <a:pt x="44650" y="2030"/>
                      <a:pt x="50739" y="5412"/>
                    </a:cubicBezTo>
                    <a:cubicBezTo>
                      <a:pt x="57504" y="9471"/>
                      <a:pt x="62240" y="14207"/>
                      <a:pt x="65622" y="21649"/>
                    </a:cubicBezTo>
                    <a:cubicBezTo>
                      <a:pt x="69005" y="28414"/>
                      <a:pt x="71034" y="36532"/>
                      <a:pt x="71034" y="45327"/>
                    </a:cubicBezTo>
                    <a:lnTo>
                      <a:pt x="71034" y="50062"/>
                    </a:lnTo>
                    <a:cubicBezTo>
                      <a:pt x="71034" y="58857"/>
                      <a:pt x="69005" y="66975"/>
                      <a:pt x="65622" y="73741"/>
                    </a:cubicBezTo>
                    <a:cubicBezTo>
                      <a:pt x="62240" y="80506"/>
                      <a:pt x="56828" y="85918"/>
                      <a:pt x="50062" y="89301"/>
                    </a:cubicBezTo>
                    <a:cubicBezTo>
                      <a:pt x="43297" y="92683"/>
                      <a:pt x="35855" y="94713"/>
                      <a:pt x="27061" y="94713"/>
                    </a:cubicBezTo>
                    <a:lnTo>
                      <a:pt x="0" y="94713"/>
                    </a:lnTo>
                    <a:close/>
                    <a:moveTo>
                      <a:pt x="16236" y="13530"/>
                    </a:moveTo>
                    <a:lnTo>
                      <a:pt x="16236" y="82535"/>
                    </a:lnTo>
                    <a:lnTo>
                      <a:pt x="27061" y="82535"/>
                    </a:lnTo>
                    <a:cubicBezTo>
                      <a:pt x="35855" y="82535"/>
                      <a:pt x="42621" y="79829"/>
                      <a:pt x="47356" y="74417"/>
                    </a:cubicBezTo>
                    <a:cubicBezTo>
                      <a:pt x="52092" y="69005"/>
                      <a:pt x="54122" y="60887"/>
                      <a:pt x="54798" y="50739"/>
                    </a:cubicBezTo>
                    <a:lnTo>
                      <a:pt x="54798" y="45327"/>
                    </a:lnTo>
                    <a:cubicBezTo>
                      <a:pt x="54798" y="35179"/>
                      <a:pt x="52768" y="27061"/>
                      <a:pt x="48033" y="21649"/>
                    </a:cubicBezTo>
                    <a:cubicBezTo>
                      <a:pt x="43297" y="16236"/>
                      <a:pt x="37209" y="13530"/>
                      <a:pt x="28414" y="13530"/>
                    </a:cubicBezTo>
                    <a:lnTo>
                      <a:pt x="16236" y="13530"/>
                    </a:lnTo>
                    <a:close/>
                  </a:path>
                </a:pathLst>
              </a:custGeom>
              <a:solidFill>
                <a:srgbClr val="004A99"/>
              </a:solidFill>
              <a:ln w="6756" cap="flat">
                <a:noFill/>
                <a:prstDash val="solid"/>
                <a:miter/>
              </a:ln>
            </p:spPr>
            <p:txBody>
              <a:bodyPr rtlCol="0" anchor="ctr"/>
              <a:lstStyle/>
              <a:p>
                <a:endParaRPr lang="de-DE"/>
              </a:p>
            </p:txBody>
          </p:sp>
          <p:sp>
            <p:nvSpPr>
              <p:cNvPr id="22" name="Freihandform: Form 21">
                <a:extLst>
                  <a:ext uri="{FF2B5EF4-FFF2-40B4-BE49-F238E27FC236}">
                    <a16:creationId xmlns:a16="http://schemas.microsoft.com/office/drawing/2014/main" id="{0B93FAB7-9A61-4F3B-96F3-91C389ED4B16}"/>
                  </a:ext>
                </a:extLst>
              </p:cNvPr>
              <p:cNvSpPr/>
              <p:nvPr/>
            </p:nvSpPr>
            <p:spPr>
              <a:xfrm>
                <a:off x="5940704" y="3228867"/>
                <a:ext cx="62239" cy="95389"/>
              </a:xfrm>
              <a:custGeom>
                <a:avLst/>
                <a:gdLst>
                  <a:gd name="connsiteX0" fmla="*/ 55475 w 62239"/>
                  <a:gd name="connsiteY0" fmla="*/ 52768 h 95389"/>
                  <a:gd name="connsiteX1" fmla="*/ 16236 w 62239"/>
                  <a:gd name="connsiteY1" fmla="*/ 52768 h 95389"/>
                  <a:gd name="connsiteX2" fmla="*/ 16236 w 62239"/>
                  <a:gd name="connsiteY2" fmla="*/ 81859 h 95389"/>
                  <a:gd name="connsiteX3" fmla="*/ 62240 w 62239"/>
                  <a:gd name="connsiteY3" fmla="*/ 81859 h 95389"/>
                  <a:gd name="connsiteX4" fmla="*/ 62240 w 62239"/>
                  <a:gd name="connsiteY4" fmla="*/ 95389 h 95389"/>
                  <a:gd name="connsiteX5" fmla="*/ 0 w 62239"/>
                  <a:gd name="connsiteY5" fmla="*/ 95389 h 95389"/>
                  <a:gd name="connsiteX6" fmla="*/ 0 w 62239"/>
                  <a:gd name="connsiteY6" fmla="*/ 0 h 95389"/>
                  <a:gd name="connsiteX7" fmla="*/ 62240 w 62239"/>
                  <a:gd name="connsiteY7" fmla="*/ 0 h 95389"/>
                  <a:gd name="connsiteX8" fmla="*/ 62240 w 62239"/>
                  <a:gd name="connsiteY8" fmla="*/ 13530 h 95389"/>
                  <a:gd name="connsiteX9" fmla="*/ 16913 w 62239"/>
                  <a:gd name="connsiteY9" fmla="*/ 13530 h 95389"/>
                  <a:gd name="connsiteX10" fmla="*/ 16913 w 62239"/>
                  <a:gd name="connsiteY10" fmla="*/ 39915 h 95389"/>
                  <a:gd name="connsiteX11" fmla="*/ 56151 w 62239"/>
                  <a:gd name="connsiteY11" fmla="*/ 39915 h 95389"/>
                  <a:gd name="connsiteX12" fmla="*/ 56151 w 62239"/>
                  <a:gd name="connsiteY12" fmla="*/ 52768 h 95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2238" h="95389">
                    <a:moveTo>
                      <a:pt x="55475" y="52768"/>
                    </a:moveTo>
                    <a:lnTo>
                      <a:pt x="16236" y="52768"/>
                    </a:lnTo>
                    <a:lnTo>
                      <a:pt x="16236" y="81859"/>
                    </a:lnTo>
                    <a:lnTo>
                      <a:pt x="62240" y="81859"/>
                    </a:lnTo>
                    <a:lnTo>
                      <a:pt x="62240" y="95389"/>
                    </a:lnTo>
                    <a:lnTo>
                      <a:pt x="0" y="95389"/>
                    </a:lnTo>
                    <a:lnTo>
                      <a:pt x="0" y="0"/>
                    </a:lnTo>
                    <a:lnTo>
                      <a:pt x="62240" y="0"/>
                    </a:lnTo>
                    <a:lnTo>
                      <a:pt x="62240" y="13530"/>
                    </a:lnTo>
                    <a:lnTo>
                      <a:pt x="16913" y="13530"/>
                    </a:lnTo>
                    <a:lnTo>
                      <a:pt x="16913" y="39915"/>
                    </a:lnTo>
                    <a:lnTo>
                      <a:pt x="56151" y="39915"/>
                    </a:lnTo>
                    <a:lnTo>
                      <a:pt x="56151" y="52768"/>
                    </a:lnTo>
                    <a:close/>
                  </a:path>
                </a:pathLst>
              </a:custGeom>
              <a:solidFill>
                <a:srgbClr val="004A99"/>
              </a:solidFill>
              <a:ln w="6756" cap="flat">
                <a:noFill/>
                <a:prstDash val="solid"/>
                <a:miter/>
              </a:ln>
            </p:spPr>
            <p:txBody>
              <a:bodyPr rtlCol="0" anchor="ctr"/>
              <a:lstStyle/>
              <a:p>
                <a:endParaRPr lang="de-DE"/>
              </a:p>
            </p:txBody>
          </p:sp>
          <p:sp>
            <p:nvSpPr>
              <p:cNvPr id="23" name="Freihandform: Form 22">
                <a:extLst>
                  <a:ext uri="{FF2B5EF4-FFF2-40B4-BE49-F238E27FC236}">
                    <a16:creationId xmlns:a16="http://schemas.microsoft.com/office/drawing/2014/main" id="{C3F59078-7F42-461C-9332-17B2B5F1ACD7}"/>
                  </a:ext>
                </a:extLst>
              </p:cNvPr>
              <p:cNvSpPr/>
              <p:nvPr/>
            </p:nvSpPr>
            <p:spPr>
              <a:xfrm>
                <a:off x="6210635" y="3229544"/>
                <a:ext cx="60210" cy="95389"/>
              </a:xfrm>
              <a:custGeom>
                <a:avLst/>
                <a:gdLst>
                  <a:gd name="connsiteX0" fmla="*/ 16913 w 60210"/>
                  <a:gd name="connsiteY0" fmla="*/ 81859 h 95389"/>
                  <a:gd name="connsiteX1" fmla="*/ 60210 w 60210"/>
                  <a:gd name="connsiteY1" fmla="*/ 81859 h 95389"/>
                  <a:gd name="connsiteX2" fmla="*/ 60210 w 60210"/>
                  <a:gd name="connsiteY2" fmla="*/ 95389 h 95389"/>
                  <a:gd name="connsiteX3" fmla="*/ 0 w 60210"/>
                  <a:gd name="connsiteY3" fmla="*/ 95389 h 95389"/>
                  <a:gd name="connsiteX4" fmla="*/ 0 w 60210"/>
                  <a:gd name="connsiteY4" fmla="*/ 0 h 95389"/>
                  <a:gd name="connsiteX5" fmla="*/ 16913 w 60210"/>
                  <a:gd name="connsiteY5" fmla="*/ 0 h 95389"/>
                  <a:gd name="connsiteX6" fmla="*/ 16913 w 60210"/>
                  <a:gd name="connsiteY6" fmla="*/ 81859 h 95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210" h="95389">
                    <a:moveTo>
                      <a:pt x="16913" y="81859"/>
                    </a:moveTo>
                    <a:lnTo>
                      <a:pt x="60210" y="81859"/>
                    </a:lnTo>
                    <a:lnTo>
                      <a:pt x="60210" y="95389"/>
                    </a:lnTo>
                    <a:lnTo>
                      <a:pt x="0" y="95389"/>
                    </a:lnTo>
                    <a:lnTo>
                      <a:pt x="0" y="0"/>
                    </a:lnTo>
                    <a:lnTo>
                      <a:pt x="16913" y="0"/>
                    </a:lnTo>
                    <a:lnTo>
                      <a:pt x="16913" y="81859"/>
                    </a:lnTo>
                    <a:close/>
                  </a:path>
                </a:pathLst>
              </a:custGeom>
              <a:solidFill>
                <a:srgbClr val="004A99"/>
              </a:solidFill>
              <a:ln w="6756" cap="flat">
                <a:noFill/>
                <a:prstDash val="solid"/>
                <a:miter/>
              </a:ln>
            </p:spPr>
            <p:txBody>
              <a:bodyPr rtlCol="0" anchor="ctr"/>
              <a:lstStyle/>
              <a:p>
                <a:endParaRPr lang="de-DE"/>
              </a:p>
            </p:txBody>
          </p:sp>
          <p:sp>
            <p:nvSpPr>
              <p:cNvPr id="24" name="Freihandform: Form 23">
                <a:extLst>
                  <a:ext uri="{FF2B5EF4-FFF2-40B4-BE49-F238E27FC236}">
                    <a16:creationId xmlns:a16="http://schemas.microsoft.com/office/drawing/2014/main" id="{8EB320AE-D1BC-45DD-B518-090EC46EA751}"/>
                  </a:ext>
                </a:extLst>
              </p:cNvPr>
              <p:cNvSpPr/>
              <p:nvPr/>
            </p:nvSpPr>
            <p:spPr>
              <a:xfrm>
                <a:off x="6356763" y="3228191"/>
                <a:ext cx="79829" cy="97418"/>
              </a:xfrm>
              <a:custGeom>
                <a:avLst/>
                <a:gdLst>
                  <a:gd name="connsiteX0" fmla="*/ 79153 w 79829"/>
                  <a:gd name="connsiteY0" fmla="*/ 51415 h 97418"/>
                  <a:gd name="connsiteX1" fmla="*/ 74417 w 79829"/>
                  <a:gd name="connsiteY1" fmla="*/ 75770 h 97418"/>
                  <a:gd name="connsiteX2" fmla="*/ 60887 w 79829"/>
                  <a:gd name="connsiteY2" fmla="*/ 92007 h 97418"/>
                  <a:gd name="connsiteX3" fmla="*/ 39915 w 79829"/>
                  <a:gd name="connsiteY3" fmla="*/ 97419 h 97418"/>
                  <a:gd name="connsiteX4" fmla="*/ 18942 w 79829"/>
                  <a:gd name="connsiteY4" fmla="*/ 92007 h 97418"/>
                  <a:gd name="connsiteX5" fmla="*/ 4736 w 79829"/>
                  <a:gd name="connsiteY5" fmla="*/ 75770 h 97418"/>
                  <a:gd name="connsiteX6" fmla="*/ 0 w 79829"/>
                  <a:gd name="connsiteY6" fmla="*/ 51415 h 97418"/>
                  <a:gd name="connsiteX7" fmla="*/ 0 w 79829"/>
                  <a:gd name="connsiteY7" fmla="*/ 46003 h 97418"/>
                  <a:gd name="connsiteX8" fmla="*/ 4736 w 79829"/>
                  <a:gd name="connsiteY8" fmla="*/ 21649 h 97418"/>
                  <a:gd name="connsiteX9" fmla="*/ 18942 w 79829"/>
                  <a:gd name="connsiteY9" fmla="*/ 5412 h 97418"/>
                  <a:gd name="connsiteX10" fmla="*/ 39915 w 79829"/>
                  <a:gd name="connsiteY10" fmla="*/ 0 h 97418"/>
                  <a:gd name="connsiteX11" fmla="*/ 60887 w 79829"/>
                  <a:gd name="connsiteY11" fmla="*/ 5412 h 97418"/>
                  <a:gd name="connsiteX12" fmla="*/ 75094 w 79829"/>
                  <a:gd name="connsiteY12" fmla="*/ 21649 h 97418"/>
                  <a:gd name="connsiteX13" fmla="*/ 79829 w 79829"/>
                  <a:gd name="connsiteY13" fmla="*/ 46003 h 97418"/>
                  <a:gd name="connsiteX14" fmla="*/ 79829 w 79829"/>
                  <a:gd name="connsiteY14" fmla="*/ 51415 h 97418"/>
                  <a:gd name="connsiteX15" fmla="*/ 62240 w 79829"/>
                  <a:gd name="connsiteY15" fmla="*/ 46003 h 97418"/>
                  <a:gd name="connsiteX16" fmla="*/ 56151 w 79829"/>
                  <a:gd name="connsiteY16" fmla="*/ 21649 h 97418"/>
                  <a:gd name="connsiteX17" fmla="*/ 39238 w 79829"/>
                  <a:gd name="connsiteY17" fmla="*/ 13530 h 97418"/>
                  <a:gd name="connsiteX18" fmla="*/ 22325 w 79829"/>
                  <a:gd name="connsiteY18" fmla="*/ 21649 h 97418"/>
                  <a:gd name="connsiteX19" fmla="*/ 16236 w 79829"/>
                  <a:gd name="connsiteY19" fmla="*/ 45327 h 97418"/>
                  <a:gd name="connsiteX20" fmla="*/ 16236 w 79829"/>
                  <a:gd name="connsiteY20" fmla="*/ 50739 h 97418"/>
                  <a:gd name="connsiteX21" fmla="*/ 22325 w 79829"/>
                  <a:gd name="connsiteY21" fmla="*/ 75094 h 97418"/>
                  <a:gd name="connsiteX22" fmla="*/ 39238 w 79829"/>
                  <a:gd name="connsiteY22" fmla="*/ 83888 h 97418"/>
                  <a:gd name="connsiteX23" fmla="*/ 56151 w 79829"/>
                  <a:gd name="connsiteY23" fmla="*/ 75770 h 97418"/>
                  <a:gd name="connsiteX24" fmla="*/ 62240 w 79829"/>
                  <a:gd name="connsiteY24" fmla="*/ 51415 h 97418"/>
                  <a:gd name="connsiteX25" fmla="*/ 62240 w 79829"/>
                  <a:gd name="connsiteY25" fmla="*/ 46003 h 97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79829" h="97418">
                    <a:moveTo>
                      <a:pt x="79153" y="51415"/>
                    </a:moveTo>
                    <a:cubicBezTo>
                      <a:pt x="79153" y="60887"/>
                      <a:pt x="77800" y="69005"/>
                      <a:pt x="74417" y="75770"/>
                    </a:cubicBezTo>
                    <a:cubicBezTo>
                      <a:pt x="71034" y="82535"/>
                      <a:pt x="66299" y="87947"/>
                      <a:pt x="60887" y="92007"/>
                    </a:cubicBezTo>
                    <a:cubicBezTo>
                      <a:pt x="54798" y="96066"/>
                      <a:pt x="48033" y="97419"/>
                      <a:pt x="39915" y="97419"/>
                    </a:cubicBezTo>
                    <a:cubicBezTo>
                      <a:pt x="32473" y="97419"/>
                      <a:pt x="25031" y="95389"/>
                      <a:pt x="18942" y="92007"/>
                    </a:cubicBezTo>
                    <a:cubicBezTo>
                      <a:pt x="12854" y="87947"/>
                      <a:pt x="8118" y="82535"/>
                      <a:pt x="4736" y="75770"/>
                    </a:cubicBezTo>
                    <a:cubicBezTo>
                      <a:pt x="1353" y="69005"/>
                      <a:pt x="0" y="60887"/>
                      <a:pt x="0" y="51415"/>
                    </a:cubicBezTo>
                    <a:lnTo>
                      <a:pt x="0" y="46003"/>
                    </a:lnTo>
                    <a:cubicBezTo>
                      <a:pt x="0" y="36532"/>
                      <a:pt x="1353" y="28414"/>
                      <a:pt x="4736" y="21649"/>
                    </a:cubicBezTo>
                    <a:cubicBezTo>
                      <a:pt x="8118" y="14207"/>
                      <a:pt x="12854" y="8795"/>
                      <a:pt x="18942" y="5412"/>
                    </a:cubicBezTo>
                    <a:cubicBezTo>
                      <a:pt x="25031" y="1353"/>
                      <a:pt x="31796" y="0"/>
                      <a:pt x="39915" y="0"/>
                    </a:cubicBezTo>
                    <a:cubicBezTo>
                      <a:pt x="47356" y="0"/>
                      <a:pt x="54798" y="2030"/>
                      <a:pt x="60887" y="5412"/>
                    </a:cubicBezTo>
                    <a:cubicBezTo>
                      <a:pt x="66975" y="9471"/>
                      <a:pt x="71711" y="14207"/>
                      <a:pt x="75094" y="21649"/>
                    </a:cubicBezTo>
                    <a:cubicBezTo>
                      <a:pt x="78476" y="28414"/>
                      <a:pt x="79829" y="36532"/>
                      <a:pt x="79829" y="46003"/>
                    </a:cubicBezTo>
                    <a:lnTo>
                      <a:pt x="79829" y="51415"/>
                    </a:lnTo>
                    <a:close/>
                    <a:moveTo>
                      <a:pt x="62240" y="46003"/>
                    </a:moveTo>
                    <a:cubicBezTo>
                      <a:pt x="62240" y="35179"/>
                      <a:pt x="60210" y="27061"/>
                      <a:pt x="56151" y="21649"/>
                    </a:cubicBezTo>
                    <a:cubicBezTo>
                      <a:pt x="52092" y="16236"/>
                      <a:pt x="46680" y="13530"/>
                      <a:pt x="39238" y="13530"/>
                    </a:cubicBezTo>
                    <a:cubicBezTo>
                      <a:pt x="31796" y="13530"/>
                      <a:pt x="26384" y="16236"/>
                      <a:pt x="22325" y="21649"/>
                    </a:cubicBezTo>
                    <a:cubicBezTo>
                      <a:pt x="18266" y="27061"/>
                      <a:pt x="16236" y="35179"/>
                      <a:pt x="16236" y="45327"/>
                    </a:cubicBezTo>
                    <a:lnTo>
                      <a:pt x="16236" y="50739"/>
                    </a:lnTo>
                    <a:cubicBezTo>
                      <a:pt x="16236" y="61563"/>
                      <a:pt x="18266" y="69005"/>
                      <a:pt x="22325" y="75094"/>
                    </a:cubicBezTo>
                    <a:cubicBezTo>
                      <a:pt x="26384" y="80506"/>
                      <a:pt x="31796" y="83888"/>
                      <a:pt x="39238" y="83888"/>
                    </a:cubicBezTo>
                    <a:cubicBezTo>
                      <a:pt x="46680" y="83888"/>
                      <a:pt x="52092" y="81182"/>
                      <a:pt x="56151" y="75770"/>
                    </a:cubicBezTo>
                    <a:cubicBezTo>
                      <a:pt x="60210" y="70358"/>
                      <a:pt x="62240" y="62240"/>
                      <a:pt x="62240" y="51415"/>
                    </a:cubicBezTo>
                    <a:lnTo>
                      <a:pt x="62240" y="46003"/>
                    </a:lnTo>
                    <a:close/>
                  </a:path>
                </a:pathLst>
              </a:custGeom>
              <a:solidFill>
                <a:srgbClr val="004A99"/>
              </a:solidFill>
              <a:ln w="6756" cap="flat">
                <a:noFill/>
                <a:prstDash val="solid"/>
                <a:miter/>
              </a:ln>
            </p:spPr>
            <p:txBody>
              <a:bodyPr rtlCol="0" anchor="ctr"/>
              <a:lstStyle/>
              <a:p>
                <a:endParaRPr lang="de-DE"/>
              </a:p>
            </p:txBody>
          </p:sp>
          <p:sp>
            <p:nvSpPr>
              <p:cNvPr id="25" name="Freihandform: Form 24">
                <a:extLst>
                  <a:ext uri="{FF2B5EF4-FFF2-40B4-BE49-F238E27FC236}">
                    <a16:creationId xmlns:a16="http://schemas.microsoft.com/office/drawing/2014/main" id="{A0FBCC5B-BA7C-47F3-96C4-EAB9A5269DE9}"/>
                  </a:ext>
                </a:extLst>
              </p:cNvPr>
              <p:cNvSpPr/>
              <p:nvPr/>
            </p:nvSpPr>
            <p:spPr>
              <a:xfrm>
                <a:off x="6529952" y="3227514"/>
                <a:ext cx="75769" cy="98095"/>
              </a:xfrm>
              <a:custGeom>
                <a:avLst/>
                <a:gdLst>
                  <a:gd name="connsiteX0" fmla="*/ 75770 w 75769"/>
                  <a:gd name="connsiteY0" fmla="*/ 84565 h 98095"/>
                  <a:gd name="connsiteX1" fmla="*/ 61563 w 75769"/>
                  <a:gd name="connsiteY1" fmla="*/ 94713 h 98095"/>
                  <a:gd name="connsiteX2" fmla="*/ 40591 w 75769"/>
                  <a:gd name="connsiteY2" fmla="*/ 98095 h 98095"/>
                  <a:gd name="connsiteX3" fmla="*/ 19619 w 75769"/>
                  <a:gd name="connsiteY3" fmla="*/ 92683 h 98095"/>
                  <a:gd name="connsiteX4" fmla="*/ 5412 w 75769"/>
                  <a:gd name="connsiteY4" fmla="*/ 77123 h 98095"/>
                  <a:gd name="connsiteX5" fmla="*/ 0 w 75769"/>
                  <a:gd name="connsiteY5" fmla="*/ 53445 h 98095"/>
                  <a:gd name="connsiteX6" fmla="*/ 0 w 75769"/>
                  <a:gd name="connsiteY6" fmla="*/ 46003 h 98095"/>
                  <a:gd name="connsiteX7" fmla="*/ 10148 w 75769"/>
                  <a:gd name="connsiteY7" fmla="*/ 12177 h 98095"/>
                  <a:gd name="connsiteX8" fmla="*/ 39238 w 75769"/>
                  <a:gd name="connsiteY8" fmla="*/ 0 h 98095"/>
                  <a:gd name="connsiteX9" fmla="*/ 64269 w 75769"/>
                  <a:gd name="connsiteY9" fmla="*/ 8118 h 98095"/>
                  <a:gd name="connsiteX10" fmla="*/ 75770 w 75769"/>
                  <a:gd name="connsiteY10" fmla="*/ 31120 h 98095"/>
                  <a:gd name="connsiteX11" fmla="*/ 59534 w 75769"/>
                  <a:gd name="connsiteY11" fmla="*/ 31120 h 98095"/>
                  <a:gd name="connsiteX12" fmla="*/ 39238 w 75769"/>
                  <a:gd name="connsiteY12" fmla="*/ 14207 h 98095"/>
                  <a:gd name="connsiteX13" fmla="*/ 22325 w 75769"/>
                  <a:gd name="connsiteY13" fmla="*/ 22325 h 98095"/>
                  <a:gd name="connsiteX14" fmla="*/ 16236 w 75769"/>
                  <a:gd name="connsiteY14" fmla="*/ 46003 h 98095"/>
                  <a:gd name="connsiteX15" fmla="*/ 16236 w 75769"/>
                  <a:gd name="connsiteY15" fmla="*/ 53445 h 98095"/>
                  <a:gd name="connsiteX16" fmla="*/ 23002 w 75769"/>
                  <a:gd name="connsiteY16" fmla="*/ 77123 h 98095"/>
                  <a:gd name="connsiteX17" fmla="*/ 41268 w 75769"/>
                  <a:gd name="connsiteY17" fmla="*/ 85918 h 98095"/>
                  <a:gd name="connsiteX18" fmla="*/ 59534 w 75769"/>
                  <a:gd name="connsiteY18" fmla="*/ 79829 h 98095"/>
                  <a:gd name="connsiteX19" fmla="*/ 59534 w 75769"/>
                  <a:gd name="connsiteY19" fmla="*/ 60887 h 98095"/>
                  <a:gd name="connsiteX20" fmla="*/ 39915 w 75769"/>
                  <a:gd name="connsiteY20" fmla="*/ 60887 h 98095"/>
                  <a:gd name="connsiteX21" fmla="*/ 39915 w 75769"/>
                  <a:gd name="connsiteY21" fmla="*/ 48033 h 98095"/>
                  <a:gd name="connsiteX22" fmla="*/ 75770 w 75769"/>
                  <a:gd name="connsiteY22" fmla="*/ 48033 h 98095"/>
                  <a:gd name="connsiteX23" fmla="*/ 75770 w 75769"/>
                  <a:gd name="connsiteY23" fmla="*/ 84565 h 98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5769" h="98095">
                    <a:moveTo>
                      <a:pt x="75770" y="84565"/>
                    </a:moveTo>
                    <a:cubicBezTo>
                      <a:pt x="72387" y="89301"/>
                      <a:pt x="67652" y="92683"/>
                      <a:pt x="61563" y="94713"/>
                    </a:cubicBezTo>
                    <a:cubicBezTo>
                      <a:pt x="55474" y="96742"/>
                      <a:pt x="48709" y="98095"/>
                      <a:pt x="40591" y="98095"/>
                    </a:cubicBezTo>
                    <a:cubicBezTo>
                      <a:pt x="32473" y="98095"/>
                      <a:pt x="25708" y="96066"/>
                      <a:pt x="19619" y="92683"/>
                    </a:cubicBezTo>
                    <a:cubicBezTo>
                      <a:pt x="13530" y="89301"/>
                      <a:pt x="8795" y="83888"/>
                      <a:pt x="5412" y="77123"/>
                    </a:cubicBezTo>
                    <a:cubicBezTo>
                      <a:pt x="2029" y="70358"/>
                      <a:pt x="0" y="62240"/>
                      <a:pt x="0" y="53445"/>
                    </a:cubicBezTo>
                    <a:lnTo>
                      <a:pt x="0" y="46003"/>
                    </a:lnTo>
                    <a:cubicBezTo>
                      <a:pt x="0" y="31796"/>
                      <a:pt x="3383" y="20296"/>
                      <a:pt x="10148" y="12177"/>
                    </a:cubicBezTo>
                    <a:cubicBezTo>
                      <a:pt x="16913" y="4059"/>
                      <a:pt x="26384" y="0"/>
                      <a:pt x="39238" y="0"/>
                    </a:cubicBezTo>
                    <a:cubicBezTo>
                      <a:pt x="50062" y="0"/>
                      <a:pt x="58181" y="2706"/>
                      <a:pt x="64269" y="8118"/>
                    </a:cubicBezTo>
                    <a:cubicBezTo>
                      <a:pt x="70358" y="13530"/>
                      <a:pt x="74417" y="20972"/>
                      <a:pt x="75770" y="31120"/>
                    </a:cubicBezTo>
                    <a:lnTo>
                      <a:pt x="59534" y="31120"/>
                    </a:lnTo>
                    <a:cubicBezTo>
                      <a:pt x="57504" y="19619"/>
                      <a:pt x="50739" y="14207"/>
                      <a:pt x="39238" y="14207"/>
                    </a:cubicBezTo>
                    <a:cubicBezTo>
                      <a:pt x="31796" y="14207"/>
                      <a:pt x="26384" y="16913"/>
                      <a:pt x="22325" y="22325"/>
                    </a:cubicBezTo>
                    <a:cubicBezTo>
                      <a:pt x="18266" y="27737"/>
                      <a:pt x="16236" y="35856"/>
                      <a:pt x="16236" y="46003"/>
                    </a:cubicBezTo>
                    <a:lnTo>
                      <a:pt x="16236" y="53445"/>
                    </a:lnTo>
                    <a:cubicBezTo>
                      <a:pt x="16236" y="63593"/>
                      <a:pt x="18266" y="71711"/>
                      <a:pt x="23002" y="77123"/>
                    </a:cubicBezTo>
                    <a:cubicBezTo>
                      <a:pt x="27061" y="82535"/>
                      <a:pt x="33149" y="85918"/>
                      <a:pt x="41268" y="85918"/>
                    </a:cubicBezTo>
                    <a:cubicBezTo>
                      <a:pt x="50062" y="85918"/>
                      <a:pt x="55474" y="83888"/>
                      <a:pt x="59534" y="79829"/>
                    </a:cubicBezTo>
                    <a:lnTo>
                      <a:pt x="59534" y="60887"/>
                    </a:lnTo>
                    <a:lnTo>
                      <a:pt x="39915" y="60887"/>
                    </a:lnTo>
                    <a:lnTo>
                      <a:pt x="39915" y="48033"/>
                    </a:lnTo>
                    <a:lnTo>
                      <a:pt x="75770" y="48033"/>
                    </a:lnTo>
                    <a:lnTo>
                      <a:pt x="75770" y="84565"/>
                    </a:lnTo>
                    <a:close/>
                  </a:path>
                </a:pathLst>
              </a:custGeom>
              <a:solidFill>
                <a:srgbClr val="004A99"/>
              </a:solidFill>
              <a:ln w="6756" cap="flat">
                <a:noFill/>
                <a:prstDash val="solid"/>
                <a:miter/>
              </a:ln>
            </p:spPr>
            <p:txBody>
              <a:bodyPr rtlCol="0" anchor="ctr"/>
              <a:lstStyle/>
              <a:p>
                <a:endParaRPr lang="de-DE"/>
              </a:p>
            </p:txBody>
          </p:sp>
          <p:sp>
            <p:nvSpPr>
              <p:cNvPr id="26" name="Freihandform: Form 25">
                <a:extLst>
                  <a:ext uri="{FF2B5EF4-FFF2-40B4-BE49-F238E27FC236}">
                    <a16:creationId xmlns:a16="http://schemas.microsoft.com/office/drawing/2014/main" id="{06DD5BB8-27C8-431D-89D4-34D0451FEAA1}"/>
                  </a:ext>
                </a:extLst>
              </p:cNvPr>
              <p:cNvSpPr/>
              <p:nvPr/>
            </p:nvSpPr>
            <p:spPr>
              <a:xfrm>
                <a:off x="6705847" y="3228867"/>
                <a:ext cx="16236" cy="95389"/>
              </a:xfrm>
              <a:custGeom>
                <a:avLst/>
                <a:gdLst>
                  <a:gd name="connsiteX0" fmla="*/ 16236 w 16236"/>
                  <a:gd name="connsiteY0" fmla="*/ 95389 h 95389"/>
                  <a:gd name="connsiteX1" fmla="*/ 0 w 16236"/>
                  <a:gd name="connsiteY1" fmla="*/ 95389 h 95389"/>
                  <a:gd name="connsiteX2" fmla="*/ 0 w 16236"/>
                  <a:gd name="connsiteY2" fmla="*/ 0 h 95389"/>
                  <a:gd name="connsiteX3" fmla="*/ 16236 w 16236"/>
                  <a:gd name="connsiteY3" fmla="*/ 0 h 95389"/>
                  <a:gd name="connsiteX4" fmla="*/ 16236 w 16236"/>
                  <a:gd name="connsiteY4" fmla="*/ 95389 h 953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36" h="95389">
                    <a:moveTo>
                      <a:pt x="16236" y="95389"/>
                    </a:moveTo>
                    <a:lnTo>
                      <a:pt x="0" y="95389"/>
                    </a:lnTo>
                    <a:lnTo>
                      <a:pt x="0" y="0"/>
                    </a:lnTo>
                    <a:lnTo>
                      <a:pt x="16236" y="0"/>
                    </a:lnTo>
                    <a:lnTo>
                      <a:pt x="16236" y="95389"/>
                    </a:lnTo>
                    <a:close/>
                  </a:path>
                </a:pathLst>
              </a:custGeom>
              <a:solidFill>
                <a:srgbClr val="004A99"/>
              </a:solidFill>
              <a:ln w="6756" cap="flat">
                <a:noFill/>
                <a:prstDash val="solid"/>
                <a:miter/>
              </a:ln>
            </p:spPr>
            <p:txBody>
              <a:bodyPr rtlCol="0" anchor="ctr"/>
              <a:lstStyle/>
              <a:p>
                <a:endParaRPr lang="de-DE"/>
              </a:p>
            </p:txBody>
          </p:sp>
          <p:sp>
            <p:nvSpPr>
              <p:cNvPr id="27" name="Freihandform: Form 26">
                <a:extLst>
                  <a:ext uri="{FF2B5EF4-FFF2-40B4-BE49-F238E27FC236}">
                    <a16:creationId xmlns:a16="http://schemas.microsoft.com/office/drawing/2014/main" id="{53D7A65E-6CBB-4998-87DD-7F285993709B}"/>
                  </a:ext>
                </a:extLst>
              </p:cNvPr>
              <p:cNvSpPr/>
              <p:nvPr/>
            </p:nvSpPr>
            <p:spPr>
              <a:xfrm>
                <a:off x="6817472" y="3228191"/>
                <a:ext cx="71711" cy="96742"/>
              </a:xfrm>
              <a:custGeom>
                <a:avLst/>
                <a:gdLst>
                  <a:gd name="connsiteX0" fmla="*/ 55474 w 71711"/>
                  <a:gd name="connsiteY0" fmla="*/ 71711 h 96742"/>
                  <a:gd name="connsiteX1" fmla="*/ 50739 w 71711"/>
                  <a:gd name="connsiteY1" fmla="*/ 62240 h 96742"/>
                  <a:gd name="connsiteX2" fmla="*/ 34503 w 71711"/>
                  <a:gd name="connsiteY2" fmla="*/ 55475 h 96742"/>
                  <a:gd name="connsiteX3" fmla="*/ 16236 w 71711"/>
                  <a:gd name="connsiteY3" fmla="*/ 48033 h 96742"/>
                  <a:gd name="connsiteX4" fmla="*/ 3383 w 71711"/>
                  <a:gd name="connsiteY4" fmla="*/ 26384 h 96742"/>
                  <a:gd name="connsiteX5" fmla="*/ 12854 w 71711"/>
                  <a:gd name="connsiteY5" fmla="*/ 7442 h 96742"/>
                  <a:gd name="connsiteX6" fmla="*/ 37209 w 71711"/>
                  <a:gd name="connsiteY6" fmla="*/ 0 h 96742"/>
                  <a:gd name="connsiteX7" fmla="*/ 54798 w 71711"/>
                  <a:gd name="connsiteY7" fmla="*/ 3383 h 96742"/>
                  <a:gd name="connsiteX8" fmla="*/ 66975 w 71711"/>
                  <a:gd name="connsiteY8" fmla="*/ 13530 h 96742"/>
                  <a:gd name="connsiteX9" fmla="*/ 71711 w 71711"/>
                  <a:gd name="connsiteY9" fmla="*/ 28414 h 96742"/>
                  <a:gd name="connsiteX10" fmla="*/ 55474 w 71711"/>
                  <a:gd name="connsiteY10" fmla="*/ 28414 h 96742"/>
                  <a:gd name="connsiteX11" fmla="*/ 50739 w 71711"/>
                  <a:gd name="connsiteY11" fmla="*/ 16913 h 96742"/>
                  <a:gd name="connsiteX12" fmla="*/ 37209 w 71711"/>
                  <a:gd name="connsiteY12" fmla="*/ 12854 h 96742"/>
                  <a:gd name="connsiteX13" fmla="*/ 24355 w 71711"/>
                  <a:gd name="connsiteY13" fmla="*/ 16236 h 96742"/>
                  <a:gd name="connsiteX14" fmla="*/ 19619 w 71711"/>
                  <a:gd name="connsiteY14" fmla="*/ 25708 h 96742"/>
                  <a:gd name="connsiteX15" fmla="*/ 24355 w 71711"/>
                  <a:gd name="connsiteY15" fmla="*/ 34503 h 96742"/>
                  <a:gd name="connsiteX16" fmla="*/ 40591 w 71711"/>
                  <a:gd name="connsiteY16" fmla="*/ 41268 h 96742"/>
                  <a:gd name="connsiteX17" fmla="*/ 58181 w 71711"/>
                  <a:gd name="connsiteY17" fmla="*/ 48709 h 96742"/>
                  <a:gd name="connsiteX18" fmla="*/ 68328 w 71711"/>
                  <a:gd name="connsiteY18" fmla="*/ 58181 h 96742"/>
                  <a:gd name="connsiteX19" fmla="*/ 71711 w 71711"/>
                  <a:gd name="connsiteY19" fmla="*/ 71035 h 96742"/>
                  <a:gd name="connsiteX20" fmla="*/ 62240 w 71711"/>
                  <a:gd name="connsiteY20" fmla="*/ 89977 h 96742"/>
                  <a:gd name="connsiteX21" fmla="*/ 37209 w 71711"/>
                  <a:gd name="connsiteY21" fmla="*/ 96742 h 96742"/>
                  <a:gd name="connsiteX22" fmla="*/ 18266 w 71711"/>
                  <a:gd name="connsiteY22" fmla="*/ 92683 h 96742"/>
                  <a:gd name="connsiteX23" fmla="*/ 4736 w 71711"/>
                  <a:gd name="connsiteY23" fmla="*/ 81859 h 96742"/>
                  <a:gd name="connsiteX24" fmla="*/ 0 w 71711"/>
                  <a:gd name="connsiteY24" fmla="*/ 66299 h 96742"/>
                  <a:gd name="connsiteX25" fmla="*/ 16913 w 71711"/>
                  <a:gd name="connsiteY25" fmla="*/ 66299 h 96742"/>
                  <a:gd name="connsiteX26" fmla="*/ 22325 w 71711"/>
                  <a:gd name="connsiteY26" fmla="*/ 79153 h 96742"/>
                  <a:gd name="connsiteX27" fmla="*/ 37885 w 71711"/>
                  <a:gd name="connsiteY27" fmla="*/ 83888 h 96742"/>
                  <a:gd name="connsiteX28" fmla="*/ 50739 w 71711"/>
                  <a:gd name="connsiteY28" fmla="*/ 80506 h 96742"/>
                  <a:gd name="connsiteX29" fmla="*/ 55474 w 71711"/>
                  <a:gd name="connsiteY29" fmla="*/ 71711 h 96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1711" h="96742">
                    <a:moveTo>
                      <a:pt x="55474" y="71711"/>
                    </a:moveTo>
                    <a:cubicBezTo>
                      <a:pt x="55474" y="67652"/>
                      <a:pt x="54122" y="64269"/>
                      <a:pt x="50739" y="62240"/>
                    </a:cubicBezTo>
                    <a:cubicBezTo>
                      <a:pt x="48033" y="60210"/>
                      <a:pt x="42621" y="57504"/>
                      <a:pt x="34503" y="55475"/>
                    </a:cubicBezTo>
                    <a:cubicBezTo>
                      <a:pt x="27061" y="53445"/>
                      <a:pt x="20972" y="50739"/>
                      <a:pt x="16236" y="48033"/>
                    </a:cubicBezTo>
                    <a:cubicBezTo>
                      <a:pt x="7442" y="42621"/>
                      <a:pt x="3383" y="35179"/>
                      <a:pt x="3383" y="26384"/>
                    </a:cubicBezTo>
                    <a:cubicBezTo>
                      <a:pt x="3383" y="18943"/>
                      <a:pt x="6765" y="12177"/>
                      <a:pt x="12854" y="7442"/>
                    </a:cubicBezTo>
                    <a:cubicBezTo>
                      <a:pt x="18942" y="2706"/>
                      <a:pt x="27061" y="0"/>
                      <a:pt x="37209" y="0"/>
                    </a:cubicBezTo>
                    <a:cubicBezTo>
                      <a:pt x="43974" y="0"/>
                      <a:pt x="50062" y="1353"/>
                      <a:pt x="54798" y="3383"/>
                    </a:cubicBezTo>
                    <a:cubicBezTo>
                      <a:pt x="60210" y="6089"/>
                      <a:pt x="64269" y="9471"/>
                      <a:pt x="66975" y="13530"/>
                    </a:cubicBezTo>
                    <a:cubicBezTo>
                      <a:pt x="69681" y="18266"/>
                      <a:pt x="71711" y="23002"/>
                      <a:pt x="71711" y="28414"/>
                    </a:cubicBezTo>
                    <a:lnTo>
                      <a:pt x="55474" y="28414"/>
                    </a:lnTo>
                    <a:cubicBezTo>
                      <a:pt x="55474" y="23678"/>
                      <a:pt x="54122" y="19619"/>
                      <a:pt x="50739" y="16913"/>
                    </a:cubicBezTo>
                    <a:cubicBezTo>
                      <a:pt x="47356" y="14207"/>
                      <a:pt x="43297" y="12854"/>
                      <a:pt x="37209" y="12854"/>
                    </a:cubicBezTo>
                    <a:cubicBezTo>
                      <a:pt x="31796" y="12854"/>
                      <a:pt x="27737" y="14207"/>
                      <a:pt x="24355" y="16236"/>
                    </a:cubicBezTo>
                    <a:cubicBezTo>
                      <a:pt x="21648" y="18266"/>
                      <a:pt x="19619" y="21649"/>
                      <a:pt x="19619" y="25708"/>
                    </a:cubicBezTo>
                    <a:cubicBezTo>
                      <a:pt x="19619" y="29090"/>
                      <a:pt x="20972" y="31796"/>
                      <a:pt x="24355" y="34503"/>
                    </a:cubicBezTo>
                    <a:cubicBezTo>
                      <a:pt x="27737" y="36532"/>
                      <a:pt x="33149" y="39238"/>
                      <a:pt x="40591" y="41268"/>
                    </a:cubicBezTo>
                    <a:cubicBezTo>
                      <a:pt x="48033" y="43297"/>
                      <a:pt x="54122" y="46003"/>
                      <a:pt x="58181" y="48709"/>
                    </a:cubicBezTo>
                    <a:cubicBezTo>
                      <a:pt x="62916" y="51415"/>
                      <a:pt x="66299" y="54798"/>
                      <a:pt x="68328" y="58181"/>
                    </a:cubicBezTo>
                    <a:cubicBezTo>
                      <a:pt x="70358" y="61563"/>
                      <a:pt x="71711" y="66299"/>
                      <a:pt x="71711" y="71035"/>
                    </a:cubicBezTo>
                    <a:cubicBezTo>
                      <a:pt x="71711" y="79153"/>
                      <a:pt x="69005" y="85241"/>
                      <a:pt x="62240" y="89977"/>
                    </a:cubicBezTo>
                    <a:cubicBezTo>
                      <a:pt x="56151" y="94713"/>
                      <a:pt x="48033" y="96742"/>
                      <a:pt x="37209" y="96742"/>
                    </a:cubicBezTo>
                    <a:cubicBezTo>
                      <a:pt x="30443" y="96742"/>
                      <a:pt x="23678" y="95389"/>
                      <a:pt x="18266" y="92683"/>
                    </a:cubicBezTo>
                    <a:cubicBezTo>
                      <a:pt x="12854" y="89977"/>
                      <a:pt x="8118" y="86594"/>
                      <a:pt x="4736" y="81859"/>
                    </a:cubicBezTo>
                    <a:cubicBezTo>
                      <a:pt x="1353" y="77123"/>
                      <a:pt x="0" y="72388"/>
                      <a:pt x="0" y="66299"/>
                    </a:cubicBezTo>
                    <a:lnTo>
                      <a:pt x="16913" y="66299"/>
                    </a:lnTo>
                    <a:cubicBezTo>
                      <a:pt x="16913" y="71711"/>
                      <a:pt x="18942" y="75770"/>
                      <a:pt x="22325" y="79153"/>
                    </a:cubicBezTo>
                    <a:cubicBezTo>
                      <a:pt x="25708" y="81859"/>
                      <a:pt x="31120" y="83888"/>
                      <a:pt x="37885" y="83888"/>
                    </a:cubicBezTo>
                    <a:cubicBezTo>
                      <a:pt x="43974" y="83888"/>
                      <a:pt x="48033" y="82535"/>
                      <a:pt x="50739" y="80506"/>
                    </a:cubicBezTo>
                    <a:cubicBezTo>
                      <a:pt x="54122" y="78476"/>
                      <a:pt x="55474" y="75770"/>
                      <a:pt x="55474" y="71711"/>
                    </a:cubicBezTo>
                    <a:close/>
                  </a:path>
                </a:pathLst>
              </a:custGeom>
              <a:solidFill>
                <a:srgbClr val="004A99"/>
              </a:solidFill>
              <a:ln w="6756" cap="flat">
                <a:noFill/>
                <a:prstDash val="solid"/>
                <a:miter/>
              </a:ln>
            </p:spPr>
            <p:txBody>
              <a:bodyPr rtlCol="0" anchor="ctr"/>
              <a:lstStyle/>
              <a:p>
                <a:endParaRPr lang="de-DE"/>
              </a:p>
            </p:txBody>
          </p:sp>
          <p:sp>
            <p:nvSpPr>
              <p:cNvPr id="28" name="Freihandform: Form 27">
                <a:extLst>
                  <a:ext uri="{FF2B5EF4-FFF2-40B4-BE49-F238E27FC236}">
                    <a16:creationId xmlns:a16="http://schemas.microsoft.com/office/drawing/2014/main" id="{57F4C5C4-093E-44EF-9042-2DFC9868FA2E}"/>
                  </a:ext>
                </a:extLst>
              </p:cNvPr>
              <p:cNvSpPr/>
              <p:nvPr/>
            </p:nvSpPr>
            <p:spPr>
              <a:xfrm>
                <a:off x="6977807" y="3228867"/>
                <a:ext cx="75770" cy="95389"/>
              </a:xfrm>
              <a:custGeom>
                <a:avLst/>
                <a:gdLst>
                  <a:gd name="connsiteX0" fmla="*/ 75770 w 75770"/>
                  <a:gd name="connsiteY0" fmla="*/ 13530 h 95389"/>
                  <a:gd name="connsiteX1" fmla="*/ 46003 w 75770"/>
                  <a:gd name="connsiteY1" fmla="*/ 13530 h 95389"/>
                  <a:gd name="connsiteX2" fmla="*/ 46003 w 75770"/>
                  <a:gd name="connsiteY2" fmla="*/ 95389 h 95389"/>
                  <a:gd name="connsiteX3" fmla="*/ 29767 w 75770"/>
                  <a:gd name="connsiteY3" fmla="*/ 95389 h 95389"/>
                  <a:gd name="connsiteX4" fmla="*/ 29767 w 75770"/>
                  <a:gd name="connsiteY4" fmla="*/ 13530 h 95389"/>
                  <a:gd name="connsiteX5" fmla="*/ 0 w 75770"/>
                  <a:gd name="connsiteY5" fmla="*/ 13530 h 95389"/>
                  <a:gd name="connsiteX6" fmla="*/ 0 w 75770"/>
                  <a:gd name="connsiteY6" fmla="*/ 0 h 95389"/>
                  <a:gd name="connsiteX7" fmla="*/ 75770 w 75770"/>
                  <a:gd name="connsiteY7" fmla="*/ 0 h 95389"/>
                  <a:gd name="connsiteX8" fmla="*/ 75770 w 75770"/>
                  <a:gd name="connsiteY8" fmla="*/ 13530 h 95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770" h="95389">
                    <a:moveTo>
                      <a:pt x="75770" y="13530"/>
                    </a:moveTo>
                    <a:lnTo>
                      <a:pt x="46003" y="13530"/>
                    </a:lnTo>
                    <a:lnTo>
                      <a:pt x="46003" y="95389"/>
                    </a:lnTo>
                    <a:lnTo>
                      <a:pt x="29767" y="95389"/>
                    </a:lnTo>
                    <a:lnTo>
                      <a:pt x="29767" y="13530"/>
                    </a:lnTo>
                    <a:lnTo>
                      <a:pt x="0" y="13530"/>
                    </a:lnTo>
                    <a:lnTo>
                      <a:pt x="0" y="0"/>
                    </a:lnTo>
                    <a:lnTo>
                      <a:pt x="75770" y="0"/>
                    </a:lnTo>
                    <a:lnTo>
                      <a:pt x="75770" y="13530"/>
                    </a:lnTo>
                    <a:close/>
                  </a:path>
                </a:pathLst>
              </a:custGeom>
              <a:solidFill>
                <a:srgbClr val="004A99"/>
              </a:solidFill>
              <a:ln w="6756" cap="flat">
                <a:noFill/>
                <a:prstDash val="solid"/>
                <a:miter/>
              </a:ln>
            </p:spPr>
            <p:txBody>
              <a:bodyPr rtlCol="0" anchor="ctr"/>
              <a:lstStyle/>
              <a:p>
                <a:endParaRPr lang="de-DE"/>
              </a:p>
            </p:txBody>
          </p:sp>
          <p:sp>
            <p:nvSpPr>
              <p:cNvPr id="29" name="Freihandform: Form 28">
                <a:extLst>
                  <a:ext uri="{FF2B5EF4-FFF2-40B4-BE49-F238E27FC236}">
                    <a16:creationId xmlns:a16="http://schemas.microsoft.com/office/drawing/2014/main" id="{3AF4947B-CC88-4605-8C34-08AB1307A907}"/>
                  </a:ext>
                </a:extLst>
              </p:cNvPr>
              <p:cNvSpPr/>
              <p:nvPr/>
            </p:nvSpPr>
            <p:spPr>
              <a:xfrm>
                <a:off x="7147614" y="3228867"/>
                <a:ext cx="16236" cy="95389"/>
              </a:xfrm>
              <a:custGeom>
                <a:avLst/>
                <a:gdLst>
                  <a:gd name="connsiteX0" fmla="*/ 16236 w 16236"/>
                  <a:gd name="connsiteY0" fmla="*/ 95389 h 95389"/>
                  <a:gd name="connsiteX1" fmla="*/ 0 w 16236"/>
                  <a:gd name="connsiteY1" fmla="*/ 95389 h 95389"/>
                  <a:gd name="connsiteX2" fmla="*/ 0 w 16236"/>
                  <a:gd name="connsiteY2" fmla="*/ 0 h 95389"/>
                  <a:gd name="connsiteX3" fmla="*/ 16236 w 16236"/>
                  <a:gd name="connsiteY3" fmla="*/ 0 h 95389"/>
                  <a:gd name="connsiteX4" fmla="*/ 16236 w 16236"/>
                  <a:gd name="connsiteY4" fmla="*/ 95389 h 953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36" h="95389">
                    <a:moveTo>
                      <a:pt x="16236" y="95389"/>
                    </a:moveTo>
                    <a:lnTo>
                      <a:pt x="0" y="95389"/>
                    </a:lnTo>
                    <a:lnTo>
                      <a:pt x="0" y="0"/>
                    </a:lnTo>
                    <a:lnTo>
                      <a:pt x="16236" y="0"/>
                    </a:lnTo>
                    <a:lnTo>
                      <a:pt x="16236" y="95389"/>
                    </a:lnTo>
                    <a:close/>
                  </a:path>
                </a:pathLst>
              </a:custGeom>
              <a:solidFill>
                <a:srgbClr val="004A99"/>
              </a:solidFill>
              <a:ln w="6756" cap="flat">
                <a:noFill/>
                <a:prstDash val="solid"/>
                <a:miter/>
              </a:ln>
            </p:spPr>
            <p:txBody>
              <a:bodyPr rtlCol="0" anchor="ctr"/>
              <a:lstStyle/>
              <a:p>
                <a:endParaRPr lang="de-DE"/>
              </a:p>
            </p:txBody>
          </p:sp>
          <p:sp>
            <p:nvSpPr>
              <p:cNvPr id="30" name="Freihandform: Form 29">
                <a:extLst>
                  <a:ext uri="{FF2B5EF4-FFF2-40B4-BE49-F238E27FC236}">
                    <a16:creationId xmlns:a16="http://schemas.microsoft.com/office/drawing/2014/main" id="{4CDD3972-8235-4199-A92B-882076855A26}"/>
                  </a:ext>
                </a:extLst>
              </p:cNvPr>
              <p:cNvSpPr/>
              <p:nvPr/>
            </p:nvSpPr>
            <p:spPr>
              <a:xfrm>
                <a:off x="7261269" y="3228191"/>
                <a:ext cx="76446" cy="97418"/>
              </a:xfrm>
              <a:custGeom>
                <a:avLst/>
                <a:gdLst>
                  <a:gd name="connsiteX0" fmla="*/ 76447 w 76446"/>
                  <a:gd name="connsiteY0" fmla="*/ 64946 h 97418"/>
                  <a:gd name="connsiteX1" fmla="*/ 64946 w 76446"/>
                  <a:gd name="connsiteY1" fmla="*/ 88624 h 97418"/>
                  <a:gd name="connsiteX2" fmla="*/ 38561 w 76446"/>
                  <a:gd name="connsiteY2" fmla="*/ 97419 h 97418"/>
                  <a:gd name="connsiteX3" fmla="*/ 18266 w 76446"/>
                  <a:gd name="connsiteY3" fmla="*/ 92007 h 97418"/>
                  <a:gd name="connsiteX4" fmla="*/ 4736 w 76446"/>
                  <a:gd name="connsiteY4" fmla="*/ 76447 h 97418"/>
                  <a:gd name="connsiteX5" fmla="*/ 0 w 76446"/>
                  <a:gd name="connsiteY5" fmla="*/ 53445 h 97418"/>
                  <a:gd name="connsiteX6" fmla="*/ 0 w 76446"/>
                  <a:gd name="connsiteY6" fmla="*/ 44650 h 97418"/>
                  <a:gd name="connsiteX7" fmla="*/ 4736 w 76446"/>
                  <a:gd name="connsiteY7" fmla="*/ 20972 h 97418"/>
                  <a:gd name="connsiteX8" fmla="*/ 18266 w 76446"/>
                  <a:gd name="connsiteY8" fmla="*/ 5412 h 97418"/>
                  <a:gd name="connsiteX9" fmla="*/ 39238 w 76446"/>
                  <a:gd name="connsiteY9" fmla="*/ 0 h 97418"/>
                  <a:gd name="connsiteX10" fmla="*/ 64946 w 76446"/>
                  <a:gd name="connsiteY10" fmla="*/ 8795 h 97418"/>
                  <a:gd name="connsiteX11" fmla="*/ 76447 w 76446"/>
                  <a:gd name="connsiteY11" fmla="*/ 33149 h 97418"/>
                  <a:gd name="connsiteX12" fmla="*/ 60210 w 76446"/>
                  <a:gd name="connsiteY12" fmla="*/ 33149 h 97418"/>
                  <a:gd name="connsiteX13" fmla="*/ 54122 w 76446"/>
                  <a:gd name="connsiteY13" fmla="*/ 18266 h 97418"/>
                  <a:gd name="connsiteX14" fmla="*/ 39915 w 76446"/>
                  <a:gd name="connsiteY14" fmla="*/ 13530 h 97418"/>
                  <a:gd name="connsiteX15" fmla="*/ 23002 w 76446"/>
                  <a:gd name="connsiteY15" fmla="*/ 21649 h 97418"/>
                  <a:gd name="connsiteX16" fmla="*/ 16913 w 76446"/>
                  <a:gd name="connsiteY16" fmla="*/ 44650 h 97418"/>
                  <a:gd name="connsiteX17" fmla="*/ 16913 w 76446"/>
                  <a:gd name="connsiteY17" fmla="*/ 53445 h 97418"/>
                  <a:gd name="connsiteX18" fmla="*/ 22325 w 76446"/>
                  <a:gd name="connsiteY18" fmla="*/ 77123 h 97418"/>
                  <a:gd name="connsiteX19" fmla="*/ 38561 w 76446"/>
                  <a:gd name="connsiteY19" fmla="*/ 85241 h 97418"/>
                  <a:gd name="connsiteX20" fmla="*/ 53445 w 76446"/>
                  <a:gd name="connsiteY20" fmla="*/ 81182 h 97418"/>
                  <a:gd name="connsiteX21" fmla="*/ 59534 w 76446"/>
                  <a:gd name="connsiteY21" fmla="*/ 66299 h 97418"/>
                  <a:gd name="connsiteX22" fmla="*/ 76447 w 76446"/>
                  <a:gd name="connsiteY22" fmla="*/ 66299 h 97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6446" h="97418">
                    <a:moveTo>
                      <a:pt x="76447" y="64946"/>
                    </a:moveTo>
                    <a:cubicBezTo>
                      <a:pt x="75770" y="75094"/>
                      <a:pt x="71711" y="83212"/>
                      <a:pt x="64946" y="88624"/>
                    </a:cubicBezTo>
                    <a:cubicBezTo>
                      <a:pt x="58180" y="94036"/>
                      <a:pt x="49386" y="97419"/>
                      <a:pt x="38561" y="97419"/>
                    </a:cubicBezTo>
                    <a:cubicBezTo>
                      <a:pt x="31120" y="97419"/>
                      <a:pt x="24355" y="95389"/>
                      <a:pt x="18266" y="92007"/>
                    </a:cubicBezTo>
                    <a:cubicBezTo>
                      <a:pt x="12177" y="88624"/>
                      <a:pt x="8118" y="83212"/>
                      <a:pt x="4736" y="76447"/>
                    </a:cubicBezTo>
                    <a:cubicBezTo>
                      <a:pt x="1353" y="69681"/>
                      <a:pt x="0" y="62240"/>
                      <a:pt x="0" y="53445"/>
                    </a:cubicBezTo>
                    <a:lnTo>
                      <a:pt x="0" y="44650"/>
                    </a:lnTo>
                    <a:cubicBezTo>
                      <a:pt x="0" y="35856"/>
                      <a:pt x="1353" y="27737"/>
                      <a:pt x="4736" y="20972"/>
                    </a:cubicBezTo>
                    <a:cubicBezTo>
                      <a:pt x="8118" y="14207"/>
                      <a:pt x="12177" y="8795"/>
                      <a:pt x="18266" y="5412"/>
                    </a:cubicBezTo>
                    <a:cubicBezTo>
                      <a:pt x="24355" y="2030"/>
                      <a:pt x="31120" y="0"/>
                      <a:pt x="39238" y="0"/>
                    </a:cubicBezTo>
                    <a:cubicBezTo>
                      <a:pt x="50062" y="0"/>
                      <a:pt x="58180" y="2706"/>
                      <a:pt x="64946" y="8795"/>
                    </a:cubicBezTo>
                    <a:cubicBezTo>
                      <a:pt x="71034" y="14207"/>
                      <a:pt x="75093" y="22325"/>
                      <a:pt x="76447" y="33149"/>
                    </a:cubicBezTo>
                    <a:lnTo>
                      <a:pt x="60210" y="33149"/>
                    </a:lnTo>
                    <a:cubicBezTo>
                      <a:pt x="59534" y="26384"/>
                      <a:pt x="57504" y="21649"/>
                      <a:pt x="54122" y="18266"/>
                    </a:cubicBezTo>
                    <a:cubicBezTo>
                      <a:pt x="50739" y="15560"/>
                      <a:pt x="46003" y="13530"/>
                      <a:pt x="39915" y="13530"/>
                    </a:cubicBezTo>
                    <a:cubicBezTo>
                      <a:pt x="32473" y="13530"/>
                      <a:pt x="27061" y="16236"/>
                      <a:pt x="23002" y="21649"/>
                    </a:cubicBezTo>
                    <a:cubicBezTo>
                      <a:pt x="18942" y="27061"/>
                      <a:pt x="16913" y="34503"/>
                      <a:pt x="16913" y="44650"/>
                    </a:cubicBezTo>
                    <a:lnTo>
                      <a:pt x="16913" y="53445"/>
                    </a:lnTo>
                    <a:cubicBezTo>
                      <a:pt x="16913" y="63593"/>
                      <a:pt x="18942" y="71711"/>
                      <a:pt x="22325" y="77123"/>
                    </a:cubicBezTo>
                    <a:cubicBezTo>
                      <a:pt x="25708" y="82535"/>
                      <a:pt x="31120" y="85241"/>
                      <a:pt x="38561" y="85241"/>
                    </a:cubicBezTo>
                    <a:cubicBezTo>
                      <a:pt x="45327" y="85241"/>
                      <a:pt x="50062" y="83888"/>
                      <a:pt x="53445" y="81182"/>
                    </a:cubicBezTo>
                    <a:cubicBezTo>
                      <a:pt x="56828" y="78476"/>
                      <a:pt x="58857" y="73064"/>
                      <a:pt x="59534" y="66299"/>
                    </a:cubicBezTo>
                    <a:lnTo>
                      <a:pt x="76447" y="66299"/>
                    </a:lnTo>
                    <a:close/>
                  </a:path>
                </a:pathLst>
              </a:custGeom>
              <a:solidFill>
                <a:srgbClr val="004A99"/>
              </a:solidFill>
              <a:ln w="6756" cap="flat">
                <a:noFill/>
                <a:prstDash val="solid"/>
                <a:miter/>
              </a:ln>
            </p:spPr>
            <p:txBody>
              <a:bodyPr rtlCol="0" anchor="ctr"/>
              <a:lstStyle/>
              <a:p>
                <a:endParaRPr lang="de-DE"/>
              </a:p>
            </p:txBody>
          </p:sp>
          <p:sp>
            <p:nvSpPr>
              <p:cNvPr id="31" name="Freihandform: Form 30">
                <a:extLst>
                  <a:ext uri="{FF2B5EF4-FFF2-40B4-BE49-F238E27FC236}">
                    <a16:creationId xmlns:a16="http://schemas.microsoft.com/office/drawing/2014/main" id="{3C708605-FEAB-4084-9334-AD8BAB1B2ECE}"/>
                  </a:ext>
                </a:extLst>
              </p:cNvPr>
              <p:cNvSpPr/>
              <p:nvPr/>
            </p:nvSpPr>
            <p:spPr>
              <a:xfrm>
                <a:off x="7427692" y="3228191"/>
                <a:ext cx="71711" cy="96742"/>
              </a:xfrm>
              <a:custGeom>
                <a:avLst/>
                <a:gdLst>
                  <a:gd name="connsiteX0" fmla="*/ 55475 w 71711"/>
                  <a:gd name="connsiteY0" fmla="*/ 71711 h 96742"/>
                  <a:gd name="connsiteX1" fmla="*/ 50739 w 71711"/>
                  <a:gd name="connsiteY1" fmla="*/ 62240 h 96742"/>
                  <a:gd name="connsiteX2" fmla="*/ 34503 w 71711"/>
                  <a:gd name="connsiteY2" fmla="*/ 55475 h 96742"/>
                  <a:gd name="connsiteX3" fmla="*/ 16237 w 71711"/>
                  <a:gd name="connsiteY3" fmla="*/ 48033 h 96742"/>
                  <a:gd name="connsiteX4" fmla="*/ 3383 w 71711"/>
                  <a:gd name="connsiteY4" fmla="*/ 26384 h 96742"/>
                  <a:gd name="connsiteX5" fmla="*/ 12854 w 71711"/>
                  <a:gd name="connsiteY5" fmla="*/ 7442 h 96742"/>
                  <a:gd name="connsiteX6" fmla="*/ 37209 w 71711"/>
                  <a:gd name="connsiteY6" fmla="*/ 0 h 96742"/>
                  <a:gd name="connsiteX7" fmla="*/ 54798 w 71711"/>
                  <a:gd name="connsiteY7" fmla="*/ 3383 h 96742"/>
                  <a:gd name="connsiteX8" fmla="*/ 66976 w 71711"/>
                  <a:gd name="connsiteY8" fmla="*/ 13530 h 96742"/>
                  <a:gd name="connsiteX9" fmla="*/ 71711 w 71711"/>
                  <a:gd name="connsiteY9" fmla="*/ 28414 h 96742"/>
                  <a:gd name="connsiteX10" fmla="*/ 55475 w 71711"/>
                  <a:gd name="connsiteY10" fmla="*/ 28414 h 96742"/>
                  <a:gd name="connsiteX11" fmla="*/ 50739 w 71711"/>
                  <a:gd name="connsiteY11" fmla="*/ 16913 h 96742"/>
                  <a:gd name="connsiteX12" fmla="*/ 37209 w 71711"/>
                  <a:gd name="connsiteY12" fmla="*/ 12854 h 96742"/>
                  <a:gd name="connsiteX13" fmla="*/ 24355 w 71711"/>
                  <a:gd name="connsiteY13" fmla="*/ 16236 h 96742"/>
                  <a:gd name="connsiteX14" fmla="*/ 19619 w 71711"/>
                  <a:gd name="connsiteY14" fmla="*/ 25708 h 96742"/>
                  <a:gd name="connsiteX15" fmla="*/ 24355 w 71711"/>
                  <a:gd name="connsiteY15" fmla="*/ 34503 h 96742"/>
                  <a:gd name="connsiteX16" fmla="*/ 40591 w 71711"/>
                  <a:gd name="connsiteY16" fmla="*/ 41268 h 96742"/>
                  <a:gd name="connsiteX17" fmla="*/ 58181 w 71711"/>
                  <a:gd name="connsiteY17" fmla="*/ 48709 h 96742"/>
                  <a:gd name="connsiteX18" fmla="*/ 68328 w 71711"/>
                  <a:gd name="connsiteY18" fmla="*/ 58181 h 96742"/>
                  <a:gd name="connsiteX19" fmla="*/ 71711 w 71711"/>
                  <a:gd name="connsiteY19" fmla="*/ 71035 h 96742"/>
                  <a:gd name="connsiteX20" fmla="*/ 62240 w 71711"/>
                  <a:gd name="connsiteY20" fmla="*/ 89977 h 96742"/>
                  <a:gd name="connsiteX21" fmla="*/ 37209 w 71711"/>
                  <a:gd name="connsiteY21" fmla="*/ 96742 h 96742"/>
                  <a:gd name="connsiteX22" fmla="*/ 18266 w 71711"/>
                  <a:gd name="connsiteY22" fmla="*/ 92683 h 96742"/>
                  <a:gd name="connsiteX23" fmla="*/ 4736 w 71711"/>
                  <a:gd name="connsiteY23" fmla="*/ 81859 h 96742"/>
                  <a:gd name="connsiteX24" fmla="*/ 0 w 71711"/>
                  <a:gd name="connsiteY24" fmla="*/ 66299 h 96742"/>
                  <a:gd name="connsiteX25" fmla="*/ 16913 w 71711"/>
                  <a:gd name="connsiteY25" fmla="*/ 66299 h 96742"/>
                  <a:gd name="connsiteX26" fmla="*/ 22325 w 71711"/>
                  <a:gd name="connsiteY26" fmla="*/ 79153 h 96742"/>
                  <a:gd name="connsiteX27" fmla="*/ 37885 w 71711"/>
                  <a:gd name="connsiteY27" fmla="*/ 83888 h 96742"/>
                  <a:gd name="connsiteX28" fmla="*/ 50739 w 71711"/>
                  <a:gd name="connsiteY28" fmla="*/ 80506 h 96742"/>
                  <a:gd name="connsiteX29" fmla="*/ 55475 w 71711"/>
                  <a:gd name="connsiteY29" fmla="*/ 71711 h 96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1711" h="96742">
                    <a:moveTo>
                      <a:pt x="55475" y="71711"/>
                    </a:moveTo>
                    <a:cubicBezTo>
                      <a:pt x="55475" y="67652"/>
                      <a:pt x="54122" y="64269"/>
                      <a:pt x="50739" y="62240"/>
                    </a:cubicBezTo>
                    <a:cubicBezTo>
                      <a:pt x="48033" y="60210"/>
                      <a:pt x="42621" y="57504"/>
                      <a:pt x="34503" y="55475"/>
                    </a:cubicBezTo>
                    <a:cubicBezTo>
                      <a:pt x="27061" y="53445"/>
                      <a:pt x="20972" y="50739"/>
                      <a:pt x="16237" y="48033"/>
                    </a:cubicBezTo>
                    <a:cubicBezTo>
                      <a:pt x="7442" y="42621"/>
                      <a:pt x="3383" y="35179"/>
                      <a:pt x="3383" y="26384"/>
                    </a:cubicBezTo>
                    <a:cubicBezTo>
                      <a:pt x="3383" y="18943"/>
                      <a:pt x="6765" y="12177"/>
                      <a:pt x="12854" y="7442"/>
                    </a:cubicBezTo>
                    <a:cubicBezTo>
                      <a:pt x="18943" y="2706"/>
                      <a:pt x="27061" y="0"/>
                      <a:pt x="37209" y="0"/>
                    </a:cubicBezTo>
                    <a:cubicBezTo>
                      <a:pt x="43974" y="0"/>
                      <a:pt x="50063" y="1353"/>
                      <a:pt x="54798" y="3383"/>
                    </a:cubicBezTo>
                    <a:cubicBezTo>
                      <a:pt x="60210" y="6089"/>
                      <a:pt x="64269" y="9471"/>
                      <a:pt x="66976" y="13530"/>
                    </a:cubicBezTo>
                    <a:cubicBezTo>
                      <a:pt x="69682" y="18266"/>
                      <a:pt x="71711" y="23002"/>
                      <a:pt x="71711" y="28414"/>
                    </a:cubicBezTo>
                    <a:lnTo>
                      <a:pt x="55475" y="28414"/>
                    </a:lnTo>
                    <a:cubicBezTo>
                      <a:pt x="55475" y="23678"/>
                      <a:pt x="54122" y="19619"/>
                      <a:pt x="50739" y="16913"/>
                    </a:cubicBezTo>
                    <a:cubicBezTo>
                      <a:pt x="47356" y="14207"/>
                      <a:pt x="43297" y="12854"/>
                      <a:pt x="37209" y="12854"/>
                    </a:cubicBezTo>
                    <a:cubicBezTo>
                      <a:pt x="31796" y="12854"/>
                      <a:pt x="27737" y="14207"/>
                      <a:pt x="24355" y="16236"/>
                    </a:cubicBezTo>
                    <a:cubicBezTo>
                      <a:pt x="21649" y="18266"/>
                      <a:pt x="19619" y="21649"/>
                      <a:pt x="19619" y="25708"/>
                    </a:cubicBezTo>
                    <a:cubicBezTo>
                      <a:pt x="19619" y="29090"/>
                      <a:pt x="20972" y="31796"/>
                      <a:pt x="24355" y="34503"/>
                    </a:cubicBezTo>
                    <a:cubicBezTo>
                      <a:pt x="27737" y="36532"/>
                      <a:pt x="33150" y="39238"/>
                      <a:pt x="40591" y="41268"/>
                    </a:cubicBezTo>
                    <a:cubicBezTo>
                      <a:pt x="48033" y="43297"/>
                      <a:pt x="54122" y="46003"/>
                      <a:pt x="58181" y="48709"/>
                    </a:cubicBezTo>
                    <a:cubicBezTo>
                      <a:pt x="62916" y="51415"/>
                      <a:pt x="66299" y="54798"/>
                      <a:pt x="68328" y="58181"/>
                    </a:cubicBezTo>
                    <a:cubicBezTo>
                      <a:pt x="70358" y="61563"/>
                      <a:pt x="71711" y="66299"/>
                      <a:pt x="71711" y="71035"/>
                    </a:cubicBezTo>
                    <a:cubicBezTo>
                      <a:pt x="71711" y="79153"/>
                      <a:pt x="69005" y="85241"/>
                      <a:pt x="62240" y="89977"/>
                    </a:cubicBezTo>
                    <a:cubicBezTo>
                      <a:pt x="56151" y="94713"/>
                      <a:pt x="48033" y="96742"/>
                      <a:pt x="37209" y="96742"/>
                    </a:cubicBezTo>
                    <a:cubicBezTo>
                      <a:pt x="30443" y="96742"/>
                      <a:pt x="23678" y="95389"/>
                      <a:pt x="18266" y="92683"/>
                    </a:cubicBezTo>
                    <a:cubicBezTo>
                      <a:pt x="12854" y="89977"/>
                      <a:pt x="8118" y="86594"/>
                      <a:pt x="4736" y="81859"/>
                    </a:cubicBezTo>
                    <a:cubicBezTo>
                      <a:pt x="1353" y="77123"/>
                      <a:pt x="0" y="72388"/>
                      <a:pt x="0" y="66299"/>
                    </a:cubicBezTo>
                    <a:lnTo>
                      <a:pt x="16913" y="66299"/>
                    </a:lnTo>
                    <a:cubicBezTo>
                      <a:pt x="16913" y="71711"/>
                      <a:pt x="18943" y="75770"/>
                      <a:pt x="22325" y="79153"/>
                    </a:cubicBezTo>
                    <a:cubicBezTo>
                      <a:pt x="25708" y="81859"/>
                      <a:pt x="31120" y="83888"/>
                      <a:pt x="37885" y="83888"/>
                    </a:cubicBezTo>
                    <a:cubicBezTo>
                      <a:pt x="43974" y="83888"/>
                      <a:pt x="48033" y="82535"/>
                      <a:pt x="50739" y="80506"/>
                    </a:cubicBezTo>
                    <a:cubicBezTo>
                      <a:pt x="54122" y="78476"/>
                      <a:pt x="55475" y="75770"/>
                      <a:pt x="55475" y="71711"/>
                    </a:cubicBezTo>
                    <a:close/>
                  </a:path>
                </a:pathLst>
              </a:custGeom>
              <a:solidFill>
                <a:srgbClr val="004A99"/>
              </a:solidFill>
              <a:ln w="6756" cap="flat">
                <a:noFill/>
                <a:prstDash val="solid"/>
                <a:miter/>
              </a:ln>
            </p:spPr>
            <p:txBody>
              <a:bodyPr rtlCol="0" anchor="ctr"/>
              <a:lstStyle/>
              <a:p>
                <a:endParaRPr lang="de-DE"/>
              </a:p>
            </p:txBody>
          </p:sp>
        </p:grpSp>
        <p:sp>
          <p:nvSpPr>
            <p:cNvPr id="32" name="Freihandform: Form 31">
              <a:extLst>
                <a:ext uri="{FF2B5EF4-FFF2-40B4-BE49-F238E27FC236}">
                  <a16:creationId xmlns:a16="http://schemas.microsoft.com/office/drawing/2014/main" id="{E23EDC2F-FF0E-4BB9-B227-857CBF2307F9}"/>
                </a:ext>
              </a:extLst>
            </p:cNvPr>
            <p:cNvSpPr/>
            <p:nvPr/>
          </p:nvSpPr>
          <p:spPr>
            <a:xfrm>
              <a:off x="7406044" y="2550319"/>
              <a:ext cx="253018" cy="253018"/>
            </a:xfrm>
            <a:custGeom>
              <a:avLst/>
              <a:gdLst>
                <a:gd name="connsiteX0" fmla="*/ 126509 w 253018"/>
                <a:gd name="connsiteY0" fmla="*/ 0 h 253018"/>
                <a:gd name="connsiteX1" fmla="*/ 0 w 253018"/>
                <a:gd name="connsiteY1" fmla="*/ 126509 h 253018"/>
                <a:gd name="connsiteX2" fmla="*/ 126509 w 253018"/>
                <a:gd name="connsiteY2" fmla="*/ 253018 h 253018"/>
                <a:gd name="connsiteX3" fmla="*/ 253018 w 253018"/>
                <a:gd name="connsiteY3" fmla="*/ 126509 h 253018"/>
                <a:gd name="connsiteX4" fmla="*/ 126509 w 253018"/>
                <a:gd name="connsiteY4" fmla="*/ 0 h 253018"/>
                <a:gd name="connsiteX5" fmla="*/ 126509 w 253018"/>
                <a:gd name="connsiteY5" fmla="*/ 237458 h 253018"/>
                <a:gd name="connsiteX6" fmla="*/ 71034 w 253018"/>
                <a:gd name="connsiteY6" fmla="*/ 222575 h 253018"/>
                <a:gd name="connsiteX7" fmla="*/ 93360 w 253018"/>
                <a:gd name="connsiteY7" fmla="*/ 219869 h 253018"/>
                <a:gd name="connsiteX8" fmla="*/ 115008 w 253018"/>
                <a:gd name="connsiteY8" fmla="*/ 212427 h 253018"/>
                <a:gd name="connsiteX9" fmla="*/ 141392 w 253018"/>
                <a:gd name="connsiteY9" fmla="*/ 194838 h 253018"/>
                <a:gd name="connsiteX10" fmla="*/ 160335 w 253018"/>
                <a:gd name="connsiteY10" fmla="*/ 177925 h 253018"/>
                <a:gd name="connsiteX11" fmla="*/ 183337 w 253018"/>
                <a:gd name="connsiteY11" fmla="*/ 165071 h 253018"/>
                <a:gd name="connsiteX12" fmla="*/ 192131 w 253018"/>
                <a:gd name="connsiteY12" fmla="*/ 163041 h 253018"/>
                <a:gd name="connsiteX13" fmla="*/ 208368 w 253018"/>
                <a:gd name="connsiteY13" fmla="*/ 158982 h 253018"/>
                <a:gd name="connsiteX14" fmla="*/ 220545 w 253018"/>
                <a:gd name="connsiteY14" fmla="*/ 155599 h 253018"/>
                <a:gd name="connsiteX15" fmla="*/ 221898 w 253018"/>
                <a:gd name="connsiteY15" fmla="*/ 154246 h 253018"/>
                <a:gd name="connsiteX16" fmla="*/ 219869 w 253018"/>
                <a:gd name="connsiteY16" fmla="*/ 152893 h 253018"/>
                <a:gd name="connsiteX17" fmla="*/ 204309 w 253018"/>
                <a:gd name="connsiteY17" fmla="*/ 147481 h 253018"/>
                <a:gd name="connsiteX18" fmla="*/ 194161 w 253018"/>
                <a:gd name="connsiteY18" fmla="*/ 147481 h 253018"/>
                <a:gd name="connsiteX19" fmla="*/ 180630 w 253018"/>
                <a:gd name="connsiteY19" fmla="*/ 154923 h 253018"/>
                <a:gd name="connsiteX20" fmla="*/ 158982 w 253018"/>
                <a:gd name="connsiteY20" fmla="*/ 167777 h 253018"/>
                <a:gd name="connsiteX21" fmla="*/ 141392 w 253018"/>
                <a:gd name="connsiteY21" fmla="*/ 172512 h 253018"/>
                <a:gd name="connsiteX22" fmla="*/ 136657 w 253018"/>
                <a:gd name="connsiteY22" fmla="*/ 172512 h 253018"/>
                <a:gd name="connsiteX23" fmla="*/ 150864 w 253018"/>
                <a:gd name="connsiteY23" fmla="*/ 161012 h 253018"/>
                <a:gd name="connsiteX24" fmla="*/ 160335 w 253018"/>
                <a:gd name="connsiteY24" fmla="*/ 149511 h 253018"/>
                <a:gd name="connsiteX25" fmla="*/ 177248 w 253018"/>
                <a:gd name="connsiteY25" fmla="*/ 137333 h 253018"/>
                <a:gd name="connsiteX26" fmla="*/ 191455 w 253018"/>
                <a:gd name="connsiteY26" fmla="*/ 129215 h 253018"/>
                <a:gd name="connsiteX27" fmla="*/ 200250 w 253018"/>
                <a:gd name="connsiteY27" fmla="*/ 125833 h 253018"/>
                <a:gd name="connsiteX28" fmla="*/ 206338 w 253018"/>
                <a:gd name="connsiteY28" fmla="*/ 125156 h 253018"/>
                <a:gd name="connsiteX29" fmla="*/ 223251 w 253018"/>
                <a:gd name="connsiteY29" fmla="*/ 119067 h 253018"/>
                <a:gd name="connsiteX30" fmla="*/ 230693 w 253018"/>
                <a:gd name="connsiteY30" fmla="*/ 117038 h 253018"/>
                <a:gd name="connsiteX31" fmla="*/ 231369 w 253018"/>
                <a:gd name="connsiteY31" fmla="*/ 115685 h 253018"/>
                <a:gd name="connsiteX32" fmla="*/ 230693 w 253018"/>
                <a:gd name="connsiteY32" fmla="*/ 115008 h 253018"/>
                <a:gd name="connsiteX33" fmla="*/ 211750 w 253018"/>
                <a:gd name="connsiteY33" fmla="*/ 110273 h 253018"/>
                <a:gd name="connsiteX34" fmla="*/ 196191 w 253018"/>
                <a:gd name="connsiteY34" fmla="*/ 112302 h 253018"/>
                <a:gd name="connsiteX35" fmla="*/ 182660 w 253018"/>
                <a:gd name="connsiteY35" fmla="*/ 122450 h 253018"/>
                <a:gd name="connsiteX36" fmla="*/ 178601 w 253018"/>
                <a:gd name="connsiteY36" fmla="*/ 125156 h 253018"/>
                <a:gd name="connsiteX37" fmla="*/ 161011 w 253018"/>
                <a:gd name="connsiteY37" fmla="*/ 133951 h 253018"/>
                <a:gd name="connsiteX38" fmla="*/ 142746 w 253018"/>
                <a:gd name="connsiteY38" fmla="*/ 136657 h 253018"/>
                <a:gd name="connsiteX39" fmla="*/ 137333 w 253018"/>
                <a:gd name="connsiteY39" fmla="*/ 133274 h 253018"/>
                <a:gd name="connsiteX40" fmla="*/ 135304 w 253018"/>
                <a:gd name="connsiteY40" fmla="*/ 125156 h 253018"/>
                <a:gd name="connsiteX41" fmla="*/ 134627 w 253018"/>
                <a:gd name="connsiteY41" fmla="*/ 119744 h 253018"/>
                <a:gd name="connsiteX42" fmla="*/ 135304 w 253018"/>
                <a:gd name="connsiteY42" fmla="*/ 104184 h 253018"/>
                <a:gd name="connsiteX43" fmla="*/ 136657 w 253018"/>
                <a:gd name="connsiteY43" fmla="*/ 89977 h 253018"/>
                <a:gd name="connsiteX44" fmla="*/ 117038 w 253018"/>
                <a:gd name="connsiteY44" fmla="*/ 70358 h 253018"/>
                <a:gd name="connsiteX45" fmla="*/ 83888 w 253018"/>
                <a:gd name="connsiteY45" fmla="*/ 31796 h 253018"/>
                <a:gd name="connsiteX46" fmla="*/ 81859 w 253018"/>
                <a:gd name="connsiteY46" fmla="*/ 28414 h 253018"/>
                <a:gd name="connsiteX47" fmla="*/ 79829 w 253018"/>
                <a:gd name="connsiteY47" fmla="*/ 29767 h 253018"/>
                <a:gd name="connsiteX48" fmla="*/ 73741 w 253018"/>
                <a:gd name="connsiteY48" fmla="*/ 55475 h 253018"/>
                <a:gd name="connsiteX49" fmla="*/ 86594 w 253018"/>
                <a:gd name="connsiteY49" fmla="*/ 80506 h 253018"/>
                <a:gd name="connsiteX50" fmla="*/ 96066 w 253018"/>
                <a:gd name="connsiteY50" fmla="*/ 94036 h 253018"/>
                <a:gd name="connsiteX51" fmla="*/ 98095 w 253018"/>
                <a:gd name="connsiteY51" fmla="*/ 106890 h 253018"/>
                <a:gd name="connsiteX52" fmla="*/ 87947 w 253018"/>
                <a:gd name="connsiteY52" fmla="*/ 99448 h 253018"/>
                <a:gd name="connsiteX53" fmla="*/ 77800 w 253018"/>
                <a:gd name="connsiteY53" fmla="*/ 92007 h 253018"/>
                <a:gd name="connsiteX54" fmla="*/ 56828 w 253018"/>
                <a:gd name="connsiteY54" fmla="*/ 73741 h 253018"/>
                <a:gd name="connsiteX55" fmla="*/ 55474 w 253018"/>
                <a:gd name="connsiteY55" fmla="*/ 73741 h 253018"/>
                <a:gd name="connsiteX56" fmla="*/ 54122 w 253018"/>
                <a:gd name="connsiteY56" fmla="*/ 76447 h 253018"/>
                <a:gd name="connsiteX57" fmla="*/ 58181 w 253018"/>
                <a:gd name="connsiteY57" fmla="*/ 108920 h 253018"/>
                <a:gd name="connsiteX58" fmla="*/ 71034 w 253018"/>
                <a:gd name="connsiteY58" fmla="*/ 123803 h 253018"/>
                <a:gd name="connsiteX59" fmla="*/ 80506 w 253018"/>
                <a:gd name="connsiteY59" fmla="*/ 132598 h 253018"/>
                <a:gd name="connsiteX60" fmla="*/ 87271 w 253018"/>
                <a:gd name="connsiteY60" fmla="*/ 142746 h 253018"/>
                <a:gd name="connsiteX61" fmla="*/ 84565 w 253018"/>
                <a:gd name="connsiteY61" fmla="*/ 155599 h 253018"/>
                <a:gd name="connsiteX62" fmla="*/ 78476 w 253018"/>
                <a:gd name="connsiteY62" fmla="*/ 164394 h 253018"/>
                <a:gd name="connsiteX63" fmla="*/ 63593 w 253018"/>
                <a:gd name="connsiteY63" fmla="*/ 165747 h 253018"/>
                <a:gd name="connsiteX64" fmla="*/ 56828 w 253018"/>
                <a:gd name="connsiteY64" fmla="*/ 171836 h 253018"/>
                <a:gd name="connsiteX65" fmla="*/ 53445 w 253018"/>
                <a:gd name="connsiteY65" fmla="*/ 182660 h 253018"/>
                <a:gd name="connsiteX66" fmla="*/ 57504 w 253018"/>
                <a:gd name="connsiteY66" fmla="*/ 193484 h 253018"/>
                <a:gd name="connsiteX67" fmla="*/ 60210 w 253018"/>
                <a:gd name="connsiteY67" fmla="*/ 195514 h 253018"/>
                <a:gd name="connsiteX68" fmla="*/ 66299 w 253018"/>
                <a:gd name="connsiteY68" fmla="*/ 192808 h 253018"/>
                <a:gd name="connsiteX69" fmla="*/ 89977 w 253018"/>
                <a:gd name="connsiteY69" fmla="*/ 179278 h 253018"/>
                <a:gd name="connsiteX70" fmla="*/ 77800 w 253018"/>
                <a:gd name="connsiteY70" fmla="*/ 190778 h 253018"/>
                <a:gd name="connsiteX71" fmla="*/ 50739 w 253018"/>
                <a:gd name="connsiteY71" fmla="*/ 202279 h 253018"/>
                <a:gd name="connsiteX72" fmla="*/ 46680 w 253018"/>
                <a:gd name="connsiteY72" fmla="*/ 200926 h 253018"/>
                <a:gd name="connsiteX73" fmla="*/ 16913 w 253018"/>
                <a:gd name="connsiteY73" fmla="*/ 125156 h 253018"/>
                <a:gd name="connsiteX74" fmla="*/ 127862 w 253018"/>
                <a:gd name="connsiteY74" fmla="*/ 14207 h 253018"/>
                <a:gd name="connsiteX75" fmla="*/ 238135 w 253018"/>
                <a:gd name="connsiteY75" fmla="*/ 125156 h 253018"/>
                <a:gd name="connsiteX76" fmla="*/ 126509 w 253018"/>
                <a:gd name="connsiteY76" fmla="*/ 237458 h 25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253017" h="253017">
                  <a:moveTo>
                    <a:pt x="126509" y="0"/>
                  </a:moveTo>
                  <a:cubicBezTo>
                    <a:pt x="56828" y="0"/>
                    <a:pt x="0" y="56828"/>
                    <a:pt x="0" y="126509"/>
                  </a:cubicBezTo>
                  <a:cubicBezTo>
                    <a:pt x="0" y="196191"/>
                    <a:pt x="56828" y="253018"/>
                    <a:pt x="126509" y="253018"/>
                  </a:cubicBezTo>
                  <a:cubicBezTo>
                    <a:pt x="196191" y="253018"/>
                    <a:pt x="253018" y="196191"/>
                    <a:pt x="253018" y="126509"/>
                  </a:cubicBezTo>
                  <a:cubicBezTo>
                    <a:pt x="253018" y="56828"/>
                    <a:pt x="196191" y="0"/>
                    <a:pt x="126509" y="0"/>
                  </a:cubicBezTo>
                  <a:close/>
                  <a:moveTo>
                    <a:pt x="126509" y="237458"/>
                  </a:moveTo>
                  <a:cubicBezTo>
                    <a:pt x="106213" y="237458"/>
                    <a:pt x="87271" y="232046"/>
                    <a:pt x="71034" y="222575"/>
                  </a:cubicBezTo>
                  <a:cubicBezTo>
                    <a:pt x="77800" y="222575"/>
                    <a:pt x="86594" y="221222"/>
                    <a:pt x="93360" y="219869"/>
                  </a:cubicBezTo>
                  <a:cubicBezTo>
                    <a:pt x="100801" y="218516"/>
                    <a:pt x="108243" y="215810"/>
                    <a:pt x="115008" y="212427"/>
                  </a:cubicBezTo>
                  <a:cubicBezTo>
                    <a:pt x="124479" y="208368"/>
                    <a:pt x="133951" y="203632"/>
                    <a:pt x="141392" y="194838"/>
                  </a:cubicBezTo>
                  <a:cubicBezTo>
                    <a:pt x="146804" y="188749"/>
                    <a:pt x="153570" y="181984"/>
                    <a:pt x="160335" y="177925"/>
                  </a:cubicBezTo>
                  <a:cubicBezTo>
                    <a:pt x="167777" y="173189"/>
                    <a:pt x="175218" y="168453"/>
                    <a:pt x="183337" y="165071"/>
                  </a:cubicBezTo>
                  <a:cubicBezTo>
                    <a:pt x="186043" y="163718"/>
                    <a:pt x="189425" y="163041"/>
                    <a:pt x="192131" y="163041"/>
                  </a:cubicBezTo>
                  <a:cubicBezTo>
                    <a:pt x="197543" y="163041"/>
                    <a:pt x="202956" y="161012"/>
                    <a:pt x="208368" y="158982"/>
                  </a:cubicBezTo>
                  <a:cubicBezTo>
                    <a:pt x="212427" y="157629"/>
                    <a:pt x="216486" y="156276"/>
                    <a:pt x="220545" y="155599"/>
                  </a:cubicBezTo>
                  <a:cubicBezTo>
                    <a:pt x="221222" y="155599"/>
                    <a:pt x="221898" y="155599"/>
                    <a:pt x="221898" y="154246"/>
                  </a:cubicBezTo>
                  <a:cubicBezTo>
                    <a:pt x="221898" y="152893"/>
                    <a:pt x="220545" y="153570"/>
                    <a:pt x="219869" y="152893"/>
                  </a:cubicBezTo>
                  <a:cubicBezTo>
                    <a:pt x="214456" y="151540"/>
                    <a:pt x="209044" y="149511"/>
                    <a:pt x="204309" y="147481"/>
                  </a:cubicBezTo>
                  <a:cubicBezTo>
                    <a:pt x="200926" y="146805"/>
                    <a:pt x="197543" y="146128"/>
                    <a:pt x="194161" y="147481"/>
                  </a:cubicBezTo>
                  <a:cubicBezTo>
                    <a:pt x="188749" y="148834"/>
                    <a:pt x="184690" y="151540"/>
                    <a:pt x="180630" y="154923"/>
                  </a:cubicBezTo>
                  <a:cubicBezTo>
                    <a:pt x="173865" y="160335"/>
                    <a:pt x="166424" y="165071"/>
                    <a:pt x="158982" y="167777"/>
                  </a:cubicBezTo>
                  <a:cubicBezTo>
                    <a:pt x="153570" y="170483"/>
                    <a:pt x="147481" y="171836"/>
                    <a:pt x="141392" y="172512"/>
                  </a:cubicBezTo>
                  <a:cubicBezTo>
                    <a:pt x="140039" y="172512"/>
                    <a:pt x="138010" y="173189"/>
                    <a:pt x="136657" y="172512"/>
                  </a:cubicBezTo>
                  <a:cubicBezTo>
                    <a:pt x="141392" y="169130"/>
                    <a:pt x="146804" y="166424"/>
                    <a:pt x="150864" y="161012"/>
                  </a:cubicBezTo>
                  <a:cubicBezTo>
                    <a:pt x="154246" y="156952"/>
                    <a:pt x="156952" y="152893"/>
                    <a:pt x="160335" y="149511"/>
                  </a:cubicBezTo>
                  <a:cubicBezTo>
                    <a:pt x="165747" y="144775"/>
                    <a:pt x="171159" y="140716"/>
                    <a:pt x="177248" y="137333"/>
                  </a:cubicBezTo>
                  <a:lnTo>
                    <a:pt x="191455" y="129215"/>
                  </a:lnTo>
                  <a:cubicBezTo>
                    <a:pt x="194161" y="127862"/>
                    <a:pt x="197543" y="126509"/>
                    <a:pt x="200250" y="125833"/>
                  </a:cubicBezTo>
                  <a:cubicBezTo>
                    <a:pt x="202279" y="125156"/>
                    <a:pt x="204309" y="125156"/>
                    <a:pt x="206338" y="125156"/>
                  </a:cubicBezTo>
                  <a:cubicBezTo>
                    <a:pt x="211750" y="125156"/>
                    <a:pt x="217839" y="121097"/>
                    <a:pt x="223251" y="119067"/>
                  </a:cubicBezTo>
                  <a:cubicBezTo>
                    <a:pt x="225957" y="118391"/>
                    <a:pt x="228663" y="118391"/>
                    <a:pt x="230693" y="117038"/>
                  </a:cubicBezTo>
                  <a:cubicBezTo>
                    <a:pt x="231369" y="117038"/>
                    <a:pt x="231369" y="116361"/>
                    <a:pt x="231369" y="115685"/>
                  </a:cubicBezTo>
                  <a:lnTo>
                    <a:pt x="230693" y="115008"/>
                  </a:lnTo>
                  <a:cubicBezTo>
                    <a:pt x="223928" y="114332"/>
                    <a:pt x="218516" y="112302"/>
                    <a:pt x="211750" y="110273"/>
                  </a:cubicBezTo>
                  <a:cubicBezTo>
                    <a:pt x="206338" y="109596"/>
                    <a:pt x="200926" y="109596"/>
                    <a:pt x="196191" y="112302"/>
                  </a:cubicBezTo>
                  <a:cubicBezTo>
                    <a:pt x="191455" y="115685"/>
                    <a:pt x="187396" y="119067"/>
                    <a:pt x="182660" y="122450"/>
                  </a:cubicBezTo>
                  <a:cubicBezTo>
                    <a:pt x="181307" y="123126"/>
                    <a:pt x="179954" y="124480"/>
                    <a:pt x="178601" y="125156"/>
                  </a:cubicBezTo>
                  <a:cubicBezTo>
                    <a:pt x="173189" y="128539"/>
                    <a:pt x="167100" y="131921"/>
                    <a:pt x="161011" y="133951"/>
                  </a:cubicBezTo>
                  <a:cubicBezTo>
                    <a:pt x="154923" y="135980"/>
                    <a:pt x="148834" y="136657"/>
                    <a:pt x="142746" y="136657"/>
                  </a:cubicBezTo>
                  <a:cubicBezTo>
                    <a:pt x="140716" y="136657"/>
                    <a:pt x="138686" y="135304"/>
                    <a:pt x="137333" y="133274"/>
                  </a:cubicBezTo>
                  <a:cubicBezTo>
                    <a:pt x="135980" y="130568"/>
                    <a:pt x="135304" y="127862"/>
                    <a:pt x="135304" y="125156"/>
                  </a:cubicBezTo>
                  <a:cubicBezTo>
                    <a:pt x="135304" y="123126"/>
                    <a:pt x="135304" y="121773"/>
                    <a:pt x="134627" y="119744"/>
                  </a:cubicBezTo>
                  <a:cubicBezTo>
                    <a:pt x="134627" y="115008"/>
                    <a:pt x="133951" y="108920"/>
                    <a:pt x="135304" y="104184"/>
                  </a:cubicBezTo>
                  <a:cubicBezTo>
                    <a:pt x="135980" y="99448"/>
                    <a:pt x="137333" y="94713"/>
                    <a:pt x="136657" y="89977"/>
                  </a:cubicBezTo>
                  <a:cubicBezTo>
                    <a:pt x="135304" y="85918"/>
                    <a:pt x="129892" y="81182"/>
                    <a:pt x="117038" y="70358"/>
                  </a:cubicBezTo>
                  <a:cubicBezTo>
                    <a:pt x="104184" y="58857"/>
                    <a:pt x="90654" y="43974"/>
                    <a:pt x="83888" y="31796"/>
                  </a:cubicBezTo>
                  <a:cubicBezTo>
                    <a:pt x="83212" y="30443"/>
                    <a:pt x="82535" y="29090"/>
                    <a:pt x="81859" y="28414"/>
                  </a:cubicBezTo>
                  <a:cubicBezTo>
                    <a:pt x="80506" y="28414"/>
                    <a:pt x="80506" y="29090"/>
                    <a:pt x="79829" y="29767"/>
                  </a:cubicBezTo>
                  <a:cubicBezTo>
                    <a:pt x="74417" y="37209"/>
                    <a:pt x="72387" y="46003"/>
                    <a:pt x="73741" y="55475"/>
                  </a:cubicBezTo>
                  <a:cubicBezTo>
                    <a:pt x="75770" y="64946"/>
                    <a:pt x="79829" y="73064"/>
                    <a:pt x="86594" y="80506"/>
                  </a:cubicBezTo>
                  <a:cubicBezTo>
                    <a:pt x="89977" y="84565"/>
                    <a:pt x="94036" y="89977"/>
                    <a:pt x="96066" y="94036"/>
                  </a:cubicBezTo>
                  <a:cubicBezTo>
                    <a:pt x="98095" y="98095"/>
                    <a:pt x="98772" y="102154"/>
                    <a:pt x="98095" y="106890"/>
                  </a:cubicBezTo>
                  <a:lnTo>
                    <a:pt x="87947" y="99448"/>
                  </a:lnTo>
                  <a:cubicBezTo>
                    <a:pt x="87947" y="99448"/>
                    <a:pt x="83888" y="96742"/>
                    <a:pt x="77800" y="92007"/>
                  </a:cubicBezTo>
                  <a:cubicBezTo>
                    <a:pt x="72387" y="87947"/>
                    <a:pt x="66299" y="84565"/>
                    <a:pt x="56828" y="73741"/>
                  </a:cubicBezTo>
                  <a:cubicBezTo>
                    <a:pt x="56828" y="73064"/>
                    <a:pt x="56151" y="73064"/>
                    <a:pt x="55474" y="73741"/>
                  </a:cubicBezTo>
                  <a:cubicBezTo>
                    <a:pt x="54798" y="74417"/>
                    <a:pt x="54798" y="75094"/>
                    <a:pt x="54122" y="76447"/>
                  </a:cubicBezTo>
                  <a:cubicBezTo>
                    <a:pt x="52768" y="87271"/>
                    <a:pt x="52092" y="100125"/>
                    <a:pt x="58181" y="108920"/>
                  </a:cubicBezTo>
                  <a:cubicBezTo>
                    <a:pt x="61563" y="114332"/>
                    <a:pt x="66299" y="119067"/>
                    <a:pt x="71034" y="123803"/>
                  </a:cubicBezTo>
                  <a:cubicBezTo>
                    <a:pt x="74417" y="126509"/>
                    <a:pt x="77123" y="129892"/>
                    <a:pt x="80506" y="132598"/>
                  </a:cubicBezTo>
                  <a:cubicBezTo>
                    <a:pt x="83888" y="135304"/>
                    <a:pt x="87271" y="138686"/>
                    <a:pt x="87271" y="142746"/>
                  </a:cubicBezTo>
                  <a:cubicBezTo>
                    <a:pt x="87947" y="147481"/>
                    <a:pt x="85918" y="151540"/>
                    <a:pt x="84565" y="155599"/>
                  </a:cubicBezTo>
                  <a:cubicBezTo>
                    <a:pt x="82535" y="158982"/>
                    <a:pt x="81182" y="162365"/>
                    <a:pt x="78476" y="164394"/>
                  </a:cubicBezTo>
                  <a:cubicBezTo>
                    <a:pt x="74417" y="167100"/>
                    <a:pt x="68328" y="165071"/>
                    <a:pt x="63593" y="165747"/>
                  </a:cubicBezTo>
                  <a:cubicBezTo>
                    <a:pt x="60210" y="165747"/>
                    <a:pt x="58181" y="169130"/>
                    <a:pt x="56828" y="171836"/>
                  </a:cubicBezTo>
                  <a:cubicBezTo>
                    <a:pt x="54798" y="175218"/>
                    <a:pt x="52768" y="178601"/>
                    <a:pt x="53445" y="182660"/>
                  </a:cubicBezTo>
                  <a:cubicBezTo>
                    <a:pt x="54122" y="187396"/>
                    <a:pt x="56151" y="191455"/>
                    <a:pt x="57504" y="193484"/>
                  </a:cubicBezTo>
                  <a:cubicBezTo>
                    <a:pt x="58181" y="194161"/>
                    <a:pt x="58857" y="195514"/>
                    <a:pt x="60210" y="195514"/>
                  </a:cubicBezTo>
                  <a:cubicBezTo>
                    <a:pt x="62240" y="194838"/>
                    <a:pt x="64269" y="194161"/>
                    <a:pt x="66299" y="192808"/>
                  </a:cubicBezTo>
                  <a:cubicBezTo>
                    <a:pt x="75770" y="184690"/>
                    <a:pt x="79829" y="181984"/>
                    <a:pt x="89977" y="179278"/>
                  </a:cubicBezTo>
                  <a:cubicBezTo>
                    <a:pt x="83888" y="181984"/>
                    <a:pt x="79153" y="188749"/>
                    <a:pt x="77800" y="190778"/>
                  </a:cubicBezTo>
                  <a:cubicBezTo>
                    <a:pt x="69681" y="200250"/>
                    <a:pt x="62240" y="204309"/>
                    <a:pt x="50739" y="202279"/>
                  </a:cubicBezTo>
                  <a:cubicBezTo>
                    <a:pt x="48033" y="201603"/>
                    <a:pt x="46680" y="200926"/>
                    <a:pt x="46680" y="200926"/>
                  </a:cubicBezTo>
                  <a:cubicBezTo>
                    <a:pt x="35855" y="189425"/>
                    <a:pt x="16913" y="163041"/>
                    <a:pt x="16913" y="125156"/>
                  </a:cubicBezTo>
                  <a:cubicBezTo>
                    <a:pt x="16913" y="64269"/>
                    <a:pt x="66299" y="14207"/>
                    <a:pt x="127862" y="14207"/>
                  </a:cubicBezTo>
                  <a:cubicBezTo>
                    <a:pt x="188749" y="14207"/>
                    <a:pt x="238135" y="63593"/>
                    <a:pt x="238135" y="125156"/>
                  </a:cubicBezTo>
                  <a:cubicBezTo>
                    <a:pt x="236782" y="186043"/>
                    <a:pt x="186719" y="237458"/>
                    <a:pt x="126509" y="237458"/>
                  </a:cubicBezTo>
                  <a:close/>
                </a:path>
              </a:pathLst>
            </a:custGeom>
            <a:solidFill>
              <a:srgbClr val="004A99"/>
            </a:solidFill>
            <a:ln w="6756" cap="flat">
              <a:noFill/>
              <a:prstDash val="solid"/>
              <a:miter/>
            </a:ln>
          </p:spPr>
          <p:txBody>
            <a:bodyPr rtlCol="0" anchor="ctr"/>
            <a:lstStyle/>
            <a:p>
              <a:endParaRPr lang="de-DE"/>
            </a:p>
          </p:txBody>
        </p:sp>
      </p:grpSp>
    </p:spTree>
    <p:extLst>
      <p:ext uri="{BB962C8B-B14F-4D97-AF65-F5344CB8AC3E}">
        <p14:creationId xmlns:p14="http://schemas.microsoft.com/office/powerpoint/2010/main" val="1956536817"/>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p:stCondLst>
                              <p:cond delay="0"/>
                            </p:stCondLst>
                            <p:childTnLst>
                              <p:par>
                                <p:cTn id="5" presetID="10" presetClass="exit" presetSubtype="0" dur="1000" fill="hold" nodeType="clickEffect">
                                  <p:stCondLst>
                                    <p:cond delay="0"/>
                                  </p:stCondLst>
                                  <p:childTnLst>
                                    <p:animEffect transition="out" filter="fade">
                                      <p:cBhvr>
                                        <p:cTn id="6" dur="1000"/>
                                        <p:tgtEl>
                                          <p:spTgt spid="3"/>
                                        </p:tgtEl>
                                      </p:cBhvr>
                                    </p:animEffect>
                                    <p:set>
                                      <p:cBhvr>
                                        <p:cTn id="7" dur="1" fill="hold">
                                          <p:stCondLst>
                                            <p:cond delay="999"/>
                                          </p:stCondLst>
                                        </p:cTn>
                                        <p:tgtEl>
                                          <p:spTgt spid="3"/>
                                        </p:tgtEl>
                                        <p:attrNameLst>
                                          <p:attrName>style.visibility</p:attrName>
                                        </p:attrNameLst>
                                      </p:cBhvr>
                                      <p:to>
                                        <p:strVal val="hidden"/>
                                      </p:to>
                                    </p:set>
                                  </p:childTnLst>
                                </p:cTn>
                              </p:par>
                            </p:childTnLst>
                          </p:cTn>
                        </p:par>
                        <p:par>
                          <p:cTn id="8" fill="hold" nodeType="afterGroup">
                            <p:stCondLst>
                              <p:cond delay="1000"/>
                            </p:stCondLst>
                            <p:childTnLst>
                              <p:par>
                                <p:cTn id="9" presetID="10" presetClass="entr" presetSubtype="0" dur="1000" fill="hold" grpId="0" nodeType="afterEffect">
                                  <p:stCondLst>
                                    <p:cond delay="0"/>
                                  </p:stCondLst>
                                  <p:childTnLst>
                                    <p:set>
                                      <p:cBhvr>
                                        <p:cTn id="10" dur="1" fill="hold">
                                          <p:stCondLst>
                                            <p:cond delay="0"/>
                                          </p:stCondLst>
                                        </p:cTn>
                                        <p:tgtEl>
                                          <p:spTgt spid="64"/>
                                        </p:tgtEl>
                                        <p:attrNameLst>
                                          <p:attrName>style.visibility</p:attrName>
                                        </p:attrNameLst>
                                      </p:cBhvr>
                                      <p:to>
                                        <p:strVal val="visible"/>
                                      </p:to>
                                    </p:set>
                                    <p:animEffect transition="in" filter="fade">
                                      <p:cBhvr>
                                        <p:cTn id="11" dur="1000"/>
                                        <p:tgtEl>
                                          <p:spTgt spid="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animBg="1"/>
    </p:bld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5B327254-466C-4606-8589-BCC72CBDADDF}"/>
              </a:ext>
            </a:extLst>
          </p:cNvPr>
          <p:cNvSpPr>
            <a:spLocks noGrp="1"/>
          </p:cNvSpPr>
          <p:nvPr>
            <p:ph type="sldNum" sz="quarter" idx="10"/>
          </p:nvPr>
        </p:nvSpPr>
        <p:spPr/>
        <p:txBody>
          <a:bodyPr/>
          <a:lstStyle/>
          <a:p>
            <a:fld id="{A04BEB4F-8CE1-4F18-986F-6CE0A0BE9470}" type="slidenum">
              <a:rPr lang="de-DE" smtClean="0"/>
              <a:t>‹#›</a:t>
            </a:fld>
            <a:endParaRPr lang="de-DE"/>
          </a:p>
        </p:txBody>
      </p:sp>
      <p:sp>
        <p:nvSpPr>
          <p:cNvPr id="4" name="Textfeld 3">
            <a:extLst>
              <a:ext uri="{FF2B5EF4-FFF2-40B4-BE49-F238E27FC236}">
                <a16:creationId xmlns:a16="http://schemas.microsoft.com/office/drawing/2014/main" id="{1F1512C8-A5D3-4625-93D0-A51172C5F58F}"/>
              </a:ext>
            </a:extLst>
          </p:cNvPr>
          <p:cNvSpPr txBox="1"/>
          <p:nvPr userDrawn="1"/>
        </p:nvSpPr>
        <p:spPr>
          <a:xfrm>
            <a:off x="815951" y="1076602"/>
            <a:ext cx="2303253" cy="430887"/>
          </a:xfrm>
          <a:prstGeom prst="rect">
            <a:avLst/>
          </a:prstGeom>
          <a:noFill/>
        </p:spPr>
        <p:txBody>
          <a:bodyPr wrap="square" lIns="0" tIns="0" rIns="0" bIns="0" rtlCol="0">
            <a:spAutoFit/>
          </a:bodyPr>
          <a:lstStyle/>
          <a:p>
            <a:pPr algn="l"/>
            <a:r>
              <a:rPr lang="de-DE" sz="2800" kern="1200">
                <a:solidFill>
                  <a:schemeClr val="tx2"/>
                </a:solidFill>
                <a:latin typeface="+mj-lt"/>
                <a:ea typeface="+mj-ea"/>
                <a:cs typeface="+mj-cs"/>
              </a:rPr>
              <a:t>Agenda</a:t>
            </a:r>
          </a:p>
        </p:txBody>
      </p:sp>
      <p:sp>
        <p:nvSpPr>
          <p:cNvPr id="122" name="Freihandform: Form 121">
            <a:extLst>
              <a:ext uri="{FF2B5EF4-FFF2-40B4-BE49-F238E27FC236}">
                <a16:creationId xmlns:a16="http://schemas.microsoft.com/office/drawing/2014/main" id="{BC43029A-5265-4954-A3A5-CD3CB5C7478D}"/>
              </a:ext>
            </a:extLst>
          </p:cNvPr>
          <p:cNvSpPr/>
          <p:nvPr/>
        </p:nvSpPr>
        <p:spPr>
          <a:xfrm>
            <a:off x="11841261" y="4050916"/>
            <a:ext cx="347243" cy="376374"/>
          </a:xfrm>
          <a:custGeom>
            <a:avLst/>
            <a:gdLst>
              <a:gd name="connsiteX0" fmla="*/ 158473 w 347243"/>
              <a:gd name="connsiteY0" fmla="*/ 376375 h 376374"/>
              <a:gd name="connsiteX1" fmla="*/ 0 w 347243"/>
              <a:gd name="connsiteY1" fmla="*/ 376375 h 376374"/>
              <a:gd name="connsiteX2" fmla="*/ 185274 w 347243"/>
              <a:gd name="connsiteY2" fmla="*/ 189935 h 376374"/>
              <a:gd name="connsiteX3" fmla="*/ 0 w 347243"/>
              <a:gd name="connsiteY3" fmla="*/ 0 h 376374"/>
              <a:gd name="connsiteX4" fmla="*/ 161969 w 347243"/>
              <a:gd name="connsiteY4" fmla="*/ 0 h 376374"/>
              <a:gd name="connsiteX5" fmla="*/ 347244 w 347243"/>
              <a:gd name="connsiteY5" fmla="*/ 185274 h 376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7243" h="376374">
                <a:moveTo>
                  <a:pt x="158473" y="376375"/>
                </a:moveTo>
                <a:lnTo>
                  <a:pt x="0" y="376375"/>
                </a:lnTo>
                <a:lnTo>
                  <a:pt x="185274" y="189935"/>
                </a:lnTo>
                <a:lnTo>
                  <a:pt x="0" y="0"/>
                </a:lnTo>
                <a:lnTo>
                  <a:pt x="161969" y="0"/>
                </a:lnTo>
                <a:lnTo>
                  <a:pt x="347244" y="185274"/>
                </a:lnTo>
                <a:close/>
              </a:path>
            </a:pathLst>
          </a:custGeom>
          <a:solidFill>
            <a:srgbClr val="EEF2F5"/>
          </a:solidFill>
          <a:ln w="11643" cap="flat">
            <a:noFill/>
            <a:prstDash val="solid"/>
            <a:miter/>
          </a:ln>
        </p:spPr>
        <p:txBody>
          <a:bodyPr rtlCol="0" anchor="ctr"/>
          <a:lstStyle/>
          <a:p>
            <a:endParaRPr lang="de-DE"/>
          </a:p>
        </p:txBody>
      </p:sp>
      <p:sp>
        <p:nvSpPr>
          <p:cNvPr id="138" name="Freihandform: Form 137">
            <a:extLst>
              <a:ext uri="{FF2B5EF4-FFF2-40B4-BE49-F238E27FC236}">
                <a16:creationId xmlns:a16="http://schemas.microsoft.com/office/drawing/2014/main" id="{5B458F82-191F-4A0B-9761-26D447FE3BDA}"/>
              </a:ext>
            </a:extLst>
          </p:cNvPr>
          <p:cNvSpPr/>
          <p:nvPr/>
        </p:nvSpPr>
        <p:spPr>
          <a:xfrm>
            <a:off x="11841261" y="4405152"/>
            <a:ext cx="347243" cy="377540"/>
          </a:xfrm>
          <a:custGeom>
            <a:avLst/>
            <a:gdLst>
              <a:gd name="connsiteX0" fmla="*/ 158473 w 347243"/>
              <a:gd name="connsiteY0" fmla="*/ 377540 h 377540"/>
              <a:gd name="connsiteX1" fmla="*/ 0 w 347243"/>
              <a:gd name="connsiteY1" fmla="*/ 377540 h 377540"/>
              <a:gd name="connsiteX2" fmla="*/ 185274 w 347243"/>
              <a:gd name="connsiteY2" fmla="*/ 189935 h 377540"/>
              <a:gd name="connsiteX3" fmla="*/ 0 w 347243"/>
              <a:gd name="connsiteY3" fmla="*/ 0 h 377540"/>
              <a:gd name="connsiteX4" fmla="*/ 161969 w 347243"/>
              <a:gd name="connsiteY4" fmla="*/ 0 h 377540"/>
              <a:gd name="connsiteX5" fmla="*/ 347244 w 347243"/>
              <a:gd name="connsiteY5" fmla="*/ 185274 h 377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7243" h="377540">
                <a:moveTo>
                  <a:pt x="158473" y="377540"/>
                </a:moveTo>
                <a:lnTo>
                  <a:pt x="0" y="377540"/>
                </a:lnTo>
                <a:lnTo>
                  <a:pt x="185274" y="189935"/>
                </a:lnTo>
                <a:lnTo>
                  <a:pt x="0" y="0"/>
                </a:lnTo>
                <a:lnTo>
                  <a:pt x="161969" y="0"/>
                </a:lnTo>
                <a:lnTo>
                  <a:pt x="347244" y="185274"/>
                </a:lnTo>
                <a:close/>
              </a:path>
            </a:pathLst>
          </a:custGeom>
          <a:solidFill>
            <a:srgbClr val="EEF2F5"/>
          </a:solidFill>
          <a:ln w="11643" cap="flat">
            <a:noFill/>
            <a:prstDash val="solid"/>
            <a:miter/>
          </a:ln>
        </p:spPr>
        <p:txBody>
          <a:bodyPr rtlCol="0" anchor="ctr"/>
          <a:lstStyle/>
          <a:p>
            <a:endParaRPr lang="de-DE"/>
          </a:p>
        </p:txBody>
      </p:sp>
      <p:sp>
        <p:nvSpPr>
          <p:cNvPr id="105" name="Freihandform: Form 104">
            <a:extLst>
              <a:ext uri="{FF2B5EF4-FFF2-40B4-BE49-F238E27FC236}">
                <a16:creationId xmlns:a16="http://schemas.microsoft.com/office/drawing/2014/main" id="{5C4533A5-54AE-4D76-A4AF-E6486B2E759F}"/>
              </a:ext>
            </a:extLst>
          </p:cNvPr>
          <p:cNvSpPr/>
          <p:nvPr/>
        </p:nvSpPr>
        <p:spPr>
          <a:xfrm>
            <a:off x="11494017" y="3704837"/>
            <a:ext cx="330930" cy="358896"/>
          </a:xfrm>
          <a:custGeom>
            <a:avLst/>
            <a:gdLst>
              <a:gd name="connsiteX0" fmla="*/ 151482 w 330930"/>
              <a:gd name="connsiteY0" fmla="*/ 358896 h 358896"/>
              <a:gd name="connsiteX1" fmla="*/ 0 w 330930"/>
              <a:gd name="connsiteY1" fmla="*/ 358896 h 358896"/>
              <a:gd name="connsiteX2" fmla="*/ 177118 w 330930"/>
              <a:gd name="connsiteY2" fmla="*/ 180613 h 358896"/>
              <a:gd name="connsiteX3" fmla="*/ 0 w 330930"/>
              <a:gd name="connsiteY3" fmla="*/ 0 h 358896"/>
              <a:gd name="connsiteX4" fmla="*/ 154979 w 330930"/>
              <a:gd name="connsiteY4" fmla="*/ 0 h 358896"/>
              <a:gd name="connsiteX5" fmla="*/ 330931 w 330930"/>
              <a:gd name="connsiteY5" fmla="*/ 175953 h 358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930" h="358896">
                <a:moveTo>
                  <a:pt x="151482" y="358896"/>
                </a:moveTo>
                <a:lnTo>
                  <a:pt x="0" y="358896"/>
                </a:lnTo>
                <a:lnTo>
                  <a:pt x="177118" y="180613"/>
                </a:lnTo>
                <a:lnTo>
                  <a:pt x="0" y="0"/>
                </a:lnTo>
                <a:lnTo>
                  <a:pt x="154979" y="0"/>
                </a:lnTo>
                <a:lnTo>
                  <a:pt x="330931" y="175953"/>
                </a:lnTo>
                <a:close/>
              </a:path>
            </a:pathLst>
          </a:custGeom>
          <a:solidFill>
            <a:srgbClr val="EEF2F5"/>
          </a:solidFill>
          <a:ln w="11643" cap="flat">
            <a:noFill/>
            <a:prstDash val="solid"/>
            <a:miter/>
          </a:ln>
        </p:spPr>
        <p:txBody>
          <a:bodyPr rtlCol="0" anchor="ctr"/>
          <a:lstStyle/>
          <a:p>
            <a:endParaRPr lang="de-DE"/>
          </a:p>
        </p:txBody>
      </p:sp>
      <p:sp>
        <p:nvSpPr>
          <p:cNvPr id="121" name="Freihandform: Form 120">
            <a:extLst>
              <a:ext uri="{FF2B5EF4-FFF2-40B4-BE49-F238E27FC236}">
                <a16:creationId xmlns:a16="http://schemas.microsoft.com/office/drawing/2014/main" id="{2C765BDB-0971-4930-98E2-992157EFF29E}"/>
              </a:ext>
            </a:extLst>
          </p:cNvPr>
          <p:cNvSpPr/>
          <p:nvPr/>
        </p:nvSpPr>
        <p:spPr>
          <a:xfrm>
            <a:off x="11494017" y="4059073"/>
            <a:ext cx="330930" cy="360061"/>
          </a:xfrm>
          <a:custGeom>
            <a:avLst/>
            <a:gdLst>
              <a:gd name="connsiteX0" fmla="*/ 151482 w 330930"/>
              <a:gd name="connsiteY0" fmla="*/ 360062 h 360061"/>
              <a:gd name="connsiteX1" fmla="*/ 0 w 330930"/>
              <a:gd name="connsiteY1" fmla="*/ 360062 h 360061"/>
              <a:gd name="connsiteX2" fmla="*/ 177118 w 330930"/>
              <a:gd name="connsiteY2" fmla="*/ 181779 h 360061"/>
              <a:gd name="connsiteX3" fmla="*/ 0 w 330930"/>
              <a:gd name="connsiteY3" fmla="*/ 0 h 360061"/>
              <a:gd name="connsiteX4" fmla="*/ 154979 w 330930"/>
              <a:gd name="connsiteY4" fmla="*/ 0 h 360061"/>
              <a:gd name="connsiteX5" fmla="*/ 330931 w 330930"/>
              <a:gd name="connsiteY5" fmla="*/ 177118 h 360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930" h="360061">
                <a:moveTo>
                  <a:pt x="151482" y="360062"/>
                </a:moveTo>
                <a:lnTo>
                  <a:pt x="0" y="360062"/>
                </a:lnTo>
                <a:lnTo>
                  <a:pt x="177118" y="181779"/>
                </a:lnTo>
                <a:lnTo>
                  <a:pt x="0" y="0"/>
                </a:lnTo>
                <a:lnTo>
                  <a:pt x="154979" y="0"/>
                </a:lnTo>
                <a:lnTo>
                  <a:pt x="330931" y="177118"/>
                </a:lnTo>
                <a:close/>
              </a:path>
            </a:pathLst>
          </a:custGeom>
          <a:solidFill>
            <a:srgbClr val="EEF2F5"/>
          </a:solidFill>
          <a:ln w="11643" cap="flat">
            <a:noFill/>
            <a:prstDash val="solid"/>
            <a:miter/>
          </a:ln>
        </p:spPr>
        <p:txBody>
          <a:bodyPr rtlCol="0" anchor="ctr"/>
          <a:lstStyle/>
          <a:p>
            <a:endParaRPr lang="de-DE"/>
          </a:p>
        </p:txBody>
      </p:sp>
      <p:sp>
        <p:nvSpPr>
          <p:cNvPr id="137" name="Freihandform: Form 136">
            <a:extLst>
              <a:ext uri="{FF2B5EF4-FFF2-40B4-BE49-F238E27FC236}">
                <a16:creationId xmlns:a16="http://schemas.microsoft.com/office/drawing/2014/main" id="{FFF7FEBD-DC05-4243-8288-65567FB9B1FC}"/>
              </a:ext>
            </a:extLst>
          </p:cNvPr>
          <p:cNvSpPr/>
          <p:nvPr/>
        </p:nvSpPr>
        <p:spPr>
          <a:xfrm>
            <a:off x="11494017" y="4414474"/>
            <a:ext cx="330930" cy="358896"/>
          </a:xfrm>
          <a:custGeom>
            <a:avLst/>
            <a:gdLst>
              <a:gd name="connsiteX0" fmla="*/ 151482 w 330930"/>
              <a:gd name="connsiteY0" fmla="*/ 358896 h 358896"/>
              <a:gd name="connsiteX1" fmla="*/ 0 w 330930"/>
              <a:gd name="connsiteY1" fmla="*/ 358896 h 358896"/>
              <a:gd name="connsiteX2" fmla="*/ 177118 w 330930"/>
              <a:gd name="connsiteY2" fmla="*/ 180613 h 358896"/>
              <a:gd name="connsiteX3" fmla="*/ 0 w 330930"/>
              <a:gd name="connsiteY3" fmla="*/ 0 h 358896"/>
              <a:gd name="connsiteX4" fmla="*/ 154979 w 330930"/>
              <a:gd name="connsiteY4" fmla="*/ 0 h 358896"/>
              <a:gd name="connsiteX5" fmla="*/ 330931 w 330930"/>
              <a:gd name="connsiteY5" fmla="*/ 175952 h 358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930" h="358896">
                <a:moveTo>
                  <a:pt x="151482" y="358896"/>
                </a:moveTo>
                <a:lnTo>
                  <a:pt x="0" y="358896"/>
                </a:lnTo>
                <a:lnTo>
                  <a:pt x="177118" y="180613"/>
                </a:lnTo>
                <a:lnTo>
                  <a:pt x="0" y="0"/>
                </a:lnTo>
                <a:lnTo>
                  <a:pt x="154979" y="0"/>
                </a:lnTo>
                <a:lnTo>
                  <a:pt x="330931" y="175952"/>
                </a:lnTo>
                <a:close/>
              </a:path>
            </a:pathLst>
          </a:custGeom>
          <a:solidFill>
            <a:srgbClr val="EEF2F5"/>
          </a:solidFill>
          <a:ln w="11643" cap="flat">
            <a:noFill/>
            <a:prstDash val="solid"/>
            <a:miter/>
          </a:ln>
        </p:spPr>
        <p:txBody>
          <a:bodyPr rtlCol="0" anchor="ctr"/>
          <a:lstStyle/>
          <a:p>
            <a:endParaRPr lang="de-DE"/>
          </a:p>
        </p:txBody>
      </p:sp>
      <p:sp>
        <p:nvSpPr>
          <p:cNvPr id="154" name="Freihandform: Form 153">
            <a:extLst>
              <a:ext uri="{FF2B5EF4-FFF2-40B4-BE49-F238E27FC236}">
                <a16:creationId xmlns:a16="http://schemas.microsoft.com/office/drawing/2014/main" id="{46119847-314D-4401-B853-7CDAC232D928}"/>
              </a:ext>
            </a:extLst>
          </p:cNvPr>
          <p:cNvSpPr/>
          <p:nvPr/>
        </p:nvSpPr>
        <p:spPr>
          <a:xfrm>
            <a:off x="11494017" y="4768709"/>
            <a:ext cx="330930" cy="360061"/>
          </a:xfrm>
          <a:custGeom>
            <a:avLst/>
            <a:gdLst>
              <a:gd name="connsiteX0" fmla="*/ 151482 w 330930"/>
              <a:gd name="connsiteY0" fmla="*/ 360062 h 360061"/>
              <a:gd name="connsiteX1" fmla="*/ 0 w 330930"/>
              <a:gd name="connsiteY1" fmla="*/ 360062 h 360061"/>
              <a:gd name="connsiteX2" fmla="*/ 177118 w 330930"/>
              <a:gd name="connsiteY2" fmla="*/ 181779 h 360061"/>
              <a:gd name="connsiteX3" fmla="*/ 0 w 330930"/>
              <a:gd name="connsiteY3" fmla="*/ 0 h 360061"/>
              <a:gd name="connsiteX4" fmla="*/ 154979 w 330930"/>
              <a:gd name="connsiteY4" fmla="*/ 0 h 360061"/>
              <a:gd name="connsiteX5" fmla="*/ 330931 w 330930"/>
              <a:gd name="connsiteY5" fmla="*/ 177118 h 360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930" h="360061">
                <a:moveTo>
                  <a:pt x="151482" y="360062"/>
                </a:moveTo>
                <a:lnTo>
                  <a:pt x="0" y="360062"/>
                </a:lnTo>
                <a:lnTo>
                  <a:pt x="177118" y="181779"/>
                </a:lnTo>
                <a:lnTo>
                  <a:pt x="0" y="0"/>
                </a:lnTo>
                <a:lnTo>
                  <a:pt x="154979" y="0"/>
                </a:lnTo>
                <a:lnTo>
                  <a:pt x="330931" y="177118"/>
                </a:lnTo>
                <a:close/>
              </a:path>
            </a:pathLst>
          </a:custGeom>
          <a:solidFill>
            <a:srgbClr val="EEF2F5"/>
          </a:solidFill>
          <a:ln w="11643" cap="flat">
            <a:noFill/>
            <a:prstDash val="solid"/>
            <a:miter/>
          </a:ln>
        </p:spPr>
        <p:txBody>
          <a:bodyPr rtlCol="0" anchor="ctr"/>
          <a:lstStyle/>
          <a:p>
            <a:endParaRPr lang="de-DE"/>
          </a:p>
        </p:txBody>
      </p:sp>
      <p:sp>
        <p:nvSpPr>
          <p:cNvPr id="88" name="Freihandform: Form 87">
            <a:extLst>
              <a:ext uri="{FF2B5EF4-FFF2-40B4-BE49-F238E27FC236}">
                <a16:creationId xmlns:a16="http://schemas.microsoft.com/office/drawing/2014/main" id="{021EABD8-89C7-4331-9946-CAAC34E3DC2D}"/>
              </a:ext>
            </a:extLst>
          </p:cNvPr>
          <p:cNvSpPr/>
          <p:nvPr/>
        </p:nvSpPr>
        <p:spPr>
          <a:xfrm>
            <a:off x="11147939" y="3358759"/>
            <a:ext cx="314616" cy="341417"/>
          </a:xfrm>
          <a:custGeom>
            <a:avLst/>
            <a:gdLst>
              <a:gd name="connsiteX0" fmla="*/ 143325 w 314616"/>
              <a:gd name="connsiteY0" fmla="*/ 341418 h 341417"/>
              <a:gd name="connsiteX1" fmla="*/ 0 w 314616"/>
              <a:gd name="connsiteY1" fmla="*/ 341418 h 341417"/>
              <a:gd name="connsiteX2" fmla="*/ 167795 w 314616"/>
              <a:gd name="connsiteY2" fmla="*/ 172457 h 341417"/>
              <a:gd name="connsiteX3" fmla="*/ 0 w 314616"/>
              <a:gd name="connsiteY3" fmla="*/ 0 h 341417"/>
              <a:gd name="connsiteX4" fmla="*/ 146821 w 314616"/>
              <a:gd name="connsiteY4" fmla="*/ 0 h 341417"/>
              <a:gd name="connsiteX5" fmla="*/ 314617 w 314616"/>
              <a:gd name="connsiteY5" fmla="*/ 167796 h 341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4616" h="341417">
                <a:moveTo>
                  <a:pt x="143325" y="341418"/>
                </a:moveTo>
                <a:lnTo>
                  <a:pt x="0" y="341418"/>
                </a:lnTo>
                <a:lnTo>
                  <a:pt x="167795" y="172457"/>
                </a:lnTo>
                <a:lnTo>
                  <a:pt x="0" y="0"/>
                </a:lnTo>
                <a:lnTo>
                  <a:pt x="146821" y="0"/>
                </a:lnTo>
                <a:lnTo>
                  <a:pt x="314617" y="167796"/>
                </a:lnTo>
                <a:close/>
              </a:path>
            </a:pathLst>
          </a:custGeom>
          <a:solidFill>
            <a:srgbClr val="EEF2F5"/>
          </a:solidFill>
          <a:ln w="11643" cap="flat">
            <a:noFill/>
            <a:prstDash val="solid"/>
            <a:miter/>
          </a:ln>
        </p:spPr>
        <p:txBody>
          <a:bodyPr rtlCol="0" anchor="ctr"/>
          <a:lstStyle/>
          <a:p>
            <a:endParaRPr lang="de-DE"/>
          </a:p>
        </p:txBody>
      </p:sp>
      <p:sp>
        <p:nvSpPr>
          <p:cNvPr id="104" name="Freihandform: Form 103">
            <a:extLst>
              <a:ext uri="{FF2B5EF4-FFF2-40B4-BE49-F238E27FC236}">
                <a16:creationId xmlns:a16="http://schemas.microsoft.com/office/drawing/2014/main" id="{2DAD8994-DFB7-4D8A-B3A1-95AEBE830246}"/>
              </a:ext>
            </a:extLst>
          </p:cNvPr>
          <p:cNvSpPr/>
          <p:nvPr/>
        </p:nvSpPr>
        <p:spPr>
          <a:xfrm>
            <a:off x="11147939" y="3714159"/>
            <a:ext cx="314616" cy="340252"/>
          </a:xfrm>
          <a:custGeom>
            <a:avLst/>
            <a:gdLst>
              <a:gd name="connsiteX0" fmla="*/ 143325 w 314616"/>
              <a:gd name="connsiteY0" fmla="*/ 340252 h 340252"/>
              <a:gd name="connsiteX1" fmla="*/ 0 w 314616"/>
              <a:gd name="connsiteY1" fmla="*/ 340252 h 340252"/>
              <a:gd name="connsiteX2" fmla="*/ 167795 w 314616"/>
              <a:gd name="connsiteY2" fmla="*/ 171291 h 340252"/>
              <a:gd name="connsiteX3" fmla="*/ 0 w 314616"/>
              <a:gd name="connsiteY3" fmla="*/ 0 h 340252"/>
              <a:gd name="connsiteX4" fmla="*/ 146821 w 314616"/>
              <a:gd name="connsiteY4" fmla="*/ 0 h 340252"/>
              <a:gd name="connsiteX5" fmla="*/ 314617 w 314616"/>
              <a:gd name="connsiteY5" fmla="*/ 166631 h 340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4616" h="340252">
                <a:moveTo>
                  <a:pt x="143325" y="340252"/>
                </a:moveTo>
                <a:lnTo>
                  <a:pt x="0" y="340252"/>
                </a:lnTo>
                <a:lnTo>
                  <a:pt x="167795" y="171291"/>
                </a:lnTo>
                <a:lnTo>
                  <a:pt x="0" y="0"/>
                </a:lnTo>
                <a:lnTo>
                  <a:pt x="146821" y="0"/>
                </a:lnTo>
                <a:lnTo>
                  <a:pt x="314617" y="166631"/>
                </a:lnTo>
                <a:close/>
              </a:path>
            </a:pathLst>
          </a:custGeom>
          <a:solidFill>
            <a:srgbClr val="EEF2F5"/>
          </a:solidFill>
          <a:ln w="11643" cap="flat">
            <a:noFill/>
            <a:prstDash val="solid"/>
            <a:miter/>
          </a:ln>
        </p:spPr>
        <p:txBody>
          <a:bodyPr rtlCol="0" anchor="ctr"/>
          <a:lstStyle/>
          <a:p>
            <a:endParaRPr lang="de-DE"/>
          </a:p>
        </p:txBody>
      </p:sp>
      <p:sp>
        <p:nvSpPr>
          <p:cNvPr id="120" name="Freihandform: Form 119">
            <a:extLst>
              <a:ext uri="{FF2B5EF4-FFF2-40B4-BE49-F238E27FC236}">
                <a16:creationId xmlns:a16="http://schemas.microsoft.com/office/drawing/2014/main" id="{9CAC8A30-61AB-4046-B8E4-22F4EC6F7681}"/>
              </a:ext>
            </a:extLst>
          </p:cNvPr>
          <p:cNvSpPr/>
          <p:nvPr/>
        </p:nvSpPr>
        <p:spPr>
          <a:xfrm>
            <a:off x="11147939" y="4068395"/>
            <a:ext cx="314616" cy="341417"/>
          </a:xfrm>
          <a:custGeom>
            <a:avLst/>
            <a:gdLst>
              <a:gd name="connsiteX0" fmla="*/ 143325 w 314616"/>
              <a:gd name="connsiteY0" fmla="*/ 341418 h 341417"/>
              <a:gd name="connsiteX1" fmla="*/ 0 w 314616"/>
              <a:gd name="connsiteY1" fmla="*/ 341418 h 341417"/>
              <a:gd name="connsiteX2" fmla="*/ 167795 w 314616"/>
              <a:gd name="connsiteY2" fmla="*/ 172457 h 341417"/>
              <a:gd name="connsiteX3" fmla="*/ 0 w 314616"/>
              <a:gd name="connsiteY3" fmla="*/ 0 h 341417"/>
              <a:gd name="connsiteX4" fmla="*/ 146821 w 314616"/>
              <a:gd name="connsiteY4" fmla="*/ 0 h 341417"/>
              <a:gd name="connsiteX5" fmla="*/ 314617 w 314616"/>
              <a:gd name="connsiteY5" fmla="*/ 167796 h 341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4616" h="341417">
                <a:moveTo>
                  <a:pt x="143325" y="341418"/>
                </a:moveTo>
                <a:lnTo>
                  <a:pt x="0" y="341418"/>
                </a:lnTo>
                <a:lnTo>
                  <a:pt x="167795" y="172457"/>
                </a:lnTo>
                <a:lnTo>
                  <a:pt x="0" y="0"/>
                </a:lnTo>
                <a:lnTo>
                  <a:pt x="146821" y="0"/>
                </a:lnTo>
                <a:lnTo>
                  <a:pt x="314617" y="167796"/>
                </a:lnTo>
                <a:close/>
              </a:path>
            </a:pathLst>
          </a:custGeom>
          <a:solidFill>
            <a:srgbClr val="EEF2F5"/>
          </a:solidFill>
          <a:ln w="11643" cap="flat">
            <a:noFill/>
            <a:prstDash val="solid"/>
            <a:miter/>
          </a:ln>
        </p:spPr>
        <p:txBody>
          <a:bodyPr rtlCol="0" anchor="ctr"/>
          <a:lstStyle/>
          <a:p>
            <a:endParaRPr lang="de-DE"/>
          </a:p>
        </p:txBody>
      </p:sp>
      <p:sp>
        <p:nvSpPr>
          <p:cNvPr id="136" name="Freihandform: Form 135">
            <a:extLst>
              <a:ext uri="{FF2B5EF4-FFF2-40B4-BE49-F238E27FC236}">
                <a16:creationId xmlns:a16="http://schemas.microsoft.com/office/drawing/2014/main" id="{514370C7-4CF6-451C-90DF-3B79CA5A0A59}"/>
              </a:ext>
            </a:extLst>
          </p:cNvPr>
          <p:cNvSpPr/>
          <p:nvPr/>
        </p:nvSpPr>
        <p:spPr>
          <a:xfrm>
            <a:off x="11147939" y="4423796"/>
            <a:ext cx="314616" cy="340252"/>
          </a:xfrm>
          <a:custGeom>
            <a:avLst/>
            <a:gdLst>
              <a:gd name="connsiteX0" fmla="*/ 143325 w 314616"/>
              <a:gd name="connsiteY0" fmla="*/ 340252 h 340252"/>
              <a:gd name="connsiteX1" fmla="*/ 0 w 314616"/>
              <a:gd name="connsiteY1" fmla="*/ 340252 h 340252"/>
              <a:gd name="connsiteX2" fmla="*/ 167795 w 314616"/>
              <a:gd name="connsiteY2" fmla="*/ 171291 h 340252"/>
              <a:gd name="connsiteX3" fmla="*/ 0 w 314616"/>
              <a:gd name="connsiteY3" fmla="*/ 0 h 340252"/>
              <a:gd name="connsiteX4" fmla="*/ 146821 w 314616"/>
              <a:gd name="connsiteY4" fmla="*/ 0 h 340252"/>
              <a:gd name="connsiteX5" fmla="*/ 314617 w 314616"/>
              <a:gd name="connsiteY5" fmla="*/ 167796 h 340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4616" h="340252">
                <a:moveTo>
                  <a:pt x="143325" y="340252"/>
                </a:moveTo>
                <a:lnTo>
                  <a:pt x="0" y="340252"/>
                </a:lnTo>
                <a:lnTo>
                  <a:pt x="167795" y="171291"/>
                </a:lnTo>
                <a:lnTo>
                  <a:pt x="0" y="0"/>
                </a:lnTo>
                <a:lnTo>
                  <a:pt x="146821" y="0"/>
                </a:lnTo>
                <a:lnTo>
                  <a:pt x="314617" y="167796"/>
                </a:lnTo>
                <a:close/>
              </a:path>
            </a:pathLst>
          </a:custGeom>
          <a:solidFill>
            <a:srgbClr val="EEF2F5"/>
          </a:solidFill>
          <a:ln w="11643" cap="flat">
            <a:noFill/>
            <a:prstDash val="solid"/>
            <a:miter/>
          </a:ln>
        </p:spPr>
        <p:txBody>
          <a:bodyPr rtlCol="0" anchor="ctr"/>
          <a:lstStyle/>
          <a:p>
            <a:endParaRPr lang="de-DE"/>
          </a:p>
        </p:txBody>
      </p:sp>
      <p:sp>
        <p:nvSpPr>
          <p:cNvPr id="153" name="Freihandform: Form 152">
            <a:extLst>
              <a:ext uri="{FF2B5EF4-FFF2-40B4-BE49-F238E27FC236}">
                <a16:creationId xmlns:a16="http://schemas.microsoft.com/office/drawing/2014/main" id="{6D62BA37-26ED-4588-AD4A-3F0CC1E972FD}"/>
              </a:ext>
            </a:extLst>
          </p:cNvPr>
          <p:cNvSpPr/>
          <p:nvPr/>
        </p:nvSpPr>
        <p:spPr>
          <a:xfrm>
            <a:off x="11147939" y="4778031"/>
            <a:ext cx="314616" cy="341417"/>
          </a:xfrm>
          <a:custGeom>
            <a:avLst/>
            <a:gdLst>
              <a:gd name="connsiteX0" fmla="*/ 143325 w 314616"/>
              <a:gd name="connsiteY0" fmla="*/ 341418 h 341417"/>
              <a:gd name="connsiteX1" fmla="*/ 0 w 314616"/>
              <a:gd name="connsiteY1" fmla="*/ 341418 h 341417"/>
              <a:gd name="connsiteX2" fmla="*/ 167795 w 314616"/>
              <a:gd name="connsiteY2" fmla="*/ 172457 h 341417"/>
              <a:gd name="connsiteX3" fmla="*/ 0 w 314616"/>
              <a:gd name="connsiteY3" fmla="*/ 0 h 341417"/>
              <a:gd name="connsiteX4" fmla="*/ 146821 w 314616"/>
              <a:gd name="connsiteY4" fmla="*/ 0 h 341417"/>
              <a:gd name="connsiteX5" fmla="*/ 314617 w 314616"/>
              <a:gd name="connsiteY5" fmla="*/ 167796 h 341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4616" h="341417">
                <a:moveTo>
                  <a:pt x="143325" y="341418"/>
                </a:moveTo>
                <a:lnTo>
                  <a:pt x="0" y="341418"/>
                </a:lnTo>
                <a:lnTo>
                  <a:pt x="167795" y="172457"/>
                </a:lnTo>
                <a:lnTo>
                  <a:pt x="0" y="0"/>
                </a:lnTo>
                <a:lnTo>
                  <a:pt x="146821" y="0"/>
                </a:lnTo>
                <a:lnTo>
                  <a:pt x="314617" y="167796"/>
                </a:lnTo>
                <a:close/>
              </a:path>
            </a:pathLst>
          </a:custGeom>
          <a:solidFill>
            <a:srgbClr val="EEF2F5"/>
          </a:solidFill>
          <a:ln w="11643" cap="flat">
            <a:noFill/>
            <a:prstDash val="solid"/>
            <a:miter/>
          </a:ln>
        </p:spPr>
        <p:txBody>
          <a:bodyPr rtlCol="0" anchor="ctr"/>
          <a:lstStyle/>
          <a:p>
            <a:endParaRPr lang="de-DE"/>
          </a:p>
        </p:txBody>
      </p:sp>
      <p:sp>
        <p:nvSpPr>
          <p:cNvPr id="170" name="Freihandform: Form 169">
            <a:extLst>
              <a:ext uri="{FF2B5EF4-FFF2-40B4-BE49-F238E27FC236}">
                <a16:creationId xmlns:a16="http://schemas.microsoft.com/office/drawing/2014/main" id="{6E70AB4A-6E36-4A08-8730-471DDB749A6F}"/>
              </a:ext>
            </a:extLst>
          </p:cNvPr>
          <p:cNvSpPr/>
          <p:nvPr/>
        </p:nvSpPr>
        <p:spPr>
          <a:xfrm>
            <a:off x="11147939" y="5133432"/>
            <a:ext cx="314616" cy="341417"/>
          </a:xfrm>
          <a:custGeom>
            <a:avLst/>
            <a:gdLst>
              <a:gd name="connsiteX0" fmla="*/ 143325 w 314616"/>
              <a:gd name="connsiteY0" fmla="*/ 341418 h 341417"/>
              <a:gd name="connsiteX1" fmla="*/ 0 w 314616"/>
              <a:gd name="connsiteY1" fmla="*/ 341418 h 341417"/>
              <a:gd name="connsiteX2" fmla="*/ 167795 w 314616"/>
              <a:gd name="connsiteY2" fmla="*/ 171292 h 341417"/>
              <a:gd name="connsiteX3" fmla="*/ 0 w 314616"/>
              <a:gd name="connsiteY3" fmla="*/ 0 h 341417"/>
              <a:gd name="connsiteX4" fmla="*/ 146821 w 314616"/>
              <a:gd name="connsiteY4" fmla="*/ 0 h 341417"/>
              <a:gd name="connsiteX5" fmla="*/ 314617 w 314616"/>
              <a:gd name="connsiteY5" fmla="*/ 167796 h 341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4616" h="341417">
                <a:moveTo>
                  <a:pt x="143325" y="341418"/>
                </a:moveTo>
                <a:lnTo>
                  <a:pt x="0" y="341418"/>
                </a:lnTo>
                <a:lnTo>
                  <a:pt x="167795" y="171292"/>
                </a:lnTo>
                <a:lnTo>
                  <a:pt x="0" y="0"/>
                </a:lnTo>
                <a:lnTo>
                  <a:pt x="146821" y="0"/>
                </a:lnTo>
                <a:lnTo>
                  <a:pt x="314617" y="167796"/>
                </a:lnTo>
                <a:close/>
              </a:path>
            </a:pathLst>
          </a:custGeom>
          <a:solidFill>
            <a:srgbClr val="EEF2F5"/>
          </a:solidFill>
          <a:ln w="11643" cap="flat">
            <a:noFill/>
            <a:prstDash val="solid"/>
            <a:miter/>
          </a:ln>
        </p:spPr>
        <p:txBody>
          <a:bodyPr rtlCol="0" anchor="ctr"/>
          <a:lstStyle/>
          <a:p>
            <a:endParaRPr lang="de-DE"/>
          </a:p>
        </p:txBody>
      </p:sp>
      <p:sp>
        <p:nvSpPr>
          <p:cNvPr id="71" name="Freihandform: Form 70">
            <a:extLst>
              <a:ext uri="{FF2B5EF4-FFF2-40B4-BE49-F238E27FC236}">
                <a16:creationId xmlns:a16="http://schemas.microsoft.com/office/drawing/2014/main" id="{EC37F69B-71A5-4B22-89E2-2B86538897C6}"/>
              </a:ext>
            </a:extLst>
          </p:cNvPr>
          <p:cNvSpPr/>
          <p:nvPr/>
        </p:nvSpPr>
        <p:spPr>
          <a:xfrm>
            <a:off x="10801860" y="3012680"/>
            <a:ext cx="297138" cy="323938"/>
          </a:xfrm>
          <a:custGeom>
            <a:avLst/>
            <a:gdLst>
              <a:gd name="connsiteX0" fmla="*/ 135168 w 297138"/>
              <a:gd name="connsiteY0" fmla="*/ 323939 h 323938"/>
              <a:gd name="connsiteX1" fmla="*/ 0 w 297138"/>
              <a:gd name="connsiteY1" fmla="*/ 323939 h 323938"/>
              <a:gd name="connsiteX2" fmla="*/ 158473 w 297138"/>
              <a:gd name="connsiteY2" fmla="*/ 163135 h 323938"/>
              <a:gd name="connsiteX3" fmla="*/ 0 w 297138"/>
              <a:gd name="connsiteY3" fmla="*/ 0 h 323938"/>
              <a:gd name="connsiteX4" fmla="*/ 138664 w 297138"/>
              <a:gd name="connsiteY4" fmla="*/ 0 h 323938"/>
              <a:gd name="connsiteX5" fmla="*/ 297138 w 297138"/>
              <a:gd name="connsiteY5" fmla="*/ 159639 h 323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3938">
                <a:moveTo>
                  <a:pt x="135168" y="323939"/>
                </a:moveTo>
                <a:lnTo>
                  <a:pt x="0" y="323939"/>
                </a:lnTo>
                <a:lnTo>
                  <a:pt x="158473" y="163135"/>
                </a:lnTo>
                <a:lnTo>
                  <a:pt x="0" y="0"/>
                </a:lnTo>
                <a:lnTo>
                  <a:pt x="138664" y="0"/>
                </a:lnTo>
                <a:lnTo>
                  <a:pt x="297138" y="159639"/>
                </a:lnTo>
                <a:close/>
              </a:path>
            </a:pathLst>
          </a:custGeom>
          <a:solidFill>
            <a:srgbClr val="EEF2F5"/>
          </a:solidFill>
          <a:ln w="11643" cap="flat">
            <a:noFill/>
            <a:prstDash val="solid"/>
            <a:miter/>
          </a:ln>
        </p:spPr>
        <p:txBody>
          <a:bodyPr rtlCol="0" anchor="ctr"/>
          <a:lstStyle/>
          <a:p>
            <a:endParaRPr lang="de-DE"/>
          </a:p>
        </p:txBody>
      </p:sp>
      <p:sp>
        <p:nvSpPr>
          <p:cNvPr id="87" name="Freihandform: Form 86">
            <a:extLst>
              <a:ext uri="{FF2B5EF4-FFF2-40B4-BE49-F238E27FC236}">
                <a16:creationId xmlns:a16="http://schemas.microsoft.com/office/drawing/2014/main" id="{6027B9E1-4632-4B82-9FA3-1E60661DE0B8}"/>
              </a:ext>
            </a:extLst>
          </p:cNvPr>
          <p:cNvSpPr/>
          <p:nvPr/>
        </p:nvSpPr>
        <p:spPr>
          <a:xfrm>
            <a:off x="10801860" y="3368081"/>
            <a:ext cx="297138" cy="322773"/>
          </a:xfrm>
          <a:custGeom>
            <a:avLst/>
            <a:gdLst>
              <a:gd name="connsiteX0" fmla="*/ 135168 w 297138"/>
              <a:gd name="connsiteY0" fmla="*/ 322774 h 322773"/>
              <a:gd name="connsiteX1" fmla="*/ 0 w 297138"/>
              <a:gd name="connsiteY1" fmla="*/ 322774 h 322773"/>
              <a:gd name="connsiteX2" fmla="*/ 158473 w 297138"/>
              <a:gd name="connsiteY2" fmla="*/ 163135 h 322773"/>
              <a:gd name="connsiteX3" fmla="*/ 0 w 297138"/>
              <a:gd name="connsiteY3" fmla="*/ 0 h 322773"/>
              <a:gd name="connsiteX4" fmla="*/ 138664 w 297138"/>
              <a:gd name="connsiteY4" fmla="*/ 0 h 322773"/>
              <a:gd name="connsiteX5" fmla="*/ 297138 w 297138"/>
              <a:gd name="connsiteY5" fmla="*/ 158474 h 322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2773">
                <a:moveTo>
                  <a:pt x="135168" y="322774"/>
                </a:moveTo>
                <a:lnTo>
                  <a:pt x="0" y="322774"/>
                </a:lnTo>
                <a:lnTo>
                  <a:pt x="158473" y="163135"/>
                </a:lnTo>
                <a:lnTo>
                  <a:pt x="0" y="0"/>
                </a:lnTo>
                <a:lnTo>
                  <a:pt x="138664" y="0"/>
                </a:lnTo>
                <a:lnTo>
                  <a:pt x="297138" y="158474"/>
                </a:lnTo>
                <a:close/>
              </a:path>
            </a:pathLst>
          </a:custGeom>
          <a:solidFill>
            <a:srgbClr val="EEF2F5"/>
          </a:solidFill>
          <a:ln w="11643" cap="flat">
            <a:noFill/>
            <a:prstDash val="solid"/>
            <a:miter/>
          </a:ln>
        </p:spPr>
        <p:txBody>
          <a:bodyPr rtlCol="0" anchor="ctr"/>
          <a:lstStyle/>
          <a:p>
            <a:endParaRPr lang="de-DE"/>
          </a:p>
        </p:txBody>
      </p:sp>
      <p:sp>
        <p:nvSpPr>
          <p:cNvPr id="103" name="Freihandform: Form 102">
            <a:extLst>
              <a:ext uri="{FF2B5EF4-FFF2-40B4-BE49-F238E27FC236}">
                <a16:creationId xmlns:a16="http://schemas.microsoft.com/office/drawing/2014/main" id="{A133033E-1247-4F36-9A54-C51B13CBD1CE}"/>
              </a:ext>
            </a:extLst>
          </p:cNvPr>
          <p:cNvSpPr/>
          <p:nvPr/>
        </p:nvSpPr>
        <p:spPr>
          <a:xfrm>
            <a:off x="10801860" y="3722316"/>
            <a:ext cx="297138" cy="323938"/>
          </a:xfrm>
          <a:custGeom>
            <a:avLst/>
            <a:gdLst>
              <a:gd name="connsiteX0" fmla="*/ 135168 w 297138"/>
              <a:gd name="connsiteY0" fmla="*/ 323939 h 323938"/>
              <a:gd name="connsiteX1" fmla="*/ 0 w 297138"/>
              <a:gd name="connsiteY1" fmla="*/ 323939 h 323938"/>
              <a:gd name="connsiteX2" fmla="*/ 158473 w 297138"/>
              <a:gd name="connsiteY2" fmla="*/ 163135 h 323938"/>
              <a:gd name="connsiteX3" fmla="*/ 0 w 297138"/>
              <a:gd name="connsiteY3" fmla="*/ 0 h 323938"/>
              <a:gd name="connsiteX4" fmla="*/ 138664 w 297138"/>
              <a:gd name="connsiteY4" fmla="*/ 0 h 323938"/>
              <a:gd name="connsiteX5" fmla="*/ 297138 w 297138"/>
              <a:gd name="connsiteY5" fmla="*/ 159639 h 323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3938">
                <a:moveTo>
                  <a:pt x="135168" y="323939"/>
                </a:moveTo>
                <a:lnTo>
                  <a:pt x="0" y="323939"/>
                </a:lnTo>
                <a:lnTo>
                  <a:pt x="158473" y="163135"/>
                </a:lnTo>
                <a:lnTo>
                  <a:pt x="0" y="0"/>
                </a:lnTo>
                <a:lnTo>
                  <a:pt x="138664" y="0"/>
                </a:lnTo>
                <a:lnTo>
                  <a:pt x="297138" y="159639"/>
                </a:lnTo>
                <a:close/>
              </a:path>
            </a:pathLst>
          </a:custGeom>
          <a:solidFill>
            <a:srgbClr val="EEF2F5"/>
          </a:solidFill>
          <a:ln w="11643" cap="flat">
            <a:noFill/>
            <a:prstDash val="solid"/>
            <a:miter/>
          </a:ln>
        </p:spPr>
        <p:txBody>
          <a:bodyPr rtlCol="0" anchor="ctr"/>
          <a:lstStyle/>
          <a:p>
            <a:endParaRPr lang="de-DE"/>
          </a:p>
        </p:txBody>
      </p:sp>
      <p:sp>
        <p:nvSpPr>
          <p:cNvPr id="119" name="Freihandform: Form 118">
            <a:extLst>
              <a:ext uri="{FF2B5EF4-FFF2-40B4-BE49-F238E27FC236}">
                <a16:creationId xmlns:a16="http://schemas.microsoft.com/office/drawing/2014/main" id="{48E055C3-701A-4F5A-8DFA-C4FA735748CE}"/>
              </a:ext>
            </a:extLst>
          </p:cNvPr>
          <p:cNvSpPr/>
          <p:nvPr/>
        </p:nvSpPr>
        <p:spPr>
          <a:xfrm>
            <a:off x="10801860" y="4077717"/>
            <a:ext cx="297138" cy="322773"/>
          </a:xfrm>
          <a:custGeom>
            <a:avLst/>
            <a:gdLst>
              <a:gd name="connsiteX0" fmla="*/ 135168 w 297138"/>
              <a:gd name="connsiteY0" fmla="*/ 322774 h 322773"/>
              <a:gd name="connsiteX1" fmla="*/ 0 w 297138"/>
              <a:gd name="connsiteY1" fmla="*/ 322774 h 322773"/>
              <a:gd name="connsiteX2" fmla="*/ 158473 w 297138"/>
              <a:gd name="connsiteY2" fmla="*/ 163135 h 322773"/>
              <a:gd name="connsiteX3" fmla="*/ 0 w 297138"/>
              <a:gd name="connsiteY3" fmla="*/ 0 h 322773"/>
              <a:gd name="connsiteX4" fmla="*/ 138664 w 297138"/>
              <a:gd name="connsiteY4" fmla="*/ 0 h 322773"/>
              <a:gd name="connsiteX5" fmla="*/ 297138 w 297138"/>
              <a:gd name="connsiteY5" fmla="*/ 158474 h 322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2773">
                <a:moveTo>
                  <a:pt x="135168" y="322774"/>
                </a:moveTo>
                <a:lnTo>
                  <a:pt x="0" y="322774"/>
                </a:lnTo>
                <a:lnTo>
                  <a:pt x="158473" y="163135"/>
                </a:lnTo>
                <a:lnTo>
                  <a:pt x="0" y="0"/>
                </a:lnTo>
                <a:lnTo>
                  <a:pt x="138664" y="0"/>
                </a:lnTo>
                <a:lnTo>
                  <a:pt x="297138" y="158474"/>
                </a:lnTo>
                <a:close/>
              </a:path>
            </a:pathLst>
          </a:custGeom>
          <a:solidFill>
            <a:srgbClr val="EEF2F5"/>
          </a:solidFill>
          <a:ln w="11643" cap="flat">
            <a:noFill/>
            <a:prstDash val="solid"/>
            <a:miter/>
          </a:ln>
        </p:spPr>
        <p:txBody>
          <a:bodyPr rtlCol="0" anchor="ctr"/>
          <a:lstStyle/>
          <a:p>
            <a:endParaRPr lang="de-DE"/>
          </a:p>
        </p:txBody>
      </p:sp>
      <p:sp>
        <p:nvSpPr>
          <p:cNvPr id="135" name="Freihandform: Form 134">
            <a:extLst>
              <a:ext uri="{FF2B5EF4-FFF2-40B4-BE49-F238E27FC236}">
                <a16:creationId xmlns:a16="http://schemas.microsoft.com/office/drawing/2014/main" id="{BCADBC01-33BC-4B7C-9DB7-FA73F490E349}"/>
              </a:ext>
            </a:extLst>
          </p:cNvPr>
          <p:cNvSpPr/>
          <p:nvPr/>
        </p:nvSpPr>
        <p:spPr>
          <a:xfrm>
            <a:off x="10801860" y="4431952"/>
            <a:ext cx="297138" cy="323938"/>
          </a:xfrm>
          <a:custGeom>
            <a:avLst/>
            <a:gdLst>
              <a:gd name="connsiteX0" fmla="*/ 135168 w 297138"/>
              <a:gd name="connsiteY0" fmla="*/ 323939 h 323938"/>
              <a:gd name="connsiteX1" fmla="*/ 0 w 297138"/>
              <a:gd name="connsiteY1" fmla="*/ 323939 h 323938"/>
              <a:gd name="connsiteX2" fmla="*/ 158473 w 297138"/>
              <a:gd name="connsiteY2" fmla="*/ 163135 h 323938"/>
              <a:gd name="connsiteX3" fmla="*/ 0 w 297138"/>
              <a:gd name="connsiteY3" fmla="*/ 0 h 323938"/>
              <a:gd name="connsiteX4" fmla="*/ 138664 w 297138"/>
              <a:gd name="connsiteY4" fmla="*/ 0 h 323938"/>
              <a:gd name="connsiteX5" fmla="*/ 297138 w 297138"/>
              <a:gd name="connsiteY5" fmla="*/ 159639 h 323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3938">
                <a:moveTo>
                  <a:pt x="135168" y="323939"/>
                </a:moveTo>
                <a:lnTo>
                  <a:pt x="0" y="323939"/>
                </a:lnTo>
                <a:lnTo>
                  <a:pt x="158473" y="163135"/>
                </a:lnTo>
                <a:lnTo>
                  <a:pt x="0" y="0"/>
                </a:lnTo>
                <a:lnTo>
                  <a:pt x="138664" y="0"/>
                </a:lnTo>
                <a:lnTo>
                  <a:pt x="297138" y="159639"/>
                </a:lnTo>
                <a:close/>
              </a:path>
            </a:pathLst>
          </a:custGeom>
          <a:solidFill>
            <a:srgbClr val="EEF2F5"/>
          </a:solidFill>
          <a:ln w="11643" cap="flat">
            <a:noFill/>
            <a:prstDash val="solid"/>
            <a:miter/>
          </a:ln>
        </p:spPr>
        <p:txBody>
          <a:bodyPr rtlCol="0" anchor="ctr"/>
          <a:lstStyle/>
          <a:p>
            <a:endParaRPr lang="de-DE"/>
          </a:p>
        </p:txBody>
      </p:sp>
      <p:sp>
        <p:nvSpPr>
          <p:cNvPr id="152" name="Freihandform: Form 151">
            <a:extLst>
              <a:ext uri="{FF2B5EF4-FFF2-40B4-BE49-F238E27FC236}">
                <a16:creationId xmlns:a16="http://schemas.microsoft.com/office/drawing/2014/main" id="{5F12261A-EADD-41CA-AC37-DF4EAA94F5DA}"/>
              </a:ext>
            </a:extLst>
          </p:cNvPr>
          <p:cNvSpPr/>
          <p:nvPr/>
        </p:nvSpPr>
        <p:spPr>
          <a:xfrm>
            <a:off x="10801860" y="4787353"/>
            <a:ext cx="297138" cy="322773"/>
          </a:xfrm>
          <a:custGeom>
            <a:avLst/>
            <a:gdLst>
              <a:gd name="connsiteX0" fmla="*/ 135168 w 297138"/>
              <a:gd name="connsiteY0" fmla="*/ 322774 h 322773"/>
              <a:gd name="connsiteX1" fmla="*/ 0 w 297138"/>
              <a:gd name="connsiteY1" fmla="*/ 322774 h 322773"/>
              <a:gd name="connsiteX2" fmla="*/ 158473 w 297138"/>
              <a:gd name="connsiteY2" fmla="*/ 163135 h 322773"/>
              <a:gd name="connsiteX3" fmla="*/ 0 w 297138"/>
              <a:gd name="connsiteY3" fmla="*/ 0 h 322773"/>
              <a:gd name="connsiteX4" fmla="*/ 138664 w 297138"/>
              <a:gd name="connsiteY4" fmla="*/ 0 h 322773"/>
              <a:gd name="connsiteX5" fmla="*/ 297138 w 297138"/>
              <a:gd name="connsiteY5" fmla="*/ 158474 h 322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2773">
                <a:moveTo>
                  <a:pt x="135168" y="322774"/>
                </a:moveTo>
                <a:lnTo>
                  <a:pt x="0" y="322774"/>
                </a:lnTo>
                <a:lnTo>
                  <a:pt x="158473" y="163135"/>
                </a:lnTo>
                <a:lnTo>
                  <a:pt x="0" y="0"/>
                </a:lnTo>
                <a:lnTo>
                  <a:pt x="138664" y="0"/>
                </a:lnTo>
                <a:lnTo>
                  <a:pt x="297138" y="158474"/>
                </a:lnTo>
                <a:close/>
              </a:path>
            </a:pathLst>
          </a:custGeom>
          <a:solidFill>
            <a:srgbClr val="EEF2F5"/>
          </a:solidFill>
          <a:ln w="11643" cap="flat">
            <a:noFill/>
            <a:prstDash val="solid"/>
            <a:miter/>
          </a:ln>
        </p:spPr>
        <p:txBody>
          <a:bodyPr rtlCol="0" anchor="ctr"/>
          <a:lstStyle/>
          <a:p>
            <a:endParaRPr lang="de-DE"/>
          </a:p>
        </p:txBody>
      </p:sp>
      <p:sp>
        <p:nvSpPr>
          <p:cNvPr id="169" name="Freihandform: Form 168">
            <a:extLst>
              <a:ext uri="{FF2B5EF4-FFF2-40B4-BE49-F238E27FC236}">
                <a16:creationId xmlns:a16="http://schemas.microsoft.com/office/drawing/2014/main" id="{2684278A-133A-44B1-BD42-3154900841C6}"/>
              </a:ext>
            </a:extLst>
          </p:cNvPr>
          <p:cNvSpPr/>
          <p:nvPr/>
        </p:nvSpPr>
        <p:spPr>
          <a:xfrm>
            <a:off x="10801860" y="5141588"/>
            <a:ext cx="297138" cy="323938"/>
          </a:xfrm>
          <a:custGeom>
            <a:avLst/>
            <a:gdLst>
              <a:gd name="connsiteX0" fmla="*/ 135168 w 297138"/>
              <a:gd name="connsiteY0" fmla="*/ 323939 h 323938"/>
              <a:gd name="connsiteX1" fmla="*/ 0 w 297138"/>
              <a:gd name="connsiteY1" fmla="*/ 323939 h 323938"/>
              <a:gd name="connsiteX2" fmla="*/ 158473 w 297138"/>
              <a:gd name="connsiteY2" fmla="*/ 163135 h 323938"/>
              <a:gd name="connsiteX3" fmla="*/ 0 w 297138"/>
              <a:gd name="connsiteY3" fmla="*/ 0 h 323938"/>
              <a:gd name="connsiteX4" fmla="*/ 138664 w 297138"/>
              <a:gd name="connsiteY4" fmla="*/ 0 h 323938"/>
              <a:gd name="connsiteX5" fmla="*/ 297138 w 297138"/>
              <a:gd name="connsiteY5" fmla="*/ 159639 h 323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3938">
                <a:moveTo>
                  <a:pt x="135168" y="323939"/>
                </a:moveTo>
                <a:lnTo>
                  <a:pt x="0" y="323939"/>
                </a:lnTo>
                <a:lnTo>
                  <a:pt x="158473" y="163135"/>
                </a:lnTo>
                <a:lnTo>
                  <a:pt x="0" y="0"/>
                </a:lnTo>
                <a:lnTo>
                  <a:pt x="138664" y="0"/>
                </a:lnTo>
                <a:lnTo>
                  <a:pt x="297138" y="159639"/>
                </a:lnTo>
                <a:close/>
              </a:path>
            </a:pathLst>
          </a:custGeom>
          <a:solidFill>
            <a:srgbClr val="EEF2F5"/>
          </a:solidFill>
          <a:ln w="11643" cap="flat">
            <a:noFill/>
            <a:prstDash val="solid"/>
            <a:miter/>
          </a:ln>
        </p:spPr>
        <p:txBody>
          <a:bodyPr rtlCol="0" anchor="ctr"/>
          <a:lstStyle/>
          <a:p>
            <a:endParaRPr lang="de-DE"/>
          </a:p>
        </p:txBody>
      </p:sp>
      <p:sp>
        <p:nvSpPr>
          <p:cNvPr id="186" name="Freihandform: Form 185">
            <a:extLst>
              <a:ext uri="{FF2B5EF4-FFF2-40B4-BE49-F238E27FC236}">
                <a16:creationId xmlns:a16="http://schemas.microsoft.com/office/drawing/2014/main" id="{51341657-6CDA-48E4-A038-7E086040DA70}"/>
              </a:ext>
            </a:extLst>
          </p:cNvPr>
          <p:cNvSpPr/>
          <p:nvPr/>
        </p:nvSpPr>
        <p:spPr>
          <a:xfrm>
            <a:off x="10801860" y="5496989"/>
            <a:ext cx="297138" cy="322773"/>
          </a:xfrm>
          <a:custGeom>
            <a:avLst/>
            <a:gdLst>
              <a:gd name="connsiteX0" fmla="*/ 135168 w 297138"/>
              <a:gd name="connsiteY0" fmla="*/ 322773 h 322773"/>
              <a:gd name="connsiteX1" fmla="*/ 0 w 297138"/>
              <a:gd name="connsiteY1" fmla="*/ 322773 h 322773"/>
              <a:gd name="connsiteX2" fmla="*/ 158473 w 297138"/>
              <a:gd name="connsiteY2" fmla="*/ 163135 h 322773"/>
              <a:gd name="connsiteX3" fmla="*/ 0 w 297138"/>
              <a:gd name="connsiteY3" fmla="*/ 0 h 322773"/>
              <a:gd name="connsiteX4" fmla="*/ 138664 w 297138"/>
              <a:gd name="connsiteY4" fmla="*/ 0 h 322773"/>
              <a:gd name="connsiteX5" fmla="*/ 297138 w 297138"/>
              <a:gd name="connsiteY5" fmla="*/ 158473 h 322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2773">
                <a:moveTo>
                  <a:pt x="135168" y="322773"/>
                </a:moveTo>
                <a:lnTo>
                  <a:pt x="0" y="322773"/>
                </a:lnTo>
                <a:lnTo>
                  <a:pt x="158473" y="163135"/>
                </a:lnTo>
                <a:lnTo>
                  <a:pt x="0" y="0"/>
                </a:lnTo>
                <a:lnTo>
                  <a:pt x="138664" y="0"/>
                </a:lnTo>
                <a:lnTo>
                  <a:pt x="297138" y="158473"/>
                </a:lnTo>
                <a:close/>
              </a:path>
            </a:pathLst>
          </a:custGeom>
          <a:solidFill>
            <a:srgbClr val="EEF2F5"/>
          </a:solidFill>
          <a:ln w="11643" cap="flat">
            <a:noFill/>
            <a:prstDash val="solid"/>
            <a:miter/>
          </a:ln>
        </p:spPr>
        <p:txBody>
          <a:bodyPr rtlCol="0" anchor="ctr"/>
          <a:lstStyle/>
          <a:p>
            <a:endParaRPr lang="de-DE"/>
          </a:p>
        </p:txBody>
      </p:sp>
      <p:sp>
        <p:nvSpPr>
          <p:cNvPr id="54" name="Freihandform: Form 53">
            <a:extLst>
              <a:ext uri="{FF2B5EF4-FFF2-40B4-BE49-F238E27FC236}">
                <a16:creationId xmlns:a16="http://schemas.microsoft.com/office/drawing/2014/main" id="{7C58B8B7-C0D0-45C0-A524-368D9D8EC1A1}"/>
              </a:ext>
            </a:extLst>
          </p:cNvPr>
          <p:cNvSpPr/>
          <p:nvPr/>
        </p:nvSpPr>
        <p:spPr>
          <a:xfrm>
            <a:off x="10454616" y="2667767"/>
            <a:ext cx="280824" cy="304129"/>
          </a:xfrm>
          <a:custGeom>
            <a:avLst/>
            <a:gdLst>
              <a:gd name="connsiteX0" fmla="*/ 129343 w 280824"/>
              <a:gd name="connsiteY0" fmla="*/ 304130 h 304129"/>
              <a:gd name="connsiteX1" fmla="*/ 0 w 280824"/>
              <a:gd name="connsiteY1" fmla="*/ 304130 h 304129"/>
              <a:gd name="connsiteX2" fmla="*/ 150317 w 280824"/>
              <a:gd name="connsiteY2" fmla="*/ 153813 h 304129"/>
              <a:gd name="connsiteX3" fmla="*/ 0 w 280824"/>
              <a:gd name="connsiteY3" fmla="*/ 0 h 304129"/>
              <a:gd name="connsiteX4" fmla="*/ 131673 w 280824"/>
              <a:gd name="connsiteY4" fmla="*/ 0 h 304129"/>
              <a:gd name="connsiteX5" fmla="*/ 280825 w 280824"/>
              <a:gd name="connsiteY5" fmla="*/ 149152 h 304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4129">
                <a:moveTo>
                  <a:pt x="129343" y="304130"/>
                </a:moveTo>
                <a:lnTo>
                  <a:pt x="0" y="304130"/>
                </a:lnTo>
                <a:lnTo>
                  <a:pt x="150317" y="153813"/>
                </a:lnTo>
                <a:lnTo>
                  <a:pt x="0" y="0"/>
                </a:lnTo>
                <a:lnTo>
                  <a:pt x="131673" y="0"/>
                </a:lnTo>
                <a:lnTo>
                  <a:pt x="280825" y="149152"/>
                </a:lnTo>
                <a:close/>
              </a:path>
            </a:pathLst>
          </a:custGeom>
          <a:solidFill>
            <a:srgbClr val="EEF2F5"/>
          </a:solidFill>
          <a:ln w="11643" cap="flat">
            <a:noFill/>
            <a:prstDash val="solid"/>
            <a:miter/>
          </a:ln>
        </p:spPr>
        <p:txBody>
          <a:bodyPr rtlCol="0" anchor="ctr"/>
          <a:lstStyle/>
          <a:p>
            <a:endParaRPr lang="de-DE"/>
          </a:p>
        </p:txBody>
      </p:sp>
      <p:sp>
        <p:nvSpPr>
          <p:cNvPr id="70" name="Freihandform: Form 69">
            <a:extLst>
              <a:ext uri="{FF2B5EF4-FFF2-40B4-BE49-F238E27FC236}">
                <a16:creationId xmlns:a16="http://schemas.microsoft.com/office/drawing/2014/main" id="{B108D00B-F584-45AE-88D7-637B206C908C}"/>
              </a:ext>
            </a:extLst>
          </p:cNvPr>
          <p:cNvSpPr/>
          <p:nvPr/>
        </p:nvSpPr>
        <p:spPr>
          <a:xfrm>
            <a:off x="10454616" y="3022002"/>
            <a:ext cx="280824" cy="305294"/>
          </a:xfrm>
          <a:custGeom>
            <a:avLst/>
            <a:gdLst>
              <a:gd name="connsiteX0" fmla="*/ 129343 w 280824"/>
              <a:gd name="connsiteY0" fmla="*/ 305295 h 305294"/>
              <a:gd name="connsiteX1" fmla="*/ 0 w 280824"/>
              <a:gd name="connsiteY1" fmla="*/ 305295 h 305294"/>
              <a:gd name="connsiteX2" fmla="*/ 150317 w 280824"/>
              <a:gd name="connsiteY2" fmla="*/ 153813 h 305294"/>
              <a:gd name="connsiteX3" fmla="*/ 0 w 280824"/>
              <a:gd name="connsiteY3" fmla="*/ 0 h 305294"/>
              <a:gd name="connsiteX4" fmla="*/ 131673 w 280824"/>
              <a:gd name="connsiteY4" fmla="*/ 0 h 305294"/>
              <a:gd name="connsiteX5" fmla="*/ 280825 w 280824"/>
              <a:gd name="connsiteY5" fmla="*/ 150317 h 305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5294">
                <a:moveTo>
                  <a:pt x="129343" y="305295"/>
                </a:moveTo>
                <a:lnTo>
                  <a:pt x="0" y="305295"/>
                </a:lnTo>
                <a:lnTo>
                  <a:pt x="150317" y="153813"/>
                </a:lnTo>
                <a:lnTo>
                  <a:pt x="0" y="0"/>
                </a:lnTo>
                <a:lnTo>
                  <a:pt x="131673" y="0"/>
                </a:lnTo>
                <a:lnTo>
                  <a:pt x="280825" y="150317"/>
                </a:lnTo>
                <a:close/>
              </a:path>
            </a:pathLst>
          </a:custGeom>
          <a:solidFill>
            <a:srgbClr val="EEF2F5"/>
          </a:solidFill>
          <a:ln w="11643" cap="flat">
            <a:noFill/>
            <a:prstDash val="solid"/>
            <a:miter/>
          </a:ln>
        </p:spPr>
        <p:txBody>
          <a:bodyPr rtlCol="0" anchor="ctr"/>
          <a:lstStyle/>
          <a:p>
            <a:endParaRPr lang="de-DE"/>
          </a:p>
        </p:txBody>
      </p:sp>
      <p:sp>
        <p:nvSpPr>
          <p:cNvPr id="86" name="Freihandform: Form 85">
            <a:extLst>
              <a:ext uri="{FF2B5EF4-FFF2-40B4-BE49-F238E27FC236}">
                <a16:creationId xmlns:a16="http://schemas.microsoft.com/office/drawing/2014/main" id="{63D6ECD9-E964-4D15-AC74-F1865C75FC49}"/>
              </a:ext>
            </a:extLst>
          </p:cNvPr>
          <p:cNvSpPr/>
          <p:nvPr/>
        </p:nvSpPr>
        <p:spPr>
          <a:xfrm>
            <a:off x="10454616" y="3377403"/>
            <a:ext cx="280824" cy="304129"/>
          </a:xfrm>
          <a:custGeom>
            <a:avLst/>
            <a:gdLst>
              <a:gd name="connsiteX0" fmla="*/ 129343 w 280824"/>
              <a:gd name="connsiteY0" fmla="*/ 304130 h 304129"/>
              <a:gd name="connsiteX1" fmla="*/ 0 w 280824"/>
              <a:gd name="connsiteY1" fmla="*/ 304130 h 304129"/>
              <a:gd name="connsiteX2" fmla="*/ 150317 w 280824"/>
              <a:gd name="connsiteY2" fmla="*/ 153813 h 304129"/>
              <a:gd name="connsiteX3" fmla="*/ 0 w 280824"/>
              <a:gd name="connsiteY3" fmla="*/ 0 h 304129"/>
              <a:gd name="connsiteX4" fmla="*/ 131673 w 280824"/>
              <a:gd name="connsiteY4" fmla="*/ 0 h 304129"/>
              <a:gd name="connsiteX5" fmla="*/ 280825 w 280824"/>
              <a:gd name="connsiteY5" fmla="*/ 149152 h 304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4129">
                <a:moveTo>
                  <a:pt x="129343" y="304130"/>
                </a:moveTo>
                <a:lnTo>
                  <a:pt x="0" y="304130"/>
                </a:lnTo>
                <a:lnTo>
                  <a:pt x="150317" y="153813"/>
                </a:lnTo>
                <a:lnTo>
                  <a:pt x="0" y="0"/>
                </a:lnTo>
                <a:lnTo>
                  <a:pt x="131673" y="0"/>
                </a:lnTo>
                <a:lnTo>
                  <a:pt x="280825" y="149152"/>
                </a:lnTo>
                <a:close/>
              </a:path>
            </a:pathLst>
          </a:custGeom>
          <a:solidFill>
            <a:srgbClr val="EEF2F5"/>
          </a:solidFill>
          <a:ln w="11643" cap="flat">
            <a:noFill/>
            <a:prstDash val="solid"/>
            <a:miter/>
          </a:ln>
        </p:spPr>
        <p:txBody>
          <a:bodyPr rtlCol="0" anchor="ctr"/>
          <a:lstStyle/>
          <a:p>
            <a:endParaRPr lang="de-DE"/>
          </a:p>
        </p:txBody>
      </p:sp>
      <p:sp>
        <p:nvSpPr>
          <p:cNvPr id="102" name="Freihandform: Form 101">
            <a:extLst>
              <a:ext uri="{FF2B5EF4-FFF2-40B4-BE49-F238E27FC236}">
                <a16:creationId xmlns:a16="http://schemas.microsoft.com/office/drawing/2014/main" id="{1A517635-BE85-4E6F-8720-FFD3AE9C8A9E}"/>
              </a:ext>
            </a:extLst>
          </p:cNvPr>
          <p:cNvSpPr/>
          <p:nvPr/>
        </p:nvSpPr>
        <p:spPr>
          <a:xfrm>
            <a:off x="10454616" y="3731638"/>
            <a:ext cx="280824" cy="305294"/>
          </a:xfrm>
          <a:custGeom>
            <a:avLst/>
            <a:gdLst>
              <a:gd name="connsiteX0" fmla="*/ 129343 w 280824"/>
              <a:gd name="connsiteY0" fmla="*/ 305295 h 305294"/>
              <a:gd name="connsiteX1" fmla="*/ 0 w 280824"/>
              <a:gd name="connsiteY1" fmla="*/ 305295 h 305294"/>
              <a:gd name="connsiteX2" fmla="*/ 150317 w 280824"/>
              <a:gd name="connsiteY2" fmla="*/ 153813 h 305294"/>
              <a:gd name="connsiteX3" fmla="*/ 0 w 280824"/>
              <a:gd name="connsiteY3" fmla="*/ 0 h 305294"/>
              <a:gd name="connsiteX4" fmla="*/ 131673 w 280824"/>
              <a:gd name="connsiteY4" fmla="*/ 0 h 305294"/>
              <a:gd name="connsiteX5" fmla="*/ 280825 w 280824"/>
              <a:gd name="connsiteY5" fmla="*/ 150317 h 305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5294">
                <a:moveTo>
                  <a:pt x="129343" y="305295"/>
                </a:moveTo>
                <a:lnTo>
                  <a:pt x="0" y="305295"/>
                </a:lnTo>
                <a:lnTo>
                  <a:pt x="150317" y="153813"/>
                </a:lnTo>
                <a:lnTo>
                  <a:pt x="0" y="0"/>
                </a:lnTo>
                <a:lnTo>
                  <a:pt x="131673" y="0"/>
                </a:lnTo>
                <a:lnTo>
                  <a:pt x="280825" y="150317"/>
                </a:lnTo>
                <a:close/>
              </a:path>
            </a:pathLst>
          </a:custGeom>
          <a:solidFill>
            <a:srgbClr val="EEF2F5"/>
          </a:solidFill>
          <a:ln w="11643" cap="flat">
            <a:noFill/>
            <a:prstDash val="solid"/>
            <a:miter/>
          </a:ln>
        </p:spPr>
        <p:txBody>
          <a:bodyPr rtlCol="0" anchor="ctr"/>
          <a:lstStyle/>
          <a:p>
            <a:endParaRPr lang="de-DE"/>
          </a:p>
        </p:txBody>
      </p:sp>
      <p:sp>
        <p:nvSpPr>
          <p:cNvPr id="118" name="Freihandform: Form 117">
            <a:extLst>
              <a:ext uri="{FF2B5EF4-FFF2-40B4-BE49-F238E27FC236}">
                <a16:creationId xmlns:a16="http://schemas.microsoft.com/office/drawing/2014/main" id="{107FD09D-7EF2-4E43-8333-1BB41EE81E8C}"/>
              </a:ext>
            </a:extLst>
          </p:cNvPr>
          <p:cNvSpPr/>
          <p:nvPr/>
        </p:nvSpPr>
        <p:spPr>
          <a:xfrm>
            <a:off x="10454616" y="4087039"/>
            <a:ext cx="280824" cy="304129"/>
          </a:xfrm>
          <a:custGeom>
            <a:avLst/>
            <a:gdLst>
              <a:gd name="connsiteX0" fmla="*/ 129343 w 280824"/>
              <a:gd name="connsiteY0" fmla="*/ 304130 h 304129"/>
              <a:gd name="connsiteX1" fmla="*/ 0 w 280824"/>
              <a:gd name="connsiteY1" fmla="*/ 304130 h 304129"/>
              <a:gd name="connsiteX2" fmla="*/ 150317 w 280824"/>
              <a:gd name="connsiteY2" fmla="*/ 153813 h 304129"/>
              <a:gd name="connsiteX3" fmla="*/ 0 w 280824"/>
              <a:gd name="connsiteY3" fmla="*/ 0 h 304129"/>
              <a:gd name="connsiteX4" fmla="*/ 131673 w 280824"/>
              <a:gd name="connsiteY4" fmla="*/ 0 h 304129"/>
              <a:gd name="connsiteX5" fmla="*/ 280825 w 280824"/>
              <a:gd name="connsiteY5" fmla="*/ 149152 h 304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4129">
                <a:moveTo>
                  <a:pt x="129343" y="304130"/>
                </a:moveTo>
                <a:lnTo>
                  <a:pt x="0" y="304130"/>
                </a:lnTo>
                <a:lnTo>
                  <a:pt x="150317" y="153813"/>
                </a:lnTo>
                <a:lnTo>
                  <a:pt x="0" y="0"/>
                </a:lnTo>
                <a:lnTo>
                  <a:pt x="131673" y="0"/>
                </a:lnTo>
                <a:lnTo>
                  <a:pt x="280825" y="149152"/>
                </a:lnTo>
                <a:close/>
              </a:path>
            </a:pathLst>
          </a:custGeom>
          <a:solidFill>
            <a:srgbClr val="EEF2F5"/>
          </a:solidFill>
          <a:ln w="11643" cap="flat">
            <a:noFill/>
            <a:prstDash val="solid"/>
            <a:miter/>
          </a:ln>
        </p:spPr>
        <p:txBody>
          <a:bodyPr rtlCol="0" anchor="ctr"/>
          <a:lstStyle/>
          <a:p>
            <a:endParaRPr lang="de-DE"/>
          </a:p>
        </p:txBody>
      </p:sp>
      <p:sp>
        <p:nvSpPr>
          <p:cNvPr id="134" name="Freihandform: Form 133">
            <a:extLst>
              <a:ext uri="{FF2B5EF4-FFF2-40B4-BE49-F238E27FC236}">
                <a16:creationId xmlns:a16="http://schemas.microsoft.com/office/drawing/2014/main" id="{D630C772-EA61-4CD9-88F3-B5A40C068A2C}"/>
              </a:ext>
            </a:extLst>
          </p:cNvPr>
          <p:cNvSpPr/>
          <p:nvPr/>
        </p:nvSpPr>
        <p:spPr>
          <a:xfrm>
            <a:off x="10454616" y="4441274"/>
            <a:ext cx="280824" cy="305294"/>
          </a:xfrm>
          <a:custGeom>
            <a:avLst/>
            <a:gdLst>
              <a:gd name="connsiteX0" fmla="*/ 129343 w 280824"/>
              <a:gd name="connsiteY0" fmla="*/ 305295 h 305294"/>
              <a:gd name="connsiteX1" fmla="*/ 0 w 280824"/>
              <a:gd name="connsiteY1" fmla="*/ 305295 h 305294"/>
              <a:gd name="connsiteX2" fmla="*/ 150317 w 280824"/>
              <a:gd name="connsiteY2" fmla="*/ 153813 h 305294"/>
              <a:gd name="connsiteX3" fmla="*/ 0 w 280824"/>
              <a:gd name="connsiteY3" fmla="*/ 0 h 305294"/>
              <a:gd name="connsiteX4" fmla="*/ 131673 w 280824"/>
              <a:gd name="connsiteY4" fmla="*/ 0 h 305294"/>
              <a:gd name="connsiteX5" fmla="*/ 280825 w 280824"/>
              <a:gd name="connsiteY5" fmla="*/ 150317 h 305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5294">
                <a:moveTo>
                  <a:pt x="129343" y="305295"/>
                </a:moveTo>
                <a:lnTo>
                  <a:pt x="0" y="305295"/>
                </a:lnTo>
                <a:lnTo>
                  <a:pt x="150317" y="153813"/>
                </a:lnTo>
                <a:lnTo>
                  <a:pt x="0" y="0"/>
                </a:lnTo>
                <a:lnTo>
                  <a:pt x="131673" y="0"/>
                </a:lnTo>
                <a:lnTo>
                  <a:pt x="280825" y="150317"/>
                </a:lnTo>
                <a:close/>
              </a:path>
            </a:pathLst>
          </a:custGeom>
          <a:solidFill>
            <a:srgbClr val="EEF2F5"/>
          </a:solidFill>
          <a:ln w="11643" cap="flat">
            <a:noFill/>
            <a:prstDash val="solid"/>
            <a:miter/>
          </a:ln>
        </p:spPr>
        <p:txBody>
          <a:bodyPr rtlCol="0" anchor="ctr"/>
          <a:lstStyle/>
          <a:p>
            <a:endParaRPr lang="de-DE"/>
          </a:p>
        </p:txBody>
      </p:sp>
      <p:sp>
        <p:nvSpPr>
          <p:cNvPr id="151" name="Freihandform: Form 150">
            <a:extLst>
              <a:ext uri="{FF2B5EF4-FFF2-40B4-BE49-F238E27FC236}">
                <a16:creationId xmlns:a16="http://schemas.microsoft.com/office/drawing/2014/main" id="{B58FDE5A-4CC1-4494-B722-D4785E2E9E92}"/>
              </a:ext>
            </a:extLst>
          </p:cNvPr>
          <p:cNvSpPr/>
          <p:nvPr/>
        </p:nvSpPr>
        <p:spPr>
          <a:xfrm>
            <a:off x="10454616" y="4796675"/>
            <a:ext cx="280824" cy="304129"/>
          </a:xfrm>
          <a:custGeom>
            <a:avLst/>
            <a:gdLst>
              <a:gd name="connsiteX0" fmla="*/ 129343 w 280824"/>
              <a:gd name="connsiteY0" fmla="*/ 304130 h 304129"/>
              <a:gd name="connsiteX1" fmla="*/ 0 w 280824"/>
              <a:gd name="connsiteY1" fmla="*/ 304130 h 304129"/>
              <a:gd name="connsiteX2" fmla="*/ 150317 w 280824"/>
              <a:gd name="connsiteY2" fmla="*/ 153813 h 304129"/>
              <a:gd name="connsiteX3" fmla="*/ 0 w 280824"/>
              <a:gd name="connsiteY3" fmla="*/ 0 h 304129"/>
              <a:gd name="connsiteX4" fmla="*/ 131673 w 280824"/>
              <a:gd name="connsiteY4" fmla="*/ 0 h 304129"/>
              <a:gd name="connsiteX5" fmla="*/ 280825 w 280824"/>
              <a:gd name="connsiteY5" fmla="*/ 149152 h 304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4129">
                <a:moveTo>
                  <a:pt x="129343" y="304130"/>
                </a:moveTo>
                <a:lnTo>
                  <a:pt x="0" y="304130"/>
                </a:lnTo>
                <a:lnTo>
                  <a:pt x="150317" y="153813"/>
                </a:lnTo>
                <a:lnTo>
                  <a:pt x="0" y="0"/>
                </a:lnTo>
                <a:lnTo>
                  <a:pt x="131673" y="0"/>
                </a:lnTo>
                <a:lnTo>
                  <a:pt x="280825" y="149152"/>
                </a:lnTo>
                <a:close/>
              </a:path>
            </a:pathLst>
          </a:custGeom>
          <a:solidFill>
            <a:srgbClr val="EEF2F5"/>
          </a:solidFill>
          <a:ln w="11643" cap="flat">
            <a:noFill/>
            <a:prstDash val="solid"/>
            <a:miter/>
          </a:ln>
        </p:spPr>
        <p:txBody>
          <a:bodyPr rtlCol="0" anchor="ctr"/>
          <a:lstStyle/>
          <a:p>
            <a:endParaRPr lang="de-DE"/>
          </a:p>
        </p:txBody>
      </p:sp>
      <p:sp>
        <p:nvSpPr>
          <p:cNvPr id="168" name="Freihandform: Form 167">
            <a:extLst>
              <a:ext uri="{FF2B5EF4-FFF2-40B4-BE49-F238E27FC236}">
                <a16:creationId xmlns:a16="http://schemas.microsoft.com/office/drawing/2014/main" id="{0AC8C872-76B8-4053-8B0A-1A7AAE0AA7A1}"/>
              </a:ext>
            </a:extLst>
          </p:cNvPr>
          <p:cNvSpPr/>
          <p:nvPr/>
        </p:nvSpPr>
        <p:spPr>
          <a:xfrm>
            <a:off x="10454616" y="5150910"/>
            <a:ext cx="280824" cy="305295"/>
          </a:xfrm>
          <a:custGeom>
            <a:avLst/>
            <a:gdLst>
              <a:gd name="connsiteX0" fmla="*/ 129343 w 280824"/>
              <a:gd name="connsiteY0" fmla="*/ 305295 h 305295"/>
              <a:gd name="connsiteX1" fmla="*/ 0 w 280824"/>
              <a:gd name="connsiteY1" fmla="*/ 305295 h 305295"/>
              <a:gd name="connsiteX2" fmla="*/ 150317 w 280824"/>
              <a:gd name="connsiteY2" fmla="*/ 153813 h 305295"/>
              <a:gd name="connsiteX3" fmla="*/ 0 w 280824"/>
              <a:gd name="connsiteY3" fmla="*/ 0 h 305295"/>
              <a:gd name="connsiteX4" fmla="*/ 131673 w 280824"/>
              <a:gd name="connsiteY4" fmla="*/ 0 h 305295"/>
              <a:gd name="connsiteX5" fmla="*/ 280825 w 280824"/>
              <a:gd name="connsiteY5" fmla="*/ 150317 h 305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5295">
                <a:moveTo>
                  <a:pt x="129343" y="305295"/>
                </a:moveTo>
                <a:lnTo>
                  <a:pt x="0" y="305295"/>
                </a:lnTo>
                <a:lnTo>
                  <a:pt x="150317" y="153813"/>
                </a:lnTo>
                <a:lnTo>
                  <a:pt x="0" y="0"/>
                </a:lnTo>
                <a:lnTo>
                  <a:pt x="131673" y="0"/>
                </a:lnTo>
                <a:lnTo>
                  <a:pt x="280825" y="150317"/>
                </a:lnTo>
                <a:close/>
              </a:path>
            </a:pathLst>
          </a:custGeom>
          <a:solidFill>
            <a:srgbClr val="EEF2F5"/>
          </a:solidFill>
          <a:ln w="11643" cap="flat">
            <a:noFill/>
            <a:prstDash val="solid"/>
            <a:miter/>
          </a:ln>
        </p:spPr>
        <p:txBody>
          <a:bodyPr rtlCol="0" anchor="ctr"/>
          <a:lstStyle/>
          <a:p>
            <a:endParaRPr lang="de-DE"/>
          </a:p>
        </p:txBody>
      </p:sp>
      <p:sp>
        <p:nvSpPr>
          <p:cNvPr id="185" name="Freihandform: Form 184">
            <a:extLst>
              <a:ext uri="{FF2B5EF4-FFF2-40B4-BE49-F238E27FC236}">
                <a16:creationId xmlns:a16="http://schemas.microsoft.com/office/drawing/2014/main" id="{0A1E16EF-F3A1-4575-8F8F-D7FE734A79FD}"/>
              </a:ext>
            </a:extLst>
          </p:cNvPr>
          <p:cNvSpPr/>
          <p:nvPr/>
        </p:nvSpPr>
        <p:spPr>
          <a:xfrm>
            <a:off x="10454616" y="5506311"/>
            <a:ext cx="280824" cy="305295"/>
          </a:xfrm>
          <a:custGeom>
            <a:avLst/>
            <a:gdLst>
              <a:gd name="connsiteX0" fmla="*/ 129343 w 280824"/>
              <a:gd name="connsiteY0" fmla="*/ 305295 h 305295"/>
              <a:gd name="connsiteX1" fmla="*/ 0 w 280824"/>
              <a:gd name="connsiteY1" fmla="*/ 305295 h 305295"/>
              <a:gd name="connsiteX2" fmla="*/ 150317 w 280824"/>
              <a:gd name="connsiteY2" fmla="*/ 153813 h 305295"/>
              <a:gd name="connsiteX3" fmla="*/ 0 w 280824"/>
              <a:gd name="connsiteY3" fmla="*/ 0 h 305295"/>
              <a:gd name="connsiteX4" fmla="*/ 131673 w 280824"/>
              <a:gd name="connsiteY4" fmla="*/ 0 h 305295"/>
              <a:gd name="connsiteX5" fmla="*/ 280825 w 280824"/>
              <a:gd name="connsiteY5" fmla="*/ 149152 h 305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5295">
                <a:moveTo>
                  <a:pt x="129343" y="305295"/>
                </a:moveTo>
                <a:lnTo>
                  <a:pt x="0" y="305295"/>
                </a:lnTo>
                <a:lnTo>
                  <a:pt x="150317" y="153813"/>
                </a:lnTo>
                <a:lnTo>
                  <a:pt x="0" y="0"/>
                </a:lnTo>
                <a:lnTo>
                  <a:pt x="131673" y="0"/>
                </a:lnTo>
                <a:lnTo>
                  <a:pt x="280825" y="149152"/>
                </a:lnTo>
                <a:close/>
              </a:path>
            </a:pathLst>
          </a:custGeom>
          <a:solidFill>
            <a:srgbClr val="EEF2F5"/>
          </a:solidFill>
          <a:ln w="11643" cap="flat">
            <a:noFill/>
            <a:prstDash val="solid"/>
            <a:miter/>
          </a:ln>
        </p:spPr>
        <p:txBody>
          <a:bodyPr rtlCol="0" anchor="ctr"/>
          <a:lstStyle/>
          <a:p>
            <a:endParaRPr lang="de-DE"/>
          </a:p>
        </p:txBody>
      </p:sp>
      <p:sp>
        <p:nvSpPr>
          <p:cNvPr id="202" name="Freihandform: Form 201">
            <a:extLst>
              <a:ext uri="{FF2B5EF4-FFF2-40B4-BE49-F238E27FC236}">
                <a16:creationId xmlns:a16="http://schemas.microsoft.com/office/drawing/2014/main" id="{C2091647-BDE3-4497-8513-4EEAA0FFCE88}"/>
              </a:ext>
            </a:extLst>
          </p:cNvPr>
          <p:cNvSpPr/>
          <p:nvPr/>
        </p:nvSpPr>
        <p:spPr>
          <a:xfrm>
            <a:off x="10454616" y="5860546"/>
            <a:ext cx="280824" cy="305295"/>
          </a:xfrm>
          <a:custGeom>
            <a:avLst/>
            <a:gdLst>
              <a:gd name="connsiteX0" fmla="*/ 129343 w 280824"/>
              <a:gd name="connsiteY0" fmla="*/ 305295 h 305295"/>
              <a:gd name="connsiteX1" fmla="*/ 0 w 280824"/>
              <a:gd name="connsiteY1" fmla="*/ 305295 h 305295"/>
              <a:gd name="connsiteX2" fmla="*/ 150317 w 280824"/>
              <a:gd name="connsiteY2" fmla="*/ 153813 h 305295"/>
              <a:gd name="connsiteX3" fmla="*/ 0 w 280824"/>
              <a:gd name="connsiteY3" fmla="*/ 0 h 305295"/>
              <a:gd name="connsiteX4" fmla="*/ 131673 w 280824"/>
              <a:gd name="connsiteY4" fmla="*/ 0 h 305295"/>
              <a:gd name="connsiteX5" fmla="*/ 280825 w 280824"/>
              <a:gd name="connsiteY5" fmla="*/ 150317 h 305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5295">
                <a:moveTo>
                  <a:pt x="129343" y="305295"/>
                </a:moveTo>
                <a:lnTo>
                  <a:pt x="0" y="305295"/>
                </a:lnTo>
                <a:lnTo>
                  <a:pt x="150317" y="153813"/>
                </a:lnTo>
                <a:lnTo>
                  <a:pt x="0" y="0"/>
                </a:lnTo>
                <a:lnTo>
                  <a:pt x="131673" y="0"/>
                </a:lnTo>
                <a:lnTo>
                  <a:pt x="280825" y="150317"/>
                </a:lnTo>
                <a:close/>
              </a:path>
            </a:pathLst>
          </a:custGeom>
          <a:solidFill>
            <a:srgbClr val="EEF2F5"/>
          </a:solidFill>
          <a:ln w="11643" cap="flat">
            <a:noFill/>
            <a:prstDash val="solid"/>
            <a:miter/>
          </a:ln>
        </p:spPr>
        <p:txBody>
          <a:bodyPr rtlCol="0" anchor="ctr"/>
          <a:lstStyle/>
          <a:p>
            <a:endParaRPr lang="de-DE"/>
          </a:p>
        </p:txBody>
      </p:sp>
      <p:sp>
        <p:nvSpPr>
          <p:cNvPr id="37" name="Freihandform: Form 36">
            <a:extLst>
              <a:ext uri="{FF2B5EF4-FFF2-40B4-BE49-F238E27FC236}">
                <a16:creationId xmlns:a16="http://schemas.microsoft.com/office/drawing/2014/main" id="{0197700D-5496-490A-8DC7-CB8C17414912}"/>
              </a:ext>
            </a:extLst>
          </p:cNvPr>
          <p:cNvSpPr/>
          <p:nvPr/>
        </p:nvSpPr>
        <p:spPr>
          <a:xfrm>
            <a:off x="10108537" y="2321688"/>
            <a:ext cx="264511" cy="286650"/>
          </a:xfrm>
          <a:custGeom>
            <a:avLst/>
            <a:gdLst>
              <a:gd name="connsiteX0" fmla="*/ 121186 w 264511"/>
              <a:gd name="connsiteY0" fmla="*/ 286651 h 286650"/>
              <a:gd name="connsiteX1" fmla="*/ 0 w 264511"/>
              <a:gd name="connsiteY1" fmla="*/ 286651 h 286650"/>
              <a:gd name="connsiteX2" fmla="*/ 140995 w 264511"/>
              <a:gd name="connsiteY2" fmla="*/ 144491 h 286650"/>
              <a:gd name="connsiteX3" fmla="*/ 0 w 264511"/>
              <a:gd name="connsiteY3" fmla="*/ 0 h 286650"/>
              <a:gd name="connsiteX4" fmla="*/ 123516 w 264511"/>
              <a:gd name="connsiteY4" fmla="*/ 0 h 286650"/>
              <a:gd name="connsiteX5" fmla="*/ 264511 w 264511"/>
              <a:gd name="connsiteY5" fmla="*/ 140995 h 28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0">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53" name="Freihandform: Form 52">
            <a:extLst>
              <a:ext uri="{FF2B5EF4-FFF2-40B4-BE49-F238E27FC236}">
                <a16:creationId xmlns:a16="http://schemas.microsoft.com/office/drawing/2014/main" id="{76A9C547-A085-4B5D-B3A0-6461D8694E0B}"/>
              </a:ext>
            </a:extLst>
          </p:cNvPr>
          <p:cNvSpPr/>
          <p:nvPr/>
        </p:nvSpPr>
        <p:spPr>
          <a:xfrm>
            <a:off x="10108537" y="2675924"/>
            <a:ext cx="264511" cy="286650"/>
          </a:xfrm>
          <a:custGeom>
            <a:avLst/>
            <a:gdLst>
              <a:gd name="connsiteX0" fmla="*/ 121186 w 264511"/>
              <a:gd name="connsiteY0" fmla="*/ 286651 h 286650"/>
              <a:gd name="connsiteX1" fmla="*/ 0 w 264511"/>
              <a:gd name="connsiteY1" fmla="*/ 286651 h 286650"/>
              <a:gd name="connsiteX2" fmla="*/ 140995 w 264511"/>
              <a:gd name="connsiteY2" fmla="*/ 144491 h 286650"/>
              <a:gd name="connsiteX3" fmla="*/ 0 w 264511"/>
              <a:gd name="connsiteY3" fmla="*/ 0 h 286650"/>
              <a:gd name="connsiteX4" fmla="*/ 123516 w 264511"/>
              <a:gd name="connsiteY4" fmla="*/ 0 h 286650"/>
              <a:gd name="connsiteX5" fmla="*/ 264511 w 264511"/>
              <a:gd name="connsiteY5" fmla="*/ 140995 h 28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0">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69" name="Freihandform: Form 68">
            <a:extLst>
              <a:ext uri="{FF2B5EF4-FFF2-40B4-BE49-F238E27FC236}">
                <a16:creationId xmlns:a16="http://schemas.microsoft.com/office/drawing/2014/main" id="{60D25080-D9B9-4692-9129-2C6183DC021A}"/>
              </a:ext>
            </a:extLst>
          </p:cNvPr>
          <p:cNvSpPr/>
          <p:nvPr/>
        </p:nvSpPr>
        <p:spPr>
          <a:xfrm>
            <a:off x="10108537" y="3031324"/>
            <a:ext cx="264511" cy="286650"/>
          </a:xfrm>
          <a:custGeom>
            <a:avLst/>
            <a:gdLst>
              <a:gd name="connsiteX0" fmla="*/ 121186 w 264511"/>
              <a:gd name="connsiteY0" fmla="*/ 286651 h 286650"/>
              <a:gd name="connsiteX1" fmla="*/ 0 w 264511"/>
              <a:gd name="connsiteY1" fmla="*/ 286651 h 286650"/>
              <a:gd name="connsiteX2" fmla="*/ 140995 w 264511"/>
              <a:gd name="connsiteY2" fmla="*/ 144491 h 286650"/>
              <a:gd name="connsiteX3" fmla="*/ 0 w 264511"/>
              <a:gd name="connsiteY3" fmla="*/ 0 h 286650"/>
              <a:gd name="connsiteX4" fmla="*/ 123516 w 264511"/>
              <a:gd name="connsiteY4" fmla="*/ 0 h 286650"/>
              <a:gd name="connsiteX5" fmla="*/ 264511 w 264511"/>
              <a:gd name="connsiteY5" fmla="*/ 140995 h 28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0">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85" name="Freihandform: Form 84">
            <a:extLst>
              <a:ext uri="{FF2B5EF4-FFF2-40B4-BE49-F238E27FC236}">
                <a16:creationId xmlns:a16="http://schemas.microsoft.com/office/drawing/2014/main" id="{2A48DA5F-5A65-4484-99B7-06DB28D0E54D}"/>
              </a:ext>
            </a:extLst>
          </p:cNvPr>
          <p:cNvSpPr/>
          <p:nvPr/>
        </p:nvSpPr>
        <p:spPr>
          <a:xfrm>
            <a:off x="10108537" y="3385560"/>
            <a:ext cx="264511" cy="287816"/>
          </a:xfrm>
          <a:custGeom>
            <a:avLst/>
            <a:gdLst>
              <a:gd name="connsiteX0" fmla="*/ 121186 w 264511"/>
              <a:gd name="connsiteY0" fmla="*/ 287816 h 287816"/>
              <a:gd name="connsiteX1" fmla="*/ 0 w 264511"/>
              <a:gd name="connsiteY1" fmla="*/ 287816 h 287816"/>
              <a:gd name="connsiteX2" fmla="*/ 140995 w 264511"/>
              <a:gd name="connsiteY2" fmla="*/ 145656 h 287816"/>
              <a:gd name="connsiteX3" fmla="*/ 0 w 264511"/>
              <a:gd name="connsiteY3" fmla="*/ 0 h 287816"/>
              <a:gd name="connsiteX4" fmla="*/ 123516 w 264511"/>
              <a:gd name="connsiteY4" fmla="*/ 0 h 287816"/>
              <a:gd name="connsiteX5" fmla="*/ 264511 w 264511"/>
              <a:gd name="connsiteY5" fmla="*/ 140995 h 287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7816">
                <a:moveTo>
                  <a:pt x="121186" y="287816"/>
                </a:moveTo>
                <a:lnTo>
                  <a:pt x="0" y="287816"/>
                </a:lnTo>
                <a:lnTo>
                  <a:pt x="140995" y="145656"/>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101" name="Freihandform: Form 100">
            <a:extLst>
              <a:ext uri="{FF2B5EF4-FFF2-40B4-BE49-F238E27FC236}">
                <a16:creationId xmlns:a16="http://schemas.microsoft.com/office/drawing/2014/main" id="{44A6A546-5137-4093-9C59-F32093CD42C4}"/>
              </a:ext>
            </a:extLst>
          </p:cNvPr>
          <p:cNvSpPr/>
          <p:nvPr/>
        </p:nvSpPr>
        <p:spPr>
          <a:xfrm>
            <a:off x="10108537" y="3740960"/>
            <a:ext cx="264511" cy="286651"/>
          </a:xfrm>
          <a:custGeom>
            <a:avLst/>
            <a:gdLst>
              <a:gd name="connsiteX0" fmla="*/ 121186 w 264511"/>
              <a:gd name="connsiteY0" fmla="*/ 286651 h 286651"/>
              <a:gd name="connsiteX1" fmla="*/ 0 w 264511"/>
              <a:gd name="connsiteY1" fmla="*/ 286651 h 286651"/>
              <a:gd name="connsiteX2" fmla="*/ 140995 w 264511"/>
              <a:gd name="connsiteY2" fmla="*/ 144491 h 286651"/>
              <a:gd name="connsiteX3" fmla="*/ 0 w 264511"/>
              <a:gd name="connsiteY3" fmla="*/ 0 h 286651"/>
              <a:gd name="connsiteX4" fmla="*/ 123516 w 264511"/>
              <a:gd name="connsiteY4" fmla="*/ 0 h 286651"/>
              <a:gd name="connsiteX5" fmla="*/ 264511 w 264511"/>
              <a:gd name="connsiteY5" fmla="*/ 140995 h 286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1">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117" name="Freihandform: Form 116">
            <a:extLst>
              <a:ext uri="{FF2B5EF4-FFF2-40B4-BE49-F238E27FC236}">
                <a16:creationId xmlns:a16="http://schemas.microsoft.com/office/drawing/2014/main" id="{AB7F8976-AA8B-4089-A252-6E621A6336A0}"/>
              </a:ext>
            </a:extLst>
          </p:cNvPr>
          <p:cNvSpPr/>
          <p:nvPr/>
        </p:nvSpPr>
        <p:spPr>
          <a:xfrm>
            <a:off x="10108537" y="4095195"/>
            <a:ext cx="264511" cy="287816"/>
          </a:xfrm>
          <a:custGeom>
            <a:avLst/>
            <a:gdLst>
              <a:gd name="connsiteX0" fmla="*/ 121186 w 264511"/>
              <a:gd name="connsiteY0" fmla="*/ 287816 h 287816"/>
              <a:gd name="connsiteX1" fmla="*/ 0 w 264511"/>
              <a:gd name="connsiteY1" fmla="*/ 287816 h 287816"/>
              <a:gd name="connsiteX2" fmla="*/ 140995 w 264511"/>
              <a:gd name="connsiteY2" fmla="*/ 145656 h 287816"/>
              <a:gd name="connsiteX3" fmla="*/ 0 w 264511"/>
              <a:gd name="connsiteY3" fmla="*/ 0 h 287816"/>
              <a:gd name="connsiteX4" fmla="*/ 123516 w 264511"/>
              <a:gd name="connsiteY4" fmla="*/ 0 h 287816"/>
              <a:gd name="connsiteX5" fmla="*/ 264511 w 264511"/>
              <a:gd name="connsiteY5" fmla="*/ 140995 h 287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7816">
                <a:moveTo>
                  <a:pt x="121186" y="287816"/>
                </a:moveTo>
                <a:lnTo>
                  <a:pt x="0" y="287816"/>
                </a:lnTo>
                <a:lnTo>
                  <a:pt x="140995" y="145656"/>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133" name="Freihandform: Form 132">
            <a:extLst>
              <a:ext uri="{FF2B5EF4-FFF2-40B4-BE49-F238E27FC236}">
                <a16:creationId xmlns:a16="http://schemas.microsoft.com/office/drawing/2014/main" id="{83F4FE5F-E30B-4C91-B22F-C67DA72E3DB6}"/>
              </a:ext>
            </a:extLst>
          </p:cNvPr>
          <p:cNvSpPr/>
          <p:nvPr/>
        </p:nvSpPr>
        <p:spPr>
          <a:xfrm>
            <a:off x="10108537" y="4450596"/>
            <a:ext cx="264511" cy="286651"/>
          </a:xfrm>
          <a:custGeom>
            <a:avLst/>
            <a:gdLst>
              <a:gd name="connsiteX0" fmla="*/ 121186 w 264511"/>
              <a:gd name="connsiteY0" fmla="*/ 286651 h 286651"/>
              <a:gd name="connsiteX1" fmla="*/ 0 w 264511"/>
              <a:gd name="connsiteY1" fmla="*/ 286651 h 286651"/>
              <a:gd name="connsiteX2" fmla="*/ 140995 w 264511"/>
              <a:gd name="connsiteY2" fmla="*/ 144491 h 286651"/>
              <a:gd name="connsiteX3" fmla="*/ 0 w 264511"/>
              <a:gd name="connsiteY3" fmla="*/ 0 h 286651"/>
              <a:gd name="connsiteX4" fmla="*/ 123516 w 264511"/>
              <a:gd name="connsiteY4" fmla="*/ 0 h 286651"/>
              <a:gd name="connsiteX5" fmla="*/ 264511 w 264511"/>
              <a:gd name="connsiteY5" fmla="*/ 140995 h 286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1">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150" name="Freihandform: Form 149">
            <a:extLst>
              <a:ext uri="{FF2B5EF4-FFF2-40B4-BE49-F238E27FC236}">
                <a16:creationId xmlns:a16="http://schemas.microsoft.com/office/drawing/2014/main" id="{A0F76902-2111-4900-A1DA-A0A919DABDFD}"/>
              </a:ext>
            </a:extLst>
          </p:cNvPr>
          <p:cNvSpPr/>
          <p:nvPr/>
        </p:nvSpPr>
        <p:spPr>
          <a:xfrm>
            <a:off x="10108537" y="4805997"/>
            <a:ext cx="264511" cy="286651"/>
          </a:xfrm>
          <a:custGeom>
            <a:avLst/>
            <a:gdLst>
              <a:gd name="connsiteX0" fmla="*/ 121186 w 264511"/>
              <a:gd name="connsiteY0" fmla="*/ 286651 h 286651"/>
              <a:gd name="connsiteX1" fmla="*/ 0 w 264511"/>
              <a:gd name="connsiteY1" fmla="*/ 286651 h 286651"/>
              <a:gd name="connsiteX2" fmla="*/ 140995 w 264511"/>
              <a:gd name="connsiteY2" fmla="*/ 144491 h 286651"/>
              <a:gd name="connsiteX3" fmla="*/ 0 w 264511"/>
              <a:gd name="connsiteY3" fmla="*/ 0 h 286651"/>
              <a:gd name="connsiteX4" fmla="*/ 123516 w 264511"/>
              <a:gd name="connsiteY4" fmla="*/ 0 h 286651"/>
              <a:gd name="connsiteX5" fmla="*/ 264511 w 264511"/>
              <a:gd name="connsiteY5" fmla="*/ 139830 h 286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1">
                <a:moveTo>
                  <a:pt x="121186" y="286651"/>
                </a:moveTo>
                <a:lnTo>
                  <a:pt x="0" y="286651"/>
                </a:lnTo>
                <a:lnTo>
                  <a:pt x="140995" y="144491"/>
                </a:lnTo>
                <a:lnTo>
                  <a:pt x="0" y="0"/>
                </a:lnTo>
                <a:lnTo>
                  <a:pt x="123516" y="0"/>
                </a:lnTo>
                <a:lnTo>
                  <a:pt x="264511" y="139830"/>
                </a:lnTo>
                <a:close/>
              </a:path>
            </a:pathLst>
          </a:custGeom>
          <a:solidFill>
            <a:srgbClr val="EEF2F5"/>
          </a:solidFill>
          <a:ln w="11643" cap="flat">
            <a:noFill/>
            <a:prstDash val="solid"/>
            <a:miter/>
          </a:ln>
        </p:spPr>
        <p:txBody>
          <a:bodyPr rtlCol="0" anchor="ctr"/>
          <a:lstStyle/>
          <a:p>
            <a:endParaRPr lang="de-DE"/>
          </a:p>
        </p:txBody>
      </p:sp>
      <p:sp>
        <p:nvSpPr>
          <p:cNvPr id="167" name="Freihandform: Form 166">
            <a:extLst>
              <a:ext uri="{FF2B5EF4-FFF2-40B4-BE49-F238E27FC236}">
                <a16:creationId xmlns:a16="http://schemas.microsoft.com/office/drawing/2014/main" id="{9C3904EA-5E6B-4F77-8FB0-BFFAE9C65946}"/>
              </a:ext>
            </a:extLst>
          </p:cNvPr>
          <p:cNvSpPr/>
          <p:nvPr/>
        </p:nvSpPr>
        <p:spPr>
          <a:xfrm>
            <a:off x="10108537" y="5160232"/>
            <a:ext cx="264511" cy="286651"/>
          </a:xfrm>
          <a:custGeom>
            <a:avLst/>
            <a:gdLst>
              <a:gd name="connsiteX0" fmla="*/ 121186 w 264511"/>
              <a:gd name="connsiteY0" fmla="*/ 286651 h 286651"/>
              <a:gd name="connsiteX1" fmla="*/ 0 w 264511"/>
              <a:gd name="connsiteY1" fmla="*/ 286651 h 286651"/>
              <a:gd name="connsiteX2" fmla="*/ 140995 w 264511"/>
              <a:gd name="connsiteY2" fmla="*/ 144491 h 286651"/>
              <a:gd name="connsiteX3" fmla="*/ 0 w 264511"/>
              <a:gd name="connsiteY3" fmla="*/ 0 h 286651"/>
              <a:gd name="connsiteX4" fmla="*/ 123516 w 264511"/>
              <a:gd name="connsiteY4" fmla="*/ 0 h 286651"/>
              <a:gd name="connsiteX5" fmla="*/ 264511 w 264511"/>
              <a:gd name="connsiteY5" fmla="*/ 140995 h 286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1">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184" name="Freihandform: Form 183">
            <a:extLst>
              <a:ext uri="{FF2B5EF4-FFF2-40B4-BE49-F238E27FC236}">
                <a16:creationId xmlns:a16="http://schemas.microsoft.com/office/drawing/2014/main" id="{99280CAD-3553-4542-850A-90F0AD935DFE}"/>
              </a:ext>
            </a:extLst>
          </p:cNvPr>
          <p:cNvSpPr/>
          <p:nvPr/>
        </p:nvSpPr>
        <p:spPr>
          <a:xfrm>
            <a:off x="10108537" y="5515633"/>
            <a:ext cx="264511" cy="286651"/>
          </a:xfrm>
          <a:custGeom>
            <a:avLst/>
            <a:gdLst>
              <a:gd name="connsiteX0" fmla="*/ 121186 w 264511"/>
              <a:gd name="connsiteY0" fmla="*/ 286651 h 286651"/>
              <a:gd name="connsiteX1" fmla="*/ 0 w 264511"/>
              <a:gd name="connsiteY1" fmla="*/ 286651 h 286651"/>
              <a:gd name="connsiteX2" fmla="*/ 140995 w 264511"/>
              <a:gd name="connsiteY2" fmla="*/ 144491 h 286651"/>
              <a:gd name="connsiteX3" fmla="*/ 0 w 264511"/>
              <a:gd name="connsiteY3" fmla="*/ 0 h 286651"/>
              <a:gd name="connsiteX4" fmla="*/ 123516 w 264511"/>
              <a:gd name="connsiteY4" fmla="*/ 0 h 286651"/>
              <a:gd name="connsiteX5" fmla="*/ 264511 w 264511"/>
              <a:gd name="connsiteY5" fmla="*/ 140995 h 286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1">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201" name="Freihandform: Form 200">
            <a:extLst>
              <a:ext uri="{FF2B5EF4-FFF2-40B4-BE49-F238E27FC236}">
                <a16:creationId xmlns:a16="http://schemas.microsoft.com/office/drawing/2014/main" id="{E8A013AF-F105-4965-95B7-AC96F227E824}"/>
              </a:ext>
            </a:extLst>
          </p:cNvPr>
          <p:cNvSpPr/>
          <p:nvPr/>
        </p:nvSpPr>
        <p:spPr>
          <a:xfrm>
            <a:off x="10108537" y="5869868"/>
            <a:ext cx="264511" cy="286650"/>
          </a:xfrm>
          <a:custGeom>
            <a:avLst/>
            <a:gdLst>
              <a:gd name="connsiteX0" fmla="*/ 121186 w 264511"/>
              <a:gd name="connsiteY0" fmla="*/ 286651 h 286650"/>
              <a:gd name="connsiteX1" fmla="*/ 0 w 264511"/>
              <a:gd name="connsiteY1" fmla="*/ 286651 h 286650"/>
              <a:gd name="connsiteX2" fmla="*/ 140995 w 264511"/>
              <a:gd name="connsiteY2" fmla="*/ 144491 h 286650"/>
              <a:gd name="connsiteX3" fmla="*/ 0 w 264511"/>
              <a:gd name="connsiteY3" fmla="*/ 0 h 286650"/>
              <a:gd name="connsiteX4" fmla="*/ 123516 w 264511"/>
              <a:gd name="connsiteY4" fmla="*/ 0 h 286650"/>
              <a:gd name="connsiteX5" fmla="*/ 264511 w 264511"/>
              <a:gd name="connsiteY5" fmla="*/ 140995 h 28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0">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218" name="Freihandform: Form 217">
            <a:extLst>
              <a:ext uri="{FF2B5EF4-FFF2-40B4-BE49-F238E27FC236}">
                <a16:creationId xmlns:a16="http://schemas.microsoft.com/office/drawing/2014/main" id="{7F42F650-844E-4C84-9059-2EC117988F05}"/>
              </a:ext>
            </a:extLst>
          </p:cNvPr>
          <p:cNvSpPr/>
          <p:nvPr/>
        </p:nvSpPr>
        <p:spPr>
          <a:xfrm>
            <a:off x="10108537" y="6225269"/>
            <a:ext cx="264511" cy="286650"/>
          </a:xfrm>
          <a:custGeom>
            <a:avLst/>
            <a:gdLst>
              <a:gd name="connsiteX0" fmla="*/ 121186 w 264511"/>
              <a:gd name="connsiteY0" fmla="*/ 286651 h 286650"/>
              <a:gd name="connsiteX1" fmla="*/ 0 w 264511"/>
              <a:gd name="connsiteY1" fmla="*/ 286651 h 286650"/>
              <a:gd name="connsiteX2" fmla="*/ 140995 w 264511"/>
              <a:gd name="connsiteY2" fmla="*/ 144491 h 286650"/>
              <a:gd name="connsiteX3" fmla="*/ 0 w 264511"/>
              <a:gd name="connsiteY3" fmla="*/ 0 h 286650"/>
              <a:gd name="connsiteX4" fmla="*/ 123516 w 264511"/>
              <a:gd name="connsiteY4" fmla="*/ 0 h 286650"/>
              <a:gd name="connsiteX5" fmla="*/ 264511 w 264511"/>
              <a:gd name="connsiteY5" fmla="*/ 140995 h 28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0">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5" name="Freihandform: Form 4">
            <a:extLst>
              <a:ext uri="{FF2B5EF4-FFF2-40B4-BE49-F238E27FC236}">
                <a16:creationId xmlns:a16="http://schemas.microsoft.com/office/drawing/2014/main" id="{37FF9268-487B-457F-B2C7-1E1C142BF17B}"/>
              </a:ext>
            </a:extLst>
          </p:cNvPr>
          <p:cNvSpPr/>
          <p:nvPr/>
        </p:nvSpPr>
        <p:spPr>
          <a:xfrm>
            <a:off x="4909201" y="2101456"/>
            <a:ext cx="16313" cy="17478"/>
          </a:xfrm>
          <a:custGeom>
            <a:avLst/>
            <a:gdLst>
              <a:gd name="connsiteX0" fmla="*/ 8157 w 16313"/>
              <a:gd name="connsiteY0" fmla="*/ 17479 h 17478"/>
              <a:gd name="connsiteX1" fmla="*/ 0 w 16313"/>
              <a:gd name="connsiteY1" fmla="*/ 17479 h 17478"/>
              <a:gd name="connsiteX2" fmla="*/ 9322 w 16313"/>
              <a:gd name="connsiteY2" fmla="*/ 8157 h 17478"/>
              <a:gd name="connsiteX3" fmla="*/ 0 w 16313"/>
              <a:gd name="connsiteY3" fmla="*/ 0 h 17478"/>
              <a:gd name="connsiteX4" fmla="*/ 8157 w 16313"/>
              <a:gd name="connsiteY4" fmla="*/ 0 h 17478"/>
              <a:gd name="connsiteX5" fmla="*/ 16313 w 16313"/>
              <a:gd name="connsiteY5" fmla="*/ 8157 h 17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13" h="17478">
                <a:moveTo>
                  <a:pt x="8157" y="17479"/>
                </a:moveTo>
                <a:lnTo>
                  <a:pt x="0" y="17479"/>
                </a:lnTo>
                <a:lnTo>
                  <a:pt x="9322" y="8157"/>
                </a:lnTo>
                <a:lnTo>
                  <a:pt x="0" y="0"/>
                </a:lnTo>
                <a:lnTo>
                  <a:pt x="8157" y="0"/>
                </a:lnTo>
                <a:lnTo>
                  <a:pt x="16313" y="8157"/>
                </a:lnTo>
                <a:close/>
              </a:path>
            </a:pathLst>
          </a:custGeom>
          <a:solidFill>
            <a:srgbClr val="EEF2F5"/>
          </a:solidFill>
          <a:ln w="11643" cap="flat">
            <a:noFill/>
            <a:prstDash val="solid"/>
            <a:miter/>
          </a:ln>
        </p:spPr>
        <p:txBody>
          <a:bodyPr rtlCol="0" anchor="ctr"/>
          <a:lstStyle/>
          <a:p>
            <a:endParaRPr lang="de-DE"/>
          </a:p>
        </p:txBody>
      </p:sp>
      <p:sp>
        <p:nvSpPr>
          <p:cNvPr id="22" name="Freihandform: Form 21">
            <a:extLst>
              <a:ext uri="{FF2B5EF4-FFF2-40B4-BE49-F238E27FC236}">
                <a16:creationId xmlns:a16="http://schemas.microsoft.com/office/drawing/2014/main" id="{67427BC4-9149-4C28-A507-8AD1464E8243}"/>
              </a:ext>
            </a:extLst>
          </p:cNvPr>
          <p:cNvSpPr/>
          <p:nvPr/>
        </p:nvSpPr>
        <p:spPr>
          <a:xfrm>
            <a:off x="4909201" y="2455692"/>
            <a:ext cx="16313" cy="18643"/>
          </a:xfrm>
          <a:custGeom>
            <a:avLst/>
            <a:gdLst>
              <a:gd name="connsiteX0" fmla="*/ 8157 w 16313"/>
              <a:gd name="connsiteY0" fmla="*/ 18644 h 18643"/>
              <a:gd name="connsiteX1" fmla="*/ 0 w 16313"/>
              <a:gd name="connsiteY1" fmla="*/ 18644 h 18643"/>
              <a:gd name="connsiteX2" fmla="*/ 9322 w 16313"/>
              <a:gd name="connsiteY2" fmla="*/ 9322 h 18643"/>
              <a:gd name="connsiteX3" fmla="*/ 0 w 16313"/>
              <a:gd name="connsiteY3" fmla="*/ 0 h 18643"/>
              <a:gd name="connsiteX4" fmla="*/ 8157 w 16313"/>
              <a:gd name="connsiteY4" fmla="*/ 0 h 18643"/>
              <a:gd name="connsiteX5" fmla="*/ 16313 w 16313"/>
              <a:gd name="connsiteY5" fmla="*/ 9322 h 18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13" h="18643">
                <a:moveTo>
                  <a:pt x="8157" y="18644"/>
                </a:moveTo>
                <a:lnTo>
                  <a:pt x="0" y="18644"/>
                </a:lnTo>
                <a:lnTo>
                  <a:pt x="9322" y="9322"/>
                </a:lnTo>
                <a:lnTo>
                  <a:pt x="0" y="0"/>
                </a:lnTo>
                <a:lnTo>
                  <a:pt x="8157" y="0"/>
                </a:lnTo>
                <a:lnTo>
                  <a:pt x="16313" y="9322"/>
                </a:lnTo>
                <a:close/>
              </a:path>
            </a:pathLst>
          </a:custGeom>
          <a:solidFill>
            <a:srgbClr val="EEF2F5"/>
          </a:solidFill>
          <a:ln w="11643" cap="flat">
            <a:noFill/>
            <a:prstDash val="solid"/>
            <a:miter/>
          </a:ln>
        </p:spPr>
        <p:txBody>
          <a:bodyPr rtlCol="0" anchor="ctr"/>
          <a:lstStyle/>
          <a:p>
            <a:endParaRPr lang="de-DE"/>
          </a:p>
        </p:txBody>
      </p:sp>
      <p:sp>
        <p:nvSpPr>
          <p:cNvPr id="38" name="Freihandform: Form 37">
            <a:extLst>
              <a:ext uri="{FF2B5EF4-FFF2-40B4-BE49-F238E27FC236}">
                <a16:creationId xmlns:a16="http://schemas.microsoft.com/office/drawing/2014/main" id="{86AC6BBB-1E60-4206-8581-A22FBBC2FD4E}"/>
              </a:ext>
            </a:extLst>
          </p:cNvPr>
          <p:cNvSpPr/>
          <p:nvPr/>
        </p:nvSpPr>
        <p:spPr>
          <a:xfrm>
            <a:off x="4909201" y="2811092"/>
            <a:ext cx="16313" cy="17478"/>
          </a:xfrm>
          <a:custGeom>
            <a:avLst/>
            <a:gdLst>
              <a:gd name="connsiteX0" fmla="*/ 8157 w 16313"/>
              <a:gd name="connsiteY0" fmla="*/ 17479 h 17478"/>
              <a:gd name="connsiteX1" fmla="*/ 0 w 16313"/>
              <a:gd name="connsiteY1" fmla="*/ 17479 h 17478"/>
              <a:gd name="connsiteX2" fmla="*/ 9322 w 16313"/>
              <a:gd name="connsiteY2" fmla="*/ 8157 h 17478"/>
              <a:gd name="connsiteX3" fmla="*/ 0 w 16313"/>
              <a:gd name="connsiteY3" fmla="*/ 0 h 17478"/>
              <a:gd name="connsiteX4" fmla="*/ 8157 w 16313"/>
              <a:gd name="connsiteY4" fmla="*/ 0 h 17478"/>
              <a:gd name="connsiteX5" fmla="*/ 16313 w 16313"/>
              <a:gd name="connsiteY5" fmla="*/ 8157 h 17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13" h="17478">
                <a:moveTo>
                  <a:pt x="8157" y="17479"/>
                </a:moveTo>
                <a:lnTo>
                  <a:pt x="0" y="17479"/>
                </a:lnTo>
                <a:lnTo>
                  <a:pt x="9322" y="8157"/>
                </a:lnTo>
                <a:lnTo>
                  <a:pt x="0" y="0"/>
                </a:lnTo>
                <a:lnTo>
                  <a:pt x="8157" y="0"/>
                </a:lnTo>
                <a:lnTo>
                  <a:pt x="16313" y="8157"/>
                </a:lnTo>
                <a:close/>
              </a:path>
            </a:pathLst>
          </a:custGeom>
          <a:solidFill>
            <a:srgbClr val="EEF2F5"/>
          </a:solidFill>
          <a:ln w="11643" cap="flat">
            <a:noFill/>
            <a:prstDash val="solid"/>
            <a:miter/>
          </a:ln>
        </p:spPr>
        <p:txBody>
          <a:bodyPr rtlCol="0" anchor="ctr"/>
          <a:lstStyle/>
          <a:p>
            <a:endParaRPr lang="de-DE"/>
          </a:p>
        </p:txBody>
      </p:sp>
      <p:sp>
        <p:nvSpPr>
          <p:cNvPr id="203" name="Freihandform: Form 202">
            <a:extLst>
              <a:ext uri="{FF2B5EF4-FFF2-40B4-BE49-F238E27FC236}">
                <a16:creationId xmlns:a16="http://schemas.microsoft.com/office/drawing/2014/main" id="{A954D734-5BDB-4F7E-8A7B-09593EE1C30A}"/>
              </a:ext>
            </a:extLst>
          </p:cNvPr>
          <p:cNvSpPr/>
          <p:nvPr/>
        </p:nvSpPr>
        <p:spPr>
          <a:xfrm>
            <a:off x="4909201" y="6359273"/>
            <a:ext cx="16313" cy="18643"/>
          </a:xfrm>
          <a:custGeom>
            <a:avLst/>
            <a:gdLst>
              <a:gd name="connsiteX0" fmla="*/ 8157 w 16313"/>
              <a:gd name="connsiteY0" fmla="*/ 18644 h 18643"/>
              <a:gd name="connsiteX1" fmla="*/ 0 w 16313"/>
              <a:gd name="connsiteY1" fmla="*/ 18644 h 18643"/>
              <a:gd name="connsiteX2" fmla="*/ 9322 w 16313"/>
              <a:gd name="connsiteY2" fmla="*/ 9322 h 18643"/>
              <a:gd name="connsiteX3" fmla="*/ 0 w 16313"/>
              <a:gd name="connsiteY3" fmla="*/ 0 h 18643"/>
              <a:gd name="connsiteX4" fmla="*/ 8157 w 16313"/>
              <a:gd name="connsiteY4" fmla="*/ 0 h 18643"/>
              <a:gd name="connsiteX5" fmla="*/ 16313 w 16313"/>
              <a:gd name="connsiteY5" fmla="*/ 9322 h 18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13" h="18643">
                <a:moveTo>
                  <a:pt x="8157" y="18644"/>
                </a:moveTo>
                <a:lnTo>
                  <a:pt x="0" y="18644"/>
                </a:lnTo>
                <a:lnTo>
                  <a:pt x="9322" y="9322"/>
                </a:lnTo>
                <a:lnTo>
                  <a:pt x="0" y="0"/>
                </a:lnTo>
                <a:lnTo>
                  <a:pt x="8157" y="0"/>
                </a:lnTo>
                <a:lnTo>
                  <a:pt x="16313" y="9322"/>
                </a:lnTo>
                <a:close/>
              </a:path>
            </a:pathLst>
          </a:custGeom>
          <a:solidFill>
            <a:srgbClr val="EEF2F5"/>
          </a:solidFill>
          <a:ln w="11643" cap="flat">
            <a:noFill/>
            <a:prstDash val="solid"/>
            <a:miter/>
          </a:ln>
        </p:spPr>
        <p:txBody>
          <a:bodyPr rtlCol="0" anchor="ctr"/>
          <a:lstStyle/>
          <a:p>
            <a:endParaRPr lang="de-DE"/>
          </a:p>
        </p:txBody>
      </p:sp>
      <p:sp>
        <p:nvSpPr>
          <p:cNvPr id="219" name="Freihandform: Form 218">
            <a:extLst>
              <a:ext uri="{FF2B5EF4-FFF2-40B4-BE49-F238E27FC236}">
                <a16:creationId xmlns:a16="http://schemas.microsoft.com/office/drawing/2014/main" id="{11ACA275-0A27-41DD-8AD0-A37EF069B3DC}"/>
              </a:ext>
            </a:extLst>
          </p:cNvPr>
          <p:cNvSpPr/>
          <p:nvPr/>
        </p:nvSpPr>
        <p:spPr>
          <a:xfrm>
            <a:off x="4909201" y="6714673"/>
            <a:ext cx="16313" cy="17478"/>
          </a:xfrm>
          <a:custGeom>
            <a:avLst/>
            <a:gdLst>
              <a:gd name="connsiteX0" fmla="*/ 8157 w 16313"/>
              <a:gd name="connsiteY0" fmla="*/ 17479 h 17478"/>
              <a:gd name="connsiteX1" fmla="*/ 0 w 16313"/>
              <a:gd name="connsiteY1" fmla="*/ 17479 h 17478"/>
              <a:gd name="connsiteX2" fmla="*/ 9322 w 16313"/>
              <a:gd name="connsiteY2" fmla="*/ 8157 h 17478"/>
              <a:gd name="connsiteX3" fmla="*/ 0 w 16313"/>
              <a:gd name="connsiteY3" fmla="*/ 0 h 17478"/>
              <a:gd name="connsiteX4" fmla="*/ 8157 w 16313"/>
              <a:gd name="connsiteY4" fmla="*/ 0 h 17478"/>
              <a:gd name="connsiteX5" fmla="*/ 16313 w 16313"/>
              <a:gd name="connsiteY5" fmla="*/ 8157 h 17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13" h="17478">
                <a:moveTo>
                  <a:pt x="8157" y="17479"/>
                </a:moveTo>
                <a:lnTo>
                  <a:pt x="0" y="17479"/>
                </a:lnTo>
                <a:lnTo>
                  <a:pt x="9322" y="8157"/>
                </a:lnTo>
                <a:lnTo>
                  <a:pt x="0" y="0"/>
                </a:lnTo>
                <a:lnTo>
                  <a:pt x="8157" y="0"/>
                </a:lnTo>
                <a:lnTo>
                  <a:pt x="16313" y="8157"/>
                </a:lnTo>
                <a:close/>
              </a:path>
            </a:pathLst>
          </a:custGeom>
          <a:solidFill>
            <a:srgbClr val="EEF2F5"/>
          </a:solidFill>
          <a:ln w="11643" cap="flat">
            <a:noFill/>
            <a:prstDash val="solid"/>
            <a:miter/>
          </a:ln>
        </p:spPr>
        <p:txBody>
          <a:bodyPr rtlCol="0" anchor="ctr"/>
          <a:lstStyle/>
          <a:p>
            <a:endParaRPr lang="de-DE"/>
          </a:p>
        </p:txBody>
      </p:sp>
      <p:sp>
        <p:nvSpPr>
          <p:cNvPr id="6" name="Freihandform: Form 5">
            <a:extLst>
              <a:ext uri="{FF2B5EF4-FFF2-40B4-BE49-F238E27FC236}">
                <a16:creationId xmlns:a16="http://schemas.microsoft.com/office/drawing/2014/main" id="{8A4E51D5-9A40-4C2C-A7AF-1757E2BA77A0}"/>
              </a:ext>
            </a:extLst>
          </p:cNvPr>
          <p:cNvSpPr/>
          <p:nvPr/>
        </p:nvSpPr>
        <p:spPr>
          <a:xfrm>
            <a:off x="5255279" y="2092134"/>
            <a:ext cx="33792" cy="36122"/>
          </a:xfrm>
          <a:custGeom>
            <a:avLst/>
            <a:gdLst>
              <a:gd name="connsiteX0" fmla="*/ 15148 w 33792"/>
              <a:gd name="connsiteY0" fmla="*/ 36123 h 36122"/>
              <a:gd name="connsiteX1" fmla="*/ 0 w 33792"/>
              <a:gd name="connsiteY1" fmla="*/ 36123 h 36122"/>
              <a:gd name="connsiteX2" fmla="*/ 18644 w 33792"/>
              <a:gd name="connsiteY2" fmla="*/ 17479 h 36122"/>
              <a:gd name="connsiteX3" fmla="*/ 0 w 33792"/>
              <a:gd name="connsiteY3" fmla="*/ 0 h 36122"/>
              <a:gd name="connsiteX4" fmla="*/ 16313 w 33792"/>
              <a:gd name="connsiteY4" fmla="*/ 0 h 36122"/>
              <a:gd name="connsiteX5" fmla="*/ 33792 w 33792"/>
              <a:gd name="connsiteY5" fmla="*/ 17479 h 3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92" h="36122">
                <a:moveTo>
                  <a:pt x="15148" y="36123"/>
                </a:moveTo>
                <a:lnTo>
                  <a:pt x="0" y="36123"/>
                </a:lnTo>
                <a:lnTo>
                  <a:pt x="18644" y="17479"/>
                </a:lnTo>
                <a:lnTo>
                  <a:pt x="0" y="0"/>
                </a:lnTo>
                <a:lnTo>
                  <a:pt x="16313" y="0"/>
                </a:lnTo>
                <a:lnTo>
                  <a:pt x="33792" y="17479"/>
                </a:lnTo>
                <a:close/>
              </a:path>
            </a:pathLst>
          </a:custGeom>
          <a:solidFill>
            <a:srgbClr val="EEF2F5"/>
          </a:solidFill>
          <a:ln w="11643" cap="flat">
            <a:noFill/>
            <a:prstDash val="solid"/>
            <a:miter/>
          </a:ln>
        </p:spPr>
        <p:txBody>
          <a:bodyPr rtlCol="0" anchor="ctr"/>
          <a:lstStyle/>
          <a:p>
            <a:endParaRPr lang="de-DE"/>
          </a:p>
        </p:txBody>
      </p:sp>
      <p:sp>
        <p:nvSpPr>
          <p:cNvPr id="23" name="Freihandform: Form 22">
            <a:extLst>
              <a:ext uri="{FF2B5EF4-FFF2-40B4-BE49-F238E27FC236}">
                <a16:creationId xmlns:a16="http://schemas.microsoft.com/office/drawing/2014/main" id="{EFF8D231-0526-443F-B572-FBC0C0A7C2F2}"/>
              </a:ext>
            </a:extLst>
          </p:cNvPr>
          <p:cNvSpPr/>
          <p:nvPr/>
        </p:nvSpPr>
        <p:spPr>
          <a:xfrm>
            <a:off x="5255279" y="2446370"/>
            <a:ext cx="33792" cy="36122"/>
          </a:xfrm>
          <a:custGeom>
            <a:avLst/>
            <a:gdLst>
              <a:gd name="connsiteX0" fmla="*/ 15148 w 33792"/>
              <a:gd name="connsiteY0" fmla="*/ 36123 h 36122"/>
              <a:gd name="connsiteX1" fmla="*/ 0 w 33792"/>
              <a:gd name="connsiteY1" fmla="*/ 36123 h 36122"/>
              <a:gd name="connsiteX2" fmla="*/ 18644 w 33792"/>
              <a:gd name="connsiteY2" fmla="*/ 18644 h 36122"/>
              <a:gd name="connsiteX3" fmla="*/ 0 w 33792"/>
              <a:gd name="connsiteY3" fmla="*/ 0 h 36122"/>
              <a:gd name="connsiteX4" fmla="*/ 16313 w 33792"/>
              <a:gd name="connsiteY4" fmla="*/ 0 h 36122"/>
              <a:gd name="connsiteX5" fmla="*/ 33792 w 33792"/>
              <a:gd name="connsiteY5" fmla="*/ 18644 h 3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92" h="36122">
                <a:moveTo>
                  <a:pt x="15148" y="36123"/>
                </a:moveTo>
                <a:lnTo>
                  <a:pt x="0" y="36123"/>
                </a:lnTo>
                <a:lnTo>
                  <a:pt x="18644" y="18644"/>
                </a:lnTo>
                <a:lnTo>
                  <a:pt x="0" y="0"/>
                </a:lnTo>
                <a:lnTo>
                  <a:pt x="16313" y="0"/>
                </a:lnTo>
                <a:lnTo>
                  <a:pt x="33792" y="18644"/>
                </a:lnTo>
                <a:close/>
              </a:path>
            </a:pathLst>
          </a:custGeom>
          <a:solidFill>
            <a:srgbClr val="EEF2F5"/>
          </a:solidFill>
          <a:ln w="11643" cap="flat">
            <a:noFill/>
            <a:prstDash val="solid"/>
            <a:miter/>
          </a:ln>
        </p:spPr>
        <p:txBody>
          <a:bodyPr rtlCol="0" anchor="ctr"/>
          <a:lstStyle/>
          <a:p>
            <a:endParaRPr lang="de-DE"/>
          </a:p>
        </p:txBody>
      </p:sp>
      <p:sp>
        <p:nvSpPr>
          <p:cNvPr id="39" name="Freihandform: Form 38">
            <a:extLst>
              <a:ext uri="{FF2B5EF4-FFF2-40B4-BE49-F238E27FC236}">
                <a16:creationId xmlns:a16="http://schemas.microsoft.com/office/drawing/2014/main" id="{4663B524-8E70-411B-AF82-46000FF0D969}"/>
              </a:ext>
            </a:extLst>
          </p:cNvPr>
          <p:cNvSpPr/>
          <p:nvPr/>
        </p:nvSpPr>
        <p:spPr>
          <a:xfrm>
            <a:off x="5255279" y="2801770"/>
            <a:ext cx="33792" cy="36122"/>
          </a:xfrm>
          <a:custGeom>
            <a:avLst/>
            <a:gdLst>
              <a:gd name="connsiteX0" fmla="*/ 15148 w 33792"/>
              <a:gd name="connsiteY0" fmla="*/ 36123 h 36122"/>
              <a:gd name="connsiteX1" fmla="*/ 0 w 33792"/>
              <a:gd name="connsiteY1" fmla="*/ 36123 h 36122"/>
              <a:gd name="connsiteX2" fmla="*/ 18644 w 33792"/>
              <a:gd name="connsiteY2" fmla="*/ 17479 h 36122"/>
              <a:gd name="connsiteX3" fmla="*/ 0 w 33792"/>
              <a:gd name="connsiteY3" fmla="*/ 0 h 36122"/>
              <a:gd name="connsiteX4" fmla="*/ 16313 w 33792"/>
              <a:gd name="connsiteY4" fmla="*/ 0 h 36122"/>
              <a:gd name="connsiteX5" fmla="*/ 33792 w 33792"/>
              <a:gd name="connsiteY5" fmla="*/ 17479 h 3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92" h="36122">
                <a:moveTo>
                  <a:pt x="15148" y="36123"/>
                </a:moveTo>
                <a:lnTo>
                  <a:pt x="0" y="36123"/>
                </a:lnTo>
                <a:lnTo>
                  <a:pt x="18644" y="17479"/>
                </a:lnTo>
                <a:lnTo>
                  <a:pt x="0" y="0"/>
                </a:lnTo>
                <a:lnTo>
                  <a:pt x="16313" y="0"/>
                </a:lnTo>
                <a:lnTo>
                  <a:pt x="33792" y="17479"/>
                </a:lnTo>
                <a:close/>
              </a:path>
            </a:pathLst>
          </a:custGeom>
          <a:solidFill>
            <a:srgbClr val="EEF2F5"/>
          </a:solidFill>
          <a:ln w="11643" cap="flat">
            <a:noFill/>
            <a:prstDash val="solid"/>
            <a:miter/>
          </a:ln>
        </p:spPr>
        <p:txBody>
          <a:bodyPr rtlCol="0" anchor="ctr"/>
          <a:lstStyle/>
          <a:p>
            <a:endParaRPr lang="de-DE"/>
          </a:p>
        </p:txBody>
      </p:sp>
      <p:sp>
        <p:nvSpPr>
          <p:cNvPr id="55" name="Freihandform: Form 54">
            <a:extLst>
              <a:ext uri="{FF2B5EF4-FFF2-40B4-BE49-F238E27FC236}">
                <a16:creationId xmlns:a16="http://schemas.microsoft.com/office/drawing/2014/main" id="{F4D09A89-D99B-46C8-9144-5A77F64C551B}"/>
              </a:ext>
            </a:extLst>
          </p:cNvPr>
          <p:cNvSpPr/>
          <p:nvPr/>
        </p:nvSpPr>
        <p:spPr>
          <a:xfrm>
            <a:off x="5255279" y="3156006"/>
            <a:ext cx="33792" cy="36122"/>
          </a:xfrm>
          <a:custGeom>
            <a:avLst/>
            <a:gdLst>
              <a:gd name="connsiteX0" fmla="*/ 15148 w 33792"/>
              <a:gd name="connsiteY0" fmla="*/ 36123 h 36122"/>
              <a:gd name="connsiteX1" fmla="*/ 0 w 33792"/>
              <a:gd name="connsiteY1" fmla="*/ 36123 h 36122"/>
              <a:gd name="connsiteX2" fmla="*/ 18644 w 33792"/>
              <a:gd name="connsiteY2" fmla="*/ 18644 h 36122"/>
              <a:gd name="connsiteX3" fmla="*/ 0 w 33792"/>
              <a:gd name="connsiteY3" fmla="*/ 0 h 36122"/>
              <a:gd name="connsiteX4" fmla="*/ 16313 w 33792"/>
              <a:gd name="connsiteY4" fmla="*/ 0 h 36122"/>
              <a:gd name="connsiteX5" fmla="*/ 33792 w 33792"/>
              <a:gd name="connsiteY5" fmla="*/ 18644 h 3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92" h="36122">
                <a:moveTo>
                  <a:pt x="15148" y="36123"/>
                </a:moveTo>
                <a:lnTo>
                  <a:pt x="0" y="36123"/>
                </a:lnTo>
                <a:lnTo>
                  <a:pt x="18644" y="18644"/>
                </a:lnTo>
                <a:lnTo>
                  <a:pt x="0" y="0"/>
                </a:lnTo>
                <a:lnTo>
                  <a:pt x="16313" y="0"/>
                </a:lnTo>
                <a:lnTo>
                  <a:pt x="33792" y="18644"/>
                </a:lnTo>
                <a:close/>
              </a:path>
            </a:pathLst>
          </a:custGeom>
          <a:solidFill>
            <a:srgbClr val="EEF2F5"/>
          </a:solidFill>
          <a:ln w="11643" cap="flat">
            <a:noFill/>
            <a:prstDash val="solid"/>
            <a:miter/>
          </a:ln>
        </p:spPr>
        <p:txBody>
          <a:bodyPr rtlCol="0" anchor="ctr"/>
          <a:lstStyle/>
          <a:p>
            <a:endParaRPr lang="de-DE"/>
          </a:p>
        </p:txBody>
      </p:sp>
      <p:sp>
        <p:nvSpPr>
          <p:cNvPr id="187" name="Freihandform: Form 186">
            <a:extLst>
              <a:ext uri="{FF2B5EF4-FFF2-40B4-BE49-F238E27FC236}">
                <a16:creationId xmlns:a16="http://schemas.microsoft.com/office/drawing/2014/main" id="{9405F1EC-B6AA-4E71-9517-3317B5730FD9}"/>
              </a:ext>
            </a:extLst>
          </p:cNvPr>
          <p:cNvSpPr/>
          <p:nvPr/>
        </p:nvSpPr>
        <p:spPr>
          <a:xfrm>
            <a:off x="5255279" y="5995715"/>
            <a:ext cx="33792" cy="36122"/>
          </a:xfrm>
          <a:custGeom>
            <a:avLst/>
            <a:gdLst>
              <a:gd name="connsiteX0" fmla="*/ 15148 w 33792"/>
              <a:gd name="connsiteY0" fmla="*/ 36123 h 36122"/>
              <a:gd name="connsiteX1" fmla="*/ 0 w 33792"/>
              <a:gd name="connsiteY1" fmla="*/ 36123 h 36122"/>
              <a:gd name="connsiteX2" fmla="*/ 18644 w 33792"/>
              <a:gd name="connsiteY2" fmla="*/ 17479 h 36122"/>
              <a:gd name="connsiteX3" fmla="*/ 0 w 33792"/>
              <a:gd name="connsiteY3" fmla="*/ 0 h 36122"/>
              <a:gd name="connsiteX4" fmla="*/ 16313 w 33792"/>
              <a:gd name="connsiteY4" fmla="*/ 0 h 36122"/>
              <a:gd name="connsiteX5" fmla="*/ 33792 w 33792"/>
              <a:gd name="connsiteY5" fmla="*/ 17479 h 3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92" h="36122">
                <a:moveTo>
                  <a:pt x="15148" y="36123"/>
                </a:moveTo>
                <a:lnTo>
                  <a:pt x="0" y="36123"/>
                </a:lnTo>
                <a:lnTo>
                  <a:pt x="18644" y="17479"/>
                </a:lnTo>
                <a:lnTo>
                  <a:pt x="0" y="0"/>
                </a:lnTo>
                <a:lnTo>
                  <a:pt x="16313" y="0"/>
                </a:lnTo>
                <a:lnTo>
                  <a:pt x="33792" y="17479"/>
                </a:lnTo>
                <a:close/>
              </a:path>
            </a:pathLst>
          </a:custGeom>
          <a:solidFill>
            <a:srgbClr val="EEF2F5"/>
          </a:solidFill>
          <a:ln w="11643" cap="flat">
            <a:noFill/>
            <a:prstDash val="solid"/>
            <a:miter/>
          </a:ln>
        </p:spPr>
        <p:txBody>
          <a:bodyPr rtlCol="0" anchor="ctr"/>
          <a:lstStyle/>
          <a:p>
            <a:endParaRPr lang="de-DE"/>
          </a:p>
        </p:txBody>
      </p:sp>
      <p:sp>
        <p:nvSpPr>
          <p:cNvPr id="204" name="Freihandform: Form 203">
            <a:extLst>
              <a:ext uri="{FF2B5EF4-FFF2-40B4-BE49-F238E27FC236}">
                <a16:creationId xmlns:a16="http://schemas.microsoft.com/office/drawing/2014/main" id="{455ED072-A29F-4FE5-8724-C330B2893FE8}"/>
              </a:ext>
            </a:extLst>
          </p:cNvPr>
          <p:cNvSpPr/>
          <p:nvPr/>
        </p:nvSpPr>
        <p:spPr>
          <a:xfrm>
            <a:off x="5255279" y="6349950"/>
            <a:ext cx="33792" cy="36122"/>
          </a:xfrm>
          <a:custGeom>
            <a:avLst/>
            <a:gdLst>
              <a:gd name="connsiteX0" fmla="*/ 15148 w 33792"/>
              <a:gd name="connsiteY0" fmla="*/ 36123 h 36122"/>
              <a:gd name="connsiteX1" fmla="*/ 0 w 33792"/>
              <a:gd name="connsiteY1" fmla="*/ 36123 h 36122"/>
              <a:gd name="connsiteX2" fmla="*/ 18644 w 33792"/>
              <a:gd name="connsiteY2" fmla="*/ 18644 h 36122"/>
              <a:gd name="connsiteX3" fmla="*/ 0 w 33792"/>
              <a:gd name="connsiteY3" fmla="*/ 0 h 36122"/>
              <a:gd name="connsiteX4" fmla="*/ 16313 w 33792"/>
              <a:gd name="connsiteY4" fmla="*/ 0 h 36122"/>
              <a:gd name="connsiteX5" fmla="*/ 33792 w 33792"/>
              <a:gd name="connsiteY5" fmla="*/ 17479 h 3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92" h="36122">
                <a:moveTo>
                  <a:pt x="15148" y="36123"/>
                </a:moveTo>
                <a:lnTo>
                  <a:pt x="0" y="36123"/>
                </a:lnTo>
                <a:lnTo>
                  <a:pt x="18644" y="18644"/>
                </a:lnTo>
                <a:lnTo>
                  <a:pt x="0" y="0"/>
                </a:lnTo>
                <a:lnTo>
                  <a:pt x="16313" y="0"/>
                </a:lnTo>
                <a:lnTo>
                  <a:pt x="33792" y="17479"/>
                </a:lnTo>
                <a:close/>
              </a:path>
            </a:pathLst>
          </a:custGeom>
          <a:solidFill>
            <a:srgbClr val="EEF2F5"/>
          </a:solidFill>
          <a:ln w="11643" cap="flat">
            <a:noFill/>
            <a:prstDash val="solid"/>
            <a:miter/>
          </a:ln>
        </p:spPr>
        <p:txBody>
          <a:bodyPr rtlCol="0" anchor="ctr"/>
          <a:lstStyle/>
          <a:p>
            <a:endParaRPr lang="de-DE"/>
          </a:p>
        </p:txBody>
      </p:sp>
      <p:sp>
        <p:nvSpPr>
          <p:cNvPr id="220" name="Freihandform: Form 219">
            <a:extLst>
              <a:ext uri="{FF2B5EF4-FFF2-40B4-BE49-F238E27FC236}">
                <a16:creationId xmlns:a16="http://schemas.microsoft.com/office/drawing/2014/main" id="{99942471-7679-49B5-9D52-AEDAA896BBEA}"/>
              </a:ext>
            </a:extLst>
          </p:cNvPr>
          <p:cNvSpPr/>
          <p:nvPr/>
        </p:nvSpPr>
        <p:spPr>
          <a:xfrm>
            <a:off x="5255279" y="6705351"/>
            <a:ext cx="33792" cy="36122"/>
          </a:xfrm>
          <a:custGeom>
            <a:avLst/>
            <a:gdLst>
              <a:gd name="connsiteX0" fmla="*/ 15148 w 33792"/>
              <a:gd name="connsiteY0" fmla="*/ 36123 h 36122"/>
              <a:gd name="connsiteX1" fmla="*/ 0 w 33792"/>
              <a:gd name="connsiteY1" fmla="*/ 36123 h 36122"/>
              <a:gd name="connsiteX2" fmla="*/ 18644 w 33792"/>
              <a:gd name="connsiteY2" fmla="*/ 17479 h 36122"/>
              <a:gd name="connsiteX3" fmla="*/ 0 w 33792"/>
              <a:gd name="connsiteY3" fmla="*/ 0 h 36122"/>
              <a:gd name="connsiteX4" fmla="*/ 16313 w 33792"/>
              <a:gd name="connsiteY4" fmla="*/ 0 h 36122"/>
              <a:gd name="connsiteX5" fmla="*/ 33792 w 33792"/>
              <a:gd name="connsiteY5" fmla="*/ 17479 h 3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92" h="36122">
                <a:moveTo>
                  <a:pt x="15148" y="36123"/>
                </a:moveTo>
                <a:lnTo>
                  <a:pt x="0" y="36123"/>
                </a:lnTo>
                <a:lnTo>
                  <a:pt x="18644" y="17479"/>
                </a:lnTo>
                <a:lnTo>
                  <a:pt x="0" y="0"/>
                </a:lnTo>
                <a:lnTo>
                  <a:pt x="16313" y="0"/>
                </a:lnTo>
                <a:lnTo>
                  <a:pt x="33792" y="17479"/>
                </a:lnTo>
                <a:close/>
              </a:path>
            </a:pathLst>
          </a:custGeom>
          <a:solidFill>
            <a:srgbClr val="EEF2F5"/>
          </a:solidFill>
          <a:ln w="11643" cap="flat">
            <a:noFill/>
            <a:prstDash val="solid"/>
            <a:miter/>
          </a:ln>
        </p:spPr>
        <p:txBody>
          <a:bodyPr rtlCol="0" anchor="ctr"/>
          <a:lstStyle/>
          <a:p>
            <a:endParaRPr lang="de-DE"/>
          </a:p>
        </p:txBody>
      </p:sp>
      <p:sp>
        <p:nvSpPr>
          <p:cNvPr id="7" name="Freihandform: Form 6">
            <a:extLst>
              <a:ext uri="{FF2B5EF4-FFF2-40B4-BE49-F238E27FC236}">
                <a16:creationId xmlns:a16="http://schemas.microsoft.com/office/drawing/2014/main" id="{4036A95C-4698-466B-86BD-E5C4BEBC8F14}"/>
              </a:ext>
            </a:extLst>
          </p:cNvPr>
          <p:cNvSpPr/>
          <p:nvPr/>
        </p:nvSpPr>
        <p:spPr>
          <a:xfrm>
            <a:off x="5602523" y="2082812"/>
            <a:ext cx="50105" cy="54766"/>
          </a:xfrm>
          <a:custGeom>
            <a:avLst/>
            <a:gdLst>
              <a:gd name="connsiteX0" fmla="*/ 22140 w 50105"/>
              <a:gd name="connsiteY0" fmla="*/ 54767 h 54766"/>
              <a:gd name="connsiteX1" fmla="*/ 0 w 50105"/>
              <a:gd name="connsiteY1" fmla="*/ 54767 h 54766"/>
              <a:gd name="connsiteX2" fmla="*/ 26801 w 50105"/>
              <a:gd name="connsiteY2" fmla="*/ 27966 h 54766"/>
              <a:gd name="connsiteX3" fmla="*/ 0 w 50105"/>
              <a:gd name="connsiteY3" fmla="*/ 0 h 54766"/>
              <a:gd name="connsiteX4" fmla="*/ 23305 w 50105"/>
              <a:gd name="connsiteY4" fmla="*/ 0 h 54766"/>
              <a:gd name="connsiteX5" fmla="*/ 50106 w 50105"/>
              <a:gd name="connsiteY5" fmla="*/ 26801 h 5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4765">
                <a:moveTo>
                  <a:pt x="22140" y="54767"/>
                </a:moveTo>
                <a:lnTo>
                  <a:pt x="0" y="54767"/>
                </a:lnTo>
                <a:lnTo>
                  <a:pt x="26801" y="27966"/>
                </a:lnTo>
                <a:lnTo>
                  <a:pt x="0" y="0"/>
                </a:lnTo>
                <a:lnTo>
                  <a:pt x="23305" y="0"/>
                </a:lnTo>
                <a:lnTo>
                  <a:pt x="50106" y="26801"/>
                </a:lnTo>
                <a:close/>
              </a:path>
            </a:pathLst>
          </a:custGeom>
          <a:solidFill>
            <a:srgbClr val="EEF2F5"/>
          </a:solidFill>
          <a:ln w="11643" cap="flat">
            <a:noFill/>
            <a:prstDash val="solid"/>
            <a:miter/>
          </a:ln>
        </p:spPr>
        <p:txBody>
          <a:bodyPr rtlCol="0" anchor="ctr"/>
          <a:lstStyle/>
          <a:p>
            <a:endParaRPr lang="de-DE"/>
          </a:p>
        </p:txBody>
      </p:sp>
      <p:sp>
        <p:nvSpPr>
          <p:cNvPr id="24" name="Freihandform: Form 23">
            <a:extLst>
              <a:ext uri="{FF2B5EF4-FFF2-40B4-BE49-F238E27FC236}">
                <a16:creationId xmlns:a16="http://schemas.microsoft.com/office/drawing/2014/main" id="{BF542F85-6793-447F-ABC7-4DD68400D714}"/>
              </a:ext>
            </a:extLst>
          </p:cNvPr>
          <p:cNvSpPr/>
          <p:nvPr/>
        </p:nvSpPr>
        <p:spPr>
          <a:xfrm>
            <a:off x="5602523" y="2438213"/>
            <a:ext cx="50105" cy="53601"/>
          </a:xfrm>
          <a:custGeom>
            <a:avLst/>
            <a:gdLst>
              <a:gd name="connsiteX0" fmla="*/ 22140 w 50105"/>
              <a:gd name="connsiteY0" fmla="*/ 53601 h 53601"/>
              <a:gd name="connsiteX1" fmla="*/ 0 w 50105"/>
              <a:gd name="connsiteY1" fmla="*/ 53601 h 53601"/>
              <a:gd name="connsiteX2" fmla="*/ 26801 w 50105"/>
              <a:gd name="connsiteY2" fmla="*/ 26801 h 53601"/>
              <a:gd name="connsiteX3" fmla="*/ 0 w 50105"/>
              <a:gd name="connsiteY3" fmla="*/ 0 h 53601"/>
              <a:gd name="connsiteX4" fmla="*/ 23305 w 50105"/>
              <a:gd name="connsiteY4" fmla="*/ 0 h 53601"/>
              <a:gd name="connsiteX5" fmla="*/ 50106 w 50105"/>
              <a:gd name="connsiteY5" fmla="*/ 25635 h 53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3601">
                <a:moveTo>
                  <a:pt x="22140" y="53601"/>
                </a:moveTo>
                <a:lnTo>
                  <a:pt x="0" y="53601"/>
                </a:lnTo>
                <a:lnTo>
                  <a:pt x="26801" y="26801"/>
                </a:lnTo>
                <a:lnTo>
                  <a:pt x="0" y="0"/>
                </a:lnTo>
                <a:lnTo>
                  <a:pt x="23305" y="0"/>
                </a:lnTo>
                <a:lnTo>
                  <a:pt x="50106" y="25635"/>
                </a:lnTo>
                <a:close/>
              </a:path>
            </a:pathLst>
          </a:custGeom>
          <a:solidFill>
            <a:srgbClr val="EEF2F5"/>
          </a:solidFill>
          <a:ln w="11643" cap="flat">
            <a:noFill/>
            <a:prstDash val="solid"/>
            <a:miter/>
          </a:ln>
        </p:spPr>
        <p:txBody>
          <a:bodyPr rtlCol="0" anchor="ctr"/>
          <a:lstStyle/>
          <a:p>
            <a:endParaRPr lang="de-DE"/>
          </a:p>
        </p:txBody>
      </p:sp>
      <p:sp>
        <p:nvSpPr>
          <p:cNvPr id="40" name="Freihandform: Form 39">
            <a:extLst>
              <a:ext uri="{FF2B5EF4-FFF2-40B4-BE49-F238E27FC236}">
                <a16:creationId xmlns:a16="http://schemas.microsoft.com/office/drawing/2014/main" id="{740F153C-C05E-494B-8276-37D3E8653A98}"/>
              </a:ext>
            </a:extLst>
          </p:cNvPr>
          <p:cNvSpPr/>
          <p:nvPr/>
        </p:nvSpPr>
        <p:spPr>
          <a:xfrm>
            <a:off x="5602523" y="2792448"/>
            <a:ext cx="50105" cy="54766"/>
          </a:xfrm>
          <a:custGeom>
            <a:avLst/>
            <a:gdLst>
              <a:gd name="connsiteX0" fmla="*/ 22140 w 50105"/>
              <a:gd name="connsiteY0" fmla="*/ 54767 h 54766"/>
              <a:gd name="connsiteX1" fmla="*/ 0 w 50105"/>
              <a:gd name="connsiteY1" fmla="*/ 54767 h 54766"/>
              <a:gd name="connsiteX2" fmla="*/ 26801 w 50105"/>
              <a:gd name="connsiteY2" fmla="*/ 27966 h 54766"/>
              <a:gd name="connsiteX3" fmla="*/ 0 w 50105"/>
              <a:gd name="connsiteY3" fmla="*/ 0 h 54766"/>
              <a:gd name="connsiteX4" fmla="*/ 23305 w 50105"/>
              <a:gd name="connsiteY4" fmla="*/ 0 h 54766"/>
              <a:gd name="connsiteX5" fmla="*/ 50106 w 50105"/>
              <a:gd name="connsiteY5" fmla="*/ 26801 h 5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4765">
                <a:moveTo>
                  <a:pt x="22140" y="54767"/>
                </a:moveTo>
                <a:lnTo>
                  <a:pt x="0" y="54767"/>
                </a:lnTo>
                <a:lnTo>
                  <a:pt x="26801" y="27966"/>
                </a:lnTo>
                <a:lnTo>
                  <a:pt x="0" y="0"/>
                </a:lnTo>
                <a:lnTo>
                  <a:pt x="23305" y="0"/>
                </a:lnTo>
                <a:lnTo>
                  <a:pt x="50106" y="26801"/>
                </a:lnTo>
                <a:close/>
              </a:path>
            </a:pathLst>
          </a:custGeom>
          <a:solidFill>
            <a:srgbClr val="EEF2F5"/>
          </a:solidFill>
          <a:ln w="11643" cap="flat">
            <a:noFill/>
            <a:prstDash val="solid"/>
            <a:miter/>
          </a:ln>
        </p:spPr>
        <p:txBody>
          <a:bodyPr rtlCol="0" anchor="ctr"/>
          <a:lstStyle/>
          <a:p>
            <a:endParaRPr lang="de-DE"/>
          </a:p>
        </p:txBody>
      </p:sp>
      <p:sp>
        <p:nvSpPr>
          <p:cNvPr id="56" name="Freihandform: Form 55">
            <a:extLst>
              <a:ext uri="{FF2B5EF4-FFF2-40B4-BE49-F238E27FC236}">
                <a16:creationId xmlns:a16="http://schemas.microsoft.com/office/drawing/2014/main" id="{6DC9BB73-A50E-4E7E-85F9-1EC71DEC332C}"/>
              </a:ext>
            </a:extLst>
          </p:cNvPr>
          <p:cNvSpPr/>
          <p:nvPr/>
        </p:nvSpPr>
        <p:spPr>
          <a:xfrm>
            <a:off x="5602523" y="3147849"/>
            <a:ext cx="50105" cy="53601"/>
          </a:xfrm>
          <a:custGeom>
            <a:avLst/>
            <a:gdLst>
              <a:gd name="connsiteX0" fmla="*/ 22140 w 50105"/>
              <a:gd name="connsiteY0" fmla="*/ 53601 h 53601"/>
              <a:gd name="connsiteX1" fmla="*/ 0 w 50105"/>
              <a:gd name="connsiteY1" fmla="*/ 53601 h 53601"/>
              <a:gd name="connsiteX2" fmla="*/ 26801 w 50105"/>
              <a:gd name="connsiteY2" fmla="*/ 26801 h 53601"/>
              <a:gd name="connsiteX3" fmla="*/ 0 w 50105"/>
              <a:gd name="connsiteY3" fmla="*/ 0 h 53601"/>
              <a:gd name="connsiteX4" fmla="*/ 23305 w 50105"/>
              <a:gd name="connsiteY4" fmla="*/ 0 h 53601"/>
              <a:gd name="connsiteX5" fmla="*/ 50106 w 50105"/>
              <a:gd name="connsiteY5" fmla="*/ 26801 h 53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3601">
                <a:moveTo>
                  <a:pt x="22140" y="53601"/>
                </a:moveTo>
                <a:lnTo>
                  <a:pt x="0" y="53601"/>
                </a:lnTo>
                <a:lnTo>
                  <a:pt x="26801" y="26801"/>
                </a:lnTo>
                <a:lnTo>
                  <a:pt x="0" y="0"/>
                </a:lnTo>
                <a:lnTo>
                  <a:pt x="23305" y="0"/>
                </a:lnTo>
                <a:lnTo>
                  <a:pt x="50106" y="26801"/>
                </a:lnTo>
                <a:close/>
              </a:path>
            </a:pathLst>
          </a:custGeom>
          <a:solidFill>
            <a:srgbClr val="EEF2F5"/>
          </a:solidFill>
          <a:ln w="11643" cap="flat">
            <a:noFill/>
            <a:prstDash val="solid"/>
            <a:miter/>
          </a:ln>
        </p:spPr>
        <p:txBody>
          <a:bodyPr rtlCol="0" anchor="ctr"/>
          <a:lstStyle/>
          <a:p>
            <a:endParaRPr lang="de-DE"/>
          </a:p>
        </p:txBody>
      </p:sp>
      <p:sp>
        <p:nvSpPr>
          <p:cNvPr id="72" name="Freihandform: Form 71">
            <a:extLst>
              <a:ext uri="{FF2B5EF4-FFF2-40B4-BE49-F238E27FC236}">
                <a16:creationId xmlns:a16="http://schemas.microsoft.com/office/drawing/2014/main" id="{15AE0A81-8164-4015-8158-36F576D4E31D}"/>
              </a:ext>
            </a:extLst>
          </p:cNvPr>
          <p:cNvSpPr/>
          <p:nvPr/>
        </p:nvSpPr>
        <p:spPr>
          <a:xfrm>
            <a:off x="5602523" y="3502084"/>
            <a:ext cx="50105" cy="54766"/>
          </a:xfrm>
          <a:custGeom>
            <a:avLst/>
            <a:gdLst>
              <a:gd name="connsiteX0" fmla="*/ 22140 w 50105"/>
              <a:gd name="connsiteY0" fmla="*/ 54767 h 54766"/>
              <a:gd name="connsiteX1" fmla="*/ 0 w 50105"/>
              <a:gd name="connsiteY1" fmla="*/ 54767 h 54766"/>
              <a:gd name="connsiteX2" fmla="*/ 26801 w 50105"/>
              <a:gd name="connsiteY2" fmla="*/ 27966 h 54766"/>
              <a:gd name="connsiteX3" fmla="*/ 0 w 50105"/>
              <a:gd name="connsiteY3" fmla="*/ 0 h 54766"/>
              <a:gd name="connsiteX4" fmla="*/ 23305 w 50105"/>
              <a:gd name="connsiteY4" fmla="*/ 0 h 54766"/>
              <a:gd name="connsiteX5" fmla="*/ 50106 w 50105"/>
              <a:gd name="connsiteY5" fmla="*/ 26801 h 5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4765">
                <a:moveTo>
                  <a:pt x="22140" y="54767"/>
                </a:moveTo>
                <a:lnTo>
                  <a:pt x="0" y="54767"/>
                </a:lnTo>
                <a:lnTo>
                  <a:pt x="26801" y="27966"/>
                </a:lnTo>
                <a:lnTo>
                  <a:pt x="0" y="0"/>
                </a:lnTo>
                <a:lnTo>
                  <a:pt x="23305" y="0"/>
                </a:lnTo>
                <a:lnTo>
                  <a:pt x="50106" y="26801"/>
                </a:lnTo>
                <a:close/>
              </a:path>
            </a:pathLst>
          </a:custGeom>
          <a:solidFill>
            <a:srgbClr val="EEF2F5"/>
          </a:solidFill>
          <a:ln w="11643" cap="flat">
            <a:noFill/>
            <a:prstDash val="solid"/>
            <a:miter/>
          </a:ln>
        </p:spPr>
        <p:txBody>
          <a:bodyPr rtlCol="0" anchor="ctr"/>
          <a:lstStyle/>
          <a:p>
            <a:endParaRPr lang="de-DE"/>
          </a:p>
        </p:txBody>
      </p:sp>
      <p:sp>
        <p:nvSpPr>
          <p:cNvPr id="171" name="Freihandform: Form 170">
            <a:extLst>
              <a:ext uri="{FF2B5EF4-FFF2-40B4-BE49-F238E27FC236}">
                <a16:creationId xmlns:a16="http://schemas.microsoft.com/office/drawing/2014/main" id="{F7E7E68A-1C17-4FA5-88E2-BA53C7F9EC18}"/>
              </a:ext>
            </a:extLst>
          </p:cNvPr>
          <p:cNvSpPr/>
          <p:nvPr/>
        </p:nvSpPr>
        <p:spPr>
          <a:xfrm>
            <a:off x="5602523" y="5630993"/>
            <a:ext cx="50105" cy="54766"/>
          </a:xfrm>
          <a:custGeom>
            <a:avLst/>
            <a:gdLst>
              <a:gd name="connsiteX0" fmla="*/ 22140 w 50105"/>
              <a:gd name="connsiteY0" fmla="*/ 54766 h 54766"/>
              <a:gd name="connsiteX1" fmla="*/ 0 w 50105"/>
              <a:gd name="connsiteY1" fmla="*/ 54766 h 54766"/>
              <a:gd name="connsiteX2" fmla="*/ 26801 w 50105"/>
              <a:gd name="connsiteY2" fmla="*/ 27966 h 54766"/>
              <a:gd name="connsiteX3" fmla="*/ 0 w 50105"/>
              <a:gd name="connsiteY3" fmla="*/ 0 h 54766"/>
              <a:gd name="connsiteX4" fmla="*/ 23305 w 50105"/>
              <a:gd name="connsiteY4" fmla="*/ 0 h 54766"/>
              <a:gd name="connsiteX5" fmla="*/ 50106 w 50105"/>
              <a:gd name="connsiteY5" fmla="*/ 26801 h 5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4765">
                <a:moveTo>
                  <a:pt x="22140" y="54766"/>
                </a:moveTo>
                <a:lnTo>
                  <a:pt x="0" y="54766"/>
                </a:lnTo>
                <a:lnTo>
                  <a:pt x="26801" y="27966"/>
                </a:lnTo>
                <a:lnTo>
                  <a:pt x="0" y="0"/>
                </a:lnTo>
                <a:lnTo>
                  <a:pt x="23305" y="0"/>
                </a:lnTo>
                <a:lnTo>
                  <a:pt x="50106" y="26801"/>
                </a:lnTo>
                <a:close/>
              </a:path>
            </a:pathLst>
          </a:custGeom>
          <a:solidFill>
            <a:srgbClr val="EEF2F5"/>
          </a:solidFill>
          <a:ln w="11643" cap="flat">
            <a:noFill/>
            <a:prstDash val="solid"/>
            <a:miter/>
          </a:ln>
        </p:spPr>
        <p:txBody>
          <a:bodyPr rtlCol="0" anchor="ctr"/>
          <a:lstStyle/>
          <a:p>
            <a:endParaRPr lang="de-DE"/>
          </a:p>
        </p:txBody>
      </p:sp>
      <p:sp>
        <p:nvSpPr>
          <p:cNvPr id="188" name="Freihandform: Form 187">
            <a:extLst>
              <a:ext uri="{FF2B5EF4-FFF2-40B4-BE49-F238E27FC236}">
                <a16:creationId xmlns:a16="http://schemas.microsoft.com/office/drawing/2014/main" id="{D858DCE1-2FBD-4D17-8C06-66D6048D5493}"/>
              </a:ext>
            </a:extLst>
          </p:cNvPr>
          <p:cNvSpPr/>
          <p:nvPr/>
        </p:nvSpPr>
        <p:spPr>
          <a:xfrm>
            <a:off x="5602523" y="5986393"/>
            <a:ext cx="50105" cy="54766"/>
          </a:xfrm>
          <a:custGeom>
            <a:avLst/>
            <a:gdLst>
              <a:gd name="connsiteX0" fmla="*/ 22140 w 50105"/>
              <a:gd name="connsiteY0" fmla="*/ 54766 h 54766"/>
              <a:gd name="connsiteX1" fmla="*/ 0 w 50105"/>
              <a:gd name="connsiteY1" fmla="*/ 54766 h 54766"/>
              <a:gd name="connsiteX2" fmla="*/ 26801 w 50105"/>
              <a:gd name="connsiteY2" fmla="*/ 26801 h 54766"/>
              <a:gd name="connsiteX3" fmla="*/ 0 w 50105"/>
              <a:gd name="connsiteY3" fmla="*/ 0 h 54766"/>
              <a:gd name="connsiteX4" fmla="*/ 23305 w 50105"/>
              <a:gd name="connsiteY4" fmla="*/ 0 h 54766"/>
              <a:gd name="connsiteX5" fmla="*/ 50106 w 50105"/>
              <a:gd name="connsiteY5" fmla="*/ 26801 h 5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4765">
                <a:moveTo>
                  <a:pt x="22140" y="54766"/>
                </a:moveTo>
                <a:lnTo>
                  <a:pt x="0" y="54766"/>
                </a:lnTo>
                <a:lnTo>
                  <a:pt x="26801" y="26801"/>
                </a:lnTo>
                <a:lnTo>
                  <a:pt x="0" y="0"/>
                </a:lnTo>
                <a:lnTo>
                  <a:pt x="23305" y="0"/>
                </a:lnTo>
                <a:lnTo>
                  <a:pt x="50106" y="26801"/>
                </a:lnTo>
                <a:close/>
              </a:path>
            </a:pathLst>
          </a:custGeom>
          <a:solidFill>
            <a:srgbClr val="EEF2F5"/>
          </a:solidFill>
          <a:ln w="11643" cap="flat">
            <a:noFill/>
            <a:prstDash val="solid"/>
            <a:miter/>
          </a:ln>
        </p:spPr>
        <p:txBody>
          <a:bodyPr rtlCol="0" anchor="ctr"/>
          <a:lstStyle/>
          <a:p>
            <a:endParaRPr lang="de-DE"/>
          </a:p>
        </p:txBody>
      </p:sp>
      <p:sp>
        <p:nvSpPr>
          <p:cNvPr id="205" name="Freihandform: Form 204">
            <a:extLst>
              <a:ext uri="{FF2B5EF4-FFF2-40B4-BE49-F238E27FC236}">
                <a16:creationId xmlns:a16="http://schemas.microsoft.com/office/drawing/2014/main" id="{A776D8C8-F6BD-495D-AE14-B62B445F9D30}"/>
              </a:ext>
            </a:extLst>
          </p:cNvPr>
          <p:cNvSpPr/>
          <p:nvPr/>
        </p:nvSpPr>
        <p:spPr>
          <a:xfrm>
            <a:off x="5602523" y="6340628"/>
            <a:ext cx="50105" cy="54766"/>
          </a:xfrm>
          <a:custGeom>
            <a:avLst/>
            <a:gdLst>
              <a:gd name="connsiteX0" fmla="*/ 22140 w 50105"/>
              <a:gd name="connsiteY0" fmla="*/ 54766 h 54766"/>
              <a:gd name="connsiteX1" fmla="*/ 0 w 50105"/>
              <a:gd name="connsiteY1" fmla="*/ 54766 h 54766"/>
              <a:gd name="connsiteX2" fmla="*/ 26801 w 50105"/>
              <a:gd name="connsiteY2" fmla="*/ 27966 h 54766"/>
              <a:gd name="connsiteX3" fmla="*/ 0 w 50105"/>
              <a:gd name="connsiteY3" fmla="*/ 0 h 54766"/>
              <a:gd name="connsiteX4" fmla="*/ 23305 w 50105"/>
              <a:gd name="connsiteY4" fmla="*/ 0 h 54766"/>
              <a:gd name="connsiteX5" fmla="*/ 50106 w 50105"/>
              <a:gd name="connsiteY5" fmla="*/ 26801 h 5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4765">
                <a:moveTo>
                  <a:pt x="22140" y="54766"/>
                </a:moveTo>
                <a:lnTo>
                  <a:pt x="0" y="54766"/>
                </a:lnTo>
                <a:lnTo>
                  <a:pt x="26801" y="27966"/>
                </a:lnTo>
                <a:lnTo>
                  <a:pt x="0" y="0"/>
                </a:lnTo>
                <a:lnTo>
                  <a:pt x="23305" y="0"/>
                </a:lnTo>
                <a:lnTo>
                  <a:pt x="50106" y="26801"/>
                </a:lnTo>
                <a:close/>
              </a:path>
            </a:pathLst>
          </a:custGeom>
          <a:solidFill>
            <a:srgbClr val="EEF2F5"/>
          </a:solidFill>
          <a:ln w="11643" cap="flat">
            <a:noFill/>
            <a:prstDash val="solid"/>
            <a:miter/>
          </a:ln>
        </p:spPr>
        <p:txBody>
          <a:bodyPr rtlCol="0" anchor="ctr"/>
          <a:lstStyle/>
          <a:p>
            <a:endParaRPr lang="de-DE"/>
          </a:p>
        </p:txBody>
      </p:sp>
      <p:sp>
        <p:nvSpPr>
          <p:cNvPr id="221" name="Freihandform: Form 220">
            <a:extLst>
              <a:ext uri="{FF2B5EF4-FFF2-40B4-BE49-F238E27FC236}">
                <a16:creationId xmlns:a16="http://schemas.microsoft.com/office/drawing/2014/main" id="{335AC205-F15B-44A8-85C9-E62E3F81F25D}"/>
              </a:ext>
            </a:extLst>
          </p:cNvPr>
          <p:cNvSpPr/>
          <p:nvPr/>
        </p:nvSpPr>
        <p:spPr>
          <a:xfrm>
            <a:off x="5602523" y="6696029"/>
            <a:ext cx="50105" cy="54766"/>
          </a:xfrm>
          <a:custGeom>
            <a:avLst/>
            <a:gdLst>
              <a:gd name="connsiteX0" fmla="*/ 22140 w 50105"/>
              <a:gd name="connsiteY0" fmla="*/ 54766 h 54766"/>
              <a:gd name="connsiteX1" fmla="*/ 0 w 50105"/>
              <a:gd name="connsiteY1" fmla="*/ 54766 h 54766"/>
              <a:gd name="connsiteX2" fmla="*/ 26801 w 50105"/>
              <a:gd name="connsiteY2" fmla="*/ 27966 h 54766"/>
              <a:gd name="connsiteX3" fmla="*/ 0 w 50105"/>
              <a:gd name="connsiteY3" fmla="*/ 0 h 54766"/>
              <a:gd name="connsiteX4" fmla="*/ 23305 w 50105"/>
              <a:gd name="connsiteY4" fmla="*/ 0 h 54766"/>
              <a:gd name="connsiteX5" fmla="*/ 50106 w 50105"/>
              <a:gd name="connsiteY5" fmla="*/ 26801 h 5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4765">
                <a:moveTo>
                  <a:pt x="22140" y="54766"/>
                </a:moveTo>
                <a:lnTo>
                  <a:pt x="0" y="54766"/>
                </a:lnTo>
                <a:lnTo>
                  <a:pt x="26801" y="27966"/>
                </a:lnTo>
                <a:lnTo>
                  <a:pt x="0" y="0"/>
                </a:lnTo>
                <a:lnTo>
                  <a:pt x="23305" y="0"/>
                </a:lnTo>
                <a:lnTo>
                  <a:pt x="50106" y="26801"/>
                </a:lnTo>
                <a:close/>
              </a:path>
            </a:pathLst>
          </a:custGeom>
          <a:solidFill>
            <a:srgbClr val="EEF2F5"/>
          </a:solidFill>
          <a:ln w="11643" cap="flat">
            <a:noFill/>
            <a:prstDash val="solid"/>
            <a:miter/>
          </a:ln>
        </p:spPr>
        <p:txBody>
          <a:bodyPr rtlCol="0" anchor="ctr"/>
          <a:lstStyle/>
          <a:p>
            <a:endParaRPr lang="de-DE"/>
          </a:p>
        </p:txBody>
      </p:sp>
      <p:sp>
        <p:nvSpPr>
          <p:cNvPr id="8" name="Freihandform: Form 7">
            <a:extLst>
              <a:ext uri="{FF2B5EF4-FFF2-40B4-BE49-F238E27FC236}">
                <a16:creationId xmlns:a16="http://schemas.microsoft.com/office/drawing/2014/main" id="{D0D01710-DC2E-4828-86F6-D324528021A5}"/>
              </a:ext>
            </a:extLst>
          </p:cNvPr>
          <p:cNvSpPr/>
          <p:nvPr/>
        </p:nvSpPr>
        <p:spPr>
          <a:xfrm>
            <a:off x="5948602" y="2073490"/>
            <a:ext cx="66419" cy="72245"/>
          </a:xfrm>
          <a:custGeom>
            <a:avLst/>
            <a:gdLst>
              <a:gd name="connsiteX0" fmla="*/ 30297 w 66419"/>
              <a:gd name="connsiteY0" fmla="*/ 72245 h 72245"/>
              <a:gd name="connsiteX1" fmla="*/ 0 w 66419"/>
              <a:gd name="connsiteY1" fmla="*/ 72245 h 72245"/>
              <a:gd name="connsiteX2" fmla="*/ 36123 w 66419"/>
              <a:gd name="connsiteY2" fmla="*/ 37288 h 72245"/>
              <a:gd name="connsiteX3" fmla="*/ 0 w 66419"/>
              <a:gd name="connsiteY3" fmla="*/ 0 h 72245"/>
              <a:gd name="connsiteX4" fmla="*/ 31462 w 66419"/>
              <a:gd name="connsiteY4" fmla="*/ 0 h 72245"/>
              <a:gd name="connsiteX5" fmla="*/ 66419 w 66419"/>
              <a:gd name="connsiteY5" fmla="*/ 36123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5"/>
                </a:moveTo>
                <a:lnTo>
                  <a:pt x="0" y="72245"/>
                </a:lnTo>
                <a:lnTo>
                  <a:pt x="36123" y="37288"/>
                </a:lnTo>
                <a:lnTo>
                  <a:pt x="0" y="0"/>
                </a:lnTo>
                <a:lnTo>
                  <a:pt x="31462" y="0"/>
                </a:lnTo>
                <a:lnTo>
                  <a:pt x="66419" y="36123"/>
                </a:lnTo>
                <a:close/>
              </a:path>
            </a:pathLst>
          </a:custGeom>
          <a:solidFill>
            <a:srgbClr val="EEF2F5"/>
          </a:solidFill>
          <a:ln w="11643" cap="flat">
            <a:noFill/>
            <a:prstDash val="solid"/>
            <a:miter/>
          </a:ln>
        </p:spPr>
        <p:txBody>
          <a:bodyPr rtlCol="0" anchor="ctr"/>
          <a:lstStyle/>
          <a:p>
            <a:endParaRPr lang="de-DE"/>
          </a:p>
        </p:txBody>
      </p:sp>
      <p:sp>
        <p:nvSpPr>
          <p:cNvPr id="25" name="Freihandform: Form 24">
            <a:extLst>
              <a:ext uri="{FF2B5EF4-FFF2-40B4-BE49-F238E27FC236}">
                <a16:creationId xmlns:a16="http://schemas.microsoft.com/office/drawing/2014/main" id="{31123F88-1002-4B81-B9C6-413FE13BBA3A}"/>
              </a:ext>
            </a:extLst>
          </p:cNvPr>
          <p:cNvSpPr/>
          <p:nvPr/>
        </p:nvSpPr>
        <p:spPr>
          <a:xfrm>
            <a:off x="5948602" y="2428891"/>
            <a:ext cx="66419" cy="72245"/>
          </a:xfrm>
          <a:custGeom>
            <a:avLst/>
            <a:gdLst>
              <a:gd name="connsiteX0" fmla="*/ 30297 w 66419"/>
              <a:gd name="connsiteY0" fmla="*/ 72245 h 72245"/>
              <a:gd name="connsiteX1" fmla="*/ 0 w 66419"/>
              <a:gd name="connsiteY1" fmla="*/ 72245 h 72245"/>
              <a:gd name="connsiteX2" fmla="*/ 36123 w 66419"/>
              <a:gd name="connsiteY2" fmla="*/ 36123 h 72245"/>
              <a:gd name="connsiteX3" fmla="*/ 0 w 66419"/>
              <a:gd name="connsiteY3" fmla="*/ 0 h 72245"/>
              <a:gd name="connsiteX4" fmla="*/ 31462 w 66419"/>
              <a:gd name="connsiteY4" fmla="*/ 0 h 72245"/>
              <a:gd name="connsiteX5" fmla="*/ 66419 w 66419"/>
              <a:gd name="connsiteY5" fmla="*/ 34957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5"/>
                </a:moveTo>
                <a:lnTo>
                  <a:pt x="0" y="72245"/>
                </a:lnTo>
                <a:lnTo>
                  <a:pt x="36123" y="36123"/>
                </a:lnTo>
                <a:lnTo>
                  <a:pt x="0" y="0"/>
                </a:lnTo>
                <a:lnTo>
                  <a:pt x="31462" y="0"/>
                </a:lnTo>
                <a:lnTo>
                  <a:pt x="66419" y="34957"/>
                </a:lnTo>
                <a:close/>
              </a:path>
            </a:pathLst>
          </a:custGeom>
          <a:solidFill>
            <a:srgbClr val="EEF2F5"/>
          </a:solidFill>
          <a:ln w="11643" cap="flat">
            <a:noFill/>
            <a:prstDash val="solid"/>
            <a:miter/>
          </a:ln>
        </p:spPr>
        <p:txBody>
          <a:bodyPr rtlCol="0" anchor="ctr"/>
          <a:lstStyle/>
          <a:p>
            <a:endParaRPr lang="de-DE"/>
          </a:p>
        </p:txBody>
      </p:sp>
      <p:sp>
        <p:nvSpPr>
          <p:cNvPr id="41" name="Freihandform: Form 40">
            <a:extLst>
              <a:ext uri="{FF2B5EF4-FFF2-40B4-BE49-F238E27FC236}">
                <a16:creationId xmlns:a16="http://schemas.microsoft.com/office/drawing/2014/main" id="{BA5C8D95-A4B2-4EE7-814A-A5E3649F4137}"/>
              </a:ext>
            </a:extLst>
          </p:cNvPr>
          <p:cNvSpPr/>
          <p:nvPr/>
        </p:nvSpPr>
        <p:spPr>
          <a:xfrm>
            <a:off x="5948602" y="2783126"/>
            <a:ext cx="66419" cy="72245"/>
          </a:xfrm>
          <a:custGeom>
            <a:avLst/>
            <a:gdLst>
              <a:gd name="connsiteX0" fmla="*/ 30297 w 66419"/>
              <a:gd name="connsiteY0" fmla="*/ 72245 h 72245"/>
              <a:gd name="connsiteX1" fmla="*/ 0 w 66419"/>
              <a:gd name="connsiteY1" fmla="*/ 72245 h 72245"/>
              <a:gd name="connsiteX2" fmla="*/ 36123 w 66419"/>
              <a:gd name="connsiteY2" fmla="*/ 37288 h 72245"/>
              <a:gd name="connsiteX3" fmla="*/ 0 w 66419"/>
              <a:gd name="connsiteY3" fmla="*/ 0 h 72245"/>
              <a:gd name="connsiteX4" fmla="*/ 31462 w 66419"/>
              <a:gd name="connsiteY4" fmla="*/ 0 h 72245"/>
              <a:gd name="connsiteX5" fmla="*/ 66419 w 66419"/>
              <a:gd name="connsiteY5" fmla="*/ 36123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5"/>
                </a:moveTo>
                <a:lnTo>
                  <a:pt x="0" y="72245"/>
                </a:lnTo>
                <a:lnTo>
                  <a:pt x="36123" y="37288"/>
                </a:lnTo>
                <a:lnTo>
                  <a:pt x="0" y="0"/>
                </a:lnTo>
                <a:lnTo>
                  <a:pt x="31462" y="0"/>
                </a:lnTo>
                <a:lnTo>
                  <a:pt x="66419" y="36123"/>
                </a:lnTo>
                <a:close/>
              </a:path>
            </a:pathLst>
          </a:custGeom>
          <a:solidFill>
            <a:srgbClr val="EEF2F5"/>
          </a:solidFill>
          <a:ln w="11643" cap="flat">
            <a:noFill/>
            <a:prstDash val="solid"/>
            <a:miter/>
          </a:ln>
        </p:spPr>
        <p:txBody>
          <a:bodyPr rtlCol="0" anchor="ctr"/>
          <a:lstStyle/>
          <a:p>
            <a:endParaRPr lang="de-DE"/>
          </a:p>
        </p:txBody>
      </p:sp>
      <p:sp>
        <p:nvSpPr>
          <p:cNvPr id="57" name="Freihandform: Form 56">
            <a:extLst>
              <a:ext uri="{FF2B5EF4-FFF2-40B4-BE49-F238E27FC236}">
                <a16:creationId xmlns:a16="http://schemas.microsoft.com/office/drawing/2014/main" id="{636D7BF9-1E35-425E-994B-CE960B642C82}"/>
              </a:ext>
            </a:extLst>
          </p:cNvPr>
          <p:cNvSpPr/>
          <p:nvPr/>
        </p:nvSpPr>
        <p:spPr>
          <a:xfrm>
            <a:off x="5948602" y="3138527"/>
            <a:ext cx="66419" cy="72245"/>
          </a:xfrm>
          <a:custGeom>
            <a:avLst/>
            <a:gdLst>
              <a:gd name="connsiteX0" fmla="*/ 30297 w 66419"/>
              <a:gd name="connsiteY0" fmla="*/ 72245 h 72245"/>
              <a:gd name="connsiteX1" fmla="*/ 0 w 66419"/>
              <a:gd name="connsiteY1" fmla="*/ 72245 h 72245"/>
              <a:gd name="connsiteX2" fmla="*/ 36123 w 66419"/>
              <a:gd name="connsiteY2" fmla="*/ 36123 h 72245"/>
              <a:gd name="connsiteX3" fmla="*/ 0 w 66419"/>
              <a:gd name="connsiteY3" fmla="*/ 0 h 72245"/>
              <a:gd name="connsiteX4" fmla="*/ 31462 w 66419"/>
              <a:gd name="connsiteY4" fmla="*/ 0 h 72245"/>
              <a:gd name="connsiteX5" fmla="*/ 66419 w 66419"/>
              <a:gd name="connsiteY5" fmla="*/ 34957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5"/>
                </a:moveTo>
                <a:lnTo>
                  <a:pt x="0" y="72245"/>
                </a:lnTo>
                <a:lnTo>
                  <a:pt x="36123" y="36123"/>
                </a:lnTo>
                <a:lnTo>
                  <a:pt x="0" y="0"/>
                </a:lnTo>
                <a:lnTo>
                  <a:pt x="31462" y="0"/>
                </a:lnTo>
                <a:lnTo>
                  <a:pt x="66419" y="34957"/>
                </a:lnTo>
                <a:close/>
              </a:path>
            </a:pathLst>
          </a:custGeom>
          <a:solidFill>
            <a:srgbClr val="EEF2F5"/>
          </a:solidFill>
          <a:ln w="11643" cap="flat">
            <a:noFill/>
            <a:prstDash val="solid"/>
            <a:miter/>
          </a:ln>
        </p:spPr>
        <p:txBody>
          <a:bodyPr rtlCol="0" anchor="ctr"/>
          <a:lstStyle/>
          <a:p>
            <a:endParaRPr lang="de-DE"/>
          </a:p>
        </p:txBody>
      </p:sp>
      <p:sp>
        <p:nvSpPr>
          <p:cNvPr id="73" name="Freihandform: Form 72">
            <a:extLst>
              <a:ext uri="{FF2B5EF4-FFF2-40B4-BE49-F238E27FC236}">
                <a16:creationId xmlns:a16="http://schemas.microsoft.com/office/drawing/2014/main" id="{DFBDD53B-EB0E-4F44-B437-1C679A10EA5C}"/>
              </a:ext>
            </a:extLst>
          </p:cNvPr>
          <p:cNvSpPr/>
          <p:nvPr/>
        </p:nvSpPr>
        <p:spPr>
          <a:xfrm>
            <a:off x="5948602" y="3492762"/>
            <a:ext cx="66419" cy="73410"/>
          </a:xfrm>
          <a:custGeom>
            <a:avLst/>
            <a:gdLst>
              <a:gd name="connsiteX0" fmla="*/ 30297 w 66419"/>
              <a:gd name="connsiteY0" fmla="*/ 73411 h 73410"/>
              <a:gd name="connsiteX1" fmla="*/ 0 w 66419"/>
              <a:gd name="connsiteY1" fmla="*/ 73411 h 73410"/>
              <a:gd name="connsiteX2" fmla="*/ 36123 w 66419"/>
              <a:gd name="connsiteY2" fmla="*/ 37288 h 73410"/>
              <a:gd name="connsiteX3" fmla="*/ 0 w 66419"/>
              <a:gd name="connsiteY3" fmla="*/ 0 h 73410"/>
              <a:gd name="connsiteX4" fmla="*/ 31462 w 66419"/>
              <a:gd name="connsiteY4" fmla="*/ 0 h 73410"/>
              <a:gd name="connsiteX5" fmla="*/ 66419 w 66419"/>
              <a:gd name="connsiteY5" fmla="*/ 36123 h 73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3410">
                <a:moveTo>
                  <a:pt x="30297" y="73411"/>
                </a:moveTo>
                <a:lnTo>
                  <a:pt x="0" y="73411"/>
                </a:lnTo>
                <a:lnTo>
                  <a:pt x="36123" y="37288"/>
                </a:lnTo>
                <a:lnTo>
                  <a:pt x="0" y="0"/>
                </a:lnTo>
                <a:lnTo>
                  <a:pt x="31462" y="0"/>
                </a:lnTo>
                <a:lnTo>
                  <a:pt x="66419" y="36123"/>
                </a:lnTo>
                <a:close/>
              </a:path>
            </a:pathLst>
          </a:custGeom>
          <a:solidFill>
            <a:srgbClr val="EEF2F5"/>
          </a:solidFill>
          <a:ln w="11643" cap="flat">
            <a:noFill/>
            <a:prstDash val="solid"/>
            <a:miter/>
          </a:ln>
        </p:spPr>
        <p:txBody>
          <a:bodyPr rtlCol="0" anchor="ctr"/>
          <a:lstStyle/>
          <a:p>
            <a:endParaRPr lang="de-DE"/>
          </a:p>
        </p:txBody>
      </p:sp>
      <p:sp>
        <p:nvSpPr>
          <p:cNvPr id="89" name="Freihandform: Form 88">
            <a:extLst>
              <a:ext uri="{FF2B5EF4-FFF2-40B4-BE49-F238E27FC236}">
                <a16:creationId xmlns:a16="http://schemas.microsoft.com/office/drawing/2014/main" id="{3107BFD1-BB04-45D5-9901-72F67CE0736C}"/>
              </a:ext>
            </a:extLst>
          </p:cNvPr>
          <p:cNvSpPr/>
          <p:nvPr/>
        </p:nvSpPr>
        <p:spPr>
          <a:xfrm>
            <a:off x="5948602" y="3848163"/>
            <a:ext cx="66419" cy="72245"/>
          </a:xfrm>
          <a:custGeom>
            <a:avLst/>
            <a:gdLst>
              <a:gd name="connsiteX0" fmla="*/ 30297 w 66419"/>
              <a:gd name="connsiteY0" fmla="*/ 72245 h 72245"/>
              <a:gd name="connsiteX1" fmla="*/ 0 w 66419"/>
              <a:gd name="connsiteY1" fmla="*/ 72245 h 72245"/>
              <a:gd name="connsiteX2" fmla="*/ 36123 w 66419"/>
              <a:gd name="connsiteY2" fmla="*/ 36123 h 72245"/>
              <a:gd name="connsiteX3" fmla="*/ 0 w 66419"/>
              <a:gd name="connsiteY3" fmla="*/ 0 h 72245"/>
              <a:gd name="connsiteX4" fmla="*/ 31462 w 66419"/>
              <a:gd name="connsiteY4" fmla="*/ 0 h 72245"/>
              <a:gd name="connsiteX5" fmla="*/ 66419 w 66419"/>
              <a:gd name="connsiteY5" fmla="*/ 34957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5"/>
                </a:moveTo>
                <a:lnTo>
                  <a:pt x="0" y="72245"/>
                </a:lnTo>
                <a:lnTo>
                  <a:pt x="36123" y="36123"/>
                </a:lnTo>
                <a:lnTo>
                  <a:pt x="0" y="0"/>
                </a:lnTo>
                <a:lnTo>
                  <a:pt x="31462" y="0"/>
                </a:lnTo>
                <a:lnTo>
                  <a:pt x="66419" y="34957"/>
                </a:lnTo>
                <a:close/>
              </a:path>
            </a:pathLst>
          </a:custGeom>
          <a:solidFill>
            <a:srgbClr val="EEF2F5"/>
          </a:solidFill>
          <a:ln w="11643" cap="flat">
            <a:noFill/>
            <a:prstDash val="solid"/>
            <a:miter/>
          </a:ln>
        </p:spPr>
        <p:txBody>
          <a:bodyPr rtlCol="0" anchor="ctr"/>
          <a:lstStyle/>
          <a:p>
            <a:endParaRPr lang="de-DE"/>
          </a:p>
        </p:txBody>
      </p:sp>
      <p:sp>
        <p:nvSpPr>
          <p:cNvPr id="155" name="Freihandform: Form 154">
            <a:extLst>
              <a:ext uri="{FF2B5EF4-FFF2-40B4-BE49-F238E27FC236}">
                <a16:creationId xmlns:a16="http://schemas.microsoft.com/office/drawing/2014/main" id="{0476C6FA-89C7-4150-9910-3BE37EF8061B}"/>
              </a:ext>
            </a:extLst>
          </p:cNvPr>
          <p:cNvSpPr/>
          <p:nvPr/>
        </p:nvSpPr>
        <p:spPr>
          <a:xfrm>
            <a:off x="5948602" y="5267435"/>
            <a:ext cx="66419" cy="72245"/>
          </a:xfrm>
          <a:custGeom>
            <a:avLst/>
            <a:gdLst>
              <a:gd name="connsiteX0" fmla="*/ 30297 w 66419"/>
              <a:gd name="connsiteY0" fmla="*/ 72246 h 72245"/>
              <a:gd name="connsiteX1" fmla="*/ 0 w 66419"/>
              <a:gd name="connsiteY1" fmla="*/ 72246 h 72245"/>
              <a:gd name="connsiteX2" fmla="*/ 36123 w 66419"/>
              <a:gd name="connsiteY2" fmla="*/ 36123 h 72245"/>
              <a:gd name="connsiteX3" fmla="*/ 0 w 66419"/>
              <a:gd name="connsiteY3" fmla="*/ 0 h 72245"/>
              <a:gd name="connsiteX4" fmla="*/ 31462 w 66419"/>
              <a:gd name="connsiteY4" fmla="*/ 0 h 72245"/>
              <a:gd name="connsiteX5" fmla="*/ 66419 w 66419"/>
              <a:gd name="connsiteY5" fmla="*/ 36123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6"/>
                </a:moveTo>
                <a:lnTo>
                  <a:pt x="0" y="72246"/>
                </a:lnTo>
                <a:lnTo>
                  <a:pt x="36123" y="36123"/>
                </a:lnTo>
                <a:lnTo>
                  <a:pt x="0" y="0"/>
                </a:lnTo>
                <a:lnTo>
                  <a:pt x="31462" y="0"/>
                </a:lnTo>
                <a:lnTo>
                  <a:pt x="66419" y="36123"/>
                </a:lnTo>
                <a:close/>
              </a:path>
            </a:pathLst>
          </a:custGeom>
          <a:solidFill>
            <a:srgbClr val="EEF2F5"/>
          </a:solidFill>
          <a:ln w="11643" cap="flat">
            <a:noFill/>
            <a:prstDash val="solid"/>
            <a:miter/>
          </a:ln>
        </p:spPr>
        <p:txBody>
          <a:bodyPr rtlCol="0" anchor="ctr"/>
          <a:lstStyle/>
          <a:p>
            <a:endParaRPr lang="de-DE"/>
          </a:p>
        </p:txBody>
      </p:sp>
      <p:sp>
        <p:nvSpPr>
          <p:cNvPr id="172" name="Freihandform: Form 171">
            <a:extLst>
              <a:ext uri="{FF2B5EF4-FFF2-40B4-BE49-F238E27FC236}">
                <a16:creationId xmlns:a16="http://schemas.microsoft.com/office/drawing/2014/main" id="{B7EA1921-A21C-4EEA-AF29-44E0ABBF486B}"/>
              </a:ext>
            </a:extLst>
          </p:cNvPr>
          <p:cNvSpPr/>
          <p:nvPr/>
        </p:nvSpPr>
        <p:spPr>
          <a:xfrm>
            <a:off x="5948602" y="5622836"/>
            <a:ext cx="66419" cy="72245"/>
          </a:xfrm>
          <a:custGeom>
            <a:avLst/>
            <a:gdLst>
              <a:gd name="connsiteX0" fmla="*/ 30297 w 66419"/>
              <a:gd name="connsiteY0" fmla="*/ 72246 h 72245"/>
              <a:gd name="connsiteX1" fmla="*/ 0 w 66419"/>
              <a:gd name="connsiteY1" fmla="*/ 72246 h 72245"/>
              <a:gd name="connsiteX2" fmla="*/ 36123 w 66419"/>
              <a:gd name="connsiteY2" fmla="*/ 36123 h 72245"/>
              <a:gd name="connsiteX3" fmla="*/ 0 w 66419"/>
              <a:gd name="connsiteY3" fmla="*/ 0 h 72245"/>
              <a:gd name="connsiteX4" fmla="*/ 31462 w 66419"/>
              <a:gd name="connsiteY4" fmla="*/ 0 h 72245"/>
              <a:gd name="connsiteX5" fmla="*/ 66419 w 66419"/>
              <a:gd name="connsiteY5" fmla="*/ 34957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6"/>
                </a:moveTo>
                <a:lnTo>
                  <a:pt x="0" y="72246"/>
                </a:lnTo>
                <a:lnTo>
                  <a:pt x="36123" y="36123"/>
                </a:lnTo>
                <a:lnTo>
                  <a:pt x="0" y="0"/>
                </a:lnTo>
                <a:lnTo>
                  <a:pt x="31462" y="0"/>
                </a:lnTo>
                <a:lnTo>
                  <a:pt x="66419" y="34957"/>
                </a:lnTo>
                <a:close/>
              </a:path>
            </a:pathLst>
          </a:custGeom>
          <a:solidFill>
            <a:srgbClr val="EEF2F5"/>
          </a:solidFill>
          <a:ln w="11643" cap="flat">
            <a:noFill/>
            <a:prstDash val="solid"/>
            <a:miter/>
          </a:ln>
        </p:spPr>
        <p:txBody>
          <a:bodyPr rtlCol="0" anchor="ctr"/>
          <a:lstStyle/>
          <a:p>
            <a:endParaRPr lang="de-DE"/>
          </a:p>
        </p:txBody>
      </p:sp>
      <p:sp>
        <p:nvSpPr>
          <p:cNvPr id="189" name="Freihandform: Form 188">
            <a:extLst>
              <a:ext uri="{FF2B5EF4-FFF2-40B4-BE49-F238E27FC236}">
                <a16:creationId xmlns:a16="http://schemas.microsoft.com/office/drawing/2014/main" id="{4B73D56C-9773-4937-82D9-0C129B27FB09}"/>
              </a:ext>
            </a:extLst>
          </p:cNvPr>
          <p:cNvSpPr/>
          <p:nvPr/>
        </p:nvSpPr>
        <p:spPr>
          <a:xfrm>
            <a:off x="5948602" y="5977071"/>
            <a:ext cx="66419" cy="72245"/>
          </a:xfrm>
          <a:custGeom>
            <a:avLst/>
            <a:gdLst>
              <a:gd name="connsiteX0" fmla="*/ 30297 w 66419"/>
              <a:gd name="connsiteY0" fmla="*/ 72246 h 72245"/>
              <a:gd name="connsiteX1" fmla="*/ 0 w 66419"/>
              <a:gd name="connsiteY1" fmla="*/ 72246 h 72245"/>
              <a:gd name="connsiteX2" fmla="*/ 36123 w 66419"/>
              <a:gd name="connsiteY2" fmla="*/ 36123 h 72245"/>
              <a:gd name="connsiteX3" fmla="*/ 0 w 66419"/>
              <a:gd name="connsiteY3" fmla="*/ 0 h 72245"/>
              <a:gd name="connsiteX4" fmla="*/ 31462 w 66419"/>
              <a:gd name="connsiteY4" fmla="*/ 0 h 72245"/>
              <a:gd name="connsiteX5" fmla="*/ 66419 w 66419"/>
              <a:gd name="connsiteY5" fmla="*/ 36123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6"/>
                </a:moveTo>
                <a:lnTo>
                  <a:pt x="0" y="72246"/>
                </a:lnTo>
                <a:lnTo>
                  <a:pt x="36123" y="36123"/>
                </a:lnTo>
                <a:lnTo>
                  <a:pt x="0" y="0"/>
                </a:lnTo>
                <a:lnTo>
                  <a:pt x="31462" y="0"/>
                </a:lnTo>
                <a:lnTo>
                  <a:pt x="66419" y="36123"/>
                </a:lnTo>
                <a:close/>
              </a:path>
            </a:pathLst>
          </a:custGeom>
          <a:solidFill>
            <a:srgbClr val="EEF2F5"/>
          </a:solidFill>
          <a:ln w="11643" cap="flat">
            <a:noFill/>
            <a:prstDash val="solid"/>
            <a:miter/>
          </a:ln>
        </p:spPr>
        <p:txBody>
          <a:bodyPr rtlCol="0" anchor="ctr"/>
          <a:lstStyle/>
          <a:p>
            <a:endParaRPr lang="de-DE"/>
          </a:p>
        </p:txBody>
      </p:sp>
      <p:sp>
        <p:nvSpPr>
          <p:cNvPr id="206" name="Freihandform: Form 205">
            <a:extLst>
              <a:ext uri="{FF2B5EF4-FFF2-40B4-BE49-F238E27FC236}">
                <a16:creationId xmlns:a16="http://schemas.microsoft.com/office/drawing/2014/main" id="{A2EEDBB3-F918-4A6E-A412-B8C8B911DDD3}"/>
              </a:ext>
            </a:extLst>
          </p:cNvPr>
          <p:cNvSpPr/>
          <p:nvPr/>
        </p:nvSpPr>
        <p:spPr>
          <a:xfrm>
            <a:off x="5948602" y="6332472"/>
            <a:ext cx="66419" cy="72245"/>
          </a:xfrm>
          <a:custGeom>
            <a:avLst/>
            <a:gdLst>
              <a:gd name="connsiteX0" fmla="*/ 30297 w 66419"/>
              <a:gd name="connsiteY0" fmla="*/ 72246 h 72245"/>
              <a:gd name="connsiteX1" fmla="*/ 0 w 66419"/>
              <a:gd name="connsiteY1" fmla="*/ 72246 h 72245"/>
              <a:gd name="connsiteX2" fmla="*/ 36123 w 66419"/>
              <a:gd name="connsiteY2" fmla="*/ 36123 h 72245"/>
              <a:gd name="connsiteX3" fmla="*/ 0 w 66419"/>
              <a:gd name="connsiteY3" fmla="*/ 0 h 72245"/>
              <a:gd name="connsiteX4" fmla="*/ 31462 w 66419"/>
              <a:gd name="connsiteY4" fmla="*/ 0 h 72245"/>
              <a:gd name="connsiteX5" fmla="*/ 66419 w 66419"/>
              <a:gd name="connsiteY5" fmla="*/ 34957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6"/>
                </a:moveTo>
                <a:lnTo>
                  <a:pt x="0" y="72246"/>
                </a:lnTo>
                <a:lnTo>
                  <a:pt x="36123" y="36123"/>
                </a:lnTo>
                <a:lnTo>
                  <a:pt x="0" y="0"/>
                </a:lnTo>
                <a:lnTo>
                  <a:pt x="31462" y="0"/>
                </a:lnTo>
                <a:lnTo>
                  <a:pt x="66419" y="34957"/>
                </a:lnTo>
                <a:close/>
              </a:path>
            </a:pathLst>
          </a:custGeom>
          <a:solidFill>
            <a:srgbClr val="EEF2F5"/>
          </a:solidFill>
          <a:ln w="11643" cap="flat">
            <a:noFill/>
            <a:prstDash val="solid"/>
            <a:miter/>
          </a:ln>
        </p:spPr>
        <p:txBody>
          <a:bodyPr rtlCol="0" anchor="ctr"/>
          <a:lstStyle/>
          <a:p>
            <a:endParaRPr lang="de-DE"/>
          </a:p>
        </p:txBody>
      </p:sp>
      <p:sp>
        <p:nvSpPr>
          <p:cNvPr id="222" name="Freihandform: Form 221">
            <a:extLst>
              <a:ext uri="{FF2B5EF4-FFF2-40B4-BE49-F238E27FC236}">
                <a16:creationId xmlns:a16="http://schemas.microsoft.com/office/drawing/2014/main" id="{E783B07A-D7A5-49D0-8D6F-D0064E121D70}"/>
              </a:ext>
            </a:extLst>
          </p:cNvPr>
          <p:cNvSpPr/>
          <p:nvPr/>
        </p:nvSpPr>
        <p:spPr>
          <a:xfrm>
            <a:off x="5948602" y="6686707"/>
            <a:ext cx="66419" cy="72245"/>
          </a:xfrm>
          <a:custGeom>
            <a:avLst/>
            <a:gdLst>
              <a:gd name="connsiteX0" fmla="*/ 30297 w 66419"/>
              <a:gd name="connsiteY0" fmla="*/ 72246 h 72245"/>
              <a:gd name="connsiteX1" fmla="*/ 0 w 66419"/>
              <a:gd name="connsiteY1" fmla="*/ 72246 h 72245"/>
              <a:gd name="connsiteX2" fmla="*/ 36123 w 66419"/>
              <a:gd name="connsiteY2" fmla="*/ 37288 h 72245"/>
              <a:gd name="connsiteX3" fmla="*/ 0 w 66419"/>
              <a:gd name="connsiteY3" fmla="*/ 0 h 72245"/>
              <a:gd name="connsiteX4" fmla="*/ 31462 w 66419"/>
              <a:gd name="connsiteY4" fmla="*/ 0 h 72245"/>
              <a:gd name="connsiteX5" fmla="*/ 66419 w 66419"/>
              <a:gd name="connsiteY5" fmla="*/ 36123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6"/>
                </a:moveTo>
                <a:lnTo>
                  <a:pt x="0" y="72246"/>
                </a:lnTo>
                <a:lnTo>
                  <a:pt x="36123" y="37288"/>
                </a:lnTo>
                <a:lnTo>
                  <a:pt x="0" y="0"/>
                </a:lnTo>
                <a:lnTo>
                  <a:pt x="31462" y="0"/>
                </a:lnTo>
                <a:lnTo>
                  <a:pt x="66419" y="36123"/>
                </a:lnTo>
                <a:close/>
              </a:path>
            </a:pathLst>
          </a:custGeom>
          <a:solidFill>
            <a:srgbClr val="EEF2F5"/>
          </a:solidFill>
          <a:ln w="11643" cap="flat">
            <a:noFill/>
            <a:prstDash val="solid"/>
            <a:miter/>
          </a:ln>
        </p:spPr>
        <p:txBody>
          <a:bodyPr rtlCol="0" anchor="ctr"/>
          <a:lstStyle/>
          <a:p>
            <a:endParaRPr lang="de-DE"/>
          </a:p>
        </p:txBody>
      </p:sp>
      <p:sp>
        <p:nvSpPr>
          <p:cNvPr id="11" name="Freihandform: Form 10">
            <a:extLst>
              <a:ext uri="{FF2B5EF4-FFF2-40B4-BE49-F238E27FC236}">
                <a16:creationId xmlns:a16="http://schemas.microsoft.com/office/drawing/2014/main" id="{75FBD411-81D5-40D9-85F5-17F8ADC51855}"/>
              </a:ext>
            </a:extLst>
          </p:cNvPr>
          <p:cNvSpPr/>
          <p:nvPr/>
        </p:nvSpPr>
        <p:spPr>
          <a:xfrm>
            <a:off x="6294680" y="2064168"/>
            <a:ext cx="83897" cy="90889"/>
          </a:xfrm>
          <a:custGeom>
            <a:avLst/>
            <a:gdLst>
              <a:gd name="connsiteX0" fmla="*/ 38453 w 83897"/>
              <a:gd name="connsiteY0" fmla="*/ 90889 h 90889"/>
              <a:gd name="connsiteX1" fmla="*/ 0 w 83897"/>
              <a:gd name="connsiteY1" fmla="*/ 90889 h 90889"/>
              <a:gd name="connsiteX2" fmla="*/ 45445 w 83897"/>
              <a:gd name="connsiteY2" fmla="*/ 46610 h 90889"/>
              <a:gd name="connsiteX3" fmla="*/ 0 w 83897"/>
              <a:gd name="connsiteY3" fmla="*/ 0 h 90889"/>
              <a:gd name="connsiteX4" fmla="*/ 39618 w 83897"/>
              <a:gd name="connsiteY4" fmla="*/ 0 h 90889"/>
              <a:gd name="connsiteX5" fmla="*/ 83898 w 83897"/>
              <a:gd name="connsiteY5" fmla="*/ 45445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6610"/>
                </a:lnTo>
                <a:lnTo>
                  <a:pt x="0" y="0"/>
                </a:lnTo>
                <a:lnTo>
                  <a:pt x="39618" y="0"/>
                </a:lnTo>
                <a:lnTo>
                  <a:pt x="83898" y="45445"/>
                </a:lnTo>
                <a:close/>
              </a:path>
            </a:pathLst>
          </a:custGeom>
          <a:solidFill>
            <a:srgbClr val="EEF2F5"/>
          </a:solidFill>
          <a:ln w="11643" cap="flat">
            <a:noFill/>
            <a:prstDash val="solid"/>
            <a:miter/>
          </a:ln>
        </p:spPr>
        <p:txBody>
          <a:bodyPr rtlCol="0" anchor="ctr"/>
          <a:lstStyle/>
          <a:p>
            <a:endParaRPr lang="de-DE"/>
          </a:p>
        </p:txBody>
      </p:sp>
      <p:sp>
        <p:nvSpPr>
          <p:cNvPr id="26" name="Freihandform: Form 25">
            <a:extLst>
              <a:ext uri="{FF2B5EF4-FFF2-40B4-BE49-F238E27FC236}">
                <a16:creationId xmlns:a16="http://schemas.microsoft.com/office/drawing/2014/main" id="{1BE891D4-79E8-4F6F-87F1-0D4367D86BBB}"/>
              </a:ext>
            </a:extLst>
          </p:cNvPr>
          <p:cNvSpPr/>
          <p:nvPr/>
        </p:nvSpPr>
        <p:spPr>
          <a:xfrm>
            <a:off x="6294680" y="2419569"/>
            <a:ext cx="83897" cy="90889"/>
          </a:xfrm>
          <a:custGeom>
            <a:avLst/>
            <a:gdLst>
              <a:gd name="connsiteX0" fmla="*/ 38453 w 83897"/>
              <a:gd name="connsiteY0" fmla="*/ 90889 h 90889"/>
              <a:gd name="connsiteX1" fmla="*/ 0 w 83897"/>
              <a:gd name="connsiteY1" fmla="*/ 90889 h 90889"/>
              <a:gd name="connsiteX2" fmla="*/ 45445 w 83897"/>
              <a:gd name="connsiteY2" fmla="*/ 45445 h 90889"/>
              <a:gd name="connsiteX3" fmla="*/ 0 w 83897"/>
              <a:gd name="connsiteY3" fmla="*/ 0 h 90889"/>
              <a:gd name="connsiteX4" fmla="*/ 39618 w 83897"/>
              <a:gd name="connsiteY4" fmla="*/ 0 h 90889"/>
              <a:gd name="connsiteX5" fmla="*/ 83898 w 83897"/>
              <a:gd name="connsiteY5" fmla="*/ 44279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endParaRPr lang="de-DE"/>
          </a:p>
        </p:txBody>
      </p:sp>
      <p:sp>
        <p:nvSpPr>
          <p:cNvPr id="42" name="Freihandform: Form 41">
            <a:extLst>
              <a:ext uri="{FF2B5EF4-FFF2-40B4-BE49-F238E27FC236}">
                <a16:creationId xmlns:a16="http://schemas.microsoft.com/office/drawing/2014/main" id="{3840402F-0CB7-4700-AB86-312936B9375A}"/>
              </a:ext>
            </a:extLst>
          </p:cNvPr>
          <p:cNvSpPr/>
          <p:nvPr/>
        </p:nvSpPr>
        <p:spPr>
          <a:xfrm>
            <a:off x="6294680" y="2773804"/>
            <a:ext cx="83897" cy="90889"/>
          </a:xfrm>
          <a:custGeom>
            <a:avLst/>
            <a:gdLst>
              <a:gd name="connsiteX0" fmla="*/ 38453 w 83897"/>
              <a:gd name="connsiteY0" fmla="*/ 90889 h 90889"/>
              <a:gd name="connsiteX1" fmla="*/ 0 w 83897"/>
              <a:gd name="connsiteY1" fmla="*/ 90889 h 90889"/>
              <a:gd name="connsiteX2" fmla="*/ 45445 w 83897"/>
              <a:gd name="connsiteY2" fmla="*/ 46610 h 90889"/>
              <a:gd name="connsiteX3" fmla="*/ 0 w 83897"/>
              <a:gd name="connsiteY3" fmla="*/ 0 h 90889"/>
              <a:gd name="connsiteX4" fmla="*/ 39618 w 83897"/>
              <a:gd name="connsiteY4" fmla="*/ 0 h 90889"/>
              <a:gd name="connsiteX5" fmla="*/ 83898 w 83897"/>
              <a:gd name="connsiteY5" fmla="*/ 45445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6610"/>
                </a:lnTo>
                <a:lnTo>
                  <a:pt x="0" y="0"/>
                </a:lnTo>
                <a:lnTo>
                  <a:pt x="39618" y="0"/>
                </a:lnTo>
                <a:lnTo>
                  <a:pt x="83898" y="45445"/>
                </a:lnTo>
                <a:close/>
              </a:path>
            </a:pathLst>
          </a:custGeom>
          <a:solidFill>
            <a:srgbClr val="EEF2F5"/>
          </a:solidFill>
          <a:ln w="11643" cap="flat">
            <a:noFill/>
            <a:prstDash val="solid"/>
            <a:miter/>
          </a:ln>
        </p:spPr>
        <p:txBody>
          <a:bodyPr rtlCol="0" anchor="ctr"/>
          <a:lstStyle/>
          <a:p>
            <a:endParaRPr lang="de-DE"/>
          </a:p>
        </p:txBody>
      </p:sp>
      <p:sp>
        <p:nvSpPr>
          <p:cNvPr id="58" name="Freihandform: Form 57">
            <a:extLst>
              <a:ext uri="{FF2B5EF4-FFF2-40B4-BE49-F238E27FC236}">
                <a16:creationId xmlns:a16="http://schemas.microsoft.com/office/drawing/2014/main" id="{C92817E7-21F5-4822-9D42-BC3A22B20F43}"/>
              </a:ext>
            </a:extLst>
          </p:cNvPr>
          <p:cNvSpPr/>
          <p:nvPr/>
        </p:nvSpPr>
        <p:spPr>
          <a:xfrm>
            <a:off x="6294680" y="3129205"/>
            <a:ext cx="83897" cy="90889"/>
          </a:xfrm>
          <a:custGeom>
            <a:avLst/>
            <a:gdLst>
              <a:gd name="connsiteX0" fmla="*/ 38453 w 83897"/>
              <a:gd name="connsiteY0" fmla="*/ 90889 h 90889"/>
              <a:gd name="connsiteX1" fmla="*/ 0 w 83897"/>
              <a:gd name="connsiteY1" fmla="*/ 90889 h 90889"/>
              <a:gd name="connsiteX2" fmla="*/ 45445 w 83897"/>
              <a:gd name="connsiteY2" fmla="*/ 45445 h 90889"/>
              <a:gd name="connsiteX3" fmla="*/ 0 w 83897"/>
              <a:gd name="connsiteY3" fmla="*/ 0 h 90889"/>
              <a:gd name="connsiteX4" fmla="*/ 39618 w 83897"/>
              <a:gd name="connsiteY4" fmla="*/ 0 h 90889"/>
              <a:gd name="connsiteX5" fmla="*/ 83898 w 83897"/>
              <a:gd name="connsiteY5" fmla="*/ 44279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endParaRPr lang="de-DE"/>
          </a:p>
        </p:txBody>
      </p:sp>
      <p:sp>
        <p:nvSpPr>
          <p:cNvPr id="74" name="Freihandform: Form 73">
            <a:extLst>
              <a:ext uri="{FF2B5EF4-FFF2-40B4-BE49-F238E27FC236}">
                <a16:creationId xmlns:a16="http://schemas.microsoft.com/office/drawing/2014/main" id="{B9D0716B-8D9A-4338-AEA4-79A7EEDD478B}"/>
              </a:ext>
            </a:extLst>
          </p:cNvPr>
          <p:cNvSpPr/>
          <p:nvPr/>
        </p:nvSpPr>
        <p:spPr>
          <a:xfrm>
            <a:off x="6294680" y="3484606"/>
            <a:ext cx="83897" cy="89724"/>
          </a:xfrm>
          <a:custGeom>
            <a:avLst/>
            <a:gdLst>
              <a:gd name="connsiteX0" fmla="*/ 38453 w 83897"/>
              <a:gd name="connsiteY0" fmla="*/ 89724 h 89724"/>
              <a:gd name="connsiteX1" fmla="*/ 0 w 83897"/>
              <a:gd name="connsiteY1" fmla="*/ 89724 h 89724"/>
              <a:gd name="connsiteX2" fmla="*/ 45445 w 83897"/>
              <a:gd name="connsiteY2" fmla="*/ 45445 h 89724"/>
              <a:gd name="connsiteX3" fmla="*/ 0 w 83897"/>
              <a:gd name="connsiteY3" fmla="*/ 0 h 89724"/>
              <a:gd name="connsiteX4" fmla="*/ 39618 w 83897"/>
              <a:gd name="connsiteY4" fmla="*/ 0 h 89724"/>
              <a:gd name="connsiteX5" fmla="*/ 83898 w 83897"/>
              <a:gd name="connsiteY5" fmla="*/ 44279 h 89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89724">
                <a:moveTo>
                  <a:pt x="38453" y="89724"/>
                </a:moveTo>
                <a:lnTo>
                  <a:pt x="0" y="89724"/>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endParaRPr lang="de-DE"/>
          </a:p>
        </p:txBody>
      </p:sp>
      <p:sp>
        <p:nvSpPr>
          <p:cNvPr id="90" name="Freihandform: Form 89">
            <a:extLst>
              <a:ext uri="{FF2B5EF4-FFF2-40B4-BE49-F238E27FC236}">
                <a16:creationId xmlns:a16="http://schemas.microsoft.com/office/drawing/2014/main" id="{9161924B-A7F2-4DF3-B909-33BF43FA25EF}"/>
              </a:ext>
            </a:extLst>
          </p:cNvPr>
          <p:cNvSpPr/>
          <p:nvPr/>
        </p:nvSpPr>
        <p:spPr>
          <a:xfrm>
            <a:off x="6294680" y="3838841"/>
            <a:ext cx="83897" cy="90889"/>
          </a:xfrm>
          <a:custGeom>
            <a:avLst/>
            <a:gdLst>
              <a:gd name="connsiteX0" fmla="*/ 38453 w 83897"/>
              <a:gd name="connsiteY0" fmla="*/ 90889 h 90889"/>
              <a:gd name="connsiteX1" fmla="*/ 0 w 83897"/>
              <a:gd name="connsiteY1" fmla="*/ 90889 h 90889"/>
              <a:gd name="connsiteX2" fmla="*/ 45445 w 83897"/>
              <a:gd name="connsiteY2" fmla="*/ 45445 h 90889"/>
              <a:gd name="connsiteX3" fmla="*/ 0 w 83897"/>
              <a:gd name="connsiteY3" fmla="*/ 0 h 90889"/>
              <a:gd name="connsiteX4" fmla="*/ 39618 w 83897"/>
              <a:gd name="connsiteY4" fmla="*/ 0 h 90889"/>
              <a:gd name="connsiteX5" fmla="*/ 83898 w 83897"/>
              <a:gd name="connsiteY5" fmla="*/ 44279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endParaRPr lang="de-DE"/>
          </a:p>
        </p:txBody>
      </p:sp>
      <p:sp>
        <p:nvSpPr>
          <p:cNvPr id="106" name="Freihandform: Form 105">
            <a:extLst>
              <a:ext uri="{FF2B5EF4-FFF2-40B4-BE49-F238E27FC236}">
                <a16:creationId xmlns:a16="http://schemas.microsoft.com/office/drawing/2014/main" id="{9F04DFFC-EA40-46F4-8195-B5F7E353EE2A}"/>
              </a:ext>
            </a:extLst>
          </p:cNvPr>
          <p:cNvSpPr/>
          <p:nvPr/>
        </p:nvSpPr>
        <p:spPr>
          <a:xfrm>
            <a:off x="6294680" y="4194242"/>
            <a:ext cx="83897" cy="89724"/>
          </a:xfrm>
          <a:custGeom>
            <a:avLst/>
            <a:gdLst>
              <a:gd name="connsiteX0" fmla="*/ 38453 w 83897"/>
              <a:gd name="connsiteY0" fmla="*/ 89724 h 89724"/>
              <a:gd name="connsiteX1" fmla="*/ 0 w 83897"/>
              <a:gd name="connsiteY1" fmla="*/ 89724 h 89724"/>
              <a:gd name="connsiteX2" fmla="*/ 45445 w 83897"/>
              <a:gd name="connsiteY2" fmla="*/ 45445 h 89724"/>
              <a:gd name="connsiteX3" fmla="*/ 0 w 83897"/>
              <a:gd name="connsiteY3" fmla="*/ 0 h 89724"/>
              <a:gd name="connsiteX4" fmla="*/ 39618 w 83897"/>
              <a:gd name="connsiteY4" fmla="*/ 0 h 89724"/>
              <a:gd name="connsiteX5" fmla="*/ 83898 w 83897"/>
              <a:gd name="connsiteY5" fmla="*/ 44279 h 89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89724">
                <a:moveTo>
                  <a:pt x="38453" y="89724"/>
                </a:moveTo>
                <a:lnTo>
                  <a:pt x="0" y="89724"/>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endParaRPr lang="de-DE"/>
          </a:p>
        </p:txBody>
      </p:sp>
      <p:sp>
        <p:nvSpPr>
          <p:cNvPr id="139" name="Freihandform: Form 138">
            <a:extLst>
              <a:ext uri="{FF2B5EF4-FFF2-40B4-BE49-F238E27FC236}">
                <a16:creationId xmlns:a16="http://schemas.microsoft.com/office/drawing/2014/main" id="{5362CBB1-E50A-41B7-8ED0-9FCFE213E9A5}"/>
              </a:ext>
            </a:extLst>
          </p:cNvPr>
          <p:cNvSpPr/>
          <p:nvPr/>
        </p:nvSpPr>
        <p:spPr>
          <a:xfrm>
            <a:off x="6294680" y="4903878"/>
            <a:ext cx="83897" cy="89724"/>
          </a:xfrm>
          <a:custGeom>
            <a:avLst/>
            <a:gdLst>
              <a:gd name="connsiteX0" fmla="*/ 38453 w 83897"/>
              <a:gd name="connsiteY0" fmla="*/ 89724 h 89724"/>
              <a:gd name="connsiteX1" fmla="*/ 0 w 83897"/>
              <a:gd name="connsiteY1" fmla="*/ 89724 h 89724"/>
              <a:gd name="connsiteX2" fmla="*/ 45445 w 83897"/>
              <a:gd name="connsiteY2" fmla="*/ 45445 h 89724"/>
              <a:gd name="connsiteX3" fmla="*/ 0 w 83897"/>
              <a:gd name="connsiteY3" fmla="*/ 0 h 89724"/>
              <a:gd name="connsiteX4" fmla="*/ 39618 w 83897"/>
              <a:gd name="connsiteY4" fmla="*/ 0 h 89724"/>
              <a:gd name="connsiteX5" fmla="*/ 83898 w 83897"/>
              <a:gd name="connsiteY5" fmla="*/ 44279 h 89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89724">
                <a:moveTo>
                  <a:pt x="38453" y="89724"/>
                </a:moveTo>
                <a:lnTo>
                  <a:pt x="0" y="89724"/>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endParaRPr lang="de-DE"/>
          </a:p>
        </p:txBody>
      </p:sp>
      <p:sp>
        <p:nvSpPr>
          <p:cNvPr id="156" name="Freihandform: Form 155">
            <a:extLst>
              <a:ext uri="{FF2B5EF4-FFF2-40B4-BE49-F238E27FC236}">
                <a16:creationId xmlns:a16="http://schemas.microsoft.com/office/drawing/2014/main" id="{2508847B-61E4-41D1-A3A0-A411189F6767}"/>
              </a:ext>
            </a:extLst>
          </p:cNvPr>
          <p:cNvSpPr/>
          <p:nvPr/>
        </p:nvSpPr>
        <p:spPr>
          <a:xfrm>
            <a:off x="6294680" y="5258113"/>
            <a:ext cx="83897" cy="90889"/>
          </a:xfrm>
          <a:custGeom>
            <a:avLst/>
            <a:gdLst>
              <a:gd name="connsiteX0" fmla="*/ 38453 w 83897"/>
              <a:gd name="connsiteY0" fmla="*/ 90889 h 90889"/>
              <a:gd name="connsiteX1" fmla="*/ 0 w 83897"/>
              <a:gd name="connsiteY1" fmla="*/ 90889 h 90889"/>
              <a:gd name="connsiteX2" fmla="*/ 45445 w 83897"/>
              <a:gd name="connsiteY2" fmla="*/ 45445 h 90889"/>
              <a:gd name="connsiteX3" fmla="*/ 0 w 83897"/>
              <a:gd name="connsiteY3" fmla="*/ 0 h 90889"/>
              <a:gd name="connsiteX4" fmla="*/ 39618 w 83897"/>
              <a:gd name="connsiteY4" fmla="*/ 0 h 90889"/>
              <a:gd name="connsiteX5" fmla="*/ 83898 w 83897"/>
              <a:gd name="connsiteY5" fmla="*/ 44279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endParaRPr lang="de-DE"/>
          </a:p>
        </p:txBody>
      </p:sp>
      <p:sp>
        <p:nvSpPr>
          <p:cNvPr id="173" name="Freihandform: Form 172">
            <a:extLst>
              <a:ext uri="{FF2B5EF4-FFF2-40B4-BE49-F238E27FC236}">
                <a16:creationId xmlns:a16="http://schemas.microsoft.com/office/drawing/2014/main" id="{E2A7CA26-A6FF-4830-89D6-0AE49ECECB52}"/>
              </a:ext>
            </a:extLst>
          </p:cNvPr>
          <p:cNvSpPr/>
          <p:nvPr/>
        </p:nvSpPr>
        <p:spPr>
          <a:xfrm>
            <a:off x="6294680" y="5613514"/>
            <a:ext cx="83897" cy="90889"/>
          </a:xfrm>
          <a:custGeom>
            <a:avLst/>
            <a:gdLst>
              <a:gd name="connsiteX0" fmla="*/ 38453 w 83897"/>
              <a:gd name="connsiteY0" fmla="*/ 90889 h 90889"/>
              <a:gd name="connsiteX1" fmla="*/ 0 w 83897"/>
              <a:gd name="connsiteY1" fmla="*/ 90889 h 90889"/>
              <a:gd name="connsiteX2" fmla="*/ 45445 w 83897"/>
              <a:gd name="connsiteY2" fmla="*/ 45445 h 90889"/>
              <a:gd name="connsiteX3" fmla="*/ 0 w 83897"/>
              <a:gd name="connsiteY3" fmla="*/ 0 h 90889"/>
              <a:gd name="connsiteX4" fmla="*/ 39618 w 83897"/>
              <a:gd name="connsiteY4" fmla="*/ 0 h 90889"/>
              <a:gd name="connsiteX5" fmla="*/ 83898 w 83897"/>
              <a:gd name="connsiteY5" fmla="*/ 44279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endParaRPr lang="de-DE"/>
          </a:p>
        </p:txBody>
      </p:sp>
      <p:sp>
        <p:nvSpPr>
          <p:cNvPr id="190" name="Freihandform: Form 189">
            <a:extLst>
              <a:ext uri="{FF2B5EF4-FFF2-40B4-BE49-F238E27FC236}">
                <a16:creationId xmlns:a16="http://schemas.microsoft.com/office/drawing/2014/main" id="{0D910AA1-D94C-4927-9F7F-6AE33C84B359}"/>
              </a:ext>
            </a:extLst>
          </p:cNvPr>
          <p:cNvSpPr/>
          <p:nvPr/>
        </p:nvSpPr>
        <p:spPr>
          <a:xfrm>
            <a:off x="6294680" y="5967749"/>
            <a:ext cx="83897" cy="90889"/>
          </a:xfrm>
          <a:custGeom>
            <a:avLst/>
            <a:gdLst>
              <a:gd name="connsiteX0" fmla="*/ 38453 w 83897"/>
              <a:gd name="connsiteY0" fmla="*/ 90889 h 90889"/>
              <a:gd name="connsiteX1" fmla="*/ 0 w 83897"/>
              <a:gd name="connsiteY1" fmla="*/ 90889 h 90889"/>
              <a:gd name="connsiteX2" fmla="*/ 45445 w 83897"/>
              <a:gd name="connsiteY2" fmla="*/ 46610 h 90889"/>
              <a:gd name="connsiteX3" fmla="*/ 0 w 83897"/>
              <a:gd name="connsiteY3" fmla="*/ 0 h 90889"/>
              <a:gd name="connsiteX4" fmla="*/ 39618 w 83897"/>
              <a:gd name="connsiteY4" fmla="*/ 0 h 90889"/>
              <a:gd name="connsiteX5" fmla="*/ 83898 w 83897"/>
              <a:gd name="connsiteY5" fmla="*/ 45445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6610"/>
                </a:lnTo>
                <a:lnTo>
                  <a:pt x="0" y="0"/>
                </a:lnTo>
                <a:lnTo>
                  <a:pt x="39618" y="0"/>
                </a:lnTo>
                <a:lnTo>
                  <a:pt x="83898" y="45445"/>
                </a:lnTo>
                <a:close/>
              </a:path>
            </a:pathLst>
          </a:custGeom>
          <a:solidFill>
            <a:srgbClr val="EEF2F5"/>
          </a:solidFill>
          <a:ln w="11643" cap="flat">
            <a:noFill/>
            <a:prstDash val="solid"/>
            <a:miter/>
          </a:ln>
        </p:spPr>
        <p:txBody>
          <a:bodyPr rtlCol="0" anchor="ctr"/>
          <a:lstStyle/>
          <a:p>
            <a:endParaRPr lang="de-DE"/>
          </a:p>
        </p:txBody>
      </p:sp>
      <p:sp>
        <p:nvSpPr>
          <p:cNvPr id="207" name="Freihandform: Form 206">
            <a:extLst>
              <a:ext uri="{FF2B5EF4-FFF2-40B4-BE49-F238E27FC236}">
                <a16:creationId xmlns:a16="http://schemas.microsoft.com/office/drawing/2014/main" id="{21DCF3C4-698C-4A65-960C-FC9526795073}"/>
              </a:ext>
            </a:extLst>
          </p:cNvPr>
          <p:cNvSpPr/>
          <p:nvPr/>
        </p:nvSpPr>
        <p:spPr>
          <a:xfrm>
            <a:off x="6294680" y="6323150"/>
            <a:ext cx="83897" cy="90889"/>
          </a:xfrm>
          <a:custGeom>
            <a:avLst/>
            <a:gdLst>
              <a:gd name="connsiteX0" fmla="*/ 38453 w 83897"/>
              <a:gd name="connsiteY0" fmla="*/ 90889 h 90889"/>
              <a:gd name="connsiteX1" fmla="*/ 0 w 83897"/>
              <a:gd name="connsiteY1" fmla="*/ 90889 h 90889"/>
              <a:gd name="connsiteX2" fmla="*/ 45445 w 83897"/>
              <a:gd name="connsiteY2" fmla="*/ 45445 h 90889"/>
              <a:gd name="connsiteX3" fmla="*/ 0 w 83897"/>
              <a:gd name="connsiteY3" fmla="*/ 0 h 90889"/>
              <a:gd name="connsiteX4" fmla="*/ 39618 w 83897"/>
              <a:gd name="connsiteY4" fmla="*/ 0 h 90889"/>
              <a:gd name="connsiteX5" fmla="*/ 83898 w 83897"/>
              <a:gd name="connsiteY5" fmla="*/ 44279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endParaRPr lang="de-DE"/>
          </a:p>
        </p:txBody>
      </p:sp>
      <p:sp>
        <p:nvSpPr>
          <p:cNvPr id="223" name="Freihandform: Form 222">
            <a:extLst>
              <a:ext uri="{FF2B5EF4-FFF2-40B4-BE49-F238E27FC236}">
                <a16:creationId xmlns:a16="http://schemas.microsoft.com/office/drawing/2014/main" id="{E38105B6-8D3F-48F3-9F5F-2328382B7C38}"/>
              </a:ext>
            </a:extLst>
          </p:cNvPr>
          <p:cNvSpPr/>
          <p:nvPr/>
        </p:nvSpPr>
        <p:spPr>
          <a:xfrm>
            <a:off x="6294680" y="6677385"/>
            <a:ext cx="83897" cy="90889"/>
          </a:xfrm>
          <a:custGeom>
            <a:avLst/>
            <a:gdLst>
              <a:gd name="connsiteX0" fmla="*/ 38453 w 83897"/>
              <a:gd name="connsiteY0" fmla="*/ 90889 h 90889"/>
              <a:gd name="connsiteX1" fmla="*/ 0 w 83897"/>
              <a:gd name="connsiteY1" fmla="*/ 90889 h 90889"/>
              <a:gd name="connsiteX2" fmla="*/ 45445 w 83897"/>
              <a:gd name="connsiteY2" fmla="*/ 46610 h 90889"/>
              <a:gd name="connsiteX3" fmla="*/ 0 w 83897"/>
              <a:gd name="connsiteY3" fmla="*/ 0 h 90889"/>
              <a:gd name="connsiteX4" fmla="*/ 39618 w 83897"/>
              <a:gd name="connsiteY4" fmla="*/ 0 h 90889"/>
              <a:gd name="connsiteX5" fmla="*/ 83898 w 83897"/>
              <a:gd name="connsiteY5" fmla="*/ 45445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6610"/>
                </a:lnTo>
                <a:lnTo>
                  <a:pt x="0" y="0"/>
                </a:lnTo>
                <a:lnTo>
                  <a:pt x="39618" y="0"/>
                </a:lnTo>
                <a:lnTo>
                  <a:pt x="83898" y="45445"/>
                </a:lnTo>
                <a:close/>
              </a:path>
            </a:pathLst>
          </a:custGeom>
          <a:solidFill>
            <a:srgbClr val="EEF2F5"/>
          </a:solidFill>
          <a:ln w="11643" cap="flat">
            <a:noFill/>
            <a:prstDash val="solid"/>
            <a:miter/>
          </a:ln>
        </p:spPr>
        <p:txBody>
          <a:bodyPr rtlCol="0" anchor="ctr"/>
          <a:lstStyle/>
          <a:p>
            <a:endParaRPr lang="de-DE"/>
          </a:p>
        </p:txBody>
      </p:sp>
      <p:sp>
        <p:nvSpPr>
          <p:cNvPr id="12" name="Freihandform: Form 11">
            <a:extLst>
              <a:ext uri="{FF2B5EF4-FFF2-40B4-BE49-F238E27FC236}">
                <a16:creationId xmlns:a16="http://schemas.microsoft.com/office/drawing/2014/main" id="{583AB347-5EFD-45EC-837F-436640EC31BF}"/>
              </a:ext>
            </a:extLst>
          </p:cNvPr>
          <p:cNvSpPr/>
          <p:nvPr/>
        </p:nvSpPr>
        <p:spPr>
          <a:xfrm>
            <a:off x="6641924" y="2056012"/>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3601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27" name="Freihandform: Form 26">
            <a:extLst>
              <a:ext uri="{FF2B5EF4-FFF2-40B4-BE49-F238E27FC236}">
                <a16:creationId xmlns:a16="http://schemas.microsoft.com/office/drawing/2014/main" id="{2C9F6191-45F4-4549-838F-728D0F86DCCC}"/>
              </a:ext>
            </a:extLst>
          </p:cNvPr>
          <p:cNvSpPr/>
          <p:nvPr/>
        </p:nvSpPr>
        <p:spPr>
          <a:xfrm>
            <a:off x="6641924" y="2410247"/>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3601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43" name="Freihandform: Form 42">
            <a:extLst>
              <a:ext uri="{FF2B5EF4-FFF2-40B4-BE49-F238E27FC236}">
                <a16:creationId xmlns:a16="http://schemas.microsoft.com/office/drawing/2014/main" id="{58997C67-D006-44A2-AD3D-33F34BD464B4}"/>
              </a:ext>
            </a:extLst>
          </p:cNvPr>
          <p:cNvSpPr/>
          <p:nvPr/>
        </p:nvSpPr>
        <p:spPr>
          <a:xfrm>
            <a:off x="6641924" y="2765648"/>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3601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59" name="Freihandform: Form 58">
            <a:extLst>
              <a:ext uri="{FF2B5EF4-FFF2-40B4-BE49-F238E27FC236}">
                <a16:creationId xmlns:a16="http://schemas.microsoft.com/office/drawing/2014/main" id="{C4E89A45-8CD6-4F72-A3FF-464AD5125F97}"/>
              </a:ext>
            </a:extLst>
          </p:cNvPr>
          <p:cNvSpPr/>
          <p:nvPr/>
        </p:nvSpPr>
        <p:spPr>
          <a:xfrm>
            <a:off x="6641924" y="3119883"/>
            <a:ext cx="100211" cy="109533"/>
          </a:xfrm>
          <a:custGeom>
            <a:avLst/>
            <a:gdLst>
              <a:gd name="connsiteX0" fmla="*/ 45445 w 100211"/>
              <a:gd name="connsiteY0" fmla="*/ 109533 h 109533"/>
              <a:gd name="connsiteX1" fmla="*/ 0 w 100211"/>
              <a:gd name="connsiteY1" fmla="*/ 109533 h 109533"/>
              <a:gd name="connsiteX2" fmla="*/ 53601 w 100211"/>
              <a:gd name="connsiteY2" fmla="*/ 54767 h 109533"/>
              <a:gd name="connsiteX3" fmla="*/ 0 w 100211"/>
              <a:gd name="connsiteY3" fmla="*/ 0 h 109533"/>
              <a:gd name="connsiteX4" fmla="*/ 46610 w 100211"/>
              <a:gd name="connsiteY4" fmla="*/ 0 h 109533"/>
              <a:gd name="connsiteX5" fmla="*/ 100211 w 100211"/>
              <a:gd name="connsiteY5" fmla="*/ 53601 h 109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9533">
                <a:moveTo>
                  <a:pt x="45445" y="109533"/>
                </a:moveTo>
                <a:lnTo>
                  <a:pt x="0" y="109533"/>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75" name="Freihandform: Form 74">
            <a:extLst>
              <a:ext uri="{FF2B5EF4-FFF2-40B4-BE49-F238E27FC236}">
                <a16:creationId xmlns:a16="http://schemas.microsoft.com/office/drawing/2014/main" id="{B9D7B804-0A3A-4555-AA49-BAAC4D841F25}"/>
              </a:ext>
            </a:extLst>
          </p:cNvPr>
          <p:cNvSpPr/>
          <p:nvPr/>
        </p:nvSpPr>
        <p:spPr>
          <a:xfrm>
            <a:off x="6641924" y="3475284"/>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3601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91" name="Freihandform: Form 90">
            <a:extLst>
              <a:ext uri="{FF2B5EF4-FFF2-40B4-BE49-F238E27FC236}">
                <a16:creationId xmlns:a16="http://schemas.microsoft.com/office/drawing/2014/main" id="{E186CBFA-7613-4BC9-8990-21E472FC7476}"/>
              </a:ext>
            </a:extLst>
          </p:cNvPr>
          <p:cNvSpPr/>
          <p:nvPr/>
        </p:nvSpPr>
        <p:spPr>
          <a:xfrm>
            <a:off x="6641924" y="3829519"/>
            <a:ext cx="100211" cy="109533"/>
          </a:xfrm>
          <a:custGeom>
            <a:avLst/>
            <a:gdLst>
              <a:gd name="connsiteX0" fmla="*/ 45445 w 100211"/>
              <a:gd name="connsiteY0" fmla="*/ 109533 h 109533"/>
              <a:gd name="connsiteX1" fmla="*/ 0 w 100211"/>
              <a:gd name="connsiteY1" fmla="*/ 109533 h 109533"/>
              <a:gd name="connsiteX2" fmla="*/ 53601 w 100211"/>
              <a:gd name="connsiteY2" fmla="*/ 54767 h 109533"/>
              <a:gd name="connsiteX3" fmla="*/ 0 w 100211"/>
              <a:gd name="connsiteY3" fmla="*/ 0 h 109533"/>
              <a:gd name="connsiteX4" fmla="*/ 46610 w 100211"/>
              <a:gd name="connsiteY4" fmla="*/ 0 h 109533"/>
              <a:gd name="connsiteX5" fmla="*/ 100211 w 100211"/>
              <a:gd name="connsiteY5" fmla="*/ 53601 h 109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9533">
                <a:moveTo>
                  <a:pt x="45445" y="109533"/>
                </a:moveTo>
                <a:lnTo>
                  <a:pt x="0" y="109533"/>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107" name="Freihandform: Form 106">
            <a:extLst>
              <a:ext uri="{FF2B5EF4-FFF2-40B4-BE49-F238E27FC236}">
                <a16:creationId xmlns:a16="http://schemas.microsoft.com/office/drawing/2014/main" id="{431E1B18-1EEB-4090-9700-F9FE3C0FED51}"/>
              </a:ext>
            </a:extLst>
          </p:cNvPr>
          <p:cNvSpPr/>
          <p:nvPr/>
        </p:nvSpPr>
        <p:spPr>
          <a:xfrm>
            <a:off x="6641924" y="4184920"/>
            <a:ext cx="100211" cy="108367"/>
          </a:xfrm>
          <a:custGeom>
            <a:avLst/>
            <a:gdLst>
              <a:gd name="connsiteX0" fmla="*/ 45445 w 100211"/>
              <a:gd name="connsiteY0" fmla="*/ 108368 h 108367"/>
              <a:gd name="connsiteX1" fmla="*/ 0 w 100211"/>
              <a:gd name="connsiteY1" fmla="*/ 108368 h 108367"/>
              <a:gd name="connsiteX2" fmla="*/ 53601 w 100211"/>
              <a:gd name="connsiteY2" fmla="*/ 54767 h 108367"/>
              <a:gd name="connsiteX3" fmla="*/ 0 w 100211"/>
              <a:gd name="connsiteY3" fmla="*/ 0 h 108367"/>
              <a:gd name="connsiteX4" fmla="*/ 46610 w 100211"/>
              <a:gd name="connsiteY4" fmla="*/ 0 h 108367"/>
              <a:gd name="connsiteX5" fmla="*/ 100211 w 100211"/>
              <a:gd name="connsiteY5" fmla="*/ 53601 h 108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7">
                <a:moveTo>
                  <a:pt x="45445" y="108368"/>
                </a:moveTo>
                <a:lnTo>
                  <a:pt x="0" y="108368"/>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123" name="Freihandform: Form 122">
            <a:extLst>
              <a:ext uri="{FF2B5EF4-FFF2-40B4-BE49-F238E27FC236}">
                <a16:creationId xmlns:a16="http://schemas.microsoft.com/office/drawing/2014/main" id="{DC2F5F31-D8DD-48D9-A875-60890175F7E1}"/>
              </a:ext>
            </a:extLst>
          </p:cNvPr>
          <p:cNvSpPr/>
          <p:nvPr/>
        </p:nvSpPr>
        <p:spPr>
          <a:xfrm>
            <a:off x="6641924" y="4539155"/>
            <a:ext cx="100211" cy="109533"/>
          </a:xfrm>
          <a:custGeom>
            <a:avLst/>
            <a:gdLst>
              <a:gd name="connsiteX0" fmla="*/ 45445 w 100211"/>
              <a:gd name="connsiteY0" fmla="*/ 109533 h 109533"/>
              <a:gd name="connsiteX1" fmla="*/ 0 w 100211"/>
              <a:gd name="connsiteY1" fmla="*/ 109533 h 109533"/>
              <a:gd name="connsiteX2" fmla="*/ 53601 w 100211"/>
              <a:gd name="connsiteY2" fmla="*/ 54767 h 109533"/>
              <a:gd name="connsiteX3" fmla="*/ 0 w 100211"/>
              <a:gd name="connsiteY3" fmla="*/ 0 h 109533"/>
              <a:gd name="connsiteX4" fmla="*/ 46610 w 100211"/>
              <a:gd name="connsiteY4" fmla="*/ 0 h 109533"/>
              <a:gd name="connsiteX5" fmla="*/ 100211 w 100211"/>
              <a:gd name="connsiteY5" fmla="*/ 53601 h 109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9533">
                <a:moveTo>
                  <a:pt x="45445" y="109533"/>
                </a:moveTo>
                <a:lnTo>
                  <a:pt x="0" y="109533"/>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140" name="Freihandform: Form 139">
            <a:extLst>
              <a:ext uri="{FF2B5EF4-FFF2-40B4-BE49-F238E27FC236}">
                <a16:creationId xmlns:a16="http://schemas.microsoft.com/office/drawing/2014/main" id="{76442F10-6EC9-4E34-AAE4-0D75456E4698}"/>
              </a:ext>
            </a:extLst>
          </p:cNvPr>
          <p:cNvSpPr/>
          <p:nvPr/>
        </p:nvSpPr>
        <p:spPr>
          <a:xfrm>
            <a:off x="6641924" y="4894556"/>
            <a:ext cx="100211" cy="108367"/>
          </a:xfrm>
          <a:custGeom>
            <a:avLst/>
            <a:gdLst>
              <a:gd name="connsiteX0" fmla="*/ 45445 w 100211"/>
              <a:gd name="connsiteY0" fmla="*/ 108368 h 108367"/>
              <a:gd name="connsiteX1" fmla="*/ 0 w 100211"/>
              <a:gd name="connsiteY1" fmla="*/ 108368 h 108367"/>
              <a:gd name="connsiteX2" fmla="*/ 53601 w 100211"/>
              <a:gd name="connsiteY2" fmla="*/ 54767 h 108367"/>
              <a:gd name="connsiteX3" fmla="*/ 0 w 100211"/>
              <a:gd name="connsiteY3" fmla="*/ 0 h 108367"/>
              <a:gd name="connsiteX4" fmla="*/ 46610 w 100211"/>
              <a:gd name="connsiteY4" fmla="*/ 0 h 108367"/>
              <a:gd name="connsiteX5" fmla="*/ 100211 w 100211"/>
              <a:gd name="connsiteY5" fmla="*/ 53601 h 108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7">
                <a:moveTo>
                  <a:pt x="45445" y="108368"/>
                </a:moveTo>
                <a:lnTo>
                  <a:pt x="0" y="108368"/>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157" name="Freihandform: Form 156">
            <a:extLst>
              <a:ext uri="{FF2B5EF4-FFF2-40B4-BE49-F238E27FC236}">
                <a16:creationId xmlns:a16="http://schemas.microsoft.com/office/drawing/2014/main" id="{3F3DF7DA-74D8-4504-A71D-F774354EAB93}"/>
              </a:ext>
            </a:extLst>
          </p:cNvPr>
          <p:cNvSpPr/>
          <p:nvPr/>
        </p:nvSpPr>
        <p:spPr>
          <a:xfrm>
            <a:off x="6641924" y="5249956"/>
            <a:ext cx="100211" cy="108367"/>
          </a:xfrm>
          <a:custGeom>
            <a:avLst/>
            <a:gdLst>
              <a:gd name="connsiteX0" fmla="*/ 45445 w 100211"/>
              <a:gd name="connsiteY0" fmla="*/ 108368 h 108367"/>
              <a:gd name="connsiteX1" fmla="*/ 0 w 100211"/>
              <a:gd name="connsiteY1" fmla="*/ 108368 h 108367"/>
              <a:gd name="connsiteX2" fmla="*/ 53601 w 100211"/>
              <a:gd name="connsiteY2" fmla="*/ 54767 h 108367"/>
              <a:gd name="connsiteX3" fmla="*/ 0 w 100211"/>
              <a:gd name="connsiteY3" fmla="*/ 0 h 108367"/>
              <a:gd name="connsiteX4" fmla="*/ 46610 w 100211"/>
              <a:gd name="connsiteY4" fmla="*/ 0 h 108367"/>
              <a:gd name="connsiteX5" fmla="*/ 100211 w 100211"/>
              <a:gd name="connsiteY5" fmla="*/ 52436 h 108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7">
                <a:moveTo>
                  <a:pt x="45445" y="108368"/>
                </a:moveTo>
                <a:lnTo>
                  <a:pt x="0" y="108368"/>
                </a:lnTo>
                <a:lnTo>
                  <a:pt x="53601" y="54767"/>
                </a:lnTo>
                <a:lnTo>
                  <a:pt x="0" y="0"/>
                </a:lnTo>
                <a:lnTo>
                  <a:pt x="46610" y="0"/>
                </a:lnTo>
                <a:lnTo>
                  <a:pt x="100211" y="52436"/>
                </a:lnTo>
                <a:close/>
              </a:path>
            </a:pathLst>
          </a:custGeom>
          <a:solidFill>
            <a:srgbClr val="EEF2F5"/>
          </a:solidFill>
          <a:ln w="11643" cap="flat">
            <a:noFill/>
            <a:prstDash val="solid"/>
            <a:miter/>
          </a:ln>
        </p:spPr>
        <p:txBody>
          <a:bodyPr rtlCol="0" anchor="ctr"/>
          <a:lstStyle/>
          <a:p>
            <a:endParaRPr lang="de-DE"/>
          </a:p>
        </p:txBody>
      </p:sp>
      <p:sp>
        <p:nvSpPr>
          <p:cNvPr id="174" name="Freihandform: Form 173">
            <a:extLst>
              <a:ext uri="{FF2B5EF4-FFF2-40B4-BE49-F238E27FC236}">
                <a16:creationId xmlns:a16="http://schemas.microsoft.com/office/drawing/2014/main" id="{89F7D4C0-B771-4BD2-8BB9-46691BD63CD6}"/>
              </a:ext>
            </a:extLst>
          </p:cNvPr>
          <p:cNvSpPr/>
          <p:nvPr/>
        </p:nvSpPr>
        <p:spPr>
          <a:xfrm>
            <a:off x="6641924" y="5604192"/>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3601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191" name="Freihandform: Form 190">
            <a:extLst>
              <a:ext uri="{FF2B5EF4-FFF2-40B4-BE49-F238E27FC236}">
                <a16:creationId xmlns:a16="http://schemas.microsoft.com/office/drawing/2014/main" id="{5A593B9A-6E44-429E-AEBA-35E20D56B0CE}"/>
              </a:ext>
            </a:extLst>
          </p:cNvPr>
          <p:cNvSpPr/>
          <p:nvPr/>
        </p:nvSpPr>
        <p:spPr>
          <a:xfrm>
            <a:off x="6641924" y="5959592"/>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2436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2436"/>
                </a:lnTo>
                <a:close/>
              </a:path>
            </a:pathLst>
          </a:custGeom>
          <a:solidFill>
            <a:srgbClr val="EEF2F5"/>
          </a:solidFill>
          <a:ln w="11643" cap="flat">
            <a:noFill/>
            <a:prstDash val="solid"/>
            <a:miter/>
          </a:ln>
        </p:spPr>
        <p:txBody>
          <a:bodyPr rtlCol="0" anchor="ctr"/>
          <a:lstStyle/>
          <a:p>
            <a:endParaRPr lang="de-DE"/>
          </a:p>
        </p:txBody>
      </p:sp>
      <p:sp>
        <p:nvSpPr>
          <p:cNvPr id="208" name="Freihandform: Form 207">
            <a:extLst>
              <a:ext uri="{FF2B5EF4-FFF2-40B4-BE49-F238E27FC236}">
                <a16:creationId xmlns:a16="http://schemas.microsoft.com/office/drawing/2014/main" id="{DF218C48-5CF6-4B07-AF60-4DE0F6FD1BC1}"/>
              </a:ext>
            </a:extLst>
          </p:cNvPr>
          <p:cNvSpPr/>
          <p:nvPr/>
        </p:nvSpPr>
        <p:spPr>
          <a:xfrm>
            <a:off x="6641924" y="6313828"/>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3601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224" name="Freihandform: Form 223">
            <a:extLst>
              <a:ext uri="{FF2B5EF4-FFF2-40B4-BE49-F238E27FC236}">
                <a16:creationId xmlns:a16="http://schemas.microsoft.com/office/drawing/2014/main" id="{AA5BC021-58DD-4FE3-BDC3-0802A56E539C}"/>
              </a:ext>
            </a:extLst>
          </p:cNvPr>
          <p:cNvSpPr/>
          <p:nvPr/>
        </p:nvSpPr>
        <p:spPr>
          <a:xfrm>
            <a:off x="6641924" y="6669228"/>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2436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2436"/>
                </a:lnTo>
                <a:close/>
              </a:path>
            </a:pathLst>
          </a:custGeom>
          <a:solidFill>
            <a:srgbClr val="EEF2F5"/>
          </a:solidFill>
          <a:ln w="11643" cap="flat">
            <a:noFill/>
            <a:prstDash val="solid"/>
            <a:miter/>
          </a:ln>
        </p:spPr>
        <p:txBody>
          <a:bodyPr rtlCol="0" anchor="ctr"/>
          <a:lstStyle/>
          <a:p>
            <a:endParaRPr lang="de-DE"/>
          </a:p>
        </p:txBody>
      </p:sp>
      <p:sp>
        <p:nvSpPr>
          <p:cNvPr id="13" name="Freihandform: Form 12">
            <a:extLst>
              <a:ext uri="{FF2B5EF4-FFF2-40B4-BE49-F238E27FC236}">
                <a16:creationId xmlns:a16="http://schemas.microsoft.com/office/drawing/2014/main" id="{41B3CD6E-4668-431E-B52B-BEFAFA264BED}"/>
              </a:ext>
            </a:extLst>
          </p:cNvPr>
          <p:cNvSpPr/>
          <p:nvPr/>
        </p:nvSpPr>
        <p:spPr>
          <a:xfrm>
            <a:off x="6988003" y="2046690"/>
            <a:ext cx="117690" cy="127012"/>
          </a:xfrm>
          <a:custGeom>
            <a:avLst/>
            <a:gdLst>
              <a:gd name="connsiteX0" fmla="*/ 53601 w 117690"/>
              <a:gd name="connsiteY0" fmla="*/ 127012 h 127012"/>
              <a:gd name="connsiteX1" fmla="*/ 0 w 117690"/>
              <a:gd name="connsiteY1" fmla="*/ 127012 h 127012"/>
              <a:gd name="connsiteX2" fmla="*/ 62924 w 117690"/>
              <a:gd name="connsiteY2" fmla="*/ 64089 h 127012"/>
              <a:gd name="connsiteX3" fmla="*/ 0 w 117690"/>
              <a:gd name="connsiteY3" fmla="*/ 0 h 127012"/>
              <a:gd name="connsiteX4" fmla="*/ 54767 w 117690"/>
              <a:gd name="connsiteY4" fmla="*/ 0 h 127012"/>
              <a:gd name="connsiteX5" fmla="*/ 117690 w 117690"/>
              <a:gd name="connsiteY5" fmla="*/ 61758 h 12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2">
                <a:moveTo>
                  <a:pt x="53601" y="127012"/>
                </a:moveTo>
                <a:lnTo>
                  <a:pt x="0" y="127012"/>
                </a:lnTo>
                <a:lnTo>
                  <a:pt x="62924" y="64089"/>
                </a:lnTo>
                <a:lnTo>
                  <a:pt x="0" y="0"/>
                </a:lnTo>
                <a:lnTo>
                  <a:pt x="54767" y="0"/>
                </a:lnTo>
                <a:lnTo>
                  <a:pt x="117690" y="61758"/>
                </a:lnTo>
                <a:close/>
              </a:path>
            </a:pathLst>
          </a:custGeom>
          <a:solidFill>
            <a:srgbClr val="EEF2F5"/>
          </a:solidFill>
          <a:ln w="11643" cap="flat">
            <a:noFill/>
            <a:prstDash val="solid"/>
            <a:miter/>
          </a:ln>
        </p:spPr>
        <p:txBody>
          <a:bodyPr rtlCol="0" anchor="ctr"/>
          <a:lstStyle/>
          <a:p>
            <a:endParaRPr lang="de-DE"/>
          </a:p>
        </p:txBody>
      </p:sp>
      <p:sp>
        <p:nvSpPr>
          <p:cNvPr id="28" name="Freihandform: Form 27">
            <a:extLst>
              <a:ext uri="{FF2B5EF4-FFF2-40B4-BE49-F238E27FC236}">
                <a16:creationId xmlns:a16="http://schemas.microsoft.com/office/drawing/2014/main" id="{44ADAD78-1959-4CDE-A14A-2F7982F10CE6}"/>
              </a:ext>
            </a:extLst>
          </p:cNvPr>
          <p:cNvSpPr/>
          <p:nvPr/>
        </p:nvSpPr>
        <p:spPr>
          <a:xfrm>
            <a:off x="6988003" y="2400925"/>
            <a:ext cx="117690" cy="127012"/>
          </a:xfrm>
          <a:custGeom>
            <a:avLst/>
            <a:gdLst>
              <a:gd name="connsiteX0" fmla="*/ 53601 w 117690"/>
              <a:gd name="connsiteY0" fmla="*/ 127012 h 127012"/>
              <a:gd name="connsiteX1" fmla="*/ 0 w 117690"/>
              <a:gd name="connsiteY1" fmla="*/ 127012 h 127012"/>
              <a:gd name="connsiteX2" fmla="*/ 62924 w 117690"/>
              <a:gd name="connsiteY2" fmla="*/ 64089 h 127012"/>
              <a:gd name="connsiteX3" fmla="*/ 0 w 117690"/>
              <a:gd name="connsiteY3" fmla="*/ 0 h 127012"/>
              <a:gd name="connsiteX4" fmla="*/ 54767 w 117690"/>
              <a:gd name="connsiteY4" fmla="*/ 0 h 127012"/>
              <a:gd name="connsiteX5" fmla="*/ 117690 w 117690"/>
              <a:gd name="connsiteY5" fmla="*/ 62923 h 12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2">
                <a:moveTo>
                  <a:pt x="53601" y="127012"/>
                </a:moveTo>
                <a:lnTo>
                  <a:pt x="0" y="127012"/>
                </a:lnTo>
                <a:lnTo>
                  <a:pt x="62924" y="64089"/>
                </a:lnTo>
                <a:lnTo>
                  <a:pt x="0" y="0"/>
                </a:lnTo>
                <a:lnTo>
                  <a:pt x="54767" y="0"/>
                </a:lnTo>
                <a:lnTo>
                  <a:pt x="117690" y="62923"/>
                </a:lnTo>
                <a:close/>
              </a:path>
            </a:pathLst>
          </a:custGeom>
          <a:solidFill>
            <a:srgbClr val="EEF2F5"/>
          </a:solidFill>
          <a:ln w="11643" cap="flat">
            <a:noFill/>
            <a:prstDash val="solid"/>
            <a:miter/>
          </a:ln>
        </p:spPr>
        <p:txBody>
          <a:bodyPr rtlCol="0" anchor="ctr"/>
          <a:lstStyle/>
          <a:p>
            <a:endParaRPr lang="de-DE"/>
          </a:p>
        </p:txBody>
      </p:sp>
      <p:sp>
        <p:nvSpPr>
          <p:cNvPr id="44" name="Freihandform: Form 43">
            <a:extLst>
              <a:ext uri="{FF2B5EF4-FFF2-40B4-BE49-F238E27FC236}">
                <a16:creationId xmlns:a16="http://schemas.microsoft.com/office/drawing/2014/main" id="{187A0A4D-77CA-456F-91F4-F6F8704B8154}"/>
              </a:ext>
            </a:extLst>
          </p:cNvPr>
          <p:cNvSpPr/>
          <p:nvPr/>
        </p:nvSpPr>
        <p:spPr>
          <a:xfrm>
            <a:off x="6988003" y="2756326"/>
            <a:ext cx="117690" cy="127012"/>
          </a:xfrm>
          <a:custGeom>
            <a:avLst/>
            <a:gdLst>
              <a:gd name="connsiteX0" fmla="*/ 53601 w 117690"/>
              <a:gd name="connsiteY0" fmla="*/ 127012 h 127012"/>
              <a:gd name="connsiteX1" fmla="*/ 0 w 117690"/>
              <a:gd name="connsiteY1" fmla="*/ 127012 h 127012"/>
              <a:gd name="connsiteX2" fmla="*/ 62924 w 117690"/>
              <a:gd name="connsiteY2" fmla="*/ 64089 h 127012"/>
              <a:gd name="connsiteX3" fmla="*/ 0 w 117690"/>
              <a:gd name="connsiteY3" fmla="*/ 0 h 127012"/>
              <a:gd name="connsiteX4" fmla="*/ 54767 w 117690"/>
              <a:gd name="connsiteY4" fmla="*/ 0 h 127012"/>
              <a:gd name="connsiteX5" fmla="*/ 117690 w 117690"/>
              <a:gd name="connsiteY5" fmla="*/ 61758 h 12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2">
                <a:moveTo>
                  <a:pt x="53601" y="127012"/>
                </a:moveTo>
                <a:lnTo>
                  <a:pt x="0" y="127012"/>
                </a:lnTo>
                <a:lnTo>
                  <a:pt x="62924" y="64089"/>
                </a:lnTo>
                <a:lnTo>
                  <a:pt x="0" y="0"/>
                </a:lnTo>
                <a:lnTo>
                  <a:pt x="54767" y="0"/>
                </a:lnTo>
                <a:lnTo>
                  <a:pt x="117690" y="61758"/>
                </a:lnTo>
                <a:close/>
              </a:path>
            </a:pathLst>
          </a:custGeom>
          <a:solidFill>
            <a:srgbClr val="EEF2F5"/>
          </a:solidFill>
          <a:ln w="11643" cap="flat">
            <a:noFill/>
            <a:prstDash val="solid"/>
            <a:miter/>
          </a:ln>
        </p:spPr>
        <p:txBody>
          <a:bodyPr rtlCol="0" anchor="ctr"/>
          <a:lstStyle/>
          <a:p>
            <a:endParaRPr lang="de-DE"/>
          </a:p>
        </p:txBody>
      </p:sp>
      <p:sp>
        <p:nvSpPr>
          <p:cNvPr id="60" name="Freihandform: Form 59">
            <a:extLst>
              <a:ext uri="{FF2B5EF4-FFF2-40B4-BE49-F238E27FC236}">
                <a16:creationId xmlns:a16="http://schemas.microsoft.com/office/drawing/2014/main" id="{CB07603B-B3CF-406B-8F49-C88DDBDF26D2}"/>
              </a:ext>
            </a:extLst>
          </p:cNvPr>
          <p:cNvSpPr/>
          <p:nvPr/>
        </p:nvSpPr>
        <p:spPr>
          <a:xfrm>
            <a:off x="6988003" y="3111726"/>
            <a:ext cx="117690" cy="125846"/>
          </a:xfrm>
          <a:custGeom>
            <a:avLst/>
            <a:gdLst>
              <a:gd name="connsiteX0" fmla="*/ 53601 w 117690"/>
              <a:gd name="connsiteY0" fmla="*/ 125847 h 125846"/>
              <a:gd name="connsiteX1" fmla="*/ 0 w 117690"/>
              <a:gd name="connsiteY1" fmla="*/ 125847 h 125846"/>
              <a:gd name="connsiteX2" fmla="*/ 62924 w 117690"/>
              <a:gd name="connsiteY2" fmla="*/ 62923 h 125846"/>
              <a:gd name="connsiteX3" fmla="*/ 0 w 117690"/>
              <a:gd name="connsiteY3" fmla="*/ 0 h 125846"/>
              <a:gd name="connsiteX4" fmla="*/ 54767 w 117690"/>
              <a:gd name="connsiteY4" fmla="*/ 0 h 125846"/>
              <a:gd name="connsiteX5" fmla="*/ 117690 w 117690"/>
              <a:gd name="connsiteY5" fmla="*/ 61758 h 125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5846">
                <a:moveTo>
                  <a:pt x="53601" y="125847"/>
                </a:moveTo>
                <a:lnTo>
                  <a:pt x="0" y="125847"/>
                </a:lnTo>
                <a:lnTo>
                  <a:pt x="62924" y="62923"/>
                </a:lnTo>
                <a:lnTo>
                  <a:pt x="0" y="0"/>
                </a:lnTo>
                <a:lnTo>
                  <a:pt x="54767" y="0"/>
                </a:lnTo>
                <a:lnTo>
                  <a:pt x="117690" y="61758"/>
                </a:lnTo>
                <a:close/>
              </a:path>
            </a:pathLst>
          </a:custGeom>
          <a:solidFill>
            <a:srgbClr val="EEF2F5"/>
          </a:solidFill>
          <a:ln w="11643" cap="flat">
            <a:noFill/>
            <a:prstDash val="solid"/>
            <a:miter/>
          </a:ln>
        </p:spPr>
        <p:txBody>
          <a:bodyPr rtlCol="0" anchor="ctr"/>
          <a:lstStyle/>
          <a:p>
            <a:endParaRPr lang="de-DE"/>
          </a:p>
        </p:txBody>
      </p:sp>
      <p:sp>
        <p:nvSpPr>
          <p:cNvPr id="76" name="Freihandform: Form 75">
            <a:extLst>
              <a:ext uri="{FF2B5EF4-FFF2-40B4-BE49-F238E27FC236}">
                <a16:creationId xmlns:a16="http://schemas.microsoft.com/office/drawing/2014/main" id="{C87C0BBB-E201-45AD-A8CC-B6DF36C9BFCA}"/>
              </a:ext>
            </a:extLst>
          </p:cNvPr>
          <p:cNvSpPr/>
          <p:nvPr/>
        </p:nvSpPr>
        <p:spPr>
          <a:xfrm>
            <a:off x="6988003" y="3465962"/>
            <a:ext cx="117690" cy="127012"/>
          </a:xfrm>
          <a:custGeom>
            <a:avLst/>
            <a:gdLst>
              <a:gd name="connsiteX0" fmla="*/ 53601 w 117690"/>
              <a:gd name="connsiteY0" fmla="*/ 127012 h 127012"/>
              <a:gd name="connsiteX1" fmla="*/ 0 w 117690"/>
              <a:gd name="connsiteY1" fmla="*/ 127012 h 127012"/>
              <a:gd name="connsiteX2" fmla="*/ 62924 w 117690"/>
              <a:gd name="connsiteY2" fmla="*/ 64089 h 127012"/>
              <a:gd name="connsiteX3" fmla="*/ 0 w 117690"/>
              <a:gd name="connsiteY3" fmla="*/ 0 h 127012"/>
              <a:gd name="connsiteX4" fmla="*/ 54767 w 117690"/>
              <a:gd name="connsiteY4" fmla="*/ 0 h 127012"/>
              <a:gd name="connsiteX5" fmla="*/ 117690 w 117690"/>
              <a:gd name="connsiteY5" fmla="*/ 62923 h 12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2">
                <a:moveTo>
                  <a:pt x="53601" y="127012"/>
                </a:moveTo>
                <a:lnTo>
                  <a:pt x="0" y="127012"/>
                </a:lnTo>
                <a:lnTo>
                  <a:pt x="62924" y="64089"/>
                </a:lnTo>
                <a:lnTo>
                  <a:pt x="0" y="0"/>
                </a:lnTo>
                <a:lnTo>
                  <a:pt x="54767" y="0"/>
                </a:lnTo>
                <a:lnTo>
                  <a:pt x="117690" y="62923"/>
                </a:lnTo>
                <a:close/>
              </a:path>
            </a:pathLst>
          </a:custGeom>
          <a:solidFill>
            <a:srgbClr val="EEF2F5"/>
          </a:solidFill>
          <a:ln w="11643" cap="flat">
            <a:noFill/>
            <a:prstDash val="solid"/>
            <a:miter/>
          </a:ln>
        </p:spPr>
        <p:txBody>
          <a:bodyPr rtlCol="0" anchor="ctr"/>
          <a:lstStyle/>
          <a:p>
            <a:endParaRPr lang="de-DE"/>
          </a:p>
        </p:txBody>
      </p:sp>
      <p:sp>
        <p:nvSpPr>
          <p:cNvPr id="92" name="Freihandform: Form 91">
            <a:extLst>
              <a:ext uri="{FF2B5EF4-FFF2-40B4-BE49-F238E27FC236}">
                <a16:creationId xmlns:a16="http://schemas.microsoft.com/office/drawing/2014/main" id="{E84E584C-AD1A-4283-9393-9ADAC5705999}"/>
              </a:ext>
            </a:extLst>
          </p:cNvPr>
          <p:cNvSpPr/>
          <p:nvPr/>
        </p:nvSpPr>
        <p:spPr>
          <a:xfrm>
            <a:off x="6988003" y="3821362"/>
            <a:ext cx="117690" cy="125846"/>
          </a:xfrm>
          <a:custGeom>
            <a:avLst/>
            <a:gdLst>
              <a:gd name="connsiteX0" fmla="*/ 53601 w 117690"/>
              <a:gd name="connsiteY0" fmla="*/ 125847 h 125846"/>
              <a:gd name="connsiteX1" fmla="*/ 0 w 117690"/>
              <a:gd name="connsiteY1" fmla="*/ 125847 h 125846"/>
              <a:gd name="connsiteX2" fmla="*/ 62924 w 117690"/>
              <a:gd name="connsiteY2" fmla="*/ 62923 h 125846"/>
              <a:gd name="connsiteX3" fmla="*/ 0 w 117690"/>
              <a:gd name="connsiteY3" fmla="*/ 0 h 125846"/>
              <a:gd name="connsiteX4" fmla="*/ 54767 w 117690"/>
              <a:gd name="connsiteY4" fmla="*/ 0 h 125846"/>
              <a:gd name="connsiteX5" fmla="*/ 117690 w 117690"/>
              <a:gd name="connsiteY5" fmla="*/ 61758 h 125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5846">
                <a:moveTo>
                  <a:pt x="53601" y="125847"/>
                </a:moveTo>
                <a:lnTo>
                  <a:pt x="0" y="125847"/>
                </a:lnTo>
                <a:lnTo>
                  <a:pt x="62924" y="62923"/>
                </a:lnTo>
                <a:lnTo>
                  <a:pt x="0" y="0"/>
                </a:lnTo>
                <a:lnTo>
                  <a:pt x="54767" y="0"/>
                </a:lnTo>
                <a:lnTo>
                  <a:pt x="117690" y="61758"/>
                </a:lnTo>
                <a:close/>
              </a:path>
            </a:pathLst>
          </a:custGeom>
          <a:solidFill>
            <a:srgbClr val="EEF2F5"/>
          </a:solidFill>
          <a:ln w="11643" cap="flat">
            <a:noFill/>
            <a:prstDash val="solid"/>
            <a:miter/>
          </a:ln>
        </p:spPr>
        <p:txBody>
          <a:bodyPr rtlCol="0" anchor="ctr"/>
          <a:lstStyle/>
          <a:p>
            <a:endParaRPr lang="de-DE"/>
          </a:p>
        </p:txBody>
      </p:sp>
      <p:sp>
        <p:nvSpPr>
          <p:cNvPr id="108" name="Freihandform: Form 107">
            <a:extLst>
              <a:ext uri="{FF2B5EF4-FFF2-40B4-BE49-F238E27FC236}">
                <a16:creationId xmlns:a16="http://schemas.microsoft.com/office/drawing/2014/main" id="{821A23CA-DB65-474C-8F4A-71EDD9066EAA}"/>
              </a:ext>
            </a:extLst>
          </p:cNvPr>
          <p:cNvSpPr/>
          <p:nvPr/>
        </p:nvSpPr>
        <p:spPr>
          <a:xfrm>
            <a:off x="6988003" y="4175598"/>
            <a:ext cx="117690" cy="127011"/>
          </a:xfrm>
          <a:custGeom>
            <a:avLst/>
            <a:gdLst>
              <a:gd name="connsiteX0" fmla="*/ 53601 w 117690"/>
              <a:gd name="connsiteY0" fmla="*/ 127012 h 127011"/>
              <a:gd name="connsiteX1" fmla="*/ 0 w 117690"/>
              <a:gd name="connsiteY1" fmla="*/ 127012 h 127011"/>
              <a:gd name="connsiteX2" fmla="*/ 62924 w 117690"/>
              <a:gd name="connsiteY2" fmla="*/ 64089 h 127011"/>
              <a:gd name="connsiteX3" fmla="*/ 0 w 117690"/>
              <a:gd name="connsiteY3" fmla="*/ 0 h 127011"/>
              <a:gd name="connsiteX4" fmla="*/ 54767 w 117690"/>
              <a:gd name="connsiteY4" fmla="*/ 0 h 127011"/>
              <a:gd name="connsiteX5" fmla="*/ 117690 w 117690"/>
              <a:gd name="connsiteY5" fmla="*/ 62923 h 12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1">
                <a:moveTo>
                  <a:pt x="53601" y="127012"/>
                </a:moveTo>
                <a:lnTo>
                  <a:pt x="0" y="127012"/>
                </a:lnTo>
                <a:lnTo>
                  <a:pt x="62924" y="64089"/>
                </a:lnTo>
                <a:lnTo>
                  <a:pt x="0" y="0"/>
                </a:lnTo>
                <a:lnTo>
                  <a:pt x="54767" y="0"/>
                </a:lnTo>
                <a:lnTo>
                  <a:pt x="117690" y="62923"/>
                </a:lnTo>
                <a:close/>
              </a:path>
            </a:pathLst>
          </a:custGeom>
          <a:solidFill>
            <a:srgbClr val="EEF2F5"/>
          </a:solidFill>
          <a:ln w="11643" cap="flat">
            <a:noFill/>
            <a:prstDash val="solid"/>
            <a:miter/>
          </a:ln>
        </p:spPr>
        <p:txBody>
          <a:bodyPr rtlCol="0" anchor="ctr"/>
          <a:lstStyle/>
          <a:p>
            <a:endParaRPr lang="de-DE"/>
          </a:p>
        </p:txBody>
      </p:sp>
      <p:sp>
        <p:nvSpPr>
          <p:cNvPr id="124" name="Freihandform: Form 123">
            <a:extLst>
              <a:ext uri="{FF2B5EF4-FFF2-40B4-BE49-F238E27FC236}">
                <a16:creationId xmlns:a16="http://schemas.microsoft.com/office/drawing/2014/main" id="{A21B059E-24B7-45F6-86CA-657F48380E87}"/>
              </a:ext>
            </a:extLst>
          </p:cNvPr>
          <p:cNvSpPr/>
          <p:nvPr/>
        </p:nvSpPr>
        <p:spPr>
          <a:xfrm>
            <a:off x="6988003" y="4530998"/>
            <a:ext cx="117690" cy="125846"/>
          </a:xfrm>
          <a:custGeom>
            <a:avLst/>
            <a:gdLst>
              <a:gd name="connsiteX0" fmla="*/ 53601 w 117690"/>
              <a:gd name="connsiteY0" fmla="*/ 125847 h 125846"/>
              <a:gd name="connsiteX1" fmla="*/ 0 w 117690"/>
              <a:gd name="connsiteY1" fmla="*/ 125847 h 125846"/>
              <a:gd name="connsiteX2" fmla="*/ 62924 w 117690"/>
              <a:gd name="connsiteY2" fmla="*/ 64089 h 125846"/>
              <a:gd name="connsiteX3" fmla="*/ 0 w 117690"/>
              <a:gd name="connsiteY3" fmla="*/ 0 h 125846"/>
              <a:gd name="connsiteX4" fmla="*/ 54767 w 117690"/>
              <a:gd name="connsiteY4" fmla="*/ 0 h 125846"/>
              <a:gd name="connsiteX5" fmla="*/ 117690 w 117690"/>
              <a:gd name="connsiteY5" fmla="*/ 61758 h 125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5846">
                <a:moveTo>
                  <a:pt x="53601" y="125847"/>
                </a:moveTo>
                <a:lnTo>
                  <a:pt x="0" y="125847"/>
                </a:lnTo>
                <a:lnTo>
                  <a:pt x="62924" y="64089"/>
                </a:lnTo>
                <a:lnTo>
                  <a:pt x="0" y="0"/>
                </a:lnTo>
                <a:lnTo>
                  <a:pt x="54767" y="0"/>
                </a:lnTo>
                <a:lnTo>
                  <a:pt x="117690" y="61758"/>
                </a:lnTo>
                <a:close/>
              </a:path>
            </a:pathLst>
          </a:custGeom>
          <a:solidFill>
            <a:srgbClr val="EEF2F5"/>
          </a:solidFill>
          <a:ln w="11643" cap="flat">
            <a:noFill/>
            <a:prstDash val="solid"/>
            <a:miter/>
          </a:ln>
        </p:spPr>
        <p:txBody>
          <a:bodyPr rtlCol="0" anchor="ctr"/>
          <a:lstStyle/>
          <a:p>
            <a:endParaRPr lang="de-DE"/>
          </a:p>
        </p:txBody>
      </p:sp>
      <p:sp>
        <p:nvSpPr>
          <p:cNvPr id="141" name="Freihandform: Form 140">
            <a:extLst>
              <a:ext uri="{FF2B5EF4-FFF2-40B4-BE49-F238E27FC236}">
                <a16:creationId xmlns:a16="http://schemas.microsoft.com/office/drawing/2014/main" id="{B826AAAD-4F78-48CC-8D7F-6FF66CB56257}"/>
              </a:ext>
            </a:extLst>
          </p:cNvPr>
          <p:cNvSpPr/>
          <p:nvPr/>
        </p:nvSpPr>
        <p:spPr>
          <a:xfrm>
            <a:off x="6988003" y="4885234"/>
            <a:ext cx="117690" cy="127012"/>
          </a:xfrm>
          <a:custGeom>
            <a:avLst/>
            <a:gdLst>
              <a:gd name="connsiteX0" fmla="*/ 53601 w 117690"/>
              <a:gd name="connsiteY0" fmla="*/ 127012 h 127012"/>
              <a:gd name="connsiteX1" fmla="*/ 0 w 117690"/>
              <a:gd name="connsiteY1" fmla="*/ 127012 h 127012"/>
              <a:gd name="connsiteX2" fmla="*/ 62924 w 117690"/>
              <a:gd name="connsiteY2" fmla="*/ 64089 h 127012"/>
              <a:gd name="connsiteX3" fmla="*/ 0 w 117690"/>
              <a:gd name="connsiteY3" fmla="*/ 0 h 127012"/>
              <a:gd name="connsiteX4" fmla="*/ 54767 w 117690"/>
              <a:gd name="connsiteY4" fmla="*/ 0 h 127012"/>
              <a:gd name="connsiteX5" fmla="*/ 117690 w 117690"/>
              <a:gd name="connsiteY5" fmla="*/ 62923 h 12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2">
                <a:moveTo>
                  <a:pt x="53601" y="127012"/>
                </a:moveTo>
                <a:lnTo>
                  <a:pt x="0" y="127012"/>
                </a:lnTo>
                <a:lnTo>
                  <a:pt x="62924" y="64089"/>
                </a:lnTo>
                <a:lnTo>
                  <a:pt x="0" y="0"/>
                </a:lnTo>
                <a:lnTo>
                  <a:pt x="54767" y="0"/>
                </a:lnTo>
                <a:lnTo>
                  <a:pt x="117690" y="62923"/>
                </a:lnTo>
                <a:close/>
              </a:path>
            </a:pathLst>
          </a:custGeom>
          <a:solidFill>
            <a:srgbClr val="EEF2F5"/>
          </a:solidFill>
          <a:ln w="11643" cap="flat">
            <a:noFill/>
            <a:prstDash val="solid"/>
            <a:miter/>
          </a:ln>
        </p:spPr>
        <p:txBody>
          <a:bodyPr rtlCol="0" anchor="ctr"/>
          <a:lstStyle/>
          <a:p>
            <a:endParaRPr lang="de-DE"/>
          </a:p>
        </p:txBody>
      </p:sp>
      <p:sp>
        <p:nvSpPr>
          <p:cNvPr id="158" name="Freihandform: Form 157">
            <a:extLst>
              <a:ext uri="{FF2B5EF4-FFF2-40B4-BE49-F238E27FC236}">
                <a16:creationId xmlns:a16="http://schemas.microsoft.com/office/drawing/2014/main" id="{52E552E0-7863-4113-BBA5-301C77EAF452}"/>
              </a:ext>
            </a:extLst>
          </p:cNvPr>
          <p:cNvSpPr/>
          <p:nvPr/>
        </p:nvSpPr>
        <p:spPr>
          <a:xfrm>
            <a:off x="6988003" y="5240634"/>
            <a:ext cx="117690" cy="127011"/>
          </a:xfrm>
          <a:custGeom>
            <a:avLst/>
            <a:gdLst>
              <a:gd name="connsiteX0" fmla="*/ 53601 w 117690"/>
              <a:gd name="connsiteY0" fmla="*/ 127012 h 127011"/>
              <a:gd name="connsiteX1" fmla="*/ 0 w 117690"/>
              <a:gd name="connsiteY1" fmla="*/ 127012 h 127011"/>
              <a:gd name="connsiteX2" fmla="*/ 62924 w 117690"/>
              <a:gd name="connsiteY2" fmla="*/ 64089 h 127011"/>
              <a:gd name="connsiteX3" fmla="*/ 0 w 117690"/>
              <a:gd name="connsiteY3" fmla="*/ 0 h 127011"/>
              <a:gd name="connsiteX4" fmla="*/ 54767 w 117690"/>
              <a:gd name="connsiteY4" fmla="*/ 0 h 127011"/>
              <a:gd name="connsiteX5" fmla="*/ 117690 w 117690"/>
              <a:gd name="connsiteY5" fmla="*/ 61758 h 12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1">
                <a:moveTo>
                  <a:pt x="53601" y="127012"/>
                </a:moveTo>
                <a:lnTo>
                  <a:pt x="0" y="127012"/>
                </a:lnTo>
                <a:lnTo>
                  <a:pt x="62924" y="64089"/>
                </a:lnTo>
                <a:lnTo>
                  <a:pt x="0" y="0"/>
                </a:lnTo>
                <a:lnTo>
                  <a:pt x="54767" y="0"/>
                </a:lnTo>
                <a:lnTo>
                  <a:pt x="117690" y="61758"/>
                </a:lnTo>
                <a:close/>
              </a:path>
            </a:pathLst>
          </a:custGeom>
          <a:solidFill>
            <a:srgbClr val="EEF2F5"/>
          </a:solidFill>
          <a:ln w="11643" cap="flat">
            <a:noFill/>
            <a:prstDash val="solid"/>
            <a:miter/>
          </a:ln>
        </p:spPr>
        <p:txBody>
          <a:bodyPr rtlCol="0" anchor="ctr"/>
          <a:lstStyle/>
          <a:p>
            <a:endParaRPr lang="de-DE"/>
          </a:p>
        </p:txBody>
      </p:sp>
      <p:sp>
        <p:nvSpPr>
          <p:cNvPr id="175" name="Freihandform: Form 174">
            <a:extLst>
              <a:ext uri="{FF2B5EF4-FFF2-40B4-BE49-F238E27FC236}">
                <a16:creationId xmlns:a16="http://schemas.microsoft.com/office/drawing/2014/main" id="{B682B6CF-0860-48B1-8C00-95D42CF736E9}"/>
              </a:ext>
            </a:extLst>
          </p:cNvPr>
          <p:cNvSpPr/>
          <p:nvPr/>
        </p:nvSpPr>
        <p:spPr>
          <a:xfrm>
            <a:off x="6988003" y="5594870"/>
            <a:ext cx="117690" cy="127011"/>
          </a:xfrm>
          <a:custGeom>
            <a:avLst/>
            <a:gdLst>
              <a:gd name="connsiteX0" fmla="*/ 53601 w 117690"/>
              <a:gd name="connsiteY0" fmla="*/ 127012 h 127011"/>
              <a:gd name="connsiteX1" fmla="*/ 0 w 117690"/>
              <a:gd name="connsiteY1" fmla="*/ 127012 h 127011"/>
              <a:gd name="connsiteX2" fmla="*/ 62924 w 117690"/>
              <a:gd name="connsiteY2" fmla="*/ 64089 h 127011"/>
              <a:gd name="connsiteX3" fmla="*/ 0 w 117690"/>
              <a:gd name="connsiteY3" fmla="*/ 0 h 127011"/>
              <a:gd name="connsiteX4" fmla="*/ 54767 w 117690"/>
              <a:gd name="connsiteY4" fmla="*/ 0 h 127011"/>
              <a:gd name="connsiteX5" fmla="*/ 117690 w 117690"/>
              <a:gd name="connsiteY5" fmla="*/ 62923 h 12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1">
                <a:moveTo>
                  <a:pt x="53601" y="127012"/>
                </a:moveTo>
                <a:lnTo>
                  <a:pt x="0" y="127012"/>
                </a:lnTo>
                <a:lnTo>
                  <a:pt x="62924" y="64089"/>
                </a:lnTo>
                <a:lnTo>
                  <a:pt x="0" y="0"/>
                </a:lnTo>
                <a:lnTo>
                  <a:pt x="54767" y="0"/>
                </a:lnTo>
                <a:lnTo>
                  <a:pt x="117690" y="62923"/>
                </a:lnTo>
                <a:close/>
              </a:path>
            </a:pathLst>
          </a:custGeom>
          <a:solidFill>
            <a:srgbClr val="EEF2F5"/>
          </a:solidFill>
          <a:ln w="11643" cap="flat">
            <a:noFill/>
            <a:prstDash val="solid"/>
            <a:miter/>
          </a:ln>
        </p:spPr>
        <p:txBody>
          <a:bodyPr rtlCol="0" anchor="ctr"/>
          <a:lstStyle/>
          <a:p>
            <a:endParaRPr lang="de-DE"/>
          </a:p>
        </p:txBody>
      </p:sp>
      <p:sp>
        <p:nvSpPr>
          <p:cNvPr id="192" name="Freihandform: Form 191">
            <a:extLst>
              <a:ext uri="{FF2B5EF4-FFF2-40B4-BE49-F238E27FC236}">
                <a16:creationId xmlns:a16="http://schemas.microsoft.com/office/drawing/2014/main" id="{454B7B92-8F20-486A-A2F6-3D352B2C3337}"/>
              </a:ext>
            </a:extLst>
          </p:cNvPr>
          <p:cNvSpPr/>
          <p:nvPr/>
        </p:nvSpPr>
        <p:spPr>
          <a:xfrm>
            <a:off x="6988003" y="5950270"/>
            <a:ext cx="117690" cy="127011"/>
          </a:xfrm>
          <a:custGeom>
            <a:avLst/>
            <a:gdLst>
              <a:gd name="connsiteX0" fmla="*/ 53601 w 117690"/>
              <a:gd name="connsiteY0" fmla="*/ 127012 h 127011"/>
              <a:gd name="connsiteX1" fmla="*/ 0 w 117690"/>
              <a:gd name="connsiteY1" fmla="*/ 127012 h 127011"/>
              <a:gd name="connsiteX2" fmla="*/ 62924 w 117690"/>
              <a:gd name="connsiteY2" fmla="*/ 64089 h 127011"/>
              <a:gd name="connsiteX3" fmla="*/ 0 w 117690"/>
              <a:gd name="connsiteY3" fmla="*/ 0 h 127011"/>
              <a:gd name="connsiteX4" fmla="*/ 54767 w 117690"/>
              <a:gd name="connsiteY4" fmla="*/ 0 h 127011"/>
              <a:gd name="connsiteX5" fmla="*/ 117690 w 117690"/>
              <a:gd name="connsiteY5" fmla="*/ 61758 h 12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1">
                <a:moveTo>
                  <a:pt x="53601" y="127012"/>
                </a:moveTo>
                <a:lnTo>
                  <a:pt x="0" y="127012"/>
                </a:lnTo>
                <a:lnTo>
                  <a:pt x="62924" y="64089"/>
                </a:lnTo>
                <a:lnTo>
                  <a:pt x="0" y="0"/>
                </a:lnTo>
                <a:lnTo>
                  <a:pt x="54767" y="0"/>
                </a:lnTo>
                <a:lnTo>
                  <a:pt x="117690" y="61758"/>
                </a:lnTo>
                <a:close/>
              </a:path>
            </a:pathLst>
          </a:custGeom>
          <a:solidFill>
            <a:srgbClr val="EEF2F5"/>
          </a:solidFill>
          <a:ln w="11643" cap="flat">
            <a:noFill/>
            <a:prstDash val="solid"/>
            <a:miter/>
          </a:ln>
        </p:spPr>
        <p:txBody>
          <a:bodyPr rtlCol="0" anchor="ctr"/>
          <a:lstStyle/>
          <a:p>
            <a:endParaRPr lang="de-DE"/>
          </a:p>
        </p:txBody>
      </p:sp>
      <p:sp>
        <p:nvSpPr>
          <p:cNvPr id="209" name="Freihandform: Form 208">
            <a:extLst>
              <a:ext uri="{FF2B5EF4-FFF2-40B4-BE49-F238E27FC236}">
                <a16:creationId xmlns:a16="http://schemas.microsoft.com/office/drawing/2014/main" id="{731C9EF6-821F-43D3-AF27-A0A6EE4233B2}"/>
              </a:ext>
            </a:extLst>
          </p:cNvPr>
          <p:cNvSpPr/>
          <p:nvPr/>
        </p:nvSpPr>
        <p:spPr>
          <a:xfrm>
            <a:off x="6988003" y="6304506"/>
            <a:ext cx="117690" cy="127011"/>
          </a:xfrm>
          <a:custGeom>
            <a:avLst/>
            <a:gdLst>
              <a:gd name="connsiteX0" fmla="*/ 53601 w 117690"/>
              <a:gd name="connsiteY0" fmla="*/ 127012 h 127011"/>
              <a:gd name="connsiteX1" fmla="*/ 0 w 117690"/>
              <a:gd name="connsiteY1" fmla="*/ 127012 h 127011"/>
              <a:gd name="connsiteX2" fmla="*/ 62924 w 117690"/>
              <a:gd name="connsiteY2" fmla="*/ 64089 h 127011"/>
              <a:gd name="connsiteX3" fmla="*/ 0 w 117690"/>
              <a:gd name="connsiteY3" fmla="*/ 0 h 127011"/>
              <a:gd name="connsiteX4" fmla="*/ 54767 w 117690"/>
              <a:gd name="connsiteY4" fmla="*/ 0 h 127011"/>
              <a:gd name="connsiteX5" fmla="*/ 117690 w 117690"/>
              <a:gd name="connsiteY5" fmla="*/ 62923 h 12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1">
                <a:moveTo>
                  <a:pt x="53601" y="127012"/>
                </a:moveTo>
                <a:lnTo>
                  <a:pt x="0" y="127012"/>
                </a:lnTo>
                <a:lnTo>
                  <a:pt x="62924" y="64089"/>
                </a:lnTo>
                <a:lnTo>
                  <a:pt x="0" y="0"/>
                </a:lnTo>
                <a:lnTo>
                  <a:pt x="54767" y="0"/>
                </a:lnTo>
                <a:lnTo>
                  <a:pt x="117690" y="62923"/>
                </a:lnTo>
                <a:close/>
              </a:path>
            </a:pathLst>
          </a:custGeom>
          <a:solidFill>
            <a:srgbClr val="EEF2F5"/>
          </a:solidFill>
          <a:ln w="11643" cap="flat">
            <a:noFill/>
            <a:prstDash val="solid"/>
            <a:miter/>
          </a:ln>
        </p:spPr>
        <p:txBody>
          <a:bodyPr rtlCol="0" anchor="ctr"/>
          <a:lstStyle/>
          <a:p>
            <a:endParaRPr lang="de-DE"/>
          </a:p>
        </p:txBody>
      </p:sp>
      <p:sp>
        <p:nvSpPr>
          <p:cNvPr id="225" name="Freihandform: Form 224">
            <a:extLst>
              <a:ext uri="{FF2B5EF4-FFF2-40B4-BE49-F238E27FC236}">
                <a16:creationId xmlns:a16="http://schemas.microsoft.com/office/drawing/2014/main" id="{E9AB3220-DE9C-44AE-ADC2-AF15E390E82D}"/>
              </a:ext>
            </a:extLst>
          </p:cNvPr>
          <p:cNvSpPr/>
          <p:nvPr/>
        </p:nvSpPr>
        <p:spPr>
          <a:xfrm>
            <a:off x="6988003" y="6659906"/>
            <a:ext cx="117690" cy="127011"/>
          </a:xfrm>
          <a:custGeom>
            <a:avLst/>
            <a:gdLst>
              <a:gd name="connsiteX0" fmla="*/ 53601 w 117690"/>
              <a:gd name="connsiteY0" fmla="*/ 127012 h 127011"/>
              <a:gd name="connsiteX1" fmla="*/ 0 w 117690"/>
              <a:gd name="connsiteY1" fmla="*/ 127012 h 127011"/>
              <a:gd name="connsiteX2" fmla="*/ 62924 w 117690"/>
              <a:gd name="connsiteY2" fmla="*/ 64089 h 127011"/>
              <a:gd name="connsiteX3" fmla="*/ 0 w 117690"/>
              <a:gd name="connsiteY3" fmla="*/ 0 h 127011"/>
              <a:gd name="connsiteX4" fmla="*/ 54767 w 117690"/>
              <a:gd name="connsiteY4" fmla="*/ 0 h 127011"/>
              <a:gd name="connsiteX5" fmla="*/ 117690 w 117690"/>
              <a:gd name="connsiteY5" fmla="*/ 61758 h 12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1">
                <a:moveTo>
                  <a:pt x="53601" y="127012"/>
                </a:moveTo>
                <a:lnTo>
                  <a:pt x="0" y="127012"/>
                </a:lnTo>
                <a:lnTo>
                  <a:pt x="62924" y="64089"/>
                </a:lnTo>
                <a:lnTo>
                  <a:pt x="0" y="0"/>
                </a:lnTo>
                <a:lnTo>
                  <a:pt x="54767" y="0"/>
                </a:lnTo>
                <a:lnTo>
                  <a:pt x="117690" y="61758"/>
                </a:lnTo>
                <a:close/>
              </a:path>
            </a:pathLst>
          </a:custGeom>
          <a:solidFill>
            <a:srgbClr val="EEF2F5"/>
          </a:solidFill>
          <a:ln w="11643" cap="flat">
            <a:noFill/>
            <a:prstDash val="solid"/>
            <a:miter/>
          </a:ln>
        </p:spPr>
        <p:txBody>
          <a:bodyPr rtlCol="0" anchor="ctr"/>
          <a:lstStyle/>
          <a:p>
            <a:endParaRPr lang="de-DE"/>
          </a:p>
        </p:txBody>
      </p:sp>
      <p:sp>
        <p:nvSpPr>
          <p:cNvPr id="14" name="Freihandform: Form 13">
            <a:extLst>
              <a:ext uri="{FF2B5EF4-FFF2-40B4-BE49-F238E27FC236}">
                <a16:creationId xmlns:a16="http://schemas.microsoft.com/office/drawing/2014/main" id="{EFAF6EFC-5984-485E-8562-F3C5B1286F10}"/>
              </a:ext>
            </a:extLst>
          </p:cNvPr>
          <p:cNvSpPr/>
          <p:nvPr/>
        </p:nvSpPr>
        <p:spPr>
          <a:xfrm>
            <a:off x="7335247" y="2038533"/>
            <a:ext cx="132838" cy="143325"/>
          </a:xfrm>
          <a:custGeom>
            <a:avLst/>
            <a:gdLst>
              <a:gd name="connsiteX0" fmla="*/ 60593 w 132838"/>
              <a:gd name="connsiteY0" fmla="*/ 143326 h 143325"/>
              <a:gd name="connsiteX1" fmla="*/ 0 w 132838"/>
              <a:gd name="connsiteY1" fmla="*/ 143326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6"/>
                </a:moveTo>
                <a:lnTo>
                  <a:pt x="0" y="143326"/>
                </a:lnTo>
                <a:lnTo>
                  <a:pt x="71080" y="72245"/>
                </a:lnTo>
                <a:lnTo>
                  <a:pt x="0" y="0"/>
                </a:lnTo>
                <a:lnTo>
                  <a:pt x="61758" y="0"/>
                </a:lnTo>
                <a:lnTo>
                  <a:pt x="132838" y="69915"/>
                </a:lnTo>
                <a:close/>
              </a:path>
            </a:pathLst>
          </a:custGeom>
          <a:solidFill>
            <a:srgbClr val="EEF2F5"/>
          </a:solidFill>
          <a:ln w="11643" cap="flat">
            <a:noFill/>
            <a:prstDash val="solid"/>
            <a:miter/>
          </a:ln>
        </p:spPr>
        <p:txBody>
          <a:bodyPr rtlCol="0" anchor="ctr"/>
          <a:lstStyle/>
          <a:p>
            <a:endParaRPr lang="de-DE"/>
          </a:p>
        </p:txBody>
      </p:sp>
      <p:sp>
        <p:nvSpPr>
          <p:cNvPr id="29" name="Freihandform: Form 28">
            <a:extLst>
              <a:ext uri="{FF2B5EF4-FFF2-40B4-BE49-F238E27FC236}">
                <a16:creationId xmlns:a16="http://schemas.microsoft.com/office/drawing/2014/main" id="{C38B5C98-4ABA-4DD0-92EE-6AE4E7466D1F}"/>
              </a:ext>
            </a:extLst>
          </p:cNvPr>
          <p:cNvSpPr/>
          <p:nvPr/>
        </p:nvSpPr>
        <p:spPr>
          <a:xfrm>
            <a:off x="7335247" y="2392768"/>
            <a:ext cx="132838" cy="143325"/>
          </a:xfrm>
          <a:custGeom>
            <a:avLst/>
            <a:gdLst>
              <a:gd name="connsiteX0" fmla="*/ 60593 w 132838"/>
              <a:gd name="connsiteY0" fmla="*/ 143325 h 143325"/>
              <a:gd name="connsiteX1" fmla="*/ 0 w 132838"/>
              <a:gd name="connsiteY1" fmla="*/ 143325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71080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5"/>
                </a:moveTo>
                <a:lnTo>
                  <a:pt x="0" y="143325"/>
                </a:lnTo>
                <a:lnTo>
                  <a:pt x="71080" y="72245"/>
                </a:lnTo>
                <a:lnTo>
                  <a:pt x="0" y="0"/>
                </a:lnTo>
                <a:lnTo>
                  <a:pt x="61758" y="0"/>
                </a:lnTo>
                <a:lnTo>
                  <a:pt x="132838" y="71080"/>
                </a:lnTo>
                <a:close/>
              </a:path>
            </a:pathLst>
          </a:custGeom>
          <a:solidFill>
            <a:srgbClr val="EEF2F5"/>
          </a:solidFill>
          <a:ln w="11643" cap="flat">
            <a:noFill/>
            <a:prstDash val="solid"/>
            <a:miter/>
          </a:ln>
        </p:spPr>
        <p:txBody>
          <a:bodyPr rtlCol="0" anchor="ctr"/>
          <a:lstStyle/>
          <a:p>
            <a:endParaRPr lang="de-DE"/>
          </a:p>
        </p:txBody>
      </p:sp>
      <p:sp>
        <p:nvSpPr>
          <p:cNvPr id="45" name="Freihandform: Form 44">
            <a:extLst>
              <a:ext uri="{FF2B5EF4-FFF2-40B4-BE49-F238E27FC236}">
                <a16:creationId xmlns:a16="http://schemas.microsoft.com/office/drawing/2014/main" id="{79F3C30E-5951-4096-8825-BA1A1F523534}"/>
              </a:ext>
            </a:extLst>
          </p:cNvPr>
          <p:cNvSpPr/>
          <p:nvPr/>
        </p:nvSpPr>
        <p:spPr>
          <a:xfrm>
            <a:off x="7335247" y="2748169"/>
            <a:ext cx="132838" cy="143325"/>
          </a:xfrm>
          <a:custGeom>
            <a:avLst/>
            <a:gdLst>
              <a:gd name="connsiteX0" fmla="*/ 60593 w 132838"/>
              <a:gd name="connsiteY0" fmla="*/ 143325 h 143325"/>
              <a:gd name="connsiteX1" fmla="*/ 0 w 132838"/>
              <a:gd name="connsiteY1" fmla="*/ 143325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5"/>
                </a:moveTo>
                <a:lnTo>
                  <a:pt x="0" y="143325"/>
                </a:lnTo>
                <a:lnTo>
                  <a:pt x="71080" y="72245"/>
                </a:lnTo>
                <a:lnTo>
                  <a:pt x="0" y="0"/>
                </a:lnTo>
                <a:lnTo>
                  <a:pt x="61758" y="0"/>
                </a:lnTo>
                <a:lnTo>
                  <a:pt x="132838" y="69915"/>
                </a:lnTo>
                <a:close/>
              </a:path>
            </a:pathLst>
          </a:custGeom>
          <a:solidFill>
            <a:srgbClr val="EEF2F5"/>
          </a:solidFill>
          <a:ln w="11643" cap="flat">
            <a:noFill/>
            <a:prstDash val="solid"/>
            <a:miter/>
          </a:ln>
        </p:spPr>
        <p:txBody>
          <a:bodyPr rtlCol="0" anchor="ctr"/>
          <a:lstStyle/>
          <a:p>
            <a:endParaRPr lang="de-DE"/>
          </a:p>
        </p:txBody>
      </p:sp>
      <p:sp>
        <p:nvSpPr>
          <p:cNvPr id="61" name="Freihandform: Form 60">
            <a:extLst>
              <a:ext uri="{FF2B5EF4-FFF2-40B4-BE49-F238E27FC236}">
                <a16:creationId xmlns:a16="http://schemas.microsoft.com/office/drawing/2014/main" id="{72D38BC9-A038-42F1-84CC-8FE548646FD4}"/>
              </a:ext>
            </a:extLst>
          </p:cNvPr>
          <p:cNvSpPr/>
          <p:nvPr/>
        </p:nvSpPr>
        <p:spPr>
          <a:xfrm>
            <a:off x="7335247" y="3102404"/>
            <a:ext cx="132838" cy="143325"/>
          </a:xfrm>
          <a:custGeom>
            <a:avLst/>
            <a:gdLst>
              <a:gd name="connsiteX0" fmla="*/ 60593 w 132838"/>
              <a:gd name="connsiteY0" fmla="*/ 143326 h 143325"/>
              <a:gd name="connsiteX1" fmla="*/ 0 w 132838"/>
              <a:gd name="connsiteY1" fmla="*/ 143326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71080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6"/>
                </a:moveTo>
                <a:lnTo>
                  <a:pt x="0" y="143326"/>
                </a:lnTo>
                <a:lnTo>
                  <a:pt x="71080" y="72245"/>
                </a:lnTo>
                <a:lnTo>
                  <a:pt x="0" y="0"/>
                </a:lnTo>
                <a:lnTo>
                  <a:pt x="61758" y="0"/>
                </a:lnTo>
                <a:lnTo>
                  <a:pt x="132838" y="71080"/>
                </a:lnTo>
                <a:close/>
              </a:path>
            </a:pathLst>
          </a:custGeom>
          <a:solidFill>
            <a:srgbClr val="EEF2F5"/>
          </a:solidFill>
          <a:ln w="11643" cap="flat">
            <a:noFill/>
            <a:prstDash val="solid"/>
            <a:miter/>
          </a:ln>
        </p:spPr>
        <p:txBody>
          <a:bodyPr rtlCol="0" anchor="ctr"/>
          <a:lstStyle/>
          <a:p>
            <a:endParaRPr lang="de-DE"/>
          </a:p>
        </p:txBody>
      </p:sp>
      <p:sp>
        <p:nvSpPr>
          <p:cNvPr id="77" name="Freihandform: Form 76">
            <a:extLst>
              <a:ext uri="{FF2B5EF4-FFF2-40B4-BE49-F238E27FC236}">
                <a16:creationId xmlns:a16="http://schemas.microsoft.com/office/drawing/2014/main" id="{4C23EFB8-6839-469E-BA4B-6EBF505449D2}"/>
              </a:ext>
            </a:extLst>
          </p:cNvPr>
          <p:cNvSpPr/>
          <p:nvPr/>
        </p:nvSpPr>
        <p:spPr>
          <a:xfrm>
            <a:off x="7335247" y="3457805"/>
            <a:ext cx="132838" cy="143325"/>
          </a:xfrm>
          <a:custGeom>
            <a:avLst/>
            <a:gdLst>
              <a:gd name="connsiteX0" fmla="*/ 60593 w 132838"/>
              <a:gd name="connsiteY0" fmla="*/ 143326 h 143325"/>
              <a:gd name="connsiteX1" fmla="*/ 0 w 132838"/>
              <a:gd name="connsiteY1" fmla="*/ 143326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6"/>
                </a:moveTo>
                <a:lnTo>
                  <a:pt x="0" y="143326"/>
                </a:lnTo>
                <a:lnTo>
                  <a:pt x="71080" y="72245"/>
                </a:lnTo>
                <a:lnTo>
                  <a:pt x="0" y="0"/>
                </a:lnTo>
                <a:lnTo>
                  <a:pt x="61758" y="0"/>
                </a:lnTo>
                <a:lnTo>
                  <a:pt x="132838" y="69915"/>
                </a:lnTo>
                <a:close/>
              </a:path>
            </a:pathLst>
          </a:custGeom>
          <a:solidFill>
            <a:srgbClr val="EEF2F5"/>
          </a:solidFill>
          <a:ln w="11643" cap="flat">
            <a:noFill/>
            <a:prstDash val="solid"/>
            <a:miter/>
          </a:ln>
        </p:spPr>
        <p:txBody>
          <a:bodyPr rtlCol="0" anchor="ctr"/>
          <a:lstStyle/>
          <a:p>
            <a:endParaRPr lang="de-DE"/>
          </a:p>
        </p:txBody>
      </p:sp>
      <p:sp>
        <p:nvSpPr>
          <p:cNvPr id="93" name="Freihandform: Form 92">
            <a:extLst>
              <a:ext uri="{FF2B5EF4-FFF2-40B4-BE49-F238E27FC236}">
                <a16:creationId xmlns:a16="http://schemas.microsoft.com/office/drawing/2014/main" id="{45EE2EBC-AC9B-4F66-BE0E-F697842CD09A}"/>
              </a:ext>
            </a:extLst>
          </p:cNvPr>
          <p:cNvSpPr/>
          <p:nvPr/>
        </p:nvSpPr>
        <p:spPr>
          <a:xfrm>
            <a:off x="7335247" y="3812040"/>
            <a:ext cx="132838" cy="144490"/>
          </a:xfrm>
          <a:custGeom>
            <a:avLst/>
            <a:gdLst>
              <a:gd name="connsiteX0" fmla="*/ 60593 w 132838"/>
              <a:gd name="connsiteY0" fmla="*/ 144491 h 144490"/>
              <a:gd name="connsiteX1" fmla="*/ 0 w 132838"/>
              <a:gd name="connsiteY1" fmla="*/ 144491 h 144490"/>
              <a:gd name="connsiteX2" fmla="*/ 71080 w 132838"/>
              <a:gd name="connsiteY2" fmla="*/ 73410 h 144490"/>
              <a:gd name="connsiteX3" fmla="*/ 0 w 132838"/>
              <a:gd name="connsiteY3" fmla="*/ 0 h 144490"/>
              <a:gd name="connsiteX4" fmla="*/ 61758 w 132838"/>
              <a:gd name="connsiteY4" fmla="*/ 0 h 144490"/>
              <a:gd name="connsiteX5" fmla="*/ 132838 w 132838"/>
              <a:gd name="connsiteY5" fmla="*/ 71080 h 144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4490">
                <a:moveTo>
                  <a:pt x="60593" y="144491"/>
                </a:moveTo>
                <a:lnTo>
                  <a:pt x="0" y="144491"/>
                </a:lnTo>
                <a:lnTo>
                  <a:pt x="71080" y="73410"/>
                </a:lnTo>
                <a:lnTo>
                  <a:pt x="0" y="0"/>
                </a:lnTo>
                <a:lnTo>
                  <a:pt x="61758" y="0"/>
                </a:lnTo>
                <a:lnTo>
                  <a:pt x="132838" y="71080"/>
                </a:lnTo>
                <a:close/>
              </a:path>
            </a:pathLst>
          </a:custGeom>
          <a:solidFill>
            <a:srgbClr val="EEF2F5"/>
          </a:solidFill>
          <a:ln w="11643" cap="flat">
            <a:noFill/>
            <a:prstDash val="solid"/>
            <a:miter/>
          </a:ln>
        </p:spPr>
        <p:txBody>
          <a:bodyPr rtlCol="0" anchor="ctr"/>
          <a:lstStyle/>
          <a:p>
            <a:endParaRPr lang="de-DE"/>
          </a:p>
        </p:txBody>
      </p:sp>
      <p:sp>
        <p:nvSpPr>
          <p:cNvPr id="109" name="Freihandform: Form 108">
            <a:extLst>
              <a:ext uri="{FF2B5EF4-FFF2-40B4-BE49-F238E27FC236}">
                <a16:creationId xmlns:a16="http://schemas.microsoft.com/office/drawing/2014/main" id="{23A8A58E-C664-472A-80B9-B34A798D133E}"/>
              </a:ext>
            </a:extLst>
          </p:cNvPr>
          <p:cNvSpPr/>
          <p:nvPr/>
        </p:nvSpPr>
        <p:spPr>
          <a:xfrm>
            <a:off x="7335247" y="4167441"/>
            <a:ext cx="132838" cy="143325"/>
          </a:xfrm>
          <a:custGeom>
            <a:avLst/>
            <a:gdLst>
              <a:gd name="connsiteX0" fmla="*/ 60593 w 132838"/>
              <a:gd name="connsiteY0" fmla="*/ 143325 h 143325"/>
              <a:gd name="connsiteX1" fmla="*/ 0 w 132838"/>
              <a:gd name="connsiteY1" fmla="*/ 143325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5"/>
                </a:moveTo>
                <a:lnTo>
                  <a:pt x="0" y="143325"/>
                </a:lnTo>
                <a:lnTo>
                  <a:pt x="71080" y="72245"/>
                </a:lnTo>
                <a:lnTo>
                  <a:pt x="0" y="0"/>
                </a:lnTo>
                <a:lnTo>
                  <a:pt x="61758" y="0"/>
                </a:lnTo>
                <a:lnTo>
                  <a:pt x="132838" y="69915"/>
                </a:lnTo>
                <a:close/>
              </a:path>
            </a:pathLst>
          </a:custGeom>
          <a:solidFill>
            <a:srgbClr val="EEF2F5"/>
          </a:solidFill>
          <a:ln w="11643" cap="flat">
            <a:noFill/>
            <a:prstDash val="solid"/>
            <a:miter/>
          </a:ln>
        </p:spPr>
        <p:txBody>
          <a:bodyPr rtlCol="0" anchor="ctr"/>
          <a:lstStyle/>
          <a:p>
            <a:endParaRPr lang="de-DE"/>
          </a:p>
        </p:txBody>
      </p:sp>
      <p:sp>
        <p:nvSpPr>
          <p:cNvPr id="125" name="Freihandform: Form 124">
            <a:extLst>
              <a:ext uri="{FF2B5EF4-FFF2-40B4-BE49-F238E27FC236}">
                <a16:creationId xmlns:a16="http://schemas.microsoft.com/office/drawing/2014/main" id="{C3B2D139-38F0-4A0D-927D-BDFD81D0A329}"/>
              </a:ext>
            </a:extLst>
          </p:cNvPr>
          <p:cNvSpPr/>
          <p:nvPr/>
        </p:nvSpPr>
        <p:spPr>
          <a:xfrm>
            <a:off x="7335247" y="4522842"/>
            <a:ext cx="132838" cy="143325"/>
          </a:xfrm>
          <a:custGeom>
            <a:avLst/>
            <a:gdLst>
              <a:gd name="connsiteX0" fmla="*/ 60593 w 132838"/>
              <a:gd name="connsiteY0" fmla="*/ 143325 h 143325"/>
              <a:gd name="connsiteX1" fmla="*/ 0 w 132838"/>
              <a:gd name="connsiteY1" fmla="*/ 143325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5"/>
                </a:moveTo>
                <a:lnTo>
                  <a:pt x="0" y="143325"/>
                </a:lnTo>
                <a:lnTo>
                  <a:pt x="71080" y="72245"/>
                </a:lnTo>
                <a:lnTo>
                  <a:pt x="0" y="0"/>
                </a:lnTo>
                <a:lnTo>
                  <a:pt x="61758" y="0"/>
                </a:lnTo>
                <a:lnTo>
                  <a:pt x="132838" y="69915"/>
                </a:lnTo>
                <a:close/>
              </a:path>
            </a:pathLst>
          </a:custGeom>
          <a:solidFill>
            <a:srgbClr val="EEF2F5"/>
          </a:solidFill>
          <a:ln w="11643" cap="flat">
            <a:noFill/>
            <a:prstDash val="solid"/>
            <a:miter/>
          </a:ln>
        </p:spPr>
        <p:txBody>
          <a:bodyPr rtlCol="0" anchor="ctr"/>
          <a:lstStyle/>
          <a:p>
            <a:endParaRPr lang="de-DE"/>
          </a:p>
        </p:txBody>
      </p:sp>
      <p:sp>
        <p:nvSpPr>
          <p:cNvPr id="142" name="Freihandform: Form 141">
            <a:extLst>
              <a:ext uri="{FF2B5EF4-FFF2-40B4-BE49-F238E27FC236}">
                <a16:creationId xmlns:a16="http://schemas.microsoft.com/office/drawing/2014/main" id="{B85C4BDF-6D64-4824-8953-A0E638E3F3C2}"/>
              </a:ext>
            </a:extLst>
          </p:cNvPr>
          <p:cNvSpPr/>
          <p:nvPr/>
        </p:nvSpPr>
        <p:spPr>
          <a:xfrm>
            <a:off x="7335247" y="4877077"/>
            <a:ext cx="132838" cy="143325"/>
          </a:xfrm>
          <a:custGeom>
            <a:avLst/>
            <a:gdLst>
              <a:gd name="connsiteX0" fmla="*/ 60593 w 132838"/>
              <a:gd name="connsiteY0" fmla="*/ 143325 h 143325"/>
              <a:gd name="connsiteX1" fmla="*/ 0 w 132838"/>
              <a:gd name="connsiteY1" fmla="*/ 143325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71080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5"/>
                </a:moveTo>
                <a:lnTo>
                  <a:pt x="0" y="143325"/>
                </a:lnTo>
                <a:lnTo>
                  <a:pt x="71080" y="72245"/>
                </a:lnTo>
                <a:lnTo>
                  <a:pt x="0" y="0"/>
                </a:lnTo>
                <a:lnTo>
                  <a:pt x="61758" y="0"/>
                </a:lnTo>
                <a:lnTo>
                  <a:pt x="132838" y="71080"/>
                </a:lnTo>
                <a:close/>
              </a:path>
            </a:pathLst>
          </a:custGeom>
          <a:solidFill>
            <a:srgbClr val="EEF2F5"/>
          </a:solidFill>
          <a:ln w="11643" cap="flat">
            <a:noFill/>
            <a:prstDash val="solid"/>
            <a:miter/>
          </a:ln>
        </p:spPr>
        <p:txBody>
          <a:bodyPr rtlCol="0" anchor="ctr"/>
          <a:lstStyle/>
          <a:p>
            <a:endParaRPr lang="de-DE"/>
          </a:p>
        </p:txBody>
      </p:sp>
      <p:sp>
        <p:nvSpPr>
          <p:cNvPr id="159" name="Freihandform: Form 158">
            <a:extLst>
              <a:ext uri="{FF2B5EF4-FFF2-40B4-BE49-F238E27FC236}">
                <a16:creationId xmlns:a16="http://schemas.microsoft.com/office/drawing/2014/main" id="{847A43FF-6A21-4A02-A0F3-7A25CB4C4A3E}"/>
              </a:ext>
            </a:extLst>
          </p:cNvPr>
          <p:cNvSpPr/>
          <p:nvPr/>
        </p:nvSpPr>
        <p:spPr>
          <a:xfrm>
            <a:off x="7335247" y="5232478"/>
            <a:ext cx="132838" cy="143325"/>
          </a:xfrm>
          <a:custGeom>
            <a:avLst/>
            <a:gdLst>
              <a:gd name="connsiteX0" fmla="*/ 60593 w 132838"/>
              <a:gd name="connsiteY0" fmla="*/ 143325 h 143325"/>
              <a:gd name="connsiteX1" fmla="*/ 0 w 132838"/>
              <a:gd name="connsiteY1" fmla="*/ 143325 h 143325"/>
              <a:gd name="connsiteX2" fmla="*/ 71080 w 132838"/>
              <a:gd name="connsiteY2" fmla="*/ 72246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5"/>
                </a:moveTo>
                <a:lnTo>
                  <a:pt x="0" y="143325"/>
                </a:lnTo>
                <a:lnTo>
                  <a:pt x="71080" y="72246"/>
                </a:lnTo>
                <a:lnTo>
                  <a:pt x="0" y="0"/>
                </a:lnTo>
                <a:lnTo>
                  <a:pt x="61758" y="0"/>
                </a:lnTo>
                <a:lnTo>
                  <a:pt x="132838" y="69915"/>
                </a:lnTo>
                <a:close/>
              </a:path>
            </a:pathLst>
          </a:custGeom>
          <a:solidFill>
            <a:srgbClr val="EEF2F5"/>
          </a:solidFill>
          <a:ln w="11643" cap="flat">
            <a:noFill/>
            <a:prstDash val="solid"/>
            <a:miter/>
          </a:ln>
        </p:spPr>
        <p:txBody>
          <a:bodyPr rtlCol="0" anchor="ctr"/>
          <a:lstStyle/>
          <a:p>
            <a:endParaRPr lang="de-DE"/>
          </a:p>
        </p:txBody>
      </p:sp>
      <p:sp>
        <p:nvSpPr>
          <p:cNvPr id="176" name="Freihandform: Form 175">
            <a:extLst>
              <a:ext uri="{FF2B5EF4-FFF2-40B4-BE49-F238E27FC236}">
                <a16:creationId xmlns:a16="http://schemas.microsoft.com/office/drawing/2014/main" id="{5F6F18CA-B559-43C7-A028-9927FEF76A9E}"/>
              </a:ext>
            </a:extLst>
          </p:cNvPr>
          <p:cNvSpPr/>
          <p:nvPr/>
        </p:nvSpPr>
        <p:spPr>
          <a:xfrm>
            <a:off x="7335247" y="5586713"/>
            <a:ext cx="132838" cy="143325"/>
          </a:xfrm>
          <a:custGeom>
            <a:avLst/>
            <a:gdLst>
              <a:gd name="connsiteX0" fmla="*/ 60593 w 132838"/>
              <a:gd name="connsiteY0" fmla="*/ 143326 h 143325"/>
              <a:gd name="connsiteX1" fmla="*/ 0 w 132838"/>
              <a:gd name="connsiteY1" fmla="*/ 143326 h 143325"/>
              <a:gd name="connsiteX2" fmla="*/ 71080 w 132838"/>
              <a:gd name="connsiteY2" fmla="*/ 72246 h 143325"/>
              <a:gd name="connsiteX3" fmla="*/ 0 w 132838"/>
              <a:gd name="connsiteY3" fmla="*/ 0 h 143325"/>
              <a:gd name="connsiteX4" fmla="*/ 61758 w 132838"/>
              <a:gd name="connsiteY4" fmla="*/ 0 h 143325"/>
              <a:gd name="connsiteX5" fmla="*/ 132838 w 132838"/>
              <a:gd name="connsiteY5" fmla="*/ 71080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6"/>
                </a:moveTo>
                <a:lnTo>
                  <a:pt x="0" y="143326"/>
                </a:lnTo>
                <a:lnTo>
                  <a:pt x="71080" y="72246"/>
                </a:lnTo>
                <a:lnTo>
                  <a:pt x="0" y="0"/>
                </a:lnTo>
                <a:lnTo>
                  <a:pt x="61758" y="0"/>
                </a:lnTo>
                <a:lnTo>
                  <a:pt x="132838" y="71080"/>
                </a:lnTo>
                <a:close/>
              </a:path>
            </a:pathLst>
          </a:custGeom>
          <a:solidFill>
            <a:srgbClr val="EEF2F5"/>
          </a:solidFill>
          <a:ln w="11643" cap="flat">
            <a:noFill/>
            <a:prstDash val="solid"/>
            <a:miter/>
          </a:ln>
        </p:spPr>
        <p:txBody>
          <a:bodyPr rtlCol="0" anchor="ctr"/>
          <a:lstStyle/>
          <a:p>
            <a:endParaRPr lang="de-DE"/>
          </a:p>
        </p:txBody>
      </p:sp>
      <p:sp>
        <p:nvSpPr>
          <p:cNvPr id="193" name="Freihandform: Form 192">
            <a:extLst>
              <a:ext uri="{FF2B5EF4-FFF2-40B4-BE49-F238E27FC236}">
                <a16:creationId xmlns:a16="http://schemas.microsoft.com/office/drawing/2014/main" id="{CA0955FD-7B34-49C4-9B74-6CBFAD6AC0D2}"/>
              </a:ext>
            </a:extLst>
          </p:cNvPr>
          <p:cNvSpPr/>
          <p:nvPr/>
        </p:nvSpPr>
        <p:spPr>
          <a:xfrm>
            <a:off x="7335247" y="5942114"/>
            <a:ext cx="132838" cy="143325"/>
          </a:xfrm>
          <a:custGeom>
            <a:avLst/>
            <a:gdLst>
              <a:gd name="connsiteX0" fmla="*/ 60593 w 132838"/>
              <a:gd name="connsiteY0" fmla="*/ 143326 h 143325"/>
              <a:gd name="connsiteX1" fmla="*/ 0 w 132838"/>
              <a:gd name="connsiteY1" fmla="*/ 143326 h 143325"/>
              <a:gd name="connsiteX2" fmla="*/ 71080 w 132838"/>
              <a:gd name="connsiteY2" fmla="*/ 72246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6"/>
                </a:moveTo>
                <a:lnTo>
                  <a:pt x="0" y="143326"/>
                </a:lnTo>
                <a:lnTo>
                  <a:pt x="71080" y="72246"/>
                </a:lnTo>
                <a:lnTo>
                  <a:pt x="0" y="0"/>
                </a:lnTo>
                <a:lnTo>
                  <a:pt x="61758" y="0"/>
                </a:lnTo>
                <a:lnTo>
                  <a:pt x="132838" y="69915"/>
                </a:lnTo>
                <a:close/>
              </a:path>
            </a:pathLst>
          </a:custGeom>
          <a:solidFill>
            <a:srgbClr val="EEF2F5"/>
          </a:solidFill>
          <a:ln w="11643" cap="flat">
            <a:noFill/>
            <a:prstDash val="solid"/>
            <a:miter/>
          </a:ln>
        </p:spPr>
        <p:txBody>
          <a:bodyPr rtlCol="0" anchor="ctr"/>
          <a:lstStyle/>
          <a:p>
            <a:endParaRPr lang="de-DE"/>
          </a:p>
        </p:txBody>
      </p:sp>
      <p:sp>
        <p:nvSpPr>
          <p:cNvPr id="210" name="Freihandform: Form 209">
            <a:extLst>
              <a:ext uri="{FF2B5EF4-FFF2-40B4-BE49-F238E27FC236}">
                <a16:creationId xmlns:a16="http://schemas.microsoft.com/office/drawing/2014/main" id="{D68D90D4-26AA-4477-A0C9-8263189B58F9}"/>
              </a:ext>
            </a:extLst>
          </p:cNvPr>
          <p:cNvSpPr/>
          <p:nvPr/>
        </p:nvSpPr>
        <p:spPr>
          <a:xfrm>
            <a:off x="7335247" y="6296349"/>
            <a:ext cx="132838" cy="143325"/>
          </a:xfrm>
          <a:custGeom>
            <a:avLst/>
            <a:gdLst>
              <a:gd name="connsiteX0" fmla="*/ 60593 w 132838"/>
              <a:gd name="connsiteY0" fmla="*/ 143326 h 143325"/>
              <a:gd name="connsiteX1" fmla="*/ 0 w 132838"/>
              <a:gd name="connsiteY1" fmla="*/ 143326 h 143325"/>
              <a:gd name="connsiteX2" fmla="*/ 71080 w 132838"/>
              <a:gd name="connsiteY2" fmla="*/ 72246 h 143325"/>
              <a:gd name="connsiteX3" fmla="*/ 0 w 132838"/>
              <a:gd name="connsiteY3" fmla="*/ 0 h 143325"/>
              <a:gd name="connsiteX4" fmla="*/ 61758 w 132838"/>
              <a:gd name="connsiteY4" fmla="*/ 0 h 143325"/>
              <a:gd name="connsiteX5" fmla="*/ 132838 w 132838"/>
              <a:gd name="connsiteY5" fmla="*/ 71080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6"/>
                </a:moveTo>
                <a:lnTo>
                  <a:pt x="0" y="143326"/>
                </a:lnTo>
                <a:lnTo>
                  <a:pt x="71080" y="72246"/>
                </a:lnTo>
                <a:lnTo>
                  <a:pt x="0" y="0"/>
                </a:lnTo>
                <a:lnTo>
                  <a:pt x="61758" y="0"/>
                </a:lnTo>
                <a:lnTo>
                  <a:pt x="132838" y="71080"/>
                </a:lnTo>
                <a:close/>
              </a:path>
            </a:pathLst>
          </a:custGeom>
          <a:solidFill>
            <a:srgbClr val="EEF2F5"/>
          </a:solidFill>
          <a:ln w="11643" cap="flat">
            <a:noFill/>
            <a:prstDash val="solid"/>
            <a:miter/>
          </a:ln>
        </p:spPr>
        <p:txBody>
          <a:bodyPr rtlCol="0" anchor="ctr"/>
          <a:lstStyle/>
          <a:p>
            <a:endParaRPr lang="de-DE"/>
          </a:p>
        </p:txBody>
      </p:sp>
      <p:sp>
        <p:nvSpPr>
          <p:cNvPr id="226" name="Freihandform: Form 225">
            <a:extLst>
              <a:ext uri="{FF2B5EF4-FFF2-40B4-BE49-F238E27FC236}">
                <a16:creationId xmlns:a16="http://schemas.microsoft.com/office/drawing/2014/main" id="{97640BFA-E4AC-482E-B26E-9BE22B98A669}"/>
              </a:ext>
            </a:extLst>
          </p:cNvPr>
          <p:cNvSpPr/>
          <p:nvPr/>
        </p:nvSpPr>
        <p:spPr>
          <a:xfrm>
            <a:off x="7335247" y="6651749"/>
            <a:ext cx="132838" cy="143325"/>
          </a:xfrm>
          <a:custGeom>
            <a:avLst/>
            <a:gdLst>
              <a:gd name="connsiteX0" fmla="*/ 60593 w 132838"/>
              <a:gd name="connsiteY0" fmla="*/ 143326 h 143325"/>
              <a:gd name="connsiteX1" fmla="*/ 0 w 132838"/>
              <a:gd name="connsiteY1" fmla="*/ 143326 h 143325"/>
              <a:gd name="connsiteX2" fmla="*/ 71080 w 132838"/>
              <a:gd name="connsiteY2" fmla="*/ 72246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6"/>
                </a:moveTo>
                <a:lnTo>
                  <a:pt x="0" y="143326"/>
                </a:lnTo>
                <a:lnTo>
                  <a:pt x="71080" y="72246"/>
                </a:lnTo>
                <a:lnTo>
                  <a:pt x="0" y="0"/>
                </a:lnTo>
                <a:lnTo>
                  <a:pt x="61758" y="0"/>
                </a:lnTo>
                <a:lnTo>
                  <a:pt x="132838" y="69915"/>
                </a:lnTo>
                <a:close/>
              </a:path>
            </a:pathLst>
          </a:custGeom>
          <a:solidFill>
            <a:srgbClr val="EEF2F5"/>
          </a:solidFill>
          <a:ln w="11643" cap="flat">
            <a:noFill/>
            <a:prstDash val="solid"/>
            <a:miter/>
          </a:ln>
        </p:spPr>
        <p:txBody>
          <a:bodyPr rtlCol="0" anchor="ctr"/>
          <a:lstStyle/>
          <a:p>
            <a:endParaRPr lang="de-DE"/>
          </a:p>
        </p:txBody>
      </p:sp>
      <p:sp>
        <p:nvSpPr>
          <p:cNvPr id="15" name="Freihandform: Form 14">
            <a:extLst>
              <a:ext uri="{FF2B5EF4-FFF2-40B4-BE49-F238E27FC236}">
                <a16:creationId xmlns:a16="http://schemas.microsoft.com/office/drawing/2014/main" id="{F336D4C3-F14F-4477-B07F-E766912B6926}"/>
              </a:ext>
            </a:extLst>
          </p:cNvPr>
          <p:cNvSpPr/>
          <p:nvPr/>
        </p:nvSpPr>
        <p:spPr>
          <a:xfrm>
            <a:off x="7682491" y="2029211"/>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30" name="Freihandform: Form 29">
            <a:extLst>
              <a:ext uri="{FF2B5EF4-FFF2-40B4-BE49-F238E27FC236}">
                <a16:creationId xmlns:a16="http://schemas.microsoft.com/office/drawing/2014/main" id="{34D4DA1D-8EE2-4188-AE9C-9791ECBC66C5}"/>
              </a:ext>
            </a:extLst>
          </p:cNvPr>
          <p:cNvSpPr/>
          <p:nvPr/>
        </p:nvSpPr>
        <p:spPr>
          <a:xfrm>
            <a:off x="7682491" y="2384612"/>
            <a:ext cx="147986" cy="160804"/>
          </a:xfrm>
          <a:custGeom>
            <a:avLst/>
            <a:gdLst>
              <a:gd name="connsiteX0" fmla="*/ 67584 w 147986"/>
              <a:gd name="connsiteY0" fmla="*/ 160804 h 160804"/>
              <a:gd name="connsiteX1" fmla="*/ 0 w 147986"/>
              <a:gd name="connsiteY1" fmla="*/ 160804 h 160804"/>
              <a:gd name="connsiteX2" fmla="*/ 79237 w 147986"/>
              <a:gd name="connsiteY2" fmla="*/ 80402 h 160804"/>
              <a:gd name="connsiteX3" fmla="*/ 0 w 147986"/>
              <a:gd name="connsiteY3" fmla="*/ 0 h 160804"/>
              <a:gd name="connsiteX4" fmla="*/ 68750 w 147986"/>
              <a:gd name="connsiteY4" fmla="*/ 0 h 160804"/>
              <a:gd name="connsiteX5" fmla="*/ 147986 w 147986"/>
              <a:gd name="connsiteY5" fmla="*/ 79237 h 160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0804">
                <a:moveTo>
                  <a:pt x="67584" y="160804"/>
                </a:moveTo>
                <a:lnTo>
                  <a:pt x="0" y="160804"/>
                </a:lnTo>
                <a:lnTo>
                  <a:pt x="79237" y="80402"/>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46" name="Freihandform: Form 45">
            <a:extLst>
              <a:ext uri="{FF2B5EF4-FFF2-40B4-BE49-F238E27FC236}">
                <a16:creationId xmlns:a16="http://schemas.microsoft.com/office/drawing/2014/main" id="{ADAD204A-493D-4101-A53B-41343EE7F6DE}"/>
              </a:ext>
            </a:extLst>
          </p:cNvPr>
          <p:cNvSpPr/>
          <p:nvPr/>
        </p:nvSpPr>
        <p:spPr>
          <a:xfrm>
            <a:off x="7682491" y="2738847"/>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62" name="Freihandform: Form 61">
            <a:extLst>
              <a:ext uri="{FF2B5EF4-FFF2-40B4-BE49-F238E27FC236}">
                <a16:creationId xmlns:a16="http://schemas.microsoft.com/office/drawing/2014/main" id="{0605F07B-22A0-4571-A9A8-F5DA3A1756E5}"/>
              </a:ext>
            </a:extLst>
          </p:cNvPr>
          <p:cNvSpPr/>
          <p:nvPr/>
        </p:nvSpPr>
        <p:spPr>
          <a:xfrm>
            <a:off x="7682491" y="3094248"/>
            <a:ext cx="147986" cy="160804"/>
          </a:xfrm>
          <a:custGeom>
            <a:avLst/>
            <a:gdLst>
              <a:gd name="connsiteX0" fmla="*/ 67584 w 147986"/>
              <a:gd name="connsiteY0" fmla="*/ 160804 h 160804"/>
              <a:gd name="connsiteX1" fmla="*/ 0 w 147986"/>
              <a:gd name="connsiteY1" fmla="*/ 160804 h 160804"/>
              <a:gd name="connsiteX2" fmla="*/ 79237 w 147986"/>
              <a:gd name="connsiteY2" fmla="*/ 81567 h 160804"/>
              <a:gd name="connsiteX3" fmla="*/ 0 w 147986"/>
              <a:gd name="connsiteY3" fmla="*/ 0 h 160804"/>
              <a:gd name="connsiteX4" fmla="*/ 68750 w 147986"/>
              <a:gd name="connsiteY4" fmla="*/ 0 h 160804"/>
              <a:gd name="connsiteX5" fmla="*/ 147986 w 147986"/>
              <a:gd name="connsiteY5" fmla="*/ 79237 h 160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0804">
                <a:moveTo>
                  <a:pt x="67584" y="160804"/>
                </a:moveTo>
                <a:lnTo>
                  <a:pt x="0" y="160804"/>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78" name="Freihandform: Form 77">
            <a:extLst>
              <a:ext uri="{FF2B5EF4-FFF2-40B4-BE49-F238E27FC236}">
                <a16:creationId xmlns:a16="http://schemas.microsoft.com/office/drawing/2014/main" id="{3EC20671-A11E-46B3-BAE0-32B973030757}"/>
              </a:ext>
            </a:extLst>
          </p:cNvPr>
          <p:cNvSpPr/>
          <p:nvPr/>
        </p:nvSpPr>
        <p:spPr>
          <a:xfrm>
            <a:off x="7682491" y="3448483"/>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94" name="Freihandform: Form 93">
            <a:extLst>
              <a:ext uri="{FF2B5EF4-FFF2-40B4-BE49-F238E27FC236}">
                <a16:creationId xmlns:a16="http://schemas.microsoft.com/office/drawing/2014/main" id="{A30F4723-63CF-4B8C-9113-E2531A8EBC72}"/>
              </a:ext>
            </a:extLst>
          </p:cNvPr>
          <p:cNvSpPr/>
          <p:nvPr/>
        </p:nvSpPr>
        <p:spPr>
          <a:xfrm>
            <a:off x="7682491" y="3803883"/>
            <a:ext cx="147986" cy="160804"/>
          </a:xfrm>
          <a:custGeom>
            <a:avLst/>
            <a:gdLst>
              <a:gd name="connsiteX0" fmla="*/ 67584 w 147986"/>
              <a:gd name="connsiteY0" fmla="*/ 160804 h 160804"/>
              <a:gd name="connsiteX1" fmla="*/ 0 w 147986"/>
              <a:gd name="connsiteY1" fmla="*/ 160804 h 160804"/>
              <a:gd name="connsiteX2" fmla="*/ 79237 w 147986"/>
              <a:gd name="connsiteY2" fmla="*/ 81567 h 160804"/>
              <a:gd name="connsiteX3" fmla="*/ 0 w 147986"/>
              <a:gd name="connsiteY3" fmla="*/ 0 h 160804"/>
              <a:gd name="connsiteX4" fmla="*/ 68750 w 147986"/>
              <a:gd name="connsiteY4" fmla="*/ 0 h 160804"/>
              <a:gd name="connsiteX5" fmla="*/ 147986 w 147986"/>
              <a:gd name="connsiteY5" fmla="*/ 79237 h 160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0804">
                <a:moveTo>
                  <a:pt x="67584" y="160804"/>
                </a:moveTo>
                <a:lnTo>
                  <a:pt x="0" y="160804"/>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110" name="Freihandform: Form 109">
            <a:extLst>
              <a:ext uri="{FF2B5EF4-FFF2-40B4-BE49-F238E27FC236}">
                <a16:creationId xmlns:a16="http://schemas.microsoft.com/office/drawing/2014/main" id="{0B073543-0431-463D-BD2B-670537378FD9}"/>
              </a:ext>
            </a:extLst>
          </p:cNvPr>
          <p:cNvSpPr/>
          <p:nvPr/>
        </p:nvSpPr>
        <p:spPr>
          <a:xfrm>
            <a:off x="7682491" y="4158119"/>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126" name="Freihandform: Form 125">
            <a:extLst>
              <a:ext uri="{FF2B5EF4-FFF2-40B4-BE49-F238E27FC236}">
                <a16:creationId xmlns:a16="http://schemas.microsoft.com/office/drawing/2014/main" id="{D645C434-6F6D-4B2F-9987-6BA4C184BDAD}"/>
              </a:ext>
            </a:extLst>
          </p:cNvPr>
          <p:cNvSpPr/>
          <p:nvPr/>
        </p:nvSpPr>
        <p:spPr>
          <a:xfrm>
            <a:off x="7682491" y="4513520"/>
            <a:ext cx="147986" cy="160804"/>
          </a:xfrm>
          <a:custGeom>
            <a:avLst/>
            <a:gdLst>
              <a:gd name="connsiteX0" fmla="*/ 67584 w 147986"/>
              <a:gd name="connsiteY0" fmla="*/ 160804 h 160804"/>
              <a:gd name="connsiteX1" fmla="*/ 0 w 147986"/>
              <a:gd name="connsiteY1" fmla="*/ 160804 h 160804"/>
              <a:gd name="connsiteX2" fmla="*/ 79237 w 147986"/>
              <a:gd name="connsiteY2" fmla="*/ 81567 h 160804"/>
              <a:gd name="connsiteX3" fmla="*/ 0 w 147986"/>
              <a:gd name="connsiteY3" fmla="*/ 0 h 160804"/>
              <a:gd name="connsiteX4" fmla="*/ 68750 w 147986"/>
              <a:gd name="connsiteY4" fmla="*/ 0 h 160804"/>
              <a:gd name="connsiteX5" fmla="*/ 147986 w 147986"/>
              <a:gd name="connsiteY5" fmla="*/ 79237 h 160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0804">
                <a:moveTo>
                  <a:pt x="67584" y="160804"/>
                </a:moveTo>
                <a:lnTo>
                  <a:pt x="0" y="160804"/>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143" name="Freihandform: Form 142">
            <a:extLst>
              <a:ext uri="{FF2B5EF4-FFF2-40B4-BE49-F238E27FC236}">
                <a16:creationId xmlns:a16="http://schemas.microsoft.com/office/drawing/2014/main" id="{78C199F1-38D6-4003-B23F-FB1D901A96D0}"/>
              </a:ext>
            </a:extLst>
          </p:cNvPr>
          <p:cNvSpPr/>
          <p:nvPr/>
        </p:nvSpPr>
        <p:spPr>
          <a:xfrm>
            <a:off x="7682491" y="4867755"/>
            <a:ext cx="147986" cy="161969"/>
          </a:xfrm>
          <a:custGeom>
            <a:avLst/>
            <a:gdLst>
              <a:gd name="connsiteX0" fmla="*/ 67584 w 147986"/>
              <a:gd name="connsiteY0" fmla="*/ 161970 h 161969"/>
              <a:gd name="connsiteX1" fmla="*/ 0 w 147986"/>
              <a:gd name="connsiteY1" fmla="*/ 161970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70"/>
                </a:moveTo>
                <a:lnTo>
                  <a:pt x="0" y="161970"/>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160" name="Freihandform: Form 159">
            <a:extLst>
              <a:ext uri="{FF2B5EF4-FFF2-40B4-BE49-F238E27FC236}">
                <a16:creationId xmlns:a16="http://schemas.microsoft.com/office/drawing/2014/main" id="{88794CE9-C4AD-447D-ADEB-D45D8252050B}"/>
              </a:ext>
            </a:extLst>
          </p:cNvPr>
          <p:cNvSpPr/>
          <p:nvPr/>
        </p:nvSpPr>
        <p:spPr>
          <a:xfrm>
            <a:off x="7682491" y="5223156"/>
            <a:ext cx="147986" cy="160804"/>
          </a:xfrm>
          <a:custGeom>
            <a:avLst/>
            <a:gdLst>
              <a:gd name="connsiteX0" fmla="*/ 67584 w 147986"/>
              <a:gd name="connsiteY0" fmla="*/ 160804 h 160804"/>
              <a:gd name="connsiteX1" fmla="*/ 0 w 147986"/>
              <a:gd name="connsiteY1" fmla="*/ 160804 h 160804"/>
              <a:gd name="connsiteX2" fmla="*/ 79237 w 147986"/>
              <a:gd name="connsiteY2" fmla="*/ 81567 h 160804"/>
              <a:gd name="connsiteX3" fmla="*/ 0 w 147986"/>
              <a:gd name="connsiteY3" fmla="*/ 0 h 160804"/>
              <a:gd name="connsiteX4" fmla="*/ 68750 w 147986"/>
              <a:gd name="connsiteY4" fmla="*/ 0 h 160804"/>
              <a:gd name="connsiteX5" fmla="*/ 147986 w 147986"/>
              <a:gd name="connsiteY5" fmla="*/ 79237 h 160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0804">
                <a:moveTo>
                  <a:pt x="67584" y="160804"/>
                </a:moveTo>
                <a:lnTo>
                  <a:pt x="0" y="160804"/>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177" name="Freihandform: Form 176">
            <a:extLst>
              <a:ext uri="{FF2B5EF4-FFF2-40B4-BE49-F238E27FC236}">
                <a16:creationId xmlns:a16="http://schemas.microsoft.com/office/drawing/2014/main" id="{FB39A232-82A2-4ED2-B532-B8247CC2812D}"/>
              </a:ext>
            </a:extLst>
          </p:cNvPr>
          <p:cNvSpPr/>
          <p:nvPr/>
        </p:nvSpPr>
        <p:spPr>
          <a:xfrm>
            <a:off x="7682491" y="5577391"/>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194" name="Freihandform: Form 193">
            <a:extLst>
              <a:ext uri="{FF2B5EF4-FFF2-40B4-BE49-F238E27FC236}">
                <a16:creationId xmlns:a16="http://schemas.microsoft.com/office/drawing/2014/main" id="{B5F8FABB-7522-42DB-BB0F-06A4420A79B1}"/>
              </a:ext>
            </a:extLst>
          </p:cNvPr>
          <p:cNvSpPr/>
          <p:nvPr/>
        </p:nvSpPr>
        <p:spPr>
          <a:xfrm>
            <a:off x="7682491" y="5932792"/>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211" name="Freihandform: Form 210">
            <a:extLst>
              <a:ext uri="{FF2B5EF4-FFF2-40B4-BE49-F238E27FC236}">
                <a16:creationId xmlns:a16="http://schemas.microsoft.com/office/drawing/2014/main" id="{D1F73513-4E28-4A8A-BEBF-47911EDB513A}"/>
              </a:ext>
            </a:extLst>
          </p:cNvPr>
          <p:cNvSpPr/>
          <p:nvPr/>
        </p:nvSpPr>
        <p:spPr>
          <a:xfrm>
            <a:off x="7682491" y="6287027"/>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80402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80402"/>
                </a:lnTo>
                <a:close/>
              </a:path>
            </a:pathLst>
          </a:custGeom>
          <a:solidFill>
            <a:srgbClr val="EEF2F5"/>
          </a:solidFill>
          <a:ln w="11643" cap="flat">
            <a:noFill/>
            <a:prstDash val="solid"/>
            <a:miter/>
          </a:ln>
        </p:spPr>
        <p:txBody>
          <a:bodyPr rtlCol="0" anchor="ctr"/>
          <a:lstStyle/>
          <a:p>
            <a:endParaRPr lang="de-DE"/>
          </a:p>
        </p:txBody>
      </p:sp>
      <p:sp>
        <p:nvSpPr>
          <p:cNvPr id="227" name="Freihandform: Form 226">
            <a:extLst>
              <a:ext uri="{FF2B5EF4-FFF2-40B4-BE49-F238E27FC236}">
                <a16:creationId xmlns:a16="http://schemas.microsoft.com/office/drawing/2014/main" id="{4D6DE079-31CD-44BD-8304-6E69A15E3218}"/>
              </a:ext>
            </a:extLst>
          </p:cNvPr>
          <p:cNvSpPr/>
          <p:nvPr/>
        </p:nvSpPr>
        <p:spPr>
          <a:xfrm>
            <a:off x="7682491" y="6642428"/>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16" name="Freihandform: Form 15">
            <a:extLst>
              <a:ext uri="{FF2B5EF4-FFF2-40B4-BE49-F238E27FC236}">
                <a16:creationId xmlns:a16="http://schemas.microsoft.com/office/drawing/2014/main" id="{AA2702D7-FFC1-412B-9F48-632A7CE520AC}"/>
              </a:ext>
            </a:extLst>
          </p:cNvPr>
          <p:cNvSpPr/>
          <p:nvPr/>
        </p:nvSpPr>
        <p:spPr>
          <a:xfrm>
            <a:off x="8028570" y="2019889"/>
            <a:ext cx="165465" cy="179448"/>
          </a:xfrm>
          <a:custGeom>
            <a:avLst/>
            <a:gdLst>
              <a:gd name="connsiteX0" fmla="*/ 75741 w 165465"/>
              <a:gd name="connsiteY0" fmla="*/ 179448 h 179448"/>
              <a:gd name="connsiteX1" fmla="*/ 0 w 165465"/>
              <a:gd name="connsiteY1" fmla="*/ 179448 h 179448"/>
              <a:gd name="connsiteX2" fmla="*/ 88559 w 165465"/>
              <a:gd name="connsiteY2" fmla="*/ 90889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31" name="Freihandform: Form 30">
            <a:extLst>
              <a:ext uri="{FF2B5EF4-FFF2-40B4-BE49-F238E27FC236}">
                <a16:creationId xmlns:a16="http://schemas.microsoft.com/office/drawing/2014/main" id="{648C99A7-3678-4CC0-AF16-855FE8DF6A83}"/>
              </a:ext>
            </a:extLst>
          </p:cNvPr>
          <p:cNvSpPr/>
          <p:nvPr/>
        </p:nvSpPr>
        <p:spPr>
          <a:xfrm>
            <a:off x="8028570" y="2375290"/>
            <a:ext cx="165465" cy="179448"/>
          </a:xfrm>
          <a:custGeom>
            <a:avLst/>
            <a:gdLst>
              <a:gd name="connsiteX0" fmla="*/ 75741 w 165465"/>
              <a:gd name="connsiteY0" fmla="*/ 179448 h 179448"/>
              <a:gd name="connsiteX1" fmla="*/ 0 w 165465"/>
              <a:gd name="connsiteY1" fmla="*/ 179448 h 179448"/>
              <a:gd name="connsiteX2" fmla="*/ 88559 w 165465"/>
              <a:gd name="connsiteY2" fmla="*/ 90889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47" name="Freihandform: Form 46">
            <a:extLst>
              <a:ext uri="{FF2B5EF4-FFF2-40B4-BE49-F238E27FC236}">
                <a16:creationId xmlns:a16="http://schemas.microsoft.com/office/drawing/2014/main" id="{0E3F6CC1-3FE3-4CB0-8193-8A547CA4FB4E}"/>
              </a:ext>
            </a:extLst>
          </p:cNvPr>
          <p:cNvSpPr/>
          <p:nvPr/>
        </p:nvSpPr>
        <p:spPr>
          <a:xfrm>
            <a:off x="8028570" y="2729525"/>
            <a:ext cx="165465" cy="179448"/>
          </a:xfrm>
          <a:custGeom>
            <a:avLst/>
            <a:gdLst>
              <a:gd name="connsiteX0" fmla="*/ 75741 w 165465"/>
              <a:gd name="connsiteY0" fmla="*/ 179448 h 179448"/>
              <a:gd name="connsiteX1" fmla="*/ 0 w 165465"/>
              <a:gd name="connsiteY1" fmla="*/ 179448 h 179448"/>
              <a:gd name="connsiteX2" fmla="*/ 88559 w 165465"/>
              <a:gd name="connsiteY2" fmla="*/ 90889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63" name="Freihandform: Form 62">
            <a:extLst>
              <a:ext uri="{FF2B5EF4-FFF2-40B4-BE49-F238E27FC236}">
                <a16:creationId xmlns:a16="http://schemas.microsoft.com/office/drawing/2014/main" id="{49D6FD09-D76C-4E44-8667-31EAE0B38FB7}"/>
              </a:ext>
            </a:extLst>
          </p:cNvPr>
          <p:cNvSpPr/>
          <p:nvPr/>
        </p:nvSpPr>
        <p:spPr>
          <a:xfrm>
            <a:off x="8028570" y="3084926"/>
            <a:ext cx="165465" cy="179448"/>
          </a:xfrm>
          <a:custGeom>
            <a:avLst/>
            <a:gdLst>
              <a:gd name="connsiteX0" fmla="*/ 75741 w 165465"/>
              <a:gd name="connsiteY0" fmla="*/ 179448 h 179448"/>
              <a:gd name="connsiteX1" fmla="*/ 0 w 165465"/>
              <a:gd name="connsiteY1" fmla="*/ 179448 h 179448"/>
              <a:gd name="connsiteX2" fmla="*/ 88559 w 165465"/>
              <a:gd name="connsiteY2" fmla="*/ 90889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79" name="Freihandform: Form 78">
            <a:extLst>
              <a:ext uri="{FF2B5EF4-FFF2-40B4-BE49-F238E27FC236}">
                <a16:creationId xmlns:a16="http://schemas.microsoft.com/office/drawing/2014/main" id="{92A2F530-7C00-4840-A5DC-15FB5F070BFC}"/>
              </a:ext>
            </a:extLst>
          </p:cNvPr>
          <p:cNvSpPr/>
          <p:nvPr/>
        </p:nvSpPr>
        <p:spPr>
          <a:xfrm>
            <a:off x="8028570" y="3439161"/>
            <a:ext cx="165465" cy="180613"/>
          </a:xfrm>
          <a:custGeom>
            <a:avLst/>
            <a:gdLst>
              <a:gd name="connsiteX0" fmla="*/ 75741 w 165465"/>
              <a:gd name="connsiteY0" fmla="*/ 180614 h 180613"/>
              <a:gd name="connsiteX1" fmla="*/ 0 w 165465"/>
              <a:gd name="connsiteY1" fmla="*/ 180614 h 180613"/>
              <a:gd name="connsiteX2" fmla="*/ 88559 w 165465"/>
              <a:gd name="connsiteY2" fmla="*/ 90889 h 180613"/>
              <a:gd name="connsiteX3" fmla="*/ 0 w 165465"/>
              <a:gd name="connsiteY3" fmla="*/ 0 h 180613"/>
              <a:gd name="connsiteX4" fmla="*/ 76906 w 165465"/>
              <a:gd name="connsiteY4" fmla="*/ 0 h 180613"/>
              <a:gd name="connsiteX5" fmla="*/ 165465 w 165465"/>
              <a:gd name="connsiteY5" fmla="*/ 88559 h 180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80613">
                <a:moveTo>
                  <a:pt x="75741" y="180614"/>
                </a:moveTo>
                <a:lnTo>
                  <a:pt x="0" y="180614"/>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95" name="Freihandform: Form 94">
            <a:extLst>
              <a:ext uri="{FF2B5EF4-FFF2-40B4-BE49-F238E27FC236}">
                <a16:creationId xmlns:a16="http://schemas.microsoft.com/office/drawing/2014/main" id="{6D26EBCB-8FC5-402E-8D7D-BBB49F3CFCC5}"/>
              </a:ext>
            </a:extLst>
          </p:cNvPr>
          <p:cNvSpPr/>
          <p:nvPr/>
        </p:nvSpPr>
        <p:spPr>
          <a:xfrm>
            <a:off x="8028570" y="3794562"/>
            <a:ext cx="165465" cy="179448"/>
          </a:xfrm>
          <a:custGeom>
            <a:avLst/>
            <a:gdLst>
              <a:gd name="connsiteX0" fmla="*/ 75741 w 165465"/>
              <a:gd name="connsiteY0" fmla="*/ 179448 h 179448"/>
              <a:gd name="connsiteX1" fmla="*/ 0 w 165465"/>
              <a:gd name="connsiteY1" fmla="*/ 179448 h 179448"/>
              <a:gd name="connsiteX2" fmla="*/ 88559 w 165465"/>
              <a:gd name="connsiteY2" fmla="*/ 90889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111" name="Freihandform: Form 110">
            <a:extLst>
              <a:ext uri="{FF2B5EF4-FFF2-40B4-BE49-F238E27FC236}">
                <a16:creationId xmlns:a16="http://schemas.microsoft.com/office/drawing/2014/main" id="{CCAAEEA3-A150-4712-ACA6-4E1DDCA0F471}"/>
              </a:ext>
            </a:extLst>
          </p:cNvPr>
          <p:cNvSpPr/>
          <p:nvPr/>
        </p:nvSpPr>
        <p:spPr>
          <a:xfrm>
            <a:off x="8028570" y="4148797"/>
            <a:ext cx="165465" cy="180613"/>
          </a:xfrm>
          <a:custGeom>
            <a:avLst/>
            <a:gdLst>
              <a:gd name="connsiteX0" fmla="*/ 75741 w 165465"/>
              <a:gd name="connsiteY0" fmla="*/ 180613 h 180613"/>
              <a:gd name="connsiteX1" fmla="*/ 0 w 165465"/>
              <a:gd name="connsiteY1" fmla="*/ 180613 h 180613"/>
              <a:gd name="connsiteX2" fmla="*/ 88559 w 165465"/>
              <a:gd name="connsiteY2" fmla="*/ 90889 h 180613"/>
              <a:gd name="connsiteX3" fmla="*/ 0 w 165465"/>
              <a:gd name="connsiteY3" fmla="*/ 0 h 180613"/>
              <a:gd name="connsiteX4" fmla="*/ 76906 w 165465"/>
              <a:gd name="connsiteY4" fmla="*/ 0 h 180613"/>
              <a:gd name="connsiteX5" fmla="*/ 165465 w 165465"/>
              <a:gd name="connsiteY5" fmla="*/ 88559 h 180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80613">
                <a:moveTo>
                  <a:pt x="75741" y="180613"/>
                </a:moveTo>
                <a:lnTo>
                  <a:pt x="0" y="180613"/>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127" name="Freihandform: Form 126">
            <a:extLst>
              <a:ext uri="{FF2B5EF4-FFF2-40B4-BE49-F238E27FC236}">
                <a16:creationId xmlns:a16="http://schemas.microsoft.com/office/drawing/2014/main" id="{4836B90C-7140-46A6-8E06-F6F443FAF626}"/>
              </a:ext>
            </a:extLst>
          </p:cNvPr>
          <p:cNvSpPr/>
          <p:nvPr/>
        </p:nvSpPr>
        <p:spPr>
          <a:xfrm>
            <a:off x="8028570" y="4504198"/>
            <a:ext cx="165465" cy="179448"/>
          </a:xfrm>
          <a:custGeom>
            <a:avLst/>
            <a:gdLst>
              <a:gd name="connsiteX0" fmla="*/ 75741 w 165465"/>
              <a:gd name="connsiteY0" fmla="*/ 179448 h 179448"/>
              <a:gd name="connsiteX1" fmla="*/ 0 w 165465"/>
              <a:gd name="connsiteY1" fmla="*/ 179448 h 179448"/>
              <a:gd name="connsiteX2" fmla="*/ 88559 w 165465"/>
              <a:gd name="connsiteY2" fmla="*/ 90889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144" name="Freihandform: Form 143">
            <a:extLst>
              <a:ext uri="{FF2B5EF4-FFF2-40B4-BE49-F238E27FC236}">
                <a16:creationId xmlns:a16="http://schemas.microsoft.com/office/drawing/2014/main" id="{3BBFE07D-6FDD-4238-9402-B3F281DCA33E}"/>
              </a:ext>
            </a:extLst>
          </p:cNvPr>
          <p:cNvSpPr/>
          <p:nvPr/>
        </p:nvSpPr>
        <p:spPr>
          <a:xfrm>
            <a:off x="8028570" y="4859598"/>
            <a:ext cx="165465" cy="179448"/>
          </a:xfrm>
          <a:custGeom>
            <a:avLst/>
            <a:gdLst>
              <a:gd name="connsiteX0" fmla="*/ 75741 w 165465"/>
              <a:gd name="connsiteY0" fmla="*/ 179448 h 179448"/>
              <a:gd name="connsiteX1" fmla="*/ 0 w 165465"/>
              <a:gd name="connsiteY1" fmla="*/ 179448 h 179448"/>
              <a:gd name="connsiteX2" fmla="*/ 88559 w 165465"/>
              <a:gd name="connsiteY2" fmla="*/ 89724 h 179448"/>
              <a:gd name="connsiteX3" fmla="*/ 0 w 165465"/>
              <a:gd name="connsiteY3" fmla="*/ 0 h 179448"/>
              <a:gd name="connsiteX4" fmla="*/ 76906 w 165465"/>
              <a:gd name="connsiteY4" fmla="*/ 0 h 179448"/>
              <a:gd name="connsiteX5" fmla="*/ 165465 w 165465"/>
              <a:gd name="connsiteY5" fmla="*/ 87394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89724"/>
                </a:lnTo>
                <a:lnTo>
                  <a:pt x="0" y="0"/>
                </a:lnTo>
                <a:lnTo>
                  <a:pt x="76906" y="0"/>
                </a:lnTo>
                <a:lnTo>
                  <a:pt x="165465" y="87394"/>
                </a:lnTo>
                <a:close/>
              </a:path>
            </a:pathLst>
          </a:custGeom>
          <a:solidFill>
            <a:srgbClr val="EEF2F5"/>
          </a:solidFill>
          <a:ln w="11643" cap="flat">
            <a:noFill/>
            <a:prstDash val="solid"/>
            <a:miter/>
          </a:ln>
        </p:spPr>
        <p:txBody>
          <a:bodyPr rtlCol="0" anchor="ctr"/>
          <a:lstStyle/>
          <a:p>
            <a:endParaRPr lang="de-DE"/>
          </a:p>
        </p:txBody>
      </p:sp>
      <p:sp>
        <p:nvSpPr>
          <p:cNvPr id="161" name="Freihandform: Form 160">
            <a:extLst>
              <a:ext uri="{FF2B5EF4-FFF2-40B4-BE49-F238E27FC236}">
                <a16:creationId xmlns:a16="http://schemas.microsoft.com/office/drawing/2014/main" id="{9F4D763A-5B43-4FAB-9B68-52F7F446418E}"/>
              </a:ext>
            </a:extLst>
          </p:cNvPr>
          <p:cNvSpPr/>
          <p:nvPr/>
        </p:nvSpPr>
        <p:spPr>
          <a:xfrm>
            <a:off x="8028570" y="5213834"/>
            <a:ext cx="165465" cy="179448"/>
          </a:xfrm>
          <a:custGeom>
            <a:avLst/>
            <a:gdLst>
              <a:gd name="connsiteX0" fmla="*/ 75741 w 165465"/>
              <a:gd name="connsiteY0" fmla="*/ 179448 h 179448"/>
              <a:gd name="connsiteX1" fmla="*/ 0 w 165465"/>
              <a:gd name="connsiteY1" fmla="*/ 179448 h 179448"/>
              <a:gd name="connsiteX2" fmla="*/ 88559 w 165465"/>
              <a:gd name="connsiteY2" fmla="*/ 90890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90"/>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178" name="Freihandform: Form 177">
            <a:extLst>
              <a:ext uri="{FF2B5EF4-FFF2-40B4-BE49-F238E27FC236}">
                <a16:creationId xmlns:a16="http://schemas.microsoft.com/office/drawing/2014/main" id="{41FB849E-381E-41F8-9504-EDE13E3D8055}"/>
              </a:ext>
            </a:extLst>
          </p:cNvPr>
          <p:cNvSpPr/>
          <p:nvPr/>
        </p:nvSpPr>
        <p:spPr>
          <a:xfrm>
            <a:off x="8028570" y="5569234"/>
            <a:ext cx="165465" cy="179448"/>
          </a:xfrm>
          <a:custGeom>
            <a:avLst/>
            <a:gdLst>
              <a:gd name="connsiteX0" fmla="*/ 75741 w 165465"/>
              <a:gd name="connsiteY0" fmla="*/ 179448 h 179448"/>
              <a:gd name="connsiteX1" fmla="*/ 0 w 165465"/>
              <a:gd name="connsiteY1" fmla="*/ 179448 h 179448"/>
              <a:gd name="connsiteX2" fmla="*/ 88559 w 165465"/>
              <a:gd name="connsiteY2" fmla="*/ 89724 h 179448"/>
              <a:gd name="connsiteX3" fmla="*/ 0 w 165465"/>
              <a:gd name="connsiteY3" fmla="*/ 0 h 179448"/>
              <a:gd name="connsiteX4" fmla="*/ 76906 w 165465"/>
              <a:gd name="connsiteY4" fmla="*/ 0 h 179448"/>
              <a:gd name="connsiteX5" fmla="*/ 165465 w 165465"/>
              <a:gd name="connsiteY5" fmla="*/ 87394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89724"/>
                </a:lnTo>
                <a:lnTo>
                  <a:pt x="0" y="0"/>
                </a:lnTo>
                <a:lnTo>
                  <a:pt x="76906" y="0"/>
                </a:lnTo>
                <a:lnTo>
                  <a:pt x="165465" y="87394"/>
                </a:lnTo>
                <a:close/>
              </a:path>
            </a:pathLst>
          </a:custGeom>
          <a:solidFill>
            <a:srgbClr val="EEF2F5"/>
          </a:solidFill>
          <a:ln w="11643" cap="flat">
            <a:noFill/>
            <a:prstDash val="solid"/>
            <a:miter/>
          </a:ln>
        </p:spPr>
        <p:txBody>
          <a:bodyPr rtlCol="0" anchor="ctr"/>
          <a:lstStyle/>
          <a:p>
            <a:endParaRPr lang="de-DE"/>
          </a:p>
        </p:txBody>
      </p:sp>
      <p:sp>
        <p:nvSpPr>
          <p:cNvPr id="195" name="Freihandform: Form 194">
            <a:extLst>
              <a:ext uri="{FF2B5EF4-FFF2-40B4-BE49-F238E27FC236}">
                <a16:creationId xmlns:a16="http://schemas.microsoft.com/office/drawing/2014/main" id="{5427778E-AAB9-42E1-BC64-75764828EDB0}"/>
              </a:ext>
            </a:extLst>
          </p:cNvPr>
          <p:cNvSpPr/>
          <p:nvPr/>
        </p:nvSpPr>
        <p:spPr>
          <a:xfrm>
            <a:off x="8028570" y="5923469"/>
            <a:ext cx="165465" cy="179448"/>
          </a:xfrm>
          <a:custGeom>
            <a:avLst/>
            <a:gdLst>
              <a:gd name="connsiteX0" fmla="*/ 75741 w 165465"/>
              <a:gd name="connsiteY0" fmla="*/ 179448 h 179448"/>
              <a:gd name="connsiteX1" fmla="*/ 0 w 165465"/>
              <a:gd name="connsiteY1" fmla="*/ 179448 h 179448"/>
              <a:gd name="connsiteX2" fmla="*/ 88559 w 165465"/>
              <a:gd name="connsiteY2" fmla="*/ 90890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90"/>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212" name="Freihandform: Form 211">
            <a:extLst>
              <a:ext uri="{FF2B5EF4-FFF2-40B4-BE49-F238E27FC236}">
                <a16:creationId xmlns:a16="http://schemas.microsoft.com/office/drawing/2014/main" id="{E72C56CD-8028-4274-A62F-5994CAF54FEF}"/>
              </a:ext>
            </a:extLst>
          </p:cNvPr>
          <p:cNvSpPr/>
          <p:nvPr/>
        </p:nvSpPr>
        <p:spPr>
          <a:xfrm>
            <a:off x="8028570" y="6278870"/>
            <a:ext cx="165465" cy="179448"/>
          </a:xfrm>
          <a:custGeom>
            <a:avLst/>
            <a:gdLst>
              <a:gd name="connsiteX0" fmla="*/ 75741 w 165465"/>
              <a:gd name="connsiteY0" fmla="*/ 179448 h 179448"/>
              <a:gd name="connsiteX1" fmla="*/ 0 w 165465"/>
              <a:gd name="connsiteY1" fmla="*/ 179448 h 179448"/>
              <a:gd name="connsiteX2" fmla="*/ 88559 w 165465"/>
              <a:gd name="connsiteY2" fmla="*/ 89724 h 179448"/>
              <a:gd name="connsiteX3" fmla="*/ 0 w 165465"/>
              <a:gd name="connsiteY3" fmla="*/ 0 h 179448"/>
              <a:gd name="connsiteX4" fmla="*/ 76906 w 165465"/>
              <a:gd name="connsiteY4" fmla="*/ 0 h 179448"/>
              <a:gd name="connsiteX5" fmla="*/ 165465 w 165465"/>
              <a:gd name="connsiteY5" fmla="*/ 87394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89724"/>
                </a:lnTo>
                <a:lnTo>
                  <a:pt x="0" y="0"/>
                </a:lnTo>
                <a:lnTo>
                  <a:pt x="76906" y="0"/>
                </a:lnTo>
                <a:lnTo>
                  <a:pt x="165465" y="87394"/>
                </a:lnTo>
                <a:close/>
              </a:path>
            </a:pathLst>
          </a:custGeom>
          <a:solidFill>
            <a:srgbClr val="EEF2F5"/>
          </a:solidFill>
          <a:ln w="11643" cap="flat">
            <a:noFill/>
            <a:prstDash val="solid"/>
            <a:miter/>
          </a:ln>
        </p:spPr>
        <p:txBody>
          <a:bodyPr rtlCol="0" anchor="ctr"/>
          <a:lstStyle/>
          <a:p>
            <a:endParaRPr lang="de-DE"/>
          </a:p>
        </p:txBody>
      </p:sp>
      <p:sp>
        <p:nvSpPr>
          <p:cNvPr id="228" name="Freihandform: Form 227">
            <a:extLst>
              <a:ext uri="{FF2B5EF4-FFF2-40B4-BE49-F238E27FC236}">
                <a16:creationId xmlns:a16="http://schemas.microsoft.com/office/drawing/2014/main" id="{6D995F94-547B-4E8B-8F80-D2C01332D74E}"/>
              </a:ext>
            </a:extLst>
          </p:cNvPr>
          <p:cNvSpPr/>
          <p:nvPr/>
        </p:nvSpPr>
        <p:spPr>
          <a:xfrm>
            <a:off x="8028570" y="6633106"/>
            <a:ext cx="165465" cy="179448"/>
          </a:xfrm>
          <a:custGeom>
            <a:avLst/>
            <a:gdLst>
              <a:gd name="connsiteX0" fmla="*/ 75741 w 165465"/>
              <a:gd name="connsiteY0" fmla="*/ 179448 h 179448"/>
              <a:gd name="connsiteX1" fmla="*/ 0 w 165465"/>
              <a:gd name="connsiteY1" fmla="*/ 179448 h 179448"/>
              <a:gd name="connsiteX2" fmla="*/ 88559 w 165465"/>
              <a:gd name="connsiteY2" fmla="*/ 90889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17" name="Freihandform: Form 16">
            <a:extLst>
              <a:ext uri="{FF2B5EF4-FFF2-40B4-BE49-F238E27FC236}">
                <a16:creationId xmlns:a16="http://schemas.microsoft.com/office/drawing/2014/main" id="{FBFA7DD1-6DE8-48E2-BB35-DCE366E698C5}"/>
              </a:ext>
            </a:extLst>
          </p:cNvPr>
          <p:cNvSpPr/>
          <p:nvPr/>
        </p:nvSpPr>
        <p:spPr>
          <a:xfrm>
            <a:off x="8375813" y="2011732"/>
            <a:ext cx="180613" cy="196926"/>
          </a:xfrm>
          <a:custGeom>
            <a:avLst/>
            <a:gdLst>
              <a:gd name="connsiteX0" fmla="*/ 82733 w 180613"/>
              <a:gd name="connsiteY0" fmla="*/ 196927 h 196926"/>
              <a:gd name="connsiteX1" fmla="*/ 0 w 180613"/>
              <a:gd name="connsiteY1" fmla="*/ 196927 h 196926"/>
              <a:gd name="connsiteX2" fmla="*/ 96715 w 180613"/>
              <a:gd name="connsiteY2" fmla="*/ 99046 h 196926"/>
              <a:gd name="connsiteX3" fmla="*/ 0 w 180613"/>
              <a:gd name="connsiteY3" fmla="*/ 0 h 196926"/>
              <a:gd name="connsiteX4" fmla="*/ 83898 w 180613"/>
              <a:gd name="connsiteY4" fmla="*/ 0 h 196926"/>
              <a:gd name="connsiteX5" fmla="*/ 180613 w 180613"/>
              <a:gd name="connsiteY5" fmla="*/ 96716 h 196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6926">
                <a:moveTo>
                  <a:pt x="82733" y="196927"/>
                </a:moveTo>
                <a:lnTo>
                  <a:pt x="0" y="196927"/>
                </a:lnTo>
                <a:lnTo>
                  <a:pt x="96715" y="99046"/>
                </a:lnTo>
                <a:lnTo>
                  <a:pt x="0" y="0"/>
                </a:lnTo>
                <a:lnTo>
                  <a:pt x="83898" y="0"/>
                </a:lnTo>
                <a:lnTo>
                  <a:pt x="180613" y="96716"/>
                </a:lnTo>
                <a:close/>
              </a:path>
            </a:pathLst>
          </a:custGeom>
          <a:solidFill>
            <a:srgbClr val="EEF2F5"/>
          </a:solidFill>
          <a:ln w="11643" cap="flat">
            <a:noFill/>
            <a:prstDash val="solid"/>
            <a:miter/>
          </a:ln>
        </p:spPr>
        <p:txBody>
          <a:bodyPr rtlCol="0" anchor="ctr"/>
          <a:lstStyle/>
          <a:p>
            <a:endParaRPr lang="de-DE"/>
          </a:p>
        </p:txBody>
      </p:sp>
      <p:sp>
        <p:nvSpPr>
          <p:cNvPr id="32" name="Freihandform: Form 31">
            <a:extLst>
              <a:ext uri="{FF2B5EF4-FFF2-40B4-BE49-F238E27FC236}">
                <a16:creationId xmlns:a16="http://schemas.microsoft.com/office/drawing/2014/main" id="{7C08602B-27E1-4F5C-B2BA-86218542705A}"/>
              </a:ext>
            </a:extLst>
          </p:cNvPr>
          <p:cNvSpPr/>
          <p:nvPr/>
        </p:nvSpPr>
        <p:spPr>
          <a:xfrm>
            <a:off x="8375813" y="2367133"/>
            <a:ext cx="180613" cy="195761"/>
          </a:xfrm>
          <a:custGeom>
            <a:avLst/>
            <a:gdLst>
              <a:gd name="connsiteX0" fmla="*/ 82733 w 180613"/>
              <a:gd name="connsiteY0" fmla="*/ 195762 h 195761"/>
              <a:gd name="connsiteX1" fmla="*/ 0 w 180613"/>
              <a:gd name="connsiteY1" fmla="*/ 195762 h 195761"/>
              <a:gd name="connsiteX2" fmla="*/ 96715 w 180613"/>
              <a:gd name="connsiteY2" fmla="*/ 99046 h 195761"/>
              <a:gd name="connsiteX3" fmla="*/ 0 w 180613"/>
              <a:gd name="connsiteY3" fmla="*/ 0 h 195761"/>
              <a:gd name="connsiteX4" fmla="*/ 83898 w 180613"/>
              <a:gd name="connsiteY4" fmla="*/ 0 h 195761"/>
              <a:gd name="connsiteX5" fmla="*/ 180613 w 180613"/>
              <a:gd name="connsiteY5" fmla="*/ 95550 h 19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5761">
                <a:moveTo>
                  <a:pt x="82733" y="195762"/>
                </a:moveTo>
                <a:lnTo>
                  <a:pt x="0" y="195762"/>
                </a:lnTo>
                <a:lnTo>
                  <a:pt x="96715" y="99046"/>
                </a:lnTo>
                <a:lnTo>
                  <a:pt x="0" y="0"/>
                </a:lnTo>
                <a:lnTo>
                  <a:pt x="83898" y="0"/>
                </a:lnTo>
                <a:lnTo>
                  <a:pt x="180613" y="95550"/>
                </a:lnTo>
                <a:close/>
              </a:path>
            </a:pathLst>
          </a:custGeom>
          <a:solidFill>
            <a:srgbClr val="EEF2F5"/>
          </a:solidFill>
          <a:ln w="11643" cap="flat">
            <a:noFill/>
            <a:prstDash val="solid"/>
            <a:miter/>
          </a:ln>
        </p:spPr>
        <p:txBody>
          <a:bodyPr rtlCol="0" anchor="ctr"/>
          <a:lstStyle/>
          <a:p>
            <a:endParaRPr lang="de-DE"/>
          </a:p>
        </p:txBody>
      </p:sp>
      <p:sp>
        <p:nvSpPr>
          <p:cNvPr id="48" name="Freihandform: Form 47">
            <a:extLst>
              <a:ext uri="{FF2B5EF4-FFF2-40B4-BE49-F238E27FC236}">
                <a16:creationId xmlns:a16="http://schemas.microsoft.com/office/drawing/2014/main" id="{B3543F06-832E-4301-879E-B06B3D8A1139}"/>
              </a:ext>
            </a:extLst>
          </p:cNvPr>
          <p:cNvSpPr/>
          <p:nvPr/>
        </p:nvSpPr>
        <p:spPr>
          <a:xfrm>
            <a:off x="8375813" y="2721368"/>
            <a:ext cx="180613" cy="196926"/>
          </a:xfrm>
          <a:custGeom>
            <a:avLst/>
            <a:gdLst>
              <a:gd name="connsiteX0" fmla="*/ 82733 w 180613"/>
              <a:gd name="connsiteY0" fmla="*/ 196927 h 196926"/>
              <a:gd name="connsiteX1" fmla="*/ 0 w 180613"/>
              <a:gd name="connsiteY1" fmla="*/ 196927 h 196926"/>
              <a:gd name="connsiteX2" fmla="*/ 96715 w 180613"/>
              <a:gd name="connsiteY2" fmla="*/ 99046 h 196926"/>
              <a:gd name="connsiteX3" fmla="*/ 0 w 180613"/>
              <a:gd name="connsiteY3" fmla="*/ 0 h 196926"/>
              <a:gd name="connsiteX4" fmla="*/ 83898 w 180613"/>
              <a:gd name="connsiteY4" fmla="*/ 0 h 196926"/>
              <a:gd name="connsiteX5" fmla="*/ 180613 w 180613"/>
              <a:gd name="connsiteY5" fmla="*/ 96716 h 196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6926">
                <a:moveTo>
                  <a:pt x="82733" y="196927"/>
                </a:moveTo>
                <a:lnTo>
                  <a:pt x="0" y="196927"/>
                </a:lnTo>
                <a:lnTo>
                  <a:pt x="96715" y="99046"/>
                </a:lnTo>
                <a:lnTo>
                  <a:pt x="0" y="0"/>
                </a:lnTo>
                <a:lnTo>
                  <a:pt x="83898" y="0"/>
                </a:lnTo>
                <a:lnTo>
                  <a:pt x="180613" y="96716"/>
                </a:lnTo>
                <a:close/>
              </a:path>
            </a:pathLst>
          </a:custGeom>
          <a:solidFill>
            <a:srgbClr val="EEF2F5"/>
          </a:solidFill>
          <a:ln w="11643" cap="flat">
            <a:noFill/>
            <a:prstDash val="solid"/>
            <a:miter/>
          </a:ln>
        </p:spPr>
        <p:txBody>
          <a:bodyPr rtlCol="0" anchor="ctr"/>
          <a:lstStyle/>
          <a:p>
            <a:endParaRPr lang="de-DE"/>
          </a:p>
        </p:txBody>
      </p:sp>
      <p:sp>
        <p:nvSpPr>
          <p:cNvPr id="64" name="Freihandform: Form 63">
            <a:extLst>
              <a:ext uri="{FF2B5EF4-FFF2-40B4-BE49-F238E27FC236}">
                <a16:creationId xmlns:a16="http://schemas.microsoft.com/office/drawing/2014/main" id="{448857AA-F125-42A1-8BA3-8AC5BA3389BB}"/>
              </a:ext>
            </a:extLst>
          </p:cNvPr>
          <p:cNvSpPr/>
          <p:nvPr/>
        </p:nvSpPr>
        <p:spPr>
          <a:xfrm>
            <a:off x="8375813" y="3076769"/>
            <a:ext cx="180613" cy="195761"/>
          </a:xfrm>
          <a:custGeom>
            <a:avLst/>
            <a:gdLst>
              <a:gd name="connsiteX0" fmla="*/ 82733 w 180613"/>
              <a:gd name="connsiteY0" fmla="*/ 195762 h 195761"/>
              <a:gd name="connsiteX1" fmla="*/ 0 w 180613"/>
              <a:gd name="connsiteY1" fmla="*/ 195762 h 195761"/>
              <a:gd name="connsiteX2" fmla="*/ 96715 w 180613"/>
              <a:gd name="connsiteY2" fmla="*/ 99046 h 195761"/>
              <a:gd name="connsiteX3" fmla="*/ 0 w 180613"/>
              <a:gd name="connsiteY3" fmla="*/ 0 h 195761"/>
              <a:gd name="connsiteX4" fmla="*/ 83898 w 180613"/>
              <a:gd name="connsiteY4" fmla="*/ 0 h 195761"/>
              <a:gd name="connsiteX5" fmla="*/ 180613 w 180613"/>
              <a:gd name="connsiteY5" fmla="*/ 95550 h 19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5761">
                <a:moveTo>
                  <a:pt x="82733" y="195762"/>
                </a:moveTo>
                <a:lnTo>
                  <a:pt x="0" y="195762"/>
                </a:lnTo>
                <a:lnTo>
                  <a:pt x="96715" y="99046"/>
                </a:lnTo>
                <a:lnTo>
                  <a:pt x="0" y="0"/>
                </a:lnTo>
                <a:lnTo>
                  <a:pt x="83898" y="0"/>
                </a:lnTo>
                <a:lnTo>
                  <a:pt x="180613" y="95550"/>
                </a:lnTo>
                <a:close/>
              </a:path>
            </a:pathLst>
          </a:custGeom>
          <a:solidFill>
            <a:srgbClr val="EEF2F5"/>
          </a:solidFill>
          <a:ln w="11643" cap="flat">
            <a:noFill/>
            <a:prstDash val="solid"/>
            <a:miter/>
          </a:ln>
        </p:spPr>
        <p:txBody>
          <a:bodyPr rtlCol="0" anchor="ctr"/>
          <a:lstStyle/>
          <a:p>
            <a:endParaRPr lang="de-DE"/>
          </a:p>
        </p:txBody>
      </p:sp>
      <p:sp>
        <p:nvSpPr>
          <p:cNvPr id="80" name="Freihandform: Form 79">
            <a:extLst>
              <a:ext uri="{FF2B5EF4-FFF2-40B4-BE49-F238E27FC236}">
                <a16:creationId xmlns:a16="http://schemas.microsoft.com/office/drawing/2014/main" id="{4D03B1F2-B454-4805-B554-BE60EE27F881}"/>
              </a:ext>
            </a:extLst>
          </p:cNvPr>
          <p:cNvSpPr/>
          <p:nvPr/>
        </p:nvSpPr>
        <p:spPr>
          <a:xfrm>
            <a:off x="8375813" y="3431004"/>
            <a:ext cx="180613" cy="196926"/>
          </a:xfrm>
          <a:custGeom>
            <a:avLst/>
            <a:gdLst>
              <a:gd name="connsiteX0" fmla="*/ 82733 w 180613"/>
              <a:gd name="connsiteY0" fmla="*/ 196927 h 196926"/>
              <a:gd name="connsiteX1" fmla="*/ 0 w 180613"/>
              <a:gd name="connsiteY1" fmla="*/ 196927 h 196926"/>
              <a:gd name="connsiteX2" fmla="*/ 96715 w 180613"/>
              <a:gd name="connsiteY2" fmla="*/ 99046 h 196926"/>
              <a:gd name="connsiteX3" fmla="*/ 0 w 180613"/>
              <a:gd name="connsiteY3" fmla="*/ 0 h 196926"/>
              <a:gd name="connsiteX4" fmla="*/ 83898 w 180613"/>
              <a:gd name="connsiteY4" fmla="*/ 0 h 196926"/>
              <a:gd name="connsiteX5" fmla="*/ 180613 w 180613"/>
              <a:gd name="connsiteY5" fmla="*/ 96716 h 196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6926">
                <a:moveTo>
                  <a:pt x="82733" y="196927"/>
                </a:moveTo>
                <a:lnTo>
                  <a:pt x="0" y="196927"/>
                </a:lnTo>
                <a:lnTo>
                  <a:pt x="96715" y="99046"/>
                </a:lnTo>
                <a:lnTo>
                  <a:pt x="0" y="0"/>
                </a:lnTo>
                <a:lnTo>
                  <a:pt x="83898" y="0"/>
                </a:lnTo>
                <a:lnTo>
                  <a:pt x="180613" y="96716"/>
                </a:lnTo>
                <a:close/>
              </a:path>
            </a:pathLst>
          </a:custGeom>
          <a:solidFill>
            <a:srgbClr val="EEF2F5"/>
          </a:solidFill>
          <a:ln w="11643" cap="flat">
            <a:noFill/>
            <a:prstDash val="solid"/>
            <a:miter/>
          </a:ln>
        </p:spPr>
        <p:txBody>
          <a:bodyPr rtlCol="0" anchor="ctr"/>
          <a:lstStyle/>
          <a:p>
            <a:endParaRPr lang="de-DE"/>
          </a:p>
        </p:txBody>
      </p:sp>
      <p:sp>
        <p:nvSpPr>
          <p:cNvPr id="96" name="Freihandform: Form 95">
            <a:extLst>
              <a:ext uri="{FF2B5EF4-FFF2-40B4-BE49-F238E27FC236}">
                <a16:creationId xmlns:a16="http://schemas.microsoft.com/office/drawing/2014/main" id="{FFDA75BC-562C-4970-A5BF-655AB3F5011C}"/>
              </a:ext>
            </a:extLst>
          </p:cNvPr>
          <p:cNvSpPr/>
          <p:nvPr/>
        </p:nvSpPr>
        <p:spPr>
          <a:xfrm>
            <a:off x="8375813" y="3786405"/>
            <a:ext cx="180613" cy="195761"/>
          </a:xfrm>
          <a:custGeom>
            <a:avLst/>
            <a:gdLst>
              <a:gd name="connsiteX0" fmla="*/ 82733 w 180613"/>
              <a:gd name="connsiteY0" fmla="*/ 195762 h 195761"/>
              <a:gd name="connsiteX1" fmla="*/ 0 w 180613"/>
              <a:gd name="connsiteY1" fmla="*/ 195762 h 195761"/>
              <a:gd name="connsiteX2" fmla="*/ 96715 w 180613"/>
              <a:gd name="connsiteY2" fmla="*/ 99046 h 195761"/>
              <a:gd name="connsiteX3" fmla="*/ 0 w 180613"/>
              <a:gd name="connsiteY3" fmla="*/ 0 h 195761"/>
              <a:gd name="connsiteX4" fmla="*/ 83898 w 180613"/>
              <a:gd name="connsiteY4" fmla="*/ 0 h 195761"/>
              <a:gd name="connsiteX5" fmla="*/ 180613 w 180613"/>
              <a:gd name="connsiteY5" fmla="*/ 96716 h 19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5761">
                <a:moveTo>
                  <a:pt x="82733" y="195762"/>
                </a:moveTo>
                <a:lnTo>
                  <a:pt x="0" y="195762"/>
                </a:lnTo>
                <a:lnTo>
                  <a:pt x="96715" y="99046"/>
                </a:lnTo>
                <a:lnTo>
                  <a:pt x="0" y="0"/>
                </a:lnTo>
                <a:lnTo>
                  <a:pt x="83898" y="0"/>
                </a:lnTo>
                <a:lnTo>
                  <a:pt x="180613" y="96716"/>
                </a:lnTo>
                <a:close/>
              </a:path>
            </a:pathLst>
          </a:custGeom>
          <a:solidFill>
            <a:srgbClr val="EEF2F5"/>
          </a:solidFill>
          <a:ln w="11643" cap="flat">
            <a:noFill/>
            <a:prstDash val="solid"/>
            <a:miter/>
          </a:ln>
        </p:spPr>
        <p:txBody>
          <a:bodyPr rtlCol="0" anchor="ctr"/>
          <a:lstStyle/>
          <a:p>
            <a:endParaRPr lang="de-DE"/>
          </a:p>
        </p:txBody>
      </p:sp>
      <p:sp>
        <p:nvSpPr>
          <p:cNvPr id="112" name="Freihandform: Form 111">
            <a:extLst>
              <a:ext uri="{FF2B5EF4-FFF2-40B4-BE49-F238E27FC236}">
                <a16:creationId xmlns:a16="http://schemas.microsoft.com/office/drawing/2014/main" id="{D5FBE564-C560-47E5-B3B3-465A98E51447}"/>
              </a:ext>
            </a:extLst>
          </p:cNvPr>
          <p:cNvSpPr/>
          <p:nvPr/>
        </p:nvSpPr>
        <p:spPr>
          <a:xfrm>
            <a:off x="8375813" y="4140640"/>
            <a:ext cx="180613" cy="196926"/>
          </a:xfrm>
          <a:custGeom>
            <a:avLst/>
            <a:gdLst>
              <a:gd name="connsiteX0" fmla="*/ 82733 w 180613"/>
              <a:gd name="connsiteY0" fmla="*/ 196927 h 196926"/>
              <a:gd name="connsiteX1" fmla="*/ 0 w 180613"/>
              <a:gd name="connsiteY1" fmla="*/ 196927 h 196926"/>
              <a:gd name="connsiteX2" fmla="*/ 96715 w 180613"/>
              <a:gd name="connsiteY2" fmla="*/ 99046 h 196926"/>
              <a:gd name="connsiteX3" fmla="*/ 0 w 180613"/>
              <a:gd name="connsiteY3" fmla="*/ 0 h 196926"/>
              <a:gd name="connsiteX4" fmla="*/ 83898 w 180613"/>
              <a:gd name="connsiteY4" fmla="*/ 0 h 196926"/>
              <a:gd name="connsiteX5" fmla="*/ 180613 w 180613"/>
              <a:gd name="connsiteY5" fmla="*/ 96716 h 196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6926">
                <a:moveTo>
                  <a:pt x="82733" y="196927"/>
                </a:moveTo>
                <a:lnTo>
                  <a:pt x="0" y="196927"/>
                </a:lnTo>
                <a:lnTo>
                  <a:pt x="96715" y="99046"/>
                </a:lnTo>
                <a:lnTo>
                  <a:pt x="0" y="0"/>
                </a:lnTo>
                <a:lnTo>
                  <a:pt x="83898" y="0"/>
                </a:lnTo>
                <a:lnTo>
                  <a:pt x="180613" y="96716"/>
                </a:lnTo>
                <a:close/>
              </a:path>
            </a:pathLst>
          </a:custGeom>
          <a:solidFill>
            <a:srgbClr val="EEF2F5"/>
          </a:solidFill>
          <a:ln w="11643" cap="flat">
            <a:noFill/>
            <a:prstDash val="solid"/>
            <a:miter/>
          </a:ln>
        </p:spPr>
        <p:txBody>
          <a:bodyPr rtlCol="0" anchor="ctr"/>
          <a:lstStyle/>
          <a:p>
            <a:endParaRPr lang="de-DE"/>
          </a:p>
        </p:txBody>
      </p:sp>
      <p:sp>
        <p:nvSpPr>
          <p:cNvPr id="128" name="Freihandform: Form 127">
            <a:extLst>
              <a:ext uri="{FF2B5EF4-FFF2-40B4-BE49-F238E27FC236}">
                <a16:creationId xmlns:a16="http://schemas.microsoft.com/office/drawing/2014/main" id="{CF51EF18-4B1E-42D2-850F-FFA6C258A83C}"/>
              </a:ext>
            </a:extLst>
          </p:cNvPr>
          <p:cNvSpPr/>
          <p:nvPr/>
        </p:nvSpPr>
        <p:spPr>
          <a:xfrm>
            <a:off x="8375813" y="4496041"/>
            <a:ext cx="180613" cy="195761"/>
          </a:xfrm>
          <a:custGeom>
            <a:avLst/>
            <a:gdLst>
              <a:gd name="connsiteX0" fmla="*/ 82733 w 180613"/>
              <a:gd name="connsiteY0" fmla="*/ 195762 h 195761"/>
              <a:gd name="connsiteX1" fmla="*/ 0 w 180613"/>
              <a:gd name="connsiteY1" fmla="*/ 195762 h 195761"/>
              <a:gd name="connsiteX2" fmla="*/ 96715 w 180613"/>
              <a:gd name="connsiteY2" fmla="*/ 99046 h 195761"/>
              <a:gd name="connsiteX3" fmla="*/ 0 w 180613"/>
              <a:gd name="connsiteY3" fmla="*/ 0 h 195761"/>
              <a:gd name="connsiteX4" fmla="*/ 83898 w 180613"/>
              <a:gd name="connsiteY4" fmla="*/ 0 h 195761"/>
              <a:gd name="connsiteX5" fmla="*/ 180613 w 180613"/>
              <a:gd name="connsiteY5" fmla="*/ 96716 h 19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5761">
                <a:moveTo>
                  <a:pt x="82733" y="195762"/>
                </a:moveTo>
                <a:lnTo>
                  <a:pt x="0" y="195762"/>
                </a:lnTo>
                <a:lnTo>
                  <a:pt x="96715" y="99046"/>
                </a:lnTo>
                <a:lnTo>
                  <a:pt x="0" y="0"/>
                </a:lnTo>
                <a:lnTo>
                  <a:pt x="83898" y="0"/>
                </a:lnTo>
                <a:lnTo>
                  <a:pt x="180613" y="96716"/>
                </a:lnTo>
                <a:close/>
              </a:path>
            </a:pathLst>
          </a:custGeom>
          <a:solidFill>
            <a:srgbClr val="EEF2F5"/>
          </a:solidFill>
          <a:ln w="11643" cap="flat">
            <a:noFill/>
            <a:prstDash val="solid"/>
            <a:miter/>
          </a:ln>
        </p:spPr>
        <p:txBody>
          <a:bodyPr rtlCol="0" anchor="ctr"/>
          <a:lstStyle/>
          <a:p>
            <a:endParaRPr lang="de-DE"/>
          </a:p>
        </p:txBody>
      </p:sp>
      <p:sp>
        <p:nvSpPr>
          <p:cNvPr id="145" name="Freihandform: Form 144">
            <a:extLst>
              <a:ext uri="{FF2B5EF4-FFF2-40B4-BE49-F238E27FC236}">
                <a16:creationId xmlns:a16="http://schemas.microsoft.com/office/drawing/2014/main" id="{56E41581-3FC6-4323-9C89-CF91773848F3}"/>
              </a:ext>
            </a:extLst>
          </p:cNvPr>
          <p:cNvSpPr/>
          <p:nvPr/>
        </p:nvSpPr>
        <p:spPr>
          <a:xfrm>
            <a:off x="8375813" y="4850276"/>
            <a:ext cx="180613" cy="196927"/>
          </a:xfrm>
          <a:custGeom>
            <a:avLst/>
            <a:gdLst>
              <a:gd name="connsiteX0" fmla="*/ 82733 w 180613"/>
              <a:gd name="connsiteY0" fmla="*/ 196927 h 196927"/>
              <a:gd name="connsiteX1" fmla="*/ 0 w 180613"/>
              <a:gd name="connsiteY1" fmla="*/ 196927 h 196927"/>
              <a:gd name="connsiteX2" fmla="*/ 96715 w 180613"/>
              <a:gd name="connsiteY2" fmla="*/ 99046 h 196927"/>
              <a:gd name="connsiteX3" fmla="*/ 0 w 180613"/>
              <a:gd name="connsiteY3" fmla="*/ 0 h 196927"/>
              <a:gd name="connsiteX4" fmla="*/ 83898 w 180613"/>
              <a:gd name="connsiteY4" fmla="*/ 0 h 196927"/>
              <a:gd name="connsiteX5" fmla="*/ 180613 w 180613"/>
              <a:gd name="connsiteY5" fmla="*/ 96716 h 196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6927">
                <a:moveTo>
                  <a:pt x="82733" y="196927"/>
                </a:moveTo>
                <a:lnTo>
                  <a:pt x="0" y="196927"/>
                </a:lnTo>
                <a:lnTo>
                  <a:pt x="96715" y="99046"/>
                </a:lnTo>
                <a:lnTo>
                  <a:pt x="0" y="0"/>
                </a:lnTo>
                <a:lnTo>
                  <a:pt x="83898" y="0"/>
                </a:lnTo>
                <a:lnTo>
                  <a:pt x="180613" y="96716"/>
                </a:lnTo>
                <a:close/>
              </a:path>
            </a:pathLst>
          </a:custGeom>
          <a:solidFill>
            <a:srgbClr val="EEF2F5"/>
          </a:solidFill>
          <a:ln w="11643" cap="flat">
            <a:noFill/>
            <a:prstDash val="solid"/>
            <a:miter/>
          </a:ln>
        </p:spPr>
        <p:txBody>
          <a:bodyPr rtlCol="0" anchor="ctr"/>
          <a:lstStyle/>
          <a:p>
            <a:endParaRPr lang="de-DE"/>
          </a:p>
        </p:txBody>
      </p:sp>
      <p:sp>
        <p:nvSpPr>
          <p:cNvPr id="162" name="Freihandform: Form 161">
            <a:extLst>
              <a:ext uri="{FF2B5EF4-FFF2-40B4-BE49-F238E27FC236}">
                <a16:creationId xmlns:a16="http://schemas.microsoft.com/office/drawing/2014/main" id="{D57C87CD-CA7C-4C12-80C4-9130A88B17BE}"/>
              </a:ext>
            </a:extLst>
          </p:cNvPr>
          <p:cNvSpPr/>
          <p:nvPr/>
        </p:nvSpPr>
        <p:spPr>
          <a:xfrm>
            <a:off x="8375813" y="5205677"/>
            <a:ext cx="180613" cy="195761"/>
          </a:xfrm>
          <a:custGeom>
            <a:avLst/>
            <a:gdLst>
              <a:gd name="connsiteX0" fmla="*/ 82733 w 180613"/>
              <a:gd name="connsiteY0" fmla="*/ 195762 h 195761"/>
              <a:gd name="connsiteX1" fmla="*/ 0 w 180613"/>
              <a:gd name="connsiteY1" fmla="*/ 195762 h 195761"/>
              <a:gd name="connsiteX2" fmla="*/ 96715 w 180613"/>
              <a:gd name="connsiteY2" fmla="*/ 99046 h 195761"/>
              <a:gd name="connsiteX3" fmla="*/ 0 w 180613"/>
              <a:gd name="connsiteY3" fmla="*/ 0 h 195761"/>
              <a:gd name="connsiteX4" fmla="*/ 83898 w 180613"/>
              <a:gd name="connsiteY4" fmla="*/ 0 h 195761"/>
              <a:gd name="connsiteX5" fmla="*/ 180613 w 180613"/>
              <a:gd name="connsiteY5" fmla="*/ 96715 h 19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5761">
                <a:moveTo>
                  <a:pt x="82733" y="195762"/>
                </a:moveTo>
                <a:lnTo>
                  <a:pt x="0" y="195762"/>
                </a:lnTo>
                <a:lnTo>
                  <a:pt x="96715" y="99046"/>
                </a:lnTo>
                <a:lnTo>
                  <a:pt x="0" y="0"/>
                </a:lnTo>
                <a:lnTo>
                  <a:pt x="83898" y="0"/>
                </a:lnTo>
                <a:lnTo>
                  <a:pt x="180613" y="96715"/>
                </a:lnTo>
                <a:close/>
              </a:path>
            </a:pathLst>
          </a:custGeom>
          <a:solidFill>
            <a:srgbClr val="EEF2F5"/>
          </a:solidFill>
          <a:ln w="11643" cap="flat">
            <a:noFill/>
            <a:prstDash val="solid"/>
            <a:miter/>
          </a:ln>
        </p:spPr>
        <p:txBody>
          <a:bodyPr rtlCol="0" anchor="ctr"/>
          <a:lstStyle/>
          <a:p>
            <a:endParaRPr lang="de-DE"/>
          </a:p>
        </p:txBody>
      </p:sp>
      <p:sp>
        <p:nvSpPr>
          <p:cNvPr id="179" name="Freihandform: Form 178">
            <a:extLst>
              <a:ext uri="{FF2B5EF4-FFF2-40B4-BE49-F238E27FC236}">
                <a16:creationId xmlns:a16="http://schemas.microsoft.com/office/drawing/2014/main" id="{DB846A0F-C8EB-418A-9689-60A3F1E0344D}"/>
              </a:ext>
            </a:extLst>
          </p:cNvPr>
          <p:cNvSpPr/>
          <p:nvPr/>
        </p:nvSpPr>
        <p:spPr>
          <a:xfrm>
            <a:off x="8375813" y="5559912"/>
            <a:ext cx="180613" cy="196926"/>
          </a:xfrm>
          <a:custGeom>
            <a:avLst/>
            <a:gdLst>
              <a:gd name="connsiteX0" fmla="*/ 82733 w 180613"/>
              <a:gd name="connsiteY0" fmla="*/ 196927 h 196926"/>
              <a:gd name="connsiteX1" fmla="*/ 0 w 180613"/>
              <a:gd name="connsiteY1" fmla="*/ 196927 h 196926"/>
              <a:gd name="connsiteX2" fmla="*/ 96715 w 180613"/>
              <a:gd name="connsiteY2" fmla="*/ 99046 h 196926"/>
              <a:gd name="connsiteX3" fmla="*/ 0 w 180613"/>
              <a:gd name="connsiteY3" fmla="*/ 0 h 196926"/>
              <a:gd name="connsiteX4" fmla="*/ 83898 w 180613"/>
              <a:gd name="connsiteY4" fmla="*/ 0 h 196926"/>
              <a:gd name="connsiteX5" fmla="*/ 180613 w 180613"/>
              <a:gd name="connsiteY5" fmla="*/ 96715 h 196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6926">
                <a:moveTo>
                  <a:pt x="82733" y="196927"/>
                </a:moveTo>
                <a:lnTo>
                  <a:pt x="0" y="196927"/>
                </a:lnTo>
                <a:lnTo>
                  <a:pt x="96715" y="99046"/>
                </a:lnTo>
                <a:lnTo>
                  <a:pt x="0" y="0"/>
                </a:lnTo>
                <a:lnTo>
                  <a:pt x="83898" y="0"/>
                </a:lnTo>
                <a:lnTo>
                  <a:pt x="180613" y="96715"/>
                </a:lnTo>
                <a:close/>
              </a:path>
            </a:pathLst>
          </a:custGeom>
          <a:solidFill>
            <a:srgbClr val="EEF2F5"/>
          </a:solidFill>
          <a:ln w="11643" cap="flat">
            <a:noFill/>
            <a:prstDash val="solid"/>
            <a:miter/>
          </a:ln>
        </p:spPr>
        <p:txBody>
          <a:bodyPr rtlCol="0" anchor="ctr"/>
          <a:lstStyle/>
          <a:p>
            <a:endParaRPr lang="de-DE"/>
          </a:p>
        </p:txBody>
      </p:sp>
      <p:sp>
        <p:nvSpPr>
          <p:cNvPr id="196" name="Freihandform: Form 195">
            <a:extLst>
              <a:ext uri="{FF2B5EF4-FFF2-40B4-BE49-F238E27FC236}">
                <a16:creationId xmlns:a16="http://schemas.microsoft.com/office/drawing/2014/main" id="{4CB58DF8-2ADA-40F9-A585-F61E28EAC1FD}"/>
              </a:ext>
            </a:extLst>
          </p:cNvPr>
          <p:cNvSpPr/>
          <p:nvPr/>
        </p:nvSpPr>
        <p:spPr>
          <a:xfrm>
            <a:off x="8375813" y="5915313"/>
            <a:ext cx="180613" cy="195761"/>
          </a:xfrm>
          <a:custGeom>
            <a:avLst/>
            <a:gdLst>
              <a:gd name="connsiteX0" fmla="*/ 82733 w 180613"/>
              <a:gd name="connsiteY0" fmla="*/ 195762 h 195761"/>
              <a:gd name="connsiteX1" fmla="*/ 0 w 180613"/>
              <a:gd name="connsiteY1" fmla="*/ 195762 h 195761"/>
              <a:gd name="connsiteX2" fmla="*/ 96715 w 180613"/>
              <a:gd name="connsiteY2" fmla="*/ 99046 h 195761"/>
              <a:gd name="connsiteX3" fmla="*/ 0 w 180613"/>
              <a:gd name="connsiteY3" fmla="*/ 0 h 195761"/>
              <a:gd name="connsiteX4" fmla="*/ 83898 w 180613"/>
              <a:gd name="connsiteY4" fmla="*/ 0 h 195761"/>
              <a:gd name="connsiteX5" fmla="*/ 180613 w 180613"/>
              <a:gd name="connsiteY5" fmla="*/ 96715 h 19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5761">
                <a:moveTo>
                  <a:pt x="82733" y="195762"/>
                </a:moveTo>
                <a:lnTo>
                  <a:pt x="0" y="195762"/>
                </a:lnTo>
                <a:lnTo>
                  <a:pt x="96715" y="99046"/>
                </a:lnTo>
                <a:lnTo>
                  <a:pt x="0" y="0"/>
                </a:lnTo>
                <a:lnTo>
                  <a:pt x="83898" y="0"/>
                </a:lnTo>
                <a:lnTo>
                  <a:pt x="180613" y="96715"/>
                </a:lnTo>
                <a:close/>
              </a:path>
            </a:pathLst>
          </a:custGeom>
          <a:solidFill>
            <a:srgbClr val="EEF2F5"/>
          </a:solidFill>
          <a:ln w="11643" cap="flat">
            <a:noFill/>
            <a:prstDash val="solid"/>
            <a:miter/>
          </a:ln>
        </p:spPr>
        <p:txBody>
          <a:bodyPr rtlCol="0" anchor="ctr"/>
          <a:lstStyle/>
          <a:p>
            <a:endParaRPr lang="de-DE"/>
          </a:p>
        </p:txBody>
      </p:sp>
      <p:sp>
        <p:nvSpPr>
          <p:cNvPr id="213" name="Freihandform: Form 212">
            <a:extLst>
              <a:ext uri="{FF2B5EF4-FFF2-40B4-BE49-F238E27FC236}">
                <a16:creationId xmlns:a16="http://schemas.microsoft.com/office/drawing/2014/main" id="{57028041-D229-4433-B39C-C3F33483B647}"/>
              </a:ext>
            </a:extLst>
          </p:cNvPr>
          <p:cNvSpPr/>
          <p:nvPr/>
        </p:nvSpPr>
        <p:spPr>
          <a:xfrm>
            <a:off x="8375813" y="6270714"/>
            <a:ext cx="180613" cy="195761"/>
          </a:xfrm>
          <a:custGeom>
            <a:avLst/>
            <a:gdLst>
              <a:gd name="connsiteX0" fmla="*/ 82733 w 180613"/>
              <a:gd name="connsiteY0" fmla="*/ 195762 h 195761"/>
              <a:gd name="connsiteX1" fmla="*/ 0 w 180613"/>
              <a:gd name="connsiteY1" fmla="*/ 195762 h 195761"/>
              <a:gd name="connsiteX2" fmla="*/ 96715 w 180613"/>
              <a:gd name="connsiteY2" fmla="*/ 97881 h 195761"/>
              <a:gd name="connsiteX3" fmla="*/ 0 w 180613"/>
              <a:gd name="connsiteY3" fmla="*/ 0 h 195761"/>
              <a:gd name="connsiteX4" fmla="*/ 83898 w 180613"/>
              <a:gd name="connsiteY4" fmla="*/ 0 h 195761"/>
              <a:gd name="connsiteX5" fmla="*/ 180613 w 180613"/>
              <a:gd name="connsiteY5" fmla="*/ 95550 h 19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5761">
                <a:moveTo>
                  <a:pt x="82733" y="195762"/>
                </a:moveTo>
                <a:lnTo>
                  <a:pt x="0" y="195762"/>
                </a:lnTo>
                <a:lnTo>
                  <a:pt x="96715" y="97881"/>
                </a:lnTo>
                <a:lnTo>
                  <a:pt x="0" y="0"/>
                </a:lnTo>
                <a:lnTo>
                  <a:pt x="83898" y="0"/>
                </a:lnTo>
                <a:lnTo>
                  <a:pt x="180613" y="95550"/>
                </a:lnTo>
                <a:close/>
              </a:path>
            </a:pathLst>
          </a:custGeom>
          <a:solidFill>
            <a:srgbClr val="EEF2F5"/>
          </a:solidFill>
          <a:ln w="11643" cap="flat">
            <a:noFill/>
            <a:prstDash val="solid"/>
            <a:miter/>
          </a:ln>
        </p:spPr>
        <p:txBody>
          <a:bodyPr rtlCol="0" anchor="ctr"/>
          <a:lstStyle/>
          <a:p>
            <a:endParaRPr lang="de-DE"/>
          </a:p>
        </p:txBody>
      </p:sp>
      <p:sp>
        <p:nvSpPr>
          <p:cNvPr id="229" name="Freihandform: Form 228">
            <a:extLst>
              <a:ext uri="{FF2B5EF4-FFF2-40B4-BE49-F238E27FC236}">
                <a16:creationId xmlns:a16="http://schemas.microsoft.com/office/drawing/2014/main" id="{9B8DB432-5722-4DDC-9DA4-82611DB7AF21}"/>
              </a:ext>
            </a:extLst>
          </p:cNvPr>
          <p:cNvSpPr/>
          <p:nvPr/>
        </p:nvSpPr>
        <p:spPr>
          <a:xfrm>
            <a:off x="8375813" y="6624949"/>
            <a:ext cx="180613" cy="196926"/>
          </a:xfrm>
          <a:custGeom>
            <a:avLst/>
            <a:gdLst>
              <a:gd name="connsiteX0" fmla="*/ 82733 w 180613"/>
              <a:gd name="connsiteY0" fmla="*/ 196927 h 196926"/>
              <a:gd name="connsiteX1" fmla="*/ 0 w 180613"/>
              <a:gd name="connsiteY1" fmla="*/ 196927 h 196926"/>
              <a:gd name="connsiteX2" fmla="*/ 96715 w 180613"/>
              <a:gd name="connsiteY2" fmla="*/ 99046 h 196926"/>
              <a:gd name="connsiteX3" fmla="*/ 0 w 180613"/>
              <a:gd name="connsiteY3" fmla="*/ 0 h 196926"/>
              <a:gd name="connsiteX4" fmla="*/ 83898 w 180613"/>
              <a:gd name="connsiteY4" fmla="*/ 0 h 196926"/>
              <a:gd name="connsiteX5" fmla="*/ 180613 w 180613"/>
              <a:gd name="connsiteY5" fmla="*/ 96715 h 196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6926">
                <a:moveTo>
                  <a:pt x="82733" y="196927"/>
                </a:moveTo>
                <a:lnTo>
                  <a:pt x="0" y="196927"/>
                </a:lnTo>
                <a:lnTo>
                  <a:pt x="96715" y="99046"/>
                </a:lnTo>
                <a:lnTo>
                  <a:pt x="0" y="0"/>
                </a:lnTo>
                <a:lnTo>
                  <a:pt x="83898" y="0"/>
                </a:lnTo>
                <a:lnTo>
                  <a:pt x="180613" y="96715"/>
                </a:lnTo>
                <a:close/>
              </a:path>
            </a:pathLst>
          </a:custGeom>
          <a:solidFill>
            <a:srgbClr val="EEF2F5"/>
          </a:solidFill>
          <a:ln w="11643" cap="flat">
            <a:noFill/>
            <a:prstDash val="solid"/>
            <a:miter/>
          </a:ln>
        </p:spPr>
        <p:txBody>
          <a:bodyPr rtlCol="0" anchor="ctr"/>
          <a:lstStyle/>
          <a:p>
            <a:endParaRPr lang="de-DE"/>
          </a:p>
        </p:txBody>
      </p:sp>
      <p:sp>
        <p:nvSpPr>
          <p:cNvPr id="18" name="Freihandform: Form 17">
            <a:extLst>
              <a:ext uri="{FF2B5EF4-FFF2-40B4-BE49-F238E27FC236}">
                <a16:creationId xmlns:a16="http://schemas.microsoft.com/office/drawing/2014/main" id="{5D717E25-D335-4E65-A411-45D9057ED87F}"/>
              </a:ext>
            </a:extLst>
          </p:cNvPr>
          <p:cNvSpPr/>
          <p:nvPr/>
        </p:nvSpPr>
        <p:spPr>
          <a:xfrm>
            <a:off x="8721892" y="2002410"/>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6038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6038"/>
                </a:lnTo>
                <a:close/>
              </a:path>
            </a:pathLst>
          </a:custGeom>
          <a:solidFill>
            <a:srgbClr val="EEF2F5"/>
          </a:solidFill>
          <a:ln w="11643" cap="flat">
            <a:noFill/>
            <a:prstDash val="solid"/>
            <a:miter/>
          </a:ln>
        </p:spPr>
        <p:txBody>
          <a:bodyPr rtlCol="0" anchor="ctr"/>
          <a:lstStyle/>
          <a:p>
            <a:endParaRPr lang="de-DE"/>
          </a:p>
        </p:txBody>
      </p:sp>
      <p:sp>
        <p:nvSpPr>
          <p:cNvPr id="33" name="Freihandform: Form 32">
            <a:extLst>
              <a:ext uri="{FF2B5EF4-FFF2-40B4-BE49-F238E27FC236}">
                <a16:creationId xmlns:a16="http://schemas.microsoft.com/office/drawing/2014/main" id="{8191837C-2D2D-4E7E-BB7B-2C536FE31ED3}"/>
              </a:ext>
            </a:extLst>
          </p:cNvPr>
          <p:cNvSpPr/>
          <p:nvPr/>
        </p:nvSpPr>
        <p:spPr>
          <a:xfrm>
            <a:off x="8721892" y="2357811"/>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4872"/>
                </a:lnTo>
                <a:close/>
              </a:path>
            </a:pathLst>
          </a:custGeom>
          <a:solidFill>
            <a:srgbClr val="EEF2F5"/>
          </a:solidFill>
          <a:ln w="11643" cap="flat">
            <a:noFill/>
            <a:prstDash val="solid"/>
            <a:miter/>
          </a:ln>
        </p:spPr>
        <p:txBody>
          <a:bodyPr rtlCol="0" anchor="ctr"/>
          <a:lstStyle/>
          <a:p>
            <a:endParaRPr lang="de-DE"/>
          </a:p>
        </p:txBody>
      </p:sp>
      <p:sp>
        <p:nvSpPr>
          <p:cNvPr id="49" name="Freihandform: Form 48">
            <a:extLst>
              <a:ext uri="{FF2B5EF4-FFF2-40B4-BE49-F238E27FC236}">
                <a16:creationId xmlns:a16="http://schemas.microsoft.com/office/drawing/2014/main" id="{7C3E3047-07A6-44AE-A863-B14D0E91E9D2}"/>
              </a:ext>
            </a:extLst>
          </p:cNvPr>
          <p:cNvSpPr/>
          <p:nvPr/>
        </p:nvSpPr>
        <p:spPr>
          <a:xfrm>
            <a:off x="8721892" y="2712046"/>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6038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6038"/>
                </a:lnTo>
                <a:close/>
              </a:path>
            </a:pathLst>
          </a:custGeom>
          <a:solidFill>
            <a:srgbClr val="EEF2F5"/>
          </a:solidFill>
          <a:ln w="11643" cap="flat">
            <a:noFill/>
            <a:prstDash val="solid"/>
            <a:miter/>
          </a:ln>
        </p:spPr>
        <p:txBody>
          <a:bodyPr rtlCol="0" anchor="ctr"/>
          <a:lstStyle/>
          <a:p>
            <a:endParaRPr lang="de-DE"/>
          </a:p>
        </p:txBody>
      </p:sp>
      <p:sp>
        <p:nvSpPr>
          <p:cNvPr id="65" name="Freihandform: Form 64">
            <a:extLst>
              <a:ext uri="{FF2B5EF4-FFF2-40B4-BE49-F238E27FC236}">
                <a16:creationId xmlns:a16="http://schemas.microsoft.com/office/drawing/2014/main" id="{A33D910C-FE80-4271-80EB-43FB226FC311}"/>
              </a:ext>
            </a:extLst>
          </p:cNvPr>
          <p:cNvSpPr/>
          <p:nvPr/>
        </p:nvSpPr>
        <p:spPr>
          <a:xfrm>
            <a:off x="8721892" y="3067447"/>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4872"/>
                </a:lnTo>
                <a:close/>
              </a:path>
            </a:pathLst>
          </a:custGeom>
          <a:solidFill>
            <a:srgbClr val="EEF2F5"/>
          </a:solidFill>
          <a:ln w="11643" cap="flat">
            <a:noFill/>
            <a:prstDash val="solid"/>
            <a:miter/>
          </a:ln>
        </p:spPr>
        <p:txBody>
          <a:bodyPr rtlCol="0" anchor="ctr"/>
          <a:lstStyle/>
          <a:p>
            <a:endParaRPr lang="de-DE"/>
          </a:p>
        </p:txBody>
      </p:sp>
      <p:sp>
        <p:nvSpPr>
          <p:cNvPr id="81" name="Freihandform: Form 80">
            <a:extLst>
              <a:ext uri="{FF2B5EF4-FFF2-40B4-BE49-F238E27FC236}">
                <a16:creationId xmlns:a16="http://schemas.microsoft.com/office/drawing/2014/main" id="{3C2ACAE0-E8A8-4FC5-919A-02F70B7D5438}"/>
              </a:ext>
            </a:extLst>
          </p:cNvPr>
          <p:cNvSpPr/>
          <p:nvPr/>
        </p:nvSpPr>
        <p:spPr>
          <a:xfrm>
            <a:off x="8721892" y="3421682"/>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6038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6038"/>
                </a:lnTo>
                <a:close/>
              </a:path>
            </a:pathLst>
          </a:custGeom>
          <a:solidFill>
            <a:srgbClr val="EEF2F5"/>
          </a:solidFill>
          <a:ln w="11643" cap="flat">
            <a:noFill/>
            <a:prstDash val="solid"/>
            <a:miter/>
          </a:ln>
        </p:spPr>
        <p:txBody>
          <a:bodyPr rtlCol="0" anchor="ctr"/>
          <a:lstStyle/>
          <a:p>
            <a:endParaRPr lang="de-DE"/>
          </a:p>
        </p:txBody>
      </p:sp>
      <p:sp>
        <p:nvSpPr>
          <p:cNvPr id="97" name="Freihandform: Form 96">
            <a:extLst>
              <a:ext uri="{FF2B5EF4-FFF2-40B4-BE49-F238E27FC236}">
                <a16:creationId xmlns:a16="http://schemas.microsoft.com/office/drawing/2014/main" id="{49C7B20E-CBCC-427C-8257-9EDB4B177C6A}"/>
              </a:ext>
            </a:extLst>
          </p:cNvPr>
          <p:cNvSpPr/>
          <p:nvPr/>
        </p:nvSpPr>
        <p:spPr>
          <a:xfrm>
            <a:off x="8721892" y="3777083"/>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4872"/>
                </a:lnTo>
                <a:close/>
              </a:path>
            </a:pathLst>
          </a:custGeom>
          <a:solidFill>
            <a:srgbClr val="EEF2F5"/>
          </a:solidFill>
          <a:ln w="11643" cap="flat">
            <a:noFill/>
            <a:prstDash val="solid"/>
            <a:miter/>
          </a:ln>
        </p:spPr>
        <p:txBody>
          <a:bodyPr rtlCol="0" anchor="ctr"/>
          <a:lstStyle/>
          <a:p>
            <a:endParaRPr lang="de-DE"/>
          </a:p>
        </p:txBody>
      </p:sp>
      <p:sp>
        <p:nvSpPr>
          <p:cNvPr id="113" name="Freihandform: Form 112">
            <a:extLst>
              <a:ext uri="{FF2B5EF4-FFF2-40B4-BE49-F238E27FC236}">
                <a16:creationId xmlns:a16="http://schemas.microsoft.com/office/drawing/2014/main" id="{AA929FBA-3B60-4B90-A12C-EEB1A0A8CF38}"/>
              </a:ext>
            </a:extLst>
          </p:cNvPr>
          <p:cNvSpPr/>
          <p:nvPr/>
        </p:nvSpPr>
        <p:spPr>
          <a:xfrm>
            <a:off x="8721892" y="4132484"/>
            <a:ext cx="198092" cy="214405"/>
          </a:xfrm>
          <a:custGeom>
            <a:avLst/>
            <a:gdLst>
              <a:gd name="connsiteX0" fmla="*/ 90889 w 198092"/>
              <a:gd name="connsiteY0" fmla="*/ 214406 h 214405"/>
              <a:gd name="connsiteX1" fmla="*/ 0 w 198092"/>
              <a:gd name="connsiteY1" fmla="*/ 214406 h 214405"/>
              <a:gd name="connsiteX2" fmla="*/ 106037 w 198092"/>
              <a:gd name="connsiteY2" fmla="*/ 107203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7203"/>
                </a:lnTo>
                <a:lnTo>
                  <a:pt x="0" y="0"/>
                </a:lnTo>
                <a:lnTo>
                  <a:pt x="92055" y="0"/>
                </a:lnTo>
                <a:lnTo>
                  <a:pt x="198092" y="104872"/>
                </a:lnTo>
                <a:close/>
              </a:path>
            </a:pathLst>
          </a:custGeom>
          <a:solidFill>
            <a:srgbClr val="EEF2F5"/>
          </a:solidFill>
          <a:ln w="11643" cap="flat">
            <a:noFill/>
            <a:prstDash val="solid"/>
            <a:miter/>
          </a:ln>
        </p:spPr>
        <p:txBody>
          <a:bodyPr rtlCol="0" anchor="ctr"/>
          <a:lstStyle/>
          <a:p>
            <a:endParaRPr lang="de-DE"/>
          </a:p>
        </p:txBody>
      </p:sp>
      <p:sp>
        <p:nvSpPr>
          <p:cNvPr id="129" name="Freihandform: Form 128">
            <a:extLst>
              <a:ext uri="{FF2B5EF4-FFF2-40B4-BE49-F238E27FC236}">
                <a16:creationId xmlns:a16="http://schemas.microsoft.com/office/drawing/2014/main" id="{2A2E02AC-BFFD-44C8-869B-053E6C74FD2B}"/>
              </a:ext>
            </a:extLst>
          </p:cNvPr>
          <p:cNvSpPr/>
          <p:nvPr/>
        </p:nvSpPr>
        <p:spPr>
          <a:xfrm>
            <a:off x="8721892" y="4486719"/>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4872"/>
                </a:lnTo>
                <a:close/>
              </a:path>
            </a:pathLst>
          </a:custGeom>
          <a:solidFill>
            <a:srgbClr val="EEF2F5"/>
          </a:solidFill>
          <a:ln w="11643" cap="flat">
            <a:noFill/>
            <a:prstDash val="solid"/>
            <a:miter/>
          </a:ln>
        </p:spPr>
        <p:txBody>
          <a:bodyPr rtlCol="0" anchor="ctr"/>
          <a:lstStyle/>
          <a:p>
            <a:endParaRPr lang="de-DE"/>
          </a:p>
        </p:txBody>
      </p:sp>
      <p:sp>
        <p:nvSpPr>
          <p:cNvPr id="146" name="Freihandform: Form 145">
            <a:extLst>
              <a:ext uri="{FF2B5EF4-FFF2-40B4-BE49-F238E27FC236}">
                <a16:creationId xmlns:a16="http://schemas.microsoft.com/office/drawing/2014/main" id="{05AC39C3-CD17-42BE-BFB8-C8A94809F9BF}"/>
              </a:ext>
            </a:extLst>
          </p:cNvPr>
          <p:cNvSpPr/>
          <p:nvPr/>
        </p:nvSpPr>
        <p:spPr>
          <a:xfrm>
            <a:off x="8721892" y="4842120"/>
            <a:ext cx="198092" cy="214405"/>
          </a:xfrm>
          <a:custGeom>
            <a:avLst/>
            <a:gdLst>
              <a:gd name="connsiteX0" fmla="*/ 90889 w 198092"/>
              <a:gd name="connsiteY0" fmla="*/ 214406 h 214405"/>
              <a:gd name="connsiteX1" fmla="*/ 0 w 198092"/>
              <a:gd name="connsiteY1" fmla="*/ 214406 h 214405"/>
              <a:gd name="connsiteX2" fmla="*/ 106037 w 198092"/>
              <a:gd name="connsiteY2" fmla="*/ 107203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7203"/>
                </a:lnTo>
                <a:lnTo>
                  <a:pt x="0" y="0"/>
                </a:lnTo>
                <a:lnTo>
                  <a:pt x="92055" y="0"/>
                </a:lnTo>
                <a:lnTo>
                  <a:pt x="198092" y="104872"/>
                </a:lnTo>
                <a:close/>
              </a:path>
            </a:pathLst>
          </a:custGeom>
          <a:solidFill>
            <a:srgbClr val="EEF2F5"/>
          </a:solidFill>
          <a:ln w="11643" cap="flat">
            <a:noFill/>
            <a:prstDash val="solid"/>
            <a:miter/>
          </a:ln>
        </p:spPr>
        <p:txBody>
          <a:bodyPr rtlCol="0" anchor="ctr"/>
          <a:lstStyle/>
          <a:p>
            <a:endParaRPr lang="de-DE"/>
          </a:p>
        </p:txBody>
      </p:sp>
      <p:sp>
        <p:nvSpPr>
          <p:cNvPr id="163" name="Freihandform: Form 162">
            <a:extLst>
              <a:ext uri="{FF2B5EF4-FFF2-40B4-BE49-F238E27FC236}">
                <a16:creationId xmlns:a16="http://schemas.microsoft.com/office/drawing/2014/main" id="{88E84DF2-6EB7-427E-A4CB-C71E9DB80B42}"/>
              </a:ext>
            </a:extLst>
          </p:cNvPr>
          <p:cNvSpPr/>
          <p:nvPr/>
        </p:nvSpPr>
        <p:spPr>
          <a:xfrm>
            <a:off x="8721892" y="5196355"/>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6038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6038"/>
                </a:lnTo>
                <a:close/>
              </a:path>
            </a:pathLst>
          </a:custGeom>
          <a:solidFill>
            <a:srgbClr val="EEF2F5"/>
          </a:solidFill>
          <a:ln w="11643" cap="flat">
            <a:noFill/>
            <a:prstDash val="solid"/>
            <a:miter/>
          </a:ln>
        </p:spPr>
        <p:txBody>
          <a:bodyPr rtlCol="0" anchor="ctr"/>
          <a:lstStyle/>
          <a:p>
            <a:endParaRPr lang="de-DE"/>
          </a:p>
        </p:txBody>
      </p:sp>
      <p:sp>
        <p:nvSpPr>
          <p:cNvPr id="180" name="Freihandform: Form 179">
            <a:extLst>
              <a:ext uri="{FF2B5EF4-FFF2-40B4-BE49-F238E27FC236}">
                <a16:creationId xmlns:a16="http://schemas.microsoft.com/office/drawing/2014/main" id="{73606A8C-ADFE-479C-B34E-C91AE8F14BDF}"/>
              </a:ext>
            </a:extLst>
          </p:cNvPr>
          <p:cNvSpPr/>
          <p:nvPr/>
        </p:nvSpPr>
        <p:spPr>
          <a:xfrm>
            <a:off x="8721892" y="5551755"/>
            <a:ext cx="198092" cy="214405"/>
          </a:xfrm>
          <a:custGeom>
            <a:avLst/>
            <a:gdLst>
              <a:gd name="connsiteX0" fmla="*/ 90889 w 198092"/>
              <a:gd name="connsiteY0" fmla="*/ 214406 h 214405"/>
              <a:gd name="connsiteX1" fmla="*/ 0 w 198092"/>
              <a:gd name="connsiteY1" fmla="*/ 214406 h 214405"/>
              <a:gd name="connsiteX2" fmla="*/ 106037 w 198092"/>
              <a:gd name="connsiteY2" fmla="*/ 107203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7203"/>
                </a:lnTo>
                <a:lnTo>
                  <a:pt x="0" y="0"/>
                </a:lnTo>
                <a:lnTo>
                  <a:pt x="92055" y="0"/>
                </a:lnTo>
                <a:lnTo>
                  <a:pt x="198092" y="104872"/>
                </a:lnTo>
                <a:close/>
              </a:path>
            </a:pathLst>
          </a:custGeom>
          <a:solidFill>
            <a:srgbClr val="EEF2F5"/>
          </a:solidFill>
          <a:ln w="11643" cap="flat">
            <a:noFill/>
            <a:prstDash val="solid"/>
            <a:miter/>
          </a:ln>
        </p:spPr>
        <p:txBody>
          <a:bodyPr rtlCol="0" anchor="ctr"/>
          <a:lstStyle/>
          <a:p>
            <a:endParaRPr lang="de-DE"/>
          </a:p>
        </p:txBody>
      </p:sp>
      <p:sp>
        <p:nvSpPr>
          <p:cNvPr id="197" name="Freihandform: Form 196">
            <a:extLst>
              <a:ext uri="{FF2B5EF4-FFF2-40B4-BE49-F238E27FC236}">
                <a16:creationId xmlns:a16="http://schemas.microsoft.com/office/drawing/2014/main" id="{FC296AC6-E750-4BE9-BDD1-981A05C08FF5}"/>
              </a:ext>
            </a:extLst>
          </p:cNvPr>
          <p:cNvSpPr/>
          <p:nvPr/>
        </p:nvSpPr>
        <p:spPr>
          <a:xfrm>
            <a:off x="8721892" y="5905991"/>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6038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6038"/>
                </a:lnTo>
                <a:close/>
              </a:path>
            </a:pathLst>
          </a:custGeom>
          <a:solidFill>
            <a:srgbClr val="EEF2F5"/>
          </a:solidFill>
          <a:ln w="11643" cap="flat">
            <a:noFill/>
            <a:prstDash val="solid"/>
            <a:miter/>
          </a:ln>
        </p:spPr>
        <p:txBody>
          <a:bodyPr rtlCol="0" anchor="ctr"/>
          <a:lstStyle/>
          <a:p>
            <a:endParaRPr lang="de-DE"/>
          </a:p>
        </p:txBody>
      </p:sp>
      <p:sp>
        <p:nvSpPr>
          <p:cNvPr id="214" name="Freihandform: Form 213">
            <a:extLst>
              <a:ext uri="{FF2B5EF4-FFF2-40B4-BE49-F238E27FC236}">
                <a16:creationId xmlns:a16="http://schemas.microsoft.com/office/drawing/2014/main" id="{C03E7333-2F83-4C83-832A-36CD5A0C1B61}"/>
              </a:ext>
            </a:extLst>
          </p:cNvPr>
          <p:cNvSpPr/>
          <p:nvPr/>
        </p:nvSpPr>
        <p:spPr>
          <a:xfrm>
            <a:off x="8721892" y="6261391"/>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4872"/>
                </a:lnTo>
                <a:close/>
              </a:path>
            </a:pathLst>
          </a:custGeom>
          <a:solidFill>
            <a:srgbClr val="EEF2F5"/>
          </a:solidFill>
          <a:ln w="11643" cap="flat">
            <a:noFill/>
            <a:prstDash val="solid"/>
            <a:miter/>
          </a:ln>
        </p:spPr>
        <p:txBody>
          <a:bodyPr rtlCol="0" anchor="ctr"/>
          <a:lstStyle/>
          <a:p>
            <a:endParaRPr lang="de-DE"/>
          </a:p>
        </p:txBody>
      </p:sp>
      <p:sp>
        <p:nvSpPr>
          <p:cNvPr id="230" name="Freihandform: Form 229">
            <a:extLst>
              <a:ext uri="{FF2B5EF4-FFF2-40B4-BE49-F238E27FC236}">
                <a16:creationId xmlns:a16="http://schemas.microsoft.com/office/drawing/2014/main" id="{83AA4FB9-F340-4ECE-A8B5-BF0225383456}"/>
              </a:ext>
            </a:extLst>
          </p:cNvPr>
          <p:cNvSpPr/>
          <p:nvPr/>
        </p:nvSpPr>
        <p:spPr>
          <a:xfrm>
            <a:off x="8721892" y="6615627"/>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6037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6037"/>
                </a:lnTo>
                <a:close/>
              </a:path>
            </a:pathLst>
          </a:custGeom>
          <a:solidFill>
            <a:srgbClr val="EEF2F5"/>
          </a:solidFill>
          <a:ln w="11643" cap="flat">
            <a:noFill/>
            <a:prstDash val="solid"/>
            <a:miter/>
          </a:ln>
        </p:spPr>
        <p:txBody>
          <a:bodyPr rtlCol="0" anchor="ctr"/>
          <a:lstStyle/>
          <a:p>
            <a:endParaRPr lang="de-DE"/>
          </a:p>
        </p:txBody>
      </p:sp>
      <p:sp>
        <p:nvSpPr>
          <p:cNvPr id="19" name="Freihandform: Form 18">
            <a:extLst>
              <a:ext uri="{FF2B5EF4-FFF2-40B4-BE49-F238E27FC236}">
                <a16:creationId xmlns:a16="http://schemas.microsoft.com/office/drawing/2014/main" id="{9DB76664-FCBB-4E4F-B5E6-C249AA6B44D0}"/>
              </a:ext>
            </a:extLst>
          </p:cNvPr>
          <p:cNvSpPr/>
          <p:nvPr/>
        </p:nvSpPr>
        <p:spPr>
          <a:xfrm>
            <a:off x="9069136" y="1994253"/>
            <a:ext cx="214405" cy="231884"/>
          </a:xfrm>
          <a:custGeom>
            <a:avLst/>
            <a:gdLst>
              <a:gd name="connsiteX0" fmla="*/ 97881 w 214405"/>
              <a:gd name="connsiteY0" fmla="*/ 231884 h 231884"/>
              <a:gd name="connsiteX1" fmla="*/ 0 w 214405"/>
              <a:gd name="connsiteY1" fmla="*/ 231884 h 231884"/>
              <a:gd name="connsiteX2" fmla="*/ 114194 w 214405"/>
              <a:gd name="connsiteY2" fmla="*/ 116525 h 231884"/>
              <a:gd name="connsiteX3" fmla="*/ 0 w 214405"/>
              <a:gd name="connsiteY3" fmla="*/ 0 h 231884"/>
              <a:gd name="connsiteX4" fmla="*/ 100211 w 214405"/>
              <a:gd name="connsiteY4" fmla="*/ 0 h 231884"/>
              <a:gd name="connsiteX5" fmla="*/ 214406 w 214405"/>
              <a:gd name="connsiteY5" fmla="*/ 114194 h 23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1884">
                <a:moveTo>
                  <a:pt x="97881" y="231884"/>
                </a:moveTo>
                <a:lnTo>
                  <a:pt x="0" y="231884"/>
                </a:lnTo>
                <a:lnTo>
                  <a:pt x="114194" y="116525"/>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34" name="Freihandform: Form 33">
            <a:extLst>
              <a:ext uri="{FF2B5EF4-FFF2-40B4-BE49-F238E27FC236}">
                <a16:creationId xmlns:a16="http://schemas.microsoft.com/office/drawing/2014/main" id="{1C9E837E-20C0-4E65-AB7F-E12A38184389}"/>
              </a:ext>
            </a:extLst>
          </p:cNvPr>
          <p:cNvSpPr/>
          <p:nvPr/>
        </p:nvSpPr>
        <p:spPr>
          <a:xfrm>
            <a:off x="9069136" y="2348489"/>
            <a:ext cx="214405" cy="233049"/>
          </a:xfrm>
          <a:custGeom>
            <a:avLst/>
            <a:gdLst>
              <a:gd name="connsiteX0" fmla="*/ 97881 w 214405"/>
              <a:gd name="connsiteY0" fmla="*/ 233050 h 233049"/>
              <a:gd name="connsiteX1" fmla="*/ 0 w 214405"/>
              <a:gd name="connsiteY1" fmla="*/ 233050 h 233049"/>
              <a:gd name="connsiteX2" fmla="*/ 114194 w 214405"/>
              <a:gd name="connsiteY2" fmla="*/ 117690 h 233049"/>
              <a:gd name="connsiteX3" fmla="*/ 0 w 214405"/>
              <a:gd name="connsiteY3" fmla="*/ 0 h 233049"/>
              <a:gd name="connsiteX4" fmla="*/ 100211 w 214405"/>
              <a:gd name="connsiteY4" fmla="*/ 0 h 233049"/>
              <a:gd name="connsiteX5" fmla="*/ 214406 w 214405"/>
              <a:gd name="connsiteY5" fmla="*/ 114194 h 23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3048">
                <a:moveTo>
                  <a:pt x="97881" y="233050"/>
                </a:moveTo>
                <a:lnTo>
                  <a:pt x="0" y="233050"/>
                </a:lnTo>
                <a:lnTo>
                  <a:pt x="114194" y="117690"/>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50" name="Freihandform: Form 49">
            <a:extLst>
              <a:ext uri="{FF2B5EF4-FFF2-40B4-BE49-F238E27FC236}">
                <a16:creationId xmlns:a16="http://schemas.microsoft.com/office/drawing/2014/main" id="{8113F30E-6E8E-4B5D-82C9-BD00E85422E7}"/>
              </a:ext>
            </a:extLst>
          </p:cNvPr>
          <p:cNvSpPr/>
          <p:nvPr/>
        </p:nvSpPr>
        <p:spPr>
          <a:xfrm>
            <a:off x="9069136" y="2703889"/>
            <a:ext cx="214405" cy="231884"/>
          </a:xfrm>
          <a:custGeom>
            <a:avLst/>
            <a:gdLst>
              <a:gd name="connsiteX0" fmla="*/ 97881 w 214405"/>
              <a:gd name="connsiteY0" fmla="*/ 231884 h 231884"/>
              <a:gd name="connsiteX1" fmla="*/ 0 w 214405"/>
              <a:gd name="connsiteY1" fmla="*/ 231884 h 231884"/>
              <a:gd name="connsiteX2" fmla="*/ 114194 w 214405"/>
              <a:gd name="connsiteY2" fmla="*/ 116525 h 231884"/>
              <a:gd name="connsiteX3" fmla="*/ 0 w 214405"/>
              <a:gd name="connsiteY3" fmla="*/ 0 h 231884"/>
              <a:gd name="connsiteX4" fmla="*/ 100211 w 214405"/>
              <a:gd name="connsiteY4" fmla="*/ 0 h 231884"/>
              <a:gd name="connsiteX5" fmla="*/ 214406 w 214405"/>
              <a:gd name="connsiteY5" fmla="*/ 114194 h 23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1884">
                <a:moveTo>
                  <a:pt x="97881" y="231884"/>
                </a:moveTo>
                <a:lnTo>
                  <a:pt x="0" y="231884"/>
                </a:lnTo>
                <a:lnTo>
                  <a:pt x="114194" y="116525"/>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66" name="Freihandform: Form 65">
            <a:extLst>
              <a:ext uri="{FF2B5EF4-FFF2-40B4-BE49-F238E27FC236}">
                <a16:creationId xmlns:a16="http://schemas.microsoft.com/office/drawing/2014/main" id="{83CF9041-D1BF-47E7-A660-B0728CA7416C}"/>
              </a:ext>
            </a:extLst>
          </p:cNvPr>
          <p:cNvSpPr/>
          <p:nvPr/>
        </p:nvSpPr>
        <p:spPr>
          <a:xfrm>
            <a:off x="9069136" y="3058125"/>
            <a:ext cx="214405" cy="233049"/>
          </a:xfrm>
          <a:custGeom>
            <a:avLst/>
            <a:gdLst>
              <a:gd name="connsiteX0" fmla="*/ 97881 w 214405"/>
              <a:gd name="connsiteY0" fmla="*/ 233050 h 233049"/>
              <a:gd name="connsiteX1" fmla="*/ 0 w 214405"/>
              <a:gd name="connsiteY1" fmla="*/ 233050 h 233049"/>
              <a:gd name="connsiteX2" fmla="*/ 114194 w 214405"/>
              <a:gd name="connsiteY2" fmla="*/ 117690 h 233049"/>
              <a:gd name="connsiteX3" fmla="*/ 0 w 214405"/>
              <a:gd name="connsiteY3" fmla="*/ 0 h 233049"/>
              <a:gd name="connsiteX4" fmla="*/ 100211 w 214405"/>
              <a:gd name="connsiteY4" fmla="*/ 0 h 233049"/>
              <a:gd name="connsiteX5" fmla="*/ 214406 w 214405"/>
              <a:gd name="connsiteY5" fmla="*/ 114194 h 23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3048">
                <a:moveTo>
                  <a:pt x="97881" y="233050"/>
                </a:moveTo>
                <a:lnTo>
                  <a:pt x="0" y="233050"/>
                </a:lnTo>
                <a:lnTo>
                  <a:pt x="114194" y="117690"/>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82" name="Freihandform: Form 81">
            <a:extLst>
              <a:ext uri="{FF2B5EF4-FFF2-40B4-BE49-F238E27FC236}">
                <a16:creationId xmlns:a16="http://schemas.microsoft.com/office/drawing/2014/main" id="{5E3A187E-D2FD-43A2-AA3C-854C35701E6E}"/>
              </a:ext>
            </a:extLst>
          </p:cNvPr>
          <p:cNvSpPr/>
          <p:nvPr/>
        </p:nvSpPr>
        <p:spPr>
          <a:xfrm>
            <a:off x="9069136" y="3413526"/>
            <a:ext cx="214405" cy="231884"/>
          </a:xfrm>
          <a:custGeom>
            <a:avLst/>
            <a:gdLst>
              <a:gd name="connsiteX0" fmla="*/ 97881 w 214405"/>
              <a:gd name="connsiteY0" fmla="*/ 231884 h 231884"/>
              <a:gd name="connsiteX1" fmla="*/ 0 w 214405"/>
              <a:gd name="connsiteY1" fmla="*/ 231884 h 231884"/>
              <a:gd name="connsiteX2" fmla="*/ 114194 w 214405"/>
              <a:gd name="connsiteY2" fmla="*/ 116525 h 231884"/>
              <a:gd name="connsiteX3" fmla="*/ 0 w 214405"/>
              <a:gd name="connsiteY3" fmla="*/ 0 h 231884"/>
              <a:gd name="connsiteX4" fmla="*/ 100211 w 214405"/>
              <a:gd name="connsiteY4" fmla="*/ 0 h 231884"/>
              <a:gd name="connsiteX5" fmla="*/ 214406 w 214405"/>
              <a:gd name="connsiteY5" fmla="*/ 114194 h 23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1884">
                <a:moveTo>
                  <a:pt x="97881" y="231884"/>
                </a:moveTo>
                <a:lnTo>
                  <a:pt x="0" y="231884"/>
                </a:lnTo>
                <a:lnTo>
                  <a:pt x="114194" y="116525"/>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98" name="Freihandform: Form 97">
            <a:extLst>
              <a:ext uri="{FF2B5EF4-FFF2-40B4-BE49-F238E27FC236}">
                <a16:creationId xmlns:a16="http://schemas.microsoft.com/office/drawing/2014/main" id="{D3A81AAA-9E9E-4B15-AAC7-1E1DC2995BB7}"/>
              </a:ext>
            </a:extLst>
          </p:cNvPr>
          <p:cNvSpPr/>
          <p:nvPr/>
        </p:nvSpPr>
        <p:spPr>
          <a:xfrm>
            <a:off x="9069136" y="3767761"/>
            <a:ext cx="214405" cy="233049"/>
          </a:xfrm>
          <a:custGeom>
            <a:avLst/>
            <a:gdLst>
              <a:gd name="connsiteX0" fmla="*/ 97881 w 214405"/>
              <a:gd name="connsiteY0" fmla="*/ 233050 h 233049"/>
              <a:gd name="connsiteX1" fmla="*/ 0 w 214405"/>
              <a:gd name="connsiteY1" fmla="*/ 233050 h 233049"/>
              <a:gd name="connsiteX2" fmla="*/ 114194 w 214405"/>
              <a:gd name="connsiteY2" fmla="*/ 117690 h 233049"/>
              <a:gd name="connsiteX3" fmla="*/ 0 w 214405"/>
              <a:gd name="connsiteY3" fmla="*/ 0 h 233049"/>
              <a:gd name="connsiteX4" fmla="*/ 100211 w 214405"/>
              <a:gd name="connsiteY4" fmla="*/ 0 h 233049"/>
              <a:gd name="connsiteX5" fmla="*/ 214406 w 214405"/>
              <a:gd name="connsiteY5" fmla="*/ 114194 h 23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3048">
                <a:moveTo>
                  <a:pt x="97881" y="233050"/>
                </a:moveTo>
                <a:lnTo>
                  <a:pt x="0" y="233050"/>
                </a:lnTo>
                <a:lnTo>
                  <a:pt x="114194" y="117690"/>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114" name="Freihandform: Form 113">
            <a:extLst>
              <a:ext uri="{FF2B5EF4-FFF2-40B4-BE49-F238E27FC236}">
                <a16:creationId xmlns:a16="http://schemas.microsoft.com/office/drawing/2014/main" id="{D7414768-9244-413F-B790-A52513170C11}"/>
              </a:ext>
            </a:extLst>
          </p:cNvPr>
          <p:cNvSpPr/>
          <p:nvPr/>
        </p:nvSpPr>
        <p:spPr>
          <a:xfrm>
            <a:off x="9069136" y="4123162"/>
            <a:ext cx="214405" cy="231884"/>
          </a:xfrm>
          <a:custGeom>
            <a:avLst/>
            <a:gdLst>
              <a:gd name="connsiteX0" fmla="*/ 97881 w 214405"/>
              <a:gd name="connsiteY0" fmla="*/ 231884 h 231884"/>
              <a:gd name="connsiteX1" fmla="*/ 0 w 214405"/>
              <a:gd name="connsiteY1" fmla="*/ 231884 h 231884"/>
              <a:gd name="connsiteX2" fmla="*/ 114194 w 214405"/>
              <a:gd name="connsiteY2" fmla="*/ 116525 h 231884"/>
              <a:gd name="connsiteX3" fmla="*/ 0 w 214405"/>
              <a:gd name="connsiteY3" fmla="*/ 0 h 231884"/>
              <a:gd name="connsiteX4" fmla="*/ 100211 w 214405"/>
              <a:gd name="connsiteY4" fmla="*/ 0 h 231884"/>
              <a:gd name="connsiteX5" fmla="*/ 214406 w 214405"/>
              <a:gd name="connsiteY5" fmla="*/ 114194 h 23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1884">
                <a:moveTo>
                  <a:pt x="97881" y="231884"/>
                </a:moveTo>
                <a:lnTo>
                  <a:pt x="0" y="231884"/>
                </a:lnTo>
                <a:lnTo>
                  <a:pt x="114194" y="116525"/>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130" name="Freihandform: Form 129">
            <a:extLst>
              <a:ext uri="{FF2B5EF4-FFF2-40B4-BE49-F238E27FC236}">
                <a16:creationId xmlns:a16="http://schemas.microsoft.com/office/drawing/2014/main" id="{401AC1C2-779B-43DF-BA19-77977887DF48}"/>
              </a:ext>
            </a:extLst>
          </p:cNvPr>
          <p:cNvSpPr/>
          <p:nvPr/>
        </p:nvSpPr>
        <p:spPr>
          <a:xfrm>
            <a:off x="9069136" y="4477397"/>
            <a:ext cx="214405" cy="233049"/>
          </a:xfrm>
          <a:custGeom>
            <a:avLst/>
            <a:gdLst>
              <a:gd name="connsiteX0" fmla="*/ 97881 w 214405"/>
              <a:gd name="connsiteY0" fmla="*/ 233050 h 233049"/>
              <a:gd name="connsiteX1" fmla="*/ 0 w 214405"/>
              <a:gd name="connsiteY1" fmla="*/ 233050 h 233049"/>
              <a:gd name="connsiteX2" fmla="*/ 114194 w 214405"/>
              <a:gd name="connsiteY2" fmla="*/ 117690 h 233049"/>
              <a:gd name="connsiteX3" fmla="*/ 0 w 214405"/>
              <a:gd name="connsiteY3" fmla="*/ 0 h 233049"/>
              <a:gd name="connsiteX4" fmla="*/ 100211 w 214405"/>
              <a:gd name="connsiteY4" fmla="*/ 0 h 233049"/>
              <a:gd name="connsiteX5" fmla="*/ 214406 w 214405"/>
              <a:gd name="connsiteY5" fmla="*/ 114194 h 23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3048">
                <a:moveTo>
                  <a:pt x="97881" y="233050"/>
                </a:moveTo>
                <a:lnTo>
                  <a:pt x="0" y="233050"/>
                </a:lnTo>
                <a:lnTo>
                  <a:pt x="114194" y="117690"/>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147" name="Freihandform: Form 146">
            <a:extLst>
              <a:ext uri="{FF2B5EF4-FFF2-40B4-BE49-F238E27FC236}">
                <a16:creationId xmlns:a16="http://schemas.microsoft.com/office/drawing/2014/main" id="{828616FB-ED5E-4EBB-AE8B-F4FB143D7DA7}"/>
              </a:ext>
            </a:extLst>
          </p:cNvPr>
          <p:cNvSpPr/>
          <p:nvPr/>
        </p:nvSpPr>
        <p:spPr>
          <a:xfrm>
            <a:off x="9069136" y="4832797"/>
            <a:ext cx="214405" cy="231884"/>
          </a:xfrm>
          <a:custGeom>
            <a:avLst/>
            <a:gdLst>
              <a:gd name="connsiteX0" fmla="*/ 97881 w 214405"/>
              <a:gd name="connsiteY0" fmla="*/ 231884 h 231884"/>
              <a:gd name="connsiteX1" fmla="*/ 0 w 214405"/>
              <a:gd name="connsiteY1" fmla="*/ 231884 h 231884"/>
              <a:gd name="connsiteX2" fmla="*/ 114194 w 214405"/>
              <a:gd name="connsiteY2" fmla="*/ 116525 h 231884"/>
              <a:gd name="connsiteX3" fmla="*/ 0 w 214405"/>
              <a:gd name="connsiteY3" fmla="*/ 0 h 231884"/>
              <a:gd name="connsiteX4" fmla="*/ 100211 w 214405"/>
              <a:gd name="connsiteY4" fmla="*/ 0 h 231884"/>
              <a:gd name="connsiteX5" fmla="*/ 214406 w 214405"/>
              <a:gd name="connsiteY5" fmla="*/ 114194 h 23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1884">
                <a:moveTo>
                  <a:pt x="97881" y="231884"/>
                </a:moveTo>
                <a:lnTo>
                  <a:pt x="0" y="231884"/>
                </a:lnTo>
                <a:lnTo>
                  <a:pt x="114194" y="116525"/>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164" name="Freihandform: Form 163">
            <a:extLst>
              <a:ext uri="{FF2B5EF4-FFF2-40B4-BE49-F238E27FC236}">
                <a16:creationId xmlns:a16="http://schemas.microsoft.com/office/drawing/2014/main" id="{1552BFC2-885E-488D-9178-E4EF0A480D27}"/>
              </a:ext>
            </a:extLst>
          </p:cNvPr>
          <p:cNvSpPr/>
          <p:nvPr/>
        </p:nvSpPr>
        <p:spPr>
          <a:xfrm>
            <a:off x="9069136" y="5187033"/>
            <a:ext cx="214405" cy="233049"/>
          </a:xfrm>
          <a:custGeom>
            <a:avLst/>
            <a:gdLst>
              <a:gd name="connsiteX0" fmla="*/ 97881 w 214405"/>
              <a:gd name="connsiteY0" fmla="*/ 233050 h 233049"/>
              <a:gd name="connsiteX1" fmla="*/ 0 w 214405"/>
              <a:gd name="connsiteY1" fmla="*/ 233050 h 233049"/>
              <a:gd name="connsiteX2" fmla="*/ 114194 w 214405"/>
              <a:gd name="connsiteY2" fmla="*/ 117690 h 233049"/>
              <a:gd name="connsiteX3" fmla="*/ 0 w 214405"/>
              <a:gd name="connsiteY3" fmla="*/ 0 h 233049"/>
              <a:gd name="connsiteX4" fmla="*/ 100211 w 214405"/>
              <a:gd name="connsiteY4" fmla="*/ 0 h 233049"/>
              <a:gd name="connsiteX5" fmla="*/ 214406 w 214405"/>
              <a:gd name="connsiteY5" fmla="*/ 114194 h 23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3048">
                <a:moveTo>
                  <a:pt x="97881" y="233050"/>
                </a:moveTo>
                <a:lnTo>
                  <a:pt x="0" y="233050"/>
                </a:lnTo>
                <a:lnTo>
                  <a:pt x="114194" y="117690"/>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181" name="Freihandform: Form 180">
            <a:extLst>
              <a:ext uri="{FF2B5EF4-FFF2-40B4-BE49-F238E27FC236}">
                <a16:creationId xmlns:a16="http://schemas.microsoft.com/office/drawing/2014/main" id="{80648966-F9E2-4B5F-ABE6-533E21207054}"/>
              </a:ext>
            </a:extLst>
          </p:cNvPr>
          <p:cNvSpPr/>
          <p:nvPr/>
        </p:nvSpPr>
        <p:spPr>
          <a:xfrm>
            <a:off x="9069136" y="5542434"/>
            <a:ext cx="214405" cy="231884"/>
          </a:xfrm>
          <a:custGeom>
            <a:avLst/>
            <a:gdLst>
              <a:gd name="connsiteX0" fmla="*/ 97881 w 214405"/>
              <a:gd name="connsiteY0" fmla="*/ 231884 h 231884"/>
              <a:gd name="connsiteX1" fmla="*/ 0 w 214405"/>
              <a:gd name="connsiteY1" fmla="*/ 231884 h 231884"/>
              <a:gd name="connsiteX2" fmla="*/ 114194 w 214405"/>
              <a:gd name="connsiteY2" fmla="*/ 117690 h 231884"/>
              <a:gd name="connsiteX3" fmla="*/ 0 w 214405"/>
              <a:gd name="connsiteY3" fmla="*/ 0 h 231884"/>
              <a:gd name="connsiteX4" fmla="*/ 100211 w 214405"/>
              <a:gd name="connsiteY4" fmla="*/ 0 h 231884"/>
              <a:gd name="connsiteX5" fmla="*/ 214406 w 214405"/>
              <a:gd name="connsiteY5" fmla="*/ 114194 h 23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1884">
                <a:moveTo>
                  <a:pt x="97881" y="231884"/>
                </a:moveTo>
                <a:lnTo>
                  <a:pt x="0" y="231884"/>
                </a:lnTo>
                <a:lnTo>
                  <a:pt x="114194" y="117690"/>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198" name="Freihandform: Form 197">
            <a:extLst>
              <a:ext uri="{FF2B5EF4-FFF2-40B4-BE49-F238E27FC236}">
                <a16:creationId xmlns:a16="http://schemas.microsoft.com/office/drawing/2014/main" id="{8C7041C5-0B5B-4AF4-9E5A-19A8C4C12F42}"/>
              </a:ext>
            </a:extLst>
          </p:cNvPr>
          <p:cNvSpPr/>
          <p:nvPr/>
        </p:nvSpPr>
        <p:spPr>
          <a:xfrm>
            <a:off x="9069136" y="5896669"/>
            <a:ext cx="214405" cy="233049"/>
          </a:xfrm>
          <a:custGeom>
            <a:avLst/>
            <a:gdLst>
              <a:gd name="connsiteX0" fmla="*/ 97881 w 214405"/>
              <a:gd name="connsiteY0" fmla="*/ 233050 h 233049"/>
              <a:gd name="connsiteX1" fmla="*/ 0 w 214405"/>
              <a:gd name="connsiteY1" fmla="*/ 233050 h 233049"/>
              <a:gd name="connsiteX2" fmla="*/ 114194 w 214405"/>
              <a:gd name="connsiteY2" fmla="*/ 117690 h 233049"/>
              <a:gd name="connsiteX3" fmla="*/ 0 w 214405"/>
              <a:gd name="connsiteY3" fmla="*/ 0 h 233049"/>
              <a:gd name="connsiteX4" fmla="*/ 100211 w 214405"/>
              <a:gd name="connsiteY4" fmla="*/ 0 h 233049"/>
              <a:gd name="connsiteX5" fmla="*/ 214406 w 214405"/>
              <a:gd name="connsiteY5" fmla="*/ 114194 h 23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3048">
                <a:moveTo>
                  <a:pt x="97881" y="233050"/>
                </a:moveTo>
                <a:lnTo>
                  <a:pt x="0" y="233050"/>
                </a:lnTo>
                <a:lnTo>
                  <a:pt x="114194" y="117690"/>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215" name="Freihandform: Form 214">
            <a:extLst>
              <a:ext uri="{FF2B5EF4-FFF2-40B4-BE49-F238E27FC236}">
                <a16:creationId xmlns:a16="http://schemas.microsoft.com/office/drawing/2014/main" id="{DC129505-58A5-42E7-B349-A205FB83331A}"/>
              </a:ext>
            </a:extLst>
          </p:cNvPr>
          <p:cNvSpPr/>
          <p:nvPr/>
        </p:nvSpPr>
        <p:spPr>
          <a:xfrm>
            <a:off x="9069136" y="6252070"/>
            <a:ext cx="214405" cy="233049"/>
          </a:xfrm>
          <a:custGeom>
            <a:avLst/>
            <a:gdLst>
              <a:gd name="connsiteX0" fmla="*/ 97881 w 214405"/>
              <a:gd name="connsiteY0" fmla="*/ 233050 h 233049"/>
              <a:gd name="connsiteX1" fmla="*/ 0 w 214405"/>
              <a:gd name="connsiteY1" fmla="*/ 233050 h 233049"/>
              <a:gd name="connsiteX2" fmla="*/ 114194 w 214405"/>
              <a:gd name="connsiteY2" fmla="*/ 117690 h 233049"/>
              <a:gd name="connsiteX3" fmla="*/ 0 w 214405"/>
              <a:gd name="connsiteY3" fmla="*/ 0 h 233049"/>
              <a:gd name="connsiteX4" fmla="*/ 100211 w 214405"/>
              <a:gd name="connsiteY4" fmla="*/ 0 h 233049"/>
              <a:gd name="connsiteX5" fmla="*/ 214406 w 214405"/>
              <a:gd name="connsiteY5" fmla="*/ 114194 h 23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3048">
                <a:moveTo>
                  <a:pt x="97881" y="233050"/>
                </a:moveTo>
                <a:lnTo>
                  <a:pt x="0" y="233050"/>
                </a:lnTo>
                <a:lnTo>
                  <a:pt x="114194" y="117690"/>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231" name="Freihandform: Form 230">
            <a:extLst>
              <a:ext uri="{FF2B5EF4-FFF2-40B4-BE49-F238E27FC236}">
                <a16:creationId xmlns:a16="http://schemas.microsoft.com/office/drawing/2014/main" id="{7D437321-278E-41CD-A64F-B829FA8D7F6A}"/>
              </a:ext>
            </a:extLst>
          </p:cNvPr>
          <p:cNvSpPr/>
          <p:nvPr/>
        </p:nvSpPr>
        <p:spPr>
          <a:xfrm>
            <a:off x="9069136" y="6607470"/>
            <a:ext cx="214405" cy="231884"/>
          </a:xfrm>
          <a:custGeom>
            <a:avLst/>
            <a:gdLst>
              <a:gd name="connsiteX0" fmla="*/ 97881 w 214405"/>
              <a:gd name="connsiteY0" fmla="*/ 231884 h 231884"/>
              <a:gd name="connsiteX1" fmla="*/ 0 w 214405"/>
              <a:gd name="connsiteY1" fmla="*/ 231884 h 231884"/>
              <a:gd name="connsiteX2" fmla="*/ 114194 w 214405"/>
              <a:gd name="connsiteY2" fmla="*/ 116525 h 231884"/>
              <a:gd name="connsiteX3" fmla="*/ 0 w 214405"/>
              <a:gd name="connsiteY3" fmla="*/ 0 h 231884"/>
              <a:gd name="connsiteX4" fmla="*/ 100211 w 214405"/>
              <a:gd name="connsiteY4" fmla="*/ 0 h 231884"/>
              <a:gd name="connsiteX5" fmla="*/ 214406 w 214405"/>
              <a:gd name="connsiteY5" fmla="*/ 114194 h 23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1884">
                <a:moveTo>
                  <a:pt x="97881" y="231884"/>
                </a:moveTo>
                <a:lnTo>
                  <a:pt x="0" y="231884"/>
                </a:lnTo>
                <a:lnTo>
                  <a:pt x="114194" y="116525"/>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20" name="Freihandform: Form 19">
            <a:extLst>
              <a:ext uri="{FF2B5EF4-FFF2-40B4-BE49-F238E27FC236}">
                <a16:creationId xmlns:a16="http://schemas.microsoft.com/office/drawing/2014/main" id="{59C6ABB5-FB82-4897-A910-6DBB4D07120E}"/>
              </a:ext>
            </a:extLst>
          </p:cNvPr>
          <p:cNvSpPr/>
          <p:nvPr/>
        </p:nvSpPr>
        <p:spPr>
          <a:xfrm>
            <a:off x="9415215" y="1984931"/>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2351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5847"/>
                </a:lnTo>
                <a:lnTo>
                  <a:pt x="0" y="0"/>
                </a:lnTo>
                <a:lnTo>
                  <a:pt x="108368" y="0"/>
                </a:lnTo>
                <a:lnTo>
                  <a:pt x="230719" y="122351"/>
                </a:lnTo>
                <a:close/>
              </a:path>
            </a:pathLst>
          </a:custGeom>
          <a:solidFill>
            <a:srgbClr val="EEF2F5"/>
          </a:solidFill>
          <a:ln w="11643" cap="flat">
            <a:noFill/>
            <a:prstDash val="solid"/>
            <a:miter/>
          </a:ln>
        </p:spPr>
        <p:txBody>
          <a:bodyPr rtlCol="0" anchor="ctr"/>
          <a:lstStyle/>
          <a:p>
            <a:endParaRPr lang="de-DE"/>
          </a:p>
        </p:txBody>
      </p:sp>
      <p:sp>
        <p:nvSpPr>
          <p:cNvPr id="35" name="Freihandform: Form 34">
            <a:extLst>
              <a:ext uri="{FF2B5EF4-FFF2-40B4-BE49-F238E27FC236}">
                <a16:creationId xmlns:a16="http://schemas.microsoft.com/office/drawing/2014/main" id="{4B50BF8D-98A0-4C91-8957-BC9FDA550D32}"/>
              </a:ext>
            </a:extLst>
          </p:cNvPr>
          <p:cNvSpPr/>
          <p:nvPr/>
        </p:nvSpPr>
        <p:spPr>
          <a:xfrm>
            <a:off x="9415215" y="2339167"/>
            <a:ext cx="230718" cy="250528"/>
          </a:xfrm>
          <a:custGeom>
            <a:avLst/>
            <a:gdLst>
              <a:gd name="connsiteX0" fmla="*/ 106037 w 230718"/>
              <a:gd name="connsiteY0" fmla="*/ 250528 h 250528"/>
              <a:gd name="connsiteX1" fmla="*/ 0 w 230718"/>
              <a:gd name="connsiteY1" fmla="*/ 250528 h 250528"/>
              <a:gd name="connsiteX2" fmla="*/ 123516 w 230718"/>
              <a:gd name="connsiteY2" fmla="*/ 127012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7012"/>
                </a:lnTo>
                <a:lnTo>
                  <a:pt x="0" y="0"/>
                </a:lnTo>
                <a:lnTo>
                  <a:pt x="108368" y="0"/>
                </a:lnTo>
                <a:lnTo>
                  <a:pt x="230719" y="123516"/>
                </a:lnTo>
                <a:close/>
              </a:path>
            </a:pathLst>
          </a:custGeom>
          <a:solidFill>
            <a:srgbClr val="EEF2F5"/>
          </a:solidFill>
          <a:ln w="11643" cap="flat">
            <a:noFill/>
            <a:prstDash val="solid"/>
            <a:miter/>
          </a:ln>
        </p:spPr>
        <p:txBody>
          <a:bodyPr rtlCol="0" anchor="ctr"/>
          <a:lstStyle/>
          <a:p>
            <a:endParaRPr lang="de-DE"/>
          </a:p>
        </p:txBody>
      </p:sp>
      <p:sp>
        <p:nvSpPr>
          <p:cNvPr id="51" name="Freihandform: Form 50">
            <a:extLst>
              <a:ext uri="{FF2B5EF4-FFF2-40B4-BE49-F238E27FC236}">
                <a16:creationId xmlns:a16="http://schemas.microsoft.com/office/drawing/2014/main" id="{D1B3B4E3-CEF5-496B-A094-E4A3B0CD5519}"/>
              </a:ext>
            </a:extLst>
          </p:cNvPr>
          <p:cNvSpPr/>
          <p:nvPr/>
        </p:nvSpPr>
        <p:spPr>
          <a:xfrm>
            <a:off x="9415215" y="2694568"/>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5847"/>
                </a:lnTo>
                <a:lnTo>
                  <a:pt x="0" y="0"/>
                </a:lnTo>
                <a:lnTo>
                  <a:pt x="108368" y="0"/>
                </a:lnTo>
                <a:lnTo>
                  <a:pt x="230719" y="123516"/>
                </a:lnTo>
                <a:close/>
              </a:path>
            </a:pathLst>
          </a:custGeom>
          <a:solidFill>
            <a:srgbClr val="EEF2F5"/>
          </a:solidFill>
          <a:ln w="11643" cap="flat">
            <a:noFill/>
            <a:prstDash val="solid"/>
            <a:miter/>
          </a:ln>
        </p:spPr>
        <p:txBody>
          <a:bodyPr rtlCol="0" anchor="ctr"/>
          <a:lstStyle/>
          <a:p>
            <a:endParaRPr lang="de-DE"/>
          </a:p>
        </p:txBody>
      </p:sp>
      <p:sp>
        <p:nvSpPr>
          <p:cNvPr id="67" name="Freihandform: Form 66">
            <a:extLst>
              <a:ext uri="{FF2B5EF4-FFF2-40B4-BE49-F238E27FC236}">
                <a16:creationId xmlns:a16="http://schemas.microsoft.com/office/drawing/2014/main" id="{03766B2F-D62E-4376-B19A-E9A0137C9FF8}"/>
              </a:ext>
            </a:extLst>
          </p:cNvPr>
          <p:cNvSpPr/>
          <p:nvPr/>
        </p:nvSpPr>
        <p:spPr>
          <a:xfrm>
            <a:off x="9415215" y="3048803"/>
            <a:ext cx="230718" cy="250528"/>
          </a:xfrm>
          <a:custGeom>
            <a:avLst/>
            <a:gdLst>
              <a:gd name="connsiteX0" fmla="*/ 106037 w 230718"/>
              <a:gd name="connsiteY0" fmla="*/ 250528 h 250528"/>
              <a:gd name="connsiteX1" fmla="*/ 0 w 230718"/>
              <a:gd name="connsiteY1" fmla="*/ 250528 h 250528"/>
              <a:gd name="connsiteX2" fmla="*/ 123516 w 230718"/>
              <a:gd name="connsiteY2" fmla="*/ 127012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7012"/>
                </a:lnTo>
                <a:lnTo>
                  <a:pt x="0" y="0"/>
                </a:lnTo>
                <a:lnTo>
                  <a:pt x="108368" y="0"/>
                </a:lnTo>
                <a:lnTo>
                  <a:pt x="230719" y="123516"/>
                </a:lnTo>
                <a:close/>
              </a:path>
            </a:pathLst>
          </a:custGeom>
          <a:solidFill>
            <a:srgbClr val="EEF2F5"/>
          </a:solidFill>
          <a:ln w="11643" cap="flat">
            <a:noFill/>
            <a:prstDash val="solid"/>
            <a:miter/>
          </a:ln>
        </p:spPr>
        <p:txBody>
          <a:bodyPr rtlCol="0" anchor="ctr"/>
          <a:lstStyle/>
          <a:p>
            <a:endParaRPr lang="de-DE"/>
          </a:p>
        </p:txBody>
      </p:sp>
      <p:sp>
        <p:nvSpPr>
          <p:cNvPr id="83" name="Freihandform: Form 82">
            <a:extLst>
              <a:ext uri="{FF2B5EF4-FFF2-40B4-BE49-F238E27FC236}">
                <a16:creationId xmlns:a16="http://schemas.microsoft.com/office/drawing/2014/main" id="{AF30F1BC-BAAD-4C43-8F77-BAF589EBE37F}"/>
              </a:ext>
            </a:extLst>
          </p:cNvPr>
          <p:cNvSpPr/>
          <p:nvPr/>
        </p:nvSpPr>
        <p:spPr>
          <a:xfrm>
            <a:off x="9415215" y="3404203"/>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5847"/>
                </a:lnTo>
                <a:lnTo>
                  <a:pt x="0" y="0"/>
                </a:lnTo>
                <a:lnTo>
                  <a:pt x="108368" y="0"/>
                </a:lnTo>
                <a:lnTo>
                  <a:pt x="230719" y="123516"/>
                </a:lnTo>
                <a:close/>
              </a:path>
            </a:pathLst>
          </a:custGeom>
          <a:solidFill>
            <a:srgbClr val="EEF2F5"/>
          </a:solidFill>
          <a:ln w="11643" cap="flat">
            <a:noFill/>
            <a:prstDash val="solid"/>
            <a:miter/>
          </a:ln>
        </p:spPr>
        <p:txBody>
          <a:bodyPr rtlCol="0" anchor="ctr"/>
          <a:lstStyle/>
          <a:p>
            <a:endParaRPr lang="de-DE"/>
          </a:p>
        </p:txBody>
      </p:sp>
      <p:sp>
        <p:nvSpPr>
          <p:cNvPr id="99" name="Freihandform: Form 98">
            <a:extLst>
              <a:ext uri="{FF2B5EF4-FFF2-40B4-BE49-F238E27FC236}">
                <a16:creationId xmlns:a16="http://schemas.microsoft.com/office/drawing/2014/main" id="{EB01FE63-3ABC-4A0B-B6A7-BC06FBCD3820}"/>
              </a:ext>
            </a:extLst>
          </p:cNvPr>
          <p:cNvSpPr/>
          <p:nvPr/>
        </p:nvSpPr>
        <p:spPr>
          <a:xfrm>
            <a:off x="9415215" y="3758439"/>
            <a:ext cx="230718" cy="251693"/>
          </a:xfrm>
          <a:custGeom>
            <a:avLst/>
            <a:gdLst>
              <a:gd name="connsiteX0" fmla="*/ 106037 w 230718"/>
              <a:gd name="connsiteY0" fmla="*/ 251694 h 251693"/>
              <a:gd name="connsiteX1" fmla="*/ 0 w 230718"/>
              <a:gd name="connsiteY1" fmla="*/ 251694 h 251693"/>
              <a:gd name="connsiteX2" fmla="*/ 123516 w 230718"/>
              <a:gd name="connsiteY2" fmla="*/ 127012 h 251693"/>
              <a:gd name="connsiteX3" fmla="*/ 0 w 230718"/>
              <a:gd name="connsiteY3" fmla="*/ 0 h 251693"/>
              <a:gd name="connsiteX4" fmla="*/ 108368 w 230718"/>
              <a:gd name="connsiteY4" fmla="*/ 0 h 251693"/>
              <a:gd name="connsiteX5" fmla="*/ 230719 w 230718"/>
              <a:gd name="connsiteY5" fmla="*/ 123516 h 251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1693">
                <a:moveTo>
                  <a:pt x="106037" y="251694"/>
                </a:moveTo>
                <a:lnTo>
                  <a:pt x="0" y="251694"/>
                </a:lnTo>
                <a:lnTo>
                  <a:pt x="123516" y="127012"/>
                </a:lnTo>
                <a:lnTo>
                  <a:pt x="0" y="0"/>
                </a:lnTo>
                <a:lnTo>
                  <a:pt x="108368" y="0"/>
                </a:lnTo>
                <a:lnTo>
                  <a:pt x="230719" y="123516"/>
                </a:lnTo>
                <a:close/>
              </a:path>
            </a:pathLst>
          </a:custGeom>
          <a:solidFill>
            <a:srgbClr val="EEF2F5"/>
          </a:solidFill>
          <a:ln w="11643" cap="flat">
            <a:noFill/>
            <a:prstDash val="solid"/>
            <a:miter/>
          </a:ln>
        </p:spPr>
        <p:txBody>
          <a:bodyPr rtlCol="0" anchor="ctr"/>
          <a:lstStyle/>
          <a:p>
            <a:endParaRPr lang="de-DE"/>
          </a:p>
        </p:txBody>
      </p:sp>
      <p:sp>
        <p:nvSpPr>
          <p:cNvPr id="115" name="Freihandform: Form 114">
            <a:extLst>
              <a:ext uri="{FF2B5EF4-FFF2-40B4-BE49-F238E27FC236}">
                <a16:creationId xmlns:a16="http://schemas.microsoft.com/office/drawing/2014/main" id="{A88CE84F-0A79-46B8-839D-DEE0DC50B30B}"/>
              </a:ext>
            </a:extLst>
          </p:cNvPr>
          <p:cNvSpPr/>
          <p:nvPr/>
        </p:nvSpPr>
        <p:spPr>
          <a:xfrm>
            <a:off x="9415215" y="4113840"/>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5847"/>
                </a:lnTo>
                <a:lnTo>
                  <a:pt x="0" y="0"/>
                </a:lnTo>
                <a:lnTo>
                  <a:pt x="108368" y="0"/>
                </a:lnTo>
                <a:lnTo>
                  <a:pt x="230719" y="123516"/>
                </a:lnTo>
                <a:close/>
              </a:path>
            </a:pathLst>
          </a:custGeom>
          <a:solidFill>
            <a:srgbClr val="EEF2F5"/>
          </a:solidFill>
          <a:ln w="11643" cap="flat">
            <a:noFill/>
            <a:prstDash val="solid"/>
            <a:miter/>
          </a:ln>
        </p:spPr>
        <p:txBody>
          <a:bodyPr rtlCol="0" anchor="ctr"/>
          <a:lstStyle/>
          <a:p>
            <a:endParaRPr lang="de-DE"/>
          </a:p>
        </p:txBody>
      </p:sp>
      <p:sp>
        <p:nvSpPr>
          <p:cNvPr id="131" name="Freihandform: Form 130">
            <a:extLst>
              <a:ext uri="{FF2B5EF4-FFF2-40B4-BE49-F238E27FC236}">
                <a16:creationId xmlns:a16="http://schemas.microsoft.com/office/drawing/2014/main" id="{F56B8540-4A40-448B-96CE-F13FEB89FE24}"/>
              </a:ext>
            </a:extLst>
          </p:cNvPr>
          <p:cNvSpPr/>
          <p:nvPr/>
        </p:nvSpPr>
        <p:spPr>
          <a:xfrm>
            <a:off x="9415215" y="4469240"/>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2351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5847"/>
                </a:lnTo>
                <a:lnTo>
                  <a:pt x="0" y="0"/>
                </a:lnTo>
                <a:lnTo>
                  <a:pt x="108368" y="0"/>
                </a:lnTo>
                <a:lnTo>
                  <a:pt x="230719" y="122351"/>
                </a:lnTo>
                <a:close/>
              </a:path>
            </a:pathLst>
          </a:custGeom>
          <a:solidFill>
            <a:srgbClr val="EEF2F5"/>
          </a:solidFill>
          <a:ln w="11643" cap="flat">
            <a:noFill/>
            <a:prstDash val="solid"/>
            <a:miter/>
          </a:ln>
        </p:spPr>
        <p:txBody>
          <a:bodyPr rtlCol="0" anchor="ctr"/>
          <a:lstStyle/>
          <a:p>
            <a:endParaRPr lang="de-DE"/>
          </a:p>
        </p:txBody>
      </p:sp>
      <p:sp>
        <p:nvSpPr>
          <p:cNvPr id="148" name="Freihandform: Form 147">
            <a:extLst>
              <a:ext uri="{FF2B5EF4-FFF2-40B4-BE49-F238E27FC236}">
                <a16:creationId xmlns:a16="http://schemas.microsoft.com/office/drawing/2014/main" id="{FA4D92A2-824B-4123-BA21-136199CED582}"/>
              </a:ext>
            </a:extLst>
          </p:cNvPr>
          <p:cNvSpPr/>
          <p:nvPr/>
        </p:nvSpPr>
        <p:spPr>
          <a:xfrm>
            <a:off x="9415215" y="4823475"/>
            <a:ext cx="230718" cy="250528"/>
          </a:xfrm>
          <a:custGeom>
            <a:avLst/>
            <a:gdLst>
              <a:gd name="connsiteX0" fmla="*/ 106037 w 230718"/>
              <a:gd name="connsiteY0" fmla="*/ 250528 h 250528"/>
              <a:gd name="connsiteX1" fmla="*/ 0 w 230718"/>
              <a:gd name="connsiteY1" fmla="*/ 250528 h 250528"/>
              <a:gd name="connsiteX2" fmla="*/ 123516 w 230718"/>
              <a:gd name="connsiteY2" fmla="*/ 127012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7012"/>
                </a:lnTo>
                <a:lnTo>
                  <a:pt x="0" y="0"/>
                </a:lnTo>
                <a:lnTo>
                  <a:pt x="108368" y="0"/>
                </a:lnTo>
                <a:lnTo>
                  <a:pt x="230719" y="123516"/>
                </a:lnTo>
                <a:close/>
              </a:path>
            </a:pathLst>
          </a:custGeom>
          <a:solidFill>
            <a:srgbClr val="EEF2F5"/>
          </a:solidFill>
          <a:ln w="11643" cap="flat">
            <a:noFill/>
            <a:prstDash val="solid"/>
            <a:miter/>
          </a:ln>
        </p:spPr>
        <p:txBody>
          <a:bodyPr rtlCol="0" anchor="ctr"/>
          <a:lstStyle/>
          <a:p>
            <a:endParaRPr lang="de-DE"/>
          </a:p>
        </p:txBody>
      </p:sp>
      <p:sp>
        <p:nvSpPr>
          <p:cNvPr id="165" name="Freihandform: Form 164">
            <a:extLst>
              <a:ext uri="{FF2B5EF4-FFF2-40B4-BE49-F238E27FC236}">
                <a16:creationId xmlns:a16="http://schemas.microsoft.com/office/drawing/2014/main" id="{B480051A-E4BB-4D8D-9463-F9DC0CB12BA8}"/>
              </a:ext>
            </a:extLst>
          </p:cNvPr>
          <p:cNvSpPr/>
          <p:nvPr/>
        </p:nvSpPr>
        <p:spPr>
          <a:xfrm>
            <a:off x="9415215" y="5178876"/>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2351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5847"/>
                </a:lnTo>
                <a:lnTo>
                  <a:pt x="0" y="0"/>
                </a:lnTo>
                <a:lnTo>
                  <a:pt x="108368" y="0"/>
                </a:lnTo>
                <a:lnTo>
                  <a:pt x="230719" y="122351"/>
                </a:lnTo>
                <a:close/>
              </a:path>
            </a:pathLst>
          </a:custGeom>
          <a:solidFill>
            <a:srgbClr val="EEF2F5"/>
          </a:solidFill>
          <a:ln w="11643" cap="flat">
            <a:noFill/>
            <a:prstDash val="solid"/>
            <a:miter/>
          </a:ln>
        </p:spPr>
        <p:txBody>
          <a:bodyPr rtlCol="0" anchor="ctr"/>
          <a:lstStyle/>
          <a:p>
            <a:endParaRPr lang="de-DE"/>
          </a:p>
        </p:txBody>
      </p:sp>
      <p:sp>
        <p:nvSpPr>
          <p:cNvPr id="182" name="Freihandform: Form 181">
            <a:extLst>
              <a:ext uri="{FF2B5EF4-FFF2-40B4-BE49-F238E27FC236}">
                <a16:creationId xmlns:a16="http://schemas.microsoft.com/office/drawing/2014/main" id="{8B9C7922-A46C-4300-8536-75C60F1BDA2A}"/>
              </a:ext>
            </a:extLst>
          </p:cNvPr>
          <p:cNvSpPr/>
          <p:nvPr/>
        </p:nvSpPr>
        <p:spPr>
          <a:xfrm>
            <a:off x="9415215" y="5533111"/>
            <a:ext cx="230718" cy="250528"/>
          </a:xfrm>
          <a:custGeom>
            <a:avLst/>
            <a:gdLst>
              <a:gd name="connsiteX0" fmla="*/ 106037 w 230718"/>
              <a:gd name="connsiteY0" fmla="*/ 250528 h 250528"/>
              <a:gd name="connsiteX1" fmla="*/ 0 w 230718"/>
              <a:gd name="connsiteY1" fmla="*/ 250528 h 250528"/>
              <a:gd name="connsiteX2" fmla="*/ 123516 w 230718"/>
              <a:gd name="connsiteY2" fmla="*/ 127012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7012"/>
                </a:lnTo>
                <a:lnTo>
                  <a:pt x="0" y="0"/>
                </a:lnTo>
                <a:lnTo>
                  <a:pt x="108368" y="0"/>
                </a:lnTo>
                <a:lnTo>
                  <a:pt x="230719" y="123516"/>
                </a:lnTo>
                <a:close/>
              </a:path>
            </a:pathLst>
          </a:custGeom>
          <a:solidFill>
            <a:srgbClr val="EEF2F5"/>
          </a:solidFill>
          <a:ln w="11643" cap="flat">
            <a:noFill/>
            <a:prstDash val="solid"/>
            <a:miter/>
          </a:ln>
        </p:spPr>
        <p:txBody>
          <a:bodyPr rtlCol="0" anchor="ctr"/>
          <a:lstStyle/>
          <a:p>
            <a:endParaRPr lang="de-DE"/>
          </a:p>
        </p:txBody>
      </p:sp>
      <p:sp>
        <p:nvSpPr>
          <p:cNvPr id="199" name="Freihandform: Form 198">
            <a:extLst>
              <a:ext uri="{FF2B5EF4-FFF2-40B4-BE49-F238E27FC236}">
                <a16:creationId xmlns:a16="http://schemas.microsoft.com/office/drawing/2014/main" id="{808E1183-99E4-4B7F-B544-06366CD89D96}"/>
              </a:ext>
            </a:extLst>
          </p:cNvPr>
          <p:cNvSpPr/>
          <p:nvPr/>
        </p:nvSpPr>
        <p:spPr>
          <a:xfrm>
            <a:off x="9415215" y="5888512"/>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2351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5847"/>
                </a:lnTo>
                <a:lnTo>
                  <a:pt x="0" y="0"/>
                </a:lnTo>
                <a:lnTo>
                  <a:pt x="108368" y="0"/>
                </a:lnTo>
                <a:lnTo>
                  <a:pt x="230719" y="122351"/>
                </a:lnTo>
                <a:close/>
              </a:path>
            </a:pathLst>
          </a:custGeom>
          <a:solidFill>
            <a:srgbClr val="EEF2F5"/>
          </a:solidFill>
          <a:ln w="11643" cap="flat">
            <a:noFill/>
            <a:prstDash val="solid"/>
            <a:miter/>
          </a:ln>
        </p:spPr>
        <p:txBody>
          <a:bodyPr rtlCol="0" anchor="ctr"/>
          <a:lstStyle/>
          <a:p>
            <a:endParaRPr lang="de-DE"/>
          </a:p>
        </p:txBody>
      </p:sp>
      <p:sp>
        <p:nvSpPr>
          <p:cNvPr id="216" name="Freihandform: Form 215">
            <a:extLst>
              <a:ext uri="{FF2B5EF4-FFF2-40B4-BE49-F238E27FC236}">
                <a16:creationId xmlns:a16="http://schemas.microsoft.com/office/drawing/2014/main" id="{CD034923-4C0A-4423-8672-AB74CD3F1B7B}"/>
              </a:ext>
            </a:extLst>
          </p:cNvPr>
          <p:cNvSpPr/>
          <p:nvPr/>
        </p:nvSpPr>
        <p:spPr>
          <a:xfrm>
            <a:off x="9415215" y="6242748"/>
            <a:ext cx="230718" cy="250528"/>
          </a:xfrm>
          <a:custGeom>
            <a:avLst/>
            <a:gdLst>
              <a:gd name="connsiteX0" fmla="*/ 106037 w 230718"/>
              <a:gd name="connsiteY0" fmla="*/ 250528 h 250528"/>
              <a:gd name="connsiteX1" fmla="*/ 0 w 230718"/>
              <a:gd name="connsiteY1" fmla="*/ 250528 h 250528"/>
              <a:gd name="connsiteX2" fmla="*/ 123516 w 230718"/>
              <a:gd name="connsiteY2" fmla="*/ 127012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7012"/>
                </a:lnTo>
                <a:lnTo>
                  <a:pt x="0" y="0"/>
                </a:lnTo>
                <a:lnTo>
                  <a:pt x="108368" y="0"/>
                </a:lnTo>
                <a:lnTo>
                  <a:pt x="230719" y="123516"/>
                </a:lnTo>
                <a:close/>
              </a:path>
            </a:pathLst>
          </a:custGeom>
          <a:solidFill>
            <a:srgbClr val="EEF2F5"/>
          </a:solidFill>
          <a:ln w="11643" cap="flat">
            <a:noFill/>
            <a:prstDash val="solid"/>
            <a:miter/>
          </a:ln>
        </p:spPr>
        <p:txBody>
          <a:bodyPr rtlCol="0" anchor="ctr"/>
          <a:lstStyle/>
          <a:p>
            <a:endParaRPr lang="de-DE"/>
          </a:p>
        </p:txBody>
      </p:sp>
      <p:sp>
        <p:nvSpPr>
          <p:cNvPr id="232" name="Freihandform: Form 231">
            <a:extLst>
              <a:ext uri="{FF2B5EF4-FFF2-40B4-BE49-F238E27FC236}">
                <a16:creationId xmlns:a16="http://schemas.microsoft.com/office/drawing/2014/main" id="{B9006F61-C8F9-435F-8E25-867EF66AB2C0}"/>
              </a:ext>
            </a:extLst>
          </p:cNvPr>
          <p:cNvSpPr/>
          <p:nvPr/>
        </p:nvSpPr>
        <p:spPr>
          <a:xfrm>
            <a:off x="9415215" y="6598148"/>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2351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5847"/>
                </a:lnTo>
                <a:lnTo>
                  <a:pt x="0" y="0"/>
                </a:lnTo>
                <a:lnTo>
                  <a:pt x="108368" y="0"/>
                </a:lnTo>
                <a:lnTo>
                  <a:pt x="230719" y="122351"/>
                </a:lnTo>
                <a:close/>
              </a:path>
            </a:pathLst>
          </a:custGeom>
          <a:solidFill>
            <a:srgbClr val="EEF2F5"/>
          </a:solidFill>
          <a:ln w="11643" cap="flat">
            <a:noFill/>
            <a:prstDash val="solid"/>
            <a:miter/>
          </a:ln>
        </p:spPr>
        <p:txBody>
          <a:bodyPr rtlCol="0" anchor="ctr"/>
          <a:lstStyle/>
          <a:p>
            <a:endParaRPr lang="de-DE"/>
          </a:p>
        </p:txBody>
      </p:sp>
      <p:sp>
        <p:nvSpPr>
          <p:cNvPr id="21" name="Freihandform: Form 20">
            <a:extLst>
              <a:ext uri="{FF2B5EF4-FFF2-40B4-BE49-F238E27FC236}">
                <a16:creationId xmlns:a16="http://schemas.microsoft.com/office/drawing/2014/main" id="{FA010AB3-93D2-478F-82A2-79D3EAB3E973}"/>
              </a:ext>
            </a:extLst>
          </p:cNvPr>
          <p:cNvSpPr/>
          <p:nvPr/>
        </p:nvSpPr>
        <p:spPr>
          <a:xfrm>
            <a:off x="9761293" y="1975610"/>
            <a:ext cx="248198" cy="269172"/>
          </a:xfrm>
          <a:custGeom>
            <a:avLst/>
            <a:gdLst>
              <a:gd name="connsiteX0" fmla="*/ 114195 w 248198"/>
              <a:gd name="connsiteY0" fmla="*/ 269172 h 269172"/>
              <a:gd name="connsiteX1" fmla="*/ 0 w 248198"/>
              <a:gd name="connsiteY1" fmla="*/ 269172 h 269172"/>
              <a:gd name="connsiteX2" fmla="*/ 132838 w 248198"/>
              <a:gd name="connsiteY2" fmla="*/ 135169 h 269172"/>
              <a:gd name="connsiteX3" fmla="*/ 0 w 248198"/>
              <a:gd name="connsiteY3" fmla="*/ 0 h 269172"/>
              <a:gd name="connsiteX4" fmla="*/ 116525 w 248198"/>
              <a:gd name="connsiteY4" fmla="*/ 0 h 269172"/>
              <a:gd name="connsiteX5" fmla="*/ 248198 w 248198"/>
              <a:gd name="connsiteY5" fmla="*/ 131673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endParaRPr lang="de-DE"/>
          </a:p>
        </p:txBody>
      </p:sp>
      <p:sp>
        <p:nvSpPr>
          <p:cNvPr id="36" name="Freihandform: Form 35">
            <a:extLst>
              <a:ext uri="{FF2B5EF4-FFF2-40B4-BE49-F238E27FC236}">
                <a16:creationId xmlns:a16="http://schemas.microsoft.com/office/drawing/2014/main" id="{E7957182-0D78-447E-AD11-155CFFA4EFCF}"/>
              </a:ext>
            </a:extLst>
          </p:cNvPr>
          <p:cNvSpPr/>
          <p:nvPr/>
        </p:nvSpPr>
        <p:spPr>
          <a:xfrm>
            <a:off x="9761293" y="2331010"/>
            <a:ext cx="248198" cy="268007"/>
          </a:xfrm>
          <a:custGeom>
            <a:avLst/>
            <a:gdLst>
              <a:gd name="connsiteX0" fmla="*/ 114195 w 248198"/>
              <a:gd name="connsiteY0" fmla="*/ 268007 h 268007"/>
              <a:gd name="connsiteX1" fmla="*/ 0 w 248198"/>
              <a:gd name="connsiteY1" fmla="*/ 268007 h 268007"/>
              <a:gd name="connsiteX2" fmla="*/ 132838 w 248198"/>
              <a:gd name="connsiteY2" fmla="*/ 135169 h 268007"/>
              <a:gd name="connsiteX3" fmla="*/ 0 w 248198"/>
              <a:gd name="connsiteY3" fmla="*/ 0 h 268007"/>
              <a:gd name="connsiteX4" fmla="*/ 116525 w 248198"/>
              <a:gd name="connsiteY4" fmla="*/ 0 h 268007"/>
              <a:gd name="connsiteX5" fmla="*/ 248198 w 248198"/>
              <a:gd name="connsiteY5" fmla="*/ 131673 h 268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8007">
                <a:moveTo>
                  <a:pt x="114195" y="268007"/>
                </a:moveTo>
                <a:lnTo>
                  <a:pt x="0" y="268007"/>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endParaRPr lang="de-DE"/>
          </a:p>
        </p:txBody>
      </p:sp>
      <p:sp>
        <p:nvSpPr>
          <p:cNvPr id="52" name="Freihandform: Form 51">
            <a:extLst>
              <a:ext uri="{FF2B5EF4-FFF2-40B4-BE49-F238E27FC236}">
                <a16:creationId xmlns:a16="http://schemas.microsoft.com/office/drawing/2014/main" id="{D00B278C-4E10-45E8-A202-B55CBB4B885E}"/>
              </a:ext>
            </a:extLst>
          </p:cNvPr>
          <p:cNvSpPr/>
          <p:nvPr/>
        </p:nvSpPr>
        <p:spPr>
          <a:xfrm>
            <a:off x="9761293" y="2685246"/>
            <a:ext cx="248198" cy="269172"/>
          </a:xfrm>
          <a:custGeom>
            <a:avLst/>
            <a:gdLst>
              <a:gd name="connsiteX0" fmla="*/ 114195 w 248198"/>
              <a:gd name="connsiteY0" fmla="*/ 269172 h 269172"/>
              <a:gd name="connsiteX1" fmla="*/ 0 w 248198"/>
              <a:gd name="connsiteY1" fmla="*/ 269172 h 269172"/>
              <a:gd name="connsiteX2" fmla="*/ 132838 w 248198"/>
              <a:gd name="connsiteY2" fmla="*/ 135169 h 269172"/>
              <a:gd name="connsiteX3" fmla="*/ 0 w 248198"/>
              <a:gd name="connsiteY3" fmla="*/ 0 h 269172"/>
              <a:gd name="connsiteX4" fmla="*/ 116525 w 248198"/>
              <a:gd name="connsiteY4" fmla="*/ 0 h 269172"/>
              <a:gd name="connsiteX5" fmla="*/ 248198 w 248198"/>
              <a:gd name="connsiteY5" fmla="*/ 131673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endParaRPr lang="de-DE"/>
          </a:p>
        </p:txBody>
      </p:sp>
      <p:sp>
        <p:nvSpPr>
          <p:cNvPr id="68" name="Freihandform: Form 67">
            <a:extLst>
              <a:ext uri="{FF2B5EF4-FFF2-40B4-BE49-F238E27FC236}">
                <a16:creationId xmlns:a16="http://schemas.microsoft.com/office/drawing/2014/main" id="{0496EBBE-CFB1-46AA-A6F5-690502856668}"/>
              </a:ext>
            </a:extLst>
          </p:cNvPr>
          <p:cNvSpPr/>
          <p:nvPr/>
        </p:nvSpPr>
        <p:spPr>
          <a:xfrm>
            <a:off x="9761293" y="3040646"/>
            <a:ext cx="248198" cy="268007"/>
          </a:xfrm>
          <a:custGeom>
            <a:avLst/>
            <a:gdLst>
              <a:gd name="connsiteX0" fmla="*/ 114195 w 248198"/>
              <a:gd name="connsiteY0" fmla="*/ 268007 h 268007"/>
              <a:gd name="connsiteX1" fmla="*/ 0 w 248198"/>
              <a:gd name="connsiteY1" fmla="*/ 268007 h 268007"/>
              <a:gd name="connsiteX2" fmla="*/ 132838 w 248198"/>
              <a:gd name="connsiteY2" fmla="*/ 135169 h 268007"/>
              <a:gd name="connsiteX3" fmla="*/ 0 w 248198"/>
              <a:gd name="connsiteY3" fmla="*/ 0 h 268007"/>
              <a:gd name="connsiteX4" fmla="*/ 116525 w 248198"/>
              <a:gd name="connsiteY4" fmla="*/ 0 h 268007"/>
              <a:gd name="connsiteX5" fmla="*/ 248198 w 248198"/>
              <a:gd name="connsiteY5" fmla="*/ 131673 h 268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8007">
                <a:moveTo>
                  <a:pt x="114195" y="268007"/>
                </a:moveTo>
                <a:lnTo>
                  <a:pt x="0" y="268007"/>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endParaRPr lang="de-DE"/>
          </a:p>
        </p:txBody>
      </p:sp>
      <p:sp>
        <p:nvSpPr>
          <p:cNvPr id="84" name="Freihandform: Form 83">
            <a:extLst>
              <a:ext uri="{FF2B5EF4-FFF2-40B4-BE49-F238E27FC236}">
                <a16:creationId xmlns:a16="http://schemas.microsoft.com/office/drawing/2014/main" id="{A40B40D6-E2B0-405B-8866-4C365074F335}"/>
              </a:ext>
            </a:extLst>
          </p:cNvPr>
          <p:cNvSpPr/>
          <p:nvPr/>
        </p:nvSpPr>
        <p:spPr>
          <a:xfrm>
            <a:off x="9761293" y="3394882"/>
            <a:ext cx="248198" cy="269172"/>
          </a:xfrm>
          <a:custGeom>
            <a:avLst/>
            <a:gdLst>
              <a:gd name="connsiteX0" fmla="*/ 114195 w 248198"/>
              <a:gd name="connsiteY0" fmla="*/ 269172 h 269172"/>
              <a:gd name="connsiteX1" fmla="*/ 0 w 248198"/>
              <a:gd name="connsiteY1" fmla="*/ 269172 h 269172"/>
              <a:gd name="connsiteX2" fmla="*/ 132838 w 248198"/>
              <a:gd name="connsiteY2" fmla="*/ 135169 h 269172"/>
              <a:gd name="connsiteX3" fmla="*/ 0 w 248198"/>
              <a:gd name="connsiteY3" fmla="*/ 0 h 269172"/>
              <a:gd name="connsiteX4" fmla="*/ 116525 w 248198"/>
              <a:gd name="connsiteY4" fmla="*/ 0 h 269172"/>
              <a:gd name="connsiteX5" fmla="*/ 248198 w 248198"/>
              <a:gd name="connsiteY5" fmla="*/ 131673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endParaRPr lang="de-DE"/>
          </a:p>
        </p:txBody>
      </p:sp>
      <p:sp>
        <p:nvSpPr>
          <p:cNvPr id="100" name="Freihandform: Form 99">
            <a:extLst>
              <a:ext uri="{FF2B5EF4-FFF2-40B4-BE49-F238E27FC236}">
                <a16:creationId xmlns:a16="http://schemas.microsoft.com/office/drawing/2014/main" id="{B976F48C-00EC-49CD-AA95-7B3C97644278}"/>
              </a:ext>
            </a:extLst>
          </p:cNvPr>
          <p:cNvSpPr/>
          <p:nvPr/>
        </p:nvSpPr>
        <p:spPr>
          <a:xfrm>
            <a:off x="9761293" y="3750282"/>
            <a:ext cx="248198" cy="268007"/>
          </a:xfrm>
          <a:custGeom>
            <a:avLst/>
            <a:gdLst>
              <a:gd name="connsiteX0" fmla="*/ 114195 w 248198"/>
              <a:gd name="connsiteY0" fmla="*/ 268007 h 268007"/>
              <a:gd name="connsiteX1" fmla="*/ 0 w 248198"/>
              <a:gd name="connsiteY1" fmla="*/ 268007 h 268007"/>
              <a:gd name="connsiteX2" fmla="*/ 132838 w 248198"/>
              <a:gd name="connsiteY2" fmla="*/ 135169 h 268007"/>
              <a:gd name="connsiteX3" fmla="*/ 0 w 248198"/>
              <a:gd name="connsiteY3" fmla="*/ 0 h 268007"/>
              <a:gd name="connsiteX4" fmla="*/ 116525 w 248198"/>
              <a:gd name="connsiteY4" fmla="*/ 0 h 268007"/>
              <a:gd name="connsiteX5" fmla="*/ 248198 w 248198"/>
              <a:gd name="connsiteY5" fmla="*/ 131673 h 268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8007">
                <a:moveTo>
                  <a:pt x="114195" y="268007"/>
                </a:moveTo>
                <a:lnTo>
                  <a:pt x="0" y="268007"/>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endParaRPr lang="de-DE"/>
          </a:p>
        </p:txBody>
      </p:sp>
      <p:sp>
        <p:nvSpPr>
          <p:cNvPr id="116" name="Freihandform: Form 115">
            <a:extLst>
              <a:ext uri="{FF2B5EF4-FFF2-40B4-BE49-F238E27FC236}">
                <a16:creationId xmlns:a16="http://schemas.microsoft.com/office/drawing/2014/main" id="{DFC41532-B3AB-4B18-A81F-7D2CA52826B2}"/>
              </a:ext>
            </a:extLst>
          </p:cNvPr>
          <p:cNvSpPr/>
          <p:nvPr/>
        </p:nvSpPr>
        <p:spPr>
          <a:xfrm>
            <a:off x="9761293" y="4104518"/>
            <a:ext cx="248198" cy="269172"/>
          </a:xfrm>
          <a:custGeom>
            <a:avLst/>
            <a:gdLst>
              <a:gd name="connsiteX0" fmla="*/ 114195 w 248198"/>
              <a:gd name="connsiteY0" fmla="*/ 269172 h 269172"/>
              <a:gd name="connsiteX1" fmla="*/ 0 w 248198"/>
              <a:gd name="connsiteY1" fmla="*/ 269172 h 269172"/>
              <a:gd name="connsiteX2" fmla="*/ 132838 w 248198"/>
              <a:gd name="connsiteY2" fmla="*/ 136334 h 269172"/>
              <a:gd name="connsiteX3" fmla="*/ 0 w 248198"/>
              <a:gd name="connsiteY3" fmla="*/ 0 h 269172"/>
              <a:gd name="connsiteX4" fmla="*/ 116525 w 248198"/>
              <a:gd name="connsiteY4" fmla="*/ 0 h 269172"/>
              <a:gd name="connsiteX5" fmla="*/ 248198 w 248198"/>
              <a:gd name="connsiteY5" fmla="*/ 132838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6334"/>
                </a:lnTo>
                <a:lnTo>
                  <a:pt x="0" y="0"/>
                </a:lnTo>
                <a:lnTo>
                  <a:pt x="116525" y="0"/>
                </a:lnTo>
                <a:lnTo>
                  <a:pt x="248198" y="132838"/>
                </a:lnTo>
                <a:close/>
              </a:path>
            </a:pathLst>
          </a:custGeom>
          <a:solidFill>
            <a:srgbClr val="EEF2F5"/>
          </a:solidFill>
          <a:ln w="11643" cap="flat">
            <a:noFill/>
            <a:prstDash val="solid"/>
            <a:miter/>
          </a:ln>
        </p:spPr>
        <p:txBody>
          <a:bodyPr rtlCol="0" anchor="ctr"/>
          <a:lstStyle/>
          <a:p>
            <a:endParaRPr lang="de-DE"/>
          </a:p>
        </p:txBody>
      </p:sp>
      <p:sp>
        <p:nvSpPr>
          <p:cNvPr id="132" name="Freihandform: Form 131">
            <a:extLst>
              <a:ext uri="{FF2B5EF4-FFF2-40B4-BE49-F238E27FC236}">
                <a16:creationId xmlns:a16="http://schemas.microsoft.com/office/drawing/2014/main" id="{ADC8DAC7-8942-46EB-9D62-4E4C4662A9C7}"/>
              </a:ext>
            </a:extLst>
          </p:cNvPr>
          <p:cNvSpPr/>
          <p:nvPr/>
        </p:nvSpPr>
        <p:spPr>
          <a:xfrm>
            <a:off x="9761293" y="4459918"/>
            <a:ext cx="248198" cy="268007"/>
          </a:xfrm>
          <a:custGeom>
            <a:avLst/>
            <a:gdLst>
              <a:gd name="connsiteX0" fmla="*/ 114195 w 248198"/>
              <a:gd name="connsiteY0" fmla="*/ 268007 h 268007"/>
              <a:gd name="connsiteX1" fmla="*/ 0 w 248198"/>
              <a:gd name="connsiteY1" fmla="*/ 268007 h 268007"/>
              <a:gd name="connsiteX2" fmla="*/ 132838 w 248198"/>
              <a:gd name="connsiteY2" fmla="*/ 135169 h 268007"/>
              <a:gd name="connsiteX3" fmla="*/ 0 w 248198"/>
              <a:gd name="connsiteY3" fmla="*/ 0 h 268007"/>
              <a:gd name="connsiteX4" fmla="*/ 116525 w 248198"/>
              <a:gd name="connsiteY4" fmla="*/ 0 h 268007"/>
              <a:gd name="connsiteX5" fmla="*/ 248198 w 248198"/>
              <a:gd name="connsiteY5" fmla="*/ 131673 h 268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8007">
                <a:moveTo>
                  <a:pt x="114195" y="268007"/>
                </a:moveTo>
                <a:lnTo>
                  <a:pt x="0" y="268007"/>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endParaRPr lang="de-DE"/>
          </a:p>
        </p:txBody>
      </p:sp>
      <p:sp>
        <p:nvSpPr>
          <p:cNvPr id="149" name="Freihandform: Form 148">
            <a:extLst>
              <a:ext uri="{FF2B5EF4-FFF2-40B4-BE49-F238E27FC236}">
                <a16:creationId xmlns:a16="http://schemas.microsoft.com/office/drawing/2014/main" id="{83716F88-9554-4FCB-B2C3-8BD6193695E2}"/>
              </a:ext>
            </a:extLst>
          </p:cNvPr>
          <p:cNvSpPr/>
          <p:nvPr/>
        </p:nvSpPr>
        <p:spPr>
          <a:xfrm>
            <a:off x="9761293" y="4814154"/>
            <a:ext cx="248198" cy="269172"/>
          </a:xfrm>
          <a:custGeom>
            <a:avLst/>
            <a:gdLst>
              <a:gd name="connsiteX0" fmla="*/ 114195 w 248198"/>
              <a:gd name="connsiteY0" fmla="*/ 269172 h 269172"/>
              <a:gd name="connsiteX1" fmla="*/ 0 w 248198"/>
              <a:gd name="connsiteY1" fmla="*/ 269172 h 269172"/>
              <a:gd name="connsiteX2" fmla="*/ 132838 w 248198"/>
              <a:gd name="connsiteY2" fmla="*/ 136334 h 269172"/>
              <a:gd name="connsiteX3" fmla="*/ 0 w 248198"/>
              <a:gd name="connsiteY3" fmla="*/ 0 h 269172"/>
              <a:gd name="connsiteX4" fmla="*/ 116525 w 248198"/>
              <a:gd name="connsiteY4" fmla="*/ 0 h 269172"/>
              <a:gd name="connsiteX5" fmla="*/ 248198 w 248198"/>
              <a:gd name="connsiteY5" fmla="*/ 132838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6334"/>
                </a:lnTo>
                <a:lnTo>
                  <a:pt x="0" y="0"/>
                </a:lnTo>
                <a:lnTo>
                  <a:pt x="116525" y="0"/>
                </a:lnTo>
                <a:lnTo>
                  <a:pt x="248198" y="132838"/>
                </a:lnTo>
                <a:close/>
              </a:path>
            </a:pathLst>
          </a:custGeom>
          <a:solidFill>
            <a:srgbClr val="EEF2F5"/>
          </a:solidFill>
          <a:ln w="11643" cap="flat">
            <a:noFill/>
            <a:prstDash val="solid"/>
            <a:miter/>
          </a:ln>
        </p:spPr>
        <p:txBody>
          <a:bodyPr rtlCol="0" anchor="ctr"/>
          <a:lstStyle/>
          <a:p>
            <a:endParaRPr lang="de-DE"/>
          </a:p>
        </p:txBody>
      </p:sp>
      <p:sp>
        <p:nvSpPr>
          <p:cNvPr id="166" name="Freihandform: Form 165">
            <a:extLst>
              <a:ext uri="{FF2B5EF4-FFF2-40B4-BE49-F238E27FC236}">
                <a16:creationId xmlns:a16="http://schemas.microsoft.com/office/drawing/2014/main" id="{AEC95E7D-635D-425A-9F1A-DEBC1F5484DB}"/>
              </a:ext>
            </a:extLst>
          </p:cNvPr>
          <p:cNvSpPr/>
          <p:nvPr/>
        </p:nvSpPr>
        <p:spPr>
          <a:xfrm>
            <a:off x="9761293" y="5169554"/>
            <a:ext cx="248198" cy="268007"/>
          </a:xfrm>
          <a:custGeom>
            <a:avLst/>
            <a:gdLst>
              <a:gd name="connsiteX0" fmla="*/ 114195 w 248198"/>
              <a:gd name="connsiteY0" fmla="*/ 268007 h 268007"/>
              <a:gd name="connsiteX1" fmla="*/ 0 w 248198"/>
              <a:gd name="connsiteY1" fmla="*/ 268007 h 268007"/>
              <a:gd name="connsiteX2" fmla="*/ 132838 w 248198"/>
              <a:gd name="connsiteY2" fmla="*/ 135169 h 268007"/>
              <a:gd name="connsiteX3" fmla="*/ 0 w 248198"/>
              <a:gd name="connsiteY3" fmla="*/ 0 h 268007"/>
              <a:gd name="connsiteX4" fmla="*/ 116525 w 248198"/>
              <a:gd name="connsiteY4" fmla="*/ 0 h 268007"/>
              <a:gd name="connsiteX5" fmla="*/ 248198 w 248198"/>
              <a:gd name="connsiteY5" fmla="*/ 131673 h 268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8007">
                <a:moveTo>
                  <a:pt x="114195" y="268007"/>
                </a:moveTo>
                <a:lnTo>
                  <a:pt x="0" y="268007"/>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endParaRPr lang="de-DE"/>
          </a:p>
        </p:txBody>
      </p:sp>
      <p:sp>
        <p:nvSpPr>
          <p:cNvPr id="183" name="Freihandform: Form 182">
            <a:extLst>
              <a:ext uri="{FF2B5EF4-FFF2-40B4-BE49-F238E27FC236}">
                <a16:creationId xmlns:a16="http://schemas.microsoft.com/office/drawing/2014/main" id="{C1CCBBCB-A182-4421-8619-C206846375DB}"/>
              </a:ext>
            </a:extLst>
          </p:cNvPr>
          <p:cNvSpPr/>
          <p:nvPr/>
        </p:nvSpPr>
        <p:spPr>
          <a:xfrm>
            <a:off x="9761293" y="5523790"/>
            <a:ext cx="248198" cy="269172"/>
          </a:xfrm>
          <a:custGeom>
            <a:avLst/>
            <a:gdLst>
              <a:gd name="connsiteX0" fmla="*/ 114195 w 248198"/>
              <a:gd name="connsiteY0" fmla="*/ 269172 h 269172"/>
              <a:gd name="connsiteX1" fmla="*/ 0 w 248198"/>
              <a:gd name="connsiteY1" fmla="*/ 269172 h 269172"/>
              <a:gd name="connsiteX2" fmla="*/ 132838 w 248198"/>
              <a:gd name="connsiteY2" fmla="*/ 136334 h 269172"/>
              <a:gd name="connsiteX3" fmla="*/ 0 w 248198"/>
              <a:gd name="connsiteY3" fmla="*/ 0 h 269172"/>
              <a:gd name="connsiteX4" fmla="*/ 116525 w 248198"/>
              <a:gd name="connsiteY4" fmla="*/ 0 h 269172"/>
              <a:gd name="connsiteX5" fmla="*/ 248198 w 248198"/>
              <a:gd name="connsiteY5" fmla="*/ 132838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6334"/>
                </a:lnTo>
                <a:lnTo>
                  <a:pt x="0" y="0"/>
                </a:lnTo>
                <a:lnTo>
                  <a:pt x="116525" y="0"/>
                </a:lnTo>
                <a:lnTo>
                  <a:pt x="248198" y="132838"/>
                </a:lnTo>
                <a:close/>
              </a:path>
            </a:pathLst>
          </a:custGeom>
          <a:solidFill>
            <a:srgbClr val="EEF2F5"/>
          </a:solidFill>
          <a:ln w="11643" cap="flat">
            <a:noFill/>
            <a:prstDash val="solid"/>
            <a:miter/>
          </a:ln>
        </p:spPr>
        <p:txBody>
          <a:bodyPr rtlCol="0" anchor="ctr"/>
          <a:lstStyle/>
          <a:p>
            <a:endParaRPr lang="de-DE"/>
          </a:p>
        </p:txBody>
      </p:sp>
      <p:sp>
        <p:nvSpPr>
          <p:cNvPr id="200" name="Freihandform: Form 199">
            <a:extLst>
              <a:ext uri="{FF2B5EF4-FFF2-40B4-BE49-F238E27FC236}">
                <a16:creationId xmlns:a16="http://schemas.microsoft.com/office/drawing/2014/main" id="{D91A4514-348C-465D-A689-222304D82209}"/>
              </a:ext>
            </a:extLst>
          </p:cNvPr>
          <p:cNvSpPr/>
          <p:nvPr/>
        </p:nvSpPr>
        <p:spPr>
          <a:xfrm>
            <a:off x="9761293" y="5879190"/>
            <a:ext cx="248198" cy="269172"/>
          </a:xfrm>
          <a:custGeom>
            <a:avLst/>
            <a:gdLst>
              <a:gd name="connsiteX0" fmla="*/ 114195 w 248198"/>
              <a:gd name="connsiteY0" fmla="*/ 269172 h 269172"/>
              <a:gd name="connsiteX1" fmla="*/ 0 w 248198"/>
              <a:gd name="connsiteY1" fmla="*/ 269172 h 269172"/>
              <a:gd name="connsiteX2" fmla="*/ 132838 w 248198"/>
              <a:gd name="connsiteY2" fmla="*/ 135169 h 269172"/>
              <a:gd name="connsiteX3" fmla="*/ 0 w 248198"/>
              <a:gd name="connsiteY3" fmla="*/ 0 h 269172"/>
              <a:gd name="connsiteX4" fmla="*/ 116525 w 248198"/>
              <a:gd name="connsiteY4" fmla="*/ 0 h 269172"/>
              <a:gd name="connsiteX5" fmla="*/ 248198 w 248198"/>
              <a:gd name="connsiteY5" fmla="*/ 131673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endParaRPr lang="de-DE"/>
          </a:p>
        </p:txBody>
      </p:sp>
      <p:sp>
        <p:nvSpPr>
          <p:cNvPr id="217" name="Freihandform: Form 216">
            <a:extLst>
              <a:ext uri="{FF2B5EF4-FFF2-40B4-BE49-F238E27FC236}">
                <a16:creationId xmlns:a16="http://schemas.microsoft.com/office/drawing/2014/main" id="{1B4C065C-ED4E-40BF-AA0C-B75D23AF7B43}"/>
              </a:ext>
            </a:extLst>
          </p:cNvPr>
          <p:cNvSpPr/>
          <p:nvPr/>
        </p:nvSpPr>
        <p:spPr>
          <a:xfrm>
            <a:off x="9761293" y="6233426"/>
            <a:ext cx="248198" cy="269172"/>
          </a:xfrm>
          <a:custGeom>
            <a:avLst/>
            <a:gdLst>
              <a:gd name="connsiteX0" fmla="*/ 114195 w 248198"/>
              <a:gd name="connsiteY0" fmla="*/ 269172 h 269172"/>
              <a:gd name="connsiteX1" fmla="*/ 0 w 248198"/>
              <a:gd name="connsiteY1" fmla="*/ 269172 h 269172"/>
              <a:gd name="connsiteX2" fmla="*/ 132838 w 248198"/>
              <a:gd name="connsiteY2" fmla="*/ 136334 h 269172"/>
              <a:gd name="connsiteX3" fmla="*/ 0 w 248198"/>
              <a:gd name="connsiteY3" fmla="*/ 0 h 269172"/>
              <a:gd name="connsiteX4" fmla="*/ 116525 w 248198"/>
              <a:gd name="connsiteY4" fmla="*/ 0 h 269172"/>
              <a:gd name="connsiteX5" fmla="*/ 248198 w 248198"/>
              <a:gd name="connsiteY5" fmla="*/ 132838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6334"/>
                </a:lnTo>
                <a:lnTo>
                  <a:pt x="0" y="0"/>
                </a:lnTo>
                <a:lnTo>
                  <a:pt x="116525" y="0"/>
                </a:lnTo>
                <a:lnTo>
                  <a:pt x="248198" y="132838"/>
                </a:lnTo>
                <a:close/>
              </a:path>
            </a:pathLst>
          </a:custGeom>
          <a:solidFill>
            <a:srgbClr val="EEF2F5"/>
          </a:solidFill>
          <a:ln w="11643" cap="flat">
            <a:noFill/>
            <a:prstDash val="solid"/>
            <a:miter/>
          </a:ln>
        </p:spPr>
        <p:txBody>
          <a:bodyPr rtlCol="0" anchor="ctr"/>
          <a:lstStyle/>
          <a:p>
            <a:endParaRPr lang="de-DE"/>
          </a:p>
        </p:txBody>
      </p:sp>
      <p:sp>
        <p:nvSpPr>
          <p:cNvPr id="233" name="Freihandform: Form 232">
            <a:extLst>
              <a:ext uri="{FF2B5EF4-FFF2-40B4-BE49-F238E27FC236}">
                <a16:creationId xmlns:a16="http://schemas.microsoft.com/office/drawing/2014/main" id="{26A7552F-9339-4F13-B25C-D2F62499E1D6}"/>
              </a:ext>
            </a:extLst>
          </p:cNvPr>
          <p:cNvSpPr/>
          <p:nvPr/>
        </p:nvSpPr>
        <p:spPr>
          <a:xfrm>
            <a:off x="9761293" y="6588826"/>
            <a:ext cx="248198" cy="269172"/>
          </a:xfrm>
          <a:custGeom>
            <a:avLst/>
            <a:gdLst>
              <a:gd name="connsiteX0" fmla="*/ 114195 w 248198"/>
              <a:gd name="connsiteY0" fmla="*/ 269172 h 269172"/>
              <a:gd name="connsiteX1" fmla="*/ 0 w 248198"/>
              <a:gd name="connsiteY1" fmla="*/ 269172 h 269172"/>
              <a:gd name="connsiteX2" fmla="*/ 132838 w 248198"/>
              <a:gd name="connsiteY2" fmla="*/ 135169 h 269172"/>
              <a:gd name="connsiteX3" fmla="*/ 0 w 248198"/>
              <a:gd name="connsiteY3" fmla="*/ 0 h 269172"/>
              <a:gd name="connsiteX4" fmla="*/ 116525 w 248198"/>
              <a:gd name="connsiteY4" fmla="*/ 0 h 269172"/>
              <a:gd name="connsiteX5" fmla="*/ 248198 w 248198"/>
              <a:gd name="connsiteY5" fmla="*/ 131673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endParaRPr lang="de-DE"/>
          </a:p>
        </p:txBody>
      </p:sp>
      <p:sp>
        <p:nvSpPr>
          <p:cNvPr id="10" name="Textplatzhalter 9">
            <a:extLst>
              <a:ext uri="{FF2B5EF4-FFF2-40B4-BE49-F238E27FC236}">
                <a16:creationId xmlns:a16="http://schemas.microsoft.com/office/drawing/2014/main" id="{87105EF2-AC01-455D-9C26-5D6999587D6D}"/>
              </a:ext>
            </a:extLst>
          </p:cNvPr>
          <p:cNvSpPr>
            <a:spLocks noGrp="1"/>
          </p:cNvSpPr>
          <p:nvPr userDrawn="1">
            <p:ph type="body" sz="quarter" idx="11"/>
          </p:nvPr>
        </p:nvSpPr>
        <p:spPr>
          <a:xfrm>
            <a:off x="815951" y="1979612"/>
            <a:ext cx="10560096" cy="4338638"/>
          </a:xfrm>
          <a:prstGeom prst="rect">
            <a:avLst/>
          </a:prstGeom>
        </p:spPr>
        <p:txBody>
          <a:bodyPr>
            <a:normAutofit/>
          </a:bodyPr>
          <a:lstStyle>
            <a:lvl1pPr marL="266700" indent="-266700">
              <a:buSzPct val="120000"/>
              <a:buFontTx/>
              <a:buBlip>
                <a:blip r:embed="rId2"/>
              </a:buBlip>
              <a:defRPr sz="1800"/>
            </a:lvl1pPr>
            <a:lvl2pPr marL="630238" indent="-268288">
              <a:buSzPct val="120000"/>
              <a:buFontTx/>
              <a:buBlip>
                <a:blip r:embed="rId2"/>
              </a:buBlip>
              <a:defRPr sz="1800"/>
            </a:lvl2pPr>
            <a:lvl3pPr marL="990600" indent="-274638">
              <a:buSzPct val="120000"/>
              <a:buFontTx/>
              <a:buBlip>
                <a:blip r:embed="rId2"/>
              </a:buBlip>
              <a:defRPr sz="1800"/>
            </a:lvl3pPr>
            <a:lvl4pPr marL="1343025" indent="-263525">
              <a:buSzPct val="120000"/>
              <a:buFontTx/>
              <a:buBlip>
                <a:blip r:embed="rId2"/>
              </a:buBlip>
              <a:defRPr sz="1800"/>
            </a:lvl4pPr>
            <a:lvl5pPr marL="1704975" indent="-271463">
              <a:buSzPct val="120000"/>
              <a:buFontTx/>
              <a:buBlip>
                <a:blip r:embed="rId2"/>
              </a:buBlip>
              <a:defRPr sz="18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689824235"/>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8" dur="1000" decel="10000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000" fill="hold"/>
                                        <p:tgtEl>
                                          <p:spTgt spid="4"/>
                                        </p:tgtEl>
                                        <p:attrNameLst>
                                          <p:attrName>ppt_x</p:attrName>
                                        </p:attrNameLst>
                                      </p:cBhvr>
                                      <p:tavLst>
                                        <p:tav tm="0">
                                          <p:val>
                                            <p:strVal val="0-#ppt_w/2"/>
                                          </p:val>
                                        </p:tav>
                                        <p:tav tm="100000">
                                          <p:val>
                                            <p:strVal val="#ppt_x"/>
                                          </p:val>
                                        </p:tav>
                                      </p:tavLst>
                                    </p:anim>
                                    <p:anim calcmode="lin" valueType="num">
                                      <p:cBhvr additive="base">
                                        <p:cTn id="8" dur="1000" fill="hold"/>
                                        <p:tgtEl>
                                          <p:spTgt spid="4"/>
                                        </p:tgtEl>
                                        <p:attrNameLst>
                                          <p:attrName>ppt_y</p:attrName>
                                        </p:attrNameLst>
                                      </p:cBhvr>
                                      <p:tavLst>
                                        <p:tav tm="0">
                                          <p:val>
                                            <p:strVal val="#ppt_y"/>
                                          </p:val>
                                        </p:tav>
                                        <p:tav tm="100000">
                                          <p:val>
                                            <p:strVal val="#ppt_y"/>
                                          </p:val>
                                        </p:tav>
                                      </p:tavLst>
                                    </p:anim>
                                  </p:childTnLst>
                                </p:cTn>
                              </p:par>
                              <p:par>
                                <p:cTn id="9" presetID="2" presetClass="entr" presetSubtype="8" dur="1000" decel="100000" fill="hold" grpId="0" nodeType="withEffect">
                                  <p:stCondLst>
                                    <p:cond delay="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1000" fill="hold"/>
                                        <p:tgtEl>
                                          <p:spTgt spid="10"/>
                                        </p:tgtEl>
                                        <p:attrNameLst>
                                          <p:attrName>ppt_x</p:attrName>
                                        </p:attrNameLst>
                                      </p:cBhvr>
                                      <p:tavLst>
                                        <p:tav tm="0">
                                          <p:val>
                                            <p:strVal val="0-#ppt_w/2"/>
                                          </p:val>
                                        </p:tav>
                                        <p:tav tm="100000">
                                          <p:val>
                                            <p:strVal val="#ppt_x"/>
                                          </p:val>
                                        </p:tav>
                                      </p:tavLst>
                                    </p:anim>
                                    <p:anim calcmode="lin" valueType="num">
                                      <p:cBhvr additive="base">
                                        <p:cTn id="12" dur="1000" fill="hold"/>
                                        <p:tgtEl>
                                          <p:spTgt spid="10"/>
                                        </p:tgtEl>
                                        <p:attrNameLst>
                                          <p:attrName>ppt_y</p:attrName>
                                        </p:attrNameLst>
                                      </p:cBhvr>
                                      <p:tavLst>
                                        <p:tav tm="0">
                                          <p:val>
                                            <p:strVal val="#ppt_y"/>
                                          </p:val>
                                        </p:tav>
                                        <p:tav tm="100000">
                                          <p:val>
                                            <p:strVal val="#ppt_y"/>
                                          </p:val>
                                        </p:tav>
                                      </p:tavLst>
                                    </p:anim>
                                  </p:childTnLst>
                                </p:cTn>
                              </p:par>
                              <p:par>
                                <p:cTn id="13" presetID="26" presetClass="emph" presetSubtype="0" dur="2000" repeatCount="indefinite" fill="hold" grpId="0" nodeType="withEffect">
                                  <p:stCondLst>
                                    <p:cond delay="0"/>
                                  </p:stCondLst>
                                  <p:childTnLst>
                                    <p:animEffect transition="out" filter="fade">
                                      <p:cBhvr>
                                        <p:cTn id="14" dur="2000" tmFilter="0, 0; .2, .5; .8, .5; 1, 0"/>
                                        <p:tgtEl>
                                          <p:spTgt spid="5"/>
                                        </p:tgtEl>
                                      </p:cBhvr>
                                    </p:animEffect>
                                    <p:animScale>
                                      <p:cBhvr>
                                        <p:cTn id="15" dur="1000" autoRev="1" fill="hold"/>
                                        <p:tgtEl>
                                          <p:spTgt spid="5"/>
                                        </p:tgtEl>
                                      </p:cBhvr>
                                      <p:by x="105000" y="105000"/>
                                    </p:animScale>
                                  </p:childTnLst>
                                </p:cTn>
                              </p:par>
                              <p:par>
                                <p:cTn id="16" presetID="26" presetClass="emph" presetSubtype="0" dur="2000" repeatCount="indefinite" fill="hold" grpId="0" nodeType="withEffect">
                                  <p:stCondLst>
                                    <p:cond delay="0"/>
                                  </p:stCondLst>
                                  <p:childTnLst>
                                    <p:animEffect transition="out" filter="fade">
                                      <p:cBhvr>
                                        <p:cTn id="17" dur="2000" tmFilter="0, 0; .2, .5; .8, .5; 1, 0"/>
                                        <p:tgtEl>
                                          <p:spTgt spid="22"/>
                                        </p:tgtEl>
                                      </p:cBhvr>
                                    </p:animEffect>
                                    <p:animScale>
                                      <p:cBhvr>
                                        <p:cTn id="18" dur="1000" autoRev="1" fill="hold"/>
                                        <p:tgtEl>
                                          <p:spTgt spid="22"/>
                                        </p:tgtEl>
                                      </p:cBhvr>
                                      <p:by x="105000" y="105000"/>
                                    </p:animScale>
                                  </p:childTnLst>
                                </p:cTn>
                              </p:par>
                              <p:par>
                                <p:cTn id="19" presetID="26" presetClass="emph" presetSubtype="0" dur="2000" repeatCount="indefinite" fill="hold" grpId="0" nodeType="withEffect">
                                  <p:stCondLst>
                                    <p:cond delay="0"/>
                                  </p:stCondLst>
                                  <p:childTnLst>
                                    <p:animEffect transition="out" filter="fade">
                                      <p:cBhvr>
                                        <p:cTn id="20" dur="2000" tmFilter="0, 0; .2, .5; .8, .5; 1, 0"/>
                                        <p:tgtEl>
                                          <p:spTgt spid="38"/>
                                        </p:tgtEl>
                                      </p:cBhvr>
                                    </p:animEffect>
                                    <p:animScale>
                                      <p:cBhvr>
                                        <p:cTn id="21" dur="1000" autoRev="1" fill="hold"/>
                                        <p:tgtEl>
                                          <p:spTgt spid="38"/>
                                        </p:tgtEl>
                                      </p:cBhvr>
                                      <p:by x="105000" y="105000"/>
                                    </p:animScale>
                                  </p:childTnLst>
                                </p:cTn>
                              </p:par>
                              <p:par>
                                <p:cTn id="22" presetID="26" presetClass="emph" presetSubtype="0" dur="2000" repeatCount="indefinite" fill="hold" grpId="0" nodeType="withEffect">
                                  <p:stCondLst>
                                    <p:cond delay="0"/>
                                  </p:stCondLst>
                                  <p:childTnLst>
                                    <p:animEffect transition="out" filter="fade">
                                      <p:cBhvr>
                                        <p:cTn id="23" dur="2000" tmFilter="0, 0; .2, .5; .8, .5; 1, 0"/>
                                        <p:tgtEl>
                                          <p:spTgt spid="203"/>
                                        </p:tgtEl>
                                      </p:cBhvr>
                                    </p:animEffect>
                                    <p:animScale>
                                      <p:cBhvr>
                                        <p:cTn id="24" dur="1000" autoRev="1" fill="hold"/>
                                        <p:tgtEl>
                                          <p:spTgt spid="203"/>
                                        </p:tgtEl>
                                      </p:cBhvr>
                                      <p:by x="105000" y="105000"/>
                                    </p:animScale>
                                  </p:childTnLst>
                                </p:cTn>
                              </p:par>
                              <p:par>
                                <p:cTn id="25" presetID="26" presetClass="emph" presetSubtype="0" dur="2000" repeatCount="indefinite" fill="hold" grpId="0" nodeType="withEffect">
                                  <p:stCondLst>
                                    <p:cond delay="0"/>
                                  </p:stCondLst>
                                  <p:childTnLst>
                                    <p:animEffect transition="out" filter="fade">
                                      <p:cBhvr>
                                        <p:cTn id="26" dur="2000" tmFilter="0, 0; .2, .5; .8, .5; 1, 0"/>
                                        <p:tgtEl>
                                          <p:spTgt spid="219"/>
                                        </p:tgtEl>
                                      </p:cBhvr>
                                    </p:animEffect>
                                    <p:animScale>
                                      <p:cBhvr>
                                        <p:cTn id="27" dur="1000" autoRev="1" fill="hold"/>
                                        <p:tgtEl>
                                          <p:spTgt spid="219"/>
                                        </p:tgtEl>
                                      </p:cBhvr>
                                      <p:by x="105000" y="105000"/>
                                    </p:animScale>
                                  </p:childTnLst>
                                </p:cTn>
                              </p:par>
                              <p:par>
                                <p:cTn id="28" presetID="26" presetClass="emph" presetSubtype="0" dur="2000" repeatCount="indefinite" fill="hold" grpId="0" nodeType="withEffect">
                                  <p:stCondLst>
                                    <p:cond delay="250"/>
                                  </p:stCondLst>
                                  <p:childTnLst>
                                    <p:animEffect transition="out" filter="fade">
                                      <p:cBhvr>
                                        <p:cTn id="29" dur="2000" tmFilter="0, 0; .2, .5; .8, .5; 1, 0"/>
                                        <p:tgtEl>
                                          <p:spTgt spid="6"/>
                                        </p:tgtEl>
                                      </p:cBhvr>
                                    </p:animEffect>
                                    <p:animScale>
                                      <p:cBhvr>
                                        <p:cTn id="30" dur="1000" autoRev="1" fill="hold"/>
                                        <p:tgtEl>
                                          <p:spTgt spid="6"/>
                                        </p:tgtEl>
                                      </p:cBhvr>
                                      <p:by x="105000" y="105000"/>
                                    </p:animScale>
                                  </p:childTnLst>
                                </p:cTn>
                              </p:par>
                              <p:par>
                                <p:cTn id="31" presetID="26" presetClass="emph" presetSubtype="0" dur="2000" repeatCount="indefinite" fill="hold" grpId="0" nodeType="withEffect">
                                  <p:stCondLst>
                                    <p:cond delay="250"/>
                                  </p:stCondLst>
                                  <p:childTnLst>
                                    <p:animEffect transition="out" filter="fade">
                                      <p:cBhvr>
                                        <p:cTn id="32" dur="2000" tmFilter="0, 0; .2, .5; .8, .5; 1, 0"/>
                                        <p:tgtEl>
                                          <p:spTgt spid="23"/>
                                        </p:tgtEl>
                                      </p:cBhvr>
                                    </p:animEffect>
                                    <p:animScale>
                                      <p:cBhvr>
                                        <p:cTn id="33" dur="1000" autoRev="1" fill="hold"/>
                                        <p:tgtEl>
                                          <p:spTgt spid="23"/>
                                        </p:tgtEl>
                                      </p:cBhvr>
                                      <p:by x="105000" y="105000"/>
                                    </p:animScale>
                                  </p:childTnLst>
                                </p:cTn>
                              </p:par>
                              <p:par>
                                <p:cTn id="34" presetID="26" presetClass="emph" presetSubtype="0" dur="2000" repeatCount="indefinite" fill="hold" grpId="0" nodeType="withEffect">
                                  <p:stCondLst>
                                    <p:cond delay="250"/>
                                  </p:stCondLst>
                                  <p:childTnLst>
                                    <p:animEffect transition="out" filter="fade">
                                      <p:cBhvr>
                                        <p:cTn id="35" dur="2000" tmFilter="0, 0; .2, .5; .8, .5; 1, 0"/>
                                        <p:tgtEl>
                                          <p:spTgt spid="39"/>
                                        </p:tgtEl>
                                      </p:cBhvr>
                                    </p:animEffect>
                                    <p:animScale>
                                      <p:cBhvr>
                                        <p:cTn id="36" dur="1000" autoRev="1" fill="hold"/>
                                        <p:tgtEl>
                                          <p:spTgt spid="39"/>
                                        </p:tgtEl>
                                      </p:cBhvr>
                                      <p:by x="105000" y="105000"/>
                                    </p:animScale>
                                  </p:childTnLst>
                                </p:cTn>
                              </p:par>
                              <p:par>
                                <p:cTn id="37" presetID="26" presetClass="emph" presetSubtype="0" dur="2000" repeatCount="indefinite" fill="hold" grpId="0" nodeType="withEffect">
                                  <p:stCondLst>
                                    <p:cond delay="250"/>
                                  </p:stCondLst>
                                  <p:childTnLst>
                                    <p:animEffect transition="out" filter="fade">
                                      <p:cBhvr>
                                        <p:cTn id="38" dur="2000" tmFilter="0, 0; .2, .5; .8, .5; 1, 0"/>
                                        <p:tgtEl>
                                          <p:spTgt spid="55"/>
                                        </p:tgtEl>
                                      </p:cBhvr>
                                    </p:animEffect>
                                    <p:animScale>
                                      <p:cBhvr>
                                        <p:cTn id="39" dur="1000" autoRev="1" fill="hold"/>
                                        <p:tgtEl>
                                          <p:spTgt spid="55"/>
                                        </p:tgtEl>
                                      </p:cBhvr>
                                      <p:by x="105000" y="105000"/>
                                    </p:animScale>
                                  </p:childTnLst>
                                </p:cTn>
                              </p:par>
                              <p:par>
                                <p:cTn id="40" presetID="26" presetClass="emph" presetSubtype="0" dur="2000" repeatCount="indefinite" fill="hold" grpId="0" nodeType="withEffect">
                                  <p:stCondLst>
                                    <p:cond delay="250"/>
                                  </p:stCondLst>
                                  <p:childTnLst>
                                    <p:animEffect transition="out" filter="fade">
                                      <p:cBhvr>
                                        <p:cTn id="41" dur="2000" tmFilter="0, 0; .2, .5; .8, .5; 1, 0"/>
                                        <p:tgtEl>
                                          <p:spTgt spid="187"/>
                                        </p:tgtEl>
                                      </p:cBhvr>
                                    </p:animEffect>
                                    <p:animScale>
                                      <p:cBhvr>
                                        <p:cTn id="42" dur="1000" autoRev="1" fill="hold"/>
                                        <p:tgtEl>
                                          <p:spTgt spid="187"/>
                                        </p:tgtEl>
                                      </p:cBhvr>
                                      <p:by x="105000" y="105000"/>
                                    </p:animScale>
                                  </p:childTnLst>
                                </p:cTn>
                              </p:par>
                              <p:par>
                                <p:cTn id="43" presetID="26" presetClass="emph" presetSubtype="0" dur="2000" repeatCount="indefinite" fill="hold" grpId="0" nodeType="withEffect">
                                  <p:stCondLst>
                                    <p:cond delay="250"/>
                                  </p:stCondLst>
                                  <p:childTnLst>
                                    <p:animEffect transition="out" filter="fade">
                                      <p:cBhvr>
                                        <p:cTn id="44" dur="2000" tmFilter="0, 0; .2, .5; .8, .5; 1, 0"/>
                                        <p:tgtEl>
                                          <p:spTgt spid="204"/>
                                        </p:tgtEl>
                                      </p:cBhvr>
                                    </p:animEffect>
                                    <p:animScale>
                                      <p:cBhvr>
                                        <p:cTn id="45" dur="1000" autoRev="1" fill="hold"/>
                                        <p:tgtEl>
                                          <p:spTgt spid="204"/>
                                        </p:tgtEl>
                                      </p:cBhvr>
                                      <p:by x="105000" y="105000"/>
                                    </p:animScale>
                                  </p:childTnLst>
                                </p:cTn>
                              </p:par>
                              <p:par>
                                <p:cTn id="46" presetID="26" presetClass="emph" presetSubtype="0" dur="2000" repeatCount="indefinite" fill="hold" grpId="0" nodeType="withEffect">
                                  <p:stCondLst>
                                    <p:cond delay="250"/>
                                  </p:stCondLst>
                                  <p:childTnLst>
                                    <p:animEffect transition="out" filter="fade">
                                      <p:cBhvr>
                                        <p:cTn id="47" dur="2000" tmFilter="0, 0; .2, .5; .8, .5; 1, 0"/>
                                        <p:tgtEl>
                                          <p:spTgt spid="220"/>
                                        </p:tgtEl>
                                      </p:cBhvr>
                                    </p:animEffect>
                                    <p:animScale>
                                      <p:cBhvr>
                                        <p:cTn id="48" dur="1000" autoRev="1" fill="hold"/>
                                        <p:tgtEl>
                                          <p:spTgt spid="220"/>
                                        </p:tgtEl>
                                      </p:cBhvr>
                                      <p:by x="105000" y="105000"/>
                                    </p:animScale>
                                  </p:childTnLst>
                                </p:cTn>
                              </p:par>
                              <p:par>
                                <p:cTn id="49" presetID="26" presetClass="emph" presetSubtype="0" dur="2000" repeatCount="indefinite" fill="hold" grpId="0" nodeType="withEffect">
                                  <p:stCondLst>
                                    <p:cond delay="500"/>
                                  </p:stCondLst>
                                  <p:childTnLst>
                                    <p:animEffect transition="out" filter="fade">
                                      <p:cBhvr>
                                        <p:cTn id="50" dur="2000" tmFilter="0, 0; .2, .5; .8, .5; 1, 0"/>
                                        <p:tgtEl>
                                          <p:spTgt spid="7"/>
                                        </p:tgtEl>
                                      </p:cBhvr>
                                    </p:animEffect>
                                    <p:animScale>
                                      <p:cBhvr>
                                        <p:cTn id="51" dur="1000" autoRev="1" fill="hold"/>
                                        <p:tgtEl>
                                          <p:spTgt spid="7"/>
                                        </p:tgtEl>
                                      </p:cBhvr>
                                      <p:by x="105000" y="105000"/>
                                    </p:animScale>
                                  </p:childTnLst>
                                </p:cTn>
                              </p:par>
                              <p:par>
                                <p:cTn id="52" presetID="26" presetClass="emph" presetSubtype="0" dur="2000" repeatCount="indefinite" fill="hold" grpId="0" nodeType="withEffect">
                                  <p:stCondLst>
                                    <p:cond delay="500"/>
                                  </p:stCondLst>
                                  <p:childTnLst>
                                    <p:animEffect transition="out" filter="fade">
                                      <p:cBhvr>
                                        <p:cTn id="53" dur="2000" tmFilter="0, 0; .2, .5; .8, .5; 1, 0"/>
                                        <p:tgtEl>
                                          <p:spTgt spid="24"/>
                                        </p:tgtEl>
                                      </p:cBhvr>
                                    </p:animEffect>
                                    <p:animScale>
                                      <p:cBhvr>
                                        <p:cTn id="54" dur="1000" autoRev="1" fill="hold"/>
                                        <p:tgtEl>
                                          <p:spTgt spid="24"/>
                                        </p:tgtEl>
                                      </p:cBhvr>
                                      <p:by x="105000" y="105000"/>
                                    </p:animScale>
                                  </p:childTnLst>
                                </p:cTn>
                              </p:par>
                              <p:par>
                                <p:cTn id="55" presetID="26" presetClass="emph" presetSubtype="0" dur="2000" repeatCount="indefinite" fill="hold" grpId="0" nodeType="withEffect">
                                  <p:stCondLst>
                                    <p:cond delay="500"/>
                                  </p:stCondLst>
                                  <p:childTnLst>
                                    <p:animEffect transition="out" filter="fade">
                                      <p:cBhvr>
                                        <p:cTn id="56" dur="2000" tmFilter="0, 0; .2, .5; .8, .5; 1, 0"/>
                                        <p:tgtEl>
                                          <p:spTgt spid="40"/>
                                        </p:tgtEl>
                                      </p:cBhvr>
                                    </p:animEffect>
                                    <p:animScale>
                                      <p:cBhvr>
                                        <p:cTn id="57" dur="1000" autoRev="1" fill="hold"/>
                                        <p:tgtEl>
                                          <p:spTgt spid="40"/>
                                        </p:tgtEl>
                                      </p:cBhvr>
                                      <p:by x="105000" y="105000"/>
                                    </p:animScale>
                                  </p:childTnLst>
                                </p:cTn>
                              </p:par>
                              <p:par>
                                <p:cTn id="58" presetID="26" presetClass="emph" presetSubtype="0" dur="2000" repeatCount="indefinite" fill="hold" grpId="0" nodeType="withEffect">
                                  <p:stCondLst>
                                    <p:cond delay="500"/>
                                  </p:stCondLst>
                                  <p:childTnLst>
                                    <p:animEffect transition="out" filter="fade">
                                      <p:cBhvr>
                                        <p:cTn id="59" dur="2000" tmFilter="0, 0; .2, .5; .8, .5; 1, 0"/>
                                        <p:tgtEl>
                                          <p:spTgt spid="56"/>
                                        </p:tgtEl>
                                      </p:cBhvr>
                                    </p:animEffect>
                                    <p:animScale>
                                      <p:cBhvr>
                                        <p:cTn id="60" dur="1000" autoRev="1" fill="hold"/>
                                        <p:tgtEl>
                                          <p:spTgt spid="56"/>
                                        </p:tgtEl>
                                      </p:cBhvr>
                                      <p:by x="105000" y="105000"/>
                                    </p:animScale>
                                  </p:childTnLst>
                                </p:cTn>
                              </p:par>
                              <p:par>
                                <p:cTn id="61" presetID="26" presetClass="emph" presetSubtype="0" dur="2000" repeatCount="indefinite" fill="hold" grpId="0" nodeType="withEffect">
                                  <p:stCondLst>
                                    <p:cond delay="500"/>
                                  </p:stCondLst>
                                  <p:childTnLst>
                                    <p:animEffect transition="out" filter="fade">
                                      <p:cBhvr>
                                        <p:cTn id="62" dur="2000" tmFilter="0, 0; .2, .5; .8, .5; 1, 0"/>
                                        <p:tgtEl>
                                          <p:spTgt spid="72"/>
                                        </p:tgtEl>
                                      </p:cBhvr>
                                    </p:animEffect>
                                    <p:animScale>
                                      <p:cBhvr>
                                        <p:cTn id="63" dur="1000" autoRev="1" fill="hold"/>
                                        <p:tgtEl>
                                          <p:spTgt spid="72"/>
                                        </p:tgtEl>
                                      </p:cBhvr>
                                      <p:by x="105000" y="105000"/>
                                    </p:animScale>
                                  </p:childTnLst>
                                </p:cTn>
                              </p:par>
                              <p:par>
                                <p:cTn id="64" presetID="26" presetClass="emph" presetSubtype="0" dur="2000" repeatCount="indefinite" fill="hold" grpId="0" nodeType="withEffect">
                                  <p:stCondLst>
                                    <p:cond delay="500"/>
                                  </p:stCondLst>
                                  <p:childTnLst>
                                    <p:animEffect transition="out" filter="fade">
                                      <p:cBhvr>
                                        <p:cTn id="65" dur="2000" tmFilter="0, 0; .2, .5; .8, .5; 1, 0"/>
                                        <p:tgtEl>
                                          <p:spTgt spid="171"/>
                                        </p:tgtEl>
                                      </p:cBhvr>
                                    </p:animEffect>
                                    <p:animScale>
                                      <p:cBhvr>
                                        <p:cTn id="66" dur="1000" autoRev="1" fill="hold"/>
                                        <p:tgtEl>
                                          <p:spTgt spid="171"/>
                                        </p:tgtEl>
                                      </p:cBhvr>
                                      <p:by x="105000" y="105000"/>
                                    </p:animScale>
                                  </p:childTnLst>
                                </p:cTn>
                              </p:par>
                              <p:par>
                                <p:cTn id="67" presetID="26" presetClass="emph" presetSubtype="0" dur="2000" repeatCount="indefinite" fill="hold" grpId="0" nodeType="withEffect">
                                  <p:stCondLst>
                                    <p:cond delay="500"/>
                                  </p:stCondLst>
                                  <p:childTnLst>
                                    <p:animEffect transition="out" filter="fade">
                                      <p:cBhvr>
                                        <p:cTn id="68" dur="2000" tmFilter="0, 0; .2, .5; .8, .5; 1, 0"/>
                                        <p:tgtEl>
                                          <p:spTgt spid="188"/>
                                        </p:tgtEl>
                                      </p:cBhvr>
                                    </p:animEffect>
                                    <p:animScale>
                                      <p:cBhvr>
                                        <p:cTn id="69" dur="1000" autoRev="1" fill="hold"/>
                                        <p:tgtEl>
                                          <p:spTgt spid="188"/>
                                        </p:tgtEl>
                                      </p:cBhvr>
                                      <p:by x="105000" y="105000"/>
                                    </p:animScale>
                                  </p:childTnLst>
                                </p:cTn>
                              </p:par>
                              <p:par>
                                <p:cTn id="70" presetID="26" presetClass="emph" presetSubtype="0" dur="2000" repeatCount="indefinite" fill="hold" grpId="0" nodeType="withEffect">
                                  <p:stCondLst>
                                    <p:cond delay="500"/>
                                  </p:stCondLst>
                                  <p:childTnLst>
                                    <p:animEffect transition="out" filter="fade">
                                      <p:cBhvr>
                                        <p:cTn id="71" dur="2000" tmFilter="0, 0; .2, .5; .8, .5; 1, 0"/>
                                        <p:tgtEl>
                                          <p:spTgt spid="205"/>
                                        </p:tgtEl>
                                      </p:cBhvr>
                                    </p:animEffect>
                                    <p:animScale>
                                      <p:cBhvr>
                                        <p:cTn id="72" dur="1000" autoRev="1" fill="hold"/>
                                        <p:tgtEl>
                                          <p:spTgt spid="205"/>
                                        </p:tgtEl>
                                      </p:cBhvr>
                                      <p:by x="105000" y="105000"/>
                                    </p:animScale>
                                  </p:childTnLst>
                                </p:cTn>
                              </p:par>
                              <p:par>
                                <p:cTn id="73" presetID="26" presetClass="emph" presetSubtype="0" dur="2000" repeatCount="indefinite" fill="hold" grpId="0" nodeType="withEffect">
                                  <p:stCondLst>
                                    <p:cond delay="500"/>
                                  </p:stCondLst>
                                  <p:childTnLst>
                                    <p:animEffect transition="out" filter="fade">
                                      <p:cBhvr>
                                        <p:cTn id="74" dur="2000" tmFilter="0, 0; .2, .5; .8, .5; 1, 0"/>
                                        <p:tgtEl>
                                          <p:spTgt spid="221"/>
                                        </p:tgtEl>
                                      </p:cBhvr>
                                    </p:animEffect>
                                    <p:animScale>
                                      <p:cBhvr>
                                        <p:cTn id="75" dur="1000" autoRev="1" fill="hold"/>
                                        <p:tgtEl>
                                          <p:spTgt spid="221"/>
                                        </p:tgtEl>
                                      </p:cBhvr>
                                      <p:by x="105000" y="105000"/>
                                    </p:animScale>
                                  </p:childTnLst>
                                </p:cTn>
                              </p:par>
                              <p:par>
                                <p:cTn id="76" presetID="26" presetClass="emph" presetSubtype="0" dur="2000" repeatCount="indefinite" fill="hold" grpId="0" nodeType="withEffect">
                                  <p:stCondLst>
                                    <p:cond delay="750"/>
                                  </p:stCondLst>
                                  <p:childTnLst>
                                    <p:animEffect transition="out" filter="fade">
                                      <p:cBhvr>
                                        <p:cTn id="77" dur="2000" tmFilter="0, 0; .2, .5; .8, .5; 1, 0"/>
                                        <p:tgtEl>
                                          <p:spTgt spid="8"/>
                                        </p:tgtEl>
                                      </p:cBhvr>
                                    </p:animEffect>
                                    <p:animScale>
                                      <p:cBhvr>
                                        <p:cTn id="78" dur="1000" autoRev="1" fill="hold"/>
                                        <p:tgtEl>
                                          <p:spTgt spid="8"/>
                                        </p:tgtEl>
                                      </p:cBhvr>
                                      <p:by x="105000" y="105000"/>
                                    </p:animScale>
                                  </p:childTnLst>
                                </p:cTn>
                              </p:par>
                              <p:par>
                                <p:cTn id="79" presetID="26" presetClass="emph" presetSubtype="0" dur="2000" repeatCount="indefinite" fill="hold" grpId="0" nodeType="withEffect">
                                  <p:stCondLst>
                                    <p:cond delay="750"/>
                                  </p:stCondLst>
                                  <p:childTnLst>
                                    <p:animEffect transition="out" filter="fade">
                                      <p:cBhvr>
                                        <p:cTn id="80" dur="2000" tmFilter="0, 0; .2, .5; .8, .5; 1, 0"/>
                                        <p:tgtEl>
                                          <p:spTgt spid="25"/>
                                        </p:tgtEl>
                                      </p:cBhvr>
                                    </p:animEffect>
                                    <p:animScale>
                                      <p:cBhvr>
                                        <p:cTn id="81" dur="1000" autoRev="1" fill="hold"/>
                                        <p:tgtEl>
                                          <p:spTgt spid="25"/>
                                        </p:tgtEl>
                                      </p:cBhvr>
                                      <p:by x="105000" y="105000"/>
                                    </p:animScale>
                                  </p:childTnLst>
                                </p:cTn>
                              </p:par>
                              <p:par>
                                <p:cTn id="82" presetID="26" presetClass="emph" presetSubtype="0" dur="2000" repeatCount="indefinite" fill="hold" grpId="0" nodeType="withEffect">
                                  <p:stCondLst>
                                    <p:cond delay="750"/>
                                  </p:stCondLst>
                                  <p:childTnLst>
                                    <p:animEffect transition="out" filter="fade">
                                      <p:cBhvr>
                                        <p:cTn id="83" dur="2000" tmFilter="0, 0; .2, .5; .8, .5; 1, 0"/>
                                        <p:tgtEl>
                                          <p:spTgt spid="41"/>
                                        </p:tgtEl>
                                      </p:cBhvr>
                                    </p:animEffect>
                                    <p:animScale>
                                      <p:cBhvr>
                                        <p:cTn id="84" dur="1000" autoRev="1" fill="hold"/>
                                        <p:tgtEl>
                                          <p:spTgt spid="41"/>
                                        </p:tgtEl>
                                      </p:cBhvr>
                                      <p:by x="105000" y="105000"/>
                                    </p:animScale>
                                  </p:childTnLst>
                                </p:cTn>
                              </p:par>
                              <p:par>
                                <p:cTn id="85" presetID="26" presetClass="emph" presetSubtype="0" dur="2000" repeatCount="indefinite" fill="hold" grpId="0" nodeType="withEffect">
                                  <p:stCondLst>
                                    <p:cond delay="750"/>
                                  </p:stCondLst>
                                  <p:childTnLst>
                                    <p:animEffect transition="out" filter="fade">
                                      <p:cBhvr>
                                        <p:cTn id="86" dur="2000" tmFilter="0, 0; .2, .5; .8, .5; 1, 0"/>
                                        <p:tgtEl>
                                          <p:spTgt spid="57"/>
                                        </p:tgtEl>
                                      </p:cBhvr>
                                    </p:animEffect>
                                    <p:animScale>
                                      <p:cBhvr>
                                        <p:cTn id="87" dur="1000" autoRev="1" fill="hold"/>
                                        <p:tgtEl>
                                          <p:spTgt spid="57"/>
                                        </p:tgtEl>
                                      </p:cBhvr>
                                      <p:by x="105000" y="105000"/>
                                    </p:animScale>
                                  </p:childTnLst>
                                </p:cTn>
                              </p:par>
                              <p:par>
                                <p:cTn id="88" presetID="26" presetClass="emph" presetSubtype="0" dur="2000" repeatCount="indefinite" fill="hold" grpId="0" nodeType="withEffect">
                                  <p:stCondLst>
                                    <p:cond delay="750"/>
                                  </p:stCondLst>
                                  <p:childTnLst>
                                    <p:animEffect transition="out" filter="fade">
                                      <p:cBhvr>
                                        <p:cTn id="89" dur="2000" tmFilter="0, 0; .2, .5; .8, .5; 1, 0"/>
                                        <p:tgtEl>
                                          <p:spTgt spid="73"/>
                                        </p:tgtEl>
                                      </p:cBhvr>
                                    </p:animEffect>
                                    <p:animScale>
                                      <p:cBhvr>
                                        <p:cTn id="90" dur="1000" autoRev="1" fill="hold"/>
                                        <p:tgtEl>
                                          <p:spTgt spid="73"/>
                                        </p:tgtEl>
                                      </p:cBhvr>
                                      <p:by x="105000" y="105000"/>
                                    </p:animScale>
                                  </p:childTnLst>
                                </p:cTn>
                              </p:par>
                              <p:par>
                                <p:cTn id="91" presetID="26" presetClass="emph" presetSubtype="0" dur="2000" repeatCount="indefinite" fill="hold" grpId="0" nodeType="withEffect">
                                  <p:stCondLst>
                                    <p:cond delay="750"/>
                                  </p:stCondLst>
                                  <p:childTnLst>
                                    <p:animEffect transition="out" filter="fade">
                                      <p:cBhvr>
                                        <p:cTn id="92" dur="2000" tmFilter="0, 0; .2, .5; .8, .5; 1, 0"/>
                                        <p:tgtEl>
                                          <p:spTgt spid="89"/>
                                        </p:tgtEl>
                                      </p:cBhvr>
                                    </p:animEffect>
                                    <p:animScale>
                                      <p:cBhvr>
                                        <p:cTn id="93" dur="1000" autoRev="1" fill="hold"/>
                                        <p:tgtEl>
                                          <p:spTgt spid="89"/>
                                        </p:tgtEl>
                                      </p:cBhvr>
                                      <p:by x="105000" y="105000"/>
                                    </p:animScale>
                                  </p:childTnLst>
                                </p:cTn>
                              </p:par>
                              <p:par>
                                <p:cTn id="94" presetID="26" presetClass="emph" presetSubtype="0" dur="2000" repeatCount="indefinite" fill="hold" grpId="0" nodeType="withEffect">
                                  <p:stCondLst>
                                    <p:cond delay="750"/>
                                  </p:stCondLst>
                                  <p:childTnLst>
                                    <p:animEffect transition="out" filter="fade">
                                      <p:cBhvr>
                                        <p:cTn id="95" dur="2000" tmFilter="0, 0; .2, .5; .8, .5; 1, 0"/>
                                        <p:tgtEl>
                                          <p:spTgt spid="155"/>
                                        </p:tgtEl>
                                      </p:cBhvr>
                                    </p:animEffect>
                                    <p:animScale>
                                      <p:cBhvr>
                                        <p:cTn id="96" dur="1000" autoRev="1" fill="hold"/>
                                        <p:tgtEl>
                                          <p:spTgt spid="155"/>
                                        </p:tgtEl>
                                      </p:cBhvr>
                                      <p:by x="105000" y="105000"/>
                                    </p:animScale>
                                  </p:childTnLst>
                                </p:cTn>
                              </p:par>
                              <p:par>
                                <p:cTn id="97" presetID="26" presetClass="emph" presetSubtype="0" dur="2000" repeatCount="indefinite" fill="hold" grpId="0" nodeType="withEffect">
                                  <p:stCondLst>
                                    <p:cond delay="750"/>
                                  </p:stCondLst>
                                  <p:childTnLst>
                                    <p:animEffect transition="out" filter="fade">
                                      <p:cBhvr>
                                        <p:cTn id="98" dur="2000" tmFilter="0, 0; .2, .5; .8, .5; 1, 0"/>
                                        <p:tgtEl>
                                          <p:spTgt spid="172"/>
                                        </p:tgtEl>
                                      </p:cBhvr>
                                    </p:animEffect>
                                    <p:animScale>
                                      <p:cBhvr>
                                        <p:cTn id="99" dur="1000" autoRev="1" fill="hold"/>
                                        <p:tgtEl>
                                          <p:spTgt spid="172"/>
                                        </p:tgtEl>
                                      </p:cBhvr>
                                      <p:by x="105000" y="105000"/>
                                    </p:animScale>
                                  </p:childTnLst>
                                </p:cTn>
                              </p:par>
                              <p:par>
                                <p:cTn id="100" presetID="26" presetClass="emph" presetSubtype="0" dur="2000" repeatCount="indefinite" fill="hold" grpId="0" nodeType="withEffect">
                                  <p:stCondLst>
                                    <p:cond delay="750"/>
                                  </p:stCondLst>
                                  <p:childTnLst>
                                    <p:animEffect transition="out" filter="fade">
                                      <p:cBhvr>
                                        <p:cTn id="101" dur="2000" tmFilter="0, 0; .2, .5; .8, .5; 1, 0"/>
                                        <p:tgtEl>
                                          <p:spTgt spid="189"/>
                                        </p:tgtEl>
                                      </p:cBhvr>
                                    </p:animEffect>
                                    <p:animScale>
                                      <p:cBhvr>
                                        <p:cTn id="102" dur="1000" autoRev="1" fill="hold"/>
                                        <p:tgtEl>
                                          <p:spTgt spid="189"/>
                                        </p:tgtEl>
                                      </p:cBhvr>
                                      <p:by x="105000" y="105000"/>
                                    </p:animScale>
                                  </p:childTnLst>
                                </p:cTn>
                              </p:par>
                              <p:par>
                                <p:cTn id="103" presetID="26" presetClass="emph" presetSubtype="0" dur="2000" repeatCount="indefinite" fill="hold" grpId="0" nodeType="withEffect">
                                  <p:stCondLst>
                                    <p:cond delay="750"/>
                                  </p:stCondLst>
                                  <p:childTnLst>
                                    <p:animEffect transition="out" filter="fade">
                                      <p:cBhvr>
                                        <p:cTn id="104" dur="2000" tmFilter="0, 0; .2, .5; .8, .5; 1, 0"/>
                                        <p:tgtEl>
                                          <p:spTgt spid="206"/>
                                        </p:tgtEl>
                                      </p:cBhvr>
                                    </p:animEffect>
                                    <p:animScale>
                                      <p:cBhvr>
                                        <p:cTn id="105" dur="1000" autoRev="1" fill="hold"/>
                                        <p:tgtEl>
                                          <p:spTgt spid="206"/>
                                        </p:tgtEl>
                                      </p:cBhvr>
                                      <p:by x="105000" y="105000"/>
                                    </p:animScale>
                                  </p:childTnLst>
                                </p:cTn>
                              </p:par>
                              <p:par>
                                <p:cTn id="106" presetID="26" presetClass="emph" presetSubtype="0" dur="2000" repeatCount="indefinite" fill="hold" grpId="0" nodeType="withEffect">
                                  <p:stCondLst>
                                    <p:cond delay="750"/>
                                  </p:stCondLst>
                                  <p:childTnLst>
                                    <p:animEffect transition="out" filter="fade">
                                      <p:cBhvr>
                                        <p:cTn id="107" dur="2000" tmFilter="0, 0; .2, .5; .8, .5; 1, 0"/>
                                        <p:tgtEl>
                                          <p:spTgt spid="222"/>
                                        </p:tgtEl>
                                      </p:cBhvr>
                                    </p:animEffect>
                                    <p:animScale>
                                      <p:cBhvr>
                                        <p:cTn id="108" dur="1000" autoRev="1" fill="hold"/>
                                        <p:tgtEl>
                                          <p:spTgt spid="222"/>
                                        </p:tgtEl>
                                      </p:cBhvr>
                                      <p:by x="105000" y="105000"/>
                                    </p:animScale>
                                  </p:childTnLst>
                                </p:cTn>
                              </p:par>
                              <p:par>
                                <p:cTn id="109" presetID="26" presetClass="emph" presetSubtype="0" dur="2000" repeatCount="indefinite" fill="hold" grpId="0" nodeType="withEffect">
                                  <p:stCondLst>
                                    <p:cond delay="1000"/>
                                  </p:stCondLst>
                                  <p:childTnLst>
                                    <p:animEffect transition="out" filter="fade">
                                      <p:cBhvr>
                                        <p:cTn id="110" dur="2000" tmFilter="0, 0; .2, .5; .8, .5; 1, 0"/>
                                        <p:tgtEl>
                                          <p:spTgt spid="11"/>
                                        </p:tgtEl>
                                      </p:cBhvr>
                                    </p:animEffect>
                                    <p:animScale>
                                      <p:cBhvr>
                                        <p:cTn id="111" dur="1000" autoRev="1" fill="hold"/>
                                        <p:tgtEl>
                                          <p:spTgt spid="11"/>
                                        </p:tgtEl>
                                      </p:cBhvr>
                                      <p:by x="105000" y="105000"/>
                                    </p:animScale>
                                  </p:childTnLst>
                                </p:cTn>
                              </p:par>
                              <p:par>
                                <p:cTn id="112" presetID="26" presetClass="emph" presetSubtype="0" dur="2000" repeatCount="indefinite" fill="hold" grpId="0" nodeType="withEffect">
                                  <p:stCondLst>
                                    <p:cond delay="1000"/>
                                  </p:stCondLst>
                                  <p:childTnLst>
                                    <p:animEffect transition="out" filter="fade">
                                      <p:cBhvr>
                                        <p:cTn id="113" dur="2000" tmFilter="0, 0; .2, .5; .8, .5; 1, 0"/>
                                        <p:tgtEl>
                                          <p:spTgt spid="26"/>
                                        </p:tgtEl>
                                      </p:cBhvr>
                                    </p:animEffect>
                                    <p:animScale>
                                      <p:cBhvr>
                                        <p:cTn id="114" dur="1000" autoRev="1" fill="hold"/>
                                        <p:tgtEl>
                                          <p:spTgt spid="26"/>
                                        </p:tgtEl>
                                      </p:cBhvr>
                                      <p:by x="105000" y="105000"/>
                                    </p:animScale>
                                  </p:childTnLst>
                                </p:cTn>
                              </p:par>
                              <p:par>
                                <p:cTn id="115" presetID="26" presetClass="emph" presetSubtype="0" dur="2000" repeatCount="indefinite" fill="hold" grpId="0" nodeType="withEffect">
                                  <p:stCondLst>
                                    <p:cond delay="1000"/>
                                  </p:stCondLst>
                                  <p:childTnLst>
                                    <p:animEffect transition="out" filter="fade">
                                      <p:cBhvr>
                                        <p:cTn id="116" dur="2000" tmFilter="0, 0; .2, .5; .8, .5; 1, 0"/>
                                        <p:tgtEl>
                                          <p:spTgt spid="42"/>
                                        </p:tgtEl>
                                      </p:cBhvr>
                                    </p:animEffect>
                                    <p:animScale>
                                      <p:cBhvr>
                                        <p:cTn id="117" dur="1000" autoRev="1" fill="hold"/>
                                        <p:tgtEl>
                                          <p:spTgt spid="42"/>
                                        </p:tgtEl>
                                      </p:cBhvr>
                                      <p:by x="105000" y="105000"/>
                                    </p:animScale>
                                  </p:childTnLst>
                                </p:cTn>
                              </p:par>
                              <p:par>
                                <p:cTn id="118" presetID="26" presetClass="emph" presetSubtype="0" dur="2000" repeatCount="indefinite" fill="hold" grpId="0" nodeType="withEffect">
                                  <p:stCondLst>
                                    <p:cond delay="1000"/>
                                  </p:stCondLst>
                                  <p:childTnLst>
                                    <p:animEffect transition="out" filter="fade">
                                      <p:cBhvr>
                                        <p:cTn id="119" dur="2000" tmFilter="0, 0; .2, .5; .8, .5; 1, 0"/>
                                        <p:tgtEl>
                                          <p:spTgt spid="58"/>
                                        </p:tgtEl>
                                      </p:cBhvr>
                                    </p:animEffect>
                                    <p:animScale>
                                      <p:cBhvr>
                                        <p:cTn id="120" dur="1000" autoRev="1" fill="hold"/>
                                        <p:tgtEl>
                                          <p:spTgt spid="58"/>
                                        </p:tgtEl>
                                      </p:cBhvr>
                                      <p:by x="105000" y="105000"/>
                                    </p:animScale>
                                  </p:childTnLst>
                                </p:cTn>
                              </p:par>
                              <p:par>
                                <p:cTn id="121" presetID="26" presetClass="emph" presetSubtype="0" dur="2000" repeatCount="indefinite" fill="hold" grpId="0" nodeType="withEffect">
                                  <p:stCondLst>
                                    <p:cond delay="1000"/>
                                  </p:stCondLst>
                                  <p:childTnLst>
                                    <p:animEffect transition="out" filter="fade">
                                      <p:cBhvr>
                                        <p:cTn id="122" dur="2000" tmFilter="0, 0; .2, .5; .8, .5; 1, 0"/>
                                        <p:tgtEl>
                                          <p:spTgt spid="74"/>
                                        </p:tgtEl>
                                      </p:cBhvr>
                                    </p:animEffect>
                                    <p:animScale>
                                      <p:cBhvr>
                                        <p:cTn id="123" dur="1000" autoRev="1" fill="hold"/>
                                        <p:tgtEl>
                                          <p:spTgt spid="74"/>
                                        </p:tgtEl>
                                      </p:cBhvr>
                                      <p:by x="105000" y="105000"/>
                                    </p:animScale>
                                  </p:childTnLst>
                                </p:cTn>
                              </p:par>
                              <p:par>
                                <p:cTn id="124" presetID="26" presetClass="emph" presetSubtype="0" dur="2000" repeatCount="indefinite" fill="hold" grpId="0" nodeType="withEffect">
                                  <p:stCondLst>
                                    <p:cond delay="1000"/>
                                  </p:stCondLst>
                                  <p:childTnLst>
                                    <p:animEffect transition="out" filter="fade">
                                      <p:cBhvr>
                                        <p:cTn id="125" dur="2000" tmFilter="0, 0; .2, .5; .8, .5; 1, 0"/>
                                        <p:tgtEl>
                                          <p:spTgt spid="90"/>
                                        </p:tgtEl>
                                      </p:cBhvr>
                                    </p:animEffect>
                                    <p:animScale>
                                      <p:cBhvr>
                                        <p:cTn id="126" dur="1000" autoRev="1" fill="hold"/>
                                        <p:tgtEl>
                                          <p:spTgt spid="90"/>
                                        </p:tgtEl>
                                      </p:cBhvr>
                                      <p:by x="105000" y="105000"/>
                                    </p:animScale>
                                  </p:childTnLst>
                                </p:cTn>
                              </p:par>
                              <p:par>
                                <p:cTn id="127" presetID="26" presetClass="emph" presetSubtype="0" dur="2000" repeatCount="indefinite" fill="hold" grpId="0" nodeType="withEffect">
                                  <p:stCondLst>
                                    <p:cond delay="1000"/>
                                  </p:stCondLst>
                                  <p:childTnLst>
                                    <p:animEffect transition="out" filter="fade">
                                      <p:cBhvr>
                                        <p:cTn id="128" dur="2000" tmFilter="0, 0; .2, .5; .8, .5; 1, 0"/>
                                        <p:tgtEl>
                                          <p:spTgt spid="106"/>
                                        </p:tgtEl>
                                      </p:cBhvr>
                                    </p:animEffect>
                                    <p:animScale>
                                      <p:cBhvr>
                                        <p:cTn id="129" dur="1000" autoRev="1" fill="hold"/>
                                        <p:tgtEl>
                                          <p:spTgt spid="106"/>
                                        </p:tgtEl>
                                      </p:cBhvr>
                                      <p:by x="105000" y="105000"/>
                                    </p:animScale>
                                  </p:childTnLst>
                                </p:cTn>
                              </p:par>
                              <p:par>
                                <p:cTn id="130" presetID="26" presetClass="emph" presetSubtype="0" dur="2000" repeatCount="indefinite" fill="hold" grpId="0" nodeType="withEffect">
                                  <p:stCondLst>
                                    <p:cond delay="1000"/>
                                  </p:stCondLst>
                                  <p:childTnLst>
                                    <p:animEffect transition="out" filter="fade">
                                      <p:cBhvr>
                                        <p:cTn id="131" dur="2000" tmFilter="0, 0; .2, .5; .8, .5; 1, 0"/>
                                        <p:tgtEl>
                                          <p:spTgt spid="139"/>
                                        </p:tgtEl>
                                      </p:cBhvr>
                                    </p:animEffect>
                                    <p:animScale>
                                      <p:cBhvr>
                                        <p:cTn id="132" dur="1000" autoRev="1" fill="hold"/>
                                        <p:tgtEl>
                                          <p:spTgt spid="139"/>
                                        </p:tgtEl>
                                      </p:cBhvr>
                                      <p:by x="105000" y="105000"/>
                                    </p:animScale>
                                  </p:childTnLst>
                                </p:cTn>
                              </p:par>
                              <p:par>
                                <p:cTn id="133" presetID="26" presetClass="emph" presetSubtype="0" dur="2000" repeatCount="indefinite" fill="hold" grpId="0" nodeType="withEffect">
                                  <p:stCondLst>
                                    <p:cond delay="1000"/>
                                  </p:stCondLst>
                                  <p:childTnLst>
                                    <p:animEffect transition="out" filter="fade">
                                      <p:cBhvr>
                                        <p:cTn id="134" dur="2000" tmFilter="0, 0; .2, .5; .8, .5; 1, 0"/>
                                        <p:tgtEl>
                                          <p:spTgt spid="156"/>
                                        </p:tgtEl>
                                      </p:cBhvr>
                                    </p:animEffect>
                                    <p:animScale>
                                      <p:cBhvr>
                                        <p:cTn id="135" dur="1000" autoRev="1" fill="hold"/>
                                        <p:tgtEl>
                                          <p:spTgt spid="156"/>
                                        </p:tgtEl>
                                      </p:cBhvr>
                                      <p:by x="105000" y="105000"/>
                                    </p:animScale>
                                  </p:childTnLst>
                                </p:cTn>
                              </p:par>
                              <p:par>
                                <p:cTn id="136" presetID="26" presetClass="emph" presetSubtype="0" dur="2000" repeatCount="indefinite" fill="hold" grpId="0" nodeType="withEffect">
                                  <p:stCondLst>
                                    <p:cond delay="1000"/>
                                  </p:stCondLst>
                                  <p:childTnLst>
                                    <p:animEffect transition="out" filter="fade">
                                      <p:cBhvr>
                                        <p:cTn id="137" dur="2000" tmFilter="0, 0; .2, .5; .8, .5; 1, 0"/>
                                        <p:tgtEl>
                                          <p:spTgt spid="173"/>
                                        </p:tgtEl>
                                      </p:cBhvr>
                                    </p:animEffect>
                                    <p:animScale>
                                      <p:cBhvr>
                                        <p:cTn id="138" dur="1000" autoRev="1" fill="hold"/>
                                        <p:tgtEl>
                                          <p:spTgt spid="173"/>
                                        </p:tgtEl>
                                      </p:cBhvr>
                                      <p:by x="105000" y="105000"/>
                                    </p:animScale>
                                  </p:childTnLst>
                                </p:cTn>
                              </p:par>
                              <p:par>
                                <p:cTn id="139" presetID="26" presetClass="emph" presetSubtype="0" dur="2000" repeatCount="indefinite" fill="hold" grpId="0" nodeType="withEffect">
                                  <p:stCondLst>
                                    <p:cond delay="1000"/>
                                  </p:stCondLst>
                                  <p:childTnLst>
                                    <p:animEffect transition="out" filter="fade">
                                      <p:cBhvr>
                                        <p:cTn id="140" dur="2000" tmFilter="0, 0; .2, .5; .8, .5; 1, 0"/>
                                        <p:tgtEl>
                                          <p:spTgt spid="190"/>
                                        </p:tgtEl>
                                      </p:cBhvr>
                                    </p:animEffect>
                                    <p:animScale>
                                      <p:cBhvr>
                                        <p:cTn id="141" dur="1000" autoRev="1" fill="hold"/>
                                        <p:tgtEl>
                                          <p:spTgt spid="190"/>
                                        </p:tgtEl>
                                      </p:cBhvr>
                                      <p:by x="105000" y="105000"/>
                                    </p:animScale>
                                  </p:childTnLst>
                                </p:cTn>
                              </p:par>
                              <p:par>
                                <p:cTn id="142" presetID="26" presetClass="emph" presetSubtype="0" dur="2000" repeatCount="indefinite" fill="hold" grpId="0" nodeType="withEffect">
                                  <p:stCondLst>
                                    <p:cond delay="1000"/>
                                  </p:stCondLst>
                                  <p:childTnLst>
                                    <p:animEffect transition="out" filter="fade">
                                      <p:cBhvr>
                                        <p:cTn id="143" dur="2000" tmFilter="0, 0; .2, .5; .8, .5; 1, 0"/>
                                        <p:tgtEl>
                                          <p:spTgt spid="207"/>
                                        </p:tgtEl>
                                      </p:cBhvr>
                                    </p:animEffect>
                                    <p:animScale>
                                      <p:cBhvr>
                                        <p:cTn id="144" dur="1000" autoRev="1" fill="hold"/>
                                        <p:tgtEl>
                                          <p:spTgt spid="207"/>
                                        </p:tgtEl>
                                      </p:cBhvr>
                                      <p:by x="105000" y="105000"/>
                                    </p:animScale>
                                  </p:childTnLst>
                                </p:cTn>
                              </p:par>
                              <p:par>
                                <p:cTn id="145" presetID="26" presetClass="emph" presetSubtype="0" dur="2000" repeatCount="indefinite" fill="hold" grpId="0" nodeType="withEffect">
                                  <p:stCondLst>
                                    <p:cond delay="1000"/>
                                  </p:stCondLst>
                                  <p:childTnLst>
                                    <p:animEffect transition="out" filter="fade">
                                      <p:cBhvr>
                                        <p:cTn id="146" dur="2000" tmFilter="0, 0; .2, .5; .8, .5; 1, 0"/>
                                        <p:tgtEl>
                                          <p:spTgt spid="223"/>
                                        </p:tgtEl>
                                      </p:cBhvr>
                                    </p:animEffect>
                                    <p:animScale>
                                      <p:cBhvr>
                                        <p:cTn id="147" dur="1000" autoRev="1" fill="hold"/>
                                        <p:tgtEl>
                                          <p:spTgt spid="223"/>
                                        </p:tgtEl>
                                      </p:cBhvr>
                                      <p:by x="105000" y="105000"/>
                                    </p:animScale>
                                  </p:childTnLst>
                                </p:cTn>
                              </p:par>
                              <p:par>
                                <p:cTn id="148" presetID="26" presetClass="emph" presetSubtype="0" dur="2000" repeatCount="indefinite" fill="hold" grpId="0" nodeType="withEffect">
                                  <p:stCondLst>
                                    <p:cond delay="1250"/>
                                  </p:stCondLst>
                                  <p:childTnLst>
                                    <p:animEffect transition="out" filter="fade">
                                      <p:cBhvr>
                                        <p:cTn id="149" dur="2000" tmFilter="0, 0; .2, .5; .8, .5; 1, 0"/>
                                        <p:tgtEl>
                                          <p:spTgt spid="12"/>
                                        </p:tgtEl>
                                      </p:cBhvr>
                                    </p:animEffect>
                                    <p:animScale>
                                      <p:cBhvr>
                                        <p:cTn id="150" dur="1000" autoRev="1" fill="hold"/>
                                        <p:tgtEl>
                                          <p:spTgt spid="12"/>
                                        </p:tgtEl>
                                      </p:cBhvr>
                                      <p:by x="105000" y="105000"/>
                                    </p:animScale>
                                  </p:childTnLst>
                                </p:cTn>
                              </p:par>
                              <p:par>
                                <p:cTn id="151" presetID="26" presetClass="emph" presetSubtype="0" dur="2000" repeatCount="indefinite" fill="hold" grpId="0" nodeType="withEffect">
                                  <p:stCondLst>
                                    <p:cond delay="1250"/>
                                  </p:stCondLst>
                                  <p:childTnLst>
                                    <p:animEffect transition="out" filter="fade">
                                      <p:cBhvr>
                                        <p:cTn id="152" dur="2000" tmFilter="0, 0; .2, .5; .8, .5; 1, 0"/>
                                        <p:tgtEl>
                                          <p:spTgt spid="27"/>
                                        </p:tgtEl>
                                      </p:cBhvr>
                                    </p:animEffect>
                                    <p:animScale>
                                      <p:cBhvr>
                                        <p:cTn id="153" dur="1000" autoRev="1" fill="hold"/>
                                        <p:tgtEl>
                                          <p:spTgt spid="27"/>
                                        </p:tgtEl>
                                      </p:cBhvr>
                                      <p:by x="105000" y="105000"/>
                                    </p:animScale>
                                  </p:childTnLst>
                                </p:cTn>
                              </p:par>
                              <p:par>
                                <p:cTn id="154" presetID="26" presetClass="emph" presetSubtype="0" dur="2000" repeatCount="indefinite" fill="hold" grpId="0" nodeType="withEffect">
                                  <p:stCondLst>
                                    <p:cond delay="1250"/>
                                  </p:stCondLst>
                                  <p:childTnLst>
                                    <p:animEffect transition="out" filter="fade">
                                      <p:cBhvr>
                                        <p:cTn id="155" dur="2000" tmFilter="0, 0; .2, .5; .8, .5; 1, 0"/>
                                        <p:tgtEl>
                                          <p:spTgt spid="43"/>
                                        </p:tgtEl>
                                      </p:cBhvr>
                                    </p:animEffect>
                                    <p:animScale>
                                      <p:cBhvr>
                                        <p:cTn id="156" dur="1000" autoRev="1" fill="hold"/>
                                        <p:tgtEl>
                                          <p:spTgt spid="43"/>
                                        </p:tgtEl>
                                      </p:cBhvr>
                                      <p:by x="105000" y="105000"/>
                                    </p:animScale>
                                  </p:childTnLst>
                                </p:cTn>
                              </p:par>
                              <p:par>
                                <p:cTn id="157" presetID="26" presetClass="emph" presetSubtype="0" dur="2000" repeatCount="indefinite" fill="hold" grpId="0" nodeType="withEffect">
                                  <p:stCondLst>
                                    <p:cond delay="1250"/>
                                  </p:stCondLst>
                                  <p:childTnLst>
                                    <p:animEffect transition="out" filter="fade">
                                      <p:cBhvr>
                                        <p:cTn id="158" dur="2000" tmFilter="0, 0; .2, .5; .8, .5; 1, 0"/>
                                        <p:tgtEl>
                                          <p:spTgt spid="59"/>
                                        </p:tgtEl>
                                      </p:cBhvr>
                                    </p:animEffect>
                                    <p:animScale>
                                      <p:cBhvr>
                                        <p:cTn id="159" dur="1000" autoRev="1" fill="hold"/>
                                        <p:tgtEl>
                                          <p:spTgt spid="59"/>
                                        </p:tgtEl>
                                      </p:cBhvr>
                                      <p:by x="105000" y="105000"/>
                                    </p:animScale>
                                  </p:childTnLst>
                                </p:cTn>
                              </p:par>
                              <p:par>
                                <p:cTn id="160" presetID="26" presetClass="emph" presetSubtype="0" dur="2000" repeatCount="indefinite" fill="hold" grpId="0" nodeType="withEffect">
                                  <p:stCondLst>
                                    <p:cond delay="1250"/>
                                  </p:stCondLst>
                                  <p:childTnLst>
                                    <p:animEffect transition="out" filter="fade">
                                      <p:cBhvr>
                                        <p:cTn id="161" dur="2000" tmFilter="0, 0; .2, .5; .8, .5; 1, 0"/>
                                        <p:tgtEl>
                                          <p:spTgt spid="75"/>
                                        </p:tgtEl>
                                      </p:cBhvr>
                                    </p:animEffect>
                                    <p:animScale>
                                      <p:cBhvr>
                                        <p:cTn id="162" dur="1000" autoRev="1" fill="hold"/>
                                        <p:tgtEl>
                                          <p:spTgt spid="75"/>
                                        </p:tgtEl>
                                      </p:cBhvr>
                                      <p:by x="105000" y="105000"/>
                                    </p:animScale>
                                  </p:childTnLst>
                                </p:cTn>
                              </p:par>
                              <p:par>
                                <p:cTn id="163" presetID="26" presetClass="emph" presetSubtype="0" dur="2000" repeatCount="indefinite" fill="hold" grpId="0" nodeType="withEffect">
                                  <p:stCondLst>
                                    <p:cond delay="1250"/>
                                  </p:stCondLst>
                                  <p:childTnLst>
                                    <p:animEffect transition="out" filter="fade">
                                      <p:cBhvr>
                                        <p:cTn id="164" dur="2000" tmFilter="0, 0; .2, .5; .8, .5; 1, 0"/>
                                        <p:tgtEl>
                                          <p:spTgt spid="91"/>
                                        </p:tgtEl>
                                      </p:cBhvr>
                                    </p:animEffect>
                                    <p:animScale>
                                      <p:cBhvr>
                                        <p:cTn id="165" dur="1000" autoRev="1" fill="hold"/>
                                        <p:tgtEl>
                                          <p:spTgt spid="91"/>
                                        </p:tgtEl>
                                      </p:cBhvr>
                                      <p:by x="105000" y="105000"/>
                                    </p:animScale>
                                  </p:childTnLst>
                                </p:cTn>
                              </p:par>
                              <p:par>
                                <p:cTn id="166" presetID="26" presetClass="emph" presetSubtype="0" dur="2000" repeatCount="indefinite" fill="hold" grpId="0" nodeType="withEffect">
                                  <p:stCondLst>
                                    <p:cond delay="1250"/>
                                  </p:stCondLst>
                                  <p:childTnLst>
                                    <p:animEffect transition="out" filter="fade">
                                      <p:cBhvr>
                                        <p:cTn id="167" dur="2000" tmFilter="0, 0; .2, .5; .8, .5; 1, 0"/>
                                        <p:tgtEl>
                                          <p:spTgt spid="107"/>
                                        </p:tgtEl>
                                      </p:cBhvr>
                                    </p:animEffect>
                                    <p:animScale>
                                      <p:cBhvr>
                                        <p:cTn id="168" dur="1000" autoRev="1" fill="hold"/>
                                        <p:tgtEl>
                                          <p:spTgt spid="107"/>
                                        </p:tgtEl>
                                      </p:cBhvr>
                                      <p:by x="105000" y="105000"/>
                                    </p:animScale>
                                  </p:childTnLst>
                                </p:cTn>
                              </p:par>
                              <p:par>
                                <p:cTn id="169" presetID="26" presetClass="emph" presetSubtype="0" dur="2000" repeatCount="indefinite" fill="hold" grpId="0" nodeType="withEffect">
                                  <p:stCondLst>
                                    <p:cond delay="1250"/>
                                  </p:stCondLst>
                                  <p:childTnLst>
                                    <p:animEffect transition="out" filter="fade">
                                      <p:cBhvr>
                                        <p:cTn id="170" dur="2000" tmFilter="0, 0; .2, .5; .8, .5; 1, 0"/>
                                        <p:tgtEl>
                                          <p:spTgt spid="123"/>
                                        </p:tgtEl>
                                      </p:cBhvr>
                                    </p:animEffect>
                                    <p:animScale>
                                      <p:cBhvr>
                                        <p:cTn id="171" dur="1000" autoRev="1" fill="hold"/>
                                        <p:tgtEl>
                                          <p:spTgt spid="123"/>
                                        </p:tgtEl>
                                      </p:cBhvr>
                                      <p:by x="105000" y="105000"/>
                                    </p:animScale>
                                  </p:childTnLst>
                                </p:cTn>
                              </p:par>
                              <p:par>
                                <p:cTn id="172" presetID="26" presetClass="emph" presetSubtype="0" dur="2000" repeatCount="indefinite" fill="hold" grpId="0" nodeType="withEffect">
                                  <p:stCondLst>
                                    <p:cond delay="1250"/>
                                  </p:stCondLst>
                                  <p:childTnLst>
                                    <p:animEffect transition="out" filter="fade">
                                      <p:cBhvr>
                                        <p:cTn id="173" dur="2000" tmFilter="0, 0; .2, .5; .8, .5; 1, 0"/>
                                        <p:tgtEl>
                                          <p:spTgt spid="140"/>
                                        </p:tgtEl>
                                      </p:cBhvr>
                                    </p:animEffect>
                                    <p:animScale>
                                      <p:cBhvr>
                                        <p:cTn id="174" dur="1000" autoRev="1" fill="hold"/>
                                        <p:tgtEl>
                                          <p:spTgt spid="140"/>
                                        </p:tgtEl>
                                      </p:cBhvr>
                                      <p:by x="105000" y="105000"/>
                                    </p:animScale>
                                  </p:childTnLst>
                                </p:cTn>
                              </p:par>
                              <p:par>
                                <p:cTn id="175" presetID="26" presetClass="emph" presetSubtype="0" dur="2000" repeatCount="indefinite" fill="hold" grpId="0" nodeType="withEffect">
                                  <p:stCondLst>
                                    <p:cond delay="1250"/>
                                  </p:stCondLst>
                                  <p:childTnLst>
                                    <p:animEffect transition="out" filter="fade">
                                      <p:cBhvr>
                                        <p:cTn id="176" dur="2000" tmFilter="0, 0; .2, .5; .8, .5; 1, 0"/>
                                        <p:tgtEl>
                                          <p:spTgt spid="157"/>
                                        </p:tgtEl>
                                      </p:cBhvr>
                                    </p:animEffect>
                                    <p:animScale>
                                      <p:cBhvr>
                                        <p:cTn id="177" dur="1000" autoRev="1" fill="hold"/>
                                        <p:tgtEl>
                                          <p:spTgt spid="157"/>
                                        </p:tgtEl>
                                      </p:cBhvr>
                                      <p:by x="105000" y="105000"/>
                                    </p:animScale>
                                  </p:childTnLst>
                                </p:cTn>
                              </p:par>
                              <p:par>
                                <p:cTn id="178" presetID="26" presetClass="emph" presetSubtype="0" dur="2000" repeatCount="indefinite" fill="hold" grpId="0" nodeType="withEffect">
                                  <p:stCondLst>
                                    <p:cond delay="1250"/>
                                  </p:stCondLst>
                                  <p:childTnLst>
                                    <p:animEffect transition="out" filter="fade">
                                      <p:cBhvr>
                                        <p:cTn id="179" dur="2000" tmFilter="0, 0; .2, .5; .8, .5; 1, 0"/>
                                        <p:tgtEl>
                                          <p:spTgt spid="174"/>
                                        </p:tgtEl>
                                      </p:cBhvr>
                                    </p:animEffect>
                                    <p:animScale>
                                      <p:cBhvr>
                                        <p:cTn id="180" dur="1000" autoRev="1" fill="hold"/>
                                        <p:tgtEl>
                                          <p:spTgt spid="174"/>
                                        </p:tgtEl>
                                      </p:cBhvr>
                                      <p:by x="105000" y="105000"/>
                                    </p:animScale>
                                  </p:childTnLst>
                                </p:cTn>
                              </p:par>
                              <p:par>
                                <p:cTn id="181" presetID="26" presetClass="emph" presetSubtype="0" dur="2000" repeatCount="indefinite" fill="hold" grpId="0" nodeType="withEffect">
                                  <p:stCondLst>
                                    <p:cond delay="1250"/>
                                  </p:stCondLst>
                                  <p:childTnLst>
                                    <p:animEffect transition="out" filter="fade">
                                      <p:cBhvr>
                                        <p:cTn id="182" dur="2000" tmFilter="0, 0; .2, .5; .8, .5; 1, 0"/>
                                        <p:tgtEl>
                                          <p:spTgt spid="191"/>
                                        </p:tgtEl>
                                      </p:cBhvr>
                                    </p:animEffect>
                                    <p:animScale>
                                      <p:cBhvr>
                                        <p:cTn id="183" dur="1000" autoRev="1" fill="hold"/>
                                        <p:tgtEl>
                                          <p:spTgt spid="191"/>
                                        </p:tgtEl>
                                      </p:cBhvr>
                                      <p:by x="105000" y="105000"/>
                                    </p:animScale>
                                  </p:childTnLst>
                                </p:cTn>
                              </p:par>
                              <p:par>
                                <p:cTn id="184" presetID="26" presetClass="emph" presetSubtype="0" dur="2000" repeatCount="indefinite" fill="hold" grpId="0" nodeType="withEffect">
                                  <p:stCondLst>
                                    <p:cond delay="1250"/>
                                  </p:stCondLst>
                                  <p:childTnLst>
                                    <p:animEffect transition="out" filter="fade">
                                      <p:cBhvr>
                                        <p:cTn id="185" dur="2000" tmFilter="0, 0; .2, .5; .8, .5; 1, 0"/>
                                        <p:tgtEl>
                                          <p:spTgt spid="208"/>
                                        </p:tgtEl>
                                      </p:cBhvr>
                                    </p:animEffect>
                                    <p:animScale>
                                      <p:cBhvr>
                                        <p:cTn id="186" dur="1000" autoRev="1" fill="hold"/>
                                        <p:tgtEl>
                                          <p:spTgt spid="208"/>
                                        </p:tgtEl>
                                      </p:cBhvr>
                                      <p:by x="105000" y="105000"/>
                                    </p:animScale>
                                  </p:childTnLst>
                                </p:cTn>
                              </p:par>
                              <p:par>
                                <p:cTn id="187" presetID="26" presetClass="emph" presetSubtype="0" dur="2000" repeatCount="indefinite" fill="hold" grpId="0" nodeType="withEffect">
                                  <p:stCondLst>
                                    <p:cond delay="1250"/>
                                  </p:stCondLst>
                                  <p:childTnLst>
                                    <p:animEffect transition="out" filter="fade">
                                      <p:cBhvr>
                                        <p:cTn id="188" dur="2000" tmFilter="0, 0; .2, .5; .8, .5; 1, 0"/>
                                        <p:tgtEl>
                                          <p:spTgt spid="224"/>
                                        </p:tgtEl>
                                      </p:cBhvr>
                                    </p:animEffect>
                                    <p:animScale>
                                      <p:cBhvr>
                                        <p:cTn id="189" dur="1000" autoRev="1" fill="hold"/>
                                        <p:tgtEl>
                                          <p:spTgt spid="224"/>
                                        </p:tgtEl>
                                      </p:cBhvr>
                                      <p:by x="105000" y="105000"/>
                                    </p:animScale>
                                  </p:childTnLst>
                                </p:cTn>
                              </p:par>
                              <p:par>
                                <p:cTn id="190" presetID="26" presetClass="emph" presetSubtype="0" dur="2000" repeatCount="indefinite" fill="hold" grpId="0" nodeType="withEffect">
                                  <p:stCondLst>
                                    <p:cond delay="1500"/>
                                  </p:stCondLst>
                                  <p:childTnLst>
                                    <p:animEffect transition="out" filter="fade">
                                      <p:cBhvr>
                                        <p:cTn id="191" dur="2000" tmFilter="0, 0; .2, .5; .8, .5; 1, 0"/>
                                        <p:tgtEl>
                                          <p:spTgt spid="13"/>
                                        </p:tgtEl>
                                      </p:cBhvr>
                                    </p:animEffect>
                                    <p:animScale>
                                      <p:cBhvr>
                                        <p:cTn id="192" dur="1000" autoRev="1" fill="hold"/>
                                        <p:tgtEl>
                                          <p:spTgt spid="13"/>
                                        </p:tgtEl>
                                      </p:cBhvr>
                                      <p:by x="105000" y="105000"/>
                                    </p:animScale>
                                  </p:childTnLst>
                                </p:cTn>
                              </p:par>
                              <p:par>
                                <p:cTn id="193" presetID="26" presetClass="emph" presetSubtype="0" dur="2000" repeatCount="indefinite" fill="hold" grpId="0" nodeType="withEffect">
                                  <p:stCondLst>
                                    <p:cond delay="1500"/>
                                  </p:stCondLst>
                                  <p:childTnLst>
                                    <p:animEffect transition="out" filter="fade">
                                      <p:cBhvr>
                                        <p:cTn id="194" dur="2000" tmFilter="0, 0; .2, .5; .8, .5; 1, 0"/>
                                        <p:tgtEl>
                                          <p:spTgt spid="28"/>
                                        </p:tgtEl>
                                      </p:cBhvr>
                                    </p:animEffect>
                                    <p:animScale>
                                      <p:cBhvr>
                                        <p:cTn id="195" dur="1000" autoRev="1" fill="hold"/>
                                        <p:tgtEl>
                                          <p:spTgt spid="28"/>
                                        </p:tgtEl>
                                      </p:cBhvr>
                                      <p:by x="105000" y="105000"/>
                                    </p:animScale>
                                  </p:childTnLst>
                                </p:cTn>
                              </p:par>
                              <p:par>
                                <p:cTn id="196" presetID="26" presetClass="emph" presetSubtype="0" dur="2000" repeatCount="indefinite" fill="hold" grpId="0" nodeType="withEffect">
                                  <p:stCondLst>
                                    <p:cond delay="1500"/>
                                  </p:stCondLst>
                                  <p:childTnLst>
                                    <p:animEffect transition="out" filter="fade">
                                      <p:cBhvr>
                                        <p:cTn id="197" dur="2000" tmFilter="0, 0; .2, .5; .8, .5; 1, 0"/>
                                        <p:tgtEl>
                                          <p:spTgt spid="44"/>
                                        </p:tgtEl>
                                      </p:cBhvr>
                                    </p:animEffect>
                                    <p:animScale>
                                      <p:cBhvr>
                                        <p:cTn id="198" dur="1000" autoRev="1" fill="hold"/>
                                        <p:tgtEl>
                                          <p:spTgt spid="44"/>
                                        </p:tgtEl>
                                      </p:cBhvr>
                                      <p:by x="105000" y="105000"/>
                                    </p:animScale>
                                  </p:childTnLst>
                                </p:cTn>
                              </p:par>
                              <p:par>
                                <p:cTn id="199" presetID="26" presetClass="emph" presetSubtype="0" dur="2000" repeatCount="indefinite" fill="hold" grpId="0" nodeType="withEffect">
                                  <p:stCondLst>
                                    <p:cond delay="1500"/>
                                  </p:stCondLst>
                                  <p:childTnLst>
                                    <p:animEffect transition="out" filter="fade">
                                      <p:cBhvr>
                                        <p:cTn id="200" dur="2000" tmFilter="0, 0; .2, .5; .8, .5; 1, 0"/>
                                        <p:tgtEl>
                                          <p:spTgt spid="60"/>
                                        </p:tgtEl>
                                      </p:cBhvr>
                                    </p:animEffect>
                                    <p:animScale>
                                      <p:cBhvr>
                                        <p:cTn id="201" dur="1000" autoRev="1" fill="hold"/>
                                        <p:tgtEl>
                                          <p:spTgt spid="60"/>
                                        </p:tgtEl>
                                      </p:cBhvr>
                                      <p:by x="105000" y="105000"/>
                                    </p:animScale>
                                  </p:childTnLst>
                                </p:cTn>
                              </p:par>
                              <p:par>
                                <p:cTn id="202" presetID="26" presetClass="emph" presetSubtype="0" dur="2000" repeatCount="indefinite" fill="hold" grpId="0" nodeType="withEffect">
                                  <p:stCondLst>
                                    <p:cond delay="1500"/>
                                  </p:stCondLst>
                                  <p:childTnLst>
                                    <p:animEffect transition="out" filter="fade">
                                      <p:cBhvr>
                                        <p:cTn id="203" dur="2000" tmFilter="0, 0; .2, .5; .8, .5; 1, 0"/>
                                        <p:tgtEl>
                                          <p:spTgt spid="76"/>
                                        </p:tgtEl>
                                      </p:cBhvr>
                                    </p:animEffect>
                                    <p:animScale>
                                      <p:cBhvr>
                                        <p:cTn id="204" dur="1000" autoRev="1" fill="hold"/>
                                        <p:tgtEl>
                                          <p:spTgt spid="76"/>
                                        </p:tgtEl>
                                      </p:cBhvr>
                                      <p:by x="105000" y="105000"/>
                                    </p:animScale>
                                  </p:childTnLst>
                                </p:cTn>
                              </p:par>
                              <p:par>
                                <p:cTn id="205" presetID="26" presetClass="emph" presetSubtype="0" dur="2000" repeatCount="indefinite" fill="hold" grpId="0" nodeType="withEffect">
                                  <p:stCondLst>
                                    <p:cond delay="1500"/>
                                  </p:stCondLst>
                                  <p:childTnLst>
                                    <p:animEffect transition="out" filter="fade">
                                      <p:cBhvr>
                                        <p:cTn id="206" dur="2000" tmFilter="0, 0; .2, .5; .8, .5; 1, 0"/>
                                        <p:tgtEl>
                                          <p:spTgt spid="92"/>
                                        </p:tgtEl>
                                      </p:cBhvr>
                                    </p:animEffect>
                                    <p:animScale>
                                      <p:cBhvr>
                                        <p:cTn id="207" dur="1000" autoRev="1" fill="hold"/>
                                        <p:tgtEl>
                                          <p:spTgt spid="92"/>
                                        </p:tgtEl>
                                      </p:cBhvr>
                                      <p:by x="105000" y="105000"/>
                                    </p:animScale>
                                  </p:childTnLst>
                                </p:cTn>
                              </p:par>
                              <p:par>
                                <p:cTn id="208" presetID="26" presetClass="emph" presetSubtype="0" dur="2000" repeatCount="indefinite" fill="hold" grpId="0" nodeType="withEffect">
                                  <p:stCondLst>
                                    <p:cond delay="1500"/>
                                  </p:stCondLst>
                                  <p:childTnLst>
                                    <p:animEffect transition="out" filter="fade">
                                      <p:cBhvr>
                                        <p:cTn id="209" dur="2000" tmFilter="0, 0; .2, .5; .8, .5; 1, 0"/>
                                        <p:tgtEl>
                                          <p:spTgt spid="108"/>
                                        </p:tgtEl>
                                      </p:cBhvr>
                                    </p:animEffect>
                                    <p:animScale>
                                      <p:cBhvr>
                                        <p:cTn id="210" dur="1000" autoRev="1" fill="hold"/>
                                        <p:tgtEl>
                                          <p:spTgt spid="108"/>
                                        </p:tgtEl>
                                      </p:cBhvr>
                                      <p:by x="105000" y="105000"/>
                                    </p:animScale>
                                  </p:childTnLst>
                                </p:cTn>
                              </p:par>
                              <p:par>
                                <p:cTn id="211" presetID="26" presetClass="emph" presetSubtype="0" dur="2000" repeatCount="indefinite" fill="hold" grpId="0" nodeType="withEffect">
                                  <p:stCondLst>
                                    <p:cond delay="1500"/>
                                  </p:stCondLst>
                                  <p:childTnLst>
                                    <p:animEffect transition="out" filter="fade">
                                      <p:cBhvr>
                                        <p:cTn id="212" dur="2000" tmFilter="0, 0; .2, .5; .8, .5; 1, 0"/>
                                        <p:tgtEl>
                                          <p:spTgt spid="124"/>
                                        </p:tgtEl>
                                      </p:cBhvr>
                                    </p:animEffect>
                                    <p:animScale>
                                      <p:cBhvr>
                                        <p:cTn id="213" dur="1000" autoRev="1" fill="hold"/>
                                        <p:tgtEl>
                                          <p:spTgt spid="124"/>
                                        </p:tgtEl>
                                      </p:cBhvr>
                                      <p:by x="105000" y="105000"/>
                                    </p:animScale>
                                  </p:childTnLst>
                                </p:cTn>
                              </p:par>
                              <p:par>
                                <p:cTn id="214" presetID="26" presetClass="emph" presetSubtype="0" dur="2000" repeatCount="indefinite" fill="hold" grpId="0" nodeType="withEffect">
                                  <p:stCondLst>
                                    <p:cond delay="1500"/>
                                  </p:stCondLst>
                                  <p:childTnLst>
                                    <p:animEffect transition="out" filter="fade">
                                      <p:cBhvr>
                                        <p:cTn id="215" dur="2000" tmFilter="0, 0; .2, .5; .8, .5; 1, 0"/>
                                        <p:tgtEl>
                                          <p:spTgt spid="141"/>
                                        </p:tgtEl>
                                      </p:cBhvr>
                                    </p:animEffect>
                                    <p:animScale>
                                      <p:cBhvr>
                                        <p:cTn id="216" dur="1000" autoRev="1" fill="hold"/>
                                        <p:tgtEl>
                                          <p:spTgt spid="141"/>
                                        </p:tgtEl>
                                      </p:cBhvr>
                                      <p:by x="105000" y="105000"/>
                                    </p:animScale>
                                  </p:childTnLst>
                                </p:cTn>
                              </p:par>
                              <p:par>
                                <p:cTn id="217" presetID="26" presetClass="emph" presetSubtype="0" dur="2000" repeatCount="indefinite" fill="hold" grpId="0" nodeType="withEffect">
                                  <p:stCondLst>
                                    <p:cond delay="1500"/>
                                  </p:stCondLst>
                                  <p:childTnLst>
                                    <p:animEffect transition="out" filter="fade">
                                      <p:cBhvr>
                                        <p:cTn id="218" dur="2000" tmFilter="0, 0; .2, .5; .8, .5; 1, 0"/>
                                        <p:tgtEl>
                                          <p:spTgt spid="158"/>
                                        </p:tgtEl>
                                      </p:cBhvr>
                                    </p:animEffect>
                                    <p:animScale>
                                      <p:cBhvr>
                                        <p:cTn id="219" dur="1000" autoRev="1" fill="hold"/>
                                        <p:tgtEl>
                                          <p:spTgt spid="158"/>
                                        </p:tgtEl>
                                      </p:cBhvr>
                                      <p:by x="105000" y="105000"/>
                                    </p:animScale>
                                  </p:childTnLst>
                                </p:cTn>
                              </p:par>
                              <p:par>
                                <p:cTn id="220" presetID="26" presetClass="emph" presetSubtype="0" dur="2000" repeatCount="indefinite" fill="hold" grpId="0" nodeType="withEffect">
                                  <p:stCondLst>
                                    <p:cond delay="1500"/>
                                  </p:stCondLst>
                                  <p:childTnLst>
                                    <p:animEffect transition="out" filter="fade">
                                      <p:cBhvr>
                                        <p:cTn id="221" dur="2000" tmFilter="0, 0; .2, .5; .8, .5; 1, 0"/>
                                        <p:tgtEl>
                                          <p:spTgt spid="175"/>
                                        </p:tgtEl>
                                      </p:cBhvr>
                                    </p:animEffect>
                                    <p:animScale>
                                      <p:cBhvr>
                                        <p:cTn id="222" dur="1000" autoRev="1" fill="hold"/>
                                        <p:tgtEl>
                                          <p:spTgt spid="175"/>
                                        </p:tgtEl>
                                      </p:cBhvr>
                                      <p:by x="105000" y="105000"/>
                                    </p:animScale>
                                  </p:childTnLst>
                                </p:cTn>
                              </p:par>
                              <p:par>
                                <p:cTn id="223" presetID="26" presetClass="emph" presetSubtype="0" dur="2000" repeatCount="indefinite" fill="hold" grpId="0" nodeType="withEffect">
                                  <p:stCondLst>
                                    <p:cond delay="1500"/>
                                  </p:stCondLst>
                                  <p:childTnLst>
                                    <p:animEffect transition="out" filter="fade">
                                      <p:cBhvr>
                                        <p:cTn id="224" dur="2000" tmFilter="0, 0; .2, .5; .8, .5; 1, 0"/>
                                        <p:tgtEl>
                                          <p:spTgt spid="192"/>
                                        </p:tgtEl>
                                      </p:cBhvr>
                                    </p:animEffect>
                                    <p:animScale>
                                      <p:cBhvr>
                                        <p:cTn id="225" dur="1000" autoRev="1" fill="hold"/>
                                        <p:tgtEl>
                                          <p:spTgt spid="192"/>
                                        </p:tgtEl>
                                      </p:cBhvr>
                                      <p:by x="105000" y="105000"/>
                                    </p:animScale>
                                  </p:childTnLst>
                                </p:cTn>
                              </p:par>
                              <p:par>
                                <p:cTn id="226" presetID="26" presetClass="emph" presetSubtype="0" dur="2000" repeatCount="indefinite" fill="hold" grpId="0" nodeType="withEffect">
                                  <p:stCondLst>
                                    <p:cond delay="1500"/>
                                  </p:stCondLst>
                                  <p:childTnLst>
                                    <p:animEffect transition="out" filter="fade">
                                      <p:cBhvr>
                                        <p:cTn id="227" dur="2000" tmFilter="0, 0; .2, .5; .8, .5; 1, 0"/>
                                        <p:tgtEl>
                                          <p:spTgt spid="209"/>
                                        </p:tgtEl>
                                      </p:cBhvr>
                                    </p:animEffect>
                                    <p:animScale>
                                      <p:cBhvr>
                                        <p:cTn id="228" dur="1000" autoRev="1" fill="hold"/>
                                        <p:tgtEl>
                                          <p:spTgt spid="209"/>
                                        </p:tgtEl>
                                      </p:cBhvr>
                                      <p:by x="105000" y="105000"/>
                                    </p:animScale>
                                  </p:childTnLst>
                                </p:cTn>
                              </p:par>
                              <p:par>
                                <p:cTn id="229" presetID="26" presetClass="emph" presetSubtype="0" dur="2000" repeatCount="indefinite" fill="hold" grpId="0" nodeType="withEffect">
                                  <p:stCondLst>
                                    <p:cond delay="1500"/>
                                  </p:stCondLst>
                                  <p:childTnLst>
                                    <p:animEffect transition="out" filter="fade">
                                      <p:cBhvr>
                                        <p:cTn id="230" dur="2000" tmFilter="0, 0; .2, .5; .8, .5; 1, 0"/>
                                        <p:tgtEl>
                                          <p:spTgt spid="225"/>
                                        </p:tgtEl>
                                      </p:cBhvr>
                                    </p:animEffect>
                                    <p:animScale>
                                      <p:cBhvr>
                                        <p:cTn id="231" dur="1000" autoRev="1" fill="hold"/>
                                        <p:tgtEl>
                                          <p:spTgt spid="225"/>
                                        </p:tgtEl>
                                      </p:cBhvr>
                                      <p:by x="105000" y="105000"/>
                                    </p:animScale>
                                  </p:childTnLst>
                                </p:cTn>
                              </p:par>
                              <p:par>
                                <p:cTn id="232" presetID="26" presetClass="emph" presetSubtype="0" dur="2000" repeatCount="indefinite" fill="hold" grpId="0" nodeType="withEffect">
                                  <p:stCondLst>
                                    <p:cond delay="1750"/>
                                  </p:stCondLst>
                                  <p:childTnLst>
                                    <p:animEffect transition="out" filter="fade">
                                      <p:cBhvr>
                                        <p:cTn id="233" dur="2000" tmFilter="0, 0; .2, .5; .8, .5; 1, 0"/>
                                        <p:tgtEl>
                                          <p:spTgt spid="14"/>
                                        </p:tgtEl>
                                      </p:cBhvr>
                                    </p:animEffect>
                                    <p:animScale>
                                      <p:cBhvr>
                                        <p:cTn id="234" dur="1000" autoRev="1" fill="hold"/>
                                        <p:tgtEl>
                                          <p:spTgt spid="14"/>
                                        </p:tgtEl>
                                      </p:cBhvr>
                                      <p:by x="105000" y="105000"/>
                                    </p:animScale>
                                  </p:childTnLst>
                                </p:cTn>
                              </p:par>
                              <p:par>
                                <p:cTn id="235" presetID="26" presetClass="emph" presetSubtype="0" dur="2000" repeatCount="indefinite" fill="hold" grpId="0" nodeType="withEffect">
                                  <p:stCondLst>
                                    <p:cond delay="1750"/>
                                  </p:stCondLst>
                                  <p:childTnLst>
                                    <p:animEffect transition="out" filter="fade">
                                      <p:cBhvr>
                                        <p:cTn id="236" dur="2000" tmFilter="0, 0; .2, .5; .8, .5; 1, 0"/>
                                        <p:tgtEl>
                                          <p:spTgt spid="29"/>
                                        </p:tgtEl>
                                      </p:cBhvr>
                                    </p:animEffect>
                                    <p:animScale>
                                      <p:cBhvr>
                                        <p:cTn id="237" dur="1000" autoRev="1" fill="hold"/>
                                        <p:tgtEl>
                                          <p:spTgt spid="29"/>
                                        </p:tgtEl>
                                      </p:cBhvr>
                                      <p:by x="105000" y="105000"/>
                                    </p:animScale>
                                  </p:childTnLst>
                                </p:cTn>
                              </p:par>
                              <p:par>
                                <p:cTn id="238" presetID="26" presetClass="emph" presetSubtype="0" dur="2000" repeatCount="indefinite" fill="hold" grpId="0" nodeType="withEffect">
                                  <p:stCondLst>
                                    <p:cond delay="1750"/>
                                  </p:stCondLst>
                                  <p:childTnLst>
                                    <p:animEffect transition="out" filter="fade">
                                      <p:cBhvr>
                                        <p:cTn id="239" dur="2000" tmFilter="0, 0; .2, .5; .8, .5; 1, 0"/>
                                        <p:tgtEl>
                                          <p:spTgt spid="45"/>
                                        </p:tgtEl>
                                      </p:cBhvr>
                                    </p:animEffect>
                                    <p:animScale>
                                      <p:cBhvr>
                                        <p:cTn id="240" dur="1000" autoRev="1" fill="hold"/>
                                        <p:tgtEl>
                                          <p:spTgt spid="45"/>
                                        </p:tgtEl>
                                      </p:cBhvr>
                                      <p:by x="105000" y="105000"/>
                                    </p:animScale>
                                  </p:childTnLst>
                                </p:cTn>
                              </p:par>
                              <p:par>
                                <p:cTn id="241" presetID="26" presetClass="emph" presetSubtype="0" dur="2000" repeatCount="indefinite" fill="hold" grpId="0" nodeType="withEffect">
                                  <p:stCondLst>
                                    <p:cond delay="1750"/>
                                  </p:stCondLst>
                                  <p:childTnLst>
                                    <p:animEffect transition="out" filter="fade">
                                      <p:cBhvr>
                                        <p:cTn id="242" dur="2000" tmFilter="0, 0; .2, .5; .8, .5; 1, 0"/>
                                        <p:tgtEl>
                                          <p:spTgt spid="61"/>
                                        </p:tgtEl>
                                      </p:cBhvr>
                                    </p:animEffect>
                                    <p:animScale>
                                      <p:cBhvr>
                                        <p:cTn id="243" dur="1000" autoRev="1" fill="hold"/>
                                        <p:tgtEl>
                                          <p:spTgt spid="61"/>
                                        </p:tgtEl>
                                      </p:cBhvr>
                                      <p:by x="105000" y="105000"/>
                                    </p:animScale>
                                  </p:childTnLst>
                                </p:cTn>
                              </p:par>
                              <p:par>
                                <p:cTn id="244" presetID="26" presetClass="emph" presetSubtype="0" dur="2000" repeatCount="indefinite" fill="hold" grpId="0" nodeType="withEffect">
                                  <p:stCondLst>
                                    <p:cond delay="1750"/>
                                  </p:stCondLst>
                                  <p:childTnLst>
                                    <p:animEffect transition="out" filter="fade">
                                      <p:cBhvr>
                                        <p:cTn id="245" dur="2000" tmFilter="0, 0; .2, .5; .8, .5; 1, 0"/>
                                        <p:tgtEl>
                                          <p:spTgt spid="77"/>
                                        </p:tgtEl>
                                      </p:cBhvr>
                                    </p:animEffect>
                                    <p:animScale>
                                      <p:cBhvr>
                                        <p:cTn id="246" dur="1000" autoRev="1" fill="hold"/>
                                        <p:tgtEl>
                                          <p:spTgt spid="77"/>
                                        </p:tgtEl>
                                      </p:cBhvr>
                                      <p:by x="105000" y="105000"/>
                                    </p:animScale>
                                  </p:childTnLst>
                                </p:cTn>
                              </p:par>
                              <p:par>
                                <p:cTn id="247" presetID="26" presetClass="emph" presetSubtype="0" dur="2000" repeatCount="indefinite" fill="hold" grpId="0" nodeType="withEffect">
                                  <p:stCondLst>
                                    <p:cond delay="1750"/>
                                  </p:stCondLst>
                                  <p:childTnLst>
                                    <p:animEffect transition="out" filter="fade">
                                      <p:cBhvr>
                                        <p:cTn id="248" dur="2000" tmFilter="0, 0; .2, .5; .8, .5; 1, 0"/>
                                        <p:tgtEl>
                                          <p:spTgt spid="93"/>
                                        </p:tgtEl>
                                      </p:cBhvr>
                                    </p:animEffect>
                                    <p:animScale>
                                      <p:cBhvr>
                                        <p:cTn id="249" dur="1000" autoRev="1" fill="hold"/>
                                        <p:tgtEl>
                                          <p:spTgt spid="93"/>
                                        </p:tgtEl>
                                      </p:cBhvr>
                                      <p:by x="105000" y="105000"/>
                                    </p:animScale>
                                  </p:childTnLst>
                                </p:cTn>
                              </p:par>
                              <p:par>
                                <p:cTn id="250" presetID="26" presetClass="emph" presetSubtype="0" dur="2000" repeatCount="indefinite" fill="hold" grpId="0" nodeType="withEffect">
                                  <p:stCondLst>
                                    <p:cond delay="1750"/>
                                  </p:stCondLst>
                                  <p:childTnLst>
                                    <p:animEffect transition="out" filter="fade">
                                      <p:cBhvr>
                                        <p:cTn id="251" dur="2000" tmFilter="0, 0; .2, .5; .8, .5; 1, 0"/>
                                        <p:tgtEl>
                                          <p:spTgt spid="109"/>
                                        </p:tgtEl>
                                      </p:cBhvr>
                                    </p:animEffect>
                                    <p:animScale>
                                      <p:cBhvr>
                                        <p:cTn id="252" dur="1000" autoRev="1" fill="hold"/>
                                        <p:tgtEl>
                                          <p:spTgt spid="109"/>
                                        </p:tgtEl>
                                      </p:cBhvr>
                                      <p:by x="105000" y="105000"/>
                                    </p:animScale>
                                  </p:childTnLst>
                                </p:cTn>
                              </p:par>
                              <p:par>
                                <p:cTn id="253" presetID="26" presetClass="emph" presetSubtype="0" dur="2000" repeatCount="indefinite" fill="hold" grpId="0" nodeType="withEffect">
                                  <p:stCondLst>
                                    <p:cond delay="1750"/>
                                  </p:stCondLst>
                                  <p:childTnLst>
                                    <p:animEffect transition="out" filter="fade">
                                      <p:cBhvr>
                                        <p:cTn id="254" dur="2000" tmFilter="0, 0; .2, .5; .8, .5; 1, 0"/>
                                        <p:tgtEl>
                                          <p:spTgt spid="125"/>
                                        </p:tgtEl>
                                      </p:cBhvr>
                                    </p:animEffect>
                                    <p:animScale>
                                      <p:cBhvr>
                                        <p:cTn id="255" dur="1000" autoRev="1" fill="hold"/>
                                        <p:tgtEl>
                                          <p:spTgt spid="125"/>
                                        </p:tgtEl>
                                      </p:cBhvr>
                                      <p:by x="105000" y="105000"/>
                                    </p:animScale>
                                  </p:childTnLst>
                                </p:cTn>
                              </p:par>
                              <p:par>
                                <p:cTn id="256" presetID="26" presetClass="emph" presetSubtype="0" dur="2000" repeatCount="indefinite" fill="hold" grpId="0" nodeType="withEffect">
                                  <p:stCondLst>
                                    <p:cond delay="1750"/>
                                  </p:stCondLst>
                                  <p:childTnLst>
                                    <p:animEffect transition="out" filter="fade">
                                      <p:cBhvr>
                                        <p:cTn id="257" dur="2000" tmFilter="0, 0; .2, .5; .8, .5; 1, 0"/>
                                        <p:tgtEl>
                                          <p:spTgt spid="142"/>
                                        </p:tgtEl>
                                      </p:cBhvr>
                                    </p:animEffect>
                                    <p:animScale>
                                      <p:cBhvr>
                                        <p:cTn id="258" dur="1000" autoRev="1" fill="hold"/>
                                        <p:tgtEl>
                                          <p:spTgt spid="142"/>
                                        </p:tgtEl>
                                      </p:cBhvr>
                                      <p:by x="105000" y="105000"/>
                                    </p:animScale>
                                  </p:childTnLst>
                                </p:cTn>
                              </p:par>
                              <p:par>
                                <p:cTn id="259" presetID="26" presetClass="emph" presetSubtype="0" dur="2000" repeatCount="indefinite" fill="hold" grpId="0" nodeType="withEffect">
                                  <p:stCondLst>
                                    <p:cond delay="1750"/>
                                  </p:stCondLst>
                                  <p:childTnLst>
                                    <p:animEffect transition="out" filter="fade">
                                      <p:cBhvr>
                                        <p:cTn id="260" dur="2000" tmFilter="0, 0; .2, .5; .8, .5; 1, 0"/>
                                        <p:tgtEl>
                                          <p:spTgt spid="159"/>
                                        </p:tgtEl>
                                      </p:cBhvr>
                                    </p:animEffect>
                                    <p:animScale>
                                      <p:cBhvr>
                                        <p:cTn id="261" dur="1000" autoRev="1" fill="hold"/>
                                        <p:tgtEl>
                                          <p:spTgt spid="159"/>
                                        </p:tgtEl>
                                      </p:cBhvr>
                                      <p:by x="105000" y="105000"/>
                                    </p:animScale>
                                  </p:childTnLst>
                                </p:cTn>
                              </p:par>
                              <p:par>
                                <p:cTn id="262" presetID="26" presetClass="emph" presetSubtype="0" dur="2000" repeatCount="indefinite" fill="hold" grpId="0" nodeType="withEffect">
                                  <p:stCondLst>
                                    <p:cond delay="1750"/>
                                  </p:stCondLst>
                                  <p:childTnLst>
                                    <p:animEffect transition="out" filter="fade">
                                      <p:cBhvr>
                                        <p:cTn id="263" dur="2000" tmFilter="0, 0; .2, .5; .8, .5; 1, 0"/>
                                        <p:tgtEl>
                                          <p:spTgt spid="176"/>
                                        </p:tgtEl>
                                      </p:cBhvr>
                                    </p:animEffect>
                                    <p:animScale>
                                      <p:cBhvr>
                                        <p:cTn id="264" dur="1000" autoRev="1" fill="hold"/>
                                        <p:tgtEl>
                                          <p:spTgt spid="176"/>
                                        </p:tgtEl>
                                      </p:cBhvr>
                                      <p:by x="105000" y="105000"/>
                                    </p:animScale>
                                  </p:childTnLst>
                                </p:cTn>
                              </p:par>
                              <p:par>
                                <p:cTn id="265" presetID="26" presetClass="emph" presetSubtype="0" dur="2000" repeatCount="indefinite" fill="hold" grpId="0" nodeType="withEffect">
                                  <p:stCondLst>
                                    <p:cond delay="1750"/>
                                  </p:stCondLst>
                                  <p:childTnLst>
                                    <p:animEffect transition="out" filter="fade">
                                      <p:cBhvr>
                                        <p:cTn id="266" dur="2000" tmFilter="0, 0; .2, .5; .8, .5; 1, 0"/>
                                        <p:tgtEl>
                                          <p:spTgt spid="193"/>
                                        </p:tgtEl>
                                      </p:cBhvr>
                                    </p:animEffect>
                                    <p:animScale>
                                      <p:cBhvr>
                                        <p:cTn id="267" dur="1000" autoRev="1" fill="hold"/>
                                        <p:tgtEl>
                                          <p:spTgt spid="193"/>
                                        </p:tgtEl>
                                      </p:cBhvr>
                                      <p:by x="105000" y="105000"/>
                                    </p:animScale>
                                  </p:childTnLst>
                                </p:cTn>
                              </p:par>
                              <p:par>
                                <p:cTn id="268" presetID="26" presetClass="emph" presetSubtype="0" dur="2000" repeatCount="indefinite" fill="hold" grpId="0" nodeType="withEffect">
                                  <p:stCondLst>
                                    <p:cond delay="1750"/>
                                  </p:stCondLst>
                                  <p:childTnLst>
                                    <p:animEffect transition="out" filter="fade">
                                      <p:cBhvr>
                                        <p:cTn id="269" dur="2000" tmFilter="0, 0; .2, .5; .8, .5; 1, 0"/>
                                        <p:tgtEl>
                                          <p:spTgt spid="210"/>
                                        </p:tgtEl>
                                      </p:cBhvr>
                                    </p:animEffect>
                                    <p:animScale>
                                      <p:cBhvr>
                                        <p:cTn id="270" dur="1000" autoRev="1" fill="hold"/>
                                        <p:tgtEl>
                                          <p:spTgt spid="210"/>
                                        </p:tgtEl>
                                      </p:cBhvr>
                                      <p:by x="105000" y="105000"/>
                                    </p:animScale>
                                  </p:childTnLst>
                                </p:cTn>
                              </p:par>
                              <p:par>
                                <p:cTn id="271" presetID="26" presetClass="emph" presetSubtype="0" dur="2000" repeatCount="indefinite" fill="hold" grpId="0" nodeType="withEffect">
                                  <p:stCondLst>
                                    <p:cond delay="1750"/>
                                  </p:stCondLst>
                                  <p:childTnLst>
                                    <p:animEffect transition="out" filter="fade">
                                      <p:cBhvr>
                                        <p:cTn id="272" dur="2000" tmFilter="0, 0; .2, .5; .8, .5; 1, 0"/>
                                        <p:tgtEl>
                                          <p:spTgt spid="226"/>
                                        </p:tgtEl>
                                      </p:cBhvr>
                                    </p:animEffect>
                                    <p:animScale>
                                      <p:cBhvr>
                                        <p:cTn id="273" dur="1000" autoRev="1" fill="hold"/>
                                        <p:tgtEl>
                                          <p:spTgt spid="226"/>
                                        </p:tgtEl>
                                      </p:cBhvr>
                                      <p:by x="105000" y="105000"/>
                                    </p:animScale>
                                  </p:childTnLst>
                                </p:cTn>
                              </p:par>
                              <p:par>
                                <p:cTn id="274" presetID="26" presetClass="emph" presetSubtype="0" dur="2000" repeatCount="indefinite" fill="hold" grpId="0" nodeType="withEffect">
                                  <p:stCondLst>
                                    <p:cond delay="2000"/>
                                  </p:stCondLst>
                                  <p:childTnLst>
                                    <p:animEffect transition="out" filter="fade">
                                      <p:cBhvr>
                                        <p:cTn id="275" dur="2000" tmFilter="0, 0; .2, .5; .8, .5; 1, 0"/>
                                        <p:tgtEl>
                                          <p:spTgt spid="15"/>
                                        </p:tgtEl>
                                      </p:cBhvr>
                                    </p:animEffect>
                                    <p:animScale>
                                      <p:cBhvr>
                                        <p:cTn id="276" dur="1000" autoRev="1" fill="hold"/>
                                        <p:tgtEl>
                                          <p:spTgt spid="15"/>
                                        </p:tgtEl>
                                      </p:cBhvr>
                                      <p:by x="105000" y="105000"/>
                                    </p:animScale>
                                  </p:childTnLst>
                                </p:cTn>
                              </p:par>
                              <p:par>
                                <p:cTn id="277" presetID="26" presetClass="emph" presetSubtype="0" dur="2000" repeatCount="indefinite" fill="hold" grpId="0" nodeType="withEffect">
                                  <p:stCondLst>
                                    <p:cond delay="2000"/>
                                  </p:stCondLst>
                                  <p:childTnLst>
                                    <p:animEffect transition="out" filter="fade">
                                      <p:cBhvr>
                                        <p:cTn id="278" dur="2000" tmFilter="0, 0; .2, .5; .8, .5; 1, 0"/>
                                        <p:tgtEl>
                                          <p:spTgt spid="30"/>
                                        </p:tgtEl>
                                      </p:cBhvr>
                                    </p:animEffect>
                                    <p:animScale>
                                      <p:cBhvr>
                                        <p:cTn id="279" dur="1000" autoRev="1" fill="hold"/>
                                        <p:tgtEl>
                                          <p:spTgt spid="30"/>
                                        </p:tgtEl>
                                      </p:cBhvr>
                                      <p:by x="105000" y="105000"/>
                                    </p:animScale>
                                  </p:childTnLst>
                                </p:cTn>
                              </p:par>
                              <p:par>
                                <p:cTn id="280" presetID="26" presetClass="emph" presetSubtype="0" dur="2000" repeatCount="indefinite" fill="hold" grpId="0" nodeType="withEffect">
                                  <p:stCondLst>
                                    <p:cond delay="2000"/>
                                  </p:stCondLst>
                                  <p:childTnLst>
                                    <p:animEffect transition="out" filter="fade">
                                      <p:cBhvr>
                                        <p:cTn id="281" dur="2000" tmFilter="0, 0; .2, .5; .8, .5; 1, 0"/>
                                        <p:tgtEl>
                                          <p:spTgt spid="46"/>
                                        </p:tgtEl>
                                      </p:cBhvr>
                                    </p:animEffect>
                                    <p:animScale>
                                      <p:cBhvr>
                                        <p:cTn id="282" dur="1000" autoRev="1" fill="hold"/>
                                        <p:tgtEl>
                                          <p:spTgt spid="46"/>
                                        </p:tgtEl>
                                      </p:cBhvr>
                                      <p:by x="105000" y="105000"/>
                                    </p:animScale>
                                  </p:childTnLst>
                                </p:cTn>
                              </p:par>
                              <p:par>
                                <p:cTn id="283" presetID="26" presetClass="emph" presetSubtype="0" dur="2000" repeatCount="indefinite" fill="hold" grpId="0" nodeType="withEffect">
                                  <p:stCondLst>
                                    <p:cond delay="2000"/>
                                  </p:stCondLst>
                                  <p:childTnLst>
                                    <p:animEffect transition="out" filter="fade">
                                      <p:cBhvr>
                                        <p:cTn id="284" dur="2000" tmFilter="0, 0; .2, .5; .8, .5; 1, 0"/>
                                        <p:tgtEl>
                                          <p:spTgt spid="62"/>
                                        </p:tgtEl>
                                      </p:cBhvr>
                                    </p:animEffect>
                                    <p:animScale>
                                      <p:cBhvr>
                                        <p:cTn id="285" dur="1000" autoRev="1" fill="hold"/>
                                        <p:tgtEl>
                                          <p:spTgt spid="62"/>
                                        </p:tgtEl>
                                      </p:cBhvr>
                                      <p:by x="105000" y="105000"/>
                                    </p:animScale>
                                  </p:childTnLst>
                                </p:cTn>
                              </p:par>
                              <p:par>
                                <p:cTn id="286" presetID="26" presetClass="emph" presetSubtype="0" dur="2000" repeatCount="indefinite" fill="hold" grpId="0" nodeType="withEffect">
                                  <p:stCondLst>
                                    <p:cond delay="2000"/>
                                  </p:stCondLst>
                                  <p:childTnLst>
                                    <p:animEffect transition="out" filter="fade">
                                      <p:cBhvr>
                                        <p:cTn id="287" dur="2000" tmFilter="0, 0; .2, .5; .8, .5; 1, 0"/>
                                        <p:tgtEl>
                                          <p:spTgt spid="78"/>
                                        </p:tgtEl>
                                      </p:cBhvr>
                                    </p:animEffect>
                                    <p:animScale>
                                      <p:cBhvr>
                                        <p:cTn id="288" dur="1000" autoRev="1" fill="hold"/>
                                        <p:tgtEl>
                                          <p:spTgt spid="78"/>
                                        </p:tgtEl>
                                      </p:cBhvr>
                                      <p:by x="105000" y="105000"/>
                                    </p:animScale>
                                  </p:childTnLst>
                                </p:cTn>
                              </p:par>
                              <p:par>
                                <p:cTn id="289" presetID="26" presetClass="emph" presetSubtype="0" dur="2000" repeatCount="indefinite" fill="hold" grpId="0" nodeType="withEffect">
                                  <p:stCondLst>
                                    <p:cond delay="2000"/>
                                  </p:stCondLst>
                                  <p:childTnLst>
                                    <p:animEffect transition="out" filter="fade">
                                      <p:cBhvr>
                                        <p:cTn id="290" dur="2000" tmFilter="0, 0; .2, .5; .8, .5; 1, 0"/>
                                        <p:tgtEl>
                                          <p:spTgt spid="94"/>
                                        </p:tgtEl>
                                      </p:cBhvr>
                                    </p:animEffect>
                                    <p:animScale>
                                      <p:cBhvr>
                                        <p:cTn id="291" dur="1000" autoRev="1" fill="hold"/>
                                        <p:tgtEl>
                                          <p:spTgt spid="94"/>
                                        </p:tgtEl>
                                      </p:cBhvr>
                                      <p:by x="105000" y="105000"/>
                                    </p:animScale>
                                  </p:childTnLst>
                                </p:cTn>
                              </p:par>
                              <p:par>
                                <p:cTn id="292" presetID="26" presetClass="emph" presetSubtype="0" dur="2000" repeatCount="indefinite" fill="hold" grpId="0" nodeType="withEffect">
                                  <p:stCondLst>
                                    <p:cond delay="2000"/>
                                  </p:stCondLst>
                                  <p:childTnLst>
                                    <p:animEffect transition="out" filter="fade">
                                      <p:cBhvr>
                                        <p:cTn id="293" dur="2000" tmFilter="0, 0; .2, .5; .8, .5; 1, 0"/>
                                        <p:tgtEl>
                                          <p:spTgt spid="110"/>
                                        </p:tgtEl>
                                      </p:cBhvr>
                                    </p:animEffect>
                                    <p:animScale>
                                      <p:cBhvr>
                                        <p:cTn id="294" dur="1000" autoRev="1" fill="hold"/>
                                        <p:tgtEl>
                                          <p:spTgt spid="110"/>
                                        </p:tgtEl>
                                      </p:cBhvr>
                                      <p:by x="105000" y="105000"/>
                                    </p:animScale>
                                  </p:childTnLst>
                                </p:cTn>
                              </p:par>
                              <p:par>
                                <p:cTn id="295" presetID="26" presetClass="emph" presetSubtype="0" dur="2000" repeatCount="indefinite" fill="hold" grpId="0" nodeType="withEffect">
                                  <p:stCondLst>
                                    <p:cond delay="2000"/>
                                  </p:stCondLst>
                                  <p:childTnLst>
                                    <p:animEffect transition="out" filter="fade">
                                      <p:cBhvr>
                                        <p:cTn id="296" dur="2000" tmFilter="0, 0; .2, .5; .8, .5; 1, 0"/>
                                        <p:tgtEl>
                                          <p:spTgt spid="126"/>
                                        </p:tgtEl>
                                      </p:cBhvr>
                                    </p:animEffect>
                                    <p:animScale>
                                      <p:cBhvr>
                                        <p:cTn id="297" dur="1000" autoRev="1" fill="hold"/>
                                        <p:tgtEl>
                                          <p:spTgt spid="126"/>
                                        </p:tgtEl>
                                      </p:cBhvr>
                                      <p:by x="105000" y="105000"/>
                                    </p:animScale>
                                  </p:childTnLst>
                                </p:cTn>
                              </p:par>
                              <p:par>
                                <p:cTn id="298" presetID="26" presetClass="emph" presetSubtype="0" dur="2000" repeatCount="indefinite" fill="hold" grpId="0" nodeType="withEffect">
                                  <p:stCondLst>
                                    <p:cond delay="2000"/>
                                  </p:stCondLst>
                                  <p:childTnLst>
                                    <p:animEffect transition="out" filter="fade">
                                      <p:cBhvr>
                                        <p:cTn id="299" dur="2000" tmFilter="0, 0; .2, .5; .8, .5; 1, 0"/>
                                        <p:tgtEl>
                                          <p:spTgt spid="143"/>
                                        </p:tgtEl>
                                      </p:cBhvr>
                                    </p:animEffect>
                                    <p:animScale>
                                      <p:cBhvr>
                                        <p:cTn id="300" dur="1000" autoRev="1" fill="hold"/>
                                        <p:tgtEl>
                                          <p:spTgt spid="143"/>
                                        </p:tgtEl>
                                      </p:cBhvr>
                                      <p:by x="105000" y="105000"/>
                                    </p:animScale>
                                  </p:childTnLst>
                                </p:cTn>
                              </p:par>
                              <p:par>
                                <p:cTn id="301" presetID="26" presetClass="emph" presetSubtype="0" dur="2000" repeatCount="indefinite" fill="hold" grpId="0" nodeType="withEffect">
                                  <p:stCondLst>
                                    <p:cond delay="2000"/>
                                  </p:stCondLst>
                                  <p:childTnLst>
                                    <p:animEffect transition="out" filter="fade">
                                      <p:cBhvr>
                                        <p:cTn id="302" dur="2000" tmFilter="0, 0; .2, .5; .8, .5; 1, 0"/>
                                        <p:tgtEl>
                                          <p:spTgt spid="160"/>
                                        </p:tgtEl>
                                      </p:cBhvr>
                                    </p:animEffect>
                                    <p:animScale>
                                      <p:cBhvr>
                                        <p:cTn id="303" dur="1000" autoRev="1" fill="hold"/>
                                        <p:tgtEl>
                                          <p:spTgt spid="160"/>
                                        </p:tgtEl>
                                      </p:cBhvr>
                                      <p:by x="105000" y="105000"/>
                                    </p:animScale>
                                  </p:childTnLst>
                                </p:cTn>
                              </p:par>
                              <p:par>
                                <p:cTn id="304" presetID="26" presetClass="emph" presetSubtype="0" dur="2000" repeatCount="indefinite" fill="hold" grpId="0" nodeType="withEffect">
                                  <p:stCondLst>
                                    <p:cond delay="2000"/>
                                  </p:stCondLst>
                                  <p:childTnLst>
                                    <p:animEffect transition="out" filter="fade">
                                      <p:cBhvr>
                                        <p:cTn id="305" dur="2000" tmFilter="0, 0; .2, .5; .8, .5; 1, 0"/>
                                        <p:tgtEl>
                                          <p:spTgt spid="177"/>
                                        </p:tgtEl>
                                      </p:cBhvr>
                                    </p:animEffect>
                                    <p:animScale>
                                      <p:cBhvr>
                                        <p:cTn id="306" dur="1000" autoRev="1" fill="hold"/>
                                        <p:tgtEl>
                                          <p:spTgt spid="177"/>
                                        </p:tgtEl>
                                      </p:cBhvr>
                                      <p:by x="105000" y="105000"/>
                                    </p:animScale>
                                  </p:childTnLst>
                                </p:cTn>
                              </p:par>
                              <p:par>
                                <p:cTn id="307" presetID="26" presetClass="emph" presetSubtype="0" dur="2000" repeatCount="indefinite" fill="hold" grpId="0" nodeType="withEffect">
                                  <p:stCondLst>
                                    <p:cond delay="2000"/>
                                  </p:stCondLst>
                                  <p:childTnLst>
                                    <p:animEffect transition="out" filter="fade">
                                      <p:cBhvr>
                                        <p:cTn id="308" dur="2000" tmFilter="0, 0; .2, .5; .8, .5; 1, 0"/>
                                        <p:tgtEl>
                                          <p:spTgt spid="194"/>
                                        </p:tgtEl>
                                      </p:cBhvr>
                                    </p:animEffect>
                                    <p:animScale>
                                      <p:cBhvr>
                                        <p:cTn id="309" dur="1000" autoRev="1" fill="hold"/>
                                        <p:tgtEl>
                                          <p:spTgt spid="194"/>
                                        </p:tgtEl>
                                      </p:cBhvr>
                                      <p:by x="105000" y="105000"/>
                                    </p:animScale>
                                  </p:childTnLst>
                                </p:cTn>
                              </p:par>
                              <p:par>
                                <p:cTn id="310" presetID="26" presetClass="emph" presetSubtype="0" dur="2000" repeatCount="indefinite" fill="hold" grpId="0" nodeType="withEffect">
                                  <p:stCondLst>
                                    <p:cond delay="2000"/>
                                  </p:stCondLst>
                                  <p:childTnLst>
                                    <p:animEffect transition="out" filter="fade">
                                      <p:cBhvr>
                                        <p:cTn id="311" dur="2000" tmFilter="0, 0; .2, .5; .8, .5; 1, 0"/>
                                        <p:tgtEl>
                                          <p:spTgt spid="211"/>
                                        </p:tgtEl>
                                      </p:cBhvr>
                                    </p:animEffect>
                                    <p:animScale>
                                      <p:cBhvr>
                                        <p:cTn id="312" dur="1000" autoRev="1" fill="hold"/>
                                        <p:tgtEl>
                                          <p:spTgt spid="211"/>
                                        </p:tgtEl>
                                      </p:cBhvr>
                                      <p:by x="105000" y="105000"/>
                                    </p:animScale>
                                  </p:childTnLst>
                                </p:cTn>
                              </p:par>
                              <p:par>
                                <p:cTn id="313" presetID="26" presetClass="emph" presetSubtype="0" dur="2000" repeatCount="indefinite" fill="hold" grpId="0" nodeType="withEffect">
                                  <p:stCondLst>
                                    <p:cond delay="2000"/>
                                  </p:stCondLst>
                                  <p:childTnLst>
                                    <p:animEffect transition="out" filter="fade">
                                      <p:cBhvr>
                                        <p:cTn id="314" dur="2000" tmFilter="0, 0; .2, .5; .8, .5; 1, 0"/>
                                        <p:tgtEl>
                                          <p:spTgt spid="227"/>
                                        </p:tgtEl>
                                      </p:cBhvr>
                                    </p:animEffect>
                                    <p:animScale>
                                      <p:cBhvr>
                                        <p:cTn id="315" dur="1000" autoRev="1" fill="hold"/>
                                        <p:tgtEl>
                                          <p:spTgt spid="227"/>
                                        </p:tgtEl>
                                      </p:cBhvr>
                                      <p:by x="105000" y="105000"/>
                                    </p:animScale>
                                  </p:childTnLst>
                                </p:cTn>
                              </p:par>
                              <p:par>
                                <p:cTn id="316" presetID="26" presetClass="emph" presetSubtype="0" dur="2000" repeatCount="indefinite" fill="hold" grpId="0" nodeType="withEffect">
                                  <p:stCondLst>
                                    <p:cond delay="2250"/>
                                  </p:stCondLst>
                                  <p:childTnLst>
                                    <p:animEffect transition="out" filter="fade">
                                      <p:cBhvr>
                                        <p:cTn id="317" dur="2000" tmFilter="0, 0; .2, .5; .8, .5; 1, 0"/>
                                        <p:tgtEl>
                                          <p:spTgt spid="16"/>
                                        </p:tgtEl>
                                      </p:cBhvr>
                                    </p:animEffect>
                                    <p:animScale>
                                      <p:cBhvr>
                                        <p:cTn id="318" dur="1000" autoRev="1" fill="hold"/>
                                        <p:tgtEl>
                                          <p:spTgt spid="16"/>
                                        </p:tgtEl>
                                      </p:cBhvr>
                                      <p:by x="105000" y="105000"/>
                                    </p:animScale>
                                  </p:childTnLst>
                                </p:cTn>
                              </p:par>
                              <p:par>
                                <p:cTn id="319" presetID="26" presetClass="emph" presetSubtype="0" dur="2000" repeatCount="indefinite" fill="hold" grpId="0" nodeType="withEffect">
                                  <p:stCondLst>
                                    <p:cond delay="2250"/>
                                  </p:stCondLst>
                                  <p:childTnLst>
                                    <p:animEffect transition="out" filter="fade">
                                      <p:cBhvr>
                                        <p:cTn id="320" dur="2000" tmFilter="0, 0; .2, .5; .8, .5; 1, 0"/>
                                        <p:tgtEl>
                                          <p:spTgt spid="31"/>
                                        </p:tgtEl>
                                      </p:cBhvr>
                                    </p:animEffect>
                                    <p:animScale>
                                      <p:cBhvr>
                                        <p:cTn id="321" dur="1000" autoRev="1" fill="hold"/>
                                        <p:tgtEl>
                                          <p:spTgt spid="31"/>
                                        </p:tgtEl>
                                      </p:cBhvr>
                                      <p:by x="105000" y="105000"/>
                                    </p:animScale>
                                  </p:childTnLst>
                                </p:cTn>
                              </p:par>
                              <p:par>
                                <p:cTn id="322" presetID="26" presetClass="emph" presetSubtype="0" dur="2000" repeatCount="indefinite" fill="hold" grpId="0" nodeType="withEffect">
                                  <p:stCondLst>
                                    <p:cond delay="2250"/>
                                  </p:stCondLst>
                                  <p:childTnLst>
                                    <p:animEffect transition="out" filter="fade">
                                      <p:cBhvr>
                                        <p:cTn id="323" dur="2000" tmFilter="0, 0; .2, .5; .8, .5; 1, 0"/>
                                        <p:tgtEl>
                                          <p:spTgt spid="47"/>
                                        </p:tgtEl>
                                      </p:cBhvr>
                                    </p:animEffect>
                                    <p:animScale>
                                      <p:cBhvr>
                                        <p:cTn id="324" dur="1000" autoRev="1" fill="hold"/>
                                        <p:tgtEl>
                                          <p:spTgt spid="47"/>
                                        </p:tgtEl>
                                      </p:cBhvr>
                                      <p:by x="105000" y="105000"/>
                                    </p:animScale>
                                  </p:childTnLst>
                                </p:cTn>
                              </p:par>
                              <p:par>
                                <p:cTn id="325" presetID="26" presetClass="emph" presetSubtype="0" dur="2000" repeatCount="indefinite" fill="hold" grpId="0" nodeType="withEffect">
                                  <p:stCondLst>
                                    <p:cond delay="2250"/>
                                  </p:stCondLst>
                                  <p:childTnLst>
                                    <p:animEffect transition="out" filter="fade">
                                      <p:cBhvr>
                                        <p:cTn id="326" dur="2000" tmFilter="0, 0; .2, .5; .8, .5; 1, 0"/>
                                        <p:tgtEl>
                                          <p:spTgt spid="63"/>
                                        </p:tgtEl>
                                      </p:cBhvr>
                                    </p:animEffect>
                                    <p:animScale>
                                      <p:cBhvr>
                                        <p:cTn id="327" dur="1000" autoRev="1" fill="hold"/>
                                        <p:tgtEl>
                                          <p:spTgt spid="63"/>
                                        </p:tgtEl>
                                      </p:cBhvr>
                                      <p:by x="105000" y="105000"/>
                                    </p:animScale>
                                  </p:childTnLst>
                                </p:cTn>
                              </p:par>
                              <p:par>
                                <p:cTn id="328" presetID="26" presetClass="emph" presetSubtype="0" dur="2000" repeatCount="indefinite" fill="hold" grpId="0" nodeType="withEffect">
                                  <p:stCondLst>
                                    <p:cond delay="2250"/>
                                  </p:stCondLst>
                                  <p:childTnLst>
                                    <p:animEffect transition="out" filter="fade">
                                      <p:cBhvr>
                                        <p:cTn id="329" dur="2000" tmFilter="0, 0; .2, .5; .8, .5; 1, 0"/>
                                        <p:tgtEl>
                                          <p:spTgt spid="79"/>
                                        </p:tgtEl>
                                      </p:cBhvr>
                                    </p:animEffect>
                                    <p:animScale>
                                      <p:cBhvr>
                                        <p:cTn id="330" dur="1000" autoRev="1" fill="hold"/>
                                        <p:tgtEl>
                                          <p:spTgt spid="79"/>
                                        </p:tgtEl>
                                      </p:cBhvr>
                                      <p:by x="105000" y="105000"/>
                                    </p:animScale>
                                  </p:childTnLst>
                                </p:cTn>
                              </p:par>
                              <p:par>
                                <p:cTn id="331" presetID="26" presetClass="emph" presetSubtype="0" dur="2000" repeatCount="indefinite" fill="hold" grpId="0" nodeType="withEffect">
                                  <p:stCondLst>
                                    <p:cond delay="2250"/>
                                  </p:stCondLst>
                                  <p:childTnLst>
                                    <p:animEffect transition="out" filter="fade">
                                      <p:cBhvr>
                                        <p:cTn id="332" dur="2000" tmFilter="0, 0; .2, .5; .8, .5; 1, 0"/>
                                        <p:tgtEl>
                                          <p:spTgt spid="95"/>
                                        </p:tgtEl>
                                      </p:cBhvr>
                                    </p:animEffect>
                                    <p:animScale>
                                      <p:cBhvr>
                                        <p:cTn id="333" dur="1000" autoRev="1" fill="hold"/>
                                        <p:tgtEl>
                                          <p:spTgt spid="95"/>
                                        </p:tgtEl>
                                      </p:cBhvr>
                                      <p:by x="105000" y="105000"/>
                                    </p:animScale>
                                  </p:childTnLst>
                                </p:cTn>
                              </p:par>
                              <p:par>
                                <p:cTn id="334" presetID="26" presetClass="emph" presetSubtype="0" dur="2000" repeatCount="indefinite" fill="hold" grpId="0" nodeType="withEffect">
                                  <p:stCondLst>
                                    <p:cond delay="2250"/>
                                  </p:stCondLst>
                                  <p:childTnLst>
                                    <p:animEffect transition="out" filter="fade">
                                      <p:cBhvr>
                                        <p:cTn id="335" dur="2000" tmFilter="0, 0; .2, .5; .8, .5; 1, 0"/>
                                        <p:tgtEl>
                                          <p:spTgt spid="111"/>
                                        </p:tgtEl>
                                      </p:cBhvr>
                                    </p:animEffect>
                                    <p:animScale>
                                      <p:cBhvr>
                                        <p:cTn id="336" dur="1000" autoRev="1" fill="hold"/>
                                        <p:tgtEl>
                                          <p:spTgt spid="111"/>
                                        </p:tgtEl>
                                      </p:cBhvr>
                                      <p:by x="105000" y="105000"/>
                                    </p:animScale>
                                  </p:childTnLst>
                                </p:cTn>
                              </p:par>
                              <p:par>
                                <p:cTn id="337" presetID="26" presetClass="emph" presetSubtype="0" dur="2000" repeatCount="indefinite" fill="hold" grpId="0" nodeType="withEffect">
                                  <p:stCondLst>
                                    <p:cond delay="2250"/>
                                  </p:stCondLst>
                                  <p:childTnLst>
                                    <p:animEffect transition="out" filter="fade">
                                      <p:cBhvr>
                                        <p:cTn id="338" dur="2000" tmFilter="0, 0; .2, .5; .8, .5; 1, 0"/>
                                        <p:tgtEl>
                                          <p:spTgt spid="127"/>
                                        </p:tgtEl>
                                      </p:cBhvr>
                                    </p:animEffect>
                                    <p:animScale>
                                      <p:cBhvr>
                                        <p:cTn id="339" dur="1000" autoRev="1" fill="hold"/>
                                        <p:tgtEl>
                                          <p:spTgt spid="127"/>
                                        </p:tgtEl>
                                      </p:cBhvr>
                                      <p:by x="105000" y="105000"/>
                                    </p:animScale>
                                  </p:childTnLst>
                                </p:cTn>
                              </p:par>
                              <p:par>
                                <p:cTn id="340" presetID="26" presetClass="emph" presetSubtype="0" dur="2000" repeatCount="indefinite" fill="hold" grpId="0" nodeType="withEffect">
                                  <p:stCondLst>
                                    <p:cond delay="2250"/>
                                  </p:stCondLst>
                                  <p:childTnLst>
                                    <p:animEffect transition="out" filter="fade">
                                      <p:cBhvr>
                                        <p:cTn id="341" dur="2000" tmFilter="0, 0; .2, .5; .8, .5; 1, 0"/>
                                        <p:tgtEl>
                                          <p:spTgt spid="144"/>
                                        </p:tgtEl>
                                      </p:cBhvr>
                                    </p:animEffect>
                                    <p:animScale>
                                      <p:cBhvr>
                                        <p:cTn id="342" dur="1000" autoRev="1" fill="hold"/>
                                        <p:tgtEl>
                                          <p:spTgt spid="144"/>
                                        </p:tgtEl>
                                      </p:cBhvr>
                                      <p:by x="105000" y="105000"/>
                                    </p:animScale>
                                  </p:childTnLst>
                                </p:cTn>
                              </p:par>
                              <p:par>
                                <p:cTn id="343" presetID="26" presetClass="emph" presetSubtype="0" dur="2000" repeatCount="indefinite" fill="hold" grpId="0" nodeType="withEffect">
                                  <p:stCondLst>
                                    <p:cond delay="2250"/>
                                  </p:stCondLst>
                                  <p:childTnLst>
                                    <p:animEffect transition="out" filter="fade">
                                      <p:cBhvr>
                                        <p:cTn id="344" dur="2000" tmFilter="0, 0; .2, .5; .8, .5; 1, 0"/>
                                        <p:tgtEl>
                                          <p:spTgt spid="161"/>
                                        </p:tgtEl>
                                      </p:cBhvr>
                                    </p:animEffect>
                                    <p:animScale>
                                      <p:cBhvr>
                                        <p:cTn id="345" dur="1000" autoRev="1" fill="hold"/>
                                        <p:tgtEl>
                                          <p:spTgt spid="161"/>
                                        </p:tgtEl>
                                      </p:cBhvr>
                                      <p:by x="105000" y="105000"/>
                                    </p:animScale>
                                  </p:childTnLst>
                                </p:cTn>
                              </p:par>
                              <p:par>
                                <p:cTn id="346" presetID="26" presetClass="emph" presetSubtype="0" dur="2000" repeatCount="indefinite" fill="hold" grpId="0" nodeType="withEffect">
                                  <p:stCondLst>
                                    <p:cond delay="2250"/>
                                  </p:stCondLst>
                                  <p:childTnLst>
                                    <p:animEffect transition="out" filter="fade">
                                      <p:cBhvr>
                                        <p:cTn id="347" dur="2000" tmFilter="0, 0; .2, .5; .8, .5; 1, 0"/>
                                        <p:tgtEl>
                                          <p:spTgt spid="178"/>
                                        </p:tgtEl>
                                      </p:cBhvr>
                                    </p:animEffect>
                                    <p:animScale>
                                      <p:cBhvr>
                                        <p:cTn id="348" dur="1000" autoRev="1" fill="hold"/>
                                        <p:tgtEl>
                                          <p:spTgt spid="178"/>
                                        </p:tgtEl>
                                      </p:cBhvr>
                                      <p:by x="105000" y="105000"/>
                                    </p:animScale>
                                  </p:childTnLst>
                                </p:cTn>
                              </p:par>
                              <p:par>
                                <p:cTn id="349" presetID="26" presetClass="emph" presetSubtype="0" dur="2000" repeatCount="indefinite" fill="hold" grpId="0" nodeType="withEffect">
                                  <p:stCondLst>
                                    <p:cond delay="2250"/>
                                  </p:stCondLst>
                                  <p:childTnLst>
                                    <p:animEffect transition="out" filter="fade">
                                      <p:cBhvr>
                                        <p:cTn id="350" dur="2000" tmFilter="0, 0; .2, .5; .8, .5; 1, 0"/>
                                        <p:tgtEl>
                                          <p:spTgt spid="195"/>
                                        </p:tgtEl>
                                      </p:cBhvr>
                                    </p:animEffect>
                                    <p:animScale>
                                      <p:cBhvr>
                                        <p:cTn id="351" dur="1000" autoRev="1" fill="hold"/>
                                        <p:tgtEl>
                                          <p:spTgt spid="195"/>
                                        </p:tgtEl>
                                      </p:cBhvr>
                                      <p:by x="105000" y="105000"/>
                                    </p:animScale>
                                  </p:childTnLst>
                                </p:cTn>
                              </p:par>
                              <p:par>
                                <p:cTn id="352" presetID="26" presetClass="emph" presetSubtype="0" dur="2000" repeatCount="indefinite" fill="hold" grpId="0" nodeType="withEffect">
                                  <p:stCondLst>
                                    <p:cond delay="2250"/>
                                  </p:stCondLst>
                                  <p:childTnLst>
                                    <p:animEffect transition="out" filter="fade">
                                      <p:cBhvr>
                                        <p:cTn id="353" dur="2000" tmFilter="0, 0; .2, .5; .8, .5; 1, 0"/>
                                        <p:tgtEl>
                                          <p:spTgt spid="212"/>
                                        </p:tgtEl>
                                      </p:cBhvr>
                                    </p:animEffect>
                                    <p:animScale>
                                      <p:cBhvr>
                                        <p:cTn id="354" dur="1000" autoRev="1" fill="hold"/>
                                        <p:tgtEl>
                                          <p:spTgt spid="212"/>
                                        </p:tgtEl>
                                      </p:cBhvr>
                                      <p:by x="105000" y="105000"/>
                                    </p:animScale>
                                  </p:childTnLst>
                                </p:cTn>
                              </p:par>
                              <p:par>
                                <p:cTn id="355" presetID="26" presetClass="emph" presetSubtype="0" dur="2000" repeatCount="indefinite" fill="hold" grpId="0" nodeType="withEffect">
                                  <p:stCondLst>
                                    <p:cond delay="2250"/>
                                  </p:stCondLst>
                                  <p:childTnLst>
                                    <p:animEffect transition="out" filter="fade">
                                      <p:cBhvr>
                                        <p:cTn id="356" dur="2000" tmFilter="0, 0; .2, .5; .8, .5; 1, 0"/>
                                        <p:tgtEl>
                                          <p:spTgt spid="228"/>
                                        </p:tgtEl>
                                      </p:cBhvr>
                                    </p:animEffect>
                                    <p:animScale>
                                      <p:cBhvr>
                                        <p:cTn id="357" dur="1000" autoRev="1" fill="hold"/>
                                        <p:tgtEl>
                                          <p:spTgt spid="228"/>
                                        </p:tgtEl>
                                      </p:cBhvr>
                                      <p:by x="105000" y="105000"/>
                                    </p:animScale>
                                  </p:childTnLst>
                                </p:cTn>
                              </p:par>
                              <p:par>
                                <p:cTn id="358" presetID="26" presetClass="emph" presetSubtype="0" dur="2000" repeatCount="indefinite" fill="hold" grpId="0" nodeType="withEffect">
                                  <p:stCondLst>
                                    <p:cond delay="2500"/>
                                  </p:stCondLst>
                                  <p:childTnLst>
                                    <p:animEffect transition="out" filter="fade">
                                      <p:cBhvr>
                                        <p:cTn id="359" dur="2000" tmFilter="0, 0; .2, .5; .8, .5; 1, 0"/>
                                        <p:tgtEl>
                                          <p:spTgt spid="17"/>
                                        </p:tgtEl>
                                      </p:cBhvr>
                                    </p:animEffect>
                                    <p:animScale>
                                      <p:cBhvr>
                                        <p:cTn id="360" dur="1000" autoRev="1" fill="hold"/>
                                        <p:tgtEl>
                                          <p:spTgt spid="17"/>
                                        </p:tgtEl>
                                      </p:cBhvr>
                                      <p:by x="105000" y="105000"/>
                                    </p:animScale>
                                  </p:childTnLst>
                                </p:cTn>
                              </p:par>
                              <p:par>
                                <p:cTn id="361" presetID="26" presetClass="emph" presetSubtype="0" dur="2000" repeatCount="indefinite" fill="hold" grpId="0" nodeType="withEffect">
                                  <p:stCondLst>
                                    <p:cond delay="2500"/>
                                  </p:stCondLst>
                                  <p:childTnLst>
                                    <p:animEffect transition="out" filter="fade">
                                      <p:cBhvr>
                                        <p:cTn id="362" dur="2000" tmFilter="0, 0; .2, .5; .8, .5; 1, 0"/>
                                        <p:tgtEl>
                                          <p:spTgt spid="32"/>
                                        </p:tgtEl>
                                      </p:cBhvr>
                                    </p:animEffect>
                                    <p:animScale>
                                      <p:cBhvr>
                                        <p:cTn id="363" dur="1000" autoRev="1" fill="hold"/>
                                        <p:tgtEl>
                                          <p:spTgt spid="32"/>
                                        </p:tgtEl>
                                      </p:cBhvr>
                                      <p:by x="105000" y="105000"/>
                                    </p:animScale>
                                  </p:childTnLst>
                                </p:cTn>
                              </p:par>
                              <p:par>
                                <p:cTn id="364" presetID="26" presetClass="emph" presetSubtype="0" dur="2000" repeatCount="indefinite" fill="hold" grpId="0" nodeType="withEffect">
                                  <p:stCondLst>
                                    <p:cond delay="2500"/>
                                  </p:stCondLst>
                                  <p:childTnLst>
                                    <p:animEffect transition="out" filter="fade">
                                      <p:cBhvr>
                                        <p:cTn id="365" dur="2000" tmFilter="0, 0; .2, .5; .8, .5; 1, 0"/>
                                        <p:tgtEl>
                                          <p:spTgt spid="48"/>
                                        </p:tgtEl>
                                      </p:cBhvr>
                                    </p:animEffect>
                                    <p:animScale>
                                      <p:cBhvr>
                                        <p:cTn id="366" dur="1000" autoRev="1" fill="hold"/>
                                        <p:tgtEl>
                                          <p:spTgt spid="48"/>
                                        </p:tgtEl>
                                      </p:cBhvr>
                                      <p:by x="105000" y="105000"/>
                                    </p:animScale>
                                  </p:childTnLst>
                                </p:cTn>
                              </p:par>
                              <p:par>
                                <p:cTn id="367" presetID="26" presetClass="emph" presetSubtype="0" dur="2000" repeatCount="indefinite" fill="hold" grpId="0" nodeType="withEffect">
                                  <p:stCondLst>
                                    <p:cond delay="2500"/>
                                  </p:stCondLst>
                                  <p:childTnLst>
                                    <p:animEffect transition="out" filter="fade">
                                      <p:cBhvr>
                                        <p:cTn id="368" dur="2000" tmFilter="0, 0; .2, .5; .8, .5; 1, 0"/>
                                        <p:tgtEl>
                                          <p:spTgt spid="64"/>
                                        </p:tgtEl>
                                      </p:cBhvr>
                                    </p:animEffect>
                                    <p:animScale>
                                      <p:cBhvr>
                                        <p:cTn id="369" dur="1000" autoRev="1" fill="hold"/>
                                        <p:tgtEl>
                                          <p:spTgt spid="64"/>
                                        </p:tgtEl>
                                      </p:cBhvr>
                                      <p:by x="105000" y="105000"/>
                                    </p:animScale>
                                  </p:childTnLst>
                                </p:cTn>
                              </p:par>
                              <p:par>
                                <p:cTn id="370" presetID="26" presetClass="emph" presetSubtype="0" dur="2000" repeatCount="indefinite" fill="hold" grpId="0" nodeType="withEffect">
                                  <p:stCondLst>
                                    <p:cond delay="2500"/>
                                  </p:stCondLst>
                                  <p:childTnLst>
                                    <p:animEffect transition="out" filter="fade">
                                      <p:cBhvr>
                                        <p:cTn id="371" dur="2000" tmFilter="0, 0; .2, .5; .8, .5; 1, 0"/>
                                        <p:tgtEl>
                                          <p:spTgt spid="80"/>
                                        </p:tgtEl>
                                      </p:cBhvr>
                                    </p:animEffect>
                                    <p:animScale>
                                      <p:cBhvr>
                                        <p:cTn id="372" dur="1000" autoRev="1" fill="hold"/>
                                        <p:tgtEl>
                                          <p:spTgt spid="80"/>
                                        </p:tgtEl>
                                      </p:cBhvr>
                                      <p:by x="105000" y="105000"/>
                                    </p:animScale>
                                  </p:childTnLst>
                                </p:cTn>
                              </p:par>
                              <p:par>
                                <p:cTn id="373" presetID="26" presetClass="emph" presetSubtype="0" dur="2000" repeatCount="indefinite" fill="hold" grpId="0" nodeType="withEffect">
                                  <p:stCondLst>
                                    <p:cond delay="2500"/>
                                  </p:stCondLst>
                                  <p:childTnLst>
                                    <p:animEffect transition="out" filter="fade">
                                      <p:cBhvr>
                                        <p:cTn id="374" dur="2000" tmFilter="0, 0; .2, .5; .8, .5; 1, 0"/>
                                        <p:tgtEl>
                                          <p:spTgt spid="96"/>
                                        </p:tgtEl>
                                      </p:cBhvr>
                                    </p:animEffect>
                                    <p:animScale>
                                      <p:cBhvr>
                                        <p:cTn id="375" dur="1000" autoRev="1" fill="hold"/>
                                        <p:tgtEl>
                                          <p:spTgt spid="96"/>
                                        </p:tgtEl>
                                      </p:cBhvr>
                                      <p:by x="105000" y="105000"/>
                                    </p:animScale>
                                  </p:childTnLst>
                                </p:cTn>
                              </p:par>
                              <p:par>
                                <p:cTn id="376" presetID="26" presetClass="emph" presetSubtype="0" dur="2000" repeatCount="indefinite" fill="hold" grpId="0" nodeType="withEffect">
                                  <p:stCondLst>
                                    <p:cond delay="2500"/>
                                  </p:stCondLst>
                                  <p:childTnLst>
                                    <p:animEffect transition="out" filter="fade">
                                      <p:cBhvr>
                                        <p:cTn id="377" dur="2000" tmFilter="0, 0; .2, .5; .8, .5; 1, 0"/>
                                        <p:tgtEl>
                                          <p:spTgt spid="112"/>
                                        </p:tgtEl>
                                      </p:cBhvr>
                                    </p:animEffect>
                                    <p:animScale>
                                      <p:cBhvr>
                                        <p:cTn id="378" dur="1000" autoRev="1" fill="hold"/>
                                        <p:tgtEl>
                                          <p:spTgt spid="112"/>
                                        </p:tgtEl>
                                      </p:cBhvr>
                                      <p:by x="105000" y="105000"/>
                                    </p:animScale>
                                  </p:childTnLst>
                                </p:cTn>
                              </p:par>
                              <p:par>
                                <p:cTn id="379" presetID="26" presetClass="emph" presetSubtype="0" dur="2000" repeatCount="indefinite" fill="hold" grpId="0" nodeType="withEffect">
                                  <p:stCondLst>
                                    <p:cond delay="2500"/>
                                  </p:stCondLst>
                                  <p:childTnLst>
                                    <p:animEffect transition="out" filter="fade">
                                      <p:cBhvr>
                                        <p:cTn id="380" dur="2000" tmFilter="0, 0; .2, .5; .8, .5; 1, 0"/>
                                        <p:tgtEl>
                                          <p:spTgt spid="128"/>
                                        </p:tgtEl>
                                      </p:cBhvr>
                                    </p:animEffect>
                                    <p:animScale>
                                      <p:cBhvr>
                                        <p:cTn id="381" dur="1000" autoRev="1" fill="hold"/>
                                        <p:tgtEl>
                                          <p:spTgt spid="128"/>
                                        </p:tgtEl>
                                      </p:cBhvr>
                                      <p:by x="105000" y="105000"/>
                                    </p:animScale>
                                  </p:childTnLst>
                                </p:cTn>
                              </p:par>
                              <p:par>
                                <p:cTn id="382" presetID="26" presetClass="emph" presetSubtype="0" dur="2000" repeatCount="indefinite" fill="hold" grpId="0" nodeType="withEffect">
                                  <p:stCondLst>
                                    <p:cond delay="2500"/>
                                  </p:stCondLst>
                                  <p:childTnLst>
                                    <p:animEffect transition="out" filter="fade">
                                      <p:cBhvr>
                                        <p:cTn id="383" dur="2000" tmFilter="0, 0; .2, .5; .8, .5; 1, 0"/>
                                        <p:tgtEl>
                                          <p:spTgt spid="145"/>
                                        </p:tgtEl>
                                      </p:cBhvr>
                                    </p:animEffect>
                                    <p:animScale>
                                      <p:cBhvr>
                                        <p:cTn id="384" dur="1000" autoRev="1" fill="hold"/>
                                        <p:tgtEl>
                                          <p:spTgt spid="145"/>
                                        </p:tgtEl>
                                      </p:cBhvr>
                                      <p:by x="105000" y="105000"/>
                                    </p:animScale>
                                  </p:childTnLst>
                                </p:cTn>
                              </p:par>
                              <p:par>
                                <p:cTn id="385" presetID="26" presetClass="emph" presetSubtype="0" dur="2000" repeatCount="indefinite" fill="hold" grpId="0" nodeType="withEffect">
                                  <p:stCondLst>
                                    <p:cond delay="2500"/>
                                  </p:stCondLst>
                                  <p:childTnLst>
                                    <p:animEffect transition="out" filter="fade">
                                      <p:cBhvr>
                                        <p:cTn id="386" dur="2000" tmFilter="0, 0; .2, .5; .8, .5; 1, 0"/>
                                        <p:tgtEl>
                                          <p:spTgt spid="162"/>
                                        </p:tgtEl>
                                      </p:cBhvr>
                                    </p:animEffect>
                                    <p:animScale>
                                      <p:cBhvr>
                                        <p:cTn id="387" dur="1000" autoRev="1" fill="hold"/>
                                        <p:tgtEl>
                                          <p:spTgt spid="162"/>
                                        </p:tgtEl>
                                      </p:cBhvr>
                                      <p:by x="105000" y="105000"/>
                                    </p:animScale>
                                  </p:childTnLst>
                                </p:cTn>
                              </p:par>
                              <p:par>
                                <p:cTn id="388" presetID="26" presetClass="emph" presetSubtype="0" dur="2000" repeatCount="indefinite" fill="hold" grpId="0" nodeType="withEffect">
                                  <p:stCondLst>
                                    <p:cond delay="2500"/>
                                  </p:stCondLst>
                                  <p:childTnLst>
                                    <p:animEffect transition="out" filter="fade">
                                      <p:cBhvr>
                                        <p:cTn id="389" dur="2000" tmFilter="0, 0; .2, .5; .8, .5; 1, 0"/>
                                        <p:tgtEl>
                                          <p:spTgt spid="179"/>
                                        </p:tgtEl>
                                      </p:cBhvr>
                                    </p:animEffect>
                                    <p:animScale>
                                      <p:cBhvr>
                                        <p:cTn id="390" dur="1000" autoRev="1" fill="hold"/>
                                        <p:tgtEl>
                                          <p:spTgt spid="179"/>
                                        </p:tgtEl>
                                      </p:cBhvr>
                                      <p:by x="105000" y="105000"/>
                                    </p:animScale>
                                  </p:childTnLst>
                                </p:cTn>
                              </p:par>
                              <p:par>
                                <p:cTn id="391" presetID="26" presetClass="emph" presetSubtype="0" dur="2000" repeatCount="indefinite" fill="hold" grpId="0" nodeType="withEffect">
                                  <p:stCondLst>
                                    <p:cond delay="2500"/>
                                  </p:stCondLst>
                                  <p:childTnLst>
                                    <p:animEffect transition="out" filter="fade">
                                      <p:cBhvr>
                                        <p:cTn id="392" dur="2000" tmFilter="0, 0; .2, .5; .8, .5; 1, 0"/>
                                        <p:tgtEl>
                                          <p:spTgt spid="196"/>
                                        </p:tgtEl>
                                      </p:cBhvr>
                                    </p:animEffect>
                                    <p:animScale>
                                      <p:cBhvr>
                                        <p:cTn id="393" dur="1000" autoRev="1" fill="hold"/>
                                        <p:tgtEl>
                                          <p:spTgt spid="196"/>
                                        </p:tgtEl>
                                      </p:cBhvr>
                                      <p:by x="105000" y="105000"/>
                                    </p:animScale>
                                  </p:childTnLst>
                                </p:cTn>
                              </p:par>
                              <p:par>
                                <p:cTn id="394" presetID="26" presetClass="emph" presetSubtype="0" dur="2000" repeatCount="indefinite" fill="hold" grpId="0" nodeType="withEffect">
                                  <p:stCondLst>
                                    <p:cond delay="2500"/>
                                  </p:stCondLst>
                                  <p:childTnLst>
                                    <p:animEffect transition="out" filter="fade">
                                      <p:cBhvr>
                                        <p:cTn id="395" dur="2000" tmFilter="0, 0; .2, .5; .8, .5; 1, 0"/>
                                        <p:tgtEl>
                                          <p:spTgt spid="213"/>
                                        </p:tgtEl>
                                      </p:cBhvr>
                                    </p:animEffect>
                                    <p:animScale>
                                      <p:cBhvr>
                                        <p:cTn id="396" dur="1000" autoRev="1" fill="hold"/>
                                        <p:tgtEl>
                                          <p:spTgt spid="213"/>
                                        </p:tgtEl>
                                      </p:cBhvr>
                                      <p:by x="105000" y="105000"/>
                                    </p:animScale>
                                  </p:childTnLst>
                                </p:cTn>
                              </p:par>
                              <p:par>
                                <p:cTn id="397" presetID="26" presetClass="emph" presetSubtype="0" dur="2000" repeatCount="indefinite" fill="hold" grpId="0" nodeType="withEffect">
                                  <p:stCondLst>
                                    <p:cond delay="2500"/>
                                  </p:stCondLst>
                                  <p:childTnLst>
                                    <p:animEffect transition="out" filter="fade">
                                      <p:cBhvr>
                                        <p:cTn id="398" dur="2000" tmFilter="0, 0; .2, .5; .8, .5; 1, 0"/>
                                        <p:tgtEl>
                                          <p:spTgt spid="229"/>
                                        </p:tgtEl>
                                      </p:cBhvr>
                                    </p:animEffect>
                                    <p:animScale>
                                      <p:cBhvr>
                                        <p:cTn id="399" dur="1000" autoRev="1" fill="hold"/>
                                        <p:tgtEl>
                                          <p:spTgt spid="229"/>
                                        </p:tgtEl>
                                      </p:cBhvr>
                                      <p:by x="105000" y="105000"/>
                                    </p:animScale>
                                  </p:childTnLst>
                                </p:cTn>
                              </p:par>
                              <p:par>
                                <p:cTn id="400" presetID="26" presetClass="emph" presetSubtype="0" dur="2000" repeatCount="indefinite" fill="hold" grpId="0" nodeType="withEffect">
                                  <p:stCondLst>
                                    <p:cond delay="2750"/>
                                  </p:stCondLst>
                                  <p:childTnLst>
                                    <p:animEffect transition="out" filter="fade">
                                      <p:cBhvr>
                                        <p:cTn id="401" dur="2000" tmFilter="0, 0; .2, .5; .8, .5; 1, 0"/>
                                        <p:tgtEl>
                                          <p:spTgt spid="18"/>
                                        </p:tgtEl>
                                      </p:cBhvr>
                                    </p:animEffect>
                                    <p:animScale>
                                      <p:cBhvr>
                                        <p:cTn id="402" dur="1000" autoRev="1" fill="hold"/>
                                        <p:tgtEl>
                                          <p:spTgt spid="18"/>
                                        </p:tgtEl>
                                      </p:cBhvr>
                                      <p:by x="105000" y="105000"/>
                                    </p:animScale>
                                  </p:childTnLst>
                                </p:cTn>
                              </p:par>
                              <p:par>
                                <p:cTn id="403" presetID="26" presetClass="emph" presetSubtype="0" dur="2000" repeatCount="indefinite" fill="hold" grpId="0" nodeType="withEffect">
                                  <p:stCondLst>
                                    <p:cond delay="2750"/>
                                  </p:stCondLst>
                                  <p:childTnLst>
                                    <p:animEffect transition="out" filter="fade">
                                      <p:cBhvr>
                                        <p:cTn id="404" dur="2000" tmFilter="0, 0; .2, .5; .8, .5; 1, 0"/>
                                        <p:tgtEl>
                                          <p:spTgt spid="33"/>
                                        </p:tgtEl>
                                      </p:cBhvr>
                                    </p:animEffect>
                                    <p:animScale>
                                      <p:cBhvr>
                                        <p:cTn id="405" dur="1000" autoRev="1" fill="hold"/>
                                        <p:tgtEl>
                                          <p:spTgt spid="33"/>
                                        </p:tgtEl>
                                      </p:cBhvr>
                                      <p:by x="105000" y="105000"/>
                                    </p:animScale>
                                  </p:childTnLst>
                                </p:cTn>
                              </p:par>
                              <p:par>
                                <p:cTn id="406" presetID="26" presetClass="emph" presetSubtype="0" dur="2000" repeatCount="indefinite" fill="hold" grpId="0" nodeType="withEffect">
                                  <p:stCondLst>
                                    <p:cond delay="2750"/>
                                  </p:stCondLst>
                                  <p:childTnLst>
                                    <p:animEffect transition="out" filter="fade">
                                      <p:cBhvr>
                                        <p:cTn id="407" dur="2000" tmFilter="0, 0; .2, .5; .8, .5; 1, 0"/>
                                        <p:tgtEl>
                                          <p:spTgt spid="49"/>
                                        </p:tgtEl>
                                      </p:cBhvr>
                                    </p:animEffect>
                                    <p:animScale>
                                      <p:cBhvr>
                                        <p:cTn id="408" dur="1000" autoRev="1" fill="hold"/>
                                        <p:tgtEl>
                                          <p:spTgt spid="49"/>
                                        </p:tgtEl>
                                      </p:cBhvr>
                                      <p:by x="105000" y="105000"/>
                                    </p:animScale>
                                  </p:childTnLst>
                                </p:cTn>
                              </p:par>
                              <p:par>
                                <p:cTn id="409" presetID="26" presetClass="emph" presetSubtype="0" dur="2000" repeatCount="indefinite" fill="hold" grpId="0" nodeType="withEffect">
                                  <p:stCondLst>
                                    <p:cond delay="2750"/>
                                  </p:stCondLst>
                                  <p:childTnLst>
                                    <p:animEffect transition="out" filter="fade">
                                      <p:cBhvr>
                                        <p:cTn id="410" dur="2000" tmFilter="0, 0; .2, .5; .8, .5; 1, 0"/>
                                        <p:tgtEl>
                                          <p:spTgt spid="65"/>
                                        </p:tgtEl>
                                      </p:cBhvr>
                                    </p:animEffect>
                                    <p:animScale>
                                      <p:cBhvr>
                                        <p:cTn id="411" dur="1000" autoRev="1" fill="hold"/>
                                        <p:tgtEl>
                                          <p:spTgt spid="65"/>
                                        </p:tgtEl>
                                      </p:cBhvr>
                                      <p:by x="105000" y="105000"/>
                                    </p:animScale>
                                  </p:childTnLst>
                                </p:cTn>
                              </p:par>
                              <p:par>
                                <p:cTn id="412" presetID="26" presetClass="emph" presetSubtype="0" dur="2000" repeatCount="indefinite" fill="hold" grpId="0" nodeType="withEffect">
                                  <p:stCondLst>
                                    <p:cond delay="2750"/>
                                  </p:stCondLst>
                                  <p:childTnLst>
                                    <p:animEffect transition="out" filter="fade">
                                      <p:cBhvr>
                                        <p:cTn id="413" dur="2000" tmFilter="0, 0; .2, .5; .8, .5; 1, 0"/>
                                        <p:tgtEl>
                                          <p:spTgt spid="81"/>
                                        </p:tgtEl>
                                      </p:cBhvr>
                                    </p:animEffect>
                                    <p:animScale>
                                      <p:cBhvr>
                                        <p:cTn id="414" dur="1000" autoRev="1" fill="hold"/>
                                        <p:tgtEl>
                                          <p:spTgt spid="81"/>
                                        </p:tgtEl>
                                      </p:cBhvr>
                                      <p:by x="105000" y="105000"/>
                                    </p:animScale>
                                  </p:childTnLst>
                                </p:cTn>
                              </p:par>
                              <p:par>
                                <p:cTn id="415" presetID="26" presetClass="emph" presetSubtype="0" dur="2000" repeatCount="indefinite" fill="hold" grpId="0" nodeType="withEffect">
                                  <p:stCondLst>
                                    <p:cond delay="2750"/>
                                  </p:stCondLst>
                                  <p:childTnLst>
                                    <p:animEffect transition="out" filter="fade">
                                      <p:cBhvr>
                                        <p:cTn id="416" dur="2000" tmFilter="0, 0; .2, .5; .8, .5; 1, 0"/>
                                        <p:tgtEl>
                                          <p:spTgt spid="97"/>
                                        </p:tgtEl>
                                      </p:cBhvr>
                                    </p:animEffect>
                                    <p:animScale>
                                      <p:cBhvr>
                                        <p:cTn id="417" dur="1000" autoRev="1" fill="hold"/>
                                        <p:tgtEl>
                                          <p:spTgt spid="97"/>
                                        </p:tgtEl>
                                      </p:cBhvr>
                                      <p:by x="105000" y="105000"/>
                                    </p:animScale>
                                  </p:childTnLst>
                                </p:cTn>
                              </p:par>
                              <p:par>
                                <p:cTn id="418" presetID="26" presetClass="emph" presetSubtype="0" dur="2000" repeatCount="indefinite" fill="hold" grpId="0" nodeType="withEffect">
                                  <p:stCondLst>
                                    <p:cond delay="2750"/>
                                  </p:stCondLst>
                                  <p:childTnLst>
                                    <p:animEffect transition="out" filter="fade">
                                      <p:cBhvr>
                                        <p:cTn id="419" dur="2000" tmFilter="0, 0; .2, .5; .8, .5; 1, 0"/>
                                        <p:tgtEl>
                                          <p:spTgt spid="113"/>
                                        </p:tgtEl>
                                      </p:cBhvr>
                                    </p:animEffect>
                                    <p:animScale>
                                      <p:cBhvr>
                                        <p:cTn id="420" dur="1000" autoRev="1" fill="hold"/>
                                        <p:tgtEl>
                                          <p:spTgt spid="113"/>
                                        </p:tgtEl>
                                      </p:cBhvr>
                                      <p:by x="105000" y="105000"/>
                                    </p:animScale>
                                  </p:childTnLst>
                                </p:cTn>
                              </p:par>
                              <p:par>
                                <p:cTn id="421" presetID="26" presetClass="emph" presetSubtype="0" dur="2000" repeatCount="indefinite" fill="hold" grpId="0" nodeType="withEffect">
                                  <p:stCondLst>
                                    <p:cond delay="2750"/>
                                  </p:stCondLst>
                                  <p:childTnLst>
                                    <p:animEffect transition="out" filter="fade">
                                      <p:cBhvr>
                                        <p:cTn id="422" dur="2000" tmFilter="0, 0; .2, .5; .8, .5; 1, 0"/>
                                        <p:tgtEl>
                                          <p:spTgt spid="129"/>
                                        </p:tgtEl>
                                      </p:cBhvr>
                                    </p:animEffect>
                                    <p:animScale>
                                      <p:cBhvr>
                                        <p:cTn id="423" dur="1000" autoRev="1" fill="hold"/>
                                        <p:tgtEl>
                                          <p:spTgt spid="129"/>
                                        </p:tgtEl>
                                      </p:cBhvr>
                                      <p:by x="105000" y="105000"/>
                                    </p:animScale>
                                  </p:childTnLst>
                                </p:cTn>
                              </p:par>
                              <p:par>
                                <p:cTn id="424" presetID="26" presetClass="emph" presetSubtype="0" dur="2000" repeatCount="indefinite" fill="hold" grpId="0" nodeType="withEffect">
                                  <p:stCondLst>
                                    <p:cond delay="2750"/>
                                  </p:stCondLst>
                                  <p:childTnLst>
                                    <p:animEffect transition="out" filter="fade">
                                      <p:cBhvr>
                                        <p:cTn id="425" dur="2000" tmFilter="0, 0; .2, .5; .8, .5; 1, 0"/>
                                        <p:tgtEl>
                                          <p:spTgt spid="146"/>
                                        </p:tgtEl>
                                      </p:cBhvr>
                                    </p:animEffect>
                                    <p:animScale>
                                      <p:cBhvr>
                                        <p:cTn id="426" dur="1000" autoRev="1" fill="hold"/>
                                        <p:tgtEl>
                                          <p:spTgt spid="146"/>
                                        </p:tgtEl>
                                      </p:cBhvr>
                                      <p:by x="105000" y="105000"/>
                                    </p:animScale>
                                  </p:childTnLst>
                                </p:cTn>
                              </p:par>
                              <p:par>
                                <p:cTn id="427" presetID="26" presetClass="emph" presetSubtype="0" dur="2000" repeatCount="indefinite" fill="hold" grpId="0" nodeType="withEffect">
                                  <p:stCondLst>
                                    <p:cond delay="2750"/>
                                  </p:stCondLst>
                                  <p:childTnLst>
                                    <p:animEffect transition="out" filter="fade">
                                      <p:cBhvr>
                                        <p:cTn id="428" dur="2000" tmFilter="0, 0; .2, .5; .8, .5; 1, 0"/>
                                        <p:tgtEl>
                                          <p:spTgt spid="163"/>
                                        </p:tgtEl>
                                      </p:cBhvr>
                                    </p:animEffect>
                                    <p:animScale>
                                      <p:cBhvr>
                                        <p:cTn id="429" dur="1000" autoRev="1" fill="hold"/>
                                        <p:tgtEl>
                                          <p:spTgt spid="163"/>
                                        </p:tgtEl>
                                      </p:cBhvr>
                                      <p:by x="105000" y="105000"/>
                                    </p:animScale>
                                  </p:childTnLst>
                                </p:cTn>
                              </p:par>
                              <p:par>
                                <p:cTn id="430" presetID="26" presetClass="emph" presetSubtype="0" dur="2000" repeatCount="indefinite" fill="hold" grpId="0" nodeType="withEffect">
                                  <p:stCondLst>
                                    <p:cond delay="2750"/>
                                  </p:stCondLst>
                                  <p:childTnLst>
                                    <p:animEffect transition="out" filter="fade">
                                      <p:cBhvr>
                                        <p:cTn id="431" dur="2000" tmFilter="0, 0; .2, .5; .8, .5; 1, 0"/>
                                        <p:tgtEl>
                                          <p:spTgt spid="180"/>
                                        </p:tgtEl>
                                      </p:cBhvr>
                                    </p:animEffect>
                                    <p:animScale>
                                      <p:cBhvr>
                                        <p:cTn id="432" dur="1000" autoRev="1" fill="hold"/>
                                        <p:tgtEl>
                                          <p:spTgt spid="180"/>
                                        </p:tgtEl>
                                      </p:cBhvr>
                                      <p:by x="105000" y="105000"/>
                                    </p:animScale>
                                  </p:childTnLst>
                                </p:cTn>
                              </p:par>
                              <p:par>
                                <p:cTn id="433" presetID="26" presetClass="emph" presetSubtype="0" dur="2000" repeatCount="indefinite" fill="hold" grpId="0" nodeType="withEffect">
                                  <p:stCondLst>
                                    <p:cond delay="2750"/>
                                  </p:stCondLst>
                                  <p:childTnLst>
                                    <p:animEffect transition="out" filter="fade">
                                      <p:cBhvr>
                                        <p:cTn id="434" dur="2000" tmFilter="0, 0; .2, .5; .8, .5; 1, 0"/>
                                        <p:tgtEl>
                                          <p:spTgt spid="197"/>
                                        </p:tgtEl>
                                      </p:cBhvr>
                                    </p:animEffect>
                                    <p:animScale>
                                      <p:cBhvr>
                                        <p:cTn id="435" dur="1000" autoRev="1" fill="hold"/>
                                        <p:tgtEl>
                                          <p:spTgt spid="197"/>
                                        </p:tgtEl>
                                      </p:cBhvr>
                                      <p:by x="105000" y="105000"/>
                                    </p:animScale>
                                  </p:childTnLst>
                                </p:cTn>
                              </p:par>
                              <p:par>
                                <p:cTn id="436" presetID="26" presetClass="emph" presetSubtype="0" dur="2000" repeatCount="indefinite" fill="hold" grpId="0" nodeType="withEffect">
                                  <p:stCondLst>
                                    <p:cond delay="2750"/>
                                  </p:stCondLst>
                                  <p:childTnLst>
                                    <p:animEffect transition="out" filter="fade">
                                      <p:cBhvr>
                                        <p:cTn id="437" dur="2000" tmFilter="0, 0; .2, .5; .8, .5; 1, 0"/>
                                        <p:tgtEl>
                                          <p:spTgt spid="214"/>
                                        </p:tgtEl>
                                      </p:cBhvr>
                                    </p:animEffect>
                                    <p:animScale>
                                      <p:cBhvr>
                                        <p:cTn id="438" dur="1000" autoRev="1" fill="hold"/>
                                        <p:tgtEl>
                                          <p:spTgt spid="214"/>
                                        </p:tgtEl>
                                      </p:cBhvr>
                                      <p:by x="105000" y="105000"/>
                                    </p:animScale>
                                  </p:childTnLst>
                                </p:cTn>
                              </p:par>
                              <p:par>
                                <p:cTn id="439" presetID="26" presetClass="emph" presetSubtype="0" dur="2000" repeatCount="indefinite" fill="hold" grpId="0" nodeType="withEffect">
                                  <p:stCondLst>
                                    <p:cond delay="2750"/>
                                  </p:stCondLst>
                                  <p:childTnLst>
                                    <p:animEffect transition="out" filter="fade">
                                      <p:cBhvr>
                                        <p:cTn id="440" dur="2000" tmFilter="0, 0; .2, .5; .8, .5; 1, 0"/>
                                        <p:tgtEl>
                                          <p:spTgt spid="230"/>
                                        </p:tgtEl>
                                      </p:cBhvr>
                                    </p:animEffect>
                                    <p:animScale>
                                      <p:cBhvr>
                                        <p:cTn id="441" dur="1000" autoRev="1" fill="hold"/>
                                        <p:tgtEl>
                                          <p:spTgt spid="230"/>
                                        </p:tgtEl>
                                      </p:cBhvr>
                                      <p:by x="105000" y="105000"/>
                                    </p:animScale>
                                  </p:childTnLst>
                                </p:cTn>
                              </p:par>
                              <p:par>
                                <p:cTn id="442" presetID="26" presetClass="emph" presetSubtype="0" dur="2000" repeatCount="indefinite" fill="hold" grpId="0" nodeType="withEffect">
                                  <p:stCondLst>
                                    <p:cond delay="3000"/>
                                  </p:stCondLst>
                                  <p:childTnLst>
                                    <p:animEffect transition="out" filter="fade">
                                      <p:cBhvr>
                                        <p:cTn id="443" dur="2000" tmFilter="0, 0; .2, .5; .8, .5; 1, 0"/>
                                        <p:tgtEl>
                                          <p:spTgt spid="19"/>
                                        </p:tgtEl>
                                      </p:cBhvr>
                                    </p:animEffect>
                                    <p:animScale>
                                      <p:cBhvr>
                                        <p:cTn id="444" dur="1000" autoRev="1" fill="hold"/>
                                        <p:tgtEl>
                                          <p:spTgt spid="19"/>
                                        </p:tgtEl>
                                      </p:cBhvr>
                                      <p:by x="105000" y="105000"/>
                                    </p:animScale>
                                  </p:childTnLst>
                                </p:cTn>
                              </p:par>
                              <p:par>
                                <p:cTn id="445" presetID="26" presetClass="emph" presetSubtype="0" dur="2000" repeatCount="indefinite" fill="hold" grpId="0" nodeType="withEffect">
                                  <p:stCondLst>
                                    <p:cond delay="3000"/>
                                  </p:stCondLst>
                                  <p:childTnLst>
                                    <p:animEffect transition="out" filter="fade">
                                      <p:cBhvr>
                                        <p:cTn id="446" dur="2000" tmFilter="0, 0; .2, .5; .8, .5; 1, 0"/>
                                        <p:tgtEl>
                                          <p:spTgt spid="34"/>
                                        </p:tgtEl>
                                      </p:cBhvr>
                                    </p:animEffect>
                                    <p:animScale>
                                      <p:cBhvr>
                                        <p:cTn id="447" dur="1000" autoRev="1" fill="hold"/>
                                        <p:tgtEl>
                                          <p:spTgt spid="34"/>
                                        </p:tgtEl>
                                      </p:cBhvr>
                                      <p:by x="105000" y="105000"/>
                                    </p:animScale>
                                  </p:childTnLst>
                                </p:cTn>
                              </p:par>
                              <p:par>
                                <p:cTn id="448" presetID="26" presetClass="emph" presetSubtype="0" dur="2000" repeatCount="indefinite" fill="hold" grpId="0" nodeType="withEffect">
                                  <p:stCondLst>
                                    <p:cond delay="3000"/>
                                  </p:stCondLst>
                                  <p:childTnLst>
                                    <p:animEffect transition="out" filter="fade">
                                      <p:cBhvr>
                                        <p:cTn id="449" dur="2000" tmFilter="0, 0; .2, .5; .8, .5; 1, 0"/>
                                        <p:tgtEl>
                                          <p:spTgt spid="50"/>
                                        </p:tgtEl>
                                      </p:cBhvr>
                                    </p:animEffect>
                                    <p:animScale>
                                      <p:cBhvr>
                                        <p:cTn id="450" dur="1000" autoRev="1" fill="hold"/>
                                        <p:tgtEl>
                                          <p:spTgt spid="50"/>
                                        </p:tgtEl>
                                      </p:cBhvr>
                                      <p:by x="105000" y="105000"/>
                                    </p:animScale>
                                  </p:childTnLst>
                                </p:cTn>
                              </p:par>
                              <p:par>
                                <p:cTn id="451" presetID="26" presetClass="emph" presetSubtype="0" dur="2000" repeatCount="indefinite" fill="hold" grpId="0" nodeType="withEffect">
                                  <p:stCondLst>
                                    <p:cond delay="3000"/>
                                  </p:stCondLst>
                                  <p:childTnLst>
                                    <p:animEffect transition="out" filter="fade">
                                      <p:cBhvr>
                                        <p:cTn id="452" dur="2000" tmFilter="0, 0; .2, .5; .8, .5; 1, 0"/>
                                        <p:tgtEl>
                                          <p:spTgt spid="66"/>
                                        </p:tgtEl>
                                      </p:cBhvr>
                                    </p:animEffect>
                                    <p:animScale>
                                      <p:cBhvr>
                                        <p:cTn id="453" dur="1000" autoRev="1" fill="hold"/>
                                        <p:tgtEl>
                                          <p:spTgt spid="66"/>
                                        </p:tgtEl>
                                      </p:cBhvr>
                                      <p:by x="105000" y="105000"/>
                                    </p:animScale>
                                  </p:childTnLst>
                                </p:cTn>
                              </p:par>
                              <p:par>
                                <p:cTn id="454" presetID="26" presetClass="emph" presetSubtype="0" dur="2000" repeatCount="indefinite" fill="hold" grpId="0" nodeType="withEffect">
                                  <p:stCondLst>
                                    <p:cond delay="3000"/>
                                  </p:stCondLst>
                                  <p:childTnLst>
                                    <p:animEffect transition="out" filter="fade">
                                      <p:cBhvr>
                                        <p:cTn id="455" dur="2000" tmFilter="0, 0; .2, .5; .8, .5; 1, 0"/>
                                        <p:tgtEl>
                                          <p:spTgt spid="82"/>
                                        </p:tgtEl>
                                      </p:cBhvr>
                                    </p:animEffect>
                                    <p:animScale>
                                      <p:cBhvr>
                                        <p:cTn id="456" dur="1000" autoRev="1" fill="hold"/>
                                        <p:tgtEl>
                                          <p:spTgt spid="82"/>
                                        </p:tgtEl>
                                      </p:cBhvr>
                                      <p:by x="105000" y="105000"/>
                                    </p:animScale>
                                  </p:childTnLst>
                                </p:cTn>
                              </p:par>
                              <p:par>
                                <p:cTn id="457" presetID="26" presetClass="emph" presetSubtype="0" dur="2000" repeatCount="indefinite" fill="hold" grpId="0" nodeType="withEffect">
                                  <p:stCondLst>
                                    <p:cond delay="3000"/>
                                  </p:stCondLst>
                                  <p:childTnLst>
                                    <p:animEffect transition="out" filter="fade">
                                      <p:cBhvr>
                                        <p:cTn id="458" dur="2000" tmFilter="0, 0; .2, .5; .8, .5; 1, 0"/>
                                        <p:tgtEl>
                                          <p:spTgt spid="98"/>
                                        </p:tgtEl>
                                      </p:cBhvr>
                                    </p:animEffect>
                                    <p:animScale>
                                      <p:cBhvr>
                                        <p:cTn id="459" dur="1000" autoRev="1" fill="hold"/>
                                        <p:tgtEl>
                                          <p:spTgt spid="98"/>
                                        </p:tgtEl>
                                      </p:cBhvr>
                                      <p:by x="105000" y="105000"/>
                                    </p:animScale>
                                  </p:childTnLst>
                                </p:cTn>
                              </p:par>
                              <p:par>
                                <p:cTn id="460" presetID="26" presetClass="emph" presetSubtype="0" dur="2000" repeatCount="indefinite" fill="hold" grpId="0" nodeType="withEffect">
                                  <p:stCondLst>
                                    <p:cond delay="3000"/>
                                  </p:stCondLst>
                                  <p:childTnLst>
                                    <p:animEffect transition="out" filter="fade">
                                      <p:cBhvr>
                                        <p:cTn id="461" dur="2000" tmFilter="0, 0; .2, .5; .8, .5; 1, 0"/>
                                        <p:tgtEl>
                                          <p:spTgt spid="114"/>
                                        </p:tgtEl>
                                      </p:cBhvr>
                                    </p:animEffect>
                                    <p:animScale>
                                      <p:cBhvr>
                                        <p:cTn id="462" dur="1000" autoRev="1" fill="hold"/>
                                        <p:tgtEl>
                                          <p:spTgt spid="114"/>
                                        </p:tgtEl>
                                      </p:cBhvr>
                                      <p:by x="105000" y="105000"/>
                                    </p:animScale>
                                  </p:childTnLst>
                                </p:cTn>
                              </p:par>
                              <p:par>
                                <p:cTn id="463" presetID="26" presetClass="emph" presetSubtype="0" dur="2000" repeatCount="indefinite" fill="hold" grpId="0" nodeType="withEffect">
                                  <p:stCondLst>
                                    <p:cond delay="3000"/>
                                  </p:stCondLst>
                                  <p:childTnLst>
                                    <p:animEffect transition="out" filter="fade">
                                      <p:cBhvr>
                                        <p:cTn id="464" dur="2000" tmFilter="0, 0; .2, .5; .8, .5; 1, 0"/>
                                        <p:tgtEl>
                                          <p:spTgt spid="130"/>
                                        </p:tgtEl>
                                      </p:cBhvr>
                                    </p:animEffect>
                                    <p:animScale>
                                      <p:cBhvr>
                                        <p:cTn id="465" dur="1000" autoRev="1" fill="hold"/>
                                        <p:tgtEl>
                                          <p:spTgt spid="130"/>
                                        </p:tgtEl>
                                      </p:cBhvr>
                                      <p:by x="105000" y="105000"/>
                                    </p:animScale>
                                  </p:childTnLst>
                                </p:cTn>
                              </p:par>
                              <p:par>
                                <p:cTn id="466" presetID="26" presetClass="emph" presetSubtype="0" dur="2000" repeatCount="indefinite" fill="hold" grpId="0" nodeType="withEffect">
                                  <p:stCondLst>
                                    <p:cond delay="3000"/>
                                  </p:stCondLst>
                                  <p:childTnLst>
                                    <p:animEffect transition="out" filter="fade">
                                      <p:cBhvr>
                                        <p:cTn id="467" dur="2000" tmFilter="0, 0; .2, .5; .8, .5; 1, 0"/>
                                        <p:tgtEl>
                                          <p:spTgt spid="147"/>
                                        </p:tgtEl>
                                      </p:cBhvr>
                                    </p:animEffect>
                                    <p:animScale>
                                      <p:cBhvr>
                                        <p:cTn id="468" dur="1000" autoRev="1" fill="hold"/>
                                        <p:tgtEl>
                                          <p:spTgt spid="147"/>
                                        </p:tgtEl>
                                      </p:cBhvr>
                                      <p:by x="105000" y="105000"/>
                                    </p:animScale>
                                  </p:childTnLst>
                                </p:cTn>
                              </p:par>
                              <p:par>
                                <p:cTn id="469" presetID="26" presetClass="emph" presetSubtype="0" dur="2000" repeatCount="indefinite" fill="hold" grpId="0" nodeType="withEffect">
                                  <p:stCondLst>
                                    <p:cond delay="3000"/>
                                  </p:stCondLst>
                                  <p:childTnLst>
                                    <p:animEffect transition="out" filter="fade">
                                      <p:cBhvr>
                                        <p:cTn id="470" dur="2000" tmFilter="0, 0; .2, .5; .8, .5; 1, 0"/>
                                        <p:tgtEl>
                                          <p:spTgt spid="164"/>
                                        </p:tgtEl>
                                      </p:cBhvr>
                                    </p:animEffect>
                                    <p:animScale>
                                      <p:cBhvr>
                                        <p:cTn id="471" dur="1000" autoRev="1" fill="hold"/>
                                        <p:tgtEl>
                                          <p:spTgt spid="164"/>
                                        </p:tgtEl>
                                      </p:cBhvr>
                                      <p:by x="105000" y="105000"/>
                                    </p:animScale>
                                  </p:childTnLst>
                                </p:cTn>
                              </p:par>
                              <p:par>
                                <p:cTn id="472" presetID="26" presetClass="emph" presetSubtype="0" dur="2000" repeatCount="indefinite" fill="hold" grpId="0" nodeType="withEffect">
                                  <p:stCondLst>
                                    <p:cond delay="3000"/>
                                  </p:stCondLst>
                                  <p:childTnLst>
                                    <p:animEffect transition="out" filter="fade">
                                      <p:cBhvr>
                                        <p:cTn id="473" dur="2000" tmFilter="0, 0; .2, .5; .8, .5; 1, 0"/>
                                        <p:tgtEl>
                                          <p:spTgt spid="181"/>
                                        </p:tgtEl>
                                      </p:cBhvr>
                                    </p:animEffect>
                                    <p:animScale>
                                      <p:cBhvr>
                                        <p:cTn id="474" dur="1000" autoRev="1" fill="hold"/>
                                        <p:tgtEl>
                                          <p:spTgt spid="181"/>
                                        </p:tgtEl>
                                      </p:cBhvr>
                                      <p:by x="105000" y="105000"/>
                                    </p:animScale>
                                  </p:childTnLst>
                                </p:cTn>
                              </p:par>
                              <p:par>
                                <p:cTn id="475" presetID="26" presetClass="emph" presetSubtype="0" dur="2000" repeatCount="indefinite" fill="hold" grpId="0" nodeType="withEffect">
                                  <p:stCondLst>
                                    <p:cond delay="3000"/>
                                  </p:stCondLst>
                                  <p:childTnLst>
                                    <p:animEffect transition="out" filter="fade">
                                      <p:cBhvr>
                                        <p:cTn id="476" dur="2000" tmFilter="0, 0; .2, .5; .8, .5; 1, 0"/>
                                        <p:tgtEl>
                                          <p:spTgt spid="198"/>
                                        </p:tgtEl>
                                      </p:cBhvr>
                                    </p:animEffect>
                                    <p:animScale>
                                      <p:cBhvr>
                                        <p:cTn id="477" dur="1000" autoRev="1" fill="hold"/>
                                        <p:tgtEl>
                                          <p:spTgt spid="198"/>
                                        </p:tgtEl>
                                      </p:cBhvr>
                                      <p:by x="105000" y="105000"/>
                                    </p:animScale>
                                  </p:childTnLst>
                                </p:cTn>
                              </p:par>
                              <p:par>
                                <p:cTn id="478" presetID="26" presetClass="emph" presetSubtype="0" dur="2000" repeatCount="indefinite" fill="hold" grpId="0" nodeType="withEffect">
                                  <p:stCondLst>
                                    <p:cond delay="3000"/>
                                  </p:stCondLst>
                                  <p:childTnLst>
                                    <p:animEffect transition="out" filter="fade">
                                      <p:cBhvr>
                                        <p:cTn id="479" dur="2000" tmFilter="0, 0; .2, .5; .8, .5; 1, 0"/>
                                        <p:tgtEl>
                                          <p:spTgt spid="215"/>
                                        </p:tgtEl>
                                      </p:cBhvr>
                                    </p:animEffect>
                                    <p:animScale>
                                      <p:cBhvr>
                                        <p:cTn id="480" dur="1000" autoRev="1" fill="hold"/>
                                        <p:tgtEl>
                                          <p:spTgt spid="215"/>
                                        </p:tgtEl>
                                      </p:cBhvr>
                                      <p:by x="105000" y="105000"/>
                                    </p:animScale>
                                  </p:childTnLst>
                                </p:cTn>
                              </p:par>
                              <p:par>
                                <p:cTn id="481" presetID="26" presetClass="emph" presetSubtype="0" dur="2000" repeatCount="indefinite" fill="hold" grpId="0" nodeType="withEffect">
                                  <p:stCondLst>
                                    <p:cond delay="3000"/>
                                  </p:stCondLst>
                                  <p:childTnLst>
                                    <p:animEffect transition="out" filter="fade">
                                      <p:cBhvr>
                                        <p:cTn id="482" dur="2000" tmFilter="0, 0; .2, .5; .8, .5; 1, 0"/>
                                        <p:tgtEl>
                                          <p:spTgt spid="231"/>
                                        </p:tgtEl>
                                      </p:cBhvr>
                                    </p:animEffect>
                                    <p:animScale>
                                      <p:cBhvr>
                                        <p:cTn id="483" dur="1000" autoRev="1" fill="hold"/>
                                        <p:tgtEl>
                                          <p:spTgt spid="231"/>
                                        </p:tgtEl>
                                      </p:cBhvr>
                                      <p:by x="105000" y="105000"/>
                                    </p:animScale>
                                  </p:childTnLst>
                                </p:cTn>
                              </p:par>
                              <p:par>
                                <p:cTn id="484" presetID="26" presetClass="emph" presetSubtype="0" dur="2000" repeatCount="indefinite" fill="hold" grpId="0" nodeType="withEffect">
                                  <p:stCondLst>
                                    <p:cond delay="3250"/>
                                  </p:stCondLst>
                                  <p:childTnLst>
                                    <p:animEffect transition="out" filter="fade">
                                      <p:cBhvr>
                                        <p:cTn id="485" dur="2000" tmFilter="0, 0; .2, .5; .8, .5; 1, 0"/>
                                        <p:tgtEl>
                                          <p:spTgt spid="20"/>
                                        </p:tgtEl>
                                      </p:cBhvr>
                                    </p:animEffect>
                                    <p:animScale>
                                      <p:cBhvr>
                                        <p:cTn id="486" dur="1000" autoRev="1" fill="hold"/>
                                        <p:tgtEl>
                                          <p:spTgt spid="20"/>
                                        </p:tgtEl>
                                      </p:cBhvr>
                                      <p:by x="105000" y="105000"/>
                                    </p:animScale>
                                  </p:childTnLst>
                                </p:cTn>
                              </p:par>
                              <p:par>
                                <p:cTn id="487" presetID="26" presetClass="emph" presetSubtype="0" dur="2000" repeatCount="indefinite" fill="hold" grpId="0" nodeType="withEffect">
                                  <p:stCondLst>
                                    <p:cond delay="3250"/>
                                  </p:stCondLst>
                                  <p:childTnLst>
                                    <p:animEffect transition="out" filter="fade">
                                      <p:cBhvr>
                                        <p:cTn id="488" dur="2000" tmFilter="0, 0; .2, .5; .8, .5; 1, 0"/>
                                        <p:tgtEl>
                                          <p:spTgt spid="35"/>
                                        </p:tgtEl>
                                      </p:cBhvr>
                                    </p:animEffect>
                                    <p:animScale>
                                      <p:cBhvr>
                                        <p:cTn id="489" dur="1000" autoRev="1" fill="hold"/>
                                        <p:tgtEl>
                                          <p:spTgt spid="35"/>
                                        </p:tgtEl>
                                      </p:cBhvr>
                                      <p:by x="105000" y="105000"/>
                                    </p:animScale>
                                  </p:childTnLst>
                                </p:cTn>
                              </p:par>
                              <p:par>
                                <p:cTn id="490" presetID="26" presetClass="emph" presetSubtype="0" dur="2000" repeatCount="indefinite" fill="hold" grpId="0" nodeType="withEffect">
                                  <p:stCondLst>
                                    <p:cond delay="3250"/>
                                  </p:stCondLst>
                                  <p:childTnLst>
                                    <p:animEffect transition="out" filter="fade">
                                      <p:cBhvr>
                                        <p:cTn id="491" dur="2000" tmFilter="0, 0; .2, .5; .8, .5; 1, 0"/>
                                        <p:tgtEl>
                                          <p:spTgt spid="51"/>
                                        </p:tgtEl>
                                      </p:cBhvr>
                                    </p:animEffect>
                                    <p:animScale>
                                      <p:cBhvr>
                                        <p:cTn id="492" dur="1000" autoRev="1" fill="hold"/>
                                        <p:tgtEl>
                                          <p:spTgt spid="51"/>
                                        </p:tgtEl>
                                      </p:cBhvr>
                                      <p:by x="105000" y="105000"/>
                                    </p:animScale>
                                  </p:childTnLst>
                                </p:cTn>
                              </p:par>
                              <p:par>
                                <p:cTn id="493" presetID="26" presetClass="emph" presetSubtype="0" dur="2000" repeatCount="indefinite" fill="hold" grpId="0" nodeType="withEffect">
                                  <p:stCondLst>
                                    <p:cond delay="3250"/>
                                  </p:stCondLst>
                                  <p:childTnLst>
                                    <p:animEffect transition="out" filter="fade">
                                      <p:cBhvr>
                                        <p:cTn id="494" dur="2000" tmFilter="0, 0; .2, .5; .8, .5; 1, 0"/>
                                        <p:tgtEl>
                                          <p:spTgt spid="67"/>
                                        </p:tgtEl>
                                      </p:cBhvr>
                                    </p:animEffect>
                                    <p:animScale>
                                      <p:cBhvr>
                                        <p:cTn id="495" dur="1000" autoRev="1" fill="hold"/>
                                        <p:tgtEl>
                                          <p:spTgt spid="67"/>
                                        </p:tgtEl>
                                      </p:cBhvr>
                                      <p:by x="105000" y="105000"/>
                                    </p:animScale>
                                  </p:childTnLst>
                                </p:cTn>
                              </p:par>
                              <p:par>
                                <p:cTn id="496" presetID="26" presetClass="emph" presetSubtype="0" dur="2000" repeatCount="indefinite" fill="hold" grpId="0" nodeType="withEffect">
                                  <p:stCondLst>
                                    <p:cond delay="3250"/>
                                  </p:stCondLst>
                                  <p:childTnLst>
                                    <p:animEffect transition="out" filter="fade">
                                      <p:cBhvr>
                                        <p:cTn id="497" dur="2000" tmFilter="0, 0; .2, .5; .8, .5; 1, 0"/>
                                        <p:tgtEl>
                                          <p:spTgt spid="83"/>
                                        </p:tgtEl>
                                      </p:cBhvr>
                                    </p:animEffect>
                                    <p:animScale>
                                      <p:cBhvr>
                                        <p:cTn id="498" dur="1000" autoRev="1" fill="hold"/>
                                        <p:tgtEl>
                                          <p:spTgt spid="83"/>
                                        </p:tgtEl>
                                      </p:cBhvr>
                                      <p:by x="105000" y="105000"/>
                                    </p:animScale>
                                  </p:childTnLst>
                                </p:cTn>
                              </p:par>
                              <p:par>
                                <p:cTn id="499" presetID="26" presetClass="emph" presetSubtype="0" dur="2000" repeatCount="indefinite" fill="hold" grpId="0" nodeType="withEffect">
                                  <p:stCondLst>
                                    <p:cond delay="3250"/>
                                  </p:stCondLst>
                                  <p:childTnLst>
                                    <p:animEffect transition="out" filter="fade">
                                      <p:cBhvr>
                                        <p:cTn id="500" dur="2000" tmFilter="0, 0; .2, .5; .8, .5; 1, 0"/>
                                        <p:tgtEl>
                                          <p:spTgt spid="99"/>
                                        </p:tgtEl>
                                      </p:cBhvr>
                                    </p:animEffect>
                                    <p:animScale>
                                      <p:cBhvr>
                                        <p:cTn id="501" dur="1000" autoRev="1" fill="hold"/>
                                        <p:tgtEl>
                                          <p:spTgt spid="99"/>
                                        </p:tgtEl>
                                      </p:cBhvr>
                                      <p:by x="105000" y="105000"/>
                                    </p:animScale>
                                  </p:childTnLst>
                                </p:cTn>
                              </p:par>
                              <p:par>
                                <p:cTn id="502" presetID="26" presetClass="emph" presetSubtype="0" dur="2000" repeatCount="indefinite" fill="hold" grpId="0" nodeType="withEffect">
                                  <p:stCondLst>
                                    <p:cond delay="3250"/>
                                  </p:stCondLst>
                                  <p:childTnLst>
                                    <p:animEffect transition="out" filter="fade">
                                      <p:cBhvr>
                                        <p:cTn id="503" dur="2000" tmFilter="0, 0; .2, .5; .8, .5; 1, 0"/>
                                        <p:tgtEl>
                                          <p:spTgt spid="115"/>
                                        </p:tgtEl>
                                      </p:cBhvr>
                                    </p:animEffect>
                                    <p:animScale>
                                      <p:cBhvr>
                                        <p:cTn id="504" dur="1000" autoRev="1" fill="hold"/>
                                        <p:tgtEl>
                                          <p:spTgt spid="115"/>
                                        </p:tgtEl>
                                      </p:cBhvr>
                                      <p:by x="105000" y="105000"/>
                                    </p:animScale>
                                  </p:childTnLst>
                                </p:cTn>
                              </p:par>
                              <p:par>
                                <p:cTn id="505" presetID="26" presetClass="emph" presetSubtype="0" dur="2000" repeatCount="indefinite" fill="hold" grpId="0" nodeType="withEffect">
                                  <p:stCondLst>
                                    <p:cond delay="3250"/>
                                  </p:stCondLst>
                                  <p:childTnLst>
                                    <p:animEffect transition="out" filter="fade">
                                      <p:cBhvr>
                                        <p:cTn id="506" dur="2000" tmFilter="0, 0; .2, .5; .8, .5; 1, 0"/>
                                        <p:tgtEl>
                                          <p:spTgt spid="131"/>
                                        </p:tgtEl>
                                      </p:cBhvr>
                                    </p:animEffect>
                                    <p:animScale>
                                      <p:cBhvr>
                                        <p:cTn id="507" dur="1000" autoRev="1" fill="hold"/>
                                        <p:tgtEl>
                                          <p:spTgt spid="131"/>
                                        </p:tgtEl>
                                      </p:cBhvr>
                                      <p:by x="105000" y="105000"/>
                                    </p:animScale>
                                  </p:childTnLst>
                                </p:cTn>
                              </p:par>
                              <p:par>
                                <p:cTn id="508" presetID="26" presetClass="emph" presetSubtype="0" dur="2000" repeatCount="indefinite" fill="hold" grpId="0" nodeType="withEffect">
                                  <p:stCondLst>
                                    <p:cond delay="3250"/>
                                  </p:stCondLst>
                                  <p:childTnLst>
                                    <p:animEffect transition="out" filter="fade">
                                      <p:cBhvr>
                                        <p:cTn id="509" dur="2000" tmFilter="0, 0; .2, .5; .8, .5; 1, 0"/>
                                        <p:tgtEl>
                                          <p:spTgt spid="148"/>
                                        </p:tgtEl>
                                      </p:cBhvr>
                                    </p:animEffect>
                                    <p:animScale>
                                      <p:cBhvr>
                                        <p:cTn id="510" dur="1000" autoRev="1" fill="hold"/>
                                        <p:tgtEl>
                                          <p:spTgt spid="148"/>
                                        </p:tgtEl>
                                      </p:cBhvr>
                                      <p:by x="105000" y="105000"/>
                                    </p:animScale>
                                  </p:childTnLst>
                                </p:cTn>
                              </p:par>
                              <p:par>
                                <p:cTn id="511" presetID="26" presetClass="emph" presetSubtype="0" dur="2000" repeatCount="indefinite" fill="hold" grpId="0" nodeType="withEffect">
                                  <p:stCondLst>
                                    <p:cond delay="3250"/>
                                  </p:stCondLst>
                                  <p:childTnLst>
                                    <p:animEffect transition="out" filter="fade">
                                      <p:cBhvr>
                                        <p:cTn id="512" dur="2000" tmFilter="0, 0; .2, .5; .8, .5; 1, 0"/>
                                        <p:tgtEl>
                                          <p:spTgt spid="165"/>
                                        </p:tgtEl>
                                      </p:cBhvr>
                                    </p:animEffect>
                                    <p:animScale>
                                      <p:cBhvr>
                                        <p:cTn id="513" dur="1000" autoRev="1" fill="hold"/>
                                        <p:tgtEl>
                                          <p:spTgt spid="165"/>
                                        </p:tgtEl>
                                      </p:cBhvr>
                                      <p:by x="105000" y="105000"/>
                                    </p:animScale>
                                  </p:childTnLst>
                                </p:cTn>
                              </p:par>
                              <p:par>
                                <p:cTn id="514" presetID="26" presetClass="emph" presetSubtype="0" dur="2000" repeatCount="indefinite" fill="hold" grpId="0" nodeType="withEffect">
                                  <p:stCondLst>
                                    <p:cond delay="3250"/>
                                  </p:stCondLst>
                                  <p:childTnLst>
                                    <p:animEffect transition="out" filter="fade">
                                      <p:cBhvr>
                                        <p:cTn id="515" dur="2000" tmFilter="0, 0; .2, .5; .8, .5; 1, 0"/>
                                        <p:tgtEl>
                                          <p:spTgt spid="182"/>
                                        </p:tgtEl>
                                      </p:cBhvr>
                                    </p:animEffect>
                                    <p:animScale>
                                      <p:cBhvr>
                                        <p:cTn id="516" dur="1000" autoRev="1" fill="hold"/>
                                        <p:tgtEl>
                                          <p:spTgt spid="182"/>
                                        </p:tgtEl>
                                      </p:cBhvr>
                                      <p:by x="105000" y="105000"/>
                                    </p:animScale>
                                  </p:childTnLst>
                                </p:cTn>
                              </p:par>
                              <p:par>
                                <p:cTn id="517" presetID="26" presetClass="emph" presetSubtype="0" dur="2000" repeatCount="indefinite" fill="hold" grpId="0" nodeType="withEffect">
                                  <p:stCondLst>
                                    <p:cond delay="3250"/>
                                  </p:stCondLst>
                                  <p:childTnLst>
                                    <p:animEffect transition="out" filter="fade">
                                      <p:cBhvr>
                                        <p:cTn id="518" dur="2000" tmFilter="0, 0; .2, .5; .8, .5; 1, 0"/>
                                        <p:tgtEl>
                                          <p:spTgt spid="199"/>
                                        </p:tgtEl>
                                      </p:cBhvr>
                                    </p:animEffect>
                                    <p:animScale>
                                      <p:cBhvr>
                                        <p:cTn id="519" dur="1000" autoRev="1" fill="hold"/>
                                        <p:tgtEl>
                                          <p:spTgt spid="199"/>
                                        </p:tgtEl>
                                      </p:cBhvr>
                                      <p:by x="105000" y="105000"/>
                                    </p:animScale>
                                  </p:childTnLst>
                                </p:cTn>
                              </p:par>
                              <p:par>
                                <p:cTn id="520" presetID="26" presetClass="emph" presetSubtype="0" dur="2000" repeatCount="indefinite" fill="hold" grpId="0" nodeType="withEffect">
                                  <p:stCondLst>
                                    <p:cond delay="3250"/>
                                  </p:stCondLst>
                                  <p:childTnLst>
                                    <p:animEffect transition="out" filter="fade">
                                      <p:cBhvr>
                                        <p:cTn id="521" dur="2000" tmFilter="0, 0; .2, .5; .8, .5; 1, 0"/>
                                        <p:tgtEl>
                                          <p:spTgt spid="216"/>
                                        </p:tgtEl>
                                      </p:cBhvr>
                                    </p:animEffect>
                                    <p:animScale>
                                      <p:cBhvr>
                                        <p:cTn id="522" dur="1000" autoRev="1" fill="hold"/>
                                        <p:tgtEl>
                                          <p:spTgt spid="216"/>
                                        </p:tgtEl>
                                      </p:cBhvr>
                                      <p:by x="105000" y="105000"/>
                                    </p:animScale>
                                  </p:childTnLst>
                                </p:cTn>
                              </p:par>
                              <p:par>
                                <p:cTn id="523" presetID="26" presetClass="emph" presetSubtype="0" dur="2000" repeatCount="indefinite" fill="hold" grpId="0" nodeType="withEffect">
                                  <p:stCondLst>
                                    <p:cond delay="3250"/>
                                  </p:stCondLst>
                                  <p:childTnLst>
                                    <p:animEffect transition="out" filter="fade">
                                      <p:cBhvr>
                                        <p:cTn id="524" dur="2000" tmFilter="0, 0; .2, .5; .8, .5; 1, 0"/>
                                        <p:tgtEl>
                                          <p:spTgt spid="232"/>
                                        </p:tgtEl>
                                      </p:cBhvr>
                                    </p:animEffect>
                                    <p:animScale>
                                      <p:cBhvr>
                                        <p:cTn id="525" dur="1000" autoRev="1" fill="hold"/>
                                        <p:tgtEl>
                                          <p:spTgt spid="232"/>
                                        </p:tgtEl>
                                      </p:cBhvr>
                                      <p:by x="105000" y="105000"/>
                                    </p:animScale>
                                  </p:childTnLst>
                                </p:cTn>
                              </p:par>
                              <p:par>
                                <p:cTn id="526" presetID="26" presetClass="emph" presetSubtype="0" dur="2000" repeatCount="indefinite" fill="hold" grpId="0" nodeType="withEffect">
                                  <p:stCondLst>
                                    <p:cond delay="3500"/>
                                  </p:stCondLst>
                                  <p:childTnLst>
                                    <p:animEffect transition="out" filter="fade">
                                      <p:cBhvr>
                                        <p:cTn id="527" dur="2000" tmFilter="0, 0; .2, .5; .8, .5; 1, 0"/>
                                        <p:tgtEl>
                                          <p:spTgt spid="21"/>
                                        </p:tgtEl>
                                      </p:cBhvr>
                                    </p:animEffect>
                                    <p:animScale>
                                      <p:cBhvr>
                                        <p:cTn id="528" dur="1000" autoRev="1" fill="hold"/>
                                        <p:tgtEl>
                                          <p:spTgt spid="21"/>
                                        </p:tgtEl>
                                      </p:cBhvr>
                                      <p:by x="105000" y="105000"/>
                                    </p:animScale>
                                  </p:childTnLst>
                                </p:cTn>
                              </p:par>
                              <p:par>
                                <p:cTn id="529" presetID="26" presetClass="emph" presetSubtype="0" dur="2000" repeatCount="indefinite" fill="hold" grpId="0" nodeType="withEffect">
                                  <p:stCondLst>
                                    <p:cond delay="3500"/>
                                  </p:stCondLst>
                                  <p:childTnLst>
                                    <p:animEffect transition="out" filter="fade">
                                      <p:cBhvr>
                                        <p:cTn id="530" dur="2000" tmFilter="0, 0; .2, .5; .8, .5; 1, 0"/>
                                        <p:tgtEl>
                                          <p:spTgt spid="36"/>
                                        </p:tgtEl>
                                      </p:cBhvr>
                                    </p:animEffect>
                                    <p:animScale>
                                      <p:cBhvr>
                                        <p:cTn id="531" dur="1000" autoRev="1" fill="hold"/>
                                        <p:tgtEl>
                                          <p:spTgt spid="36"/>
                                        </p:tgtEl>
                                      </p:cBhvr>
                                      <p:by x="105000" y="105000"/>
                                    </p:animScale>
                                  </p:childTnLst>
                                </p:cTn>
                              </p:par>
                              <p:par>
                                <p:cTn id="532" presetID="26" presetClass="emph" presetSubtype="0" dur="2000" repeatCount="indefinite" fill="hold" grpId="0" nodeType="withEffect">
                                  <p:stCondLst>
                                    <p:cond delay="3500"/>
                                  </p:stCondLst>
                                  <p:childTnLst>
                                    <p:animEffect transition="out" filter="fade">
                                      <p:cBhvr>
                                        <p:cTn id="533" dur="2000" tmFilter="0, 0; .2, .5; .8, .5; 1, 0"/>
                                        <p:tgtEl>
                                          <p:spTgt spid="52"/>
                                        </p:tgtEl>
                                      </p:cBhvr>
                                    </p:animEffect>
                                    <p:animScale>
                                      <p:cBhvr>
                                        <p:cTn id="534" dur="1000" autoRev="1" fill="hold"/>
                                        <p:tgtEl>
                                          <p:spTgt spid="52"/>
                                        </p:tgtEl>
                                      </p:cBhvr>
                                      <p:by x="105000" y="105000"/>
                                    </p:animScale>
                                  </p:childTnLst>
                                </p:cTn>
                              </p:par>
                              <p:par>
                                <p:cTn id="535" presetID="26" presetClass="emph" presetSubtype="0" dur="2000" repeatCount="indefinite" fill="hold" grpId="0" nodeType="withEffect">
                                  <p:stCondLst>
                                    <p:cond delay="3500"/>
                                  </p:stCondLst>
                                  <p:childTnLst>
                                    <p:animEffect transition="out" filter="fade">
                                      <p:cBhvr>
                                        <p:cTn id="536" dur="2000" tmFilter="0, 0; .2, .5; .8, .5; 1, 0"/>
                                        <p:tgtEl>
                                          <p:spTgt spid="68"/>
                                        </p:tgtEl>
                                      </p:cBhvr>
                                    </p:animEffect>
                                    <p:animScale>
                                      <p:cBhvr>
                                        <p:cTn id="537" dur="1000" autoRev="1" fill="hold"/>
                                        <p:tgtEl>
                                          <p:spTgt spid="68"/>
                                        </p:tgtEl>
                                      </p:cBhvr>
                                      <p:by x="105000" y="105000"/>
                                    </p:animScale>
                                  </p:childTnLst>
                                </p:cTn>
                              </p:par>
                              <p:par>
                                <p:cTn id="538" presetID="26" presetClass="emph" presetSubtype="0" dur="2000" repeatCount="indefinite" fill="hold" grpId="0" nodeType="withEffect">
                                  <p:stCondLst>
                                    <p:cond delay="3500"/>
                                  </p:stCondLst>
                                  <p:childTnLst>
                                    <p:animEffect transition="out" filter="fade">
                                      <p:cBhvr>
                                        <p:cTn id="539" dur="2000" tmFilter="0, 0; .2, .5; .8, .5; 1, 0"/>
                                        <p:tgtEl>
                                          <p:spTgt spid="84"/>
                                        </p:tgtEl>
                                      </p:cBhvr>
                                    </p:animEffect>
                                    <p:animScale>
                                      <p:cBhvr>
                                        <p:cTn id="540" dur="1000" autoRev="1" fill="hold"/>
                                        <p:tgtEl>
                                          <p:spTgt spid="84"/>
                                        </p:tgtEl>
                                      </p:cBhvr>
                                      <p:by x="105000" y="105000"/>
                                    </p:animScale>
                                  </p:childTnLst>
                                </p:cTn>
                              </p:par>
                              <p:par>
                                <p:cTn id="541" presetID="26" presetClass="emph" presetSubtype="0" dur="2000" repeatCount="indefinite" fill="hold" grpId="0" nodeType="withEffect">
                                  <p:stCondLst>
                                    <p:cond delay="3500"/>
                                  </p:stCondLst>
                                  <p:childTnLst>
                                    <p:animEffect transition="out" filter="fade">
                                      <p:cBhvr>
                                        <p:cTn id="542" dur="2000" tmFilter="0, 0; .2, .5; .8, .5; 1, 0"/>
                                        <p:tgtEl>
                                          <p:spTgt spid="100"/>
                                        </p:tgtEl>
                                      </p:cBhvr>
                                    </p:animEffect>
                                    <p:animScale>
                                      <p:cBhvr>
                                        <p:cTn id="543" dur="1000" autoRev="1" fill="hold"/>
                                        <p:tgtEl>
                                          <p:spTgt spid="100"/>
                                        </p:tgtEl>
                                      </p:cBhvr>
                                      <p:by x="105000" y="105000"/>
                                    </p:animScale>
                                  </p:childTnLst>
                                </p:cTn>
                              </p:par>
                              <p:par>
                                <p:cTn id="544" presetID="26" presetClass="emph" presetSubtype="0" dur="2000" repeatCount="indefinite" fill="hold" grpId="0" nodeType="withEffect">
                                  <p:stCondLst>
                                    <p:cond delay="3500"/>
                                  </p:stCondLst>
                                  <p:childTnLst>
                                    <p:animEffect transition="out" filter="fade">
                                      <p:cBhvr>
                                        <p:cTn id="545" dur="2000" tmFilter="0, 0; .2, .5; .8, .5; 1, 0"/>
                                        <p:tgtEl>
                                          <p:spTgt spid="116"/>
                                        </p:tgtEl>
                                      </p:cBhvr>
                                    </p:animEffect>
                                    <p:animScale>
                                      <p:cBhvr>
                                        <p:cTn id="546" dur="1000" autoRev="1" fill="hold"/>
                                        <p:tgtEl>
                                          <p:spTgt spid="116"/>
                                        </p:tgtEl>
                                      </p:cBhvr>
                                      <p:by x="105000" y="105000"/>
                                    </p:animScale>
                                  </p:childTnLst>
                                </p:cTn>
                              </p:par>
                              <p:par>
                                <p:cTn id="547" presetID="26" presetClass="emph" presetSubtype="0" dur="2000" repeatCount="indefinite" fill="hold" grpId="0" nodeType="withEffect">
                                  <p:stCondLst>
                                    <p:cond delay="3500"/>
                                  </p:stCondLst>
                                  <p:childTnLst>
                                    <p:animEffect transition="out" filter="fade">
                                      <p:cBhvr>
                                        <p:cTn id="548" dur="2000" tmFilter="0, 0; .2, .5; .8, .5; 1, 0"/>
                                        <p:tgtEl>
                                          <p:spTgt spid="132"/>
                                        </p:tgtEl>
                                      </p:cBhvr>
                                    </p:animEffect>
                                    <p:animScale>
                                      <p:cBhvr>
                                        <p:cTn id="549" dur="1000" autoRev="1" fill="hold"/>
                                        <p:tgtEl>
                                          <p:spTgt spid="132"/>
                                        </p:tgtEl>
                                      </p:cBhvr>
                                      <p:by x="105000" y="105000"/>
                                    </p:animScale>
                                  </p:childTnLst>
                                </p:cTn>
                              </p:par>
                              <p:par>
                                <p:cTn id="550" presetID="26" presetClass="emph" presetSubtype="0" dur="2000" repeatCount="indefinite" fill="hold" grpId="0" nodeType="withEffect">
                                  <p:stCondLst>
                                    <p:cond delay="3500"/>
                                  </p:stCondLst>
                                  <p:childTnLst>
                                    <p:animEffect transition="out" filter="fade">
                                      <p:cBhvr>
                                        <p:cTn id="551" dur="2000" tmFilter="0, 0; .2, .5; .8, .5; 1, 0"/>
                                        <p:tgtEl>
                                          <p:spTgt spid="149"/>
                                        </p:tgtEl>
                                      </p:cBhvr>
                                    </p:animEffect>
                                    <p:animScale>
                                      <p:cBhvr>
                                        <p:cTn id="552" dur="1000" autoRev="1" fill="hold"/>
                                        <p:tgtEl>
                                          <p:spTgt spid="149"/>
                                        </p:tgtEl>
                                      </p:cBhvr>
                                      <p:by x="105000" y="105000"/>
                                    </p:animScale>
                                  </p:childTnLst>
                                </p:cTn>
                              </p:par>
                              <p:par>
                                <p:cTn id="553" presetID="26" presetClass="emph" presetSubtype="0" dur="2000" repeatCount="indefinite" fill="hold" grpId="0" nodeType="withEffect">
                                  <p:stCondLst>
                                    <p:cond delay="3500"/>
                                  </p:stCondLst>
                                  <p:childTnLst>
                                    <p:animEffect transition="out" filter="fade">
                                      <p:cBhvr>
                                        <p:cTn id="554" dur="2000" tmFilter="0, 0; .2, .5; .8, .5; 1, 0"/>
                                        <p:tgtEl>
                                          <p:spTgt spid="166"/>
                                        </p:tgtEl>
                                      </p:cBhvr>
                                    </p:animEffect>
                                    <p:animScale>
                                      <p:cBhvr>
                                        <p:cTn id="555" dur="1000" autoRev="1" fill="hold"/>
                                        <p:tgtEl>
                                          <p:spTgt spid="166"/>
                                        </p:tgtEl>
                                      </p:cBhvr>
                                      <p:by x="105000" y="105000"/>
                                    </p:animScale>
                                  </p:childTnLst>
                                </p:cTn>
                              </p:par>
                              <p:par>
                                <p:cTn id="556" presetID="26" presetClass="emph" presetSubtype="0" dur="2000" repeatCount="indefinite" fill="hold" grpId="0" nodeType="withEffect">
                                  <p:stCondLst>
                                    <p:cond delay="3500"/>
                                  </p:stCondLst>
                                  <p:childTnLst>
                                    <p:animEffect transition="out" filter="fade">
                                      <p:cBhvr>
                                        <p:cTn id="557" dur="2000" tmFilter="0, 0; .2, .5; .8, .5; 1, 0"/>
                                        <p:tgtEl>
                                          <p:spTgt spid="183"/>
                                        </p:tgtEl>
                                      </p:cBhvr>
                                    </p:animEffect>
                                    <p:animScale>
                                      <p:cBhvr>
                                        <p:cTn id="558" dur="1000" autoRev="1" fill="hold"/>
                                        <p:tgtEl>
                                          <p:spTgt spid="183"/>
                                        </p:tgtEl>
                                      </p:cBhvr>
                                      <p:by x="105000" y="105000"/>
                                    </p:animScale>
                                  </p:childTnLst>
                                </p:cTn>
                              </p:par>
                              <p:par>
                                <p:cTn id="559" presetID="26" presetClass="emph" presetSubtype="0" dur="2000" repeatCount="indefinite" fill="hold" grpId="0" nodeType="withEffect">
                                  <p:stCondLst>
                                    <p:cond delay="3500"/>
                                  </p:stCondLst>
                                  <p:childTnLst>
                                    <p:animEffect transition="out" filter="fade">
                                      <p:cBhvr>
                                        <p:cTn id="560" dur="2000" tmFilter="0, 0; .2, .5; .8, .5; 1, 0"/>
                                        <p:tgtEl>
                                          <p:spTgt spid="200"/>
                                        </p:tgtEl>
                                      </p:cBhvr>
                                    </p:animEffect>
                                    <p:animScale>
                                      <p:cBhvr>
                                        <p:cTn id="561" dur="1000" autoRev="1" fill="hold"/>
                                        <p:tgtEl>
                                          <p:spTgt spid="200"/>
                                        </p:tgtEl>
                                      </p:cBhvr>
                                      <p:by x="105000" y="105000"/>
                                    </p:animScale>
                                  </p:childTnLst>
                                </p:cTn>
                              </p:par>
                              <p:par>
                                <p:cTn id="562" presetID="26" presetClass="emph" presetSubtype="0" dur="2000" repeatCount="indefinite" fill="hold" grpId="0" nodeType="withEffect">
                                  <p:stCondLst>
                                    <p:cond delay="3500"/>
                                  </p:stCondLst>
                                  <p:childTnLst>
                                    <p:animEffect transition="out" filter="fade">
                                      <p:cBhvr>
                                        <p:cTn id="563" dur="2000" tmFilter="0, 0; .2, .5; .8, .5; 1, 0"/>
                                        <p:tgtEl>
                                          <p:spTgt spid="217"/>
                                        </p:tgtEl>
                                      </p:cBhvr>
                                    </p:animEffect>
                                    <p:animScale>
                                      <p:cBhvr>
                                        <p:cTn id="564" dur="1000" autoRev="1" fill="hold"/>
                                        <p:tgtEl>
                                          <p:spTgt spid="217"/>
                                        </p:tgtEl>
                                      </p:cBhvr>
                                      <p:by x="105000" y="105000"/>
                                    </p:animScale>
                                  </p:childTnLst>
                                </p:cTn>
                              </p:par>
                              <p:par>
                                <p:cTn id="565" presetID="26" presetClass="emph" presetSubtype="0" dur="2000" repeatCount="indefinite" fill="hold" grpId="0" nodeType="withEffect">
                                  <p:stCondLst>
                                    <p:cond delay="3500"/>
                                  </p:stCondLst>
                                  <p:childTnLst>
                                    <p:animEffect transition="out" filter="fade">
                                      <p:cBhvr>
                                        <p:cTn id="566" dur="2000" tmFilter="0, 0; .2, .5; .8, .5; 1, 0"/>
                                        <p:tgtEl>
                                          <p:spTgt spid="233"/>
                                        </p:tgtEl>
                                      </p:cBhvr>
                                    </p:animEffect>
                                    <p:animScale>
                                      <p:cBhvr>
                                        <p:cTn id="567" dur="1000" autoRev="1" fill="hold"/>
                                        <p:tgtEl>
                                          <p:spTgt spid="233"/>
                                        </p:tgtEl>
                                      </p:cBhvr>
                                      <p:by x="105000" y="105000"/>
                                    </p:animScale>
                                  </p:childTnLst>
                                </p:cTn>
                              </p:par>
                              <p:par>
                                <p:cTn id="568" presetID="26" presetClass="emph" presetSubtype="0" dur="2000" repeatCount="indefinite" fill="hold" grpId="0" nodeType="withEffect">
                                  <p:stCondLst>
                                    <p:cond delay="3750"/>
                                  </p:stCondLst>
                                  <p:childTnLst>
                                    <p:animEffect transition="out" filter="fade">
                                      <p:cBhvr>
                                        <p:cTn id="569" dur="2000" tmFilter="0, 0; .2, .5; .8, .5; 1, 0"/>
                                        <p:tgtEl>
                                          <p:spTgt spid="37"/>
                                        </p:tgtEl>
                                      </p:cBhvr>
                                    </p:animEffect>
                                    <p:animScale>
                                      <p:cBhvr>
                                        <p:cTn id="570" dur="1000" autoRev="1" fill="hold"/>
                                        <p:tgtEl>
                                          <p:spTgt spid="37"/>
                                        </p:tgtEl>
                                      </p:cBhvr>
                                      <p:by x="105000" y="105000"/>
                                    </p:animScale>
                                  </p:childTnLst>
                                </p:cTn>
                              </p:par>
                              <p:par>
                                <p:cTn id="571" presetID="26" presetClass="emph" presetSubtype="0" dur="2000" repeatCount="indefinite" fill="hold" grpId="0" nodeType="withEffect">
                                  <p:stCondLst>
                                    <p:cond delay="3750"/>
                                  </p:stCondLst>
                                  <p:childTnLst>
                                    <p:animEffect transition="out" filter="fade">
                                      <p:cBhvr>
                                        <p:cTn id="572" dur="2000" tmFilter="0, 0; .2, .5; .8, .5; 1, 0"/>
                                        <p:tgtEl>
                                          <p:spTgt spid="53"/>
                                        </p:tgtEl>
                                      </p:cBhvr>
                                    </p:animEffect>
                                    <p:animScale>
                                      <p:cBhvr>
                                        <p:cTn id="573" dur="1000" autoRev="1" fill="hold"/>
                                        <p:tgtEl>
                                          <p:spTgt spid="53"/>
                                        </p:tgtEl>
                                      </p:cBhvr>
                                      <p:by x="105000" y="105000"/>
                                    </p:animScale>
                                  </p:childTnLst>
                                </p:cTn>
                              </p:par>
                              <p:par>
                                <p:cTn id="574" presetID="26" presetClass="emph" presetSubtype="0" dur="2000" repeatCount="indefinite" fill="hold" grpId="0" nodeType="withEffect">
                                  <p:stCondLst>
                                    <p:cond delay="3750"/>
                                  </p:stCondLst>
                                  <p:childTnLst>
                                    <p:animEffect transition="out" filter="fade">
                                      <p:cBhvr>
                                        <p:cTn id="575" dur="2000" tmFilter="0, 0; .2, .5; .8, .5; 1, 0"/>
                                        <p:tgtEl>
                                          <p:spTgt spid="69"/>
                                        </p:tgtEl>
                                      </p:cBhvr>
                                    </p:animEffect>
                                    <p:animScale>
                                      <p:cBhvr>
                                        <p:cTn id="576" dur="1000" autoRev="1" fill="hold"/>
                                        <p:tgtEl>
                                          <p:spTgt spid="69"/>
                                        </p:tgtEl>
                                      </p:cBhvr>
                                      <p:by x="105000" y="105000"/>
                                    </p:animScale>
                                  </p:childTnLst>
                                </p:cTn>
                              </p:par>
                              <p:par>
                                <p:cTn id="577" presetID="26" presetClass="emph" presetSubtype="0" dur="2000" repeatCount="indefinite" fill="hold" grpId="0" nodeType="withEffect">
                                  <p:stCondLst>
                                    <p:cond delay="3750"/>
                                  </p:stCondLst>
                                  <p:childTnLst>
                                    <p:animEffect transition="out" filter="fade">
                                      <p:cBhvr>
                                        <p:cTn id="578" dur="2000" tmFilter="0, 0; .2, .5; .8, .5; 1, 0"/>
                                        <p:tgtEl>
                                          <p:spTgt spid="85"/>
                                        </p:tgtEl>
                                      </p:cBhvr>
                                    </p:animEffect>
                                    <p:animScale>
                                      <p:cBhvr>
                                        <p:cTn id="579" dur="1000" autoRev="1" fill="hold"/>
                                        <p:tgtEl>
                                          <p:spTgt spid="85"/>
                                        </p:tgtEl>
                                      </p:cBhvr>
                                      <p:by x="105000" y="105000"/>
                                    </p:animScale>
                                  </p:childTnLst>
                                </p:cTn>
                              </p:par>
                              <p:par>
                                <p:cTn id="580" presetID="26" presetClass="emph" presetSubtype="0" dur="2000" repeatCount="indefinite" fill="hold" grpId="0" nodeType="withEffect">
                                  <p:stCondLst>
                                    <p:cond delay="3750"/>
                                  </p:stCondLst>
                                  <p:childTnLst>
                                    <p:animEffect transition="out" filter="fade">
                                      <p:cBhvr>
                                        <p:cTn id="581" dur="2000" tmFilter="0, 0; .2, .5; .8, .5; 1, 0"/>
                                        <p:tgtEl>
                                          <p:spTgt spid="101"/>
                                        </p:tgtEl>
                                      </p:cBhvr>
                                    </p:animEffect>
                                    <p:animScale>
                                      <p:cBhvr>
                                        <p:cTn id="582" dur="1000" autoRev="1" fill="hold"/>
                                        <p:tgtEl>
                                          <p:spTgt spid="101"/>
                                        </p:tgtEl>
                                      </p:cBhvr>
                                      <p:by x="105000" y="105000"/>
                                    </p:animScale>
                                  </p:childTnLst>
                                </p:cTn>
                              </p:par>
                              <p:par>
                                <p:cTn id="583" presetID="26" presetClass="emph" presetSubtype="0" dur="2000" repeatCount="indefinite" fill="hold" grpId="0" nodeType="withEffect">
                                  <p:stCondLst>
                                    <p:cond delay="3750"/>
                                  </p:stCondLst>
                                  <p:childTnLst>
                                    <p:animEffect transition="out" filter="fade">
                                      <p:cBhvr>
                                        <p:cTn id="584" dur="2000" tmFilter="0, 0; .2, .5; .8, .5; 1, 0"/>
                                        <p:tgtEl>
                                          <p:spTgt spid="117"/>
                                        </p:tgtEl>
                                      </p:cBhvr>
                                    </p:animEffect>
                                    <p:animScale>
                                      <p:cBhvr>
                                        <p:cTn id="585" dur="1000" autoRev="1" fill="hold"/>
                                        <p:tgtEl>
                                          <p:spTgt spid="117"/>
                                        </p:tgtEl>
                                      </p:cBhvr>
                                      <p:by x="105000" y="105000"/>
                                    </p:animScale>
                                  </p:childTnLst>
                                </p:cTn>
                              </p:par>
                              <p:par>
                                <p:cTn id="586" presetID="26" presetClass="emph" presetSubtype="0" dur="2000" repeatCount="indefinite" fill="hold" grpId="0" nodeType="withEffect">
                                  <p:stCondLst>
                                    <p:cond delay="3750"/>
                                  </p:stCondLst>
                                  <p:childTnLst>
                                    <p:animEffect transition="out" filter="fade">
                                      <p:cBhvr>
                                        <p:cTn id="587" dur="2000" tmFilter="0, 0; .2, .5; .8, .5; 1, 0"/>
                                        <p:tgtEl>
                                          <p:spTgt spid="133"/>
                                        </p:tgtEl>
                                      </p:cBhvr>
                                    </p:animEffect>
                                    <p:animScale>
                                      <p:cBhvr>
                                        <p:cTn id="588" dur="1000" autoRev="1" fill="hold"/>
                                        <p:tgtEl>
                                          <p:spTgt spid="133"/>
                                        </p:tgtEl>
                                      </p:cBhvr>
                                      <p:by x="105000" y="105000"/>
                                    </p:animScale>
                                  </p:childTnLst>
                                </p:cTn>
                              </p:par>
                              <p:par>
                                <p:cTn id="589" presetID="26" presetClass="emph" presetSubtype="0" dur="2000" repeatCount="indefinite" fill="hold" grpId="0" nodeType="withEffect">
                                  <p:stCondLst>
                                    <p:cond delay="3750"/>
                                  </p:stCondLst>
                                  <p:childTnLst>
                                    <p:animEffect transition="out" filter="fade">
                                      <p:cBhvr>
                                        <p:cTn id="590" dur="2000" tmFilter="0, 0; .2, .5; .8, .5; 1, 0"/>
                                        <p:tgtEl>
                                          <p:spTgt spid="150"/>
                                        </p:tgtEl>
                                      </p:cBhvr>
                                    </p:animEffect>
                                    <p:animScale>
                                      <p:cBhvr>
                                        <p:cTn id="591" dur="1000" autoRev="1" fill="hold"/>
                                        <p:tgtEl>
                                          <p:spTgt spid="150"/>
                                        </p:tgtEl>
                                      </p:cBhvr>
                                      <p:by x="105000" y="105000"/>
                                    </p:animScale>
                                  </p:childTnLst>
                                </p:cTn>
                              </p:par>
                              <p:par>
                                <p:cTn id="592" presetID="26" presetClass="emph" presetSubtype="0" dur="2000" repeatCount="indefinite" fill="hold" grpId="0" nodeType="withEffect">
                                  <p:stCondLst>
                                    <p:cond delay="3750"/>
                                  </p:stCondLst>
                                  <p:childTnLst>
                                    <p:animEffect transition="out" filter="fade">
                                      <p:cBhvr>
                                        <p:cTn id="593" dur="2000" tmFilter="0, 0; .2, .5; .8, .5; 1, 0"/>
                                        <p:tgtEl>
                                          <p:spTgt spid="167"/>
                                        </p:tgtEl>
                                      </p:cBhvr>
                                    </p:animEffect>
                                    <p:animScale>
                                      <p:cBhvr>
                                        <p:cTn id="594" dur="1000" autoRev="1" fill="hold"/>
                                        <p:tgtEl>
                                          <p:spTgt spid="167"/>
                                        </p:tgtEl>
                                      </p:cBhvr>
                                      <p:by x="105000" y="105000"/>
                                    </p:animScale>
                                  </p:childTnLst>
                                </p:cTn>
                              </p:par>
                              <p:par>
                                <p:cTn id="595" presetID="26" presetClass="emph" presetSubtype="0" dur="2000" repeatCount="indefinite" fill="hold" grpId="0" nodeType="withEffect">
                                  <p:stCondLst>
                                    <p:cond delay="3750"/>
                                  </p:stCondLst>
                                  <p:childTnLst>
                                    <p:animEffect transition="out" filter="fade">
                                      <p:cBhvr>
                                        <p:cTn id="596" dur="2000" tmFilter="0, 0; .2, .5; .8, .5; 1, 0"/>
                                        <p:tgtEl>
                                          <p:spTgt spid="184"/>
                                        </p:tgtEl>
                                      </p:cBhvr>
                                    </p:animEffect>
                                    <p:animScale>
                                      <p:cBhvr>
                                        <p:cTn id="597" dur="1000" autoRev="1" fill="hold"/>
                                        <p:tgtEl>
                                          <p:spTgt spid="184"/>
                                        </p:tgtEl>
                                      </p:cBhvr>
                                      <p:by x="105000" y="105000"/>
                                    </p:animScale>
                                  </p:childTnLst>
                                </p:cTn>
                              </p:par>
                              <p:par>
                                <p:cTn id="598" presetID="26" presetClass="emph" presetSubtype="0" dur="2000" repeatCount="indefinite" fill="hold" grpId="0" nodeType="withEffect">
                                  <p:stCondLst>
                                    <p:cond delay="3750"/>
                                  </p:stCondLst>
                                  <p:childTnLst>
                                    <p:animEffect transition="out" filter="fade">
                                      <p:cBhvr>
                                        <p:cTn id="599" dur="2000" tmFilter="0, 0; .2, .5; .8, .5; 1, 0"/>
                                        <p:tgtEl>
                                          <p:spTgt spid="201"/>
                                        </p:tgtEl>
                                      </p:cBhvr>
                                    </p:animEffect>
                                    <p:animScale>
                                      <p:cBhvr>
                                        <p:cTn id="600" dur="1000" autoRev="1" fill="hold"/>
                                        <p:tgtEl>
                                          <p:spTgt spid="201"/>
                                        </p:tgtEl>
                                      </p:cBhvr>
                                      <p:by x="105000" y="105000"/>
                                    </p:animScale>
                                  </p:childTnLst>
                                </p:cTn>
                              </p:par>
                              <p:par>
                                <p:cTn id="601" presetID="26" presetClass="emph" presetSubtype="0" dur="2000" repeatCount="indefinite" fill="hold" grpId="0" nodeType="withEffect">
                                  <p:stCondLst>
                                    <p:cond delay="3750"/>
                                  </p:stCondLst>
                                  <p:childTnLst>
                                    <p:animEffect transition="out" filter="fade">
                                      <p:cBhvr>
                                        <p:cTn id="602" dur="2000" tmFilter="0, 0; .2, .5; .8, .5; 1, 0"/>
                                        <p:tgtEl>
                                          <p:spTgt spid="218"/>
                                        </p:tgtEl>
                                      </p:cBhvr>
                                    </p:animEffect>
                                    <p:animScale>
                                      <p:cBhvr>
                                        <p:cTn id="603" dur="1000" autoRev="1" fill="hold"/>
                                        <p:tgtEl>
                                          <p:spTgt spid="218"/>
                                        </p:tgtEl>
                                      </p:cBhvr>
                                      <p:by x="105000" y="105000"/>
                                    </p:animScale>
                                  </p:childTnLst>
                                </p:cTn>
                              </p:par>
                              <p:par>
                                <p:cTn id="604" presetID="26" presetClass="emph" presetSubtype="0" dur="2000" repeatCount="indefinite" fill="hold" grpId="0" nodeType="withEffect">
                                  <p:stCondLst>
                                    <p:cond delay="4000"/>
                                  </p:stCondLst>
                                  <p:childTnLst>
                                    <p:animEffect transition="out" filter="fade">
                                      <p:cBhvr>
                                        <p:cTn id="605" dur="2000" tmFilter="0, 0; .2, .5; .8, .5; 1, 0"/>
                                        <p:tgtEl>
                                          <p:spTgt spid="54"/>
                                        </p:tgtEl>
                                      </p:cBhvr>
                                    </p:animEffect>
                                    <p:animScale>
                                      <p:cBhvr>
                                        <p:cTn id="606" dur="1000" autoRev="1" fill="hold"/>
                                        <p:tgtEl>
                                          <p:spTgt spid="54"/>
                                        </p:tgtEl>
                                      </p:cBhvr>
                                      <p:by x="105000" y="105000"/>
                                    </p:animScale>
                                  </p:childTnLst>
                                </p:cTn>
                              </p:par>
                              <p:par>
                                <p:cTn id="607" presetID="26" presetClass="emph" presetSubtype="0" dur="2000" repeatCount="indefinite" fill="hold" grpId="0" nodeType="withEffect">
                                  <p:stCondLst>
                                    <p:cond delay="4000"/>
                                  </p:stCondLst>
                                  <p:childTnLst>
                                    <p:animEffect transition="out" filter="fade">
                                      <p:cBhvr>
                                        <p:cTn id="608" dur="2000" tmFilter="0, 0; .2, .5; .8, .5; 1, 0"/>
                                        <p:tgtEl>
                                          <p:spTgt spid="70"/>
                                        </p:tgtEl>
                                      </p:cBhvr>
                                    </p:animEffect>
                                    <p:animScale>
                                      <p:cBhvr>
                                        <p:cTn id="609" dur="1000" autoRev="1" fill="hold"/>
                                        <p:tgtEl>
                                          <p:spTgt spid="70"/>
                                        </p:tgtEl>
                                      </p:cBhvr>
                                      <p:by x="105000" y="105000"/>
                                    </p:animScale>
                                  </p:childTnLst>
                                </p:cTn>
                              </p:par>
                              <p:par>
                                <p:cTn id="610" presetID="26" presetClass="emph" presetSubtype="0" dur="2000" repeatCount="indefinite" fill="hold" grpId="0" nodeType="withEffect">
                                  <p:stCondLst>
                                    <p:cond delay="4000"/>
                                  </p:stCondLst>
                                  <p:childTnLst>
                                    <p:animEffect transition="out" filter="fade">
                                      <p:cBhvr>
                                        <p:cTn id="611" dur="2000" tmFilter="0, 0; .2, .5; .8, .5; 1, 0"/>
                                        <p:tgtEl>
                                          <p:spTgt spid="86"/>
                                        </p:tgtEl>
                                      </p:cBhvr>
                                    </p:animEffect>
                                    <p:animScale>
                                      <p:cBhvr>
                                        <p:cTn id="612" dur="1000" autoRev="1" fill="hold"/>
                                        <p:tgtEl>
                                          <p:spTgt spid="86"/>
                                        </p:tgtEl>
                                      </p:cBhvr>
                                      <p:by x="105000" y="105000"/>
                                    </p:animScale>
                                  </p:childTnLst>
                                </p:cTn>
                              </p:par>
                              <p:par>
                                <p:cTn id="613" presetID="26" presetClass="emph" presetSubtype="0" dur="2000" repeatCount="indefinite" fill="hold" grpId="0" nodeType="withEffect">
                                  <p:stCondLst>
                                    <p:cond delay="4000"/>
                                  </p:stCondLst>
                                  <p:childTnLst>
                                    <p:animEffect transition="out" filter="fade">
                                      <p:cBhvr>
                                        <p:cTn id="614" dur="2000" tmFilter="0, 0; .2, .5; .8, .5; 1, 0"/>
                                        <p:tgtEl>
                                          <p:spTgt spid="102"/>
                                        </p:tgtEl>
                                      </p:cBhvr>
                                    </p:animEffect>
                                    <p:animScale>
                                      <p:cBhvr>
                                        <p:cTn id="615" dur="1000" autoRev="1" fill="hold"/>
                                        <p:tgtEl>
                                          <p:spTgt spid="102"/>
                                        </p:tgtEl>
                                      </p:cBhvr>
                                      <p:by x="105000" y="105000"/>
                                    </p:animScale>
                                  </p:childTnLst>
                                </p:cTn>
                              </p:par>
                              <p:par>
                                <p:cTn id="616" presetID="26" presetClass="emph" presetSubtype="0" dur="2000" repeatCount="indefinite" fill="hold" grpId="0" nodeType="withEffect">
                                  <p:stCondLst>
                                    <p:cond delay="4000"/>
                                  </p:stCondLst>
                                  <p:childTnLst>
                                    <p:animEffect transition="out" filter="fade">
                                      <p:cBhvr>
                                        <p:cTn id="617" dur="2000" tmFilter="0, 0; .2, .5; .8, .5; 1, 0"/>
                                        <p:tgtEl>
                                          <p:spTgt spid="118"/>
                                        </p:tgtEl>
                                      </p:cBhvr>
                                    </p:animEffect>
                                    <p:animScale>
                                      <p:cBhvr>
                                        <p:cTn id="618" dur="1000" autoRev="1" fill="hold"/>
                                        <p:tgtEl>
                                          <p:spTgt spid="118"/>
                                        </p:tgtEl>
                                      </p:cBhvr>
                                      <p:by x="105000" y="105000"/>
                                    </p:animScale>
                                  </p:childTnLst>
                                </p:cTn>
                              </p:par>
                              <p:par>
                                <p:cTn id="619" presetID="26" presetClass="emph" presetSubtype="0" dur="2000" repeatCount="indefinite" fill="hold" grpId="0" nodeType="withEffect">
                                  <p:stCondLst>
                                    <p:cond delay="4000"/>
                                  </p:stCondLst>
                                  <p:childTnLst>
                                    <p:animEffect transition="out" filter="fade">
                                      <p:cBhvr>
                                        <p:cTn id="620" dur="2000" tmFilter="0, 0; .2, .5; .8, .5; 1, 0"/>
                                        <p:tgtEl>
                                          <p:spTgt spid="134"/>
                                        </p:tgtEl>
                                      </p:cBhvr>
                                    </p:animEffect>
                                    <p:animScale>
                                      <p:cBhvr>
                                        <p:cTn id="621" dur="1000" autoRev="1" fill="hold"/>
                                        <p:tgtEl>
                                          <p:spTgt spid="134"/>
                                        </p:tgtEl>
                                      </p:cBhvr>
                                      <p:by x="105000" y="105000"/>
                                    </p:animScale>
                                  </p:childTnLst>
                                </p:cTn>
                              </p:par>
                              <p:par>
                                <p:cTn id="622" presetID="26" presetClass="emph" presetSubtype="0" dur="2000" repeatCount="indefinite" fill="hold" grpId="0" nodeType="withEffect">
                                  <p:stCondLst>
                                    <p:cond delay="4000"/>
                                  </p:stCondLst>
                                  <p:childTnLst>
                                    <p:animEffect transition="out" filter="fade">
                                      <p:cBhvr>
                                        <p:cTn id="623" dur="2000" tmFilter="0, 0; .2, .5; .8, .5; 1, 0"/>
                                        <p:tgtEl>
                                          <p:spTgt spid="151"/>
                                        </p:tgtEl>
                                      </p:cBhvr>
                                    </p:animEffect>
                                    <p:animScale>
                                      <p:cBhvr>
                                        <p:cTn id="624" dur="1000" autoRev="1" fill="hold"/>
                                        <p:tgtEl>
                                          <p:spTgt spid="151"/>
                                        </p:tgtEl>
                                      </p:cBhvr>
                                      <p:by x="105000" y="105000"/>
                                    </p:animScale>
                                  </p:childTnLst>
                                </p:cTn>
                              </p:par>
                              <p:par>
                                <p:cTn id="625" presetID="26" presetClass="emph" presetSubtype="0" dur="2000" repeatCount="indefinite" fill="hold" grpId="0" nodeType="withEffect">
                                  <p:stCondLst>
                                    <p:cond delay="4000"/>
                                  </p:stCondLst>
                                  <p:childTnLst>
                                    <p:animEffect transition="out" filter="fade">
                                      <p:cBhvr>
                                        <p:cTn id="626" dur="2000" tmFilter="0, 0; .2, .5; .8, .5; 1, 0"/>
                                        <p:tgtEl>
                                          <p:spTgt spid="168"/>
                                        </p:tgtEl>
                                      </p:cBhvr>
                                    </p:animEffect>
                                    <p:animScale>
                                      <p:cBhvr>
                                        <p:cTn id="627" dur="1000" autoRev="1" fill="hold"/>
                                        <p:tgtEl>
                                          <p:spTgt spid="168"/>
                                        </p:tgtEl>
                                      </p:cBhvr>
                                      <p:by x="105000" y="105000"/>
                                    </p:animScale>
                                  </p:childTnLst>
                                </p:cTn>
                              </p:par>
                              <p:par>
                                <p:cTn id="628" presetID="26" presetClass="emph" presetSubtype="0" dur="2000" repeatCount="indefinite" fill="hold" grpId="0" nodeType="withEffect">
                                  <p:stCondLst>
                                    <p:cond delay="4000"/>
                                  </p:stCondLst>
                                  <p:childTnLst>
                                    <p:animEffect transition="out" filter="fade">
                                      <p:cBhvr>
                                        <p:cTn id="629" dur="2000" tmFilter="0, 0; .2, .5; .8, .5; 1, 0"/>
                                        <p:tgtEl>
                                          <p:spTgt spid="185"/>
                                        </p:tgtEl>
                                      </p:cBhvr>
                                    </p:animEffect>
                                    <p:animScale>
                                      <p:cBhvr>
                                        <p:cTn id="630" dur="1000" autoRev="1" fill="hold"/>
                                        <p:tgtEl>
                                          <p:spTgt spid="185"/>
                                        </p:tgtEl>
                                      </p:cBhvr>
                                      <p:by x="105000" y="105000"/>
                                    </p:animScale>
                                  </p:childTnLst>
                                </p:cTn>
                              </p:par>
                              <p:par>
                                <p:cTn id="631" presetID="26" presetClass="emph" presetSubtype="0" dur="2000" repeatCount="indefinite" fill="hold" grpId="0" nodeType="withEffect">
                                  <p:stCondLst>
                                    <p:cond delay="4000"/>
                                  </p:stCondLst>
                                  <p:childTnLst>
                                    <p:animEffect transition="out" filter="fade">
                                      <p:cBhvr>
                                        <p:cTn id="632" dur="2000" tmFilter="0, 0; .2, .5; .8, .5; 1, 0"/>
                                        <p:tgtEl>
                                          <p:spTgt spid="202"/>
                                        </p:tgtEl>
                                      </p:cBhvr>
                                    </p:animEffect>
                                    <p:animScale>
                                      <p:cBhvr>
                                        <p:cTn id="633" dur="1000" autoRev="1" fill="hold"/>
                                        <p:tgtEl>
                                          <p:spTgt spid="202"/>
                                        </p:tgtEl>
                                      </p:cBhvr>
                                      <p:by x="105000" y="105000"/>
                                    </p:animScale>
                                  </p:childTnLst>
                                </p:cTn>
                              </p:par>
                              <p:par>
                                <p:cTn id="634" presetID="26" presetClass="emph" presetSubtype="0" dur="2000" repeatCount="indefinite" fill="hold" grpId="0" nodeType="withEffect">
                                  <p:stCondLst>
                                    <p:cond delay="4250"/>
                                  </p:stCondLst>
                                  <p:childTnLst>
                                    <p:animEffect transition="out" filter="fade">
                                      <p:cBhvr>
                                        <p:cTn id="635" dur="2000" tmFilter="0, 0; .2, .5; .8, .5; 1, 0"/>
                                        <p:tgtEl>
                                          <p:spTgt spid="71"/>
                                        </p:tgtEl>
                                      </p:cBhvr>
                                    </p:animEffect>
                                    <p:animScale>
                                      <p:cBhvr>
                                        <p:cTn id="636" dur="1000" autoRev="1" fill="hold"/>
                                        <p:tgtEl>
                                          <p:spTgt spid="71"/>
                                        </p:tgtEl>
                                      </p:cBhvr>
                                      <p:by x="105000" y="105000"/>
                                    </p:animScale>
                                  </p:childTnLst>
                                </p:cTn>
                              </p:par>
                              <p:par>
                                <p:cTn id="637" presetID="26" presetClass="emph" presetSubtype="0" dur="2000" repeatCount="indefinite" fill="hold" grpId="0" nodeType="withEffect">
                                  <p:stCondLst>
                                    <p:cond delay="4250"/>
                                  </p:stCondLst>
                                  <p:childTnLst>
                                    <p:animEffect transition="out" filter="fade">
                                      <p:cBhvr>
                                        <p:cTn id="638" dur="2000" tmFilter="0, 0; .2, .5; .8, .5; 1, 0"/>
                                        <p:tgtEl>
                                          <p:spTgt spid="87"/>
                                        </p:tgtEl>
                                      </p:cBhvr>
                                    </p:animEffect>
                                    <p:animScale>
                                      <p:cBhvr>
                                        <p:cTn id="639" dur="1000" autoRev="1" fill="hold"/>
                                        <p:tgtEl>
                                          <p:spTgt spid="87"/>
                                        </p:tgtEl>
                                      </p:cBhvr>
                                      <p:by x="105000" y="105000"/>
                                    </p:animScale>
                                  </p:childTnLst>
                                </p:cTn>
                              </p:par>
                              <p:par>
                                <p:cTn id="640" presetID="26" presetClass="emph" presetSubtype="0" dur="2000" repeatCount="indefinite" fill="hold" grpId="0" nodeType="withEffect">
                                  <p:stCondLst>
                                    <p:cond delay="4250"/>
                                  </p:stCondLst>
                                  <p:childTnLst>
                                    <p:animEffect transition="out" filter="fade">
                                      <p:cBhvr>
                                        <p:cTn id="641" dur="2000" tmFilter="0, 0; .2, .5; .8, .5; 1, 0"/>
                                        <p:tgtEl>
                                          <p:spTgt spid="103"/>
                                        </p:tgtEl>
                                      </p:cBhvr>
                                    </p:animEffect>
                                    <p:animScale>
                                      <p:cBhvr>
                                        <p:cTn id="642" dur="1000" autoRev="1" fill="hold"/>
                                        <p:tgtEl>
                                          <p:spTgt spid="103"/>
                                        </p:tgtEl>
                                      </p:cBhvr>
                                      <p:by x="105000" y="105000"/>
                                    </p:animScale>
                                  </p:childTnLst>
                                </p:cTn>
                              </p:par>
                              <p:par>
                                <p:cTn id="643" presetID="26" presetClass="emph" presetSubtype="0" dur="2000" repeatCount="indefinite" fill="hold" grpId="0" nodeType="withEffect">
                                  <p:stCondLst>
                                    <p:cond delay="4250"/>
                                  </p:stCondLst>
                                  <p:childTnLst>
                                    <p:animEffect transition="out" filter="fade">
                                      <p:cBhvr>
                                        <p:cTn id="644" dur="2000" tmFilter="0, 0; .2, .5; .8, .5; 1, 0"/>
                                        <p:tgtEl>
                                          <p:spTgt spid="119"/>
                                        </p:tgtEl>
                                      </p:cBhvr>
                                    </p:animEffect>
                                    <p:animScale>
                                      <p:cBhvr>
                                        <p:cTn id="645" dur="1000" autoRev="1" fill="hold"/>
                                        <p:tgtEl>
                                          <p:spTgt spid="119"/>
                                        </p:tgtEl>
                                      </p:cBhvr>
                                      <p:by x="105000" y="105000"/>
                                    </p:animScale>
                                  </p:childTnLst>
                                </p:cTn>
                              </p:par>
                              <p:par>
                                <p:cTn id="646" presetID="26" presetClass="emph" presetSubtype="0" dur="2000" repeatCount="indefinite" fill="hold" grpId="0" nodeType="withEffect">
                                  <p:stCondLst>
                                    <p:cond delay="4250"/>
                                  </p:stCondLst>
                                  <p:childTnLst>
                                    <p:animEffect transition="out" filter="fade">
                                      <p:cBhvr>
                                        <p:cTn id="647" dur="2000" tmFilter="0, 0; .2, .5; .8, .5; 1, 0"/>
                                        <p:tgtEl>
                                          <p:spTgt spid="135"/>
                                        </p:tgtEl>
                                      </p:cBhvr>
                                    </p:animEffect>
                                    <p:animScale>
                                      <p:cBhvr>
                                        <p:cTn id="648" dur="1000" autoRev="1" fill="hold"/>
                                        <p:tgtEl>
                                          <p:spTgt spid="135"/>
                                        </p:tgtEl>
                                      </p:cBhvr>
                                      <p:by x="105000" y="105000"/>
                                    </p:animScale>
                                  </p:childTnLst>
                                </p:cTn>
                              </p:par>
                              <p:par>
                                <p:cTn id="649" presetID="26" presetClass="emph" presetSubtype="0" dur="2000" repeatCount="indefinite" fill="hold" grpId="0" nodeType="withEffect">
                                  <p:stCondLst>
                                    <p:cond delay="4250"/>
                                  </p:stCondLst>
                                  <p:childTnLst>
                                    <p:animEffect transition="out" filter="fade">
                                      <p:cBhvr>
                                        <p:cTn id="650" dur="2000" tmFilter="0, 0; .2, .5; .8, .5; 1, 0"/>
                                        <p:tgtEl>
                                          <p:spTgt spid="152"/>
                                        </p:tgtEl>
                                      </p:cBhvr>
                                    </p:animEffect>
                                    <p:animScale>
                                      <p:cBhvr>
                                        <p:cTn id="651" dur="1000" autoRev="1" fill="hold"/>
                                        <p:tgtEl>
                                          <p:spTgt spid="152"/>
                                        </p:tgtEl>
                                      </p:cBhvr>
                                      <p:by x="105000" y="105000"/>
                                    </p:animScale>
                                  </p:childTnLst>
                                </p:cTn>
                              </p:par>
                              <p:par>
                                <p:cTn id="652" presetID="26" presetClass="emph" presetSubtype="0" dur="2000" repeatCount="indefinite" fill="hold" grpId="0" nodeType="withEffect">
                                  <p:stCondLst>
                                    <p:cond delay="4250"/>
                                  </p:stCondLst>
                                  <p:childTnLst>
                                    <p:animEffect transition="out" filter="fade">
                                      <p:cBhvr>
                                        <p:cTn id="653" dur="2000" tmFilter="0, 0; .2, .5; .8, .5; 1, 0"/>
                                        <p:tgtEl>
                                          <p:spTgt spid="169"/>
                                        </p:tgtEl>
                                      </p:cBhvr>
                                    </p:animEffect>
                                    <p:animScale>
                                      <p:cBhvr>
                                        <p:cTn id="654" dur="1000" autoRev="1" fill="hold"/>
                                        <p:tgtEl>
                                          <p:spTgt spid="169"/>
                                        </p:tgtEl>
                                      </p:cBhvr>
                                      <p:by x="105000" y="105000"/>
                                    </p:animScale>
                                  </p:childTnLst>
                                </p:cTn>
                              </p:par>
                              <p:par>
                                <p:cTn id="655" presetID="26" presetClass="emph" presetSubtype="0" dur="2000" repeatCount="indefinite" fill="hold" grpId="0" nodeType="withEffect">
                                  <p:stCondLst>
                                    <p:cond delay="4250"/>
                                  </p:stCondLst>
                                  <p:childTnLst>
                                    <p:animEffect transition="out" filter="fade">
                                      <p:cBhvr>
                                        <p:cTn id="656" dur="2000" tmFilter="0, 0; .2, .5; .8, .5; 1, 0"/>
                                        <p:tgtEl>
                                          <p:spTgt spid="186"/>
                                        </p:tgtEl>
                                      </p:cBhvr>
                                    </p:animEffect>
                                    <p:animScale>
                                      <p:cBhvr>
                                        <p:cTn id="657" dur="1000" autoRev="1" fill="hold"/>
                                        <p:tgtEl>
                                          <p:spTgt spid="186"/>
                                        </p:tgtEl>
                                      </p:cBhvr>
                                      <p:by x="105000" y="105000"/>
                                    </p:animScale>
                                  </p:childTnLst>
                                </p:cTn>
                              </p:par>
                              <p:par>
                                <p:cTn id="658" presetID="26" presetClass="emph" presetSubtype="0" dur="2000" repeatCount="indefinite" fill="hold" grpId="0" nodeType="withEffect">
                                  <p:stCondLst>
                                    <p:cond delay="4500"/>
                                  </p:stCondLst>
                                  <p:childTnLst>
                                    <p:animEffect transition="out" filter="fade">
                                      <p:cBhvr>
                                        <p:cTn id="659" dur="2000" tmFilter="0, 0; .2, .5; .8, .5; 1, 0"/>
                                        <p:tgtEl>
                                          <p:spTgt spid="88"/>
                                        </p:tgtEl>
                                      </p:cBhvr>
                                    </p:animEffect>
                                    <p:animScale>
                                      <p:cBhvr>
                                        <p:cTn id="660" dur="1000" autoRev="1" fill="hold"/>
                                        <p:tgtEl>
                                          <p:spTgt spid="88"/>
                                        </p:tgtEl>
                                      </p:cBhvr>
                                      <p:by x="105000" y="105000"/>
                                    </p:animScale>
                                  </p:childTnLst>
                                </p:cTn>
                              </p:par>
                              <p:par>
                                <p:cTn id="661" presetID="26" presetClass="emph" presetSubtype="0" dur="2000" repeatCount="indefinite" fill="hold" grpId="0" nodeType="withEffect">
                                  <p:stCondLst>
                                    <p:cond delay="4500"/>
                                  </p:stCondLst>
                                  <p:childTnLst>
                                    <p:animEffect transition="out" filter="fade">
                                      <p:cBhvr>
                                        <p:cTn id="662" dur="2000" tmFilter="0, 0; .2, .5; .8, .5; 1, 0"/>
                                        <p:tgtEl>
                                          <p:spTgt spid="104"/>
                                        </p:tgtEl>
                                      </p:cBhvr>
                                    </p:animEffect>
                                    <p:animScale>
                                      <p:cBhvr>
                                        <p:cTn id="663" dur="1000" autoRev="1" fill="hold"/>
                                        <p:tgtEl>
                                          <p:spTgt spid="104"/>
                                        </p:tgtEl>
                                      </p:cBhvr>
                                      <p:by x="105000" y="105000"/>
                                    </p:animScale>
                                  </p:childTnLst>
                                </p:cTn>
                              </p:par>
                              <p:par>
                                <p:cTn id="664" presetID="26" presetClass="emph" presetSubtype="0" dur="2000" repeatCount="indefinite" fill="hold" grpId="0" nodeType="withEffect">
                                  <p:stCondLst>
                                    <p:cond delay="4500"/>
                                  </p:stCondLst>
                                  <p:childTnLst>
                                    <p:animEffect transition="out" filter="fade">
                                      <p:cBhvr>
                                        <p:cTn id="665" dur="2000" tmFilter="0, 0; .2, .5; .8, .5; 1, 0"/>
                                        <p:tgtEl>
                                          <p:spTgt spid="120"/>
                                        </p:tgtEl>
                                      </p:cBhvr>
                                    </p:animEffect>
                                    <p:animScale>
                                      <p:cBhvr>
                                        <p:cTn id="666" dur="1000" autoRev="1" fill="hold"/>
                                        <p:tgtEl>
                                          <p:spTgt spid="120"/>
                                        </p:tgtEl>
                                      </p:cBhvr>
                                      <p:by x="105000" y="105000"/>
                                    </p:animScale>
                                  </p:childTnLst>
                                </p:cTn>
                              </p:par>
                              <p:par>
                                <p:cTn id="667" presetID="26" presetClass="emph" presetSubtype="0" dur="2000" repeatCount="indefinite" fill="hold" grpId="0" nodeType="withEffect">
                                  <p:stCondLst>
                                    <p:cond delay="4500"/>
                                  </p:stCondLst>
                                  <p:childTnLst>
                                    <p:animEffect transition="out" filter="fade">
                                      <p:cBhvr>
                                        <p:cTn id="668" dur="2000" tmFilter="0, 0; .2, .5; .8, .5; 1, 0"/>
                                        <p:tgtEl>
                                          <p:spTgt spid="136"/>
                                        </p:tgtEl>
                                      </p:cBhvr>
                                    </p:animEffect>
                                    <p:animScale>
                                      <p:cBhvr>
                                        <p:cTn id="669" dur="1000" autoRev="1" fill="hold"/>
                                        <p:tgtEl>
                                          <p:spTgt spid="136"/>
                                        </p:tgtEl>
                                      </p:cBhvr>
                                      <p:by x="105000" y="105000"/>
                                    </p:animScale>
                                  </p:childTnLst>
                                </p:cTn>
                              </p:par>
                              <p:par>
                                <p:cTn id="670" presetID="26" presetClass="emph" presetSubtype="0" dur="2000" repeatCount="indefinite" fill="hold" grpId="0" nodeType="withEffect">
                                  <p:stCondLst>
                                    <p:cond delay="4500"/>
                                  </p:stCondLst>
                                  <p:childTnLst>
                                    <p:animEffect transition="out" filter="fade">
                                      <p:cBhvr>
                                        <p:cTn id="671" dur="2000" tmFilter="0, 0; .2, .5; .8, .5; 1, 0"/>
                                        <p:tgtEl>
                                          <p:spTgt spid="153"/>
                                        </p:tgtEl>
                                      </p:cBhvr>
                                    </p:animEffect>
                                    <p:animScale>
                                      <p:cBhvr>
                                        <p:cTn id="672" dur="1000" autoRev="1" fill="hold"/>
                                        <p:tgtEl>
                                          <p:spTgt spid="153"/>
                                        </p:tgtEl>
                                      </p:cBhvr>
                                      <p:by x="105000" y="105000"/>
                                    </p:animScale>
                                  </p:childTnLst>
                                </p:cTn>
                              </p:par>
                              <p:par>
                                <p:cTn id="673" presetID="26" presetClass="emph" presetSubtype="0" dur="2000" repeatCount="indefinite" fill="hold" grpId="0" nodeType="withEffect">
                                  <p:stCondLst>
                                    <p:cond delay="4500"/>
                                  </p:stCondLst>
                                  <p:childTnLst>
                                    <p:animEffect transition="out" filter="fade">
                                      <p:cBhvr>
                                        <p:cTn id="674" dur="2000" tmFilter="0, 0; .2, .5; .8, .5; 1, 0"/>
                                        <p:tgtEl>
                                          <p:spTgt spid="170"/>
                                        </p:tgtEl>
                                      </p:cBhvr>
                                    </p:animEffect>
                                    <p:animScale>
                                      <p:cBhvr>
                                        <p:cTn id="675" dur="1000" autoRev="1" fill="hold"/>
                                        <p:tgtEl>
                                          <p:spTgt spid="170"/>
                                        </p:tgtEl>
                                      </p:cBhvr>
                                      <p:by x="105000" y="105000"/>
                                    </p:animScale>
                                  </p:childTnLst>
                                </p:cTn>
                              </p:par>
                              <p:par>
                                <p:cTn id="676" presetID="26" presetClass="emph" presetSubtype="0" dur="2000" repeatCount="indefinite" fill="hold" grpId="0" nodeType="withEffect">
                                  <p:stCondLst>
                                    <p:cond delay="4750"/>
                                  </p:stCondLst>
                                  <p:childTnLst>
                                    <p:animEffect transition="out" filter="fade">
                                      <p:cBhvr>
                                        <p:cTn id="677" dur="2000" tmFilter="0, 0; .2, .5; .8, .5; 1, 0"/>
                                        <p:tgtEl>
                                          <p:spTgt spid="105"/>
                                        </p:tgtEl>
                                      </p:cBhvr>
                                    </p:animEffect>
                                    <p:animScale>
                                      <p:cBhvr>
                                        <p:cTn id="678" dur="1000" autoRev="1" fill="hold"/>
                                        <p:tgtEl>
                                          <p:spTgt spid="105"/>
                                        </p:tgtEl>
                                      </p:cBhvr>
                                      <p:by x="105000" y="105000"/>
                                    </p:animScale>
                                  </p:childTnLst>
                                </p:cTn>
                              </p:par>
                              <p:par>
                                <p:cTn id="679" presetID="26" presetClass="emph" presetSubtype="0" dur="2000" repeatCount="indefinite" fill="hold" grpId="0" nodeType="withEffect">
                                  <p:stCondLst>
                                    <p:cond delay="4750"/>
                                  </p:stCondLst>
                                  <p:childTnLst>
                                    <p:animEffect transition="out" filter="fade">
                                      <p:cBhvr>
                                        <p:cTn id="680" dur="2000" tmFilter="0, 0; .2, .5; .8, .5; 1, 0"/>
                                        <p:tgtEl>
                                          <p:spTgt spid="121"/>
                                        </p:tgtEl>
                                      </p:cBhvr>
                                    </p:animEffect>
                                    <p:animScale>
                                      <p:cBhvr>
                                        <p:cTn id="681" dur="1000" autoRev="1" fill="hold"/>
                                        <p:tgtEl>
                                          <p:spTgt spid="121"/>
                                        </p:tgtEl>
                                      </p:cBhvr>
                                      <p:by x="105000" y="105000"/>
                                    </p:animScale>
                                  </p:childTnLst>
                                </p:cTn>
                              </p:par>
                              <p:par>
                                <p:cTn id="682" presetID="26" presetClass="emph" presetSubtype="0" dur="2000" repeatCount="indefinite" fill="hold" grpId="0" nodeType="withEffect">
                                  <p:stCondLst>
                                    <p:cond delay="4750"/>
                                  </p:stCondLst>
                                  <p:childTnLst>
                                    <p:animEffect transition="out" filter="fade">
                                      <p:cBhvr>
                                        <p:cTn id="683" dur="2000" tmFilter="0, 0; .2, .5; .8, .5; 1, 0"/>
                                        <p:tgtEl>
                                          <p:spTgt spid="137"/>
                                        </p:tgtEl>
                                      </p:cBhvr>
                                    </p:animEffect>
                                    <p:animScale>
                                      <p:cBhvr>
                                        <p:cTn id="684" dur="1000" autoRev="1" fill="hold"/>
                                        <p:tgtEl>
                                          <p:spTgt spid="137"/>
                                        </p:tgtEl>
                                      </p:cBhvr>
                                      <p:by x="105000" y="105000"/>
                                    </p:animScale>
                                  </p:childTnLst>
                                </p:cTn>
                              </p:par>
                              <p:par>
                                <p:cTn id="685" presetID="26" presetClass="emph" presetSubtype="0" dur="2000" repeatCount="indefinite" fill="hold" grpId="0" nodeType="withEffect">
                                  <p:stCondLst>
                                    <p:cond delay="4750"/>
                                  </p:stCondLst>
                                  <p:childTnLst>
                                    <p:animEffect transition="out" filter="fade">
                                      <p:cBhvr>
                                        <p:cTn id="686" dur="2000" tmFilter="0, 0; .2, .5; .8, .5; 1, 0"/>
                                        <p:tgtEl>
                                          <p:spTgt spid="154"/>
                                        </p:tgtEl>
                                      </p:cBhvr>
                                    </p:animEffect>
                                    <p:animScale>
                                      <p:cBhvr>
                                        <p:cTn id="687" dur="1000" autoRev="1" fill="hold"/>
                                        <p:tgtEl>
                                          <p:spTgt spid="154"/>
                                        </p:tgtEl>
                                      </p:cBhvr>
                                      <p:by x="105000" y="105000"/>
                                    </p:animScale>
                                  </p:childTnLst>
                                </p:cTn>
                              </p:par>
                              <p:par>
                                <p:cTn id="688" presetID="26" presetClass="emph" presetSubtype="0" dur="2000" repeatCount="indefinite" fill="hold" grpId="0" nodeType="withEffect">
                                  <p:stCondLst>
                                    <p:cond delay="5000"/>
                                  </p:stCondLst>
                                  <p:childTnLst>
                                    <p:animEffect transition="out" filter="fade">
                                      <p:cBhvr>
                                        <p:cTn id="689" dur="2000" tmFilter="0, 0; .2, .5; .8, .5; 1, 0"/>
                                        <p:tgtEl>
                                          <p:spTgt spid="122"/>
                                        </p:tgtEl>
                                      </p:cBhvr>
                                    </p:animEffect>
                                    <p:animScale>
                                      <p:cBhvr>
                                        <p:cTn id="690" dur="1000" autoRev="1" fill="hold"/>
                                        <p:tgtEl>
                                          <p:spTgt spid="122"/>
                                        </p:tgtEl>
                                      </p:cBhvr>
                                      <p:by x="105000" y="105000"/>
                                    </p:animScale>
                                  </p:childTnLst>
                                </p:cTn>
                              </p:par>
                              <p:par>
                                <p:cTn id="691" presetID="26" presetClass="emph" presetSubtype="0" dur="2000" repeatCount="indefinite" fill="hold" grpId="0" nodeType="withEffect">
                                  <p:stCondLst>
                                    <p:cond delay="5000"/>
                                  </p:stCondLst>
                                  <p:childTnLst>
                                    <p:animEffect transition="out" filter="fade">
                                      <p:cBhvr>
                                        <p:cTn id="692" dur="2000" tmFilter="0, 0; .2, .5; .8, .5; 1, 0"/>
                                        <p:tgtEl>
                                          <p:spTgt spid="138"/>
                                        </p:tgtEl>
                                      </p:cBhvr>
                                    </p:animEffect>
                                    <p:animScale>
                                      <p:cBhvr>
                                        <p:cTn id="693" dur="1000" autoRev="1" fill="hold"/>
                                        <p:tgtEl>
                                          <p:spTgt spid="138"/>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122" grpId="0" animBg="1"/>
      <p:bldP spid="138" grpId="0" animBg="1"/>
      <p:bldP spid="105" grpId="0" animBg="1"/>
      <p:bldP spid="121" grpId="0" animBg="1"/>
      <p:bldP spid="137" grpId="0" animBg="1"/>
      <p:bldP spid="154" grpId="0" animBg="1"/>
      <p:bldP spid="88" grpId="0" animBg="1"/>
      <p:bldP spid="104" grpId="0" animBg="1"/>
      <p:bldP spid="120" grpId="0" animBg="1"/>
      <p:bldP spid="136" grpId="0" animBg="1"/>
      <p:bldP spid="153" grpId="0" animBg="1"/>
      <p:bldP spid="170" grpId="0" animBg="1"/>
      <p:bldP spid="71" grpId="0" animBg="1"/>
      <p:bldP spid="87" grpId="0" animBg="1"/>
      <p:bldP spid="103" grpId="0" animBg="1"/>
      <p:bldP spid="119" grpId="0" animBg="1"/>
      <p:bldP spid="135" grpId="0" animBg="1"/>
      <p:bldP spid="152" grpId="0" animBg="1"/>
      <p:bldP spid="169" grpId="0" animBg="1"/>
      <p:bldP spid="186" grpId="0" animBg="1"/>
      <p:bldP spid="54" grpId="0" animBg="1"/>
      <p:bldP spid="70" grpId="0" animBg="1"/>
      <p:bldP spid="86" grpId="0" animBg="1"/>
      <p:bldP spid="102" grpId="0" animBg="1"/>
      <p:bldP spid="118" grpId="0" animBg="1"/>
      <p:bldP spid="134" grpId="0" animBg="1"/>
      <p:bldP spid="151" grpId="0" animBg="1"/>
      <p:bldP spid="168" grpId="0" animBg="1"/>
      <p:bldP spid="185" grpId="0" animBg="1"/>
      <p:bldP spid="202" grpId="0" animBg="1"/>
      <p:bldP spid="37" grpId="0" animBg="1"/>
      <p:bldP spid="53" grpId="0" animBg="1"/>
      <p:bldP spid="69" grpId="0" animBg="1"/>
      <p:bldP spid="85" grpId="0" animBg="1"/>
      <p:bldP spid="101" grpId="0" animBg="1"/>
      <p:bldP spid="117" grpId="0" animBg="1"/>
      <p:bldP spid="133" grpId="0" animBg="1"/>
      <p:bldP spid="150" grpId="0" animBg="1"/>
      <p:bldP spid="167" grpId="0" animBg="1"/>
      <p:bldP spid="184" grpId="0" animBg="1"/>
      <p:bldP spid="201" grpId="0" animBg="1"/>
      <p:bldP spid="218" grpId="0" animBg="1"/>
      <p:bldP spid="5" grpId="0" animBg="1"/>
      <p:bldP spid="22" grpId="0" animBg="1"/>
      <p:bldP spid="38" grpId="0" animBg="1"/>
      <p:bldP spid="203" grpId="0" animBg="1"/>
      <p:bldP spid="219" grpId="0" animBg="1"/>
      <p:bldP spid="6" grpId="0" animBg="1"/>
      <p:bldP spid="23" grpId="0" animBg="1"/>
      <p:bldP spid="39" grpId="0" animBg="1"/>
      <p:bldP spid="55" grpId="0" animBg="1"/>
      <p:bldP spid="187" grpId="0" animBg="1"/>
      <p:bldP spid="204" grpId="0" animBg="1"/>
      <p:bldP spid="220" grpId="0" animBg="1"/>
      <p:bldP spid="7" grpId="0" animBg="1"/>
      <p:bldP spid="24" grpId="0" animBg="1"/>
      <p:bldP spid="40" grpId="0" animBg="1"/>
      <p:bldP spid="56" grpId="0" animBg="1"/>
      <p:bldP spid="72" grpId="0" animBg="1"/>
      <p:bldP spid="171" grpId="0" animBg="1"/>
      <p:bldP spid="188" grpId="0" animBg="1"/>
      <p:bldP spid="205" grpId="0" animBg="1"/>
      <p:bldP spid="221" grpId="0" animBg="1"/>
      <p:bldP spid="8" grpId="0" animBg="1"/>
      <p:bldP spid="25" grpId="0" animBg="1"/>
      <p:bldP spid="41" grpId="0" animBg="1"/>
      <p:bldP spid="57" grpId="0" animBg="1"/>
      <p:bldP spid="73" grpId="0" animBg="1"/>
      <p:bldP spid="89" grpId="0" animBg="1"/>
      <p:bldP spid="155" grpId="0" animBg="1"/>
      <p:bldP spid="172" grpId="0" animBg="1"/>
      <p:bldP spid="189" grpId="0" animBg="1"/>
      <p:bldP spid="206" grpId="0" animBg="1"/>
      <p:bldP spid="222" grpId="0" animBg="1"/>
      <p:bldP spid="11" grpId="0" animBg="1"/>
      <p:bldP spid="26" grpId="0" animBg="1"/>
      <p:bldP spid="42" grpId="0" animBg="1"/>
      <p:bldP spid="58" grpId="0" animBg="1"/>
      <p:bldP spid="74" grpId="0" animBg="1"/>
      <p:bldP spid="90" grpId="0" animBg="1"/>
      <p:bldP spid="106" grpId="0" animBg="1"/>
      <p:bldP spid="139" grpId="0" animBg="1"/>
      <p:bldP spid="156" grpId="0" animBg="1"/>
      <p:bldP spid="173" grpId="0" animBg="1"/>
      <p:bldP spid="190" grpId="0" animBg="1"/>
      <p:bldP spid="207" grpId="0" animBg="1"/>
      <p:bldP spid="223" grpId="0" animBg="1"/>
      <p:bldP spid="12" grpId="0" animBg="1"/>
      <p:bldP spid="27" grpId="0" animBg="1"/>
      <p:bldP spid="43" grpId="0" animBg="1"/>
      <p:bldP spid="59" grpId="0" animBg="1"/>
      <p:bldP spid="75" grpId="0" animBg="1"/>
      <p:bldP spid="91" grpId="0" animBg="1"/>
      <p:bldP spid="107" grpId="0" animBg="1"/>
      <p:bldP spid="123" grpId="0" animBg="1"/>
      <p:bldP spid="140" grpId="0" animBg="1"/>
      <p:bldP spid="157" grpId="0" animBg="1"/>
      <p:bldP spid="174" grpId="0" animBg="1"/>
      <p:bldP spid="191" grpId="0" animBg="1"/>
      <p:bldP spid="208" grpId="0" animBg="1"/>
      <p:bldP spid="224" grpId="0" animBg="1"/>
      <p:bldP spid="13" grpId="0" animBg="1"/>
      <p:bldP spid="28" grpId="0" animBg="1"/>
      <p:bldP spid="44" grpId="0" animBg="1"/>
      <p:bldP spid="60" grpId="0" animBg="1"/>
      <p:bldP spid="76" grpId="0" animBg="1"/>
      <p:bldP spid="92" grpId="0" animBg="1"/>
      <p:bldP spid="108" grpId="0" animBg="1"/>
      <p:bldP spid="124" grpId="0" animBg="1"/>
      <p:bldP spid="141" grpId="0" animBg="1"/>
      <p:bldP spid="158" grpId="0" animBg="1"/>
      <p:bldP spid="175" grpId="0" animBg="1"/>
      <p:bldP spid="192" grpId="0" animBg="1"/>
      <p:bldP spid="209" grpId="0" animBg="1"/>
      <p:bldP spid="225" grpId="0" animBg="1"/>
      <p:bldP spid="14" grpId="0" animBg="1"/>
      <p:bldP spid="29" grpId="0" animBg="1"/>
      <p:bldP spid="45" grpId="0" animBg="1"/>
      <p:bldP spid="61" grpId="0" animBg="1"/>
      <p:bldP spid="77" grpId="0" animBg="1"/>
      <p:bldP spid="93" grpId="0" animBg="1"/>
      <p:bldP spid="109" grpId="0" animBg="1"/>
      <p:bldP spid="125" grpId="0" animBg="1"/>
      <p:bldP spid="142" grpId="0" animBg="1"/>
      <p:bldP spid="159" grpId="0" animBg="1"/>
      <p:bldP spid="176" grpId="0" animBg="1"/>
      <p:bldP spid="193" grpId="0" animBg="1"/>
      <p:bldP spid="210" grpId="0" animBg="1"/>
      <p:bldP spid="226" grpId="0" animBg="1"/>
      <p:bldP spid="15" grpId="0" animBg="1"/>
      <p:bldP spid="30" grpId="0" animBg="1"/>
      <p:bldP spid="46" grpId="0" animBg="1"/>
      <p:bldP spid="62" grpId="0" animBg="1"/>
      <p:bldP spid="78" grpId="0" animBg="1"/>
      <p:bldP spid="94" grpId="0" animBg="1"/>
      <p:bldP spid="110" grpId="0" animBg="1"/>
      <p:bldP spid="126" grpId="0" animBg="1"/>
      <p:bldP spid="143" grpId="0" animBg="1"/>
      <p:bldP spid="160" grpId="0" animBg="1"/>
      <p:bldP spid="177" grpId="0" animBg="1"/>
      <p:bldP spid="194" grpId="0" animBg="1"/>
      <p:bldP spid="211" grpId="0" animBg="1"/>
      <p:bldP spid="227" grpId="0" animBg="1"/>
      <p:bldP spid="16" grpId="0" animBg="1"/>
      <p:bldP spid="31" grpId="0" animBg="1"/>
      <p:bldP spid="47" grpId="0" animBg="1"/>
      <p:bldP spid="63" grpId="0" animBg="1"/>
      <p:bldP spid="79" grpId="0" animBg="1"/>
      <p:bldP spid="95" grpId="0" animBg="1"/>
      <p:bldP spid="111" grpId="0" animBg="1"/>
      <p:bldP spid="127" grpId="0" animBg="1"/>
      <p:bldP spid="144" grpId="0" animBg="1"/>
      <p:bldP spid="161" grpId="0" animBg="1"/>
      <p:bldP spid="178" grpId="0" animBg="1"/>
      <p:bldP spid="195" grpId="0" animBg="1"/>
      <p:bldP spid="212" grpId="0" animBg="1"/>
      <p:bldP spid="228" grpId="0" animBg="1"/>
      <p:bldP spid="17" grpId="0" animBg="1"/>
      <p:bldP spid="32" grpId="0" animBg="1"/>
      <p:bldP spid="48" grpId="0" animBg="1"/>
      <p:bldP spid="64" grpId="0" animBg="1"/>
      <p:bldP spid="80" grpId="0" animBg="1"/>
      <p:bldP spid="96" grpId="0" animBg="1"/>
      <p:bldP spid="112" grpId="0" animBg="1"/>
      <p:bldP spid="128" grpId="0" animBg="1"/>
      <p:bldP spid="145" grpId="0" animBg="1"/>
      <p:bldP spid="162" grpId="0" animBg="1"/>
      <p:bldP spid="179" grpId="0" animBg="1"/>
      <p:bldP spid="196" grpId="0" animBg="1"/>
      <p:bldP spid="213" grpId="0" animBg="1"/>
      <p:bldP spid="229" grpId="0" animBg="1"/>
      <p:bldP spid="18" grpId="0" animBg="1"/>
      <p:bldP spid="33" grpId="0" animBg="1"/>
      <p:bldP spid="49" grpId="0" animBg="1"/>
      <p:bldP spid="65" grpId="0" animBg="1"/>
      <p:bldP spid="81" grpId="0" animBg="1"/>
      <p:bldP spid="97" grpId="0" animBg="1"/>
      <p:bldP spid="113" grpId="0" animBg="1"/>
      <p:bldP spid="129" grpId="0" animBg="1"/>
      <p:bldP spid="146" grpId="0" animBg="1"/>
      <p:bldP spid="163" grpId="0" animBg="1"/>
      <p:bldP spid="180" grpId="0" animBg="1"/>
      <p:bldP spid="197" grpId="0" animBg="1"/>
      <p:bldP spid="214" grpId="0" animBg="1"/>
      <p:bldP spid="230" grpId="0" animBg="1"/>
      <p:bldP spid="19" grpId="0" animBg="1"/>
      <p:bldP spid="34" grpId="0" animBg="1"/>
      <p:bldP spid="50" grpId="0" animBg="1"/>
      <p:bldP spid="66" grpId="0" animBg="1"/>
      <p:bldP spid="82" grpId="0" animBg="1"/>
      <p:bldP spid="98" grpId="0" animBg="1"/>
      <p:bldP spid="114" grpId="0" animBg="1"/>
      <p:bldP spid="130" grpId="0" animBg="1"/>
      <p:bldP spid="147" grpId="0" animBg="1"/>
      <p:bldP spid="164" grpId="0" animBg="1"/>
      <p:bldP spid="181" grpId="0" animBg="1"/>
      <p:bldP spid="198" grpId="0" animBg="1"/>
      <p:bldP spid="215" grpId="0" animBg="1"/>
      <p:bldP spid="231" grpId="0" animBg="1"/>
      <p:bldP spid="20" grpId="0" animBg="1"/>
      <p:bldP spid="35" grpId="0" animBg="1"/>
      <p:bldP spid="51" grpId="0" animBg="1"/>
      <p:bldP spid="67" grpId="0" animBg="1"/>
      <p:bldP spid="83" grpId="0" animBg="1"/>
      <p:bldP spid="99" grpId="0" animBg="1"/>
      <p:bldP spid="115" grpId="0" animBg="1"/>
      <p:bldP spid="131" grpId="0" animBg="1"/>
      <p:bldP spid="148" grpId="0" animBg="1"/>
      <p:bldP spid="165" grpId="0" animBg="1"/>
      <p:bldP spid="182" grpId="0" animBg="1"/>
      <p:bldP spid="199" grpId="0" animBg="1"/>
      <p:bldP spid="216" grpId="0" animBg="1"/>
      <p:bldP spid="232" grpId="0" animBg="1"/>
      <p:bldP spid="21" grpId="0" animBg="1"/>
      <p:bldP spid="36" grpId="0" animBg="1"/>
      <p:bldP spid="52" grpId="0" animBg="1"/>
      <p:bldP spid="68" grpId="0" animBg="1"/>
      <p:bldP spid="84" grpId="0" animBg="1"/>
      <p:bldP spid="100" grpId="0" animBg="1"/>
      <p:bldP spid="116" grpId="0" animBg="1"/>
      <p:bldP spid="132" grpId="0" animBg="1"/>
      <p:bldP spid="149" grpId="0" animBg="1"/>
      <p:bldP spid="166" grpId="0" animBg="1"/>
      <p:bldP spid="183" grpId="0" animBg="1"/>
      <p:bldP spid="200" grpId="0" animBg="1"/>
      <p:bldP spid="217" grpId="0" animBg="1"/>
      <p:bldP spid="233" grpId="0" animBg="1"/>
      <p:bldP spid="10" grpId="0">
        <p:tmplLst>
          <p:tmpl>
            <p:tnLst>
              <p:par>
                <p:cTn presetID="2" presetClass="entr" presetSubtype="8" decel="100000" fill="hold" nodeType="withEffect">
                  <p:stCondLst>
                    <p:cond delay="0"/>
                  </p:stCondLst>
                  <p:childTnLst>
                    <p:set>
                      <p:cBhvr>
                        <p:cTn dur="1" fill="hold">
                          <p:stCondLst>
                            <p:cond delay="0"/>
                          </p:stCondLst>
                        </p:cTn>
                        <p:tgtEl>
                          <p:spTgt spid="10"/>
                        </p:tgtEl>
                        <p:attrNameLst>
                          <p:attrName>style.visibility</p:attrName>
                        </p:attrNameLst>
                      </p:cBhvr>
                      <p:to>
                        <p:strVal val="visible"/>
                      </p:to>
                    </p:set>
                    <p:anim calcmode="lin" valueType="num">
                      <p:cBhvr additive="base">
                        <p:cTn dur="1000" fill="hold"/>
                        <p:tgtEl>
                          <p:spTgt spid="10"/>
                        </p:tgtEl>
                        <p:attrNameLst>
                          <p:attrName>ppt_x</p:attrName>
                        </p:attrNameLst>
                      </p:cBhvr>
                      <p:tavLst>
                        <p:tav tm="0">
                          <p:val>
                            <p:strVal val="0-#ppt_w/2"/>
                          </p:val>
                        </p:tav>
                        <p:tav tm="100000">
                          <p:val>
                            <p:strVal val="#ppt_x"/>
                          </p:val>
                        </p:tav>
                      </p:tavLst>
                    </p:anim>
                    <p:anim calcmode="lin" valueType="num">
                      <p:cBhvr additive="base">
                        <p:cTn dur="1000" fill="hold"/>
                        <p:tgtEl>
                          <p:spTgt spid="10"/>
                        </p:tgtEl>
                        <p:attrNameLst>
                          <p:attrName>ppt_y</p:attrName>
                        </p:attrNameLst>
                      </p:cBhvr>
                      <p:tavLst>
                        <p:tav tm="0">
                          <p:val>
                            <p:strVal val="#ppt_y"/>
                          </p:val>
                        </p:tav>
                        <p:tav tm="100000">
                          <p:val>
                            <p:strVal val="#ppt_y"/>
                          </p:val>
                        </p:tav>
                      </p:tavLst>
                    </p:anim>
                  </p:childTnLst>
                </p:cTn>
              </p:par>
            </p:tnLst>
          </p:tmpl>
        </p:tmplLst>
      </p:bldP>
    </p:bld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HEADING/TEXT 1 column">
    <p:spTree>
      <p:nvGrpSpPr>
        <p:cNvPr id="1" name=""/>
        <p:cNvGrpSpPr/>
        <p:nvPr/>
      </p:nvGrpSpPr>
      <p:grpSpPr>
        <a:xfrm>
          <a:off x="0" y="0"/>
          <a:ext cx="0" cy="0"/>
          <a:chOff x="0" y="0"/>
          <a:chExt cx="0" cy="0"/>
        </a:xfrm>
      </p:grpSpPr>
      <p:sp>
        <p:nvSpPr>
          <p:cNvPr id="13" name="Freihandform: Form 12">
            <a:extLst>
              <a:ext uri="{FF2B5EF4-FFF2-40B4-BE49-F238E27FC236}">
                <a16:creationId xmlns:a16="http://schemas.microsoft.com/office/drawing/2014/main" id="{50EC640D-C73C-4FD9-AD9A-88EE410704F4}"/>
              </a:ext>
            </a:extLst>
          </p:cNvPr>
          <p:cNvSpPr/>
          <p:nvPr/>
        </p:nvSpPr>
        <p:spPr>
          <a:xfrm>
            <a:off x="2362200" y="1975611"/>
            <a:ext cx="9829800" cy="4882390"/>
          </a:xfrm>
          <a:custGeom>
            <a:avLst/>
            <a:gdLst>
              <a:gd name="connsiteX0" fmla="*/ 910059 w 9829800"/>
              <a:gd name="connsiteY0" fmla="*/ 0 h 4882390"/>
              <a:gd name="connsiteX1" fmla="*/ 3015085 w 9829800"/>
              <a:gd name="connsiteY1" fmla="*/ 0 h 4882390"/>
              <a:gd name="connsiteX2" fmla="*/ 7981950 w 9829800"/>
              <a:gd name="connsiteY2" fmla="*/ 0 h 4882390"/>
              <a:gd name="connsiteX3" fmla="*/ 9829800 w 9829800"/>
              <a:gd name="connsiteY3" fmla="*/ 0 h 4882390"/>
              <a:gd name="connsiteX4" fmla="*/ 9829800 w 9829800"/>
              <a:gd name="connsiteY4" fmla="*/ 4882390 h 4882390"/>
              <a:gd name="connsiteX5" fmla="*/ 7981950 w 9829800"/>
              <a:gd name="connsiteY5" fmla="*/ 4882390 h 4882390"/>
              <a:gd name="connsiteX6" fmla="*/ 2183098 w 9829800"/>
              <a:gd name="connsiteY6" fmla="*/ 4882390 h 4882390"/>
              <a:gd name="connsiteX7" fmla="*/ 78072 w 9829800"/>
              <a:gd name="connsiteY7" fmla="*/ 4882390 h 4882390"/>
              <a:gd name="connsiteX8" fmla="*/ 0 w 9829800"/>
              <a:gd name="connsiteY8" fmla="*/ 4804318 h 4882390"/>
              <a:gd name="connsiteX9" fmla="*/ 831987 w 9829800"/>
              <a:gd name="connsiteY9" fmla="*/ 78072 h 4882390"/>
              <a:gd name="connsiteX10" fmla="*/ 910059 w 9829800"/>
              <a:gd name="connsiteY10" fmla="*/ 0 h 4882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829800" h="4882390">
                <a:moveTo>
                  <a:pt x="910059" y="0"/>
                </a:moveTo>
                <a:lnTo>
                  <a:pt x="3015085" y="0"/>
                </a:lnTo>
                <a:lnTo>
                  <a:pt x="7981950" y="0"/>
                </a:lnTo>
                <a:lnTo>
                  <a:pt x="9829800" y="0"/>
                </a:lnTo>
                <a:lnTo>
                  <a:pt x="9829800" y="4882390"/>
                </a:lnTo>
                <a:lnTo>
                  <a:pt x="7981950" y="4882390"/>
                </a:lnTo>
                <a:lnTo>
                  <a:pt x="2183098" y="4882390"/>
                </a:lnTo>
                <a:lnTo>
                  <a:pt x="78072" y="4882390"/>
                </a:lnTo>
                <a:cubicBezTo>
                  <a:pt x="34957" y="4882390"/>
                  <a:pt x="0" y="4847433"/>
                  <a:pt x="0" y="4804318"/>
                </a:cubicBezTo>
                <a:lnTo>
                  <a:pt x="831987" y="78072"/>
                </a:lnTo>
                <a:cubicBezTo>
                  <a:pt x="831987" y="34957"/>
                  <a:pt x="866945" y="0"/>
                  <a:pt x="910059" y="0"/>
                </a:cubicBezTo>
                <a:close/>
              </a:path>
            </a:pathLst>
          </a:custGeom>
          <a:gradFill>
            <a:gsLst>
              <a:gs pos="0">
                <a:schemeClr val="bg1"/>
              </a:gs>
              <a:gs pos="95000">
                <a:srgbClr val="ECF0F4"/>
              </a:gs>
            </a:gsLst>
            <a:lin ang="5400000" scaled="1"/>
          </a:gradFill>
          <a:ln w="11652" cap="flat">
            <a:noFill/>
            <a:prstDash val="solid"/>
            <a:miter/>
          </a:ln>
        </p:spPr>
        <p:txBody>
          <a:bodyPr rtlCol="0" anchor="ctr"/>
          <a:lstStyle/>
          <a:p>
            <a:endParaRPr lang="de-DE"/>
          </a:p>
        </p:txBody>
      </p:sp>
      <p:sp>
        <p:nvSpPr>
          <p:cNvPr id="2" name="Titel 1">
            <a:extLst>
              <a:ext uri="{FF2B5EF4-FFF2-40B4-BE49-F238E27FC236}">
                <a16:creationId xmlns:a16="http://schemas.microsoft.com/office/drawing/2014/main" id="{0526DC72-FA1D-422D-8055-3374742D122B}"/>
              </a:ext>
            </a:extLst>
          </p:cNvPr>
          <p:cNvSpPr>
            <a:spLocks noGrp="1"/>
          </p:cNvSpPr>
          <p:nvPr>
            <p:ph type="title"/>
          </p:nvPr>
        </p:nvSpPr>
        <p:spPr/>
        <p:txBody>
          <a:bodyPr/>
          <a:lstStyle>
            <a:lvl1pPr>
              <a:lnSpc>
                <a:spcPct val="100000"/>
              </a:lnSpc>
              <a:defRPr/>
            </a:lvl1pPr>
          </a:lstStyle>
          <a:p>
            <a:r>
              <a:rPr lang="de-DE"/>
              <a:t>Mastertitelformat bearbeiten</a:t>
            </a:r>
          </a:p>
        </p:txBody>
      </p:sp>
      <p:sp>
        <p:nvSpPr>
          <p:cNvPr id="3" name="Foliennummernplatzhalter 2">
            <a:extLst>
              <a:ext uri="{FF2B5EF4-FFF2-40B4-BE49-F238E27FC236}">
                <a16:creationId xmlns:a16="http://schemas.microsoft.com/office/drawing/2014/main" id="{5B327254-466C-4606-8589-BCC72CBDADDF}"/>
              </a:ext>
            </a:extLst>
          </p:cNvPr>
          <p:cNvSpPr>
            <a:spLocks noGrp="1"/>
          </p:cNvSpPr>
          <p:nvPr>
            <p:ph type="sldNum" sz="quarter" idx="10"/>
          </p:nvPr>
        </p:nvSpPr>
        <p:spPr/>
        <p:txBody>
          <a:bodyPr/>
          <a:lstStyle/>
          <a:p>
            <a:fld id="{A04BEB4F-8CE1-4F18-986F-6CE0A0BE9470}" type="slidenum">
              <a:rPr lang="de-DE" smtClean="0"/>
              <a:t>‹#›</a:t>
            </a:fld>
            <a:endParaRPr lang="de-DE"/>
          </a:p>
        </p:txBody>
      </p:sp>
      <p:sp>
        <p:nvSpPr>
          <p:cNvPr id="5" name="Textplatzhalter 9">
            <a:extLst>
              <a:ext uri="{FF2B5EF4-FFF2-40B4-BE49-F238E27FC236}">
                <a16:creationId xmlns:a16="http://schemas.microsoft.com/office/drawing/2014/main" id="{6024922C-391C-46EA-9F1C-F5344AAB64C8}"/>
              </a:ext>
            </a:extLst>
          </p:cNvPr>
          <p:cNvSpPr>
            <a:spLocks noGrp="1"/>
          </p:cNvSpPr>
          <p:nvPr>
            <p:ph type="body" sz="quarter" idx="11"/>
          </p:nvPr>
        </p:nvSpPr>
        <p:spPr>
          <a:xfrm>
            <a:off x="815951" y="1979612"/>
            <a:ext cx="10560096" cy="4338638"/>
          </a:xfrm>
          <a:prstGeom prst="rect">
            <a:avLst/>
          </a:prstGeom>
        </p:spPr>
        <p:txBody>
          <a:bodyPr lIns="0" tIns="0" rIns="0" bIns="0">
            <a:normAutofit/>
          </a:bodyPr>
          <a:lstStyle>
            <a:lvl1pPr>
              <a:defRPr sz="1800"/>
            </a:lvl1pPr>
            <a:lvl2pPr>
              <a:defRPr sz="1800"/>
            </a:lvl2pPr>
            <a:lvl3pPr>
              <a:defRPr sz="1800"/>
            </a:lvl3pPr>
            <a:lvl4pPr>
              <a:defRPr sz="1800"/>
            </a:lvl4pPr>
            <a:lvl5pPr>
              <a:defRPr sz="18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54633375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8" dur="1000" decel="10000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0-#ppt_w/2"/>
                                          </p:val>
                                        </p:tav>
                                        <p:tav tm="100000">
                                          <p:val>
                                            <p:strVal val="#ppt_x"/>
                                          </p:val>
                                        </p:tav>
                                      </p:tavLst>
                                    </p:anim>
                                    <p:anim calcmode="lin" valueType="num">
                                      <p:cBhvr additive="base">
                                        <p:cTn id="8" dur="1000" fill="hold"/>
                                        <p:tgtEl>
                                          <p:spTgt spid="2"/>
                                        </p:tgtEl>
                                        <p:attrNameLst>
                                          <p:attrName>ppt_y</p:attrName>
                                        </p:attrNameLst>
                                      </p:cBhvr>
                                      <p:tavLst>
                                        <p:tav tm="0">
                                          <p:val>
                                            <p:strVal val="#ppt_y"/>
                                          </p:val>
                                        </p:tav>
                                        <p:tav tm="100000">
                                          <p:val>
                                            <p:strVal val="#ppt_y"/>
                                          </p:val>
                                        </p:tav>
                                      </p:tavLst>
                                    </p:anim>
                                  </p:childTnLst>
                                </p:cTn>
                              </p:par>
                              <p:par>
                                <p:cTn id="9" presetID="2" presetClass="entr" presetSubtype="8" dur="1000" decel="100000" fill="hold" grpId="0" nodeType="withEffect">
                                  <p:stCondLst>
                                    <p:cond delay="25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1000" fill="hold"/>
                                        <p:tgtEl>
                                          <p:spTgt spid="5"/>
                                        </p:tgtEl>
                                        <p:attrNameLst>
                                          <p:attrName>ppt_x</p:attrName>
                                        </p:attrNameLst>
                                      </p:cBhvr>
                                      <p:tavLst>
                                        <p:tav tm="0">
                                          <p:val>
                                            <p:strVal val="0-#ppt_w/2"/>
                                          </p:val>
                                        </p:tav>
                                        <p:tav tm="100000">
                                          <p:val>
                                            <p:strVal val="#ppt_x"/>
                                          </p:val>
                                        </p:tav>
                                      </p:tavLst>
                                    </p:anim>
                                    <p:anim calcmode="lin" valueType="num">
                                      <p:cBhvr additive="base">
                                        <p:cTn id="12" dur="100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uiExpand="1">
        <p:tmplLst>
          <p:tmpl>
            <p:tnLst>
              <p:par>
                <p:cTn presetID="2" presetClass="entr" presetSubtype="8" decel="100000" fill="hold" nodeType="withEffect">
                  <p:stCondLst>
                    <p:cond delay="250"/>
                  </p:stCondLst>
                  <p:childTnLst>
                    <p:set>
                      <p:cBhvr>
                        <p:cTn dur="1" fill="hold">
                          <p:stCondLst>
                            <p:cond delay="0"/>
                          </p:stCondLst>
                        </p:cTn>
                        <p:tgtEl>
                          <p:spTgt spid="5"/>
                        </p:tgtEl>
                        <p:attrNameLst>
                          <p:attrName>style.visibility</p:attrName>
                        </p:attrNameLst>
                      </p:cBhvr>
                      <p:to>
                        <p:strVal val="visible"/>
                      </p:to>
                    </p:set>
                    <p:anim calcmode="lin" valueType="num">
                      <p:cBhvr additive="base">
                        <p:cTn dur="1000" fill="hold"/>
                        <p:tgtEl>
                          <p:spTgt spid="5"/>
                        </p:tgtEl>
                        <p:attrNameLst>
                          <p:attrName>ppt_x</p:attrName>
                        </p:attrNameLst>
                      </p:cBhvr>
                      <p:tavLst>
                        <p:tav tm="0">
                          <p:val>
                            <p:strVal val="0-#ppt_w/2"/>
                          </p:val>
                        </p:tav>
                        <p:tav tm="100000">
                          <p:val>
                            <p:strVal val="#ppt_x"/>
                          </p:val>
                        </p:tav>
                      </p:tavLst>
                    </p:anim>
                    <p:anim calcmode="lin" valueType="num">
                      <p:cBhvr additive="base">
                        <p:cTn dur="1000" fill="hold"/>
                        <p:tgtEl>
                          <p:spTgt spid="5"/>
                        </p:tgtEl>
                        <p:attrNameLst>
                          <p:attrName>ppt_y</p:attrName>
                        </p:attrNameLst>
                      </p:cBhvr>
                      <p:tavLst>
                        <p:tav tm="0">
                          <p:val>
                            <p:strVal val="#ppt_y"/>
                          </p:val>
                        </p:tav>
                        <p:tav tm="100000">
                          <p:val>
                            <p:strVal val="#ppt_y"/>
                          </p:val>
                        </p:tav>
                      </p:tavLst>
                    </p:anim>
                  </p:childTnLst>
                </p:cTn>
              </p:par>
            </p:tnLst>
          </p:tmpl>
        </p:tmplLst>
      </p:bldP>
    </p:bld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12_Custom Layout">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7A289BE9-3518-4572-9F36-A58461E16083}"/>
              </a:ext>
            </a:extLst>
          </p:cNvPr>
          <p:cNvSpPr>
            <a:spLocks noGrp="1"/>
          </p:cNvSpPr>
          <p:nvPr>
            <p:ph type="pic" sz="quarter" idx="15"/>
          </p:nvPr>
        </p:nvSpPr>
        <p:spPr>
          <a:xfrm>
            <a:off x="6515202" y="2960127"/>
            <a:ext cx="1368815" cy="937747"/>
          </a:xfrm>
          <a:custGeom>
            <a:avLst/>
            <a:gdLst>
              <a:gd name="connsiteX0" fmla="*/ 0 w 2737986"/>
              <a:gd name="connsiteY0" fmla="*/ 0 h 1875494"/>
              <a:gd name="connsiteX1" fmla="*/ 2737986 w 2737986"/>
              <a:gd name="connsiteY1" fmla="*/ 0 h 1875494"/>
              <a:gd name="connsiteX2" fmla="*/ 2737986 w 2737986"/>
              <a:gd name="connsiteY2" fmla="*/ 1875494 h 1875494"/>
              <a:gd name="connsiteX3" fmla="*/ 0 w 2737986"/>
              <a:gd name="connsiteY3" fmla="*/ 1875494 h 1875494"/>
            </a:gdLst>
            <a:ahLst/>
            <a:cxnLst>
              <a:cxn ang="0">
                <a:pos x="connsiteX0" y="connsiteY0"/>
              </a:cxn>
              <a:cxn ang="0">
                <a:pos x="connsiteX1" y="connsiteY1"/>
              </a:cxn>
              <a:cxn ang="0">
                <a:pos x="connsiteX2" y="connsiteY2"/>
              </a:cxn>
              <a:cxn ang="0">
                <a:pos x="connsiteX3" y="connsiteY3"/>
              </a:cxn>
            </a:cxnLst>
            <a:rect l="l" t="t" r="r" b="b"/>
            <a:pathLst>
              <a:path w="2737986" h="1875494">
                <a:moveTo>
                  <a:pt x="0" y="0"/>
                </a:moveTo>
                <a:lnTo>
                  <a:pt x="2737986" y="0"/>
                </a:lnTo>
                <a:lnTo>
                  <a:pt x="2737986" y="1875494"/>
                </a:lnTo>
                <a:lnTo>
                  <a:pt x="0" y="1875494"/>
                </a:ln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
        <p:nvSpPr>
          <p:cNvPr id="10" name="Picture Placeholder 9">
            <a:extLst>
              <a:ext uri="{FF2B5EF4-FFF2-40B4-BE49-F238E27FC236}">
                <a16:creationId xmlns:a16="http://schemas.microsoft.com/office/drawing/2014/main" id="{E9995F91-8D51-4FF1-A532-B0BD4F0276E7}"/>
              </a:ext>
            </a:extLst>
          </p:cNvPr>
          <p:cNvSpPr>
            <a:spLocks noGrp="1"/>
          </p:cNvSpPr>
          <p:nvPr>
            <p:ph type="pic" sz="quarter" idx="16"/>
          </p:nvPr>
        </p:nvSpPr>
        <p:spPr>
          <a:xfrm>
            <a:off x="7932999" y="2960127"/>
            <a:ext cx="1368815" cy="937747"/>
          </a:xfrm>
          <a:custGeom>
            <a:avLst/>
            <a:gdLst>
              <a:gd name="connsiteX0" fmla="*/ 0 w 2737986"/>
              <a:gd name="connsiteY0" fmla="*/ 0 h 1875494"/>
              <a:gd name="connsiteX1" fmla="*/ 2737986 w 2737986"/>
              <a:gd name="connsiteY1" fmla="*/ 0 h 1875494"/>
              <a:gd name="connsiteX2" fmla="*/ 2737986 w 2737986"/>
              <a:gd name="connsiteY2" fmla="*/ 1875494 h 1875494"/>
              <a:gd name="connsiteX3" fmla="*/ 0 w 2737986"/>
              <a:gd name="connsiteY3" fmla="*/ 1875494 h 1875494"/>
            </a:gdLst>
            <a:ahLst/>
            <a:cxnLst>
              <a:cxn ang="0">
                <a:pos x="connsiteX0" y="connsiteY0"/>
              </a:cxn>
              <a:cxn ang="0">
                <a:pos x="connsiteX1" y="connsiteY1"/>
              </a:cxn>
              <a:cxn ang="0">
                <a:pos x="connsiteX2" y="connsiteY2"/>
              </a:cxn>
              <a:cxn ang="0">
                <a:pos x="connsiteX3" y="connsiteY3"/>
              </a:cxn>
            </a:cxnLst>
            <a:rect l="l" t="t" r="r" b="b"/>
            <a:pathLst>
              <a:path w="2737986" h="1875494">
                <a:moveTo>
                  <a:pt x="0" y="0"/>
                </a:moveTo>
                <a:lnTo>
                  <a:pt x="2737986" y="0"/>
                </a:lnTo>
                <a:lnTo>
                  <a:pt x="2737986" y="1875494"/>
                </a:lnTo>
                <a:lnTo>
                  <a:pt x="0" y="1875494"/>
                </a:ln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
        <p:nvSpPr>
          <p:cNvPr id="11" name="Picture Placeholder 10">
            <a:extLst>
              <a:ext uri="{FF2B5EF4-FFF2-40B4-BE49-F238E27FC236}">
                <a16:creationId xmlns:a16="http://schemas.microsoft.com/office/drawing/2014/main" id="{EAC8D104-8DBC-47C1-B410-760C3B7EC2CF}"/>
              </a:ext>
            </a:extLst>
          </p:cNvPr>
          <p:cNvSpPr>
            <a:spLocks noGrp="1"/>
          </p:cNvSpPr>
          <p:nvPr>
            <p:ph type="pic" sz="quarter" idx="17"/>
          </p:nvPr>
        </p:nvSpPr>
        <p:spPr>
          <a:xfrm>
            <a:off x="9350798" y="2960127"/>
            <a:ext cx="1368814" cy="937747"/>
          </a:xfrm>
          <a:custGeom>
            <a:avLst/>
            <a:gdLst>
              <a:gd name="connsiteX0" fmla="*/ 0 w 2737984"/>
              <a:gd name="connsiteY0" fmla="*/ 0 h 1875494"/>
              <a:gd name="connsiteX1" fmla="*/ 2737984 w 2737984"/>
              <a:gd name="connsiteY1" fmla="*/ 0 h 1875494"/>
              <a:gd name="connsiteX2" fmla="*/ 2737984 w 2737984"/>
              <a:gd name="connsiteY2" fmla="*/ 1875494 h 1875494"/>
              <a:gd name="connsiteX3" fmla="*/ 0 w 2737984"/>
              <a:gd name="connsiteY3" fmla="*/ 1875494 h 1875494"/>
            </a:gdLst>
            <a:ahLst/>
            <a:cxnLst>
              <a:cxn ang="0">
                <a:pos x="connsiteX0" y="connsiteY0"/>
              </a:cxn>
              <a:cxn ang="0">
                <a:pos x="connsiteX1" y="connsiteY1"/>
              </a:cxn>
              <a:cxn ang="0">
                <a:pos x="connsiteX2" y="connsiteY2"/>
              </a:cxn>
              <a:cxn ang="0">
                <a:pos x="connsiteX3" y="connsiteY3"/>
              </a:cxn>
            </a:cxnLst>
            <a:rect l="l" t="t" r="r" b="b"/>
            <a:pathLst>
              <a:path w="2737984" h="1875494">
                <a:moveTo>
                  <a:pt x="0" y="0"/>
                </a:moveTo>
                <a:lnTo>
                  <a:pt x="2737984" y="0"/>
                </a:lnTo>
                <a:lnTo>
                  <a:pt x="2737984" y="1875494"/>
                </a:lnTo>
                <a:lnTo>
                  <a:pt x="0" y="1875494"/>
                </a:ln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
        <p:nvSpPr>
          <p:cNvPr id="2" name="Freihandform: Form 12">
            <a:extLst>
              <a:ext uri="{FF2B5EF4-FFF2-40B4-BE49-F238E27FC236}">
                <a16:creationId xmlns:a16="http://schemas.microsoft.com/office/drawing/2014/main" id="{13CB72CB-845A-7F37-804B-E8BD63F15858}"/>
              </a:ext>
            </a:extLst>
          </p:cNvPr>
          <p:cNvSpPr/>
          <p:nvPr userDrawn="1"/>
        </p:nvSpPr>
        <p:spPr>
          <a:xfrm flipH="1">
            <a:off x="0" y="1975610"/>
            <a:ext cx="9829800" cy="4882390"/>
          </a:xfrm>
          <a:custGeom>
            <a:avLst/>
            <a:gdLst>
              <a:gd name="connsiteX0" fmla="*/ 910059 w 9829800"/>
              <a:gd name="connsiteY0" fmla="*/ 0 h 4882390"/>
              <a:gd name="connsiteX1" fmla="*/ 3015085 w 9829800"/>
              <a:gd name="connsiteY1" fmla="*/ 0 h 4882390"/>
              <a:gd name="connsiteX2" fmla="*/ 7981950 w 9829800"/>
              <a:gd name="connsiteY2" fmla="*/ 0 h 4882390"/>
              <a:gd name="connsiteX3" fmla="*/ 9829800 w 9829800"/>
              <a:gd name="connsiteY3" fmla="*/ 0 h 4882390"/>
              <a:gd name="connsiteX4" fmla="*/ 9829800 w 9829800"/>
              <a:gd name="connsiteY4" fmla="*/ 4882390 h 4882390"/>
              <a:gd name="connsiteX5" fmla="*/ 7981950 w 9829800"/>
              <a:gd name="connsiteY5" fmla="*/ 4882390 h 4882390"/>
              <a:gd name="connsiteX6" fmla="*/ 2183098 w 9829800"/>
              <a:gd name="connsiteY6" fmla="*/ 4882390 h 4882390"/>
              <a:gd name="connsiteX7" fmla="*/ 78072 w 9829800"/>
              <a:gd name="connsiteY7" fmla="*/ 4882390 h 4882390"/>
              <a:gd name="connsiteX8" fmla="*/ 0 w 9829800"/>
              <a:gd name="connsiteY8" fmla="*/ 4804318 h 4882390"/>
              <a:gd name="connsiteX9" fmla="*/ 831987 w 9829800"/>
              <a:gd name="connsiteY9" fmla="*/ 78072 h 4882390"/>
              <a:gd name="connsiteX10" fmla="*/ 910059 w 9829800"/>
              <a:gd name="connsiteY10" fmla="*/ 0 h 4882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829800" h="4882390">
                <a:moveTo>
                  <a:pt x="910059" y="0"/>
                </a:moveTo>
                <a:lnTo>
                  <a:pt x="3015085" y="0"/>
                </a:lnTo>
                <a:lnTo>
                  <a:pt x="7981950" y="0"/>
                </a:lnTo>
                <a:lnTo>
                  <a:pt x="9829800" y="0"/>
                </a:lnTo>
                <a:lnTo>
                  <a:pt x="9829800" y="4882390"/>
                </a:lnTo>
                <a:lnTo>
                  <a:pt x="7981950" y="4882390"/>
                </a:lnTo>
                <a:lnTo>
                  <a:pt x="2183098" y="4882390"/>
                </a:lnTo>
                <a:lnTo>
                  <a:pt x="78072" y="4882390"/>
                </a:lnTo>
                <a:cubicBezTo>
                  <a:pt x="34957" y="4882390"/>
                  <a:pt x="0" y="4847433"/>
                  <a:pt x="0" y="4804318"/>
                </a:cubicBezTo>
                <a:lnTo>
                  <a:pt x="831987" y="78072"/>
                </a:lnTo>
                <a:cubicBezTo>
                  <a:pt x="831987" y="34957"/>
                  <a:pt x="866945" y="0"/>
                  <a:pt x="910059" y="0"/>
                </a:cubicBezTo>
                <a:close/>
              </a:path>
            </a:pathLst>
          </a:custGeom>
          <a:gradFill>
            <a:gsLst>
              <a:gs pos="0">
                <a:schemeClr val="bg1"/>
              </a:gs>
              <a:gs pos="95000">
                <a:srgbClr val="ECF0F4"/>
              </a:gs>
            </a:gsLst>
            <a:lin ang="5400000" scaled="1"/>
          </a:gradFill>
          <a:ln w="11652" cap="flat">
            <a:noFill/>
            <a:prstDash val="solid"/>
            <a:miter/>
          </a:ln>
        </p:spPr>
        <p:txBody>
          <a:bodyPr rtlCol="0" anchor="ctr"/>
          <a:lstStyle/>
          <a:p>
            <a:endParaRPr lang="de-DE"/>
          </a:p>
        </p:txBody>
      </p:sp>
    </p:spTree>
    <p:extLst>
      <p:ext uri="{BB962C8B-B14F-4D97-AF65-F5344CB8AC3E}">
        <p14:creationId xmlns:p14="http://schemas.microsoft.com/office/powerpoint/2010/main" val="2795373711"/>
      </p:ext>
    </p:extLst>
  </p:cSld>
  <p:clrMapOvr>
    <a:masterClrMapping/>
  </p:clrMapOvr>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HEADING/TEXT/IMAGE 1 small">
    <p:spTree>
      <p:nvGrpSpPr>
        <p:cNvPr id="1" name=""/>
        <p:cNvGrpSpPr/>
        <p:nvPr/>
      </p:nvGrpSpPr>
      <p:grpSpPr>
        <a:xfrm>
          <a:off x="0" y="0"/>
          <a:ext cx="0" cy="0"/>
          <a:chOff x="0" y="0"/>
          <a:chExt cx="0" cy="0"/>
        </a:xfrm>
      </p:grpSpPr>
      <p:sp>
        <p:nvSpPr>
          <p:cNvPr id="13" name="Freihandform: Form 12">
            <a:extLst>
              <a:ext uri="{FF2B5EF4-FFF2-40B4-BE49-F238E27FC236}">
                <a16:creationId xmlns:a16="http://schemas.microsoft.com/office/drawing/2014/main" id="{50EC640D-C73C-4FD9-AD9A-88EE410704F4}"/>
              </a:ext>
            </a:extLst>
          </p:cNvPr>
          <p:cNvSpPr/>
          <p:nvPr/>
        </p:nvSpPr>
        <p:spPr>
          <a:xfrm rot="10800000">
            <a:off x="0" y="1975611"/>
            <a:ext cx="9829800" cy="4882390"/>
          </a:xfrm>
          <a:custGeom>
            <a:avLst/>
            <a:gdLst>
              <a:gd name="connsiteX0" fmla="*/ 910059 w 9829800"/>
              <a:gd name="connsiteY0" fmla="*/ 0 h 4882390"/>
              <a:gd name="connsiteX1" fmla="*/ 3015085 w 9829800"/>
              <a:gd name="connsiteY1" fmla="*/ 0 h 4882390"/>
              <a:gd name="connsiteX2" fmla="*/ 7981950 w 9829800"/>
              <a:gd name="connsiteY2" fmla="*/ 0 h 4882390"/>
              <a:gd name="connsiteX3" fmla="*/ 9829800 w 9829800"/>
              <a:gd name="connsiteY3" fmla="*/ 0 h 4882390"/>
              <a:gd name="connsiteX4" fmla="*/ 9829800 w 9829800"/>
              <a:gd name="connsiteY4" fmla="*/ 4882390 h 4882390"/>
              <a:gd name="connsiteX5" fmla="*/ 7981950 w 9829800"/>
              <a:gd name="connsiteY5" fmla="*/ 4882390 h 4882390"/>
              <a:gd name="connsiteX6" fmla="*/ 2183098 w 9829800"/>
              <a:gd name="connsiteY6" fmla="*/ 4882390 h 4882390"/>
              <a:gd name="connsiteX7" fmla="*/ 78072 w 9829800"/>
              <a:gd name="connsiteY7" fmla="*/ 4882390 h 4882390"/>
              <a:gd name="connsiteX8" fmla="*/ 0 w 9829800"/>
              <a:gd name="connsiteY8" fmla="*/ 4804318 h 4882390"/>
              <a:gd name="connsiteX9" fmla="*/ 831987 w 9829800"/>
              <a:gd name="connsiteY9" fmla="*/ 78072 h 4882390"/>
              <a:gd name="connsiteX10" fmla="*/ 910059 w 9829800"/>
              <a:gd name="connsiteY10" fmla="*/ 0 h 4882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829800" h="4882390">
                <a:moveTo>
                  <a:pt x="910059" y="0"/>
                </a:moveTo>
                <a:lnTo>
                  <a:pt x="3015085" y="0"/>
                </a:lnTo>
                <a:lnTo>
                  <a:pt x="7981950" y="0"/>
                </a:lnTo>
                <a:lnTo>
                  <a:pt x="9829800" y="0"/>
                </a:lnTo>
                <a:lnTo>
                  <a:pt x="9829800" y="4882390"/>
                </a:lnTo>
                <a:lnTo>
                  <a:pt x="7981950" y="4882390"/>
                </a:lnTo>
                <a:lnTo>
                  <a:pt x="2183098" y="4882390"/>
                </a:lnTo>
                <a:lnTo>
                  <a:pt x="78072" y="4882390"/>
                </a:lnTo>
                <a:cubicBezTo>
                  <a:pt x="34957" y="4882390"/>
                  <a:pt x="0" y="4847433"/>
                  <a:pt x="0" y="4804318"/>
                </a:cubicBezTo>
                <a:lnTo>
                  <a:pt x="831987" y="78072"/>
                </a:lnTo>
                <a:cubicBezTo>
                  <a:pt x="831987" y="34957"/>
                  <a:pt x="866945" y="0"/>
                  <a:pt x="910059" y="0"/>
                </a:cubicBezTo>
                <a:close/>
              </a:path>
            </a:pathLst>
          </a:custGeom>
          <a:gradFill>
            <a:gsLst>
              <a:gs pos="100000">
                <a:schemeClr val="bg1"/>
              </a:gs>
              <a:gs pos="5000">
                <a:srgbClr val="ECF0F4"/>
              </a:gs>
            </a:gsLst>
            <a:lin ang="5400000" scaled="1"/>
          </a:gradFill>
          <a:ln w="11652" cap="flat">
            <a:noFill/>
            <a:prstDash val="solid"/>
            <a:miter/>
          </a:ln>
        </p:spPr>
        <p:txBody>
          <a:bodyPr rtlCol="0" anchor="ctr"/>
          <a:lstStyle/>
          <a:p>
            <a:endParaRPr lang="de-DE"/>
          </a:p>
        </p:txBody>
      </p:sp>
      <p:sp>
        <p:nvSpPr>
          <p:cNvPr id="2" name="Titel 1">
            <a:extLst>
              <a:ext uri="{FF2B5EF4-FFF2-40B4-BE49-F238E27FC236}">
                <a16:creationId xmlns:a16="http://schemas.microsoft.com/office/drawing/2014/main" id="{0526DC72-FA1D-422D-8055-3374742D122B}"/>
              </a:ext>
            </a:extLst>
          </p:cNvPr>
          <p:cNvSpPr>
            <a:spLocks noGrp="1"/>
          </p:cNvSpPr>
          <p:nvPr>
            <p:ph type="title"/>
          </p:nvPr>
        </p:nvSpPr>
        <p:spPr>
          <a:xfrm>
            <a:off x="815952" y="733402"/>
            <a:ext cx="4931999" cy="767737"/>
          </a:xfrm>
        </p:spPr>
        <p:txBody>
          <a:bodyPr/>
          <a:lstStyle>
            <a:lvl1pPr>
              <a:lnSpc>
                <a:spcPct val="100000"/>
              </a:lnSpc>
              <a:defRPr/>
            </a:lvl1pPr>
          </a:lstStyle>
          <a:p>
            <a:r>
              <a:rPr lang="de-DE"/>
              <a:t>Mastertitelformat bearbeiten</a:t>
            </a:r>
          </a:p>
        </p:txBody>
      </p:sp>
      <p:sp>
        <p:nvSpPr>
          <p:cNvPr id="3" name="Foliennummernplatzhalter 2">
            <a:extLst>
              <a:ext uri="{FF2B5EF4-FFF2-40B4-BE49-F238E27FC236}">
                <a16:creationId xmlns:a16="http://schemas.microsoft.com/office/drawing/2014/main" id="{5B327254-466C-4606-8589-BCC72CBDADDF}"/>
              </a:ext>
            </a:extLst>
          </p:cNvPr>
          <p:cNvSpPr>
            <a:spLocks noGrp="1"/>
          </p:cNvSpPr>
          <p:nvPr>
            <p:ph type="sldNum" sz="quarter" idx="10"/>
          </p:nvPr>
        </p:nvSpPr>
        <p:spPr/>
        <p:txBody>
          <a:bodyPr/>
          <a:lstStyle/>
          <a:p>
            <a:fld id="{A04BEB4F-8CE1-4F18-986F-6CE0A0BE9470}" type="slidenum">
              <a:rPr lang="de-DE" smtClean="0"/>
              <a:t>‹#›</a:t>
            </a:fld>
            <a:endParaRPr lang="de-DE"/>
          </a:p>
        </p:txBody>
      </p:sp>
      <p:sp>
        <p:nvSpPr>
          <p:cNvPr id="5" name="Textplatzhalter 9">
            <a:extLst>
              <a:ext uri="{FF2B5EF4-FFF2-40B4-BE49-F238E27FC236}">
                <a16:creationId xmlns:a16="http://schemas.microsoft.com/office/drawing/2014/main" id="{6024922C-391C-46EA-9F1C-F5344AAB64C8}"/>
              </a:ext>
            </a:extLst>
          </p:cNvPr>
          <p:cNvSpPr>
            <a:spLocks noGrp="1"/>
          </p:cNvSpPr>
          <p:nvPr>
            <p:ph type="body" sz="quarter" idx="11"/>
          </p:nvPr>
        </p:nvSpPr>
        <p:spPr>
          <a:xfrm>
            <a:off x="815951" y="1979612"/>
            <a:ext cx="4932000" cy="4338638"/>
          </a:xfrm>
          <a:prstGeom prst="rect">
            <a:avLst/>
          </a:prstGeom>
        </p:spPr>
        <p:txBody>
          <a:bodyPr lIns="0" tIns="0" rIns="0" bIns="0">
            <a:normAutofit/>
          </a:bodyPr>
          <a:lstStyle>
            <a:lvl1pPr>
              <a:defRPr sz="1800"/>
            </a:lvl1pPr>
            <a:lvl2pPr>
              <a:defRPr sz="1800"/>
            </a:lvl2pPr>
            <a:lvl3pPr>
              <a:defRPr sz="1800"/>
            </a:lvl3pPr>
            <a:lvl4pPr>
              <a:defRPr sz="1800"/>
            </a:lvl4pPr>
            <a:lvl5pPr>
              <a:defRPr sz="18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2" name="Bildplatzhalter 11">
            <a:extLst>
              <a:ext uri="{FF2B5EF4-FFF2-40B4-BE49-F238E27FC236}">
                <a16:creationId xmlns:a16="http://schemas.microsoft.com/office/drawing/2014/main" id="{ADBECC62-C583-4D92-A4EB-968BC29D7750}"/>
              </a:ext>
            </a:extLst>
          </p:cNvPr>
          <p:cNvSpPr>
            <a:spLocks noGrp="1"/>
          </p:cNvSpPr>
          <p:nvPr>
            <p:ph type="pic" sz="quarter" idx="12" hasCustomPrompt="1"/>
          </p:nvPr>
        </p:nvSpPr>
        <p:spPr>
          <a:xfrm>
            <a:off x="6075352" y="0"/>
            <a:ext cx="6116649" cy="3983353"/>
          </a:xfrm>
          <a:custGeom>
            <a:avLst/>
            <a:gdLst>
              <a:gd name="connsiteX0" fmla="*/ 690114 w 6116649"/>
              <a:gd name="connsiteY0" fmla="*/ 0 h 3983353"/>
              <a:gd name="connsiteX1" fmla="*/ 1061419 w 6116649"/>
              <a:gd name="connsiteY1" fmla="*/ 0 h 3983353"/>
              <a:gd name="connsiteX2" fmla="*/ 3906848 w 6116649"/>
              <a:gd name="connsiteY2" fmla="*/ 0 h 3983353"/>
              <a:gd name="connsiteX3" fmla="*/ 6116649 w 6116649"/>
              <a:gd name="connsiteY3" fmla="*/ 0 h 3983353"/>
              <a:gd name="connsiteX4" fmla="*/ 6116649 w 6116649"/>
              <a:gd name="connsiteY4" fmla="*/ 3983353 h 3983353"/>
              <a:gd name="connsiteX5" fmla="*/ 63818 w 6116649"/>
              <a:gd name="connsiteY5" fmla="*/ 3983353 h 3983353"/>
              <a:gd name="connsiteX6" fmla="*/ 0 w 6116649"/>
              <a:gd name="connsiteY6" fmla="*/ 3919536 h 3983353"/>
              <a:gd name="connsiteX7" fmla="*/ 679421 w 6116649"/>
              <a:gd name="connsiteY7" fmla="*/ 59971 h 3983353"/>
              <a:gd name="connsiteX8" fmla="*/ 679045 w 6116649"/>
              <a:gd name="connsiteY8" fmla="*/ 59901 h 3983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116649" h="3983353">
                <a:moveTo>
                  <a:pt x="690114" y="0"/>
                </a:moveTo>
                <a:lnTo>
                  <a:pt x="1061419" y="0"/>
                </a:lnTo>
                <a:lnTo>
                  <a:pt x="3906848" y="0"/>
                </a:lnTo>
                <a:lnTo>
                  <a:pt x="6116649" y="0"/>
                </a:lnTo>
                <a:lnTo>
                  <a:pt x="6116649" y="3983353"/>
                </a:lnTo>
                <a:lnTo>
                  <a:pt x="63818" y="3983353"/>
                </a:lnTo>
                <a:cubicBezTo>
                  <a:pt x="28575" y="3983353"/>
                  <a:pt x="0" y="3954778"/>
                  <a:pt x="0" y="3919536"/>
                </a:cubicBezTo>
                <a:lnTo>
                  <a:pt x="679421" y="59971"/>
                </a:lnTo>
                <a:lnTo>
                  <a:pt x="679045" y="59901"/>
                </a:lnTo>
                <a:close/>
              </a:path>
            </a:pathLst>
          </a:custGeom>
          <a:effectLst>
            <a:outerShdw blurRad="190500" dist="127000" dir="2700000" algn="tl" rotWithShape="0">
              <a:prstClr val="black">
                <a:alpha val="10000"/>
              </a:prstClr>
            </a:outerShdw>
          </a:effectLst>
        </p:spPr>
        <p:txBody>
          <a:bodyPr wrap="square">
            <a:noAutofit/>
          </a:bodyPr>
          <a:lstStyle>
            <a:lvl3pPr marL="990600" marR="0" indent="-285750" algn="l" defTabSz="1644650" rtl="0" eaLnBrk="0" fontAlgn="base" latinLnBrk="0" hangingPunct="0">
              <a:lnSpc>
                <a:spcPct val="130000"/>
              </a:lnSpc>
              <a:spcBef>
                <a:spcPct val="0"/>
              </a:spcBef>
              <a:spcAft>
                <a:spcPts val="1200"/>
              </a:spcAft>
              <a:buClr>
                <a:srgbClr val="004C99"/>
              </a:buClr>
              <a:buSzPct val="120000"/>
              <a:defRPr/>
            </a:lvl3pPr>
          </a:lstStyle>
          <a:p>
            <a:pPr marL="990600" marR="0" lvl="2" indent="-285750" algn="l" defTabSz="1644650" rtl="0" eaLnBrk="0" fontAlgn="base" latinLnBrk="0" hangingPunct="0">
              <a:lnSpc>
                <a:spcPct val="130000"/>
              </a:lnSpc>
              <a:spcBef>
                <a:spcPct val="0"/>
              </a:spcBef>
              <a:spcAft>
                <a:spcPts val="1200"/>
              </a:spcAft>
              <a:buClr>
                <a:srgbClr val="004C99"/>
              </a:buClr>
              <a:buSzPct val="120000"/>
              <a:defRPr/>
            </a:pPr>
            <a:r>
              <a:rPr lang="de-DE"/>
              <a:t>Please insert image</a:t>
            </a:r>
          </a:p>
        </p:txBody>
      </p:sp>
    </p:spTree>
    <p:extLst>
      <p:ext uri="{BB962C8B-B14F-4D97-AF65-F5344CB8AC3E}">
        <p14:creationId xmlns:p14="http://schemas.microsoft.com/office/powerpoint/2010/main" val="3153717118"/>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8" dur="1000" decel="10000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0-#ppt_w/2"/>
                                          </p:val>
                                        </p:tav>
                                        <p:tav tm="100000">
                                          <p:val>
                                            <p:strVal val="#ppt_x"/>
                                          </p:val>
                                        </p:tav>
                                      </p:tavLst>
                                    </p:anim>
                                    <p:anim calcmode="lin" valueType="num">
                                      <p:cBhvr additive="base">
                                        <p:cTn id="8" dur="1000" fill="hold"/>
                                        <p:tgtEl>
                                          <p:spTgt spid="2"/>
                                        </p:tgtEl>
                                        <p:attrNameLst>
                                          <p:attrName>ppt_y</p:attrName>
                                        </p:attrNameLst>
                                      </p:cBhvr>
                                      <p:tavLst>
                                        <p:tav tm="0">
                                          <p:val>
                                            <p:strVal val="#ppt_y"/>
                                          </p:val>
                                        </p:tav>
                                        <p:tav tm="100000">
                                          <p:val>
                                            <p:strVal val="#ppt_y"/>
                                          </p:val>
                                        </p:tav>
                                      </p:tavLst>
                                    </p:anim>
                                  </p:childTnLst>
                                </p:cTn>
                              </p:par>
                              <p:par>
                                <p:cTn id="9" presetID="2" presetClass="entr" presetSubtype="8" dur="1000" decel="100000" fill="hold" grpId="0" nodeType="withEffect">
                                  <p:stCondLst>
                                    <p:cond delay="25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1000" fill="hold"/>
                                        <p:tgtEl>
                                          <p:spTgt spid="5"/>
                                        </p:tgtEl>
                                        <p:attrNameLst>
                                          <p:attrName>ppt_x</p:attrName>
                                        </p:attrNameLst>
                                      </p:cBhvr>
                                      <p:tavLst>
                                        <p:tav tm="0">
                                          <p:val>
                                            <p:strVal val="0-#ppt_w/2"/>
                                          </p:val>
                                        </p:tav>
                                        <p:tav tm="100000">
                                          <p:val>
                                            <p:strVal val="#ppt_x"/>
                                          </p:val>
                                        </p:tav>
                                      </p:tavLst>
                                    </p:anim>
                                    <p:anim calcmode="lin" valueType="num">
                                      <p:cBhvr additive="base">
                                        <p:cTn id="12" dur="1000" fill="hold"/>
                                        <p:tgtEl>
                                          <p:spTgt spid="5"/>
                                        </p:tgtEl>
                                        <p:attrNameLst>
                                          <p:attrName>ppt_y</p:attrName>
                                        </p:attrNameLst>
                                      </p:cBhvr>
                                      <p:tavLst>
                                        <p:tav tm="0">
                                          <p:val>
                                            <p:strVal val="#ppt_y"/>
                                          </p:val>
                                        </p:tav>
                                        <p:tav tm="100000">
                                          <p:val>
                                            <p:strVal val="#ppt_y"/>
                                          </p:val>
                                        </p:tav>
                                      </p:tavLst>
                                    </p:anim>
                                  </p:childTnLst>
                                </p:cTn>
                              </p:par>
                              <p:par>
                                <p:cTn id="13" presetID="2" presetClass="entr" presetSubtype="2" dur="1000" decel="100000" fill="hold" grpId="0" nodeType="withEffect">
                                  <p:stCondLst>
                                    <p:cond delay="500"/>
                                  </p:stCondLst>
                                  <p:childTnLst>
                                    <p:set>
                                      <p:cBhvr>
                                        <p:cTn id="14" dur="1" fill="hold">
                                          <p:stCondLst>
                                            <p:cond delay="0"/>
                                          </p:stCondLst>
                                        </p:cTn>
                                        <p:tgtEl>
                                          <p:spTgt spid="12"/>
                                        </p:tgtEl>
                                        <p:attrNameLst>
                                          <p:attrName>style.visibility</p:attrName>
                                        </p:attrNameLst>
                                      </p:cBhvr>
                                      <p:to>
                                        <p:strVal val="visible"/>
                                      </p:to>
                                    </p:set>
                                    <p:anim calcmode="lin" valueType="num">
                                      <p:cBhvr additive="base">
                                        <p:cTn id="15" dur="1000" fill="hold"/>
                                        <p:tgtEl>
                                          <p:spTgt spid="12"/>
                                        </p:tgtEl>
                                        <p:attrNameLst>
                                          <p:attrName>ppt_x</p:attrName>
                                        </p:attrNameLst>
                                      </p:cBhvr>
                                      <p:tavLst>
                                        <p:tav tm="0">
                                          <p:val>
                                            <p:strVal val="1+#ppt_w/2"/>
                                          </p:val>
                                        </p:tav>
                                        <p:tav tm="100000">
                                          <p:val>
                                            <p:strVal val="#ppt_x"/>
                                          </p:val>
                                        </p:tav>
                                      </p:tavLst>
                                    </p:anim>
                                    <p:anim calcmode="lin" valueType="num">
                                      <p:cBhvr additive="base">
                                        <p:cTn id="16" dur="100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2" presetClass="entr" presetSubtype="8" decel="100000" fill="hold" nodeType="withEffect">
                  <p:stCondLst>
                    <p:cond delay="250"/>
                  </p:stCondLst>
                  <p:childTnLst>
                    <p:set>
                      <p:cBhvr>
                        <p:cTn dur="1" fill="hold">
                          <p:stCondLst>
                            <p:cond delay="0"/>
                          </p:stCondLst>
                        </p:cTn>
                        <p:tgtEl>
                          <p:spTgt spid="5"/>
                        </p:tgtEl>
                        <p:attrNameLst>
                          <p:attrName>style.visibility</p:attrName>
                        </p:attrNameLst>
                      </p:cBhvr>
                      <p:to>
                        <p:strVal val="visible"/>
                      </p:to>
                    </p:set>
                    <p:anim calcmode="lin" valueType="num">
                      <p:cBhvr additive="base">
                        <p:cTn dur="1000" fill="hold"/>
                        <p:tgtEl>
                          <p:spTgt spid="5"/>
                        </p:tgtEl>
                        <p:attrNameLst>
                          <p:attrName>ppt_x</p:attrName>
                        </p:attrNameLst>
                      </p:cBhvr>
                      <p:tavLst>
                        <p:tav tm="0">
                          <p:val>
                            <p:strVal val="0-#ppt_w/2"/>
                          </p:val>
                        </p:tav>
                        <p:tav tm="100000">
                          <p:val>
                            <p:strVal val="#ppt_x"/>
                          </p:val>
                        </p:tav>
                      </p:tavLst>
                    </p:anim>
                    <p:anim calcmode="lin" valueType="num">
                      <p:cBhvr additive="base">
                        <p:cTn dur="1000" fill="hold"/>
                        <p:tgtEl>
                          <p:spTgt spid="5"/>
                        </p:tgtEl>
                        <p:attrNameLst>
                          <p:attrName>ppt_y</p:attrName>
                        </p:attrNameLst>
                      </p:cBhvr>
                      <p:tavLst>
                        <p:tav tm="0">
                          <p:val>
                            <p:strVal val="#ppt_y"/>
                          </p:val>
                        </p:tav>
                        <p:tav tm="100000">
                          <p:val>
                            <p:strVal val="#ppt_y"/>
                          </p:val>
                        </p:tav>
                      </p:tavLst>
                    </p:anim>
                  </p:childTnLst>
                </p:cTn>
              </p:par>
            </p:tnLst>
          </p:tmpl>
        </p:tmplLst>
      </p:bldP>
      <p:bldP spid="12" grpId="0"/>
    </p:bld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HEADING/TEXT/IMAGE 1 medium">
    <p:spTree>
      <p:nvGrpSpPr>
        <p:cNvPr id="1" name=""/>
        <p:cNvGrpSpPr/>
        <p:nvPr/>
      </p:nvGrpSpPr>
      <p:grpSpPr>
        <a:xfrm>
          <a:off x="0" y="0"/>
          <a:ext cx="0" cy="0"/>
          <a:chOff x="0" y="0"/>
          <a:chExt cx="0" cy="0"/>
        </a:xfrm>
      </p:grpSpPr>
      <p:sp>
        <p:nvSpPr>
          <p:cNvPr id="13" name="Freihandform: Form 12">
            <a:extLst>
              <a:ext uri="{FF2B5EF4-FFF2-40B4-BE49-F238E27FC236}">
                <a16:creationId xmlns:a16="http://schemas.microsoft.com/office/drawing/2014/main" id="{50EC640D-C73C-4FD9-AD9A-88EE410704F4}"/>
              </a:ext>
            </a:extLst>
          </p:cNvPr>
          <p:cNvSpPr/>
          <p:nvPr/>
        </p:nvSpPr>
        <p:spPr>
          <a:xfrm rot="10800000">
            <a:off x="0" y="1975611"/>
            <a:ext cx="9829800" cy="4882390"/>
          </a:xfrm>
          <a:custGeom>
            <a:avLst/>
            <a:gdLst>
              <a:gd name="connsiteX0" fmla="*/ 910059 w 9829800"/>
              <a:gd name="connsiteY0" fmla="*/ 0 h 4882390"/>
              <a:gd name="connsiteX1" fmla="*/ 3015085 w 9829800"/>
              <a:gd name="connsiteY1" fmla="*/ 0 h 4882390"/>
              <a:gd name="connsiteX2" fmla="*/ 7981950 w 9829800"/>
              <a:gd name="connsiteY2" fmla="*/ 0 h 4882390"/>
              <a:gd name="connsiteX3" fmla="*/ 9829800 w 9829800"/>
              <a:gd name="connsiteY3" fmla="*/ 0 h 4882390"/>
              <a:gd name="connsiteX4" fmla="*/ 9829800 w 9829800"/>
              <a:gd name="connsiteY4" fmla="*/ 4882390 h 4882390"/>
              <a:gd name="connsiteX5" fmla="*/ 7981950 w 9829800"/>
              <a:gd name="connsiteY5" fmla="*/ 4882390 h 4882390"/>
              <a:gd name="connsiteX6" fmla="*/ 2183098 w 9829800"/>
              <a:gd name="connsiteY6" fmla="*/ 4882390 h 4882390"/>
              <a:gd name="connsiteX7" fmla="*/ 78072 w 9829800"/>
              <a:gd name="connsiteY7" fmla="*/ 4882390 h 4882390"/>
              <a:gd name="connsiteX8" fmla="*/ 0 w 9829800"/>
              <a:gd name="connsiteY8" fmla="*/ 4804318 h 4882390"/>
              <a:gd name="connsiteX9" fmla="*/ 831987 w 9829800"/>
              <a:gd name="connsiteY9" fmla="*/ 78072 h 4882390"/>
              <a:gd name="connsiteX10" fmla="*/ 910059 w 9829800"/>
              <a:gd name="connsiteY10" fmla="*/ 0 h 4882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829800" h="4882390">
                <a:moveTo>
                  <a:pt x="910059" y="0"/>
                </a:moveTo>
                <a:lnTo>
                  <a:pt x="3015085" y="0"/>
                </a:lnTo>
                <a:lnTo>
                  <a:pt x="7981950" y="0"/>
                </a:lnTo>
                <a:lnTo>
                  <a:pt x="9829800" y="0"/>
                </a:lnTo>
                <a:lnTo>
                  <a:pt x="9829800" y="4882390"/>
                </a:lnTo>
                <a:lnTo>
                  <a:pt x="7981950" y="4882390"/>
                </a:lnTo>
                <a:lnTo>
                  <a:pt x="2183098" y="4882390"/>
                </a:lnTo>
                <a:lnTo>
                  <a:pt x="78072" y="4882390"/>
                </a:lnTo>
                <a:cubicBezTo>
                  <a:pt x="34957" y="4882390"/>
                  <a:pt x="0" y="4847433"/>
                  <a:pt x="0" y="4804318"/>
                </a:cubicBezTo>
                <a:lnTo>
                  <a:pt x="831987" y="78072"/>
                </a:lnTo>
                <a:cubicBezTo>
                  <a:pt x="831987" y="34957"/>
                  <a:pt x="866945" y="0"/>
                  <a:pt x="910059" y="0"/>
                </a:cubicBezTo>
                <a:close/>
              </a:path>
            </a:pathLst>
          </a:custGeom>
          <a:gradFill>
            <a:gsLst>
              <a:gs pos="100000">
                <a:schemeClr val="bg1"/>
              </a:gs>
              <a:gs pos="5000">
                <a:srgbClr val="ECF0F4"/>
              </a:gs>
            </a:gsLst>
            <a:lin ang="5400000" scaled="1"/>
          </a:gradFill>
          <a:ln w="11652" cap="flat">
            <a:noFill/>
            <a:prstDash val="solid"/>
            <a:miter/>
          </a:ln>
        </p:spPr>
        <p:txBody>
          <a:bodyPr rtlCol="0" anchor="ctr"/>
          <a:lstStyle/>
          <a:p>
            <a:endParaRPr lang="de-DE"/>
          </a:p>
        </p:txBody>
      </p:sp>
      <p:sp>
        <p:nvSpPr>
          <p:cNvPr id="2" name="Titel 1">
            <a:extLst>
              <a:ext uri="{FF2B5EF4-FFF2-40B4-BE49-F238E27FC236}">
                <a16:creationId xmlns:a16="http://schemas.microsoft.com/office/drawing/2014/main" id="{0526DC72-FA1D-422D-8055-3374742D122B}"/>
              </a:ext>
            </a:extLst>
          </p:cNvPr>
          <p:cNvSpPr>
            <a:spLocks noGrp="1"/>
          </p:cNvSpPr>
          <p:nvPr>
            <p:ph type="title"/>
          </p:nvPr>
        </p:nvSpPr>
        <p:spPr>
          <a:xfrm>
            <a:off x="815952" y="733402"/>
            <a:ext cx="4931999" cy="767737"/>
          </a:xfrm>
        </p:spPr>
        <p:txBody>
          <a:bodyPr/>
          <a:lstStyle>
            <a:lvl1pPr>
              <a:lnSpc>
                <a:spcPct val="100000"/>
              </a:lnSpc>
              <a:defRPr/>
            </a:lvl1pPr>
          </a:lstStyle>
          <a:p>
            <a:r>
              <a:rPr lang="de-DE"/>
              <a:t>Mastertitelformat bearbeiten</a:t>
            </a:r>
          </a:p>
        </p:txBody>
      </p:sp>
      <p:sp>
        <p:nvSpPr>
          <p:cNvPr id="3" name="Foliennummernplatzhalter 2">
            <a:extLst>
              <a:ext uri="{FF2B5EF4-FFF2-40B4-BE49-F238E27FC236}">
                <a16:creationId xmlns:a16="http://schemas.microsoft.com/office/drawing/2014/main" id="{5B327254-466C-4606-8589-BCC72CBDADDF}"/>
              </a:ext>
            </a:extLst>
          </p:cNvPr>
          <p:cNvSpPr>
            <a:spLocks noGrp="1"/>
          </p:cNvSpPr>
          <p:nvPr>
            <p:ph type="sldNum" sz="quarter" idx="10"/>
          </p:nvPr>
        </p:nvSpPr>
        <p:spPr/>
        <p:txBody>
          <a:bodyPr/>
          <a:lstStyle/>
          <a:p>
            <a:fld id="{A04BEB4F-8CE1-4F18-986F-6CE0A0BE9470}" type="slidenum">
              <a:rPr lang="de-DE" smtClean="0"/>
              <a:t>‹#›</a:t>
            </a:fld>
            <a:endParaRPr lang="de-DE"/>
          </a:p>
        </p:txBody>
      </p:sp>
      <p:sp>
        <p:nvSpPr>
          <p:cNvPr id="5" name="Textplatzhalter 9">
            <a:extLst>
              <a:ext uri="{FF2B5EF4-FFF2-40B4-BE49-F238E27FC236}">
                <a16:creationId xmlns:a16="http://schemas.microsoft.com/office/drawing/2014/main" id="{6024922C-391C-46EA-9F1C-F5344AAB64C8}"/>
              </a:ext>
            </a:extLst>
          </p:cNvPr>
          <p:cNvSpPr>
            <a:spLocks noGrp="1"/>
          </p:cNvSpPr>
          <p:nvPr>
            <p:ph type="body" sz="quarter" idx="11"/>
          </p:nvPr>
        </p:nvSpPr>
        <p:spPr>
          <a:xfrm>
            <a:off x="815951" y="1979612"/>
            <a:ext cx="4932000" cy="4338638"/>
          </a:xfrm>
          <a:prstGeom prst="rect">
            <a:avLst/>
          </a:prstGeom>
        </p:spPr>
        <p:txBody>
          <a:bodyPr lIns="0" tIns="0" rIns="0" bIns="0">
            <a:normAutofit/>
          </a:bodyPr>
          <a:lstStyle>
            <a:lvl1pPr>
              <a:defRPr sz="1800"/>
            </a:lvl1pPr>
            <a:lvl2pPr>
              <a:defRPr sz="1800"/>
            </a:lvl2pPr>
            <a:lvl3pPr>
              <a:defRPr sz="1800"/>
            </a:lvl3pPr>
            <a:lvl4pPr>
              <a:defRPr sz="1800"/>
            </a:lvl4pPr>
            <a:lvl5pPr>
              <a:defRPr sz="18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1" name="Bildplatzhalter 10">
            <a:extLst>
              <a:ext uri="{FF2B5EF4-FFF2-40B4-BE49-F238E27FC236}">
                <a16:creationId xmlns:a16="http://schemas.microsoft.com/office/drawing/2014/main" id="{4F220719-393E-4BC2-A03B-563818FB1A0F}"/>
              </a:ext>
            </a:extLst>
          </p:cNvPr>
          <p:cNvSpPr>
            <a:spLocks noGrp="1"/>
          </p:cNvSpPr>
          <p:nvPr>
            <p:ph type="pic" sz="quarter" idx="12" hasCustomPrompt="1"/>
          </p:nvPr>
        </p:nvSpPr>
        <p:spPr>
          <a:xfrm>
            <a:off x="6931694" y="0"/>
            <a:ext cx="5260306" cy="5799454"/>
          </a:xfrm>
          <a:custGeom>
            <a:avLst/>
            <a:gdLst>
              <a:gd name="connsiteX0" fmla="*/ 1000463 w 5260306"/>
              <a:gd name="connsiteY0" fmla="*/ 0 h 5799454"/>
              <a:gd name="connsiteX1" fmla="*/ 5260306 w 5260306"/>
              <a:gd name="connsiteY1" fmla="*/ 0 h 5799454"/>
              <a:gd name="connsiteX2" fmla="*/ 5260306 w 5260306"/>
              <a:gd name="connsiteY2" fmla="*/ 5799454 h 5799454"/>
              <a:gd name="connsiteX3" fmla="*/ 116158 w 5260306"/>
              <a:gd name="connsiteY3" fmla="*/ 5799454 h 5799454"/>
              <a:gd name="connsiteX4" fmla="*/ 0 w 5260306"/>
              <a:gd name="connsiteY4" fmla="*/ 5683298 h 57994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60306" h="5799454">
                <a:moveTo>
                  <a:pt x="1000463" y="0"/>
                </a:moveTo>
                <a:lnTo>
                  <a:pt x="5260306" y="0"/>
                </a:lnTo>
                <a:lnTo>
                  <a:pt x="5260306" y="5799454"/>
                </a:lnTo>
                <a:lnTo>
                  <a:pt x="116158" y="5799454"/>
                </a:lnTo>
                <a:cubicBezTo>
                  <a:pt x="52011" y="5799454"/>
                  <a:pt x="0" y="5747444"/>
                  <a:pt x="0" y="5683298"/>
                </a:cubicBezTo>
                <a:close/>
              </a:path>
            </a:pathLst>
          </a:custGeom>
          <a:effectLst>
            <a:outerShdw blurRad="190500" dist="127000" dir="2700000" algn="tl" rotWithShape="0">
              <a:prstClr val="black">
                <a:alpha val="10000"/>
              </a:prstClr>
            </a:outerShdw>
          </a:effectLst>
        </p:spPr>
        <p:txBody>
          <a:bodyPr wrap="square">
            <a:noAutofit/>
          </a:bodyPr>
          <a:lstStyle>
            <a:lvl3pPr marL="990600" marR="0" indent="-285750" algn="l" defTabSz="1644650" rtl="0" eaLnBrk="0" fontAlgn="base" latinLnBrk="0" hangingPunct="0">
              <a:lnSpc>
                <a:spcPct val="130000"/>
              </a:lnSpc>
              <a:spcBef>
                <a:spcPct val="0"/>
              </a:spcBef>
              <a:spcAft>
                <a:spcPts val="1200"/>
              </a:spcAft>
              <a:buClr>
                <a:srgbClr val="004C99"/>
              </a:buClr>
              <a:buSzPct val="120000"/>
              <a:defRPr/>
            </a:lvl3pPr>
          </a:lstStyle>
          <a:p>
            <a:pPr marL="1343025" marR="0" lvl="3" indent="-285750" algn="l" defTabSz="1644650" rtl="0" eaLnBrk="0" fontAlgn="base" latinLnBrk="0" hangingPunct="0">
              <a:lnSpc>
                <a:spcPct val="130000"/>
              </a:lnSpc>
              <a:spcBef>
                <a:spcPct val="0"/>
              </a:spcBef>
              <a:spcAft>
                <a:spcPts val="1200"/>
              </a:spcAft>
              <a:buClr>
                <a:srgbClr val="004C99"/>
              </a:buClr>
              <a:buSzPct val="120000"/>
              <a:defRPr/>
            </a:pPr>
            <a:r>
              <a:rPr lang="de-DE"/>
              <a:t>Please insert image</a:t>
            </a:r>
          </a:p>
        </p:txBody>
      </p:sp>
    </p:spTree>
    <p:extLst>
      <p:ext uri="{BB962C8B-B14F-4D97-AF65-F5344CB8AC3E}">
        <p14:creationId xmlns:p14="http://schemas.microsoft.com/office/powerpoint/2010/main" val="2606351390"/>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8" dur="1000" decel="10000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0-#ppt_w/2"/>
                                          </p:val>
                                        </p:tav>
                                        <p:tav tm="100000">
                                          <p:val>
                                            <p:strVal val="#ppt_x"/>
                                          </p:val>
                                        </p:tav>
                                      </p:tavLst>
                                    </p:anim>
                                    <p:anim calcmode="lin" valueType="num">
                                      <p:cBhvr additive="base">
                                        <p:cTn id="8" dur="1000" fill="hold"/>
                                        <p:tgtEl>
                                          <p:spTgt spid="2"/>
                                        </p:tgtEl>
                                        <p:attrNameLst>
                                          <p:attrName>ppt_y</p:attrName>
                                        </p:attrNameLst>
                                      </p:cBhvr>
                                      <p:tavLst>
                                        <p:tav tm="0">
                                          <p:val>
                                            <p:strVal val="#ppt_y"/>
                                          </p:val>
                                        </p:tav>
                                        <p:tav tm="100000">
                                          <p:val>
                                            <p:strVal val="#ppt_y"/>
                                          </p:val>
                                        </p:tav>
                                      </p:tavLst>
                                    </p:anim>
                                  </p:childTnLst>
                                </p:cTn>
                              </p:par>
                              <p:par>
                                <p:cTn id="9" presetID="2" presetClass="entr" presetSubtype="8" dur="1000" decel="100000" fill="hold" grpId="0" nodeType="withEffect">
                                  <p:stCondLst>
                                    <p:cond delay="25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1000" fill="hold"/>
                                        <p:tgtEl>
                                          <p:spTgt spid="5"/>
                                        </p:tgtEl>
                                        <p:attrNameLst>
                                          <p:attrName>ppt_x</p:attrName>
                                        </p:attrNameLst>
                                      </p:cBhvr>
                                      <p:tavLst>
                                        <p:tav tm="0">
                                          <p:val>
                                            <p:strVal val="0-#ppt_w/2"/>
                                          </p:val>
                                        </p:tav>
                                        <p:tav tm="100000">
                                          <p:val>
                                            <p:strVal val="#ppt_x"/>
                                          </p:val>
                                        </p:tav>
                                      </p:tavLst>
                                    </p:anim>
                                    <p:anim calcmode="lin" valueType="num">
                                      <p:cBhvr additive="base">
                                        <p:cTn id="12" dur="1000" fill="hold"/>
                                        <p:tgtEl>
                                          <p:spTgt spid="5"/>
                                        </p:tgtEl>
                                        <p:attrNameLst>
                                          <p:attrName>ppt_y</p:attrName>
                                        </p:attrNameLst>
                                      </p:cBhvr>
                                      <p:tavLst>
                                        <p:tav tm="0">
                                          <p:val>
                                            <p:strVal val="#ppt_y"/>
                                          </p:val>
                                        </p:tav>
                                        <p:tav tm="100000">
                                          <p:val>
                                            <p:strVal val="#ppt_y"/>
                                          </p:val>
                                        </p:tav>
                                      </p:tavLst>
                                    </p:anim>
                                  </p:childTnLst>
                                </p:cTn>
                              </p:par>
                              <p:par>
                                <p:cTn id="13" presetID="2" presetClass="entr" presetSubtype="2" dur="1000" decel="100000" fill="hold" grpId="0" nodeType="withEffect">
                                  <p:stCondLst>
                                    <p:cond delay="500"/>
                                  </p:stCondLst>
                                  <p:childTnLst>
                                    <p:set>
                                      <p:cBhvr>
                                        <p:cTn id="14" dur="1" fill="hold">
                                          <p:stCondLst>
                                            <p:cond delay="0"/>
                                          </p:stCondLst>
                                        </p:cTn>
                                        <p:tgtEl>
                                          <p:spTgt spid="11"/>
                                        </p:tgtEl>
                                        <p:attrNameLst>
                                          <p:attrName>style.visibility</p:attrName>
                                        </p:attrNameLst>
                                      </p:cBhvr>
                                      <p:to>
                                        <p:strVal val="visible"/>
                                      </p:to>
                                    </p:set>
                                    <p:anim calcmode="lin" valueType="num">
                                      <p:cBhvr additive="base">
                                        <p:cTn id="15" dur="1000" fill="hold"/>
                                        <p:tgtEl>
                                          <p:spTgt spid="11"/>
                                        </p:tgtEl>
                                        <p:attrNameLst>
                                          <p:attrName>ppt_x</p:attrName>
                                        </p:attrNameLst>
                                      </p:cBhvr>
                                      <p:tavLst>
                                        <p:tav tm="0">
                                          <p:val>
                                            <p:strVal val="1+#ppt_w/2"/>
                                          </p:val>
                                        </p:tav>
                                        <p:tav tm="100000">
                                          <p:val>
                                            <p:strVal val="#ppt_x"/>
                                          </p:val>
                                        </p:tav>
                                      </p:tavLst>
                                    </p:anim>
                                    <p:anim calcmode="lin" valueType="num">
                                      <p:cBhvr additive="base">
                                        <p:cTn id="16" dur="10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2" presetClass="entr" presetSubtype="8" decel="100000" fill="hold" nodeType="withEffect">
                  <p:stCondLst>
                    <p:cond delay="250"/>
                  </p:stCondLst>
                  <p:childTnLst>
                    <p:set>
                      <p:cBhvr>
                        <p:cTn dur="1" fill="hold">
                          <p:stCondLst>
                            <p:cond delay="0"/>
                          </p:stCondLst>
                        </p:cTn>
                        <p:tgtEl>
                          <p:spTgt spid="5"/>
                        </p:tgtEl>
                        <p:attrNameLst>
                          <p:attrName>style.visibility</p:attrName>
                        </p:attrNameLst>
                      </p:cBhvr>
                      <p:to>
                        <p:strVal val="visible"/>
                      </p:to>
                    </p:set>
                    <p:anim calcmode="lin" valueType="num">
                      <p:cBhvr additive="base">
                        <p:cTn dur="1000" fill="hold"/>
                        <p:tgtEl>
                          <p:spTgt spid="5"/>
                        </p:tgtEl>
                        <p:attrNameLst>
                          <p:attrName>ppt_x</p:attrName>
                        </p:attrNameLst>
                      </p:cBhvr>
                      <p:tavLst>
                        <p:tav tm="0">
                          <p:val>
                            <p:strVal val="0-#ppt_w/2"/>
                          </p:val>
                        </p:tav>
                        <p:tav tm="100000">
                          <p:val>
                            <p:strVal val="#ppt_x"/>
                          </p:val>
                        </p:tav>
                      </p:tavLst>
                    </p:anim>
                    <p:anim calcmode="lin" valueType="num">
                      <p:cBhvr additive="base">
                        <p:cTn dur="1000" fill="hold"/>
                        <p:tgtEl>
                          <p:spTgt spid="5"/>
                        </p:tgtEl>
                        <p:attrNameLst>
                          <p:attrName>ppt_y</p:attrName>
                        </p:attrNameLst>
                      </p:cBhvr>
                      <p:tavLst>
                        <p:tav tm="0">
                          <p:val>
                            <p:strVal val="#ppt_y"/>
                          </p:val>
                        </p:tav>
                        <p:tav tm="100000">
                          <p:val>
                            <p:strVal val="#ppt_y"/>
                          </p:val>
                        </p:tav>
                      </p:tavLst>
                    </p:anim>
                  </p:childTnLst>
                </p:cTn>
              </p:par>
            </p:tnLst>
          </p:tmpl>
        </p:tmplLst>
      </p:bldP>
      <p:bldP spid="11" grpId="0"/>
    </p:bld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HEADING/TEXT/IMAGE 1 big">
    <p:spTree>
      <p:nvGrpSpPr>
        <p:cNvPr id="1" name=""/>
        <p:cNvGrpSpPr/>
        <p:nvPr/>
      </p:nvGrpSpPr>
      <p:grpSpPr>
        <a:xfrm>
          <a:off x="0" y="0"/>
          <a:ext cx="0" cy="0"/>
          <a:chOff x="0" y="0"/>
          <a:chExt cx="0" cy="0"/>
        </a:xfrm>
      </p:grpSpPr>
      <p:sp>
        <p:nvSpPr>
          <p:cNvPr id="13" name="Freihandform: Form 12">
            <a:extLst>
              <a:ext uri="{FF2B5EF4-FFF2-40B4-BE49-F238E27FC236}">
                <a16:creationId xmlns:a16="http://schemas.microsoft.com/office/drawing/2014/main" id="{50EC640D-C73C-4FD9-AD9A-88EE410704F4}"/>
              </a:ext>
            </a:extLst>
          </p:cNvPr>
          <p:cNvSpPr/>
          <p:nvPr/>
        </p:nvSpPr>
        <p:spPr>
          <a:xfrm rot="10800000">
            <a:off x="0" y="1975611"/>
            <a:ext cx="9829800" cy="4882390"/>
          </a:xfrm>
          <a:custGeom>
            <a:avLst/>
            <a:gdLst>
              <a:gd name="connsiteX0" fmla="*/ 910059 w 9829800"/>
              <a:gd name="connsiteY0" fmla="*/ 0 h 4882390"/>
              <a:gd name="connsiteX1" fmla="*/ 3015085 w 9829800"/>
              <a:gd name="connsiteY1" fmla="*/ 0 h 4882390"/>
              <a:gd name="connsiteX2" fmla="*/ 7981950 w 9829800"/>
              <a:gd name="connsiteY2" fmla="*/ 0 h 4882390"/>
              <a:gd name="connsiteX3" fmla="*/ 9829800 w 9829800"/>
              <a:gd name="connsiteY3" fmla="*/ 0 h 4882390"/>
              <a:gd name="connsiteX4" fmla="*/ 9829800 w 9829800"/>
              <a:gd name="connsiteY4" fmla="*/ 4882390 h 4882390"/>
              <a:gd name="connsiteX5" fmla="*/ 7981950 w 9829800"/>
              <a:gd name="connsiteY5" fmla="*/ 4882390 h 4882390"/>
              <a:gd name="connsiteX6" fmla="*/ 2183098 w 9829800"/>
              <a:gd name="connsiteY6" fmla="*/ 4882390 h 4882390"/>
              <a:gd name="connsiteX7" fmla="*/ 78072 w 9829800"/>
              <a:gd name="connsiteY7" fmla="*/ 4882390 h 4882390"/>
              <a:gd name="connsiteX8" fmla="*/ 0 w 9829800"/>
              <a:gd name="connsiteY8" fmla="*/ 4804318 h 4882390"/>
              <a:gd name="connsiteX9" fmla="*/ 831987 w 9829800"/>
              <a:gd name="connsiteY9" fmla="*/ 78072 h 4882390"/>
              <a:gd name="connsiteX10" fmla="*/ 910059 w 9829800"/>
              <a:gd name="connsiteY10" fmla="*/ 0 h 4882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829800" h="4882390">
                <a:moveTo>
                  <a:pt x="910059" y="0"/>
                </a:moveTo>
                <a:lnTo>
                  <a:pt x="3015085" y="0"/>
                </a:lnTo>
                <a:lnTo>
                  <a:pt x="7981950" y="0"/>
                </a:lnTo>
                <a:lnTo>
                  <a:pt x="9829800" y="0"/>
                </a:lnTo>
                <a:lnTo>
                  <a:pt x="9829800" y="4882390"/>
                </a:lnTo>
                <a:lnTo>
                  <a:pt x="7981950" y="4882390"/>
                </a:lnTo>
                <a:lnTo>
                  <a:pt x="2183098" y="4882390"/>
                </a:lnTo>
                <a:lnTo>
                  <a:pt x="78072" y="4882390"/>
                </a:lnTo>
                <a:cubicBezTo>
                  <a:pt x="34957" y="4882390"/>
                  <a:pt x="0" y="4847433"/>
                  <a:pt x="0" y="4804318"/>
                </a:cubicBezTo>
                <a:lnTo>
                  <a:pt x="831987" y="78072"/>
                </a:lnTo>
                <a:cubicBezTo>
                  <a:pt x="831987" y="34957"/>
                  <a:pt x="866945" y="0"/>
                  <a:pt x="910059" y="0"/>
                </a:cubicBezTo>
                <a:close/>
              </a:path>
            </a:pathLst>
          </a:custGeom>
          <a:gradFill>
            <a:gsLst>
              <a:gs pos="100000">
                <a:schemeClr val="bg1"/>
              </a:gs>
              <a:gs pos="5000">
                <a:srgbClr val="ECF0F4"/>
              </a:gs>
            </a:gsLst>
            <a:lin ang="5400000" scaled="1"/>
          </a:gradFill>
          <a:ln w="11652" cap="flat">
            <a:noFill/>
            <a:prstDash val="solid"/>
            <a:miter/>
          </a:ln>
        </p:spPr>
        <p:txBody>
          <a:bodyPr rtlCol="0" anchor="ctr"/>
          <a:lstStyle/>
          <a:p>
            <a:endParaRPr lang="de-DE"/>
          </a:p>
        </p:txBody>
      </p:sp>
      <p:sp>
        <p:nvSpPr>
          <p:cNvPr id="2" name="Titel 1">
            <a:extLst>
              <a:ext uri="{FF2B5EF4-FFF2-40B4-BE49-F238E27FC236}">
                <a16:creationId xmlns:a16="http://schemas.microsoft.com/office/drawing/2014/main" id="{0526DC72-FA1D-422D-8055-3374742D122B}"/>
              </a:ext>
            </a:extLst>
          </p:cNvPr>
          <p:cNvSpPr>
            <a:spLocks noGrp="1"/>
          </p:cNvSpPr>
          <p:nvPr>
            <p:ph type="title"/>
          </p:nvPr>
        </p:nvSpPr>
        <p:spPr>
          <a:xfrm>
            <a:off x="815952" y="733402"/>
            <a:ext cx="4931999" cy="767737"/>
          </a:xfrm>
        </p:spPr>
        <p:txBody>
          <a:bodyPr/>
          <a:lstStyle>
            <a:lvl1pPr>
              <a:lnSpc>
                <a:spcPct val="100000"/>
              </a:lnSpc>
              <a:defRPr/>
            </a:lvl1pPr>
          </a:lstStyle>
          <a:p>
            <a:r>
              <a:rPr lang="de-DE"/>
              <a:t>Mastertitelformat bearbeiten</a:t>
            </a:r>
          </a:p>
        </p:txBody>
      </p:sp>
      <p:sp>
        <p:nvSpPr>
          <p:cNvPr id="3" name="Foliennummernplatzhalter 2">
            <a:extLst>
              <a:ext uri="{FF2B5EF4-FFF2-40B4-BE49-F238E27FC236}">
                <a16:creationId xmlns:a16="http://schemas.microsoft.com/office/drawing/2014/main" id="{5B327254-466C-4606-8589-BCC72CBDADDF}"/>
              </a:ext>
            </a:extLst>
          </p:cNvPr>
          <p:cNvSpPr>
            <a:spLocks noGrp="1"/>
          </p:cNvSpPr>
          <p:nvPr>
            <p:ph type="sldNum" sz="quarter" idx="10"/>
          </p:nvPr>
        </p:nvSpPr>
        <p:spPr/>
        <p:txBody>
          <a:bodyPr/>
          <a:lstStyle/>
          <a:p>
            <a:fld id="{A04BEB4F-8CE1-4F18-986F-6CE0A0BE9470}" type="slidenum">
              <a:rPr lang="de-DE" smtClean="0"/>
              <a:t>‹#›</a:t>
            </a:fld>
            <a:endParaRPr lang="de-DE"/>
          </a:p>
        </p:txBody>
      </p:sp>
      <p:sp>
        <p:nvSpPr>
          <p:cNvPr id="5" name="Textplatzhalter 9">
            <a:extLst>
              <a:ext uri="{FF2B5EF4-FFF2-40B4-BE49-F238E27FC236}">
                <a16:creationId xmlns:a16="http://schemas.microsoft.com/office/drawing/2014/main" id="{6024922C-391C-46EA-9F1C-F5344AAB64C8}"/>
              </a:ext>
            </a:extLst>
          </p:cNvPr>
          <p:cNvSpPr>
            <a:spLocks noGrp="1"/>
          </p:cNvSpPr>
          <p:nvPr>
            <p:ph type="body" sz="quarter" idx="11"/>
          </p:nvPr>
        </p:nvSpPr>
        <p:spPr>
          <a:xfrm>
            <a:off x="815951" y="1979612"/>
            <a:ext cx="4121829" cy="4338638"/>
          </a:xfrm>
          <a:prstGeom prst="rect">
            <a:avLst/>
          </a:prstGeom>
        </p:spPr>
        <p:txBody>
          <a:bodyPr lIns="0" tIns="0" rIns="0" bIns="0">
            <a:normAutofit/>
          </a:bodyPr>
          <a:lstStyle>
            <a:lvl1pPr>
              <a:defRPr sz="1800"/>
            </a:lvl1pPr>
            <a:lvl2pPr>
              <a:defRPr sz="1800"/>
            </a:lvl2pPr>
            <a:lvl3pPr>
              <a:defRPr sz="1800"/>
            </a:lvl3pPr>
            <a:lvl4pPr>
              <a:defRPr sz="1800"/>
            </a:lvl4pPr>
            <a:lvl5pPr>
              <a:defRPr sz="18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4" name="Bildplatzhalter 13">
            <a:extLst>
              <a:ext uri="{FF2B5EF4-FFF2-40B4-BE49-F238E27FC236}">
                <a16:creationId xmlns:a16="http://schemas.microsoft.com/office/drawing/2014/main" id="{768568C2-669C-415D-AE6A-54F4461315C2}"/>
              </a:ext>
            </a:extLst>
          </p:cNvPr>
          <p:cNvSpPr>
            <a:spLocks noGrp="1"/>
          </p:cNvSpPr>
          <p:nvPr>
            <p:ph type="pic" sz="quarter" idx="12" hasCustomPrompt="1"/>
          </p:nvPr>
        </p:nvSpPr>
        <p:spPr>
          <a:xfrm>
            <a:off x="4974436" y="0"/>
            <a:ext cx="7217564" cy="6858000"/>
          </a:xfrm>
          <a:custGeom>
            <a:avLst/>
            <a:gdLst>
              <a:gd name="connsiteX0" fmla="*/ 1207252 w 7217564"/>
              <a:gd name="connsiteY0" fmla="*/ 0 h 6858000"/>
              <a:gd name="connsiteX1" fmla="*/ 7217564 w 7217564"/>
              <a:gd name="connsiteY1" fmla="*/ 0 h 6858000"/>
              <a:gd name="connsiteX2" fmla="*/ 7217564 w 7217564"/>
              <a:gd name="connsiteY2" fmla="*/ 6858000 h 6858000"/>
              <a:gd name="connsiteX3" fmla="*/ 0 w 7217564"/>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217564" h="6858000">
                <a:moveTo>
                  <a:pt x="1207252" y="0"/>
                </a:moveTo>
                <a:lnTo>
                  <a:pt x="7217564" y="0"/>
                </a:lnTo>
                <a:lnTo>
                  <a:pt x="7217564" y="6858000"/>
                </a:lnTo>
                <a:lnTo>
                  <a:pt x="0" y="6858000"/>
                </a:lnTo>
                <a:close/>
              </a:path>
            </a:pathLst>
          </a:custGeom>
          <a:effectLst>
            <a:outerShdw blurRad="190500" dist="127000" dir="2700000" algn="tl" rotWithShape="0">
              <a:prstClr val="black">
                <a:alpha val="10000"/>
              </a:prstClr>
            </a:outerShdw>
          </a:effectLst>
        </p:spPr>
        <p:txBody>
          <a:bodyPr wrap="square">
            <a:noAutofit/>
          </a:bodyPr>
          <a:lstStyle>
            <a:lvl3pPr marL="990600" marR="0" indent="-285750" algn="l" defTabSz="1644650" rtl="0" eaLnBrk="0" fontAlgn="base" latinLnBrk="0" hangingPunct="0">
              <a:lnSpc>
                <a:spcPct val="130000"/>
              </a:lnSpc>
              <a:spcBef>
                <a:spcPct val="0"/>
              </a:spcBef>
              <a:spcAft>
                <a:spcPts val="1200"/>
              </a:spcAft>
              <a:buClr>
                <a:srgbClr val="004C99"/>
              </a:buClr>
              <a:buSzPct val="120000"/>
              <a:defRPr/>
            </a:lvl3pPr>
          </a:lstStyle>
          <a:p>
            <a:pPr marL="1704975" marR="0" lvl="4" indent="-285750" algn="l" defTabSz="1644650" rtl="0" eaLnBrk="0" fontAlgn="base" latinLnBrk="0" hangingPunct="0">
              <a:lnSpc>
                <a:spcPct val="130000"/>
              </a:lnSpc>
              <a:spcBef>
                <a:spcPct val="0"/>
              </a:spcBef>
              <a:spcAft>
                <a:spcPts val="1200"/>
              </a:spcAft>
              <a:buClr>
                <a:srgbClr val="004C99"/>
              </a:buClr>
              <a:buSzPct val="120000"/>
              <a:defRPr/>
            </a:pPr>
            <a:r>
              <a:rPr lang="de-DE"/>
              <a:t>Please insert image</a:t>
            </a:r>
          </a:p>
        </p:txBody>
      </p:sp>
    </p:spTree>
    <p:extLst>
      <p:ext uri="{BB962C8B-B14F-4D97-AF65-F5344CB8AC3E}">
        <p14:creationId xmlns:p14="http://schemas.microsoft.com/office/powerpoint/2010/main" val="1303865620"/>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8" dur="1000" decel="10000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0-#ppt_w/2"/>
                                          </p:val>
                                        </p:tav>
                                        <p:tav tm="100000">
                                          <p:val>
                                            <p:strVal val="#ppt_x"/>
                                          </p:val>
                                        </p:tav>
                                      </p:tavLst>
                                    </p:anim>
                                    <p:anim calcmode="lin" valueType="num">
                                      <p:cBhvr additive="base">
                                        <p:cTn id="8" dur="1000" fill="hold"/>
                                        <p:tgtEl>
                                          <p:spTgt spid="2"/>
                                        </p:tgtEl>
                                        <p:attrNameLst>
                                          <p:attrName>ppt_y</p:attrName>
                                        </p:attrNameLst>
                                      </p:cBhvr>
                                      <p:tavLst>
                                        <p:tav tm="0">
                                          <p:val>
                                            <p:strVal val="#ppt_y"/>
                                          </p:val>
                                        </p:tav>
                                        <p:tav tm="100000">
                                          <p:val>
                                            <p:strVal val="#ppt_y"/>
                                          </p:val>
                                        </p:tav>
                                      </p:tavLst>
                                    </p:anim>
                                  </p:childTnLst>
                                </p:cTn>
                              </p:par>
                              <p:par>
                                <p:cTn id="9" presetID="2" presetClass="entr" presetSubtype="8" dur="1000" decel="100000" fill="hold" grpId="0" nodeType="withEffect">
                                  <p:stCondLst>
                                    <p:cond delay="25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1000" fill="hold"/>
                                        <p:tgtEl>
                                          <p:spTgt spid="5"/>
                                        </p:tgtEl>
                                        <p:attrNameLst>
                                          <p:attrName>ppt_x</p:attrName>
                                        </p:attrNameLst>
                                      </p:cBhvr>
                                      <p:tavLst>
                                        <p:tav tm="0">
                                          <p:val>
                                            <p:strVal val="0-#ppt_w/2"/>
                                          </p:val>
                                        </p:tav>
                                        <p:tav tm="100000">
                                          <p:val>
                                            <p:strVal val="#ppt_x"/>
                                          </p:val>
                                        </p:tav>
                                      </p:tavLst>
                                    </p:anim>
                                    <p:anim calcmode="lin" valueType="num">
                                      <p:cBhvr additive="base">
                                        <p:cTn id="12" dur="1000" fill="hold"/>
                                        <p:tgtEl>
                                          <p:spTgt spid="5"/>
                                        </p:tgtEl>
                                        <p:attrNameLst>
                                          <p:attrName>ppt_y</p:attrName>
                                        </p:attrNameLst>
                                      </p:cBhvr>
                                      <p:tavLst>
                                        <p:tav tm="0">
                                          <p:val>
                                            <p:strVal val="#ppt_y"/>
                                          </p:val>
                                        </p:tav>
                                        <p:tav tm="100000">
                                          <p:val>
                                            <p:strVal val="#ppt_y"/>
                                          </p:val>
                                        </p:tav>
                                      </p:tavLst>
                                    </p:anim>
                                  </p:childTnLst>
                                </p:cTn>
                              </p:par>
                              <p:par>
                                <p:cTn id="13" presetID="2" presetClass="entr" presetSubtype="2" dur="1000" decel="100000" fill="hold" grpId="0" nodeType="withEffect">
                                  <p:stCondLst>
                                    <p:cond delay="500"/>
                                  </p:stCondLst>
                                  <p:childTnLst>
                                    <p:set>
                                      <p:cBhvr>
                                        <p:cTn id="14" dur="1" fill="hold">
                                          <p:stCondLst>
                                            <p:cond delay="0"/>
                                          </p:stCondLst>
                                        </p:cTn>
                                        <p:tgtEl>
                                          <p:spTgt spid="14"/>
                                        </p:tgtEl>
                                        <p:attrNameLst>
                                          <p:attrName>style.visibility</p:attrName>
                                        </p:attrNameLst>
                                      </p:cBhvr>
                                      <p:to>
                                        <p:strVal val="visible"/>
                                      </p:to>
                                    </p:set>
                                    <p:anim calcmode="lin" valueType="num">
                                      <p:cBhvr additive="base">
                                        <p:cTn id="15" dur="1000" fill="hold"/>
                                        <p:tgtEl>
                                          <p:spTgt spid="14"/>
                                        </p:tgtEl>
                                        <p:attrNameLst>
                                          <p:attrName>ppt_x</p:attrName>
                                        </p:attrNameLst>
                                      </p:cBhvr>
                                      <p:tavLst>
                                        <p:tav tm="0">
                                          <p:val>
                                            <p:strVal val="1+#ppt_w/2"/>
                                          </p:val>
                                        </p:tav>
                                        <p:tav tm="100000">
                                          <p:val>
                                            <p:strVal val="#ppt_x"/>
                                          </p:val>
                                        </p:tav>
                                      </p:tavLst>
                                    </p:anim>
                                    <p:anim calcmode="lin" valueType="num">
                                      <p:cBhvr additive="base">
                                        <p:cTn id="16" dur="1000" fill="hold"/>
                                        <p:tgtEl>
                                          <p:spTgt spid="1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2" presetClass="entr" presetSubtype="8" decel="100000" fill="hold" nodeType="withEffect">
                  <p:stCondLst>
                    <p:cond delay="250"/>
                  </p:stCondLst>
                  <p:childTnLst>
                    <p:set>
                      <p:cBhvr>
                        <p:cTn dur="1" fill="hold">
                          <p:stCondLst>
                            <p:cond delay="0"/>
                          </p:stCondLst>
                        </p:cTn>
                        <p:tgtEl>
                          <p:spTgt spid="5"/>
                        </p:tgtEl>
                        <p:attrNameLst>
                          <p:attrName>style.visibility</p:attrName>
                        </p:attrNameLst>
                      </p:cBhvr>
                      <p:to>
                        <p:strVal val="visible"/>
                      </p:to>
                    </p:set>
                    <p:anim calcmode="lin" valueType="num">
                      <p:cBhvr additive="base">
                        <p:cTn dur="1000" fill="hold"/>
                        <p:tgtEl>
                          <p:spTgt spid="5"/>
                        </p:tgtEl>
                        <p:attrNameLst>
                          <p:attrName>ppt_x</p:attrName>
                        </p:attrNameLst>
                      </p:cBhvr>
                      <p:tavLst>
                        <p:tav tm="0">
                          <p:val>
                            <p:strVal val="0-#ppt_w/2"/>
                          </p:val>
                        </p:tav>
                        <p:tav tm="100000">
                          <p:val>
                            <p:strVal val="#ppt_x"/>
                          </p:val>
                        </p:tav>
                      </p:tavLst>
                    </p:anim>
                    <p:anim calcmode="lin" valueType="num">
                      <p:cBhvr additive="base">
                        <p:cTn dur="1000" fill="hold"/>
                        <p:tgtEl>
                          <p:spTgt spid="5"/>
                        </p:tgtEl>
                        <p:attrNameLst>
                          <p:attrName>ppt_y</p:attrName>
                        </p:attrNameLst>
                      </p:cBhvr>
                      <p:tavLst>
                        <p:tav tm="0">
                          <p:val>
                            <p:strVal val="#ppt_y"/>
                          </p:val>
                        </p:tav>
                        <p:tav tm="100000">
                          <p:val>
                            <p:strVal val="#ppt_y"/>
                          </p:val>
                        </p:tav>
                      </p:tavLst>
                    </p:anim>
                  </p:childTnLst>
                </p:cTn>
              </p:par>
            </p:tnLst>
          </p:tmpl>
        </p:tmplLst>
      </p:bldP>
      <p:bldP spid="14" grpId="0"/>
    </p:bld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HEADING/TEXT/IMAGE 2 small">
    <p:spTree>
      <p:nvGrpSpPr>
        <p:cNvPr id="1" name=""/>
        <p:cNvGrpSpPr/>
        <p:nvPr/>
      </p:nvGrpSpPr>
      <p:grpSpPr>
        <a:xfrm>
          <a:off x="0" y="0"/>
          <a:ext cx="0" cy="0"/>
          <a:chOff x="0" y="0"/>
          <a:chExt cx="0" cy="0"/>
        </a:xfrm>
      </p:grpSpPr>
      <p:sp>
        <p:nvSpPr>
          <p:cNvPr id="13" name="Freihandform: Form 12">
            <a:extLst>
              <a:ext uri="{FF2B5EF4-FFF2-40B4-BE49-F238E27FC236}">
                <a16:creationId xmlns:a16="http://schemas.microsoft.com/office/drawing/2014/main" id="{50EC640D-C73C-4FD9-AD9A-88EE410704F4}"/>
              </a:ext>
            </a:extLst>
          </p:cNvPr>
          <p:cNvSpPr/>
          <p:nvPr/>
        </p:nvSpPr>
        <p:spPr>
          <a:xfrm rot="10800000">
            <a:off x="0" y="1975611"/>
            <a:ext cx="9829800" cy="4882390"/>
          </a:xfrm>
          <a:custGeom>
            <a:avLst/>
            <a:gdLst>
              <a:gd name="connsiteX0" fmla="*/ 910059 w 9829800"/>
              <a:gd name="connsiteY0" fmla="*/ 0 h 4882390"/>
              <a:gd name="connsiteX1" fmla="*/ 3015085 w 9829800"/>
              <a:gd name="connsiteY1" fmla="*/ 0 h 4882390"/>
              <a:gd name="connsiteX2" fmla="*/ 7981950 w 9829800"/>
              <a:gd name="connsiteY2" fmla="*/ 0 h 4882390"/>
              <a:gd name="connsiteX3" fmla="*/ 9829800 w 9829800"/>
              <a:gd name="connsiteY3" fmla="*/ 0 h 4882390"/>
              <a:gd name="connsiteX4" fmla="*/ 9829800 w 9829800"/>
              <a:gd name="connsiteY4" fmla="*/ 4882390 h 4882390"/>
              <a:gd name="connsiteX5" fmla="*/ 7981950 w 9829800"/>
              <a:gd name="connsiteY5" fmla="*/ 4882390 h 4882390"/>
              <a:gd name="connsiteX6" fmla="*/ 2183098 w 9829800"/>
              <a:gd name="connsiteY6" fmla="*/ 4882390 h 4882390"/>
              <a:gd name="connsiteX7" fmla="*/ 78072 w 9829800"/>
              <a:gd name="connsiteY7" fmla="*/ 4882390 h 4882390"/>
              <a:gd name="connsiteX8" fmla="*/ 0 w 9829800"/>
              <a:gd name="connsiteY8" fmla="*/ 4804318 h 4882390"/>
              <a:gd name="connsiteX9" fmla="*/ 831987 w 9829800"/>
              <a:gd name="connsiteY9" fmla="*/ 78072 h 4882390"/>
              <a:gd name="connsiteX10" fmla="*/ 910059 w 9829800"/>
              <a:gd name="connsiteY10" fmla="*/ 0 h 4882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829800" h="4882390">
                <a:moveTo>
                  <a:pt x="910059" y="0"/>
                </a:moveTo>
                <a:lnTo>
                  <a:pt x="3015085" y="0"/>
                </a:lnTo>
                <a:lnTo>
                  <a:pt x="7981950" y="0"/>
                </a:lnTo>
                <a:lnTo>
                  <a:pt x="9829800" y="0"/>
                </a:lnTo>
                <a:lnTo>
                  <a:pt x="9829800" y="4882390"/>
                </a:lnTo>
                <a:lnTo>
                  <a:pt x="7981950" y="4882390"/>
                </a:lnTo>
                <a:lnTo>
                  <a:pt x="2183098" y="4882390"/>
                </a:lnTo>
                <a:lnTo>
                  <a:pt x="78072" y="4882390"/>
                </a:lnTo>
                <a:cubicBezTo>
                  <a:pt x="34957" y="4882390"/>
                  <a:pt x="0" y="4847433"/>
                  <a:pt x="0" y="4804318"/>
                </a:cubicBezTo>
                <a:lnTo>
                  <a:pt x="831987" y="78072"/>
                </a:lnTo>
                <a:cubicBezTo>
                  <a:pt x="831987" y="34957"/>
                  <a:pt x="866945" y="0"/>
                  <a:pt x="910059" y="0"/>
                </a:cubicBezTo>
                <a:close/>
              </a:path>
            </a:pathLst>
          </a:custGeom>
          <a:gradFill>
            <a:gsLst>
              <a:gs pos="100000">
                <a:schemeClr val="bg1"/>
              </a:gs>
              <a:gs pos="5000">
                <a:srgbClr val="ECF0F4"/>
              </a:gs>
            </a:gsLst>
            <a:lin ang="5400000" scaled="1"/>
          </a:gradFill>
          <a:ln w="11652" cap="flat">
            <a:noFill/>
            <a:prstDash val="solid"/>
            <a:miter/>
          </a:ln>
        </p:spPr>
        <p:txBody>
          <a:bodyPr rtlCol="0" anchor="ctr"/>
          <a:lstStyle/>
          <a:p>
            <a:endParaRPr lang="de-DE"/>
          </a:p>
        </p:txBody>
      </p:sp>
      <p:sp>
        <p:nvSpPr>
          <p:cNvPr id="2" name="Titel 1">
            <a:extLst>
              <a:ext uri="{FF2B5EF4-FFF2-40B4-BE49-F238E27FC236}">
                <a16:creationId xmlns:a16="http://schemas.microsoft.com/office/drawing/2014/main" id="{0526DC72-FA1D-422D-8055-3374742D122B}"/>
              </a:ext>
            </a:extLst>
          </p:cNvPr>
          <p:cNvSpPr>
            <a:spLocks noGrp="1"/>
          </p:cNvSpPr>
          <p:nvPr>
            <p:ph type="title"/>
          </p:nvPr>
        </p:nvSpPr>
        <p:spPr>
          <a:xfrm>
            <a:off x="815952" y="733402"/>
            <a:ext cx="4931999" cy="767737"/>
          </a:xfrm>
        </p:spPr>
        <p:txBody>
          <a:bodyPr/>
          <a:lstStyle>
            <a:lvl1pPr>
              <a:lnSpc>
                <a:spcPct val="100000"/>
              </a:lnSpc>
              <a:defRPr/>
            </a:lvl1pPr>
          </a:lstStyle>
          <a:p>
            <a:r>
              <a:rPr lang="de-DE"/>
              <a:t>Mastertitelformat bearbeiten</a:t>
            </a:r>
          </a:p>
        </p:txBody>
      </p:sp>
      <p:sp>
        <p:nvSpPr>
          <p:cNvPr id="3" name="Foliennummernplatzhalter 2">
            <a:extLst>
              <a:ext uri="{FF2B5EF4-FFF2-40B4-BE49-F238E27FC236}">
                <a16:creationId xmlns:a16="http://schemas.microsoft.com/office/drawing/2014/main" id="{5B327254-466C-4606-8589-BCC72CBDADDF}"/>
              </a:ext>
            </a:extLst>
          </p:cNvPr>
          <p:cNvSpPr>
            <a:spLocks noGrp="1"/>
          </p:cNvSpPr>
          <p:nvPr>
            <p:ph type="sldNum" sz="quarter" idx="10"/>
          </p:nvPr>
        </p:nvSpPr>
        <p:spPr/>
        <p:txBody>
          <a:bodyPr/>
          <a:lstStyle/>
          <a:p>
            <a:fld id="{A04BEB4F-8CE1-4F18-986F-6CE0A0BE9470}" type="slidenum">
              <a:rPr lang="de-DE" smtClean="0"/>
              <a:t>‹#›</a:t>
            </a:fld>
            <a:endParaRPr lang="de-DE"/>
          </a:p>
        </p:txBody>
      </p:sp>
      <p:sp>
        <p:nvSpPr>
          <p:cNvPr id="5" name="Textplatzhalter 9">
            <a:extLst>
              <a:ext uri="{FF2B5EF4-FFF2-40B4-BE49-F238E27FC236}">
                <a16:creationId xmlns:a16="http://schemas.microsoft.com/office/drawing/2014/main" id="{6024922C-391C-46EA-9F1C-F5344AAB64C8}"/>
              </a:ext>
            </a:extLst>
          </p:cNvPr>
          <p:cNvSpPr>
            <a:spLocks noGrp="1"/>
          </p:cNvSpPr>
          <p:nvPr>
            <p:ph type="body" sz="quarter" idx="11"/>
          </p:nvPr>
        </p:nvSpPr>
        <p:spPr>
          <a:xfrm>
            <a:off x="815951" y="1979612"/>
            <a:ext cx="4932000" cy="4338638"/>
          </a:xfrm>
          <a:prstGeom prst="rect">
            <a:avLst/>
          </a:prstGeom>
        </p:spPr>
        <p:txBody>
          <a:bodyPr lIns="0" tIns="0" rIns="0" bIns="0">
            <a:normAutofit/>
          </a:bodyPr>
          <a:lstStyle>
            <a:lvl1pPr>
              <a:defRPr sz="1800"/>
            </a:lvl1pPr>
            <a:lvl2pPr>
              <a:defRPr sz="1800"/>
            </a:lvl2pPr>
            <a:lvl3pPr>
              <a:defRPr sz="1800"/>
            </a:lvl3pPr>
            <a:lvl4pPr>
              <a:defRPr sz="1800"/>
            </a:lvl4pPr>
            <a:lvl5pPr>
              <a:defRPr sz="18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9" name="Bildplatzhalter 18">
            <a:extLst>
              <a:ext uri="{FF2B5EF4-FFF2-40B4-BE49-F238E27FC236}">
                <a16:creationId xmlns:a16="http://schemas.microsoft.com/office/drawing/2014/main" id="{77258955-00DA-42C8-B30E-18F06F9412BA}"/>
              </a:ext>
            </a:extLst>
          </p:cNvPr>
          <p:cNvSpPr>
            <a:spLocks noGrp="1"/>
          </p:cNvSpPr>
          <p:nvPr>
            <p:ph type="pic" sz="quarter" idx="13" hasCustomPrompt="1"/>
          </p:nvPr>
        </p:nvSpPr>
        <p:spPr>
          <a:xfrm>
            <a:off x="6931694" y="3028384"/>
            <a:ext cx="5260306" cy="2794472"/>
          </a:xfrm>
          <a:custGeom>
            <a:avLst/>
            <a:gdLst>
              <a:gd name="connsiteX0" fmla="*/ 541046 w 5260306"/>
              <a:gd name="connsiteY0" fmla="*/ 0 h 2794472"/>
              <a:gd name="connsiteX1" fmla="*/ 5260306 w 5260306"/>
              <a:gd name="connsiteY1" fmla="*/ 0 h 2794472"/>
              <a:gd name="connsiteX2" fmla="*/ 5260306 w 5260306"/>
              <a:gd name="connsiteY2" fmla="*/ 2794472 h 2794472"/>
              <a:gd name="connsiteX3" fmla="*/ 93428 w 5260306"/>
              <a:gd name="connsiteY3" fmla="*/ 2794472 h 2794472"/>
              <a:gd name="connsiteX4" fmla="*/ 0 w 5260306"/>
              <a:gd name="connsiteY4" fmla="*/ 2701044 h 2794472"/>
              <a:gd name="connsiteX5" fmla="*/ 464351 w 5260306"/>
              <a:gd name="connsiteY5" fmla="*/ 65539 h 2794472"/>
              <a:gd name="connsiteX6" fmla="*/ 541046 w 5260306"/>
              <a:gd name="connsiteY6" fmla="*/ 0 h 2794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60306" h="2794472">
                <a:moveTo>
                  <a:pt x="541046" y="0"/>
                </a:moveTo>
                <a:lnTo>
                  <a:pt x="5260306" y="0"/>
                </a:lnTo>
                <a:lnTo>
                  <a:pt x="5260306" y="2794472"/>
                </a:lnTo>
                <a:lnTo>
                  <a:pt x="93428" y="2794472"/>
                </a:lnTo>
                <a:cubicBezTo>
                  <a:pt x="41833" y="2794472"/>
                  <a:pt x="0" y="2752639"/>
                  <a:pt x="0" y="2701044"/>
                </a:cubicBezTo>
                <a:lnTo>
                  <a:pt x="464351" y="65539"/>
                </a:lnTo>
                <a:cubicBezTo>
                  <a:pt x="469929" y="27889"/>
                  <a:pt x="503395" y="0"/>
                  <a:pt x="541046" y="0"/>
                </a:cubicBezTo>
                <a:close/>
              </a:path>
            </a:pathLst>
          </a:custGeom>
        </p:spPr>
        <p:txBody>
          <a:bodyPr wrap="square">
            <a:noAutofit/>
          </a:bodyPr>
          <a:lstStyle>
            <a:lvl3pPr marL="990600" marR="0" indent="-285750" algn="l" defTabSz="1644650" rtl="0" eaLnBrk="0" fontAlgn="base" latinLnBrk="0" hangingPunct="0">
              <a:lnSpc>
                <a:spcPct val="130000"/>
              </a:lnSpc>
              <a:spcBef>
                <a:spcPct val="0"/>
              </a:spcBef>
              <a:spcAft>
                <a:spcPts val="1200"/>
              </a:spcAft>
              <a:buClr>
                <a:srgbClr val="004C99"/>
              </a:buClr>
              <a:buSzPct val="120000"/>
              <a:defRPr/>
            </a:lvl3pPr>
          </a:lstStyle>
          <a:p>
            <a:pPr marL="990600" marR="0" lvl="2" indent="-285750" algn="l" defTabSz="1644650" rtl="0" eaLnBrk="0" fontAlgn="base" latinLnBrk="0" hangingPunct="0">
              <a:lnSpc>
                <a:spcPct val="130000"/>
              </a:lnSpc>
              <a:spcBef>
                <a:spcPct val="0"/>
              </a:spcBef>
              <a:spcAft>
                <a:spcPts val="1200"/>
              </a:spcAft>
              <a:buClr>
                <a:srgbClr val="004C99"/>
              </a:buClr>
              <a:buSzPct val="120000"/>
              <a:defRPr/>
            </a:pPr>
            <a:r>
              <a:rPr lang="de-DE"/>
              <a:t>Please insert image</a:t>
            </a:r>
          </a:p>
        </p:txBody>
      </p:sp>
      <p:sp>
        <p:nvSpPr>
          <p:cNvPr id="20" name="Bildplatzhalter 19">
            <a:extLst>
              <a:ext uri="{FF2B5EF4-FFF2-40B4-BE49-F238E27FC236}">
                <a16:creationId xmlns:a16="http://schemas.microsoft.com/office/drawing/2014/main" id="{77C1DD81-6416-4666-94E0-96C26901803C}"/>
              </a:ext>
            </a:extLst>
          </p:cNvPr>
          <p:cNvSpPr>
            <a:spLocks noGrp="1"/>
          </p:cNvSpPr>
          <p:nvPr>
            <p:ph type="pic" sz="quarter" idx="14" hasCustomPrompt="1"/>
          </p:nvPr>
        </p:nvSpPr>
        <p:spPr>
          <a:xfrm>
            <a:off x="7467388" y="-19877"/>
            <a:ext cx="4724613" cy="2795867"/>
          </a:xfrm>
          <a:custGeom>
            <a:avLst/>
            <a:gdLst>
              <a:gd name="connsiteX0" fmla="*/ 553370 w 4724613"/>
              <a:gd name="connsiteY0" fmla="*/ 0 h 2795867"/>
              <a:gd name="connsiteX1" fmla="*/ 4724613 w 4724613"/>
              <a:gd name="connsiteY1" fmla="*/ 0 h 2795867"/>
              <a:gd name="connsiteX2" fmla="*/ 4724613 w 4724613"/>
              <a:gd name="connsiteY2" fmla="*/ 2795867 h 2795867"/>
              <a:gd name="connsiteX3" fmla="*/ 79258 w 4724613"/>
              <a:gd name="connsiteY3" fmla="*/ 2795867 h 2795867"/>
              <a:gd name="connsiteX4" fmla="*/ 1169 w 4724613"/>
              <a:gd name="connsiteY4" fmla="*/ 2702439 h 2795867"/>
              <a:gd name="connsiteX5" fmla="*/ 459942 w 4724613"/>
              <a:gd name="connsiteY5" fmla="*/ 93428 h 2795867"/>
              <a:gd name="connsiteX6" fmla="*/ 553370 w 4724613"/>
              <a:gd name="connsiteY6" fmla="*/ 0 h 2795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24613" h="2795867">
                <a:moveTo>
                  <a:pt x="553370" y="0"/>
                </a:moveTo>
                <a:lnTo>
                  <a:pt x="4724613" y="0"/>
                </a:lnTo>
                <a:lnTo>
                  <a:pt x="4724613" y="2795867"/>
                </a:lnTo>
                <a:lnTo>
                  <a:pt x="79258" y="2795867"/>
                </a:lnTo>
                <a:cubicBezTo>
                  <a:pt x="30452" y="2795867"/>
                  <a:pt x="-7198" y="2751245"/>
                  <a:pt x="1169" y="2702439"/>
                </a:cubicBezTo>
                <a:lnTo>
                  <a:pt x="459942" y="93428"/>
                </a:lnTo>
                <a:cubicBezTo>
                  <a:pt x="459942" y="41833"/>
                  <a:pt x="501775" y="0"/>
                  <a:pt x="553370" y="0"/>
                </a:cubicBezTo>
                <a:close/>
              </a:path>
            </a:pathLst>
          </a:custGeom>
        </p:spPr>
        <p:txBody>
          <a:bodyPr wrap="square">
            <a:noAutofit/>
          </a:bodyPr>
          <a:lstStyle>
            <a:lvl1pPr marL="0" marR="0" indent="0" algn="l" defTabSz="1644650" rtl="0" eaLnBrk="0" fontAlgn="base" latinLnBrk="0" hangingPunct="0">
              <a:lnSpc>
                <a:spcPct val="130000"/>
              </a:lnSpc>
              <a:spcBef>
                <a:spcPct val="0"/>
              </a:spcBef>
              <a:spcAft>
                <a:spcPts val="1200"/>
              </a:spcAft>
              <a:buClr>
                <a:srgbClr val="004C99"/>
              </a:buClr>
              <a:buSzPct val="120000"/>
              <a:buFontTx/>
              <a:buNone/>
              <a:defRPr/>
            </a:lvl1pPr>
          </a:lstStyle>
          <a:p>
            <a:pPr marL="896938" marR="0" lvl="1" indent="-266700" algn="l" defTabSz="1644650" rtl="0" eaLnBrk="0" fontAlgn="base" latinLnBrk="0" hangingPunct="0">
              <a:lnSpc>
                <a:spcPct val="130000"/>
              </a:lnSpc>
              <a:spcBef>
                <a:spcPct val="0"/>
              </a:spcBef>
              <a:spcAft>
                <a:spcPts val="1200"/>
              </a:spcAft>
              <a:buClr>
                <a:srgbClr val="004C99"/>
              </a:buClr>
              <a:buSzPct val="120000"/>
              <a:buFontTx/>
              <a:buBlip>
                <a:blip r:embed="rId2"/>
              </a:buBlip>
              <a:defRPr/>
            </a:pPr>
            <a:r>
              <a:rPr lang="de-DE"/>
              <a:t>Please insert image</a:t>
            </a:r>
          </a:p>
          <a:p>
            <a:endParaRPr lang="de-DE"/>
          </a:p>
        </p:txBody>
      </p:sp>
    </p:spTree>
    <p:extLst>
      <p:ext uri="{BB962C8B-B14F-4D97-AF65-F5344CB8AC3E}">
        <p14:creationId xmlns:p14="http://schemas.microsoft.com/office/powerpoint/2010/main" val="411967618"/>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8" dur="1000" decel="10000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0-#ppt_w/2"/>
                                          </p:val>
                                        </p:tav>
                                        <p:tav tm="100000">
                                          <p:val>
                                            <p:strVal val="#ppt_x"/>
                                          </p:val>
                                        </p:tav>
                                      </p:tavLst>
                                    </p:anim>
                                    <p:anim calcmode="lin" valueType="num">
                                      <p:cBhvr additive="base">
                                        <p:cTn id="8" dur="1000" fill="hold"/>
                                        <p:tgtEl>
                                          <p:spTgt spid="2"/>
                                        </p:tgtEl>
                                        <p:attrNameLst>
                                          <p:attrName>ppt_y</p:attrName>
                                        </p:attrNameLst>
                                      </p:cBhvr>
                                      <p:tavLst>
                                        <p:tav tm="0">
                                          <p:val>
                                            <p:strVal val="#ppt_y"/>
                                          </p:val>
                                        </p:tav>
                                        <p:tav tm="100000">
                                          <p:val>
                                            <p:strVal val="#ppt_y"/>
                                          </p:val>
                                        </p:tav>
                                      </p:tavLst>
                                    </p:anim>
                                  </p:childTnLst>
                                </p:cTn>
                              </p:par>
                              <p:par>
                                <p:cTn id="9" presetID="2" presetClass="entr" presetSubtype="8" dur="1000" decel="100000" fill="hold" grpId="0" nodeType="withEffect">
                                  <p:stCondLst>
                                    <p:cond delay="25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1000" fill="hold"/>
                                        <p:tgtEl>
                                          <p:spTgt spid="5"/>
                                        </p:tgtEl>
                                        <p:attrNameLst>
                                          <p:attrName>ppt_x</p:attrName>
                                        </p:attrNameLst>
                                      </p:cBhvr>
                                      <p:tavLst>
                                        <p:tav tm="0">
                                          <p:val>
                                            <p:strVal val="0-#ppt_w/2"/>
                                          </p:val>
                                        </p:tav>
                                        <p:tav tm="100000">
                                          <p:val>
                                            <p:strVal val="#ppt_x"/>
                                          </p:val>
                                        </p:tav>
                                      </p:tavLst>
                                    </p:anim>
                                    <p:anim calcmode="lin" valueType="num">
                                      <p:cBhvr additive="base">
                                        <p:cTn id="12" dur="1000" fill="hold"/>
                                        <p:tgtEl>
                                          <p:spTgt spid="5"/>
                                        </p:tgtEl>
                                        <p:attrNameLst>
                                          <p:attrName>ppt_y</p:attrName>
                                        </p:attrNameLst>
                                      </p:cBhvr>
                                      <p:tavLst>
                                        <p:tav tm="0">
                                          <p:val>
                                            <p:strVal val="#ppt_y"/>
                                          </p:val>
                                        </p:tav>
                                        <p:tav tm="100000">
                                          <p:val>
                                            <p:strVal val="#ppt_y"/>
                                          </p:val>
                                        </p:tav>
                                      </p:tavLst>
                                    </p:anim>
                                  </p:childTnLst>
                                </p:cTn>
                              </p:par>
                              <p:par>
                                <p:cTn id="13" presetID="2" presetClass="entr" presetSubtype="2" dur="1000" decel="100000" fill="hold" grpId="0" nodeType="withEffect">
                                  <p:stCondLst>
                                    <p:cond delay="500"/>
                                  </p:stCondLst>
                                  <p:childTnLst>
                                    <p:set>
                                      <p:cBhvr>
                                        <p:cTn id="14" dur="1" fill="hold">
                                          <p:stCondLst>
                                            <p:cond delay="0"/>
                                          </p:stCondLst>
                                        </p:cTn>
                                        <p:tgtEl>
                                          <p:spTgt spid="20"/>
                                        </p:tgtEl>
                                        <p:attrNameLst>
                                          <p:attrName>style.visibility</p:attrName>
                                        </p:attrNameLst>
                                      </p:cBhvr>
                                      <p:to>
                                        <p:strVal val="visible"/>
                                      </p:to>
                                    </p:set>
                                    <p:anim calcmode="lin" valueType="num">
                                      <p:cBhvr additive="base">
                                        <p:cTn id="15" dur="1000" fill="hold"/>
                                        <p:tgtEl>
                                          <p:spTgt spid="20"/>
                                        </p:tgtEl>
                                        <p:attrNameLst>
                                          <p:attrName>ppt_x</p:attrName>
                                        </p:attrNameLst>
                                      </p:cBhvr>
                                      <p:tavLst>
                                        <p:tav tm="0">
                                          <p:val>
                                            <p:strVal val="1+#ppt_w/2"/>
                                          </p:val>
                                        </p:tav>
                                        <p:tav tm="100000">
                                          <p:val>
                                            <p:strVal val="#ppt_x"/>
                                          </p:val>
                                        </p:tav>
                                      </p:tavLst>
                                    </p:anim>
                                    <p:anim calcmode="lin" valueType="num">
                                      <p:cBhvr additive="base">
                                        <p:cTn id="16" dur="1000" fill="hold"/>
                                        <p:tgtEl>
                                          <p:spTgt spid="20"/>
                                        </p:tgtEl>
                                        <p:attrNameLst>
                                          <p:attrName>ppt_y</p:attrName>
                                        </p:attrNameLst>
                                      </p:cBhvr>
                                      <p:tavLst>
                                        <p:tav tm="0">
                                          <p:val>
                                            <p:strVal val="#ppt_y"/>
                                          </p:val>
                                        </p:tav>
                                        <p:tav tm="100000">
                                          <p:val>
                                            <p:strVal val="#ppt_y"/>
                                          </p:val>
                                        </p:tav>
                                      </p:tavLst>
                                    </p:anim>
                                  </p:childTnLst>
                                </p:cTn>
                              </p:par>
                              <p:par>
                                <p:cTn id="17" presetID="2" presetClass="entr" presetSubtype="2" dur="1000" decel="100000" fill="hold" grpId="0" nodeType="withEffect">
                                  <p:stCondLst>
                                    <p:cond delay="750"/>
                                  </p:stCondLst>
                                  <p:childTnLst>
                                    <p:set>
                                      <p:cBhvr>
                                        <p:cTn id="18" dur="1" fill="hold">
                                          <p:stCondLst>
                                            <p:cond delay="0"/>
                                          </p:stCondLst>
                                        </p:cTn>
                                        <p:tgtEl>
                                          <p:spTgt spid="19"/>
                                        </p:tgtEl>
                                        <p:attrNameLst>
                                          <p:attrName>style.visibility</p:attrName>
                                        </p:attrNameLst>
                                      </p:cBhvr>
                                      <p:to>
                                        <p:strVal val="visible"/>
                                      </p:to>
                                    </p:set>
                                    <p:anim calcmode="lin" valueType="num">
                                      <p:cBhvr additive="base">
                                        <p:cTn id="19" dur="1000" fill="hold"/>
                                        <p:tgtEl>
                                          <p:spTgt spid="19"/>
                                        </p:tgtEl>
                                        <p:attrNameLst>
                                          <p:attrName>ppt_x</p:attrName>
                                        </p:attrNameLst>
                                      </p:cBhvr>
                                      <p:tavLst>
                                        <p:tav tm="0">
                                          <p:val>
                                            <p:strVal val="1+#ppt_w/2"/>
                                          </p:val>
                                        </p:tav>
                                        <p:tav tm="100000">
                                          <p:val>
                                            <p:strVal val="#ppt_x"/>
                                          </p:val>
                                        </p:tav>
                                      </p:tavLst>
                                    </p:anim>
                                    <p:anim calcmode="lin" valueType="num">
                                      <p:cBhvr additive="base">
                                        <p:cTn id="20" dur="1000" fill="hold"/>
                                        <p:tgtEl>
                                          <p:spTgt spid="1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2" presetClass="entr" presetSubtype="8" decel="100000" fill="hold" nodeType="withEffect">
                  <p:stCondLst>
                    <p:cond delay="250"/>
                  </p:stCondLst>
                  <p:childTnLst>
                    <p:set>
                      <p:cBhvr>
                        <p:cTn dur="1" fill="hold">
                          <p:stCondLst>
                            <p:cond delay="0"/>
                          </p:stCondLst>
                        </p:cTn>
                        <p:tgtEl>
                          <p:spTgt spid="5"/>
                        </p:tgtEl>
                        <p:attrNameLst>
                          <p:attrName>style.visibility</p:attrName>
                        </p:attrNameLst>
                      </p:cBhvr>
                      <p:to>
                        <p:strVal val="visible"/>
                      </p:to>
                    </p:set>
                    <p:anim calcmode="lin" valueType="num">
                      <p:cBhvr additive="base">
                        <p:cTn dur="1000" fill="hold"/>
                        <p:tgtEl>
                          <p:spTgt spid="5"/>
                        </p:tgtEl>
                        <p:attrNameLst>
                          <p:attrName>ppt_x</p:attrName>
                        </p:attrNameLst>
                      </p:cBhvr>
                      <p:tavLst>
                        <p:tav tm="0">
                          <p:val>
                            <p:strVal val="0-#ppt_w/2"/>
                          </p:val>
                        </p:tav>
                        <p:tav tm="100000">
                          <p:val>
                            <p:strVal val="#ppt_x"/>
                          </p:val>
                        </p:tav>
                      </p:tavLst>
                    </p:anim>
                    <p:anim calcmode="lin" valueType="num">
                      <p:cBhvr additive="base">
                        <p:cTn dur="1000" fill="hold"/>
                        <p:tgtEl>
                          <p:spTgt spid="5"/>
                        </p:tgtEl>
                        <p:attrNameLst>
                          <p:attrName>ppt_y</p:attrName>
                        </p:attrNameLst>
                      </p:cBhvr>
                      <p:tavLst>
                        <p:tav tm="0">
                          <p:val>
                            <p:strVal val="#ppt_y"/>
                          </p:val>
                        </p:tav>
                        <p:tav tm="100000">
                          <p:val>
                            <p:strVal val="#ppt_y"/>
                          </p:val>
                        </p:tav>
                      </p:tavLst>
                    </p:anim>
                  </p:childTnLst>
                </p:cTn>
              </p:par>
            </p:tnLst>
          </p:tmpl>
        </p:tmplLst>
      </p:bldP>
      <p:bldP spid="19" grpId="0"/>
      <p:bldP spid="20" grpId="0"/>
    </p:bld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HEADING/TEXT/IMAGE 1 big 1 small">
    <p:spTree>
      <p:nvGrpSpPr>
        <p:cNvPr id="1" name=""/>
        <p:cNvGrpSpPr/>
        <p:nvPr/>
      </p:nvGrpSpPr>
      <p:grpSpPr>
        <a:xfrm>
          <a:off x="0" y="0"/>
          <a:ext cx="0" cy="0"/>
          <a:chOff x="0" y="0"/>
          <a:chExt cx="0" cy="0"/>
        </a:xfrm>
      </p:grpSpPr>
      <p:sp>
        <p:nvSpPr>
          <p:cNvPr id="13" name="Freihandform: Form 12">
            <a:extLst>
              <a:ext uri="{FF2B5EF4-FFF2-40B4-BE49-F238E27FC236}">
                <a16:creationId xmlns:a16="http://schemas.microsoft.com/office/drawing/2014/main" id="{50EC640D-C73C-4FD9-AD9A-88EE410704F4}"/>
              </a:ext>
            </a:extLst>
          </p:cNvPr>
          <p:cNvSpPr/>
          <p:nvPr/>
        </p:nvSpPr>
        <p:spPr>
          <a:xfrm rot="10800000">
            <a:off x="0" y="1975611"/>
            <a:ext cx="9829800" cy="4882390"/>
          </a:xfrm>
          <a:custGeom>
            <a:avLst/>
            <a:gdLst>
              <a:gd name="connsiteX0" fmla="*/ 910059 w 9829800"/>
              <a:gd name="connsiteY0" fmla="*/ 0 h 4882390"/>
              <a:gd name="connsiteX1" fmla="*/ 3015085 w 9829800"/>
              <a:gd name="connsiteY1" fmla="*/ 0 h 4882390"/>
              <a:gd name="connsiteX2" fmla="*/ 7981950 w 9829800"/>
              <a:gd name="connsiteY2" fmla="*/ 0 h 4882390"/>
              <a:gd name="connsiteX3" fmla="*/ 9829800 w 9829800"/>
              <a:gd name="connsiteY3" fmla="*/ 0 h 4882390"/>
              <a:gd name="connsiteX4" fmla="*/ 9829800 w 9829800"/>
              <a:gd name="connsiteY4" fmla="*/ 4882390 h 4882390"/>
              <a:gd name="connsiteX5" fmla="*/ 7981950 w 9829800"/>
              <a:gd name="connsiteY5" fmla="*/ 4882390 h 4882390"/>
              <a:gd name="connsiteX6" fmla="*/ 2183098 w 9829800"/>
              <a:gd name="connsiteY6" fmla="*/ 4882390 h 4882390"/>
              <a:gd name="connsiteX7" fmla="*/ 78072 w 9829800"/>
              <a:gd name="connsiteY7" fmla="*/ 4882390 h 4882390"/>
              <a:gd name="connsiteX8" fmla="*/ 0 w 9829800"/>
              <a:gd name="connsiteY8" fmla="*/ 4804318 h 4882390"/>
              <a:gd name="connsiteX9" fmla="*/ 831987 w 9829800"/>
              <a:gd name="connsiteY9" fmla="*/ 78072 h 4882390"/>
              <a:gd name="connsiteX10" fmla="*/ 910059 w 9829800"/>
              <a:gd name="connsiteY10" fmla="*/ 0 h 4882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829800" h="4882390">
                <a:moveTo>
                  <a:pt x="910059" y="0"/>
                </a:moveTo>
                <a:lnTo>
                  <a:pt x="3015085" y="0"/>
                </a:lnTo>
                <a:lnTo>
                  <a:pt x="7981950" y="0"/>
                </a:lnTo>
                <a:lnTo>
                  <a:pt x="9829800" y="0"/>
                </a:lnTo>
                <a:lnTo>
                  <a:pt x="9829800" y="4882390"/>
                </a:lnTo>
                <a:lnTo>
                  <a:pt x="7981950" y="4882390"/>
                </a:lnTo>
                <a:lnTo>
                  <a:pt x="2183098" y="4882390"/>
                </a:lnTo>
                <a:lnTo>
                  <a:pt x="78072" y="4882390"/>
                </a:lnTo>
                <a:cubicBezTo>
                  <a:pt x="34957" y="4882390"/>
                  <a:pt x="0" y="4847433"/>
                  <a:pt x="0" y="4804318"/>
                </a:cubicBezTo>
                <a:lnTo>
                  <a:pt x="831987" y="78072"/>
                </a:lnTo>
                <a:cubicBezTo>
                  <a:pt x="831987" y="34957"/>
                  <a:pt x="866945" y="0"/>
                  <a:pt x="910059" y="0"/>
                </a:cubicBezTo>
                <a:close/>
              </a:path>
            </a:pathLst>
          </a:custGeom>
          <a:gradFill>
            <a:gsLst>
              <a:gs pos="100000">
                <a:schemeClr val="bg1"/>
              </a:gs>
              <a:gs pos="5000">
                <a:srgbClr val="ECF0F4"/>
              </a:gs>
            </a:gsLst>
            <a:lin ang="5400000" scaled="1"/>
          </a:gradFill>
          <a:ln w="11652" cap="flat">
            <a:noFill/>
            <a:prstDash val="solid"/>
            <a:miter/>
          </a:ln>
        </p:spPr>
        <p:txBody>
          <a:bodyPr rtlCol="0" anchor="ctr"/>
          <a:lstStyle/>
          <a:p>
            <a:endParaRPr lang="de-DE"/>
          </a:p>
        </p:txBody>
      </p:sp>
      <p:sp>
        <p:nvSpPr>
          <p:cNvPr id="2" name="Titel 1">
            <a:extLst>
              <a:ext uri="{FF2B5EF4-FFF2-40B4-BE49-F238E27FC236}">
                <a16:creationId xmlns:a16="http://schemas.microsoft.com/office/drawing/2014/main" id="{0526DC72-FA1D-422D-8055-3374742D122B}"/>
              </a:ext>
            </a:extLst>
          </p:cNvPr>
          <p:cNvSpPr>
            <a:spLocks noGrp="1"/>
          </p:cNvSpPr>
          <p:nvPr>
            <p:ph type="title"/>
          </p:nvPr>
        </p:nvSpPr>
        <p:spPr>
          <a:xfrm>
            <a:off x="815952" y="733402"/>
            <a:ext cx="4931999" cy="767737"/>
          </a:xfrm>
        </p:spPr>
        <p:txBody>
          <a:bodyPr/>
          <a:lstStyle>
            <a:lvl1pPr>
              <a:lnSpc>
                <a:spcPct val="100000"/>
              </a:lnSpc>
              <a:defRPr/>
            </a:lvl1pPr>
          </a:lstStyle>
          <a:p>
            <a:r>
              <a:rPr lang="de-DE"/>
              <a:t>Mastertitelformat bearbeiten</a:t>
            </a:r>
          </a:p>
        </p:txBody>
      </p:sp>
      <p:sp>
        <p:nvSpPr>
          <p:cNvPr id="3" name="Foliennummernplatzhalter 2">
            <a:extLst>
              <a:ext uri="{FF2B5EF4-FFF2-40B4-BE49-F238E27FC236}">
                <a16:creationId xmlns:a16="http://schemas.microsoft.com/office/drawing/2014/main" id="{5B327254-466C-4606-8589-BCC72CBDADDF}"/>
              </a:ext>
            </a:extLst>
          </p:cNvPr>
          <p:cNvSpPr>
            <a:spLocks noGrp="1"/>
          </p:cNvSpPr>
          <p:nvPr>
            <p:ph type="sldNum" sz="quarter" idx="10"/>
          </p:nvPr>
        </p:nvSpPr>
        <p:spPr/>
        <p:txBody>
          <a:bodyPr/>
          <a:lstStyle/>
          <a:p>
            <a:fld id="{A04BEB4F-8CE1-4F18-986F-6CE0A0BE9470}" type="slidenum">
              <a:rPr lang="de-DE" smtClean="0"/>
              <a:t>‹#›</a:t>
            </a:fld>
            <a:endParaRPr lang="de-DE"/>
          </a:p>
        </p:txBody>
      </p:sp>
      <p:sp>
        <p:nvSpPr>
          <p:cNvPr id="5" name="Textplatzhalter 9">
            <a:extLst>
              <a:ext uri="{FF2B5EF4-FFF2-40B4-BE49-F238E27FC236}">
                <a16:creationId xmlns:a16="http://schemas.microsoft.com/office/drawing/2014/main" id="{6024922C-391C-46EA-9F1C-F5344AAB64C8}"/>
              </a:ext>
            </a:extLst>
          </p:cNvPr>
          <p:cNvSpPr>
            <a:spLocks noGrp="1"/>
          </p:cNvSpPr>
          <p:nvPr>
            <p:ph type="body" sz="quarter" idx="11"/>
          </p:nvPr>
        </p:nvSpPr>
        <p:spPr>
          <a:xfrm>
            <a:off x="815951" y="1979612"/>
            <a:ext cx="4932000" cy="4338638"/>
          </a:xfrm>
          <a:prstGeom prst="rect">
            <a:avLst/>
          </a:prstGeom>
        </p:spPr>
        <p:txBody>
          <a:bodyPr lIns="0" tIns="0" rIns="0" bIns="0">
            <a:normAutofit/>
          </a:bodyPr>
          <a:lstStyle>
            <a:lvl1pPr>
              <a:defRPr sz="1800"/>
            </a:lvl1pPr>
            <a:lvl2pPr>
              <a:defRPr sz="1800"/>
            </a:lvl2pPr>
            <a:lvl3pPr>
              <a:defRPr sz="1800"/>
            </a:lvl3pPr>
            <a:lvl4pPr>
              <a:defRPr sz="1800"/>
            </a:lvl4pPr>
            <a:lvl5pPr>
              <a:defRPr sz="18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9" name="Bildplatzhalter 18">
            <a:extLst>
              <a:ext uri="{FF2B5EF4-FFF2-40B4-BE49-F238E27FC236}">
                <a16:creationId xmlns:a16="http://schemas.microsoft.com/office/drawing/2014/main" id="{77258955-00DA-42C8-B30E-18F06F9412BA}"/>
              </a:ext>
            </a:extLst>
          </p:cNvPr>
          <p:cNvSpPr>
            <a:spLocks noGrp="1"/>
          </p:cNvSpPr>
          <p:nvPr>
            <p:ph type="pic" sz="quarter" idx="13" hasCustomPrompt="1"/>
          </p:nvPr>
        </p:nvSpPr>
        <p:spPr>
          <a:xfrm>
            <a:off x="6829425" y="4008632"/>
            <a:ext cx="5362575" cy="2848802"/>
          </a:xfrm>
          <a:custGeom>
            <a:avLst/>
            <a:gdLst>
              <a:gd name="connsiteX0" fmla="*/ 541046 w 5260306"/>
              <a:gd name="connsiteY0" fmla="*/ 0 h 2794472"/>
              <a:gd name="connsiteX1" fmla="*/ 5260306 w 5260306"/>
              <a:gd name="connsiteY1" fmla="*/ 0 h 2794472"/>
              <a:gd name="connsiteX2" fmla="*/ 5260306 w 5260306"/>
              <a:gd name="connsiteY2" fmla="*/ 2794472 h 2794472"/>
              <a:gd name="connsiteX3" fmla="*/ 93428 w 5260306"/>
              <a:gd name="connsiteY3" fmla="*/ 2794472 h 2794472"/>
              <a:gd name="connsiteX4" fmla="*/ 0 w 5260306"/>
              <a:gd name="connsiteY4" fmla="*/ 2701044 h 2794472"/>
              <a:gd name="connsiteX5" fmla="*/ 464351 w 5260306"/>
              <a:gd name="connsiteY5" fmla="*/ 65539 h 2794472"/>
              <a:gd name="connsiteX6" fmla="*/ 541046 w 5260306"/>
              <a:gd name="connsiteY6" fmla="*/ 0 h 2794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60306" h="2794472">
                <a:moveTo>
                  <a:pt x="541046" y="0"/>
                </a:moveTo>
                <a:lnTo>
                  <a:pt x="5260306" y="0"/>
                </a:lnTo>
                <a:lnTo>
                  <a:pt x="5260306" y="2794472"/>
                </a:lnTo>
                <a:lnTo>
                  <a:pt x="93428" y="2794472"/>
                </a:lnTo>
                <a:cubicBezTo>
                  <a:pt x="41833" y="2794472"/>
                  <a:pt x="0" y="2752639"/>
                  <a:pt x="0" y="2701044"/>
                </a:cubicBezTo>
                <a:lnTo>
                  <a:pt x="464351" y="65539"/>
                </a:lnTo>
                <a:cubicBezTo>
                  <a:pt x="469929" y="27889"/>
                  <a:pt x="503395" y="0"/>
                  <a:pt x="541046" y="0"/>
                </a:cubicBezTo>
                <a:close/>
              </a:path>
            </a:pathLst>
          </a:custGeom>
        </p:spPr>
        <p:txBody>
          <a:bodyPr wrap="square">
            <a:noAutofit/>
          </a:bodyPr>
          <a:lstStyle>
            <a:lvl1pPr marL="0" marR="0" indent="0" algn="l" defTabSz="1644650" rtl="0" eaLnBrk="0" fontAlgn="base" latinLnBrk="0" hangingPunct="0">
              <a:lnSpc>
                <a:spcPct val="130000"/>
              </a:lnSpc>
              <a:spcBef>
                <a:spcPct val="0"/>
              </a:spcBef>
              <a:spcAft>
                <a:spcPts val="1200"/>
              </a:spcAft>
              <a:buClr>
                <a:srgbClr val="004C99"/>
              </a:buClr>
              <a:buSzPct val="120000"/>
              <a:buFontTx/>
              <a:buNone/>
              <a:defRPr/>
            </a:lvl1pPr>
          </a:lstStyle>
          <a:p>
            <a:pPr marL="896938" marR="0" lvl="1" indent="-266700" algn="l" defTabSz="1644650" rtl="0" eaLnBrk="0" fontAlgn="base" latinLnBrk="0" hangingPunct="0">
              <a:lnSpc>
                <a:spcPct val="130000"/>
              </a:lnSpc>
              <a:spcBef>
                <a:spcPct val="0"/>
              </a:spcBef>
              <a:spcAft>
                <a:spcPts val="1200"/>
              </a:spcAft>
              <a:buClr>
                <a:srgbClr val="004C99"/>
              </a:buClr>
              <a:buSzPct val="120000"/>
              <a:buFontTx/>
              <a:buBlip>
                <a:blip r:embed="rId2"/>
              </a:buBlip>
              <a:defRPr/>
            </a:pPr>
            <a:r>
              <a:rPr lang="de-DE"/>
              <a:t>Please insert image</a:t>
            </a:r>
          </a:p>
          <a:p>
            <a:endParaRPr lang="de-DE"/>
          </a:p>
        </p:txBody>
      </p:sp>
      <p:sp>
        <p:nvSpPr>
          <p:cNvPr id="20" name="Bildplatzhalter 19">
            <a:extLst>
              <a:ext uri="{FF2B5EF4-FFF2-40B4-BE49-F238E27FC236}">
                <a16:creationId xmlns:a16="http://schemas.microsoft.com/office/drawing/2014/main" id="{77C1DD81-6416-4666-94E0-96C26901803C}"/>
              </a:ext>
            </a:extLst>
          </p:cNvPr>
          <p:cNvSpPr>
            <a:spLocks noGrp="1"/>
          </p:cNvSpPr>
          <p:nvPr>
            <p:ph type="pic" sz="quarter" idx="14" hasCustomPrompt="1"/>
          </p:nvPr>
        </p:nvSpPr>
        <p:spPr>
          <a:xfrm>
            <a:off x="6025883" y="-19877"/>
            <a:ext cx="6166119" cy="3648902"/>
          </a:xfrm>
          <a:custGeom>
            <a:avLst/>
            <a:gdLst>
              <a:gd name="connsiteX0" fmla="*/ 553370 w 4724613"/>
              <a:gd name="connsiteY0" fmla="*/ 0 h 2795867"/>
              <a:gd name="connsiteX1" fmla="*/ 4724613 w 4724613"/>
              <a:gd name="connsiteY1" fmla="*/ 0 h 2795867"/>
              <a:gd name="connsiteX2" fmla="*/ 4724613 w 4724613"/>
              <a:gd name="connsiteY2" fmla="*/ 2795867 h 2795867"/>
              <a:gd name="connsiteX3" fmla="*/ 79258 w 4724613"/>
              <a:gd name="connsiteY3" fmla="*/ 2795867 h 2795867"/>
              <a:gd name="connsiteX4" fmla="*/ 1169 w 4724613"/>
              <a:gd name="connsiteY4" fmla="*/ 2702439 h 2795867"/>
              <a:gd name="connsiteX5" fmla="*/ 459942 w 4724613"/>
              <a:gd name="connsiteY5" fmla="*/ 93428 h 2795867"/>
              <a:gd name="connsiteX6" fmla="*/ 553370 w 4724613"/>
              <a:gd name="connsiteY6" fmla="*/ 0 h 2795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24613" h="2795867">
                <a:moveTo>
                  <a:pt x="553370" y="0"/>
                </a:moveTo>
                <a:lnTo>
                  <a:pt x="4724613" y="0"/>
                </a:lnTo>
                <a:lnTo>
                  <a:pt x="4724613" y="2795867"/>
                </a:lnTo>
                <a:lnTo>
                  <a:pt x="79258" y="2795867"/>
                </a:lnTo>
                <a:cubicBezTo>
                  <a:pt x="30452" y="2795867"/>
                  <a:pt x="-7198" y="2751245"/>
                  <a:pt x="1169" y="2702439"/>
                </a:cubicBezTo>
                <a:lnTo>
                  <a:pt x="459942" y="93428"/>
                </a:lnTo>
                <a:cubicBezTo>
                  <a:pt x="459942" y="41833"/>
                  <a:pt x="501775" y="0"/>
                  <a:pt x="553370" y="0"/>
                </a:cubicBezTo>
                <a:close/>
              </a:path>
            </a:pathLst>
          </a:custGeom>
        </p:spPr>
        <p:txBody>
          <a:bodyPr wrap="square">
            <a:noAutofit/>
          </a:bodyPr>
          <a:lstStyle>
            <a:lvl1pPr marL="285750" marR="0" indent="-285750" algn="l" defTabSz="1644650" rtl="0" eaLnBrk="0" fontAlgn="base" latinLnBrk="0" hangingPunct="0">
              <a:lnSpc>
                <a:spcPct val="130000"/>
              </a:lnSpc>
              <a:spcBef>
                <a:spcPct val="0"/>
              </a:spcBef>
              <a:spcAft>
                <a:spcPts val="1200"/>
              </a:spcAft>
              <a:buClr>
                <a:srgbClr val="004C99"/>
              </a:buClr>
              <a:buSzPct val="120000"/>
              <a:defRPr/>
            </a:lvl1pPr>
          </a:lstStyle>
          <a:p>
            <a:pPr marL="990600" marR="0" lvl="2" indent="-285750" algn="l" defTabSz="1644650" rtl="0" eaLnBrk="0" fontAlgn="base" latinLnBrk="0" hangingPunct="0">
              <a:lnSpc>
                <a:spcPct val="130000"/>
              </a:lnSpc>
              <a:spcBef>
                <a:spcPct val="0"/>
              </a:spcBef>
              <a:spcAft>
                <a:spcPts val="1200"/>
              </a:spcAft>
              <a:buClr>
                <a:srgbClr val="004C99"/>
              </a:buClr>
              <a:buSzPct val="120000"/>
              <a:defRPr/>
            </a:pPr>
            <a:r>
              <a:rPr lang="de-DE"/>
              <a:t>Please insert image</a:t>
            </a:r>
          </a:p>
        </p:txBody>
      </p:sp>
    </p:spTree>
    <p:extLst>
      <p:ext uri="{BB962C8B-B14F-4D97-AF65-F5344CB8AC3E}">
        <p14:creationId xmlns:p14="http://schemas.microsoft.com/office/powerpoint/2010/main" val="3839645187"/>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8" dur="1000" decel="10000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0-#ppt_w/2"/>
                                          </p:val>
                                        </p:tav>
                                        <p:tav tm="100000">
                                          <p:val>
                                            <p:strVal val="#ppt_x"/>
                                          </p:val>
                                        </p:tav>
                                      </p:tavLst>
                                    </p:anim>
                                    <p:anim calcmode="lin" valueType="num">
                                      <p:cBhvr additive="base">
                                        <p:cTn id="8" dur="1000" fill="hold"/>
                                        <p:tgtEl>
                                          <p:spTgt spid="2"/>
                                        </p:tgtEl>
                                        <p:attrNameLst>
                                          <p:attrName>ppt_y</p:attrName>
                                        </p:attrNameLst>
                                      </p:cBhvr>
                                      <p:tavLst>
                                        <p:tav tm="0">
                                          <p:val>
                                            <p:strVal val="#ppt_y"/>
                                          </p:val>
                                        </p:tav>
                                        <p:tav tm="100000">
                                          <p:val>
                                            <p:strVal val="#ppt_y"/>
                                          </p:val>
                                        </p:tav>
                                      </p:tavLst>
                                    </p:anim>
                                  </p:childTnLst>
                                </p:cTn>
                              </p:par>
                              <p:par>
                                <p:cTn id="9" presetID="2" presetClass="entr" presetSubtype="8" dur="1000" decel="100000" fill="hold" grpId="0" nodeType="withEffect">
                                  <p:stCondLst>
                                    <p:cond delay="25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1000" fill="hold"/>
                                        <p:tgtEl>
                                          <p:spTgt spid="5"/>
                                        </p:tgtEl>
                                        <p:attrNameLst>
                                          <p:attrName>ppt_x</p:attrName>
                                        </p:attrNameLst>
                                      </p:cBhvr>
                                      <p:tavLst>
                                        <p:tav tm="0">
                                          <p:val>
                                            <p:strVal val="0-#ppt_w/2"/>
                                          </p:val>
                                        </p:tav>
                                        <p:tav tm="100000">
                                          <p:val>
                                            <p:strVal val="#ppt_x"/>
                                          </p:val>
                                        </p:tav>
                                      </p:tavLst>
                                    </p:anim>
                                    <p:anim calcmode="lin" valueType="num">
                                      <p:cBhvr additive="base">
                                        <p:cTn id="12" dur="1000" fill="hold"/>
                                        <p:tgtEl>
                                          <p:spTgt spid="5"/>
                                        </p:tgtEl>
                                        <p:attrNameLst>
                                          <p:attrName>ppt_y</p:attrName>
                                        </p:attrNameLst>
                                      </p:cBhvr>
                                      <p:tavLst>
                                        <p:tav tm="0">
                                          <p:val>
                                            <p:strVal val="#ppt_y"/>
                                          </p:val>
                                        </p:tav>
                                        <p:tav tm="100000">
                                          <p:val>
                                            <p:strVal val="#ppt_y"/>
                                          </p:val>
                                        </p:tav>
                                      </p:tavLst>
                                    </p:anim>
                                  </p:childTnLst>
                                </p:cTn>
                              </p:par>
                              <p:par>
                                <p:cTn id="13" presetID="2" presetClass="entr" presetSubtype="2" dur="1000" decel="100000" fill="hold" grpId="0" nodeType="withEffect">
                                  <p:stCondLst>
                                    <p:cond delay="500"/>
                                  </p:stCondLst>
                                  <p:childTnLst>
                                    <p:set>
                                      <p:cBhvr>
                                        <p:cTn id="14" dur="1" fill="hold">
                                          <p:stCondLst>
                                            <p:cond delay="0"/>
                                          </p:stCondLst>
                                        </p:cTn>
                                        <p:tgtEl>
                                          <p:spTgt spid="20"/>
                                        </p:tgtEl>
                                        <p:attrNameLst>
                                          <p:attrName>style.visibility</p:attrName>
                                        </p:attrNameLst>
                                      </p:cBhvr>
                                      <p:to>
                                        <p:strVal val="visible"/>
                                      </p:to>
                                    </p:set>
                                    <p:anim calcmode="lin" valueType="num">
                                      <p:cBhvr additive="base">
                                        <p:cTn id="15" dur="1000" fill="hold"/>
                                        <p:tgtEl>
                                          <p:spTgt spid="20"/>
                                        </p:tgtEl>
                                        <p:attrNameLst>
                                          <p:attrName>ppt_x</p:attrName>
                                        </p:attrNameLst>
                                      </p:cBhvr>
                                      <p:tavLst>
                                        <p:tav tm="0">
                                          <p:val>
                                            <p:strVal val="1+#ppt_w/2"/>
                                          </p:val>
                                        </p:tav>
                                        <p:tav tm="100000">
                                          <p:val>
                                            <p:strVal val="#ppt_x"/>
                                          </p:val>
                                        </p:tav>
                                      </p:tavLst>
                                    </p:anim>
                                    <p:anim calcmode="lin" valueType="num">
                                      <p:cBhvr additive="base">
                                        <p:cTn id="16" dur="1000" fill="hold"/>
                                        <p:tgtEl>
                                          <p:spTgt spid="20"/>
                                        </p:tgtEl>
                                        <p:attrNameLst>
                                          <p:attrName>ppt_y</p:attrName>
                                        </p:attrNameLst>
                                      </p:cBhvr>
                                      <p:tavLst>
                                        <p:tav tm="0">
                                          <p:val>
                                            <p:strVal val="#ppt_y"/>
                                          </p:val>
                                        </p:tav>
                                        <p:tav tm="100000">
                                          <p:val>
                                            <p:strVal val="#ppt_y"/>
                                          </p:val>
                                        </p:tav>
                                      </p:tavLst>
                                    </p:anim>
                                  </p:childTnLst>
                                </p:cTn>
                              </p:par>
                              <p:par>
                                <p:cTn id="17" presetID="2" presetClass="entr" presetSubtype="2" dur="1000" decel="100000" fill="hold" grpId="0" nodeType="withEffect">
                                  <p:stCondLst>
                                    <p:cond delay="750"/>
                                  </p:stCondLst>
                                  <p:childTnLst>
                                    <p:set>
                                      <p:cBhvr>
                                        <p:cTn id="18" dur="1" fill="hold">
                                          <p:stCondLst>
                                            <p:cond delay="0"/>
                                          </p:stCondLst>
                                        </p:cTn>
                                        <p:tgtEl>
                                          <p:spTgt spid="19"/>
                                        </p:tgtEl>
                                        <p:attrNameLst>
                                          <p:attrName>style.visibility</p:attrName>
                                        </p:attrNameLst>
                                      </p:cBhvr>
                                      <p:to>
                                        <p:strVal val="visible"/>
                                      </p:to>
                                    </p:set>
                                    <p:anim calcmode="lin" valueType="num">
                                      <p:cBhvr additive="base">
                                        <p:cTn id="19" dur="1000" fill="hold"/>
                                        <p:tgtEl>
                                          <p:spTgt spid="19"/>
                                        </p:tgtEl>
                                        <p:attrNameLst>
                                          <p:attrName>ppt_x</p:attrName>
                                        </p:attrNameLst>
                                      </p:cBhvr>
                                      <p:tavLst>
                                        <p:tav tm="0">
                                          <p:val>
                                            <p:strVal val="1+#ppt_w/2"/>
                                          </p:val>
                                        </p:tav>
                                        <p:tav tm="100000">
                                          <p:val>
                                            <p:strVal val="#ppt_x"/>
                                          </p:val>
                                        </p:tav>
                                      </p:tavLst>
                                    </p:anim>
                                    <p:anim calcmode="lin" valueType="num">
                                      <p:cBhvr additive="base">
                                        <p:cTn id="20" dur="1000" fill="hold"/>
                                        <p:tgtEl>
                                          <p:spTgt spid="1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2" presetClass="entr" presetSubtype="8" decel="100000" fill="hold" nodeType="withEffect">
                  <p:stCondLst>
                    <p:cond delay="250"/>
                  </p:stCondLst>
                  <p:childTnLst>
                    <p:set>
                      <p:cBhvr>
                        <p:cTn dur="1" fill="hold">
                          <p:stCondLst>
                            <p:cond delay="0"/>
                          </p:stCondLst>
                        </p:cTn>
                        <p:tgtEl>
                          <p:spTgt spid="5"/>
                        </p:tgtEl>
                        <p:attrNameLst>
                          <p:attrName>style.visibility</p:attrName>
                        </p:attrNameLst>
                      </p:cBhvr>
                      <p:to>
                        <p:strVal val="visible"/>
                      </p:to>
                    </p:set>
                    <p:anim calcmode="lin" valueType="num">
                      <p:cBhvr additive="base">
                        <p:cTn dur="1000" fill="hold"/>
                        <p:tgtEl>
                          <p:spTgt spid="5"/>
                        </p:tgtEl>
                        <p:attrNameLst>
                          <p:attrName>ppt_x</p:attrName>
                        </p:attrNameLst>
                      </p:cBhvr>
                      <p:tavLst>
                        <p:tav tm="0">
                          <p:val>
                            <p:strVal val="0-#ppt_w/2"/>
                          </p:val>
                        </p:tav>
                        <p:tav tm="100000">
                          <p:val>
                            <p:strVal val="#ppt_x"/>
                          </p:val>
                        </p:tav>
                      </p:tavLst>
                    </p:anim>
                    <p:anim calcmode="lin" valueType="num">
                      <p:cBhvr additive="base">
                        <p:cTn dur="1000" fill="hold"/>
                        <p:tgtEl>
                          <p:spTgt spid="5"/>
                        </p:tgtEl>
                        <p:attrNameLst>
                          <p:attrName>ppt_y</p:attrName>
                        </p:attrNameLst>
                      </p:cBhvr>
                      <p:tavLst>
                        <p:tav tm="0">
                          <p:val>
                            <p:strVal val="#ppt_y"/>
                          </p:val>
                        </p:tav>
                        <p:tav tm="100000">
                          <p:val>
                            <p:strVal val="#ppt_y"/>
                          </p:val>
                        </p:tav>
                      </p:tavLst>
                    </p:anim>
                  </p:childTnLst>
                </p:cTn>
              </p:par>
            </p:tnLst>
          </p:tmpl>
        </p:tmplLst>
      </p:bldP>
      <p:bldP spid="19" grpId="0"/>
      <p:bldP spid="20" grpId="0"/>
    </p:bld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HEADING/TEXT/IMAGE 1 below">
    <p:spTree>
      <p:nvGrpSpPr>
        <p:cNvPr id="1" name=""/>
        <p:cNvGrpSpPr/>
        <p:nvPr/>
      </p:nvGrpSpPr>
      <p:grpSpPr>
        <a:xfrm>
          <a:off x="0" y="0"/>
          <a:ext cx="0" cy="0"/>
          <a:chOff x="0" y="0"/>
          <a:chExt cx="0" cy="0"/>
        </a:xfrm>
      </p:grpSpPr>
      <p:sp>
        <p:nvSpPr>
          <p:cNvPr id="12" name="Freihandform: Form 11">
            <a:extLst>
              <a:ext uri="{FF2B5EF4-FFF2-40B4-BE49-F238E27FC236}">
                <a16:creationId xmlns:a16="http://schemas.microsoft.com/office/drawing/2014/main" id="{BC6B8E40-6DD9-454D-B6D5-4533D14E1817}"/>
              </a:ext>
            </a:extLst>
          </p:cNvPr>
          <p:cNvSpPr/>
          <p:nvPr userDrawn="1"/>
        </p:nvSpPr>
        <p:spPr>
          <a:xfrm>
            <a:off x="2362200" y="1975611"/>
            <a:ext cx="9829800" cy="4882390"/>
          </a:xfrm>
          <a:custGeom>
            <a:avLst/>
            <a:gdLst>
              <a:gd name="connsiteX0" fmla="*/ 910059 w 9829800"/>
              <a:gd name="connsiteY0" fmla="*/ 0 h 4882390"/>
              <a:gd name="connsiteX1" fmla="*/ 3015085 w 9829800"/>
              <a:gd name="connsiteY1" fmla="*/ 0 h 4882390"/>
              <a:gd name="connsiteX2" fmla="*/ 7981950 w 9829800"/>
              <a:gd name="connsiteY2" fmla="*/ 0 h 4882390"/>
              <a:gd name="connsiteX3" fmla="*/ 9829800 w 9829800"/>
              <a:gd name="connsiteY3" fmla="*/ 0 h 4882390"/>
              <a:gd name="connsiteX4" fmla="*/ 9829800 w 9829800"/>
              <a:gd name="connsiteY4" fmla="*/ 4882390 h 4882390"/>
              <a:gd name="connsiteX5" fmla="*/ 7981950 w 9829800"/>
              <a:gd name="connsiteY5" fmla="*/ 4882390 h 4882390"/>
              <a:gd name="connsiteX6" fmla="*/ 2183098 w 9829800"/>
              <a:gd name="connsiteY6" fmla="*/ 4882390 h 4882390"/>
              <a:gd name="connsiteX7" fmla="*/ 78072 w 9829800"/>
              <a:gd name="connsiteY7" fmla="*/ 4882390 h 4882390"/>
              <a:gd name="connsiteX8" fmla="*/ 0 w 9829800"/>
              <a:gd name="connsiteY8" fmla="*/ 4804318 h 4882390"/>
              <a:gd name="connsiteX9" fmla="*/ 831987 w 9829800"/>
              <a:gd name="connsiteY9" fmla="*/ 78072 h 4882390"/>
              <a:gd name="connsiteX10" fmla="*/ 910059 w 9829800"/>
              <a:gd name="connsiteY10" fmla="*/ 0 h 4882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829800" h="4882390">
                <a:moveTo>
                  <a:pt x="910059" y="0"/>
                </a:moveTo>
                <a:lnTo>
                  <a:pt x="3015085" y="0"/>
                </a:lnTo>
                <a:lnTo>
                  <a:pt x="7981950" y="0"/>
                </a:lnTo>
                <a:lnTo>
                  <a:pt x="9829800" y="0"/>
                </a:lnTo>
                <a:lnTo>
                  <a:pt x="9829800" y="4882390"/>
                </a:lnTo>
                <a:lnTo>
                  <a:pt x="7981950" y="4882390"/>
                </a:lnTo>
                <a:lnTo>
                  <a:pt x="2183098" y="4882390"/>
                </a:lnTo>
                <a:lnTo>
                  <a:pt x="78072" y="4882390"/>
                </a:lnTo>
                <a:cubicBezTo>
                  <a:pt x="34957" y="4882390"/>
                  <a:pt x="0" y="4847433"/>
                  <a:pt x="0" y="4804318"/>
                </a:cubicBezTo>
                <a:lnTo>
                  <a:pt x="831987" y="78072"/>
                </a:lnTo>
                <a:cubicBezTo>
                  <a:pt x="831987" y="34957"/>
                  <a:pt x="866945" y="0"/>
                  <a:pt x="910059" y="0"/>
                </a:cubicBezTo>
                <a:close/>
              </a:path>
            </a:pathLst>
          </a:custGeom>
          <a:gradFill>
            <a:gsLst>
              <a:gs pos="0">
                <a:schemeClr val="bg1"/>
              </a:gs>
              <a:gs pos="95000">
                <a:srgbClr val="ECF0F4"/>
              </a:gs>
            </a:gsLst>
            <a:lin ang="5400000" scaled="1"/>
          </a:gradFill>
          <a:ln w="11652" cap="flat">
            <a:noFill/>
            <a:prstDash val="solid"/>
            <a:miter/>
          </a:ln>
        </p:spPr>
        <p:txBody>
          <a:bodyPr rtlCol="0" anchor="ctr"/>
          <a:lstStyle/>
          <a:p>
            <a:endParaRPr lang="de-DE"/>
          </a:p>
        </p:txBody>
      </p:sp>
      <p:sp>
        <p:nvSpPr>
          <p:cNvPr id="2" name="Titel 1">
            <a:extLst>
              <a:ext uri="{FF2B5EF4-FFF2-40B4-BE49-F238E27FC236}">
                <a16:creationId xmlns:a16="http://schemas.microsoft.com/office/drawing/2014/main" id="{0526DC72-FA1D-422D-8055-3374742D122B}"/>
              </a:ext>
            </a:extLst>
          </p:cNvPr>
          <p:cNvSpPr>
            <a:spLocks noGrp="1"/>
          </p:cNvSpPr>
          <p:nvPr>
            <p:ph type="title"/>
          </p:nvPr>
        </p:nvSpPr>
        <p:spPr/>
        <p:txBody>
          <a:bodyPr/>
          <a:lstStyle>
            <a:lvl1pPr>
              <a:lnSpc>
                <a:spcPct val="100000"/>
              </a:lnSpc>
              <a:defRPr/>
            </a:lvl1pPr>
          </a:lstStyle>
          <a:p>
            <a:r>
              <a:rPr lang="de-DE"/>
              <a:t>Mastertitelformat bearbeiten</a:t>
            </a:r>
          </a:p>
        </p:txBody>
      </p:sp>
      <p:sp>
        <p:nvSpPr>
          <p:cNvPr id="3" name="Foliennummernplatzhalter 2">
            <a:extLst>
              <a:ext uri="{FF2B5EF4-FFF2-40B4-BE49-F238E27FC236}">
                <a16:creationId xmlns:a16="http://schemas.microsoft.com/office/drawing/2014/main" id="{5B327254-466C-4606-8589-BCC72CBDADDF}"/>
              </a:ext>
            </a:extLst>
          </p:cNvPr>
          <p:cNvSpPr>
            <a:spLocks noGrp="1"/>
          </p:cNvSpPr>
          <p:nvPr>
            <p:ph type="sldNum" sz="quarter" idx="10"/>
          </p:nvPr>
        </p:nvSpPr>
        <p:spPr/>
        <p:txBody>
          <a:bodyPr/>
          <a:lstStyle/>
          <a:p>
            <a:fld id="{A04BEB4F-8CE1-4F18-986F-6CE0A0BE9470}" type="slidenum">
              <a:rPr lang="de-DE" smtClean="0"/>
              <a:t>‹#›</a:t>
            </a:fld>
            <a:endParaRPr lang="de-DE"/>
          </a:p>
        </p:txBody>
      </p:sp>
      <p:sp>
        <p:nvSpPr>
          <p:cNvPr id="5" name="Textplatzhalter 9">
            <a:extLst>
              <a:ext uri="{FF2B5EF4-FFF2-40B4-BE49-F238E27FC236}">
                <a16:creationId xmlns:a16="http://schemas.microsoft.com/office/drawing/2014/main" id="{6024922C-391C-46EA-9F1C-F5344AAB64C8}"/>
              </a:ext>
            </a:extLst>
          </p:cNvPr>
          <p:cNvSpPr>
            <a:spLocks noGrp="1"/>
          </p:cNvSpPr>
          <p:nvPr>
            <p:ph type="body" sz="quarter" idx="11"/>
          </p:nvPr>
        </p:nvSpPr>
        <p:spPr>
          <a:xfrm>
            <a:off x="815951" y="1979612"/>
            <a:ext cx="10560096" cy="1440000"/>
          </a:xfrm>
          <a:prstGeom prst="rect">
            <a:avLst/>
          </a:prstGeom>
        </p:spPr>
        <p:txBody>
          <a:bodyPr lIns="0" tIns="0" rIns="0" bIns="0">
            <a:normAutofit/>
          </a:bodyPr>
          <a:lstStyle>
            <a:lvl1pPr>
              <a:defRPr sz="1800"/>
            </a:lvl1pPr>
            <a:lvl2pPr>
              <a:defRPr sz="1800"/>
            </a:lvl2pPr>
            <a:lvl3pPr>
              <a:defRPr sz="1800"/>
            </a:lvl3pPr>
            <a:lvl4pPr>
              <a:defRPr sz="1800"/>
            </a:lvl4pPr>
            <a:lvl5pPr>
              <a:defRPr sz="18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5" name="Bildplatzhalter 14">
            <a:extLst>
              <a:ext uri="{FF2B5EF4-FFF2-40B4-BE49-F238E27FC236}">
                <a16:creationId xmlns:a16="http://schemas.microsoft.com/office/drawing/2014/main" id="{35D9FA2A-499B-4596-BC4B-A7387A801021}"/>
              </a:ext>
            </a:extLst>
          </p:cNvPr>
          <p:cNvSpPr>
            <a:spLocks noGrp="1"/>
          </p:cNvSpPr>
          <p:nvPr>
            <p:ph type="pic" sz="quarter" idx="12" hasCustomPrompt="1"/>
          </p:nvPr>
        </p:nvSpPr>
        <p:spPr>
          <a:xfrm>
            <a:off x="-2" y="3779612"/>
            <a:ext cx="9815514" cy="3078387"/>
          </a:xfrm>
          <a:custGeom>
            <a:avLst/>
            <a:gdLst>
              <a:gd name="connsiteX0" fmla="*/ 0 w 9815514"/>
              <a:gd name="connsiteY0" fmla="*/ 0 h 3078387"/>
              <a:gd name="connsiteX1" fmla="*/ 9706713 w 9815514"/>
              <a:gd name="connsiteY1" fmla="*/ 0 h 3078387"/>
              <a:gd name="connsiteX2" fmla="*/ 9815514 w 9815514"/>
              <a:gd name="connsiteY2" fmla="*/ 113675 h 3078387"/>
              <a:gd name="connsiteX3" fmla="*/ 9315995 w 9815514"/>
              <a:gd name="connsiteY3" fmla="*/ 3078387 h 3078387"/>
              <a:gd name="connsiteX4" fmla="*/ 0 w 9815514"/>
              <a:gd name="connsiteY4" fmla="*/ 3078387 h 3078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15514" h="3078387">
                <a:moveTo>
                  <a:pt x="0" y="0"/>
                </a:moveTo>
                <a:lnTo>
                  <a:pt x="9706713" y="0"/>
                </a:lnTo>
                <a:cubicBezTo>
                  <a:pt x="9766797" y="0"/>
                  <a:pt x="9815514" y="50899"/>
                  <a:pt x="9815514" y="113675"/>
                </a:cubicBezTo>
                <a:lnTo>
                  <a:pt x="9315995" y="3078387"/>
                </a:lnTo>
                <a:lnTo>
                  <a:pt x="0" y="3078387"/>
                </a:lnTo>
                <a:close/>
              </a:path>
            </a:pathLst>
          </a:custGeom>
          <a:noFill/>
          <a:effectLst>
            <a:outerShdw blurRad="190500" dist="127000" dir="2700000" algn="tl" rotWithShape="0">
              <a:prstClr val="black">
                <a:alpha val="10000"/>
              </a:prstClr>
            </a:outerShdw>
          </a:effectLst>
        </p:spPr>
        <p:txBody>
          <a:bodyPr wrap="square">
            <a:noAutofit/>
          </a:bodyPr>
          <a:lstStyle>
            <a:lvl1pPr marL="0" marR="0" indent="0" algn="l" defTabSz="1644650" rtl="0" eaLnBrk="0" fontAlgn="base" latinLnBrk="0" hangingPunct="0">
              <a:lnSpc>
                <a:spcPct val="130000"/>
              </a:lnSpc>
              <a:spcBef>
                <a:spcPct val="0"/>
              </a:spcBef>
              <a:spcAft>
                <a:spcPts val="1200"/>
              </a:spcAft>
              <a:buClr>
                <a:srgbClr val="004C99"/>
              </a:buClr>
              <a:buSzPct val="120000"/>
              <a:buFontTx/>
              <a:buNone/>
              <a:defRPr/>
            </a:lvl1pPr>
          </a:lstStyle>
          <a:p>
            <a:pPr marL="266700" marR="0" lvl="0" indent="-266700" algn="l" defTabSz="1644650" rtl="0" eaLnBrk="0" fontAlgn="base" latinLnBrk="0" hangingPunct="0">
              <a:lnSpc>
                <a:spcPct val="130000"/>
              </a:lnSpc>
              <a:spcBef>
                <a:spcPct val="0"/>
              </a:spcBef>
              <a:spcAft>
                <a:spcPts val="1200"/>
              </a:spcAft>
              <a:buClr>
                <a:srgbClr val="004C99"/>
              </a:buClr>
              <a:buSzPct val="120000"/>
              <a:buFontTx/>
              <a:buBlip>
                <a:blip r:embed="rId2"/>
              </a:buBlip>
              <a:defRPr/>
            </a:pPr>
            <a:r>
              <a:rPr lang="de-DE"/>
              <a:t>Please insert image</a:t>
            </a:r>
          </a:p>
          <a:p>
            <a:endParaRPr lang="de-DE"/>
          </a:p>
        </p:txBody>
      </p:sp>
    </p:spTree>
    <p:extLst>
      <p:ext uri="{BB962C8B-B14F-4D97-AF65-F5344CB8AC3E}">
        <p14:creationId xmlns:p14="http://schemas.microsoft.com/office/powerpoint/2010/main" val="3713000823"/>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8" dur="1000" decel="10000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0-#ppt_w/2"/>
                                          </p:val>
                                        </p:tav>
                                        <p:tav tm="100000">
                                          <p:val>
                                            <p:strVal val="#ppt_x"/>
                                          </p:val>
                                        </p:tav>
                                      </p:tavLst>
                                    </p:anim>
                                    <p:anim calcmode="lin" valueType="num">
                                      <p:cBhvr additive="base">
                                        <p:cTn id="8" dur="1000" fill="hold"/>
                                        <p:tgtEl>
                                          <p:spTgt spid="2"/>
                                        </p:tgtEl>
                                        <p:attrNameLst>
                                          <p:attrName>ppt_y</p:attrName>
                                        </p:attrNameLst>
                                      </p:cBhvr>
                                      <p:tavLst>
                                        <p:tav tm="0">
                                          <p:val>
                                            <p:strVal val="#ppt_y"/>
                                          </p:val>
                                        </p:tav>
                                        <p:tav tm="100000">
                                          <p:val>
                                            <p:strVal val="#ppt_y"/>
                                          </p:val>
                                        </p:tav>
                                      </p:tavLst>
                                    </p:anim>
                                  </p:childTnLst>
                                </p:cTn>
                              </p:par>
                              <p:par>
                                <p:cTn id="9" presetID="2" presetClass="entr" presetSubtype="8" dur="1000" decel="100000" fill="hold" grpId="0" nodeType="withEffect">
                                  <p:stCondLst>
                                    <p:cond delay="25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1000" fill="hold"/>
                                        <p:tgtEl>
                                          <p:spTgt spid="5"/>
                                        </p:tgtEl>
                                        <p:attrNameLst>
                                          <p:attrName>ppt_x</p:attrName>
                                        </p:attrNameLst>
                                      </p:cBhvr>
                                      <p:tavLst>
                                        <p:tav tm="0">
                                          <p:val>
                                            <p:strVal val="0-#ppt_w/2"/>
                                          </p:val>
                                        </p:tav>
                                        <p:tav tm="100000">
                                          <p:val>
                                            <p:strVal val="#ppt_x"/>
                                          </p:val>
                                        </p:tav>
                                      </p:tavLst>
                                    </p:anim>
                                    <p:anim calcmode="lin" valueType="num">
                                      <p:cBhvr additive="base">
                                        <p:cTn id="12" dur="1000" fill="hold"/>
                                        <p:tgtEl>
                                          <p:spTgt spid="5"/>
                                        </p:tgtEl>
                                        <p:attrNameLst>
                                          <p:attrName>ppt_y</p:attrName>
                                        </p:attrNameLst>
                                      </p:cBhvr>
                                      <p:tavLst>
                                        <p:tav tm="0">
                                          <p:val>
                                            <p:strVal val="#ppt_y"/>
                                          </p:val>
                                        </p:tav>
                                        <p:tav tm="100000">
                                          <p:val>
                                            <p:strVal val="#ppt_y"/>
                                          </p:val>
                                        </p:tav>
                                      </p:tavLst>
                                    </p:anim>
                                  </p:childTnLst>
                                </p:cTn>
                              </p:par>
                              <p:par>
                                <p:cTn id="13" presetID="2" presetClass="entr" presetSubtype="8" dur="1000" decel="100000" fill="hold" grpId="0" nodeType="withEffect">
                                  <p:stCondLst>
                                    <p:cond delay="500"/>
                                  </p:stCondLst>
                                  <p:childTnLst>
                                    <p:set>
                                      <p:cBhvr>
                                        <p:cTn id="14" dur="1" fill="hold">
                                          <p:stCondLst>
                                            <p:cond delay="0"/>
                                          </p:stCondLst>
                                        </p:cTn>
                                        <p:tgtEl>
                                          <p:spTgt spid="15"/>
                                        </p:tgtEl>
                                        <p:attrNameLst>
                                          <p:attrName>style.visibility</p:attrName>
                                        </p:attrNameLst>
                                      </p:cBhvr>
                                      <p:to>
                                        <p:strVal val="visible"/>
                                      </p:to>
                                    </p:set>
                                    <p:anim calcmode="lin" valueType="num">
                                      <p:cBhvr additive="base">
                                        <p:cTn id="15" dur="1000" fill="hold"/>
                                        <p:tgtEl>
                                          <p:spTgt spid="15"/>
                                        </p:tgtEl>
                                        <p:attrNameLst>
                                          <p:attrName>ppt_x</p:attrName>
                                        </p:attrNameLst>
                                      </p:cBhvr>
                                      <p:tavLst>
                                        <p:tav tm="0">
                                          <p:val>
                                            <p:strVal val="0-#ppt_w/2"/>
                                          </p:val>
                                        </p:tav>
                                        <p:tav tm="100000">
                                          <p:val>
                                            <p:strVal val="#ppt_x"/>
                                          </p:val>
                                        </p:tav>
                                      </p:tavLst>
                                    </p:anim>
                                    <p:anim calcmode="lin" valueType="num">
                                      <p:cBhvr additive="base">
                                        <p:cTn id="16" dur="1000" fill="hold"/>
                                        <p:tgtEl>
                                          <p:spTgt spid="1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2" presetClass="entr" presetSubtype="8" decel="100000" fill="hold" nodeType="withEffect">
                  <p:stCondLst>
                    <p:cond delay="250"/>
                  </p:stCondLst>
                  <p:childTnLst>
                    <p:set>
                      <p:cBhvr>
                        <p:cTn dur="1" fill="hold">
                          <p:stCondLst>
                            <p:cond delay="0"/>
                          </p:stCondLst>
                        </p:cTn>
                        <p:tgtEl>
                          <p:spTgt spid="5"/>
                        </p:tgtEl>
                        <p:attrNameLst>
                          <p:attrName>style.visibility</p:attrName>
                        </p:attrNameLst>
                      </p:cBhvr>
                      <p:to>
                        <p:strVal val="visible"/>
                      </p:to>
                    </p:set>
                    <p:anim calcmode="lin" valueType="num">
                      <p:cBhvr additive="base">
                        <p:cTn dur="1000" fill="hold"/>
                        <p:tgtEl>
                          <p:spTgt spid="5"/>
                        </p:tgtEl>
                        <p:attrNameLst>
                          <p:attrName>ppt_x</p:attrName>
                        </p:attrNameLst>
                      </p:cBhvr>
                      <p:tavLst>
                        <p:tav tm="0">
                          <p:val>
                            <p:strVal val="0-#ppt_w/2"/>
                          </p:val>
                        </p:tav>
                        <p:tav tm="100000">
                          <p:val>
                            <p:strVal val="#ppt_x"/>
                          </p:val>
                        </p:tav>
                      </p:tavLst>
                    </p:anim>
                    <p:anim calcmode="lin" valueType="num">
                      <p:cBhvr additive="base">
                        <p:cTn dur="1000" fill="hold"/>
                        <p:tgtEl>
                          <p:spTgt spid="5"/>
                        </p:tgtEl>
                        <p:attrNameLst>
                          <p:attrName>ppt_y</p:attrName>
                        </p:attrNameLst>
                      </p:cBhvr>
                      <p:tavLst>
                        <p:tav tm="0">
                          <p:val>
                            <p:strVal val="#ppt_y"/>
                          </p:val>
                        </p:tav>
                        <p:tav tm="100000">
                          <p:val>
                            <p:strVal val="#ppt_y"/>
                          </p:val>
                        </p:tav>
                      </p:tavLst>
                    </p:anim>
                  </p:childTnLst>
                </p:cTn>
              </p:par>
            </p:tnLst>
          </p:tmpl>
        </p:tmplLst>
      </p:bldP>
      <p:bldP spid="15" grpId="0"/>
    </p:bld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CONTENT ">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526DC72-FA1D-422D-8055-3374742D122B}"/>
              </a:ext>
            </a:extLst>
          </p:cNvPr>
          <p:cNvSpPr>
            <a:spLocks noGrp="1"/>
          </p:cNvSpPr>
          <p:nvPr>
            <p:ph type="title"/>
          </p:nvPr>
        </p:nvSpPr>
        <p:spPr/>
        <p:txBody>
          <a:bodyPr/>
          <a:lstStyle>
            <a:lvl1pPr>
              <a:lnSpc>
                <a:spcPct val="100000"/>
              </a:lnSpc>
              <a:defRPr/>
            </a:lvl1pPr>
          </a:lstStyle>
          <a:p>
            <a:r>
              <a:rPr lang="de-DE"/>
              <a:t>Mastertitelformat bearbeiten</a:t>
            </a:r>
          </a:p>
        </p:txBody>
      </p:sp>
      <p:sp>
        <p:nvSpPr>
          <p:cNvPr id="3" name="Foliennummernplatzhalter 2">
            <a:extLst>
              <a:ext uri="{FF2B5EF4-FFF2-40B4-BE49-F238E27FC236}">
                <a16:creationId xmlns:a16="http://schemas.microsoft.com/office/drawing/2014/main" id="{5B327254-466C-4606-8589-BCC72CBDADDF}"/>
              </a:ext>
            </a:extLst>
          </p:cNvPr>
          <p:cNvSpPr>
            <a:spLocks noGrp="1"/>
          </p:cNvSpPr>
          <p:nvPr>
            <p:ph type="sldNum" sz="quarter" idx="10"/>
          </p:nvPr>
        </p:nvSpPr>
        <p:spPr/>
        <p:txBody>
          <a:bodyPr/>
          <a:lstStyle/>
          <a:p>
            <a:fld id="{A04BEB4F-8CE1-4F18-986F-6CE0A0BE9470}" type="slidenum">
              <a:rPr lang="de-DE" smtClean="0"/>
              <a:t>‹#›</a:t>
            </a:fld>
            <a:endParaRPr lang="de-DE"/>
          </a:p>
        </p:txBody>
      </p:sp>
      <p:sp>
        <p:nvSpPr>
          <p:cNvPr id="6" name="Inhaltsplatzhalter 5">
            <a:extLst>
              <a:ext uri="{FF2B5EF4-FFF2-40B4-BE49-F238E27FC236}">
                <a16:creationId xmlns:a16="http://schemas.microsoft.com/office/drawing/2014/main" id="{2D621650-8C9C-4343-8E11-492A5CE05422}"/>
              </a:ext>
            </a:extLst>
          </p:cNvPr>
          <p:cNvSpPr>
            <a:spLocks noGrp="1"/>
          </p:cNvSpPr>
          <p:nvPr>
            <p:ph sz="quarter" idx="12"/>
          </p:nvPr>
        </p:nvSpPr>
        <p:spPr>
          <a:xfrm>
            <a:off x="815951" y="1975612"/>
            <a:ext cx="10560096" cy="434664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742780139"/>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8" dur="1000" decel="10000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0-#ppt_w/2"/>
                                          </p:val>
                                        </p:tav>
                                        <p:tav tm="100000">
                                          <p:val>
                                            <p:strVal val="#ppt_x"/>
                                          </p:val>
                                        </p:tav>
                                      </p:tavLst>
                                    </p:anim>
                                    <p:anim calcmode="lin" valueType="num">
                                      <p:cBhvr additive="base">
                                        <p:cTn id="8" dur="1000" fill="hold"/>
                                        <p:tgtEl>
                                          <p:spTgt spid="2"/>
                                        </p:tgtEl>
                                        <p:attrNameLst>
                                          <p:attrName>ppt_y</p:attrName>
                                        </p:attrNameLst>
                                      </p:cBhvr>
                                      <p:tavLst>
                                        <p:tav tm="0">
                                          <p:val>
                                            <p:strVal val="#ppt_y"/>
                                          </p:val>
                                        </p:tav>
                                        <p:tav tm="100000">
                                          <p:val>
                                            <p:strVal val="#ppt_y"/>
                                          </p:val>
                                        </p:tav>
                                      </p:tavLst>
                                    </p:anim>
                                  </p:childTnLst>
                                </p:cTn>
                              </p:par>
                              <p:par>
                                <p:cTn id="9" presetID="2" presetClass="entr" presetSubtype="8" dur="1000" decel="100000" fill="hold" grpId="0" nodeType="withEffect">
                                  <p:stCondLst>
                                    <p:cond delay="250"/>
                                  </p:stCondLst>
                                  <p:childTnLst>
                                    <p:set>
                                      <p:cBhvr>
                                        <p:cTn id="10" dur="1" fill="hold">
                                          <p:stCondLst>
                                            <p:cond delay="0"/>
                                          </p:stCondLst>
                                        </p:cTn>
                                        <p:tgtEl>
                                          <p:spTgt spid="6"/>
                                        </p:tgtEl>
                                        <p:attrNameLst>
                                          <p:attrName>style.visibility</p:attrName>
                                        </p:attrNameLst>
                                      </p:cBhvr>
                                      <p:to>
                                        <p:strVal val="visible"/>
                                      </p:to>
                                    </p:set>
                                    <p:anim calcmode="lin" valueType="num">
                                      <p:cBhvr additive="base">
                                        <p:cTn id="11" dur="1000" fill="hold"/>
                                        <p:tgtEl>
                                          <p:spTgt spid="6"/>
                                        </p:tgtEl>
                                        <p:attrNameLst>
                                          <p:attrName>ppt_x</p:attrName>
                                        </p:attrNameLst>
                                      </p:cBhvr>
                                      <p:tavLst>
                                        <p:tav tm="0">
                                          <p:val>
                                            <p:strVal val="0-#ppt_w/2"/>
                                          </p:val>
                                        </p:tav>
                                        <p:tav tm="100000">
                                          <p:val>
                                            <p:strVal val="#ppt_x"/>
                                          </p:val>
                                        </p:tav>
                                      </p:tavLst>
                                    </p:anim>
                                    <p:anim calcmode="lin" valueType="num">
                                      <p:cBhvr additive="base">
                                        <p:cTn id="12" dur="10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6" grpId="0">
        <p:tmplLst>
          <p:tmpl>
            <p:tnLst>
              <p:par>
                <p:cTn presetID="2" presetClass="entr" presetSubtype="8" decel="100000" fill="hold" nodeType="withEffect">
                  <p:stCondLst>
                    <p:cond delay="250"/>
                  </p:stCondLst>
                  <p:childTnLst>
                    <p:set>
                      <p:cBhvr>
                        <p:cTn dur="1" fill="hold">
                          <p:stCondLst>
                            <p:cond delay="0"/>
                          </p:stCondLst>
                        </p:cTn>
                        <p:tgtEl>
                          <p:spTgt spid="6"/>
                        </p:tgtEl>
                        <p:attrNameLst>
                          <p:attrName>style.visibility</p:attrName>
                        </p:attrNameLst>
                      </p:cBhvr>
                      <p:to>
                        <p:strVal val="visible"/>
                      </p:to>
                    </p:set>
                    <p:anim calcmode="lin" valueType="num">
                      <p:cBhvr additive="base">
                        <p:cTn dur="1000" fill="hold"/>
                        <p:tgtEl>
                          <p:spTgt spid="6"/>
                        </p:tgtEl>
                        <p:attrNameLst>
                          <p:attrName>ppt_x</p:attrName>
                        </p:attrNameLst>
                      </p:cBhvr>
                      <p:tavLst>
                        <p:tav tm="0">
                          <p:val>
                            <p:strVal val="0-#ppt_w/2"/>
                          </p:val>
                        </p:tav>
                        <p:tav tm="100000">
                          <p:val>
                            <p:strVal val="#ppt_x"/>
                          </p:val>
                        </p:tav>
                      </p:tavLst>
                    </p:anim>
                    <p:anim calcmode="lin" valueType="num">
                      <p:cBhvr additive="base">
                        <p:cTn dur="1000" fill="hold"/>
                        <p:tgtEl>
                          <p:spTgt spid="6"/>
                        </p:tgtEl>
                        <p:attrNameLst>
                          <p:attrName>ppt_y</p:attrName>
                        </p:attrNameLst>
                      </p:cBhvr>
                      <p:tavLst>
                        <p:tav tm="0">
                          <p:val>
                            <p:strVal val="#ppt_y"/>
                          </p:val>
                        </p:tav>
                        <p:tav tm="100000">
                          <p:val>
                            <p:strVal val="#ppt_y"/>
                          </p:val>
                        </p:tav>
                      </p:tavLst>
                    </p:anim>
                  </p:childTnLst>
                </p:cTn>
              </p:par>
            </p:tnLst>
          </p:tmpl>
        </p:tmplLst>
      </p:bldP>
    </p:bld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267" name="Freihandform: Form 266">
            <a:extLst>
              <a:ext uri="{FF2B5EF4-FFF2-40B4-BE49-F238E27FC236}">
                <a16:creationId xmlns:a16="http://schemas.microsoft.com/office/drawing/2014/main" id="{919B2CD8-82FF-4BB7-9DCC-E8D32E59F274}"/>
              </a:ext>
            </a:extLst>
          </p:cNvPr>
          <p:cNvSpPr/>
          <p:nvPr userDrawn="1"/>
        </p:nvSpPr>
        <p:spPr>
          <a:xfrm>
            <a:off x="11841261" y="4050916"/>
            <a:ext cx="347243" cy="376374"/>
          </a:xfrm>
          <a:custGeom>
            <a:avLst/>
            <a:gdLst>
              <a:gd name="connsiteX0" fmla="*/ 158473 w 347243"/>
              <a:gd name="connsiteY0" fmla="*/ 376375 h 376374"/>
              <a:gd name="connsiteX1" fmla="*/ 0 w 347243"/>
              <a:gd name="connsiteY1" fmla="*/ 376375 h 376374"/>
              <a:gd name="connsiteX2" fmla="*/ 185274 w 347243"/>
              <a:gd name="connsiteY2" fmla="*/ 189935 h 376374"/>
              <a:gd name="connsiteX3" fmla="*/ 0 w 347243"/>
              <a:gd name="connsiteY3" fmla="*/ 0 h 376374"/>
              <a:gd name="connsiteX4" fmla="*/ 161969 w 347243"/>
              <a:gd name="connsiteY4" fmla="*/ 0 h 376374"/>
              <a:gd name="connsiteX5" fmla="*/ 347244 w 347243"/>
              <a:gd name="connsiteY5" fmla="*/ 185274 h 376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7243" h="376374">
                <a:moveTo>
                  <a:pt x="158473" y="376375"/>
                </a:moveTo>
                <a:lnTo>
                  <a:pt x="0" y="376375"/>
                </a:lnTo>
                <a:lnTo>
                  <a:pt x="185274" y="189935"/>
                </a:lnTo>
                <a:lnTo>
                  <a:pt x="0" y="0"/>
                </a:lnTo>
                <a:lnTo>
                  <a:pt x="161969" y="0"/>
                </a:lnTo>
                <a:lnTo>
                  <a:pt x="347244" y="185274"/>
                </a:lnTo>
                <a:close/>
              </a:path>
            </a:pathLst>
          </a:custGeom>
          <a:solidFill>
            <a:srgbClr val="EEF2F5"/>
          </a:solidFill>
          <a:ln w="11643" cap="flat">
            <a:noFill/>
            <a:prstDash val="solid"/>
            <a:miter/>
          </a:ln>
        </p:spPr>
        <p:txBody>
          <a:bodyPr rtlCol="0" anchor="ctr"/>
          <a:lstStyle/>
          <a:p>
            <a:endParaRPr lang="de-DE"/>
          </a:p>
        </p:txBody>
      </p:sp>
      <p:sp>
        <p:nvSpPr>
          <p:cNvPr id="268" name="Freihandform: Form 267">
            <a:extLst>
              <a:ext uri="{FF2B5EF4-FFF2-40B4-BE49-F238E27FC236}">
                <a16:creationId xmlns:a16="http://schemas.microsoft.com/office/drawing/2014/main" id="{98A7D4AE-9DAA-4684-913D-90B430C810F7}"/>
              </a:ext>
            </a:extLst>
          </p:cNvPr>
          <p:cNvSpPr/>
          <p:nvPr userDrawn="1"/>
        </p:nvSpPr>
        <p:spPr>
          <a:xfrm>
            <a:off x="11841261" y="4405152"/>
            <a:ext cx="347243" cy="377540"/>
          </a:xfrm>
          <a:custGeom>
            <a:avLst/>
            <a:gdLst>
              <a:gd name="connsiteX0" fmla="*/ 158473 w 347243"/>
              <a:gd name="connsiteY0" fmla="*/ 377540 h 377540"/>
              <a:gd name="connsiteX1" fmla="*/ 0 w 347243"/>
              <a:gd name="connsiteY1" fmla="*/ 377540 h 377540"/>
              <a:gd name="connsiteX2" fmla="*/ 185274 w 347243"/>
              <a:gd name="connsiteY2" fmla="*/ 189935 h 377540"/>
              <a:gd name="connsiteX3" fmla="*/ 0 w 347243"/>
              <a:gd name="connsiteY3" fmla="*/ 0 h 377540"/>
              <a:gd name="connsiteX4" fmla="*/ 161969 w 347243"/>
              <a:gd name="connsiteY4" fmla="*/ 0 h 377540"/>
              <a:gd name="connsiteX5" fmla="*/ 347244 w 347243"/>
              <a:gd name="connsiteY5" fmla="*/ 185274 h 377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7243" h="377540">
                <a:moveTo>
                  <a:pt x="158473" y="377540"/>
                </a:moveTo>
                <a:lnTo>
                  <a:pt x="0" y="377540"/>
                </a:lnTo>
                <a:lnTo>
                  <a:pt x="185274" y="189935"/>
                </a:lnTo>
                <a:lnTo>
                  <a:pt x="0" y="0"/>
                </a:lnTo>
                <a:lnTo>
                  <a:pt x="161969" y="0"/>
                </a:lnTo>
                <a:lnTo>
                  <a:pt x="347244" y="185274"/>
                </a:lnTo>
                <a:close/>
              </a:path>
            </a:pathLst>
          </a:custGeom>
          <a:solidFill>
            <a:srgbClr val="EEF2F5"/>
          </a:solidFill>
          <a:ln w="11643" cap="flat">
            <a:noFill/>
            <a:prstDash val="solid"/>
            <a:miter/>
          </a:ln>
        </p:spPr>
        <p:txBody>
          <a:bodyPr rtlCol="0" anchor="ctr"/>
          <a:lstStyle/>
          <a:p>
            <a:endParaRPr lang="de-DE"/>
          </a:p>
        </p:txBody>
      </p:sp>
      <p:sp>
        <p:nvSpPr>
          <p:cNvPr id="269" name="Freihandform: Form 268">
            <a:extLst>
              <a:ext uri="{FF2B5EF4-FFF2-40B4-BE49-F238E27FC236}">
                <a16:creationId xmlns:a16="http://schemas.microsoft.com/office/drawing/2014/main" id="{65205431-CA52-4417-B021-25FD0C1E33F9}"/>
              </a:ext>
            </a:extLst>
          </p:cNvPr>
          <p:cNvSpPr/>
          <p:nvPr userDrawn="1"/>
        </p:nvSpPr>
        <p:spPr>
          <a:xfrm>
            <a:off x="11494017" y="3704837"/>
            <a:ext cx="330930" cy="358896"/>
          </a:xfrm>
          <a:custGeom>
            <a:avLst/>
            <a:gdLst>
              <a:gd name="connsiteX0" fmla="*/ 151482 w 330930"/>
              <a:gd name="connsiteY0" fmla="*/ 358896 h 358896"/>
              <a:gd name="connsiteX1" fmla="*/ 0 w 330930"/>
              <a:gd name="connsiteY1" fmla="*/ 358896 h 358896"/>
              <a:gd name="connsiteX2" fmla="*/ 177118 w 330930"/>
              <a:gd name="connsiteY2" fmla="*/ 180613 h 358896"/>
              <a:gd name="connsiteX3" fmla="*/ 0 w 330930"/>
              <a:gd name="connsiteY3" fmla="*/ 0 h 358896"/>
              <a:gd name="connsiteX4" fmla="*/ 154979 w 330930"/>
              <a:gd name="connsiteY4" fmla="*/ 0 h 358896"/>
              <a:gd name="connsiteX5" fmla="*/ 330931 w 330930"/>
              <a:gd name="connsiteY5" fmla="*/ 175953 h 358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930" h="358896">
                <a:moveTo>
                  <a:pt x="151482" y="358896"/>
                </a:moveTo>
                <a:lnTo>
                  <a:pt x="0" y="358896"/>
                </a:lnTo>
                <a:lnTo>
                  <a:pt x="177118" y="180613"/>
                </a:lnTo>
                <a:lnTo>
                  <a:pt x="0" y="0"/>
                </a:lnTo>
                <a:lnTo>
                  <a:pt x="154979" y="0"/>
                </a:lnTo>
                <a:lnTo>
                  <a:pt x="330931" y="175953"/>
                </a:lnTo>
                <a:close/>
              </a:path>
            </a:pathLst>
          </a:custGeom>
          <a:solidFill>
            <a:srgbClr val="EEF2F5"/>
          </a:solidFill>
          <a:ln w="11643" cap="flat">
            <a:noFill/>
            <a:prstDash val="solid"/>
            <a:miter/>
          </a:ln>
        </p:spPr>
        <p:txBody>
          <a:bodyPr rtlCol="0" anchor="ctr"/>
          <a:lstStyle/>
          <a:p>
            <a:endParaRPr lang="de-DE"/>
          </a:p>
        </p:txBody>
      </p:sp>
      <p:sp>
        <p:nvSpPr>
          <p:cNvPr id="270" name="Freihandform: Form 269">
            <a:extLst>
              <a:ext uri="{FF2B5EF4-FFF2-40B4-BE49-F238E27FC236}">
                <a16:creationId xmlns:a16="http://schemas.microsoft.com/office/drawing/2014/main" id="{54C328D2-472D-4AAA-B765-01BBCF86507D}"/>
              </a:ext>
            </a:extLst>
          </p:cNvPr>
          <p:cNvSpPr/>
          <p:nvPr userDrawn="1"/>
        </p:nvSpPr>
        <p:spPr>
          <a:xfrm>
            <a:off x="11494017" y="4059073"/>
            <a:ext cx="330930" cy="360061"/>
          </a:xfrm>
          <a:custGeom>
            <a:avLst/>
            <a:gdLst>
              <a:gd name="connsiteX0" fmla="*/ 151482 w 330930"/>
              <a:gd name="connsiteY0" fmla="*/ 360062 h 360061"/>
              <a:gd name="connsiteX1" fmla="*/ 0 w 330930"/>
              <a:gd name="connsiteY1" fmla="*/ 360062 h 360061"/>
              <a:gd name="connsiteX2" fmla="*/ 177118 w 330930"/>
              <a:gd name="connsiteY2" fmla="*/ 181779 h 360061"/>
              <a:gd name="connsiteX3" fmla="*/ 0 w 330930"/>
              <a:gd name="connsiteY3" fmla="*/ 0 h 360061"/>
              <a:gd name="connsiteX4" fmla="*/ 154979 w 330930"/>
              <a:gd name="connsiteY4" fmla="*/ 0 h 360061"/>
              <a:gd name="connsiteX5" fmla="*/ 330931 w 330930"/>
              <a:gd name="connsiteY5" fmla="*/ 177118 h 360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930" h="360061">
                <a:moveTo>
                  <a:pt x="151482" y="360062"/>
                </a:moveTo>
                <a:lnTo>
                  <a:pt x="0" y="360062"/>
                </a:lnTo>
                <a:lnTo>
                  <a:pt x="177118" y="181779"/>
                </a:lnTo>
                <a:lnTo>
                  <a:pt x="0" y="0"/>
                </a:lnTo>
                <a:lnTo>
                  <a:pt x="154979" y="0"/>
                </a:lnTo>
                <a:lnTo>
                  <a:pt x="330931" y="177118"/>
                </a:lnTo>
                <a:close/>
              </a:path>
            </a:pathLst>
          </a:custGeom>
          <a:solidFill>
            <a:srgbClr val="EEF2F5"/>
          </a:solidFill>
          <a:ln w="11643" cap="flat">
            <a:noFill/>
            <a:prstDash val="solid"/>
            <a:miter/>
          </a:ln>
        </p:spPr>
        <p:txBody>
          <a:bodyPr rtlCol="0" anchor="ctr"/>
          <a:lstStyle/>
          <a:p>
            <a:endParaRPr lang="de-DE"/>
          </a:p>
        </p:txBody>
      </p:sp>
      <p:sp>
        <p:nvSpPr>
          <p:cNvPr id="271" name="Freihandform: Form 270">
            <a:extLst>
              <a:ext uri="{FF2B5EF4-FFF2-40B4-BE49-F238E27FC236}">
                <a16:creationId xmlns:a16="http://schemas.microsoft.com/office/drawing/2014/main" id="{58A1ADF4-67BB-4B4F-97A2-C8981295C28E}"/>
              </a:ext>
            </a:extLst>
          </p:cNvPr>
          <p:cNvSpPr/>
          <p:nvPr userDrawn="1"/>
        </p:nvSpPr>
        <p:spPr>
          <a:xfrm>
            <a:off x="11494017" y="4414474"/>
            <a:ext cx="330930" cy="358896"/>
          </a:xfrm>
          <a:custGeom>
            <a:avLst/>
            <a:gdLst>
              <a:gd name="connsiteX0" fmla="*/ 151482 w 330930"/>
              <a:gd name="connsiteY0" fmla="*/ 358896 h 358896"/>
              <a:gd name="connsiteX1" fmla="*/ 0 w 330930"/>
              <a:gd name="connsiteY1" fmla="*/ 358896 h 358896"/>
              <a:gd name="connsiteX2" fmla="*/ 177118 w 330930"/>
              <a:gd name="connsiteY2" fmla="*/ 180613 h 358896"/>
              <a:gd name="connsiteX3" fmla="*/ 0 w 330930"/>
              <a:gd name="connsiteY3" fmla="*/ 0 h 358896"/>
              <a:gd name="connsiteX4" fmla="*/ 154979 w 330930"/>
              <a:gd name="connsiteY4" fmla="*/ 0 h 358896"/>
              <a:gd name="connsiteX5" fmla="*/ 330931 w 330930"/>
              <a:gd name="connsiteY5" fmla="*/ 175952 h 358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930" h="358896">
                <a:moveTo>
                  <a:pt x="151482" y="358896"/>
                </a:moveTo>
                <a:lnTo>
                  <a:pt x="0" y="358896"/>
                </a:lnTo>
                <a:lnTo>
                  <a:pt x="177118" y="180613"/>
                </a:lnTo>
                <a:lnTo>
                  <a:pt x="0" y="0"/>
                </a:lnTo>
                <a:lnTo>
                  <a:pt x="154979" y="0"/>
                </a:lnTo>
                <a:lnTo>
                  <a:pt x="330931" y="175952"/>
                </a:lnTo>
                <a:close/>
              </a:path>
            </a:pathLst>
          </a:custGeom>
          <a:solidFill>
            <a:srgbClr val="EEF2F5"/>
          </a:solidFill>
          <a:ln w="11643" cap="flat">
            <a:noFill/>
            <a:prstDash val="solid"/>
            <a:miter/>
          </a:ln>
        </p:spPr>
        <p:txBody>
          <a:bodyPr rtlCol="0" anchor="ctr"/>
          <a:lstStyle/>
          <a:p>
            <a:endParaRPr lang="de-DE"/>
          </a:p>
        </p:txBody>
      </p:sp>
      <p:sp>
        <p:nvSpPr>
          <p:cNvPr id="272" name="Freihandform: Form 271">
            <a:extLst>
              <a:ext uri="{FF2B5EF4-FFF2-40B4-BE49-F238E27FC236}">
                <a16:creationId xmlns:a16="http://schemas.microsoft.com/office/drawing/2014/main" id="{03415443-3F41-49F3-B60C-1201D9A263D5}"/>
              </a:ext>
            </a:extLst>
          </p:cNvPr>
          <p:cNvSpPr/>
          <p:nvPr userDrawn="1"/>
        </p:nvSpPr>
        <p:spPr>
          <a:xfrm>
            <a:off x="11494017" y="4768709"/>
            <a:ext cx="330930" cy="360061"/>
          </a:xfrm>
          <a:custGeom>
            <a:avLst/>
            <a:gdLst>
              <a:gd name="connsiteX0" fmla="*/ 151482 w 330930"/>
              <a:gd name="connsiteY0" fmla="*/ 360062 h 360061"/>
              <a:gd name="connsiteX1" fmla="*/ 0 w 330930"/>
              <a:gd name="connsiteY1" fmla="*/ 360062 h 360061"/>
              <a:gd name="connsiteX2" fmla="*/ 177118 w 330930"/>
              <a:gd name="connsiteY2" fmla="*/ 181779 h 360061"/>
              <a:gd name="connsiteX3" fmla="*/ 0 w 330930"/>
              <a:gd name="connsiteY3" fmla="*/ 0 h 360061"/>
              <a:gd name="connsiteX4" fmla="*/ 154979 w 330930"/>
              <a:gd name="connsiteY4" fmla="*/ 0 h 360061"/>
              <a:gd name="connsiteX5" fmla="*/ 330931 w 330930"/>
              <a:gd name="connsiteY5" fmla="*/ 177118 h 360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930" h="360061">
                <a:moveTo>
                  <a:pt x="151482" y="360062"/>
                </a:moveTo>
                <a:lnTo>
                  <a:pt x="0" y="360062"/>
                </a:lnTo>
                <a:lnTo>
                  <a:pt x="177118" y="181779"/>
                </a:lnTo>
                <a:lnTo>
                  <a:pt x="0" y="0"/>
                </a:lnTo>
                <a:lnTo>
                  <a:pt x="154979" y="0"/>
                </a:lnTo>
                <a:lnTo>
                  <a:pt x="330931" y="177118"/>
                </a:lnTo>
                <a:close/>
              </a:path>
            </a:pathLst>
          </a:custGeom>
          <a:solidFill>
            <a:srgbClr val="EEF2F5"/>
          </a:solidFill>
          <a:ln w="11643" cap="flat">
            <a:noFill/>
            <a:prstDash val="solid"/>
            <a:miter/>
          </a:ln>
        </p:spPr>
        <p:txBody>
          <a:bodyPr rtlCol="0" anchor="ctr"/>
          <a:lstStyle/>
          <a:p>
            <a:endParaRPr lang="de-DE"/>
          </a:p>
        </p:txBody>
      </p:sp>
      <p:sp>
        <p:nvSpPr>
          <p:cNvPr id="273" name="Freihandform: Form 272">
            <a:extLst>
              <a:ext uri="{FF2B5EF4-FFF2-40B4-BE49-F238E27FC236}">
                <a16:creationId xmlns:a16="http://schemas.microsoft.com/office/drawing/2014/main" id="{B563676F-D202-4871-9820-0E475258CF51}"/>
              </a:ext>
            </a:extLst>
          </p:cNvPr>
          <p:cNvSpPr/>
          <p:nvPr userDrawn="1"/>
        </p:nvSpPr>
        <p:spPr>
          <a:xfrm>
            <a:off x="11147939" y="3358759"/>
            <a:ext cx="314616" cy="341417"/>
          </a:xfrm>
          <a:custGeom>
            <a:avLst/>
            <a:gdLst>
              <a:gd name="connsiteX0" fmla="*/ 143325 w 314616"/>
              <a:gd name="connsiteY0" fmla="*/ 341418 h 341417"/>
              <a:gd name="connsiteX1" fmla="*/ 0 w 314616"/>
              <a:gd name="connsiteY1" fmla="*/ 341418 h 341417"/>
              <a:gd name="connsiteX2" fmla="*/ 167795 w 314616"/>
              <a:gd name="connsiteY2" fmla="*/ 172457 h 341417"/>
              <a:gd name="connsiteX3" fmla="*/ 0 w 314616"/>
              <a:gd name="connsiteY3" fmla="*/ 0 h 341417"/>
              <a:gd name="connsiteX4" fmla="*/ 146821 w 314616"/>
              <a:gd name="connsiteY4" fmla="*/ 0 h 341417"/>
              <a:gd name="connsiteX5" fmla="*/ 314617 w 314616"/>
              <a:gd name="connsiteY5" fmla="*/ 167796 h 341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4616" h="341417">
                <a:moveTo>
                  <a:pt x="143325" y="341418"/>
                </a:moveTo>
                <a:lnTo>
                  <a:pt x="0" y="341418"/>
                </a:lnTo>
                <a:lnTo>
                  <a:pt x="167795" y="172457"/>
                </a:lnTo>
                <a:lnTo>
                  <a:pt x="0" y="0"/>
                </a:lnTo>
                <a:lnTo>
                  <a:pt x="146821" y="0"/>
                </a:lnTo>
                <a:lnTo>
                  <a:pt x="314617" y="167796"/>
                </a:lnTo>
                <a:close/>
              </a:path>
            </a:pathLst>
          </a:custGeom>
          <a:solidFill>
            <a:srgbClr val="EEF2F5"/>
          </a:solidFill>
          <a:ln w="11643" cap="flat">
            <a:noFill/>
            <a:prstDash val="solid"/>
            <a:miter/>
          </a:ln>
        </p:spPr>
        <p:txBody>
          <a:bodyPr rtlCol="0" anchor="ctr"/>
          <a:lstStyle/>
          <a:p>
            <a:endParaRPr lang="de-DE"/>
          </a:p>
        </p:txBody>
      </p:sp>
      <p:sp>
        <p:nvSpPr>
          <p:cNvPr id="274" name="Freihandform: Form 273">
            <a:extLst>
              <a:ext uri="{FF2B5EF4-FFF2-40B4-BE49-F238E27FC236}">
                <a16:creationId xmlns:a16="http://schemas.microsoft.com/office/drawing/2014/main" id="{5D770B4B-8FDA-4BEE-9FFB-F30316599C4D}"/>
              </a:ext>
            </a:extLst>
          </p:cNvPr>
          <p:cNvSpPr/>
          <p:nvPr userDrawn="1"/>
        </p:nvSpPr>
        <p:spPr>
          <a:xfrm>
            <a:off x="11147939" y="3714159"/>
            <a:ext cx="314616" cy="340252"/>
          </a:xfrm>
          <a:custGeom>
            <a:avLst/>
            <a:gdLst>
              <a:gd name="connsiteX0" fmla="*/ 143325 w 314616"/>
              <a:gd name="connsiteY0" fmla="*/ 340252 h 340252"/>
              <a:gd name="connsiteX1" fmla="*/ 0 w 314616"/>
              <a:gd name="connsiteY1" fmla="*/ 340252 h 340252"/>
              <a:gd name="connsiteX2" fmla="*/ 167795 w 314616"/>
              <a:gd name="connsiteY2" fmla="*/ 171291 h 340252"/>
              <a:gd name="connsiteX3" fmla="*/ 0 w 314616"/>
              <a:gd name="connsiteY3" fmla="*/ 0 h 340252"/>
              <a:gd name="connsiteX4" fmla="*/ 146821 w 314616"/>
              <a:gd name="connsiteY4" fmla="*/ 0 h 340252"/>
              <a:gd name="connsiteX5" fmla="*/ 314617 w 314616"/>
              <a:gd name="connsiteY5" fmla="*/ 166631 h 340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4616" h="340252">
                <a:moveTo>
                  <a:pt x="143325" y="340252"/>
                </a:moveTo>
                <a:lnTo>
                  <a:pt x="0" y="340252"/>
                </a:lnTo>
                <a:lnTo>
                  <a:pt x="167795" y="171291"/>
                </a:lnTo>
                <a:lnTo>
                  <a:pt x="0" y="0"/>
                </a:lnTo>
                <a:lnTo>
                  <a:pt x="146821" y="0"/>
                </a:lnTo>
                <a:lnTo>
                  <a:pt x="314617" y="166631"/>
                </a:lnTo>
                <a:close/>
              </a:path>
            </a:pathLst>
          </a:custGeom>
          <a:solidFill>
            <a:srgbClr val="EEF2F5"/>
          </a:solidFill>
          <a:ln w="11643" cap="flat">
            <a:noFill/>
            <a:prstDash val="solid"/>
            <a:miter/>
          </a:ln>
        </p:spPr>
        <p:txBody>
          <a:bodyPr rtlCol="0" anchor="ctr"/>
          <a:lstStyle/>
          <a:p>
            <a:endParaRPr lang="de-DE"/>
          </a:p>
        </p:txBody>
      </p:sp>
      <p:sp>
        <p:nvSpPr>
          <p:cNvPr id="275" name="Freihandform: Form 274">
            <a:extLst>
              <a:ext uri="{FF2B5EF4-FFF2-40B4-BE49-F238E27FC236}">
                <a16:creationId xmlns:a16="http://schemas.microsoft.com/office/drawing/2014/main" id="{81054F7A-CDD6-4293-8A5B-F202CD55CF17}"/>
              </a:ext>
            </a:extLst>
          </p:cNvPr>
          <p:cNvSpPr/>
          <p:nvPr userDrawn="1"/>
        </p:nvSpPr>
        <p:spPr>
          <a:xfrm>
            <a:off x="11147939" y="4068395"/>
            <a:ext cx="314616" cy="341417"/>
          </a:xfrm>
          <a:custGeom>
            <a:avLst/>
            <a:gdLst>
              <a:gd name="connsiteX0" fmla="*/ 143325 w 314616"/>
              <a:gd name="connsiteY0" fmla="*/ 341418 h 341417"/>
              <a:gd name="connsiteX1" fmla="*/ 0 w 314616"/>
              <a:gd name="connsiteY1" fmla="*/ 341418 h 341417"/>
              <a:gd name="connsiteX2" fmla="*/ 167795 w 314616"/>
              <a:gd name="connsiteY2" fmla="*/ 172457 h 341417"/>
              <a:gd name="connsiteX3" fmla="*/ 0 w 314616"/>
              <a:gd name="connsiteY3" fmla="*/ 0 h 341417"/>
              <a:gd name="connsiteX4" fmla="*/ 146821 w 314616"/>
              <a:gd name="connsiteY4" fmla="*/ 0 h 341417"/>
              <a:gd name="connsiteX5" fmla="*/ 314617 w 314616"/>
              <a:gd name="connsiteY5" fmla="*/ 167796 h 341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4616" h="341417">
                <a:moveTo>
                  <a:pt x="143325" y="341418"/>
                </a:moveTo>
                <a:lnTo>
                  <a:pt x="0" y="341418"/>
                </a:lnTo>
                <a:lnTo>
                  <a:pt x="167795" y="172457"/>
                </a:lnTo>
                <a:lnTo>
                  <a:pt x="0" y="0"/>
                </a:lnTo>
                <a:lnTo>
                  <a:pt x="146821" y="0"/>
                </a:lnTo>
                <a:lnTo>
                  <a:pt x="314617" y="167796"/>
                </a:lnTo>
                <a:close/>
              </a:path>
            </a:pathLst>
          </a:custGeom>
          <a:solidFill>
            <a:srgbClr val="EEF2F5"/>
          </a:solidFill>
          <a:ln w="11643" cap="flat">
            <a:noFill/>
            <a:prstDash val="solid"/>
            <a:miter/>
          </a:ln>
        </p:spPr>
        <p:txBody>
          <a:bodyPr rtlCol="0" anchor="ctr"/>
          <a:lstStyle/>
          <a:p>
            <a:endParaRPr lang="de-DE"/>
          </a:p>
        </p:txBody>
      </p:sp>
      <p:sp>
        <p:nvSpPr>
          <p:cNvPr id="276" name="Freihandform: Form 275">
            <a:extLst>
              <a:ext uri="{FF2B5EF4-FFF2-40B4-BE49-F238E27FC236}">
                <a16:creationId xmlns:a16="http://schemas.microsoft.com/office/drawing/2014/main" id="{AC7F4FB6-F7E9-413D-A12F-625B3C9B48F7}"/>
              </a:ext>
            </a:extLst>
          </p:cNvPr>
          <p:cNvSpPr/>
          <p:nvPr userDrawn="1"/>
        </p:nvSpPr>
        <p:spPr>
          <a:xfrm>
            <a:off x="11147939" y="4423796"/>
            <a:ext cx="314616" cy="340252"/>
          </a:xfrm>
          <a:custGeom>
            <a:avLst/>
            <a:gdLst>
              <a:gd name="connsiteX0" fmla="*/ 143325 w 314616"/>
              <a:gd name="connsiteY0" fmla="*/ 340252 h 340252"/>
              <a:gd name="connsiteX1" fmla="*/ 0 w 314616"/>
              <a:gd name="connsiteY1" fmla="*/ 340252 h 340252"/>
              <a:gd name="connsiteX2" fmla="*/ 167795 w 314616"/>
              <a:gd name="connsiteY2" fmla="*/ 171291 h 340252"/>
              <a:gd name="connsiteX3" fmla="*/ 0 w 314616"/>
              <a:gd name="connsiteY3" fmla="*/ 0 h 340252"/>
              <a:gd name="connsiteX4" fmla="*/ 146821 w 314616"/>
              <a:gd name="connsiteY4" fmla="*/ 0 h 340252"/>
              <a:gd name="connsiteX5" fmla="*/ 314617 w 314616"/>
              <a:gd name="connsiteY5" fmla="*/ 167796 h 340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4616" h="340252">
                <a:moveTo>
                  <a:pt x="143325" y="340252"/>
                </a:moveTo>
                <a:lnTo>
                  <a:pt x="0" y="340252"/>
                </a:lnTo>
                <a:lnTo>
                  <a:pt x="167795" y="171291"/>
                </a:lnTo>
                <a:lnTo>
                  <a:pt x="0" y="0"/>
                </a:lnTo>
                <a:lnTo>
                  <a:pt x="146821" y="0"/>
                </a:lnTo>
                <a:lnTo>
                  <a:pt x="314617" y="167796"/>
                </a:lnTo>
                <a:close/>
              </a:path>
            </a:pathLst>
          </a:custGeom>
          <a:solidFill>
            <a:srgbClr val="EEF2F5"/>
          </a:solidFill>
          <a:ln w="11643" cap="flat">
            <a:noFill/>
            <a:prstDash val="solid"/>
            <a:miter/>
          </a:ln>
        </p:spPr>
        <p:txBody>
          <a:bodyPr rtlCol="0" anchor="ctr"/>
          <a:lstStyle/>
          <a:p>
            <a:endParaRPr lang="de-DE"/>
          </a:p>
        </p:txBody>
      </p:sp>
      <p:sp>
        <p:nvSpPr>
          <p:cNvPr id="277" name="Freihandform: Form 276">
            <a:extLst>
              <a:ext uri="{FF2B5EF4-FFF2-40B4-BE49-F238E27FC236}">
                <a16:creationId xmlns:a16="http://schemas.microsoft.com/office/drawing/2014/main" id="{E0FCE453-708E-4F94-ABB2-11D8FE79AB20}"/>
              </a:ext>
            </a:extLst>
          </p:cNvPr>
          <p:cNvSpPr/>
          <p:nvPr userDrawn="1"/>
        </p:nvSpPr>
        <p:spPr>
          <a:xfrm>
            <a:off x="11147939" y="4778031"/>
            <a:ext cx="314616" cy="341417"/>
          </a:xfrm>
          <a:custGeom>
            <a:avLst/>
            <a:gdLst>
              <a:gd name="connsiteX0" fmla="*/ 143325 w 314616"/>
              <a:gd name="connsiteY0" fmla="*/ 341418 h 341417"/>
              <a:gd name="connsiteX1" fmla="*/ 0 w 314616"/>
              <a:gd name="connsiteY1" fmla="*/ 341418 h 341417"/>
              <a:gd name="connsiteX2" fmla="*/ 167795 w 314616"/>
              <a:gd name="connsiteY2" fmla="*/ 172457 h 341417"/>
              <a:gd name="connsiteX3" fmla="*/ 0 w 314616"/>
              <a:gd name="connsiteY3" fmla="*/ 0 h 341417"/>
              <a:gd name="connsiteX4" fmla="*/ 146821 w 314616"/>
              <a:gd name="connsiteY4" fmla="*/ 0 h 341417"/>
              <a:gd name="connsiteX5" fmla="*/ 314617 w 314616"/>
              <a:gd name="connsiteY5" fmla="*/ 167796 h 341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4616" h="341417">
                <a:moveTo>
                  <a:pt x="143325" y="341418"/>
                </a:moveTo>
                <a:lnTo>
                  <a:pt x="0" y="341418"/>
                </a:lnTo>
                <a:lnTo>
                  <a:pt x="167795" y="172457"/>
                </a:lnTo>
                <a:lnTo>
                  <a:pt x="0" y="0"/>
                </a:lnTo>
                <a:lnTo>
                  <a:pt x="146821" y="0"/>
                </a:lnTo>
                <a:lnTo>
                  <a:pt x="314617" y="167796"/>
                </a:lnTo>
                <a:close/>
              </a:path>
            </a:pathLst>
          </a:custGeom>
          <a:solidFill>
            <a:srgbClr val="EEF2F5"/>
          </a:solidFill>
          <a:ln w="11643" cap="flat">
            <a:noFill/>
            <a:prstDash val="solid"/>
            <a:miter/>
          </a:ln>
        </p:spPr>
        <p:txBody>
          <a:bodyPr rtlCol="0" anchor="ctr"/>
          <a:lstStyle/>
          <a:p>
            <a:endParaRPr lang="de-DE"/>
          </a:p>
        </p:txBody>
      </p:sp>
      <p:sp>
        <p:nvSpPr>
          <p:cNvPr id="278" name="Freihandform: Form 277">
            <a:extLst>
              <a:ext uri="{FF2B5EF4-FFF2-40B4-BE49-F238E27FC236}">
                <a16:creationId xmlns:a16="http://schemas.microsoft.com/office/drawing/2014/main" id="{1688DC58-ADCC-47C8-9C44-0BF9CDA63828}"/>
              </a:ext>
            </a:extLst>
          </p:cNvPr>
          <p:cNvSpPr/>
          <p:nvPr userDrawn="1"/>
        </p:nvSpPr>
        <p:spPr>
          <a:xfrm>
            <a:off x="11147939" y="5133432"/>
            <a:ext cx="314616" cy="341417"/>
          </a:xfrm>
          <a:custGeom>
            <a:avLst/>
            <a:gdLst>
              <a:gd name="connsiteX0" fmla="*/ 143325 w 314616"/>
              <a:gd name="connsiteY0" fmla="*/ 341418 h 341417"/>
              <a:gd name="connsiteX1" fmla="*/ 0 w 314616"/>
              <a:gd name="connsiteY1" fmla="*/ 341418 h 341417"/>
              <a:gd name="connsiteX2" fmla="*/ 167795 w 314616"/>
              <a:gd name="connsiteY2" fmla="*/ 171292 h 341417"/>
              <a:gd name="connsiteX3" fmla="*/ 0 w 314616"/>
              <a:gd name="connsiteY3" fmla="*/ 0 h 341417"/>
              <a:gd name="connsiteX4" fmla="*/ 146821 w 314616"/>
              <a:gd name="connsiteY4" fmla="*/ 0 h 341417"/>
              <a:gd name="connsiteX5" fmla="*/ 314617 w 314616"/>
              <a:gd name="connsiteY5" fmla="*/ 167796 h 341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4616" h="341417">
                <a:moveTo>
                  <a:pt x="143325" y="341418"/>
                </a:moveTo>
                <a:lnTo>
                  <a:pt x="0" y="341418"/>
                </a:lnTo>
                <a:lnTo>
                  <a:pt x="167795" y="171292"/>
                </a:lnTo>
                <a:lnTo>
                  <a:pt x="0" y="0"/>
                </a:lnTo>
                <a:lnTo>
                  <a:pt x="146821" y="0"/>
                </a:lnTo>
                <a:lnTo>
                  <a:pt x="314617" y="167796"/>
                </a:lnTo>
                <a:close/>
              </a:path>
            </a:pathLst>
          </a:custGeom>
          <a:solidFill>
            <a:srgbClr val="EEF2F5"/>
          </a:solidFill>
          <a:ln w="11643" cap="flat">
            <a:noFill/>
            <a:prstDash val="solid"/>
            <a:miter/>
          </a:ln>
        </p:spPr>
        <p:txBody>
          <a:bodyPr rtlCol="0" anchor="ctr"/>
          <a:lstStyle/>
          <a:p>
            <a:endParaRPr lang="de-DE"/>
          </a:p>
        </p:txBody>
      </p:sp>
      <p:sp>
        <p:nvSpPr>
          <p:cNvPr id="279" name="Freihandform: Form 278">
            <a:extLst>
              <a:ext uri="{FF2B5EF4-FFF2-40B4-BE49-F238E27FC236}">
                <a16:creationId xmlns:a16="http://schemas.microsoft.com/office/drawing/2014/main" id="{4BBABDFE-BB76-4C3E-8755-4E50356E6B42}"/>
              </a:ext>
            </a:extLst>
          </p:cNvPr>
          <p:cNvSpPr/>
          <p:nvPr userDrawn="1"/>
        </p:nvSpPr>
        <p:spPr>
          <a:xfrm>
            <a:off x="10801860" y="3012680"/>
            <a:ext cx="297138" cy="323938"/>
          </a:xfrm>
          <a:custGeom>
            <a:avLst/>
            <a:gdLst>
              <a:gd name="connsiteX0" fmla="*/ 135168 w 297138"/>
              <a:gd name="connsiteY0" fmla="*/ 323939 h 323938"/>
              <a:gd name="connsiteX1" fmla="*/ 0 w 297138"/>
              <a:gd name="connsiteY1" fmla="*/ 323939 h 323938"/>
              <a:gd name="connsiteX2" fmla="*/ 158473 w 297138"/>
              <a:gd name="connsiteY2" fmla="*/ 163135 h 323938"/>
              <a:gd name="connsiteX3" fmla="*/ 0 w 297138"/>
              <a:gd name="connsiteY3" fmla="*/ 0 h 323938"/>
              <a:gd name="connsiteX4" fmla="*/ 138664 w 297138"/>
              <a:gd name="connsiteY4" fmla="*/ 0 h 323938"/>
              <a:gd name="connsiteX5" fmla="*/ 297138 w 297138"/>
              <a:gd name="connsiteY5" fmla="*/ 159639 h 323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3938">
                <a:moveTo>
                  <a:pt x="135168" y="323939"/>
                </a:moveTo>
                <a:lnTo>
                  <a:pt x="0" y="323939"/>
                </a:lnTo>
                <a:lnTo>
                  <a:pt x="158473" y="163135"/>
                </a:lnTo>
                <a:lnTo>
                  <a:pt x="0" y="0"/>
                </a:lnTo>
                <a:lnTo>
                  <a:pt x="138664" y="0"/>
                </a:lnTo>
                <a:lnTo>
                  <a:pt x="297138" y="159639"/>
                </a:lnTo>
                <a:close/>
              </a:path>
            </a:pathLst>
          </a:custGeom>
          <a:solidFill>
            <a:srgbClr val="EEF2F5"/>
          </a:solidFill>
          <a:ln w="11643" cap="flat">
            <a:noFill/>
            <a:prstDash val="solid"/>
            <a:miter/>
          </a:ln>
        </p:spPr>
        <p:txBody>
          <a:bodyPr rtlCol="0" anchor="ctr"/>
          <a:lstStyle/>
          <a:p>
            <a:endParaRPr lang="de-DE"/>
          </a:p>
        </p:txBody>
      </p:sp>
      <p:sp>
        <p:nvSpPr>
          <p:cNvPr id="280" name="Freihandform: Form 279">
            <a:extLst>
              <a:ext uri="{FF2B5EF4-FFF2-40B4-BE49-F238E27FC236}">
                <a16:creationId xmlns:a16="http://schemas.microsoft.com/office/drawing/2014/main" id="{98875BAD-35D6-4908-B226-48D549F12C09}"/>
              </a:ext>
            </a:extLst>
          </p:cNvPr>
          <p:cNvSpPr/>
          <p:nvPr userDrawn="1"/>
        </p:nvSpPr>
        <p:spPr>
          <a:xfrm>
            <a:off x="10801860" y="3368081"/>
            <a:ext cx="297138" cy="322773"/>
          </a:xfrm>
          <a:custGeom>
            <a:avLst/>
            <a:gdLst>
              <a:gd name="connsiteX0" fmla="*/ 135168 w 297138"/>
              <a:gd name="connsiteY0" fmla="*/ 322774 h 322773"/>
              <a:gd name="connsiteX1" fmla="*/ 0 w 297138"/>
              <a:gd name="connsiteY1" fmla="*/ 322774 h 322773"/>
              <a:gd name="connsiteX2" fmla="*/ 158473 w 297138"/>
              <a:gd name="connsiteY2" fmla="*/ 163135 h 322773"/>
              <a:gd name="connsiteX3" fmla="*/ 0 w 297138"/>
              <a:gd name="connsiteY3" fmla="*/ 0 h 322773"/>
              <a:gd name="connsiteX4" fmla="*/ 138664 w 297138"/>
              <a:gd name="connsiteY4" fmla="*/ 0 h 322773"/>
              <a:gd name="connsiteX5" fmla="*/ 297138 w 297138"/>
              <a:gd name="connsiteY5" fmla="*/ 158474 h 322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2773">
                <a:moveTo>
                  <a:pt x="135168" y="322774"/>
                </a:moveTo>
                <a:lnTo>
                  <a:pt x="0" y="322774"/>
                </a:lnTo>
                <a:lnTo>
                  <a:pt x="158473" y="163135"/>
                </a:lnTo>
                <a:lnTo>
                  <a:pt x="0" y="0"/>
                </a:lnTo>
                <a:lnTo>
                  <a:pt x="138664" y="0"/>
                </a:lnTo>
                <a:lnTo>
                  <a:pt x="297138" y="158474"/>
                </a:lnTo>
                <a:close/>
              </a:path>
            </a:pathLst>
          </a:custGeom>
          <a:solidFill>
            <a:srgbClr val="EEF2F5"/>
          </a:solidFill>
          <a:ln w="11643" cap="flat">
            <a:noFill/>
            <a:prstDash val="solid"/>
            <a:miter/>
          </a:ln>
        </p:spPr>
        <p:txBody>
          <a:bodyPr rtlCol="0" anchor="ctr"/>
          <a:lstStyle/>
          <a:p>
            <a:endParaRPr lang="de-DE"/>
          </a:p>
        </p:txBody>
      </p:sp>
      <p:sp>
        <p:nvSpPr>
          <p:cNvPr id="281" name="Freihandform: Form 280">
            <a:extLst>
              <a:ext uri="{FF2B5EF4-FFF2-40B4-BE49-F238E27FC236}">
                <a16:creationId xmlns:a16="http://schemas.microsoft.com/office/drawing/2014/main" id="{A3786D8D-2CF9-4026-A5B0-E8C239DB08E8}"/>
              </a:ext>
            </a:extLst>
          </p:cNvPr>
          <p:cNvSpPr/>
          <p:nvPr userDrawn="1"/>
        </p:nvSpPr>
        <p:spPr>
          <a:xfrm>
            <a:off x="10801860" y="3722316"/>
            <a:ext cx="297138" cy="323938"/>
          </a:xfrm>
          <a:custGeom>
            <a:avLst/>
            <a:gdLst>
              <a:gd name="connsiteX0" fmla="*/ 135168 w 297138"/>
              <a:gd name="connsiteY0" fmla="*/ 323939 h 323938"/>
              <a:gd name="connsiteX1" fmla="*/ 0 w 297138"/>
              <a:gd name="connsiteY1" fmla="*/ 323939 h 323938"/>
              <a:gd name="connsiteX2" fmla="*/ 158473 w 297138"/>
              <a:gd name="connsiteY2" fmla="*/ 163135 h 323938"/>
              <a:gd name="connsiteX3" fmla="*/ 0 w 297138"/>
              <a:gd name="connsiteY3" fmla="*/ 0 h 323938"/>
              <a:gd name="connsiteX4" fmla="*/ 138664 w 297138"/>
              <a:gd name="connsiteY4" fmla="*/ 0 h 323938"/>
              <a:gd name="connsiteX5" fmla="*/ 297138 w 297138"/>
              <a:gd name="connsiteY5" fmla="*/ 159639 h 323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3938">
                <a:moveTo>
                  <a:pt x="135168" y="323939"/>
                </a:moveTo>
                <a:lnTo>
                  <a:pt x="0" y="323939"/>
                </a:lnTo>
                <a:lnTo>
                  <a:pt x="158473" y="163135"/>
                </a:lnTo>
                <a:lnTo>
                  <a:pt x="0" y="0"/>
                </a:lnTo>
                <a:lnTo>
                  <a:pt x="138664" y="0"/>
                </a:lnTo>
                <a:lnTo>
                  <a:pt x="297138" y="159639"/>
                </a:lnTo>
                <a:close/>
              </a:path>
            </a:pathLst>
          </a:custGeom>
          <a:solidFill>
            <a:srgbClr val="EEF2F5"/>
          </a:solidFill>
          <a:ln w="11643" cap="flat">
            <a:noFill/>
            <a:prstDash val="solid"/>
            <a:miter/>
          </a:ln>
        </p:spPr>
        <p:txBody>
          <a:bodyPr rtlCol="0" anchor="ctr"/>
          <a:lstStyle/>
          <a:p>
            <a:endParaRPr lang="de-DE"/>
          </a:p>
        </p:txBody>
      </p:sp>
      <p:sp>
        <p:nvSpPr>
          <p:cNvPr id="282" name="Freihandform: Form 281">
            <a:extLst>
              <a:ext uri="{FF2B5EF4-FFF2-40B4-BE49-F238E27FC236}">
                <a16:creationId xmlns:a16="http://schemas.microsoft.com/office/drawing/2014/main" id="{AEC1ECE3-8272-4B6A-A4AD-2D7BCC4A4396}"/>
              </a:ext>
            </a:extLst>
          </p:cNvPr>
          <p:cNvSpPr/>
          <p:nvPr userDrawn="1"/>
        </p:nvSpPr>
        <p:spPr>
          <a:xfrm>
            <a:off x="10801860" y="4077717"/>
            <a:ext cx="297138" cy="322773"/>
          </a:xfrm>
          <a:custGeom>
            <a:avLst/>
            <a:gdLst>
              <a:gd name="connsiteX0" fmla="*/ 135168 w 297138"/>
              <a:gd name="connsiteY0" fmla="*/ 322774 h 322773"/>
              <a:gd name="connsiteX1" fmla="*/ 0 w 297138"/>
              <a:gd name="connsiteY1" fmla="*/ 322774 h 322773"/>
              <a:gd name="connsiteX2" fmla="*/ 158473 w 297138"/>
              <a:gd name="connsiteY2" fmla="*/ 163135 h 322773"/>
              <a:gd name="connsiteX3" fmla="*/ 0 w 297138"/>
              <a:gd name="connsiteY3" fmla="*/ 0 h 322773"/>
              <a:gd name="connsiteX4" fmla="*/ 138664 w 297138"/>
              <a:gd name="connsiteY4" fmla="*/ 0 h 322773"/>
              <a:gd name="connsiteX5" fmla="*/ 297138 w 297138"/>
              <a:gd name="connsiteY5" fmla="*/ 158474 h 322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2773">
                <a:moveTo>
                  <a:pt x="135168" y="322774"/>
                </a:moveTo>
                <a:lnTo>
                  <a:pt x="0" y="322774"/>
                </a:lnTo>
                <a:lnTo>
                  <a:pt x="158473" y="163135"/>
                </a:lnTo>
                <a:lnTo>
                  <a:pt x="0" y="0"/>
                </a:lnTo>
                <a:lnTo>
                  <a:pt x="138664" y="0"/>
                </a:lnTo>
                <a:lnTo>
                  <a:pt x="297138" y="158474"/>
                </a:lnTo>
                <a:close/>
              </a:path>
            </a:pathLst>
          </a:custGeom>
          <a:solidFill>
            <a:srgbClr val="EEF2F5"/>
          </a:solidFill>
          <a:ln w="11643" cap="flat">
            <a:noFill/>
            <a:prstDash val="solid"/>
            <a:miter/>
          </a:ln>
        </p:spPr>
        <p:txBody>
          <a:bodyPr rtlCol="0" anchor="ctr"/>
          <a:lstStyle/>
          <a:p>
            <a:endParaRPr lang="de-DE"/>
          </a:p>
        </p:txBody>
      </p:sp>
      <p:sp>
        <p:nvSpPr>
          <p:cNvPr id="283" name="Freihandform: Form 282">
            <a:extLst>
              <a:ext uri="{FF2B5EF4-FFF2-40B4-BE49-F238E27FC236}">
                <a16:creationId xmlns:a16="http://schemas.microsoft.com/office/drawing/2014/main" id="{AE0C999C-538B-4F36-A290-CBF6573F3D46}"/>
              </a:ext>
            </a:extLst>
          </p:cNvPr>
          <p:cNvSpPr/>
          <p:nvPr userDrawn="1"/>
        </p:nvSpPr>
        <p:spPr>
          <a:xfrm>
            <a:off x="10801860" y="4431952"/>
            <a:ext cx="297138" cy="323938"/>
          </a:xfrm>
          <a:custGeom>
            <a:avLst/>
            <a:gdLst>
              <a:gd name="connsiteX0" fmla="*/ 135168 w 297138"/>
              <a:gd name="connsiteY0" fmla="*/ 323939 h 323938"/>
              <a:gd name="connsiteX1" fmla="*/ 0 w 297138"/>
              <a:gd name="connsiteY1" fmla="*/ 323939 h 323938"/>
              <a:gd name="connsiteX2" fmla="*/ 158473 w 297138"/>
              <a:gd name="connsiteY2" fmla="*/ 163135 h 323938"/>
              <a:gd name="connsiteX3" fmla="*/ 0 w 297138"/>
              <a:gd name="connsiteY3" fmla="*/ 0 h 323938"/>
              <a:gd name="connsiteX4" fmla="*/ 138664 w 297138"/>
              <a:gd name="connsiteY4" fmla="*/ 0 h 323938"/>
              <a:gd name="connsiteX5" fmla="*/ 297138 w 297138"/>
              <a:gd name="connsiteY5" fmla="*/ 159639 h 323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3938">
                <a:moveTo>
                  <a:pt x="135168" y="323939"/>
                </a:moveTo>
                <a:lnTo>
                  <a:pt x="0" y="323939"/>
                </a:lnTo>
                <a:lnTo>
                  <a:pt x="158473" y="163135"/>
                </a:lnTo>
                <a:lnTo>
                  <a:pt x="0" y="0"/>
                </a:lnTo>
                <a:lnTo>
                  <a:pt x="138664" y="0"/>
                </a:lnTo>
                <a:lnTo>
                  <a:pt x="297138" y="159639"/>
                </a:lnTo>
                <a:close/>
              </a:path>
            </a:pathLst>
          </a:custGeom>
          <a:solidFill>
            <a:srgbClr val="EEF2F5"/>
          </a:solidFill>
          <a:ln w="11643" cap="flat">
            <a:noFill/>
            <a:prstDash val="solid"/>
            <a:miter/>
          </a:ln>
        </p:spPr>
        <p:txBody>
          <a:bodyPr rtlCol="0" anchor="ctr"/>
          <a:lstStyle/>
          <a:p>
            <a:endParaRPr lang="de-DE"/>
          </a:p>
        </p:txBody>
      </p:sp>
      <p:sp>
        <p:nvSpPr>
          <p:cNvPr id="284" name="Freihandform: Form 283">
            <a:extLst>
              <a:ext uri="{FF2B5EF4-FFF2-40B4-BE49-F238E27FC236}">
                <a16:creationId xmlns:a16="http://schemas.microsoft.com/office/drawing/2014/main" id="{9674E7D6-971D-46D3-B314-1208718A631D}"/>
              </a:ext>
            </a:extLst>
          </p:cNvPr>
          <p:cNvSpPr/>
          <p:nvPr userDrawn="1"/>
        </p:nvSpPr>
        <p:spPr>
          <a:xfrm>
            <a:off x="10801860" y="4787353"/>
            <a:ext cx="297138" cy="322773"/>
          </a:xfrm>
          <a:custGeom>
            <a:avLst/>
            <a:gdLst>
              <a:gd name="connsiteX0" fmla="*/ 135168 w 297138"/>
              <a:gd name="connsiteY0" fmla="*/ 322774 h 322773"/>
              <a:gd name="connsiteX1" fmla="*/ 0 w 297138"/>
              <a:gd name="connsiteY1" fmla="*/ 322774 h 322773"/>
              <a:gd name="connsiteX2" fmla="*/ 158473 w 297138"/>
              <a:gd name="connsiteY2" fmla="*/ 163135 h 322773"/>
              <a:gd name="connsiteX3" fmla="*/ 0 w 297138"/>
              <a:gd name="connsiteY3" fmla="*/ 0 h 322773"/>
              <a:gd name="connsiteX4" fmla="*/ 138664 w 297138"/>
              <a:gd name="connsiteY4" fmla="*/ 0 h 322773"/>
              <a:gd name="connsiteX5" fmla="*/ 297138 w 297138"/>
              <a:gd name="connsiteY5" fmla="*/ 158474 h 322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2773">
                <a:moveTo>
                  <a:pt x="135168" y="322774"/>
                </a:moveTo>
                <a:lnTo>
                  <a:pt x="0" y="322774"/>
                </a:lnTo>
                <a:lnTo>
                  <a:pt x="158473" y="163135"/>
                </a:lnTo>
                <a:lnTo>
                  <a:pt x="0" y="0"/>
                </a:lnTo>
                <a:lnTo>
                  <a:pt x="138664" y="0"/>
                </a:lnTo>
                <a:lnTo>
                  <a:pt x="297138" y="158474"/>
                </a:lnTo>
                <a:close/>
              </a:path>
            </a:pathLst>
          </a:custGeom>
          <a:solidFill>
            <a:srgbClr val="EEF2F5"/>
          </a:solidFill>
          <a:ln w="11643" cap="flat">
            <a:noFill/>
            <a:prstDash val="solid"/>
            <a:miter/>
          </a:ln>
        </p:spPr>
        <p:txBody>
          <a:bodyPr rtlCol="0" anchor="ctr"/>
          <a:lstStyle/>
          <a:p>
            <a:endParaRPr lang="de-DE"/>
          </a:p>
        </p:txBody>
      </p:sp>
      <p:sp>
        <p:nvSpPr>
          <p:cNvPr id="285" name="Freihandform: Form 284">
            <a:extLst>
              <a:ext uri="{FF2B5EF4-FFF2-40B4-BE49-F238E27FC236}">
                <a16:creationId xmlns:a16="http://schemas.microsoft.com/office/drawing/2014/main" id="{C0A29B2A-FB03-4D46-B29E-FADF405DF664}"/>
              </a:ext>
            </a:extLst>
          </p:cNvPr>
          <p:cNvSpPr/>
          <p:nvPr userDrawn="1"/>
        </p:nvSpPr>
        <p:spPr>
          <a:xfrm>
            <a:off x="10801860" y="5141588"/>
            <a:ext cx="297138" cy="323938"/>
          </a:xfrm>
          <a:custGeom>
            <a:avLst/>
            <a:gdLst>
              <a:gd name="connsiteX0" fmla="*/ 135168 w 297138"/>
              <a:gd name="connsiteY0" fmla="*/ 323939 h 323938"/>
              <a:gd name="connsiteX1" fmla="*/ 0 w 297138"/>
              <a:gd name="connsiteY1" fmla="*/ 323939 h 323938"/>
              <a:gd name="connsiteX2" fmla="*/ 158473 w 297138"/>
              <a:gd name="connsiteY2" fmla="*/ 163135 h 323938"/>
              <a:gd name="connsiteX3" fmla="*/ 0 w 297138"/>
              <a:gd name="connsiteY3" fmla="*/ 0 h 323938"/>
              <a:gd name="connsiteX4" fmla="*/ 138664 w 297138"/>
              <a:gd name="connsiteY4" fmla="*/ 0 h 323938"/>
              <a:gd name="connsiteX5" fmla="*/ 297138 w 297138"/>
              <a:gd name="connsiteY5" fmla="*/ 159639 h 323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3938">
                <a:moveTo>
                  <a:pt x="135168" y="323939"/>
                </a:moveTo>
                <a:lnTo>
                  <a:pt x="0" y="323939"/>
                </a:lnTo>
                <a:lnTo>
                  <a:pt x="158473" y="163135"/>
                </a:lnTo>
                <a:lnTo>
                  <a:pt x="0" y="0"/>
                </a:lnTo>
                <a:lnTo>
                  <a:pt x="138664" y="0"/>
                </a:lnTo>
                <a:lnTo>
                  <a:pt x="297138" y="159639"/>
                </a:lnTo>
                <a:close/>
              </a:path>
            </a:pathLst>
          </a:custGeom>
          <a:solidFill>
            <a:srgbClr val="EEF2F5"/>
          </a:solidFill>
          <a:ln w="11643" cap="flat">
            <a:noFill/>
            <a:prstDash val="solid"/>
            <a:miter/>
          </a:ln>
        </p:spPr>
        <p:txBody>
          <a:bodyPr rtlCol="0" anchor="ctr"/>
          <a:lstStyle/>
          <a:p>
            <a:endParaRPr lang="de-DE"/>
          </a:p>
        </p:txBody>
      </p:sp>
      <p:sp>
        <p:nvSpPr>
          <p:cNvPr id="286" name="Freihandform: Form 285">
            <a:extLst>
              <a:ext uri="{FF2B5EF4-FFF2-40B4-BE49-F238E27FC236}">
                <a16:creationId xmlns:a16="http://schemas.microsoft.com/office/drawing/2014/main" id="{76B80CB3-70F6-43A2-8457-55ED0DB8131D}"/>
              </a:ext>
            </a:extLst>
          </p:cNvPr>
          <p:cNvSpPr/>
          <p:nvPr userDrawn="1"/>
        </p:nvSpPr>
        <p:spPr>
          <a:xfrm>
            <a:off x="10801860" y="5496989"/>
            <a:ext cx="297138" cy="322773"/>
          </a:xfrm>
          <a:custGeom>
            <a:avLst/>
            <a:gdLst>
              <a:gd name="connsiteX0" fmla="*/ 135168 w 297138"/>
              <a:gd name="connsiteY0" fmla="*/ 322773 h 322773"/>
              <a:gd name="connsiteX1" fmla="*/ 0 w 297138"/>
              <a:gd name="connsiteY1" fmla="*/ 322773 h 322773"/>
              <a:gd name="connsiteX2" fmla="*/ 158473 w 297138"/>
              <a:gd name="connsiteY2" fmla="*/ 163135 h 322773"/>
              <a:gd name="connsiteX3" fmla="*/ 0 w 297138"/>
              <a:gd name="connsiteY3" fmla="*/ 0 h 322773"/>
              <a:gd name="connsiteX4" fmla="*/ 138664 w 297138"/>
              <a:gd name="connsiteY4" fmla="*/ 0 h 322773"/>
              <a:gd name="connsiteX5" fmla="*/ 297138 w 297138"/>
              <a:gd name="connsiteY5" fmla="*/ 158473 h 322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2773">
                <a:moveTo>
                  <a:pt x="135168" y="322773"/>
                </a:moveTo>
                <a:lnTo>
                  <a:pt x="0" y="322773"/>
                </a:lnTo>
                <a:lnTo>
                  <a:pt x="158473" y="163135"/>
                </a:lnTo>
                <a:lnTo>
                  <a:pt x="0" y="0"/>
                </a:lnTo>
                <a:lnTo>
                  <a:pt x="138664" y="0"/>
                </a:lnTo>
                <a:lnTo>
                  <a:pt x="297138" y="158473"/>
                </a:lnTo>
                <a:close/>
              </a:path>
            </a:pathLst>
          </a:custGeom>
          <a:solidFill>
            <a:srgbClr val="EEF2F5"/>
          </a:solidFill>
          <a:ln w="11643" cap="flat">
            <a:noFill/>
            <a:prstDash val="solid"/>
            <a:miter/>
          </a:ln>
        </p:spPr>
        <p:txBody>
          <a:bodyPr rtlCol="0" anchor="ctr"/>
          <a:lstStyle/>
          <a:p>
            <a:endParaRPr lang="de-DE"/>
          </a:p>
        </p:txBody>
      </p:sp>
      <p:sp>
        <p:nvSpPr>
          <p:cNvPr id="287" name="Freihandform: Form 286">
            <a:extLst>
              <a:ext uri="{FF2B5EF4-FFF2-40B4-BE49-F238E27FC236}">
                <a16:creationId xmlns:a16="http://schemas.microsoft.com/office/drawing/2014/main" id="{51E8753E-88FE-4F15-A45C-78FC0A40E063}"/>
              </a:ext>
            </a:extLst>
          </p:cNvPr>
          <p:cNvSpPr/>
          <p:nvPr userDrawn="1"/>
        </p:nvSpPr>
        <p:spPr>
          <a:xfrm>
            <a:off x="10454616" y="2667767"/>
            <a:ext cx="280824" cy="304129"/>
          </a:xfrm>
          <a:custGeom>
            <a:avLst/>
            <a:gdLst>
              <a:gd name="connsiteX0" fmla="*/ 129343 w 280824"/>
              <a:gd name="connsiteY0" fmla="*/ 304130 h 304129"/>
              <a:gd name="connsiteX1" fmla="*/ 0 w 280824"/>
              <a:gd name="connsiteY1" fmla="*/ 304130 h 304129"/>
              <a:gd name="connsiteX2" fmla="*/ 150317 w 280824"/>
              <a:gd name="connsiteY2" fmla="*/ 153813 h 304129"/>
              <a:gd name="connsiteX3" fmla="*/ 0 w 280824"/>
              <a:gd name="connsiteY3" fmla="*/ 0 h 304129"/>
              <a:gd name="connsiteX4" fmla="*/ 131673 w 280824"/>
              <a:gd name="connsiteY4" fmla="*/ 0 h 304129"/>
              <a:gd name="connsiteX5" fmla="*/ 280825 w 280824"/>
              <a:gd name="connsiteY5" fmla="*/ 149152 h 304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4129">
                <a:moveTo>
                  <a:pt x="129343" y="304130"/>
                </a:moveTo>
                <a:lnTo>
                  <a:pt x="0" y="304130"/>
                </a:lnTo>
                <a:lnTo>
                  <a:pt x="150317" y="153813"/>
                </a:lnTo>
                <a:lnTo>
                  <a:pt x="0" y="0"/>
                </a:lnTo>
                <a:lnTo>
                  <a:pt x="131673" y="0"/>
                </a:lnTo>
                <a:lnTo>
                  <a:pt x="280825" y="149152"/>
                </a:lnTo>
                <a:close/>
              </a:path>
            </a:pathLst>
          </a:custGeom>
          <a:solidFill>
            <a:srgbClr val="EEF2F5"/>
          </a:solidFill>
          <a:ln w="11643" cap="flat">
            <a:noFill/>
            <a:prstDash val="solid"/>
            <a:miter/>
          </a:ln>
        </p:spPr>
        <p:txBody>
          <a:bodyPr rtlCol="0" anchor="ctr"/>
          <a:lstStyle/>
          <a:p>
            <a:endParaRPr lang="de-DE"/>
          </a:p>
        </p:txBody>
      </p:sp>
      <p:sp>
        <p:nvSpPr>
          <p:cNvPr id="288" name="Freihandform: Form 287">
            <a:extLst>
              <a:ext uri="{FF2B5EF4-FFF2-40B4-BE49-F238E27FC236}">
                <a16:creationId xmlns:a16="http://schemas.microsoft.com/office/drawing/2014/main" id="{DDA6218D-1A23-4223-8FA4-6C66FF0014BF}"/>
              </a:ext>
            </a:extLst>
          </p:cNvPr>
          <p:cNvSpPr/>
          <p:nvPr userDrawn="1"/>
        </p:nvSpPr>
        <p:spPr>
          <a:xfrm>
            <a:off x="10454616" y="3022002"/>
            <a:ext cx="280824" cy="305294"/>
          </a:xfrm>
          <a:custGeom>
            <a:avLst/>
            <a:gdLst>
              <a:gd name="connsiteX0" fmla="*/ 129343 w 280824"/>
              <a:gd name="connsiteY0" fmla="*/ 305295 h 305294"/>
              <a:gd name="connsiteX1" fmla="*/ 0 w 280824"/>
              <a:gd name="connsiteY1" fmla="*/ 305295 h 305294"/>
              <a:gd name="connsiteX2" fmla="*/ 150317 w 280824"/>
              <a:gd name="connsiteY2" fmla="*/ 153813 h 305294"/>
              <a:gd name="connsiteX3" fmla="*/ 0 w 280824"/>
              <a:gd name="connsiteY3" fmla="*/ 0 h 305294"/>
              <a:gd name="connsiteX4" fmla="*/ 131673 w 280824"/>
              <a:gd name="connsiteY4" fmla="*/ 0 h 305294"/>
              <a:gd name="connsiteX5" fmla="*/ 280825 w 280824"/>
              <a:gd name="connsiteY5" fmla="*/ 150317 h 305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5294">
                <a:moveTo>
                  <a:pt x="129343" y="305295"/>
                </a:moveTo>
                <a:lnTo>
                  <a:pt x="0" y="305295"/>
                </a:lnTo>
                <a:lnTo>
                  <a:pt x="150317" y="153813"/>
                </a:lnTo>
                <a:lnTo>
                  <a:pt x="0" y="0"/>
                </a:lnTo>
                <a:lnTo>
                  <a:pt x="131673" y="0"/>
                </a:lnTo>
                <a:lnTo>
                  <a:pt x="280825" y="150317"/>
                </a:lnTo>
                <a:close/>
              </a:path>
            </a:pathLst>
          </a:custGeom>
          <a:solidFill>
            <a:srgbClr val="EEF2F5"/>
          </a:solidFill>
          <a:ln w="11643" cap="flat">
            <a:noFill/>
            <a:prstDash val="solid"/>
            <a:miter/>
          </a:ln>
        </p:spPr>
        <p:txBody>
          <a:bodyPr rtlCol="0" anchor="ctr"/>
          <a:lstStyle/>
          <a:p>
            <a:endParaRPr lang="de-DE"/>
          </a:p>
        </p:txBody>
      </p:sp>
      <p:sp>
        <p:nvSpPr>
          <p:cNvPr id="289" name="Freihandform: Form 288">
            <a:extLst>
              <a:ext uri="{FF2B5EF4-FFF2-40B4-BE49-F238E27FC236}">
                <a16:creationId xmlns:a16="http://schemas.microsoft.com/office/drawing/2014/main" id="{CA02237A-C045-4677-A7CD-4AE467EBE9F6}"/>
              </a:ext>
            </a:extLst>
          </p:cNvPr>
          <p:cNvSpPr/>
          <p:nvPr userDrawn="1"/>
        </p:nvSpPr>
        <p:spPr>
          <a:xfrm>
            <a:off x="10454616" y="3377403"/>
            <a:ext cx="280824" cy="304129"/>
          </a:xfrm>
          <a:custGeom>
            <a:avLst/>
            <a:gdLst>
              <a:gd name="connsiteX0" fmla="*/ 129343 w 280824"/>
              <a:gd name="connsiteY0" fmla="*/ 304130 h 304129"/>
              <a:gd name="connsiteX1" fmla="*/ 0 w 280824"/>
              <a:gd name="connsiteY1" fmla="*/ 304130 h 304129"/>
              <a:gd name="connsiteX2" fmla="*/ 150317 w 280824"/>
              <a:gd name="connsiteY2" fmla="*/ 153813 h 304129"/>
              <a:gd name="connsiteX3" fmla="*/ 0 w 280824"/>
              <a:gd name="connsiteY3" fmla="*/ 0 h 304129"/>
              <a:gd name="connsiteX4" fmla="*/ 131673 w 280824"/>
              <a:gd name="connsiteY4" fmla="*/ 0 h 304129"/>
              <a:gd name="connsiteX5" fmla="*/ 280825 w 280824"/>
              <a:gd name="connsiteY5" fmla="*/ 149152 h 304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4129">
                <a:moveTo>
                  <a:pt x="129343" y="304130"/>
                </a:moveTo>
                <a:lnTo>
                  <a:pt x="0" y="304130"/>
                </a:lnTo>
                <a:lnTo>
                  <a:pt x="150317" y="153813"/>
                </a:lnTo>
                <a:lnTo>
                  <a:pt x="0" y="0"/>
                </a:lnTo>
                <a:lnTo>
                  <a:pt x="131673" y="0"/>
                </a:lnTo>
                <a:lnTo>
                  <a:pt x="280825" y="149152"/>
                </a:lnTo>
                <a:close/>
              </a:path>
            </a:pathLst>
          </a:custGeom>
          <a:solidFill>
            <a:srgbClr val="EEF2F5"/>
          </a:solidFill>
          <a:ln w="11643" cap="flat">
            <a:noFill/>
            <a:prstDash val="solid"/>
            <a:miter/>
          </a:ln>
        </p:spPr>
        <p:txBody>
          <a:bodyPr rtlCol="0" anchor="ctr"/>
          <a:lstStyle/>
          <a:p>
            <a:endParaRPr lang="de-DE"/>
          </a:p>
        </p:txBody>
      </p:sp>
      <p:sp>
        <p:nvSpPr>
          <p:cNvPr id="290" name="Freihandform: Form 289">
            <a:extLst>
              <a:ext uri="{FF2B5EF4-FFF2-40B4-BE49-F238E27FC236}">
                <a16:creationId xmlns:a16="http://schemas.microsoft.com/office/drawing/2014/main" id="{48D1FA81-8ADF-4419-B180-C2A93B810128}"/>
              </a:ext>
            </a:extLst>
          </p:cNvPr>
          <p:cNvSpPr/>
          <p:nvPr userDrawn="1"/>
        </p:nvSpPr>
        <p:spPr>
          <a:xfrm>
            <a:off x="10454616" y="3731638"/>
            <a:ext cx="280824" cy="305294"/>
          </a:xfrm>
          <a:custGeom>
            <a:avLst/>
            <a:gdLst>
              <a:gd name="connsiteX0" fmla="*/ 129343 w 280824"/>
              <a:gd name="connsiteY0" fmla="*/ 305295 h 305294"/>
              <a:gd name="connsiteX1" fmla="*/ 0 w 280824"/>
              <a:gd name="connsiteY1" fmla="*/ 305295 h 305294"/>
              <a:gd name="connsiteX2" fmla="*/ 150317 w 280824"/>
              <a:gd name="connsiteY2" fmla="*/ 153813 h 305294"/>
              <a:gd name="connsiteX3" fmla="*/ 0 w 280824"/>
              <a:gd name="connsiteY3" fmla="*/ 0 h 305294"/>
              <a:gd name="connsiteX4" fmla="*/ 131673 w 280824"/>
              <a:gd name="connsiteY4" fmla="*/ 0 h 305294"/>
              <a:gd name="connsiteX5" fmla="*/ 280825 w 280824"/>
              <a:gd name="connsiteY5" fmla="*/ 150317 h 305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5294">
                <a:moveTo>
                  <a:pt x="129343" y="305295"/>
                </a:moveTo>
                <a:lnTo>
                  <a:pt x="0" y="305295"/>
                </a:lnTo>
                <a:lnTo>
                  <a:pt x="150317" y="153813"/>
                </a:lnTo>
                <a:lnTo>
                  <a:pt x="0" y="0"/>
                </a:lnTo>
                <a:lnTo>
                  <a:pt x="131673" y="0"/>
                </a:lnTo>
                <a:lnTo>
                  <a:pt x="280825" y="150317"/>
                </a:lnTo>
                <a:close/>
              </a:path>
            </a:pathLst>
          </a:custGeom>
          <a:solidFill>
            <a:srgbClr val="EEF2F5"/>
          </a:solidFill>
          <a:ln w="11643" cap="flat">
            <a:noFill/>
            <a:prstDash val="solid"/>
            <a:miter/>
          </a:ln>
        </p:spPr>
        <p:txBody>
          <a:bodyPr rtlCol="0" anchor="ctr"/>
          <a:lstStyle/>
          <a:p>
            <a:endParaRPr lang="de-DE"/>
          </a:p>
        </p:txBody>
      </p:sp>
      <p:sp>
        <p:nvSpPr>
          <p:cNvPr id="291" name="Freihandform: Form 290">
            <a:extLst>
              <a:ext uri="{FF2B5EF4-FFF2-40B4-BE49-F238E27FC236}">
                <a16:creationId xmlns:a16="http://schemas.microsoft.com/office/drawing/2014/main" id="{2227A2BB-D536-4940-8682-81393A39BE65}"/>
              </a:ext>
            </a:extLst>
          </p:cNvPr>
          <p:cNvSpPr/>
          <p:nvPr userDrawn="1"/>
        </p:nvSpPr>
        <p:spPr>
          <a:xfrm>
            <a:off x="10454616" y="4087039"/>
            <a:ext cx="280824" cy="304129"/>
          </a:xfrm>
          <a:custGeom>
            <a:avLst/>
            <a:gdLst>
              <a:gd name="connsiteX0" fmla="*/ 129343 w 280824"/>
              <a:gd name="connsiteY0" fmla="*/ 304130 h 304129"/>
              <a:gd name="connsiteX1" fmla="*/ 0 w 280824"/>
              <a:gd name="connsiteY1" fmla="*/ 304130 h 304129"/>
              <a:gd name="connsiteX2" fmla="*/ 150317 w 280824"/>
              <a:gd name="connsiteY2" fmla="*/ 153813 h 304129"/>
              <a:gd name="connsiteX3" fmla="*/ 0 w 280824"/>
              <a:gd name="connsiteY3" fmla="*/ 0 h 304129"/>
              <a:gd name="connsiteX4" fmla="*/ 131673 w 280824"/>
              <a:gd name="connsiteY4" fmla="*/ 0 h 304129"/>
              <a:gd name="connsiteX5" fmla="*/ 280825 w 280824"/>
              <a:gd name="connsiteY5" fmla="*/ 149152 h 304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4129">
                <a:moveTo>
                  <a:pt x="129343" y="304130"/>
                </a:moveTo>
                <a:lnTo>
                  <a:pt x="0" y="304130"/>
                </a:lnTo>
                <a:lnTo>
                  <a:pt x="150317" y="153813"/>
                </a:lnTo>
                <a:lnTo>
                  <a:pt x="0" y="0"/>
                </a:lnTo>
                <a:lnTo>
                  <a:pt x="131673" y="0"/>
                </a:lnTo>
                <a:lnTo>
                  <a:pt x="280825" y="149152"/>
                </a:lnTo>
                <a:close/>
              </a:path>
            </a:pathLst>
          </a:custGeom>
          <a:solidFill>
            <a:srgbClr val="EEF2F5"/>
          </a:solidFill>
          <a:ln w="11643" cap="flat">
            <a:noFill/>
            <a:prstDash val="solid"/>
            <a:miter/>
          </a:ln>
        </p:spPr>
        <p:txBody>
          <a:bodyPr rtlCol="0" anchor="ctr"/>
          <a:lstStyle/>
          <a:p>
            <a:endParaRPr lang="de-DE"/>
          </a:p>
        </p:txBody>
      </p:sp>
      <p:sp>
        <p:nvSpPr>
          <p:cNvPr id="292" name="Freihandform: Form 291">
            <a:extLst>
              <a:ext uri="{FF2B5EF4-FFF2-40B4-BE49-F238E27FC236}">
                <a16:creationId xmlns:a16="http://schemas.microsoft.com/office/drawing/2014/main" id="{7E206ED0-5D6B-4CC8-968C-782E0C2238F3}"/>
              </a:ext>
            </a:extLst>
          </p:cNvPr>
          <p:cNvSpPr/>
          <p:nvPr userDrawn="1"/>
        </p:nvSpPr>
        <p:spPr>
          <a:xfrm>
            <a:off x="10454616" y="4441274"/>
            <a:ext cx="280824" cy="305294"/>
          </a:xfrm>
          <a:custGeom>
            <a:avLst/>
            <a:gdLst>
              <a:gd name="connsiteX0" fmla="*/ 129343 w 280824"/>
              <a:gd name="connsiteY0" fmla="*/ 305295 h 305294"/>
              <a:gd name="connsiteX1" fmla="*/ 0 w 280824"/>
              <a:gd name="connsiteY1" fmla="*/ 305295 h 305294"/>
              <a:gd name="connsiteX2" fmla="*/ 150317 w 280824"/>
              <a:gd name="connsiteY2" fmla="*/ 153813 h 305294"/>
              <a:gd name="connsiteX3" fmla="*/ 0 w 280824"/>
              <a:gd name="connsiteY3" fmla="*/ 0 h 305294"/>
              <a:gd name="connsiteX4" fmla="*/ 131673 w 280824"/>
              <a:gd name="connsiteY4" fmla="*/ 0 h 305294"/>
              <a:gd name="connsiteX5" fmla="*/ 280825 w 280824"/>
              <a:gd name="connsiteY5" fmla="*/ 150317 h 305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5294">
                <a:moveTo>
                  <a:pt x="129343" y="305295"/>
                </a:moveTo>
                <a:lnTo>
                  <a:pt x="0" y="305295"/>
                </a:lnTo>
                <a:lnTo>
                  <a:pt x="150317" y="153813"/>
                </a:lnTo>
                <a:lnTo>
                  <a:pt x="0" y="0"/>
                </a:lnTo>
                <a:lnTo>
                  <a:pt x="131673" y="0"/>
                </a:lnTo>
                <a:lnTo>
                  <a:pt x="280825" y="150317"/>
                </a:lnTo>
                <a:close/>
              </a:path>
            </a:pathLst>
          </a:custGeom>
          <a:solidFill>
            <a:srgbClr val="EEF2F5"/>
          </a:solidFill>
          <a:ln w="11643" cap="flat">
            <a:noFill/>
            <a:prstDash val="solid"/>
            <a:miter/>
          </a:ln>
        </p:spPr>
        <p:txBody>
          <a:bodyPr rtlCol="0" anchor="ctr"/>
          <a:lstStyle/>
          <a:p>
            <a:endParaRPr lang="de-DE"/>
          </a:p>
        </p:txBody>
      </p:sp>
      <p:sp>
        <p:nvSpPr>
          <p:cNvPr id="293" name="Freihandform: Form 292">
            <a:extLst>
              <a:ext uri="{FF2B5EF4-FFF2-40B4-BE49-F238E27FC236}">
                <a16:creationId xmlns:a16="http://schemas.microsoft.com/office/drawing/2014/main" id="{F9570349-C376-4459-9BE6-66E1EB720F97}"/>
              </a:ext>
            </a:extLst>
          </p:cNvPr>
          <p:cNvSpPr/>
          <p:nvPr userDrawn="1"/>
        </p:nvSpPr>
        <p:spPr>
          <a:xfrm>
            <a:off x="10454616" y="4796675"/>
            <a:ext cx="280824" cy="304129"/>
          </a:xfrm>
          <a:custGeom>
            <a:avLst/>
            <a:gdLst>
              <a:gd name="connsiteX0" fmla="*/ 129343 w 280824"/>
              <a:gd name="connsiteY0" fmla="*/ 304130 h 304129"/>
              <a:gd name="connsiteX1" fmla="*/ 0 w 280824"/>
              <a:gd name="connsiteY1" fmla="*/ 304130 h 304129"/>
              <a:gd name="connsiteX2" fmla="*/ 150317 w 280824"/>
              <a:gd name="connsiteY2" fmla="*/ 153813 h 304129"/>
              <a:gd name="connsiteX3" fmla="*/ 0 w 280824"/>
              <a:gd name="connsiteY3" fmla="*/ 0 h 304129"/>
              <a:gd name="connsiteX4" fmla="*/ 131673 w 280824"/>
              <a:gd name="connsiteY4" fmla="*/ 0 h 304129"/>
              <a:gd name="connsiteX5" fmla="*/ 280825 w 280824"/>
              <a:gd name="connsiteY5" fmla="*/ 149152 h 304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4129">
                <a:moveTo>
                  <a:pt x="129343" y="304130"/>
                </a:moveTo>
                <a:lnTo>
                  <a:pt x="0" y="304130"/>
                </a:lnTo>
                <a:lnTo>
                  <a:pt x="150317" y="153813"/>
                </a:lnTo>
                <a:lnTo>
                  <a:pt x="0" y="0"/>
                </a:lnTo>
                <a:lnTo>
                  <a:pt x="131673" y="0"/>
                </a:lnTo>
                <a:lnTo>
                  <a:pt x="280825" y="149152"/>
                </a:lnTo>
                <a:close/>
              </a:path>
            </a:pathLst>
          </a:custGeom>
          <a:solidFill>
            <a:srgbClr val="EEF2F5"/>
          </a:solidFill>
          <a:ln w="11643" cap="flat">
            <a:noFill/>
            <a:prstDash val="solid"/>
            <a:miter/>
          </a:ln>
        </p:spPr>
        <p:txBody>
          <a:bodyPr rtlCol="0" anchor="ctr"/>
          <a:lstStyle/>
          <a:p>
            <a:endParaRPr lang="de-DE"/>
          </a:p>
        </p:txBody>
      </p:sp>
      <p:sp>
        <p:nvSpPr>
          <p:cNvPr id="294" name="Freihandform: Form 293">
            <a:extLst>
              <a:ext uri="{FF2B5EF4-FFF2-40B4-BE49-F238E27FC236}">
                <a16:creationId xmlns:a16="http://schemas.microsoft.com/office/drawing/2014/main" id="{CE3FF337-B168-4B08-BAF8-FBBA6DDEF4B3}"/>
              </a:ext>
            </a:extLst>
          </p:cNvPr>
          <p:cNvSpPr/>
          <p:nvPr userDrawn="1"/>
        </p:nvSpPr>
        <p:spPr>
          <a:xfrm>
            <a:off x="10454616" y="5150910"/>
            <a:ext cx="280824" cy="305295"/>
          </a:xfrm>
          <a:custGeom>
            <a:avLst/>
            <a:gdLst>
              <a:gd name="connsiteX0" fmla="*/ 129343 w 280824"/>
              <a:gd name="connsiteY0" fmla="*/ 305295 h 305295"/>
              <a:gd name="connsiteX1" fmla="*/ 0 w 280824"/>
              <a:gd name="connsiteY1" fmla="*/ 305295 h 305295"/>
              <a:gd name="connsiteX2" fmla="*/ 150317 w 280824"/>
              <a:gd name="connsiteY2" fmla="*/ 153813 h 305295"/>
              <a:gd name="connsiteX3" fmla="*/ 0 w 280824"/>
              <a:gd name="connsiteY3" fmla="*/ 0 h 305295"/>
              <a:gd name="connsiteX4" fmla="*/ 131673 w 280824"/>
              <a:gd name="connsiteY4" fmla="*/ 0 h 305295"/>
              <a:gd name="connsiteX5" fmla="*/ 280825 w 280824"/>
              <a:gd name="connsiteY5" fmla="*/ 150317 h 305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5295">
                <a:moveTo>
                  <a:pt x="129343" y="305295"/>
                </a:moveTo>
                <a:lnTo>
                  <a:pt x="0" y="305295"/>
                </a:lnTo>
                <a:lnTo>
                  <a:pt x="150317" y="153813"/>
                </a:lnTo>
                <a:lnTo>
                  <a:pt x="0" y="0"/>
                </a:lnTo>
                <a:lnTo>
                  <a:pt x="131673" y="0"/>
                </a:lnTo>
                <a:lnTo>
                  <a:pt x="280825" y="150317"/>
                </a:lnTo>
                <a:close/>
              </a:path>
            </a:pathLst>
          </a:custGeom>
          <a:solidFill>
            <a:srgbClr val="EEF2F5"/>
          </a:solidFill>
          <a:ln w="11643" cap="flat">
            <a:noFill/>
            <a:prstDash val="solid"/>
            <a:miter/>
          </a:ln>
        </p:spPr>
        <p:txBody>
          <a:bodyPr rtlCol="0" anchor="ctr"/>
          <a:lstStyle/>
          <a:p>
            <a:endParaRPr lang="de-DE"/>
          </a:p>
        </p:txBody>
      </p:sp>
      <p:sp>
        <p:nvSpPr>
          <p:cNvPr id="295" name="Freihandform: Form 294">
            <a:extLst>
              <a:ext uri="{FF2B5EF4-FFF2-40B4-BE49-F238E27FC236}">
                <a16:creationId xmlns:a16="http://schemas.microsoft.com/office/drawing/2014/main" id="{C15D20DE-AD5C-488E-85D6-7F573CD6FEAE}"/>
              </a:ext>
            </a:extLst>
          </p:cNvPr>
          <p:cNvSpPr/>
          <p:nvPr userDrawn="1"/>
        </p:nvSpPr>
        <p:spPr>
          <a:xfrm>
            <a:off x="10454616" y="5506311"/>
            <a:ext cx="280824" cy="305295"/>
          </a:xfrm>
          <a:custGeom>
            <a:avLst/>
            <a:gdLst>
              <a:gd name="connsiteX0" fmla="*/ 129343 w 280824"/>
              <a:gd name="connsiteY0" fmla="*/ 305295 h 305295"/>
              <a:gd name="connsiteX1" fmla="*/ 0 w 280824"/>
              <a:gd name="connsiteY1" fmla="*/ 305295 h 305295"/>
              <a:gd name="connsiteX2" fmla="*/ 150317 w 280824"/>
              <a:gd name="connsiteY2" fmla="*/ 153813 h 305295"/>
              <a:gd name="connsiteX3" fmla="*/ 0 w 280824"/>
              <a:gd name="connsiteY3" fmla="*/ 0 h 305295"/>
              <a:gd name="connsiteX4" fmla="*/ 131673 w 280824"/>
              <a:gd name="connsiteY4" fmla="*/ 0 h 305295"/>
              <a:gd name="connsiteX5" fmla="*/ 280825 w 280824"/>
              <a:gd name="connsiteY5" fmla="*/ 149152 h 305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5295">
                <a:moveTo>
                  <a:pt x="129343" y="305295"/>
                </a:moveTo>
                <a:lnTo>
                  <a:pt x="0" y="305295"/>
                </a:lnTo>
                <a:lnTo>
                  <a:pt x="150317" y="153813"/>
                </a:lnTo>
                <a:lnTo>
                  <a:pt x="0" y="0"/>
                </a:lnTo>
                <a:lnTo>
                  <a:pt x="131673" y="0"/>
                </a:lnTo>
                <a:lnTo>
                  <a:pt x="280825" y="149152"/>
                </a:lnTo>
                <a:close/>
              </a:path>
            </a:pathLst>
          </a:custGeom>
          <a:solidFill>
            <a:srgbClr val="EEF2F5"/>
          </a:solidFill>
          <a:ln w="11643" cap="flat">
            <a:noFill/>
            <a:prstDash val="solid"/>
            <a:miter/>
          </a:ln>
        </p:spPr>
        <p:txBody>
          <a:bodyPr rtlCol="0" anchor="ctr"/>
          <a:lstStyle/>
          <a:p>
            <a:endParaRPr lang="de-DE"/>
          </a:p>
        </p:txBody>
      </p:sp>
      <p:sp>
        <p:nvSpPr>
          <p:cNvPr id="296" name="Freihandform: Form 295">
            <a:extLst>
              <a:ext uri="{FF2B5EF4-FFF2-40B4-BE49-F238E27FC236}">
                <a16:creationId xmlns:a16="http://schemas.microsoft.com/office/drawing/2014/main" id="{485159D9-1543-48AC-BE82-E6BC0D080E69}"/>
              </a:ext>
            </a:extLst>
          </p:cNvPr>
          <p:cNvSpPr/>
          <p:nvPr userDrawn="1"/>
        </p:nvSpPr>
        <p:spPr>
          <a:xfrm>
            <a:off x="10454616" y="5860546"/>
            <a:ext cx="280824" cy="305295"/>
          </a:xfrm>
          <a:custGeom>
            <a:avLst/>
            <a:gdLst>
              <a:gd name="connsiteX0" fmla="*/ 129343 w 280824"/>
              <a:gd name="connsiteY0" fmla="*/ 305295 h 305295"/>
              <a:gd name="connsiteX1" fmla="*/ 0 w 280824"/>
              <a:gd name="connsiteY1" fmla="*/ 305295 h 305295"/>
              <a:gd name="connsiteX2" fmla="*/ 150317 w 280824"/>
              <a:gd name="connsiteY2" fmla="*/ 153813 h 305295"/>
              <a:gd name="connsiteX3" fmla="*/ 0 w 280824"/>
              <a:gd name="connsiteY3" fmla="*/ 0 h 305295"/>
              <a:gd name="connsiteX4" fmla="*/ 131673 w 280824"/>
              <a:gd name="connsiteY4" fmla="*/ 0 h 305295"/>
              <a:gd name="connsiteX5" fmla="*/ 280825 w 280824"/>
              <a:gd name="connsiteY5" fmla="*/ 150317 h 305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5295">
                <a:moveTo>
                  <a:pt x="129343" y="305295"/>
                </a:moveTo>
                <a:lnTo>
                  <a:pt x="0" y="305295"/>
                </a:lnTo>
                <a:lnTo>
                  <a:pt x="150317" y="153813"/>
                </a:lnTo>
                <a:lnTo>
                  <a:pt x="0" y="0"/>
                </a:lnTo>
                <a:lnTo>
                  <a:pt x="131673" y="0"/>
                </a:lnTo>
                <a:lnTo>
                  <a:pt x="280825" y="150317"/>
                </a:lnTo>
                <a:close/>
              </a:path>
            </a:pathLst>
          </a:custGeom>
          <a:solidFill>
            <a:srgbClr val="EEF2F5"/>
          </a:solidFill>
          <a:ln w="11643" cap="flat">
            <a:noFill/>
            <a:prstDash val="solid"/>
            <a:miter/>
          </a:ln>
        </p:spPr>
        <p:txBody>
          <a:bodyPr rtlCol="0" anchor="ctr"/>
          <a:lstStyle/>
          <a:p>
            <a:endParaRPr lang="de-DE"/>
          </a:p>
        </p:txBody>
      </p:sp>
      <p:sp>
        <p:nvSpPr>
          <p:cNvPr id="297" name="Freihandform: Form 296">
            <a:extLst>
              <a:ext uri="{FF2B5EF4-FFF2-40B4-BE49-F238E27FC236}">
                <a16:creationId xmlns:a16="http://schemas.microsoft.com/office/drawing/2014/main" id="{36EBE8A7-57A4-4F1C-8091-CAEE9CB87988}"/>
              </a:ext>
            </a:extLst>
          </p:cNvPr>
          <p:cNvSpPr/>
          <p:nvPr userDrawn="1"/>
        </p:nvSpPr>
        <p:spPr>
          <a:xfrm>
            <a:off x="10108537" y="2321688"/>
            <a:ext cx="264511" cy="286650"/>
          </a:xfrm>
          <a:custGeom>
            <a:avLst/>
            <a:gdLst>
              <a:gd name="connsiteX0" fmla="*/ 121186 w 264511"/>
              <a:gd name="connsiteY0" fmla="*/ 286651 h 286650"/>
              <a:gd name="connsiteX1" fmla="*/ 0 w 264511"/>
              <a:gd name="connsiteY1" fmla="*/ 286651 h 286650"/>
              <a:gd name="connsiteX2" fmla="*/ 140995 w 264511"/>
              <a:gd name="connsiteY2" fmla="*/ 144491 h 286650"/>
              <a:gd name="connsiteX3" fmla="*/ 0 w 264511"/>
              <a:gd name="connsiteY3" fmla="*/ 0 h 286650"/>
              <a:gd name="connsiteX4" fmla="*/ 123516 w 264511"/>
              <a:gd name="connsiteY4" fmla="*/ 0 h 286650"/>
              <a:gd name="connsiteX5" fmla="*/ 264511 w 264511"/>
              <a:gd name="connsiteY5" fmla="*/ 140995 h 28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0">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298" name="Freihandform: Form 297">
            <a:extLst>
              <a:ext uri="{FF2B5EF4-FFF2-40B4-BE49-F238E27FC236}">
                <a16:creationId xmlns:a16="http://schemas.microsoft.com/office/drawing/2014/main" id="{12914A54-FA8E-4B49-A2DE-518D9ADF7310}"/>
              </a:ext>
            </a:extLst>
          </p:cNvPr>
          <p:cNvSpPr/>
          <p:nvPr userDrawn="1"/>
        </p:nvSpPr>
        <p:spPr>
          <a:xfrm>
            <a:off x="10108537" y="2675924"/>
            <a:ext cx="264511" cy="286650"/>
          </a:xfrm>
          <a:custGeom>
            <a:avLst/>
            <a:gdLst>
              <a:gd name="connsiteX0" fmla="*/ 121186 w 264511"/>
              <a:gd name="connsiteY0" fmla="*/ 286651 h 286650"/>
              <a:gd name="connsiteX1" fmla="*/ 0 w 264511"/>
              <a:gd name="connsiteY1" fmla="*/ 286651 h 286650"/>
              <a:gd name="connsiteX2" fmla="*/ 140995 w 264511"/>
              <a:gd name="connsiteY2" fmla="*/ 144491 h 286650"/>
              <a:gd name="connsiteX3" fmla="*/ 0 w 264511"/>
              <a:gd name="connsiteY3" fmla="*/ 0 h 286650"/>
              <a:gd name="connsiteX4" fmla="*/ 123516 w 264511"/>
              <a:gd name="connsiteY4" fmla="*/ 0 h 286650"/>
              <a:gd name="connsiteX5" fmla="*/ 264511 w 264511"/>
              <a:gd name="connsiteY5" fmla="*/ 140995 h 28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0">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299" name="Freihandform: Form 298">
            <a:extLst>
              <a:ext uri="{FF2B5EF4-FFF2-40B4-BE49-F238E27FC236}">
                <a16:creationId xmlns:a16="http://schemas.microsoft.com/office/drawing/2014/main" id="{97E9631F-C090-4F92-B4E6-D6A88933B227}"/>
              </a:ext>
            </a:extLst>
          </p:cNvPr>
          <p:cNvSpPr/>
          <p:nvPr userDrawn="1"/>
        </p:nvSpPr>
        <p:spPr>
          <a:xfrm>
            <a:off x="10108537" y="3031324"/>
            <a:ext cx="264511" cy="286650"/>
          </a:xfrm>
          <a:custGeom>
            <a:avLst/>
            <a:gdLst>
              <a:gd name="connsiteX0" fmla="*/ 121186 w 264511"/>
              <a:gd name="connsiteY0" fmla="*/ 286651 h 286650"/>
              <a:gd name="connsiteX1" fmla="*/ 0 w 264511"/>
              <a:gd name="connsiteY1" fmla="*/ 286651 h 286650"/>
              <a:gd name="connsiteX2" fmla="*/ 140995 w 264511"/>
              <a:gd name="connsiteY2" fmla="*/ 144491 h 286650"/>
              <a:gd name="connsiteX3" fmla="*/ 0 w 264511"/>
              <a:gd name="connsiteY3" fmla="*/ 0 h 286650"/>
              <a:gd name="connsiteX4" fmla="*/ 123516 w 264511"/>
              <a:gd name="connsiteY4" fmla="*/ 0 h 286650"/>
              <a:gd name="connsiteX5" fmla="*/ 264511 w 264511"/>
              <a:gd name="connsiteY5" fmla="*/ 140995 h 28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0">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300" name="Freihandform: Form 299">
            <a:extLst>
              <a:ext uri="{FF2B5EF4-FFF2-40B4-BE49-F238E27FC236}">
                <a16:creationId xmlns:a16="http://schemas.microsoft.com/office/drawing/2014/main" id="{D1807030-A146-49E6-AB2C-56E585B0AEE6}"/>
              </a:ext>
            </a:extLst>
          </p:cNvPr>
          <p:cNvSpPr/>
          <p:nvPr userDrawn="1"/>
        </p:nvSpPr>
        <p:spPr>
          <a:xfrm>
            <a:off x="10108537" y="3385560"/>
            <a:ext cx="264511" cy="287816"/>
          </a:xfrm>
          <a:custGeom>
            <a:avLst/>
            <a:gdLst>
              <a:gd name="connsiteX0" fmla="*/ 121186 w 264511"/>
              <a:gd name="connsiteY0" fmla="*/ 287816 h 287816"/>
              <a:gd name="connsiteX1" fmla="*/ 0 w 264511"/>
              <a:gd name="connsiteY1" fmla="*/ 287816 h 287816"/>
              <a:gd name="connsiteX2" fmla="*/ 140995 w 264511"/>
              <a:gd name="connsiteY2" fmla="*/ 145656 h 287816"/>
              <a:gd name="connsiteX3" fmla="*/ 0 w 264511"/>
              <a:gd name="connsiteY3" fmla="*/ 0 h 287816"/>
              <a:gd name="connsiteX4" fmla="*/ 123516 w 264511"/>
              <a:gd name="connsiteY4" fmla="*/ 0 h 287816"/>
              <a:gd name="connsiteX5" fmla="*/ 264511 w 264511"/>
              <a:gd name="connsiteY5" fmla="*/ 140995 h 287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7816">
                <a:moveTo>
                  <a:pt x="121186" y="287816"/>
                </a:moveTo>
                <a:lnTo>
                  <a:pt x="0" y="287816"/>
                </a:lnTo>
                <a:lnTo>
                  <a:pt x="140995" y="145656"/>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301" name="Freihandform: Form 300">
            <a:extLst>
              <a:ext uri="{FF2B5EF4-FFF2-40B4-BE49-F238E27FC236}">
                <a16:creationId xmlns:a16="http://schemas.microsoft.com/office/drawing/2014/main" id="{CCFC5FBA-0587-4C1B-8639-CB3CC05103F5}"/>
              </a:ext>
            </a:extLst>
          </p:cNvPr>
          <p:cNvSpPr/>
          <p:nvPr userDrawn="1"/>
        </p:nvSpPr>
        <p:spPr>
          <a:xfrm>
            <a:off x="10108537" y="3740960"/>
            <a:ext cx="264511" cy="286651"/>
          </a:xfrm>
          <a:custGeom>
            <a:avLst/>
            <a:gdLst>
              <a:gd name="connsiteX0" fmla="*/ 121186 w 264511"/>
              <a:gd name="connsiteY0" fmla="*/ 286651 h 286651"/>
              <a:gd name="connsiteX1" fmla="*/ 0 w 264511"/>
              <a:gd name="connsiteY1" fmla="*/ 286651 h 286651"/>
              <a:gd name="connsiteX2" fmla="*/ 140995 w 264511"/>
              <a:gd name="connsiteY2" fmla="*/ 144491 h 286651"/>
              <a:gd name="connsiteX3" fmla="*/ 0 w 264511"/>
              <a:gd name="connsiteY3" fmla="*/ 0 h 286651"/>
              <a:gd name="connsiteX4" fmla="*/ 123516 w 264511"/>
              <a:gd name="connsiteY4" fmla="*/ 0 h 286651"/>
              <a:gd name="connsiteX5" fmla="*/ 264511 w 264511"/>
              <a:gd name="connsiteY5" fmla="*/ 140995 h 286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1">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302" name="Freihandform: Form 301">
            <a:extLst>
              <a:ext uri="{FF2B5EF4-FFF2-40B4-BE49-F238E27FC236}">
                <a16:creationId xmlns:a16="http://schemas.microsoft.com/office/drawing/2014/main" id="{393FFB20-CDB2-4370-BF23-8869FAE8F232}"/>
              </a:ext>
            </a:extLst>
          </p:cNvPr>
          <p:cNvSpPr/>
          <p:nvPr userDrawn="1"/>
        </p:nvSpPr>
        <p:spPr>
          <a:xfrm>
            <a:off x="10108537" y="4095195"/>
            <a:ext cx="264511" cy="287816"/>
          </a:xfrm>
          <a:custGeom>
            <a:avLst/>
            <a:gdLst>
              <a:gd name="connsiteX0" fmla="*/ 121186 w 264511"/>
              <a:gd name="connsiteY0" fmla="*/ 287816 h 287816"/>
              <a:gd name="connsiteX1" fmla="*/ 0 w 264511"/>
              <a:gd name="connsiteY1" fmla="*/ 287816 h 287816"/>
              <a:gd name="connsiteX2" fmla="*/ 140995 w 264511"/>
              <a:gd name="connsiteY2" fmla="*/ 145656 h 287816"/>
              <a:gd name="connsiteX3" fmla="*/ 0 w 264511"/>
              <a:gd name="connsiteY3" fmla="*/ 0 h 287816"/>
              <a:gd name="connsiteX4" fmla="*/ 123516 w 264511"/>
              <a:gd name="connsiteY4" fmla="*/ 0 h 287816"/>
              <a:gd name="connsiteX5" fmla="*/ 264511 w 264511"/>
              <a:gd name="connsiteY5" fmla="*/ 140995 h 287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7816">
                <a:moveTo>
                  <a:pt x="121186" y="287816"/>
                </a:moveTo>
                <a:lnTo>
                  <a:pt x="0" y="287816"/>
                </a:lnTo>
                <a:lnTo>
                  <a:pt x="140995" y="145656"/>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303" name="Freihandform: Form 302">
            <a:extLst>
              <a:ext uri="{FF2B5EF4-FFF2-40B4-BE49-F238E27FC236}">
                <a16:creationId xmlns:a16="http://schemas.microsoft.com/office/drawing/2014/main" id="{9A02CBB0-C3FE-4C5B-8752-F2E84565BB37}"/>
              </a:ext>
            </a:extLst>
          </p:cNvPr>
          <p:cNvSpPr/>
          <p:nvPr userDrawn="1"/>
        </p:nvSpPr>
        <p:spPr>
          <a:xfrm>
            <a:off x="10108537" y="4450596"/>
            <a:ext cx="264511" cy="286651"/>
          </a:xfrm>
          <a:custGeom>
            <a:avLst/>
            <a:gdLst>
              <a:gd name="connsiteX0" fmla="*/ 121186 w 264511"/>
              <a:gd name="connsiteY0" fmla="*/ 286651 h 286651"/>
              <a:gd name="connsiteX1" fmla="*/ 0 w 264511"/>
              <a:gd name="connsiteY1" fmla="*/ 286651 h 286651"/>
              <a:gd name="connsiteX2" fmla="*/ 140995 w 264511"/>
              <a:gd name="connsiteY2" fmla="*/ 144491 h 286651"/>
              <a:gd name="connsiteX3" fmla="*/ 0 w 264511"/>
              <a:gd name="connsiteY3" fmla="*/ 0 h 286651"/>
              <a:gd name="connsiteX4" fmla="*/ 123516 w 264511"/>
              <a:gd name="connsiteY4" fmla="*/ 0 h 286651"/>
              <a:gd name="connsiteX5" fmla="*/ 264511 w 264511"/>
              <a:gd name="connsiteY5" fmla="*/ 140995 h 286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1">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304" name="Freihandform: Form 303">
            <a:extLst>
              <a:ext uri="{FF2B5EF4-FFF2-40B4-BE49-F238E27FC236}">
                <a16:creationId xmlns:a16="http://schemas.microsoft.com/office/drawing/2014/main" id="{1C43B92A-432B-470A-ABA2-5D306B91CF22}"/>
              </a:ext>
            </a:extLst>
          </p:cNvPr>
          <p:cNvSpPr/>
          <p:nvPr userDrawn="1"/>
        </p:nvSpPr>
        <p:spPr>
          <a:xfrm>
            <a:off x="10108537" y="4805997"/>
            <a:ext cx="264511" cy="286651"/>
          </a:xfrm>
          <a:custGeom>
            <a:avLst/>
            <a:gdLst>
              <a:gd name="connsiteX0" fmla="*/ 121186 w 264511"/>
              <a:gd name="connsiteY0" fmla="*/ 286651 h 286651"/>
              <a:gd name="connsiteX1" fmla="*/ 0 w 264511"/>
              <a:gd name="connsiteY1" fmla="*/ 286651 h 286651"/>
              <a:gd name="connsiteX2" fmla="*/ 140995 w 264511"/>
              <a:gd name="connsiteY2" fmla="*/ 144491 h 286651"/>
              <a:gd name="connsiteX3" fmla="*/ 0 w 264511"/>
              <a:gd name="connsiteY3" fmla="*/ 0 h 286651"/>
              <a:gd name="connsiteX4" fmla="*/ 123516 w 264511"/>
              <a:gd name="connsiteY4" fmla="*/ 0 h 286651"/>
              <a:gd name="connsiteX5" fmla="*/ 264511 w 264511"/>
              <a:gd name="connsiteY5" fmla="*/ 139830 h 286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1">
                <a:moveTo>
                  <a:pt x="121186" y="286651"/>
                </a:moveTo>
                <a:lnTo>
                  <a:pt x="0" y="286651"/>
                </a:lnTo>
                <a:lnTo>
                  <a:pt x="140995" y="144491"/>
                </a:lnTo>
                <a:lnTo>
                  <a:pt x="0" y="0"/>
                </a:lnTo>
                <a:lnTo>
                  <a:pt x="123516" y="0"/>
                </a:lnTo>
                <a:lnTo>
                  <a:pt x="264511" y="139830"/>
                </a:lnTo>
                <a:close/>
              </a:path>
            </a:pathLst>
          </a:custGeom>
          <a:solidFill>
            <a:srgbClr val="EEF2F5"/>
          </a:solidFill>
          <a:ln w="11643" cap="flat">
            <a:noFill/>
            <a:prstDash val="solid"/>
            <a:miter/>
          </a:ln>
        </p:spPr>
        <p:txBody>
          <a:bodyPr rtlCol="0" anchor="ctr"/>
          <a:lstStyle/>
          <a:p>
            <a:endParaRPr lang="de-DE"/>
          </a:p>
        </p:txBody>
      </p:sp>
      <p:sp>
        <p:nvSpPr>
          <p:cNvPr id="305" name="Freihandform: Form 304">
            <a:extLst>
              <a:ext uri="{FF2B5EF4-FFF2-40B4-BE49-F238E27FC236}">
                <a16:creationId xmlns:a16="http://schemas.microsoft.com/office/drawing/2014/main" id="{CF1224C7-9BEE-46A0-BB68-D697A73A4963}"/>
              </a:ext>
            </a:extLst>
          </p:cNvPr>
          <p:cNvSpPr/>
          <p:nvPr userDrawn="1"/>
        </p:nvSpPr>
        <p:spPr>
          <a:xfrm>
            <a:off x="10108537" y="5160232"/>
            <a:ext cx="264511" cy="286651"/>
          </a:xfrm>
          <a:custGeom>
            <a:avLst/>
            <a:gdLst>
              <a:gd name="connsiteX0" fmla="*/ 121186 w 264511"/>
              <a:gd name="connsiteY0" fmla="*/ 286651 h 286651"/>
              <a:gd name="connsiteX1" fmla="*/ 0 w 264511"/>
              <a:gd name="connsiteY1" fmla="*/ 286651 h 286651"/>
              <a:gd name="connsiteX2" fmla="*/ 140995 w 264511"/>
              <a:gd name="connsiteY2" fmla="*/ 144491 h 286651"/>
              <a:gd name="connsiteX3" fmla="*/ 0 w 264511"/>
              <a:gd name="connsiteY3" fmla="*/ 0 h 286651"/>
              <a:gd name="connsiteX4" fmla="*/ 123516 w 264511"/>
              <a:gd name="connsiteY4" fmla="*/ 0 h 286651"/>
              <a:gd name="connsiteX5" fmla="*/ 264511 w 264511"/>
              <a:gd name="connsiteY5" fmla="*/ 140995 h 286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1">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306" name="Freihandform: Form 305">
            <a:extLst>
              <a:ext uri="{FF2B5EF4-FFF2-40B4-BE49-F238E27FC236}">
                <a16:creationId xmlns:a16="http://schemas.microsoft.com/office/drawing/2014/main" id="{ADBF69A7-DE39-4CA9-B0E6-95F65333D170}"/>
              </a:ext>
            </a:extLst>
          </p:cNvPr>
          <p:cNvSpPr/>
          <p:nvPr userDrawn="1"/>
        </p:nvSpPr>
        <p:spPr>
          <a:xfrm>
            <a:off x="10108537" y="5515633"/>
            <a:ext cx="264511" cy="286651"/>
          </a:xfrm>
          <a:custGeom>
            <a:avLst/>
            <a:gdLst>
              <a:gd name="connsiteX0" fmla="*/ 121186 w 264511"/>
              <a:gd name="connsiteY0" fmla="*/ 286651 h 286651"/>
              <a:gd name="connsiteX1" fmla="*/ 0 w 264511"/>
              <a:gd name="connsiteY1" fmla="*/ 286651 h 286651"/>
              <a:gd name="connsiteX2" fmla="*/ 140995 w 264511"/>
              <a:gd name="connsiteY2" fmla="*/ 144491 h 286651"/>
              <a:gd name="connsiteX3" fmla="*/ 0 w 264511"/>
              <a:gd name="connsiteY3" fmla="*/ 0 h 286651"/>
              <a:gd name="connsiteX4" fmla="*/ 123516 w 264511"/>
              <a:gd name="connsiteY4" fmla="*/ 0 h 286651"/>
              <a:gd name="connsiteX5" fmla="*/ 264511 w 264511"/>
              <a:gd name="connsiteY5" fmla="*/ 140995 h 286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1">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307" name="Freihandform: Form 306">
            <a:extLst>
              <a:ext uri="{FF2B5EF4-FFF2-40B4-BE49-F238E27FC236}">
                <a16:creationId xmlns:a16="http://schemas.microsoft.com/office/drawing/2014/main" id="{7D9BE8A4-E861-44BD-82FB-0C83AE43E3F5}"/>
              </a:ext>
            </a:extLst>
          </p:cNvPr>
          <p:cNvSpPr/>
          <p:nvPr userDrawn="1"/>
        </p:nvSpPr>
        <p:spPr>
          <a:xfrm>
            <a:off x="10108537" y="5869868"/>
            <a:ext cx="264511" cy="286650"/>
          </a:xfrm>
          <a:custGeom>
            <a:avLst/>
            <a:gdLst>
              <a:gd name="connsiteX0" fmla="*/ 121186 w 264511"/>
              <a:gd name="connsiteY0" fmla="*/ 286651 h 286650"/>
              <a:gd name="connsiteX1" fmla="*/ 0 w 264511"/>
              <a:gd name="connsiteY1" fmla="*/ 286651 h 286650"/>
              <a:gd name="connsiteX2" fmla="*/ 140995 w 264511"/>
              <a:gd name="connsiteY2" fmla="*/ 144491 h 286650"/>
              <a:gd name="connsiteX3" fmla="*/ 0 w 264511"/>
              <a:gd name="connsiteY3" fmla="*/ 0 h 286650"/>
              <a:gd name="connsiteX4" fmla="*/ 123516 w 264511"/>
              <a:gd name="connsiteY4" fmla="*/ 0 h 286650"/>
              <a:gd name="connsiteX5" fmla="*/ 264511 w 264511"/>
              <a:gd name="connsiteY5" fmla="*/ 140995 h 28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0">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308" name="Freihandform: Form 307">
            <a:extLst>
              <a:ext uri="{FF2B5EF4-FFF2-40B4-BE49-F238E27FC236}">
                <a16:creationId xmlns:a16="http://schemas.microsoft.com/office/drawing/2014/main" id="{5F752DD3-B30C-4D0A-944E-3ED3945D0A70}"/>
              </a:ext>
            </a:extLst>
          </p:cNvPr>
          <p:cNvSpPr/>
          <p:nvPr userDrawn="1"/>
        </p:nvSpPr>
        <p:spPr>
          <a:xfrm>
            <a:off x="10108537" y="6225269"/>
            <a:ext cx="264511" cy="286650"/>
          </a:xfrm>
          <a:custGeom>
            <a:avLst/>
            <a:gdLst>
              <a:gd name="connsiteX0" fmla="*/ 121186 w 264511"/>
              <a:gd name="connsiteY0" fmla="*/ 286651 h 286650"/>
              <a:gd name="connsiteX1" fmla="*/ 0 w 264511"/>
              <a:gd name="connsiteY1" fmla="*/ 286651 h 286650"/>
              <a:gd name="connsiteX2" fmla="*/ 140995 w 264511"/>
              <a:gd name="connsiteY2" fmla="*/ 144491 h 286650"/>
              <a:gd name="connsiteX3" fmla="*/ 0 w 264511"/>
              <a:gd name="connsiteY3" fmla="*/ 0 h 286650"/>
              <a:gd name="connsiteX4" fmla="*/ 123516 w 264511"/>
              <a:gd name="connsiteY4" fmla="*/ 0 h 286650"/>
              <a:gd name="connsiteX5" fmla="*/ 264511 w 264511"/>
              <a:gd name="connsiteY5" fmla="*/ 140995 h 28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0">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309" name="Freihandform: Form 308">
            <a:extLst>
              <a:ext uri="{FF2B5EF4-FFF2-40B4-BE49-F238E27FC236}">
                <a16:creationId xmlns:a16="http://schemas.microsoft.com/office/drawing/2014/main" id="{B2C8C5D0-33C1-4654-B293-E6B9182B14E5}"/>
              </a:ext>
            </a:extLst>
          </p:cNvPr>
          <p:cNvSpPr/>
          <p:nvPr userDrawn="1"/>
        </p:nvSpPr>
        <p:spPr>
          <a:xfrm>
            <a:off x="4909201" y="2101456"/>
            <a:ext cx="16313" cy="17478"/>
          </a:xfrm>
          <a:custGeom>
            <a:avLst/>
            <a:gdLst>
              <a:gd name="connsiteX0" fmla="*/ 8157 w 16313"/>
              <a:gd name="connsiteY0" fmla="*/ 17479 h 17478"/>
              <a:gd name="connsiteX1" fmla="*/ 0 w 16313"/>
              <a:gd name="connsiteY1" fmla="*/ 17479 h 17478"/>
              <a:gd name="connsiteX2" fmla="*/ 9322 w 16313"/>
              <a:gd name="connsiteY2" fmla="*/ 8157 h 17478"/>
              <a:gd name="connsiteX3" fmla="*/ 0 w 16313"/>
              <a:gd name="connsiteY3" fmla="*/ 0 h 17478"/>
              <a:gd name="connsiteX4" fmla="*/ 8157 w 16313"/>
              <a:gd name="connsiteY4" fmla="*/ 0 h 17478"/>
              <a:gd name="connsiteX5" fmla="*/ 16313 w 16313"/>
              <a:gd name="connsiteY5" fmla="*/ 8157 h 17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13" h="17478">
                <a:moveTo>
                  <a:pt x="8157" y="17479"/>
                </a:moveTo>
                <a:lnTo>
                  <a:pt x="0" y="17479"/>
                </a:lnTo>
                <a:lnTo>
                  <a:pt x="9322" y="8157"/>
                </a:lnTo>
                <a:lnTo>
                  <a:pt x="0" y="0"/>
                </a:lnTo>
                <a:lnTo>
                  <a:pt x="8157" y="0"/>
                </a:lnTo>
                <a:lnTo>
                  <a:pt x="16313" y="8157"/>
                </a:lnTo>
                <a:close/>
              </a:path>
            </a:pathLst>
          </a:custGeom>
          <a:solidFill>
            <a:srgbClr val="EEF2F5"/>
          </a:solidFill>
          <a:ln w="11643" cap="flat">
            <a:noFill/>
            <a:prstDash val="solid"/>
            <a:miter/>
          </a:ln>
        </p:spPr>
        <p:txBody>
          <a:bodyPr rtlCol="0" anchor="ctr"/>
          <a:lstStyle/>
          <a:p>
            <a:endParaRPr lang="de-DE"/>
          </a:p>
        </p:txBody>
      </p:sp>
      <p:sp>
        <p:nvSpPr>
          <p:cNvPr id="310" name="Freihandform: Form 309">
            <a:extLst>
              <a:ext uri="{FF2B5EF4-FFF2-40B4-BE49-F238E27FC236}">
                <a16:creationId xmlns:a16="http://schemas.microsoft.com/office/drawing/2014/main" id="{329A36A9-5A2C-4AC1-96F3-AFA20EF6DDEB}"/>
              </a:ext>
            </a:extLst>
          </p:cNvPr>
          <p:cNvSpPr/>
          <p:nvPr userDrawn="1"/>
        </p:nvSpPr>
        <p:spPr>
          <a:xfrm>
            <a:off x="4909201" y="2455692"/>
            <a:ext cx="16313" cy="18643"/>
          </a:xfrm>
          <a:custGeom>
            <a:avLst/>
            <a:gdLst>
              <a:gd name="connsiteX0" fmla="*/ 8157 w 16313"/>
              <a:gd name="connsiteY0" fmla="*/ 18644 h 18643"/>
              <a:gd name="connsiteX1" fmla="*/ 0 w 16313"/>
              <a:gd name="connsiteY1" fmla="*/ 18644 h 18643"/>
              <a:gd name="connsiteX2" fmla="*/ 9322 w 16313"/>
              <a:gd name="connsiteY2" fmla="*/ 9322 h 18643"/>
              <a:gd name="connsiteX3" fmla="*/ 0 w 16313"/>
              <a:gd name="connsiteY3" fmla="*/ 0 h 18643"/>
              <a:gd name="connsiteX4" fmla="*/ 8157 w 16313"/>
              <a:gd name="connsiteY4" fmla="*/ 0 h 18643"/>
              <a:gd name="connsiteX5" fmla="*/ 16313 w 16313"/>
              <a:gd name="connsiteY5" fmla="*/ 9322 h 18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13" h="18643">
                <a:moveTo>
                  <a:pt x="8157" y="18644"/>
                </a:moveTo>
                <a:lnTo>
                  <a:pt x="0" y="18644"/>
                </a:lnTo>
                <a:lnTo>
                  <a:pt x="9322" y="9322"/>
                </a:lnTo>
                <a:lnTo>
                  <a:pt x="0" y="0"/>
                </a:lnTo>
                <a:lnTo>
                  <a:pt x="8157" y="0"/>
                </a:lnTo>
                <a:lnTo>
                  <a:pt x="16313" y="9322"/>
                </a:lnTo>
                <a:close/>
              </a:path>
            </a:pathLst>
          </a:custGeom>
          <a:solidFill>
            <a:srgbClr val="EEF2F5"/>
          </a:solidFill>
          <a:ln w="11643" cap="flat">
            <a:noFill/>
            <a:prstDash val="solid"/>
            <a:miter/>
          </a:ln>
        </p:spPr>
        <p:txBody>
          <a:bodyPr rtlCol="0" anchor="ctr"/>
          <a:lstStyle/>
          <a:p>
            <a:endParaRPr lang="de-DE"/>
          </a:p>
        </p:txBody>
      </p:sp>
      <p:sp>
        <p:nvSpPr>
          <p:cNvPr id="311" name="Freihandform: Form 310">
            <a:extLst>
              <a:ext uri="{FF2B5EF4-FFF2-40B4-BE49-F238E27FC236}">
                <a16:creationId xmlns:a16="http://schemas.microsoft.com/office/drawing/2014/main" id="{84957465-0B73-4E55-8E53-1C8F5B558178}"/>
              </a:ext>
            </a:extLst>
          </p:cNvPr>
          <p:cNvSpPr/>
          <p:nvPr userDrawn="1"/>
        </p:nvSpPr>
        <p:spPr>
          <a:xfrm>
            <a:off x="4909201" y="2811092"/>
            <a:ext cx="16313" cy="17478"/>
          </a:xfrm>
          <a:custGeom>
            <a:avLst/>
            <a:gdLst>
              <a:gd name="connsiteX0" fmla="*/ 8157 w 16313"/>
              <a:gd name="connsiteY0" fmla="*/ 17479 h 17478"/>
              <a:gd name="connsiteX1" fmla="*/ 0 w 16313"/>
              <a:gd name="connsiteY1" fmla="*/ 17479 h 17478"/>
              <a:gd name="connsiteX2" fmla="*/ 9322 w 16313"/>
              <a:gd name="connsiteY2" fmla="*/ 8157 h 17478"/>
              <a:gd name="connsiteX3" fmla="*/ 0 w 16313"/>
              <a:gd name="connsiteY3" fmla="*/ 0 h 17478"/>
              <a:gd name="connsiteX4" fmla="*/ 8157 w 16313"/>
              <a:gd name="connsiteY4" fmla="*/ 0 h 17478"/>
              <a:gd name="connsiteX5" fmla="*/ 16313 w 16313"/>
              <a:gd name="connsiteY5" fmla="*/ 8157 h 17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13" h="17478">
                <a:moveTo>
                  <a:pt x="8157" y="17479"/>
                </a:moveTo>
                <a:lnTo>
                  <a:pt x="0" y="17479"/>
                </a:lnTo>
                <a:lnTo>
                  <a:pt x="9322" y="8157"/>
                </a:lnTo>
                <a:lnTo>
                  <a:pt x="0" y="0"/>
                </a:lnTo>
                <a:lnTo>
                  <a:pt x="8157" y="0"/>
                </a:lnTo>
                <a:lnTo>
                  <a:pt x="16313" y="8157"/>
                </a:lnTo>
                <a:close/>
              </a:path>
            </a:pathLst>
          </a:custGeom>
          <a:solidFill>
            <a:srgbClr val="EEF2F5"/>
          </a:solidFill>
          <a:ln w="11643" cap="flat">
            <a:noFill/>
            <a:prstDash val="solid"/>
            <a:miter/>
          </a:ln>
        </p:spPr>
        <p:txBody>
          <a:bodyPr rtlCol="0" anchor="ctr"/>
          <a:lstStyle/>
          <a:p>
            <a:endParaRPr lang="de-DE"/>
          </a:p>
        </p:txBody>
      </p:sp>
      <p:sp>
        <p:nvSpPr>
          <p:cNvPr id="312" name="Freihandform: Form 311">
            <a:extLst>
              <a:ext uri="{FF2B5EF4-FFF2-40B4-BE49-F238E27FC236}">
                <a16:creationId xmlns:a16="http://schemas.microsoft.com/office/drawing/2014/main" id="{87FB61E4-1ACD-4B14-BC93-A9AC520FBB33}"/>
              </a:ext>
            </a:extLst>
          </p:cNvPr>
          <p:cNvSpPr/>
          <p:nvPr userDrawn="1"/>
        </p:nvSpPr>
        <p:spPr>
          <a:xfrm>
            <a:off x="4909201" y="6359273"/>
            <a:ext cx="16313" cy="18643"/>
          </a:xfrm>
          <a:custGeom>
            <a:avLst/>
            <a:gdLst>
              <a:gd name="connsiteX0" fmla="*/ 8157 w 16313"/>
              <a:gd name="connsiteY0" fmla="*/ 18644 h 18643"/>
              <a:gd name="connsiteX1" fmla="*/ 0 w 16313"/>
              <a:gd name="connsiteY1" fmla="*/ 18644 h 18643"/>
              <a:gd name="connsiteX2" fmla="*/ 9322 w 16313"/>
              <a:gd name="connsiteY2" fmla="*/ 9322 h 18643"/>
              <a:gd name="connsiteX3" fmla="*/ 0 w 16313"/>
              <a:gd name="connsiteY3" fmla="*/ 0 h 18643"/>
              <a:gd name="connsiteX4" fmla="*/ 8157 w 16313"/>
              <a:gd name="connsiteY4" fmla="*/ 0 h 18643"/>
              <a:gd name="connsiteX5" fmla="*/ 16313 w 16313"/>
              <a:gd name="connsiteY5" fmla="*/ 9322 h 18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13" h="18643">
                <a:moveTo>
                  <a:pt x="8157" y="18644"/>
                </a:moveTo>
                <a:lnTo>
                  <a:pt x="0" y="18644"/>
                </a:lnTo>
                <a:lnTo>
                  <a:pt x="9322" y="9322"/>
                </a:lnTo>
                <a:lnTo>
                  <a:pt x="0" y="0"/>
                </a:lnTo>
                <a:lnTo>
                  <a:pt x="8157" y="0"/>
                </a:lnTo>
                <a:lnTo>
                  <a:pt x="16313" y="9322"/>
                </a:lnTo>
                <a:close/>
              </a:path>
            </a:pathLst>
          </a:custGeom>
          <a:solidFill>
            <a:srgbClr val="EEF2F5"/>
          </a:solidFill>
          <a:ln w="11643" cap="flat">
            <a:noFill/>
            <a:prstDash val="solid"/>
            <a:miter/>
          </a:ln>
        </p:spPr>
        <p:txBody>
          <a:bodyPr rtlCol="0" anchor="ctr"/>
          <a:lstStyle/>
          <a:p>
            <a:endParaRPr lang="de-DE"/>
          </a:p>
        </p:txBody>
      </p:sp>
      <p:sp>
        <p:nvSpPr>
          <p:cNvPr id="313" name="Freihandform: Form 312">
            <a:extLst>
              <a:ext uri="{FF2B5EF4-FFF2-40B4-BE49-F238E27FC236}">
                <a16:creationId xmlns:a16="http://schemas.microsoft.com/office/drawing/2014/main" id="{FF52D444-9AC4-4068-BEAF-D99296A51975}"/>
              </a:ext>
            </a:extLst>
          </p:cNvPr>
          <p:cNvSpPr/>
          <p:nvPr userDrawn="1"/>
        </p:nvSpPr>
        <p:spPr>
          <a:xfrm>
            <a:off x="4909201" y="6714673"/>
            <a:ext cx="16313" cy="17478"/>
          </a:xfrm>
          <a:custGeom>
            <a:avLst/>
            <a:gdLst>
              <a:gd name="connsiteX0" fmla="*/ 8157 w 16313"/>
              <a:gd name="connsiteY0" fmla="*/ 17479 h 17478"/>
              <a:gd name="connsiteX1" fmla="*/ 0 w 16313"/>
              <a:gd name="connsiteY1" fmla="*/ 17479 h 17478"/>
              <a:gd name="connsiteX2" fmla="*/ 9322 w 16313"/>
              <a:gd name="connsiteY2" fmla="*/ 8157 h 17478"/>
              <a:gd name="connsiteX3" fmla="*/ 0 w 16313"/>
              <a:gd name="connsiteY3" fmla="*/ 0 h 17478"/>
              <a:gd name="connsiteX4" fmla="*/ 8157 w 16313"/>
              <a:gd name="connsiteY4" fmla="*/ 0 h 17478"/>
              <a:gd name="connsiteX5" fmla="*/ 16313 w 16313"/>
              <a:gd name="connsiteY5" fmla="*/ 8157 h 17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13" h="17478">
                <a:moveTo>
                  <a:pt x="8157" y="17479"/>
                </a:moveTo>
                <a:lnTo>
                  <a:pt x="0" y="17479"/>
                </a:lnTo>
                <a:lnTo>
                  <a:pt x="9322" y="8157"/>
                </a:lnTo>
                <a:lnTo>
                  <a:pt x="0" y="0"/>
                </a:lnTo>
                <a:lnTo>
                  <a:pt x="8157" y="0"/>
                </a:lnTo>
                <a:lnTo>
                  <a:pt x="16313" y="8157"/>
                </a:lnTo>
                <a:close/>
              </a:path>
            </a:pathLst>
          </a:custGeom>
          <a:solidFill>
            <a:srgbClr val="EEF2F5"/>
          </a:solidFill>
          <a:ln w="11643" cap="flat">
            <a:noFill/>
            <a:prstDash val="solid"/>
            <a:miter/>
          </a:ln>
        </p:spPr>
        <p:txBody>
          <a:bodyPr rtlCol="0" anchor="ctr"/>
          <a:lstStyle/>
          <a:p>
            <a:endParaRPr lang="de-DE"/>
          </a:p>
        </p:txBody>
      </p:sp>
      <p:sp>
        <p:nvSpPr>
          <p:cNvPr id="314" name="Freihandform: Form 313">
            <a:extLst>
              <a:ext uri="{FF2B5EF4-FFF2-40B4-BE49-F238E27FC236}">
                <a16:creationId xmlns:a16="http://schemas.microsoft.com/office/drawing/2014/main" id="{3F69FE79-2706-4C30-8966-0A2EC1910BF0}"/>
              </a:ext>
            </a:extLst>
          </p:cNvPr>
          <p:cNvSpPr/>
          <p:nvPr userDrawn="1"/>
        </p:nvSpPr>
        <p:spPr>
          <a:xfrm>
            <a:off x="5255279" y="2092134"/>
            <a:ext cx="33792" cy="36122"/>
          </a:xfrm>
          <a:custGeom>
            <a:avLst/>
            <a:gdLst>
              <a:gd name="connsiteX0" fmla="*/ 15148 w 33792"/>
              <a:gd name="connsiteY0" fmla="*/ 36123 h 36122"/>
              <a:gd name="connsiteX1" fmla="*/ 0 w 33792"/>
              <a:gd name="connsiteY1" fmla="*/ 36123 h 36122"/>
              <a:gd name="connsiteX2" fmla="*/ 18644 w 33792"/>
              <a:gd name="connsiteY2" fmla="*/ 17479 h 36122"/>
              <a:gd name="connsiteX3" fmla="*/ 0 w 33792"/>
              <a:gd name="connsiteY3" fmla="*/ 0 h 36122"/>
              <a:gd name="connsiteX4" fmla="*/ 16313 w 33792"/>
              <a:gd name="connsiteY4" fmla="*/ 0 h 36122"/>
              <a:gd name="connsiteX5" fmla="*/ 33792 w 33792"/>
              <a:gd name="connsiteY5" fmla="*/ 17479 h 3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92" h="36122">
                <a:moveTo>
                  <a:pt x="15148" y="36123"/>
                </a:moveTo>
                <a:lnTo>
                  <a:pt x="0" y="36123"/>
                </a:lnTo>
                <a:lnTo>
                  <a:pt x="18644" y="17479"/>
                </a:lnTo>
                <a:lnTo>
                  <a:pt x="0" y="0"/>
                </a:lnTo>
                <a:lnTo>
                  <a:pt x="16313" y="0"/>
                </a:lnTo>
                <a:lnTo>
                  <a:pt x="33792" y="17479"/>
                </a:lnTo>
                <a:close/>
              </a:path>
            </a:pathLst>
          </a:custGeom>
          <a:solidFill>
            <a:srgbClr val="EEF2F5"/>
          </a:solidFill>
          <a:ln w="11643" cap="flat">
            <a:noFill/>
            <a:prstDash val="solid"/>
            <a:miter/>
          </a:ln>
        </p:spPr>
        <p:txBody>
          <a:bodyPr rtlCol="0" anchor="ctr"/>
          <a:lstStyle/>
          <a:p>
            <a:endParaRPr lang="de-DE"/>
          </a:p>
        </p:txBody>
      </p:sp>
      <p:sp>
        <p:nvSpPr>
          <p:cNvPr id="315" name="Freihandform: Form 314">
            <a:extLst>
              <a:ext uri="{FF2B5EF4-FFF2-40B4-BE49-F238E27FC236}">
                <a16:creationId xmlns:a16="http://schemas.microsoft.com/office/drawing/2014/main" id="{F4B53603-3712-42FD-9602-D38612E562AF}"/>
              </a:ext>
            </a:extLst>
          </p:cNvPr>
          <p:cNvSpPr/>
          <p:nvPr userDrawn="1"/>
        </p:nvSpPr>
        <p:spPr>
          <a:xfrm>
            <a:off x="5255279" y="2446370"/>
            <a:ext cx="33792" cy="36122"/>
          </a:xfrm>
          <a:custGeom>
            <a:avLst/>
            <a:gdLst>
              <a:gd name="connsiteX0" fmla="*/ 15148 w 33792"/>
              <a:gd name="connsiteY0" fmla="*/ 36123 h 36122"/>
              <a:gd name="connsiteX1" fmla="*/ 0 w 33792"/>
              <a:gd name="connsiteY1" fmla="*/ 36123 h 36122"/>
              <a:gd name="connsiteX2" fmla="*/ 18644 w 33792"/>
              <a:gd name="connsiteY2" fmla="*/ 18644 h 36122"/>
              <a:gd name="connsiteX3" fmla="*/ 0 w 33792"/>
              <a:gd name="connsiteY3" fmla="*/ 0 h 36122"/>
              <a:gd name="connsiteX4" fmla="*/ 16313 w 33792"/>
              <a:gd name="connsiteY4" fmla="*/ 0 h 36122"/>
              <a:gd name="connsiteX5" fmla="*/ 33792 w 33792"/>
              <a:gd name="connsiteY5" fmla="*/ 18644 h 3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92" h="36122">
                <a:moveTo>
                  <a:pt x="15148" y="36123"/>
                </a:moveTo>
                <a:lnTo>
                  <a:pt x="0" y="36123"/>
                </a:lnTo>
                <a:lnTo>
                  <a:pt x="18644" y="18644"/>
                </a:lnTo>
                <a:lnTo>
                  <a:pt x="0" y="0"/>
                </a:lnTo>
                <a:lnTo>
                  <a:pt x="16313" y="0"/>
                </a:lnTo>
                <a:lnTo>
                  <a:pt x="33792" y="18644"/>
                </a:lnTo>
                <a:close/>
              </a:path>
            </a:pathLst>
          </a:custGeom>
          <a:solidFill>
            <a:srgbClr val="EEF2F5"/>
          </a:solidFill>
          <a:ln w="11643" cap="flat">
            <a:noFill/>
            <a:prstDash val="solid"/>
            <a:miter/>
          </a:ln>
        </p:spPr>
        <p:txBody>
          <a:bodyPr rtlCol="0" anchor="ctr"/>
          <a:lstStyle/>
          <a:p>
            <a:endParaRPr lang="de-DE"/>
          </a:p>
        </p:txBody>
      </p:sp>
      <p:sp>
        <p:nvSpPr>
          <p:cNvPr id="316" name="Freihandform: Form 315">
            <a:extLst>
              <a:ext uri="{FF2B5EF4-FFF2-40B4-BE49-F238E27FC236}">
                <a16:creationId xmlns:a16="http://schemas.microsoft.com/office/drawing/2014/main" id="{4E782172-F80C-4F0D-9EAC-FB60DC8E79B1}"/>
              </a:ext>
            </a:extLst>
          </p:cNvPr>
          <p:cNvSpPr/>
          <p:nvPr userDrawn="1"/>
        </p:nvSpPr>
        <p:spPr>
          <a:xfrm>
            <a:off x="5255279" y="2801770"/>
            <a:ext cx="33792" cy="36122"/>
          </a:xfrm>
          <a:custGeom>
            <a:avLst/>
            <a:gdLst>
              <a:gd name="connsiteX0" fmla="*/ 15148 w 33792"/>
              <a:gd name="connsiteY0" fmla="*/ 36123 h 36122"/>
              <a:gd name="connsiteX1" fmla="*/ 0 w 33792"/>
              <a:gd name="connsiteY1" fmla="*/ 36123 h 36122"/>
              <a:gd name="connsiteX2" fmla="*/ 18644 w 33792"/>
              <a:gd name="connsiteY2" fmla="*/ 17479 h 36122"/>
              <a:gd name="connsiteX3" fmla="*/ 0 w 33792"/>
              <a:gd name="connsiteY3" fmla="*/ 0 h 36122"/>
              <a:gd name="connsiteX4" fmla="*/ 16313 w 33792"/>
              <a:gd name="connsiteY4" fmla="*/ 0 h 36122"/>
              <a:gd name="connsiteX5" fmla="*/ 33792 w 33792"/>
              <a:gd name="connsiteY5" fmla="*/ 17479 h 3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92" h="36122">
                <a:moveTo>
                  <a:pt x="15148" y="36123"/>
                </a:moveTo>
                <a:lnTo>
                  <a:pt x="0" y="36123"/>
                </a:lnTo>
                <a:lnTo>
                  <a:pt x="18644" y="17479"/>
                </a:lnTo>
                <a:lnTo>
                  <a:pt x="0" y="0"/>
                </a:lnTo>
                <a:lnTo>
                  <a:pt x="16313" y="0"/>
                </a:lnTo>
                <a:lnTo>
                  <a:pt x="33792" y="17479"/>
                </a:lnTo>
                <a:close/>
              </a:path>
            </a:pathLst>
          </a:custGeom>
          <a:solidFill>
            <a:srgbClr val="EEF2F5"/>
          </a:solidFill>
          <a:ln w="11643" cap="flat">
            <a:noFill/>
            <a:prstDash val="solid"/>
            <a:miter/>
          </a:ln>
        </p:spPr>
        <p:txBody>
          <a:bodyPr rtlCol="0" anchor="ctr"/>
          <a:lstStyle/>
          <a:p>
            <a:endParaRPr lang="de-DE"/>
          </a:p>
        </p:txBody>
      </p:sp>
      <p:sp>
        <p:nvSpPr>
          <p:cNvPr id="317" name="Freihandform: Form 316">
            <a:extLst>
              <a:ext uri="{FF2B5EF4-FFF2-40B4-BE49-F238E27FC236}">
                <a16:creationId xmlns:a16="http://schemas.microsoft.com/office/drawing/2014/main" id="{5AC89AEE-3E21-479D-AFC6-890140A3CE25}"/>
              </a:ext>
            </a:extLst>
          </p:cNvPr>
          <p:cNvSpPr/>
          <p:nvPr userDrawn="1"/>
        </p:nvSpPr>
        <p:spPr>
          <a:xfrm>
            <a:off x="5255279" y="3156006"/>
            <a:ext cx="33792" cy="36122"/>
          </a:xfrm>
          <a:custGeom>
            <a:avLst/>
            <a:gdLst>
              <a:gd name="connsiteX0" fmla="*/ 15148 w 33792"/>
              <a:gd name="connsiteY0" fmla="*/ 36123 h 36122"/>
              <a:gd name="connsiteX1" fmla="*/ 0 w 33792"/>
              <a:gd name="connsiteY1" fmla="*/ 36123 h 36122"/>
              <a:gd name="connsiteX2" fmla="*/ 18644 w 33792"/>
              <a:gd name="connsiteY2" fmla="*/ 18644 h 36122"/>
              <a:gd name="connsiteX3" fmla="*/ 0 w 33792"/>
              <a:gd name="connsiteY3" fmla="*/ 0 h 36122"/>
              <a:gd name="connsiteX4" fmla="*/ 16313 w 33792"/>
              <a:gd name="connsiteY4" fmla="*/ 0 h 36122"/>
              <a:gd name="connsiteX5" fmla="*/ 33792 w 33792"/>
              <a:gd name="connsiteY5" fmla="*/ 18644 h 3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92" h="36122">
                <a:moveTo>
                  <a:pt x="15148" y="36123"/>
                </a:moveTo>
                <a:lnTo>
                  <a:pt x="0" y="36123"/>
                </a:lnTo>
                <a:lnTo>
                  <a:pt x="18644" y="18644"/>
                </a:lnTo>
                <a:lnTo>
                  <a:pt x="0" y="0"/>
                </a:lnTo>
                <a:lnTo>
                  <a:pt x="16313" y="0"/>
                </a:lnTo>
                <a:lnTo>
                  <a:pt x="33792" y="18644"/>
                </a:lnTo>
                <a:close/>
              </a:path>
            </a:pathLst>
          </a:custGeom>
          <a:solidFill>
            <a:srgbClr val="EEF2F5"/>
          </a:solidFill>
          <a:ln w="11643" cap="flat">
            <a:noFill/>
            <a:prstDash val="solid"/>
            <a:miter/>
          </a:ln>
        </p:spPr>
        <p:txBody>
          <a:bodyPr rtlCol="0" anchor="ctr"/>
          <a:lstStyle/>
          <a:p>
            <a:endParaRPr lang="de-DE"/>
          </a:p>
        </p:txBody>
      </p:sp>
      <p:sp>
        <p:nvSpPr>
          <p:cNvPr id="318" name="Freihandform: Form 317">
            <a:extLst>
              <a:ext uri="{FF2B5EF4-FFF2-40B4-BE49-F238E27FC236}">
                <a16:creationId xmlns:a16="http://schemas.microsoft.com/office/drawing/2014/main" id="{B49D284A-3754-4334-8ECC-958A57DEF1F2}"/>
              </a:ext>
            </a:extLst>
          </p:cNvPr>
          <p:cNvSpPr/>
          <p:nvPr userDrawn="1"/>
        </p:nvSpPr>
        <p:spPr>
          <a:xfrm>
            <a:off x="5255279" y="5995715"/>
            <a:ext cx="33792" cy="36122"/>
          </a:xfrm>
          <a:custGeom>
            <a:avLst/>
            <a:gdLst>
              <a:gd name="connsiteX0" fmla="*/ 15148 w 33792"/>
              <a:gd name="connsiteY0" fmla="*/ 36123 h 36122"/>
              <a:gd name="connsiteX1" fmla="*/ 0 w 33792"/>
              <a:gd name="connsiteY1" fmla="*/ 36123 h 36122"/>
              <a:gd name="connsiteX2" fmla="*/ 18644 w 33792"/>
              <a:gd name="connsiteY2" fmla="*/ 17479 h 36122"/>
              <a:gd name="connsiteX3" fmla="*/ 0 w 33792"/>
              <a:gd name="connsiteY3" fmla="*/ 0 h 36122"/>
              <a:gd name="connsiteX4" fmla="*/ 16313 w 33792"/>
              <a:gd name="connsiteY4" fmla="*/ 0 h 36122"/>
              <a:gd name="connsiteX5" fmla="*/ 33792 w 33792"/>
              <a:gd name="connsiteY5" fmla="*/ 17479 h 3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92" h="36122">
                <a:moveTo>
                  <a:pt x="15148" y="36123"/>
                </a:moveTo>
                <a:lnTo>
                  <a:pt x="0" y="36123"/>
                </a:lnTo>
                <a:lnTo>
                  <a:pt x="18644" y="17479"/>
                </a:lnTo>
                <a:lnTo>
                  <a:pt x="0" y="0"/>
                </a:lnTo>
                <a:lnTo>
                  <a:pt x="16313" y="0"/>
                </a:lnTo>
                <a:lnTo>
                  <a:pt x="33792" y="17479"/>
                </a:lnTo>
                <a:close/>
              </a:path>
            </a:pathLst>
          </a:custGeom>
          <a:solidFill>
            <a:srgbClr val="EEF2F5"/>
          </a:solidFill>
          <a:ln w="11643" cap="flat">
            <a:noFill/>
            <a:prstDash val="solid"/>
            <a:miter/>
          </a:ln>
        </p:spPr>
        <p:txBody>
          <a:bodyPr rtlCol="0" anchor="ctr"/>
          <a:lstStyle/>
          <a:p>
            <a:endParaRPr lang="de-DE"/>
          </a:p>
        </p:txBody>
      </p:sp>
      <p:sp>
        <p:nvSpPr>
          <p:cNvPr id="319" name="Freihandform: Form 318">
            <a:extLst>
              <a:ext uri="{FF2B5EF4-FFF2-40B4-BE49-F238E27FC236}">
                <a16:creationId xmlns:a16="http://schemas.microsoft.com/office/drawing/2014/main" id="{A69B0409-A733-4EE2-98C0-896F38B72165}"/>
              </a:ext>
            </a:extLst>
          </p:cNvPr>
          <p:cNvSpPr/>
          <p:nvPr userDrawn="1"/>
        </p:nvSpPr>
        <p:spPr>
          <a:xfrm>
            <a:off x="5255279" y="6349950"/>
            <a:ext cx="33792" cy="36122"/>
          </a:xfrm>
          <a:custGeom>
            <a:avLst/>
            <a:gdLst>
              <a:gd name="connsiteX0" fmla="*/ 15148 w 33792"/>
              <a:gd name="connsiteY0" fmla="*/ 36123 h 36122"/>
              <a:gd name="connsiteX1" fmla="*/ 0 w 33792"/>
              <a:gd name="connsiteY1" fmla="*/ 36123 h 36122"/>
              <a:gd name="connsiteX2" fmla="*/ 18644 w 33792"/>
              <a:gd name="connsiteY2" fmla="*/ 18644 h 36122"/>
              <a:gd name="connsiteX3" fmla="*/ 0 w 33792"/>
              <a:gd name="connsiteY3" fmla="*/ 0 h 36122"/>
              <a:gd name="connsiteX4" fmla="*/ 16313 w 33792"/>
              <a:gd name="connsiteY4" fmla="*/ 0 h 36122"/>
              <a:gd name="connsiteX5" fmla="*/ 33792 w 33792"/>
              <a:gd name="connsiteY5" fmla="*/ 17479 h 3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92" h="36122">
                <a:moveTo>
                  <a:pt x="15148" y="36123"/>
                </a:moveTo>
                <a:lnTo>
                  <a:pt x="0" y="36123"/>
                </a:lnTo>
                <a:lnTo>
                  <a:pt x="18644" y="18644"/>
                </a:lnTo>
                <a:lnTo>
                  <a:pt x="0" y="0"/>
                </a:lnTo>
                <a:lnTo>
                  <a:pt x="16313" y="0"/>
                </a:lnTo>
                <a:lnTo>
                  <a:pt x="33792" y="17479"/>
                </a:lnTo>
                <a:close/>
              </a:path>
            </a:pathLst>
          </a:custGeom>
          <a:solidFill>
            <a:srgbClr val="EEF2F5"/>
          </a:solidFill>
          <a:ln w="11643" cap="flat">
            <a:noFill/>
            <a:prstDash val="solid"/>
            <a:miter/>
          </a:ln>
        </p:spPr>
        <p:txBody>
          <a:bodyPr rtlCol="0" anchor="ctr"/>
          <a:lstStyle/>
          <a:p>
            <a:endParaRPr lang="de-DE"/>
          </a:p>
        </p:txBody>
      </p:sp>
      <p:sp>
        <p:nvSpPr>
          <p:cNvPr id="320" name="Freihandform: Form 319">
            <a:extLst>
              <a:ext uri="{FF2B5EF4-FFF2-40B4-BE49-F238E27FC236}">
                <a16:creationId xmlns:a16="http://schemas.microsoft.com/office/drawing/2014/main" id="{CF4A57C6-D03C-4435-9ADC-6B2A2369F87E}"/>
              </a:ext>
            </a:extLst>
          </p:cNvPr>
          <p:cNvSpPr/>
          <p:nvPr userDrawn="1"/>
        </p:nvSpPr>
        <p:spPr>
          <a:xfrm>
            <a:off x="5255279" y="6705351"/>
            <a:ext cx="33792" cy="36122"/>
          </a:xfrm>
          <a:custGeom>
            <a:avLst/>
            <a:gdLst>
              <a:gd name="connsiteX0" fmla="*/ 15148 w 33792"/>
              <a:gd name="connsiteY0" fmla="*/ 36123 h 36122"/>
              <a:gd name="connsiteX1" fmla="*/ 0 w 33792"/>
              <a:gd name="connsiteY1" fmla="*/ 36123 h 36122"/>
              <a:gd name="connsiteX2" fmla="*/ 18644 w 33792"/>
              <a:gd name="connsiteY2" fmla="*/ 17479 h 36122"/>
              <a:gd name="connsiteX3" fmla="*/ 0 w 33792"/>
              <a:gd name="connsiteY3" fmla="*/ 0 h 36122"/>
              <a:gd name="connsiteX4" fmla="*/ 16313 w 33792"/>
              <a:gd name="connsiteY4" fmla="*/ 0 h 36122"/>
              <a:gd name="connsiteX5" fmla="*/ 33792 w 33792"/>
              <a:gd name="connsiteY5" fmla="*/ 17479 h 3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92" h="36122">
                <a:moveTo>
                  <a:pt x="15148" y="36123"/>
                </a:moveTo>
                <a:lnTo>
                  <a:pt x="0" y="36123"/>
                </a:lnTo>
                <a:lnTo>
                  <a:pt x="18644" y="17479"/>
                </a:lnTo>
                <a:lnTo>
                  <a:pt x="0" y="0"/>
                </a:lnTo>
                <a:lnTo>
                  <a:pt x="16313" y="0"/>
                </a:lnTo>
                <a:lnTo>
                  <a:pt x="33792" y="17479"/>
                </a:lnTo>
                <a:close/>
              </a:path>
            </a:pathLst>
          </a:custGeom>
          <a:solidFill>
            <a:srgbClr val="EEF2F5"/>
          </a:solidFill>
          <a:ln w="11643" cap="flat">
            <a:noFill/>
            <a:prstDash val="solid"/>
            <a:miter/>
          </a:ln>
        </p:spPr>
        <p:txBody>
          <a:bodyPr rtlCol="0" anchor="ctr"/>
          <a:lstStyle/>
          <a:p>
            <a:endParaRPr lang="de-DE"/>
          </a:p>
        </p:txBody>
      </p:sp>
      <p:sp>
        <p:nvSpPr>
          <p:cNvPr id="321" name="Freihandform: Form 320">
            <a:extLst>
              <a:ext uri="{FF2B5EF4-FFF2-40B4-BE49-F238E27FC236}">
                <a16:creationId xmlns:a16="http://schemas.microsoft.com/office/drawing/2014/main" id="{1807184F-5BFC-46A4-B573-61D79451EAFB}"/>
              </a:ext>
            </a:extLst>
          </p:cNvPr>
          <p:cNvSpPr/>
          <p:nvPr userDrawn="1"/>
        </p:nvSpPr>
        <p:spPr>
          <a:xfrm>
            <a:off x="5602523" y="2082812"/>
            <a:ext cx="50105" cy="54766"/>
          </a:xfrm>
          <a:custGeom>
            <a:avLst/>
            <a:gdLst>
              <a:gd name="connsiteX0" fmla="*/ 22140 w 50105"/>
              <a:gd name="connsiteY0" fmla="*/ 54767 h 54766"/>
              <a:gd name="connsiteX1" fmla="*/ 0 w 50105"/>
              <a:gd name="connsiteY1" fmla="*/ 54767 h 54766"/>
              <a:gd name="connsiteX2" fmla="*/ 26801 w 50105"/>
              <a:gd name="connsiteY2" fmla="*/ 27966 h 54766"/>
              <a:gd name="connsiteX3" fmla="*/ 0 w 50105"/>
              <a:gd name="connsiteY3" fmla="*/ 0 h 54766"/>
              <a:gd name="connsiteX4" fmla="*/ 23305 w 50105"/>
              <a:gd name="connsiteY4" fmla="*/ 0 h 54766"/>
              <a:gd name="connsiteX5" fmla="*/ 50106 w 50105"/>
              <a:gd name="connsiteY5" fmla="*/ 26801 h 5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4765">
                <a:moveTo>
                  <a:pt x="22140" y="54767"/>
                </a:moveTo>
                <a:lnTo>
                  <a:pt x="0" y="54767"/>
                </a:lnTo>
                <a:lnTo>
                  <a:pt x="26801" y="27966"/>
                </a:lnTo>
                <a:lnTo>
                  <a:pt x="0" y="0"/>
                </a:lnTo>
                <a:lnTo>
                  <a:pt x="23305" y="0"/>
                </a:lnTo>
                <a:lnTo>
                  <a:pt x="50106" y="26801"/>
                </a:lnTo>
                <a:close/>
              </a:path>
            </a:pathLst>
          </a:custGeom>
          <a:solidFill>
            <a:srgbClr val="EEF2F5"/>
          </a:solidFill>
          <a:ln w="11643" cap="flat">
            <a:noFill/>
            <a:prstDash val="solid"/>
            <a:miter/>
          </a:ln>
        </p:spPr>
        <p:txBody>
          <a:bodyPr rtlCol="0" anchor="ctr"/>
          <a:lstStyle/>
          <a:p>
            <a:endParaRPr lang="de-DE"/>
          </a:p>
        </p:txBody>
      </p:sp>
      <p:sp>
        <p:nvSpPr>
          <p:cNvPr id="322" name="Freihandform: Form 321">
            <a:extLst>
              <a:ext uri="{FF2B5EF4-FFF2-40B4-BE49-F238E27FC236}">
                <a16:creationId xmlns:a16="http://schemas.microsoft.com/office/drawing/2014/main" id="{C0D0B83B-4824-46BE-8996-93D859654DAF}"/>
              </a:ext>
            </a:extLst>
          </p:cNvPr>
          <p:cNvSpPr/>
          <p:nvPr userDrawn="1"/>
        </p:nvSpPr>
        <p:spPr>
          <a:xfrm>
            <a:off x="5602523" y="2438213"/>
            <a:ext cx="50105" cy="53601"/>
          </a:xfrm>
          <a:custGeom>
            <a:avLst/>
            <a:gdLst>
              <a:gd name="connsiteX0" fmla="*/ 22140 w 50105"/>
              <a:gd name="connsiteY0" fmla="*/ 53601 h 53601"/>
              <a:gd name="connsiteX1" fmla="*/ 0 w 50105"/>
              <a:gd name="connsiteY1" fmla="*/ 53601 h 53601"/>
              <a:gd name="connsiteX2" fmla="*/ 26801 w 50105"/>
              <a:gd name="connsiteY2" fmla="*/ 26801 h 53601"/>
              <a:gd name="connsiteX3" fmla="*/ 0 w 50105"/>
              <a:gd name="connsiteY3" fmla="*/ 0 h 53601"/>
              <a:gd name="connsiteX4" fmla="*/ 23305 w 50105"/>
              <a:gd name="connsiteY4" fmla="*/ 0 h 53601"/>
              <a:gd name="connsiteX5" fmla="*/ 50106 w 50105"/>
              <a:gd name="connsiteY5" fmla="*/ 25635 h 53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3601">
                <a:moveTo>
                  <a:pt x="22140" y="53601"/>
                </a:moveTo>
                <a:lnTo>
                  <a:pt x="0" y="53601"/>
                </a:lnTo>
                <a:lnTo>
                  <a:pt x="26801" y="26801"/>
                </a:lnTo>
                <a:lnTo>
                  <a:pt x="0" y="0"/>
                </a:lnTo>
                <a:lnTo>
                  <a:pt x="23305" y="0"/>
                </a:lnTo>
                <a:lnTo>
                  <a:pt x="50106" y="25635"/>
                </a:lnTo>
                <a:close/>
              </a:path>
            </a:pathLst>
          </a:custGeom>
          <a:solidFill>
            <a:srgbClr val="EEF2F5"/>
          </a:solidFill>
          <a:ln w="11643" cap="flat">
            <a:noFill/>
            <a:prstDash val="solid"/>
            <a:miter/>
          </a:ln>
        </p:spPr>
        <p:txBody>
          <a:bodyPr rtlCol="0" anchor="ctr"/>
          <a:lstStyle/>
          <a:p>
            <a:endParaRPr lang="de-DE"/>
          </a:p>
        </p:txBody>
      </p:sp>
      <p:sp>
        <p:nvSpPr>
          <p:cNvPr id="323" name="Freihandform: Form 322">
            <a:extLst>
              <a:ext uri="{FF2B5EF4-FFF2-40B4-BE49-F238E27FC236}">
                <a16:creationId xmlns:a16="http://schemas.microsoft.com/office/drawing/2014/main" id="{12E80D0E-DA88-4D3B-A304-2437DDA9D26E}"/>
              </a:ext>
            </a:extLst>
          </p:cNvPr>
          <p:cNvSpPr/>
          <p:nvPr userDrawn="1"/>
        </p:nvSpPr>
        <p:spPr>
          <a:xfrm>
            <a:off x="5602523" y="2792448"/>
            <a:ext cx="50105" cy="54766"/>
          </a:xfrm>
          <a:custGeom>
            <a:avLst/>
            <a:gdLst>
              <a:gd name="connsiteX0" fmla="*/ 22140 w 50105"/>
              <a:gd name="connsiteY0" fmla="*/ 54767 h 54766"/>
              <a:gd name="connsiteX1" fmla="*/ 0 w 50105"/>
              <a:gd name="connsiteY1" fmla="*/ 54767 h 54766"/>
              <a:gd name="connsiteX2" fmla="*/ 26801 w 50105"/>
              <a:gd name="connsiteY2" fmla="*/ 27966 h 54766"/>
              <a:gd name="connsiteX3" fmla="*/ 0 w 50105"/>
              <a:gd name="connsiteY3" fmla="*/ 0 h 54766"/>
              <a:gd name="connsiteX4" fmla="*/ 23305 w 50105"/>
              <a:gd name="connsiteY4" fmla="*/ 0 h 54766"/>
              <a:gd name="connsiteX5" fmla="*/ 50106 w 50105"/>
              <a:gd name="connsiteY5" fmla="*/ 26801 h 5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4765">
                <a:moveTo>
                  <a:pt x="22140" y="54767"/>
                </a:moveTo>
                <a:lnTo>
                  <a:pt x="0" y="54767"/>
                </a:lnTo>
                <a:lnTo>
                  <a:pt x="26801" y="27966"/>
                </a:lnTo>
                <a:lnTo>
                  <a:pt x="0" y="0"/>
                </a:lnTo>
                <a:lnTo>
                  <a:pt x="23305" y="0"/>
                </a:lnTo>
                <a:lnTo>
                  <a:pt x="50106" y="26801"/>
                </a:lnTo>
                <a:close/>
              </a:path>
            </a:pathLst>
          </a:custGeom>
          <a:solidFill>
            <a:srgbClr val="EEF2F5"/>
          </a:solidFill>
          <a:ln w="11643" cap="flat">
            <a:noFill/>
            <a:prstDash val="solid"/>
            <a:miter/>
          </a:ln>
        </p:spPr>
        <p:txBody>
          <a:bodyPr rtlCol="0" anchor="ctr"/>
          <a:lstStyle/>
          <a:p>
            <a:endParaRPr lang="de-DE"/>
          </a:p>
        </p:txBody>
      </p:sp>
      <p:sp>
        <p:nvSpPr>
          <p:cNvPr id="324" name="Freihandform: Form 323">
            <a:extLst>
              <a:ext uri="{FF2B5EF4-FFF2-40B4-BE49-F238E27FC236}">
                <a16:creationId xmlns:a16="http://schemas.microsoft.com/office/drawing/2014/main" id="{75F4BC4C-9ADA-43B5-9F89-F834BAC4C3C6}"/>
              </a:ext>
            </a:extLst>
          </p:cNvPr>
          <p:cNvSpPr/>
          <p:nvPr userDrawn="1"/>
        </p:nvSpPr>
        <p:spPr>
          <a:xfrm>
            <a:off x="5602523" y="3147849"/>
            <a:ext cx="50105" cy="53601"/>
          </a:xfrm>
          <a:custGeom>
            <a:avLst/>
            <a:gdLst>
              <a:gd name="connsiteX0" fmla="*/ 22140 w 50105"/>
              <a:gd name="connsiteY0" fmla="*/ 53601 h 53601"/>
              <a:gd name="connsiteX1" fmla="*/ 0 w 50105"/>
              <a:gd name="connsiteY1" fmla="*/ 53601 h 53601"/>
              <a:gd name="connsiteX2" fmla="*/ 26801 w 50105"/>
              <a:gd name="connsiteY2" fmla="*/ 26801 h 53601"/>
              <a:gd name="connsiteX3" fmla="*/ 0 w 50105"/>
              <a:gd name="connsiteY3" fmla="*/ 0 h 53601"/>
              <a:gd name="connsiteX4" fmla="*/ 23305 w 50105"/>
              <a:gd name="connsiteY4" fmla="*/ 0 h 53601"/>
              <a:gd name="connsiteX5" fmla="*/ 50106 w 50105"/>
              <a:gd name="connsiteY5" fmla="*/ 26801 h 53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3601">
                <a:moveTo>
                  <a:pt x="22140" y="53601"/>
                </a:moveTo>
                <a:lnTo>
                  <a:pt x="0" y="53601"/>
                </a:lnTo>
                <a:lnTo>
                  <a:pt x="26801" y="26801"/>
                </a:lnTo>
                <a:lnTo>
                  <a:pt x="0" y="0"/>
                </a:lnTo>
                <a:lnTo>
                  <a:pt x="23305" y="0"/>
                </a:lnTo>
                <a:lnTo>
                  <a:pt x="50106" y="26801"/>
                </a:lnTo>
                <a:close/>
              </a:path>
            </a:pathLst>
          </a:custGeom>
          <a:solidFill>
            <a:srgbClr val="EEF2F5"/>
          </a:solidFill>
          <a:ln w="11643" cap="flat">
            <a:noFill/>
            <a:prstDash val="solid"/>
            <a:miter/>
          </a:ln>
        </p:spPr>
        <p:txBody>
          <a:bodyPr rtlCol="0" anchor="ctr"/>
          <a:lstStyle/>
          <a:p>
            <a:endParaRPr lang="de-DE"/>
          </a:p>
        </p:txBody>
      </p:sp>
      <p:sp>
        <p:nvSpPr>
          <p:cNvPr id="325" name="Freihandform: Form 324">
            <a:extLst>
              <a:ext uri="{FF2B5EF4-FFF2-40B4-BE49-F238E27FC236}">
                <a16:creationId xmlns:a16="http://schemas.microsoft.com/office/drawing/2014/main" id="{D89D440D-BCDF-43E7-B3AD-4B1C9D100423}"/>
              </a:ext>
            </a:extLst>
          </p:cNvPr>
          <p:cNvSpPr/>
          <p:nvPr userDrawn="1"/>
        </p:nvSpPr>
        <p:spPr>
          <a:xfrm>
            <a:off x="5602523" y="3502084"/>
            <a:ext cx="50105" cy="54766"/>
          </a:xfrm>
          <a:custGeom>
            <a:avLst/>
            <a:gdLst>
              <a:gd name="connsiteX0" fmla="*/ 22140 w 50105"/>
              <a:gd name="connsiteY0" fmla="*/ 54767 h 54766"/>
              <a:gd name="connsiteX1" fmla="*/ 0 w 50105"/>
              <a:gd name="connsiteY1" fmla="*/ 54767 h 54766"/>
              <a:gd name="connsiteX2" fmla="*/ 26801 w 50105"/>
              <a:gd name="connsiteY2" fmla="*/ 27966 h 54766"/>
              <a:gd name="connsiteX3" fmla="*/ 0 w 50105"/>
              <a:gd name="connsiteY3" fmla="*/ 0 h 54766"/>
              <a:gd name="connsiteX4" fmla="*/ 23305 w 50105"/>
              <a:gd name="connsiteY4" fmla="*/ 0 h 54766"/>
              <a:gd name="connsiteX5" fmla="*/ 50106 w 50105"/>
              <a:gd name="connsiteY5" fmla="*/ 26801 h 5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4765">
                <a:moveTo>
                  <a:pt x="22140" y="54767"/>
                </a:moveTo>
                <a:lnTo>
                  <a:pt x="0" y="54767"/>
                </a:lnTo>
                <a:lnTo>
                  <a:pt x="26801" y="27966"/>
                </a:lnTo>
                <a:lnTo>
                  <a:pt x="0" y="0"/>
                </a:lnTo>
                <a:lnTo>
                  <a:pt x="23305" y="0"/>
                </a:lnTo>
                <a:lnTo>
                  <a:pt x="50106" y="26801"/>
                </a:lnTo>
                <a:close/>
              </a:path>
            </a:pathLst>
          </a:custGeom>
          <a:solidFill>
            <a:srgbClr val="EEF2F5"/>
          </a:solidFill>
          <a:ln w="11643" cap="flat">
            <a:noFill/>
            <a:prstDash val="solid"/>
            <a:miter/>
          </a:ln>
        </p:spPr>
        <p:txBody>
          <a:bodyPr rtlCol="0" anchor="ctr"/>
          <a:lstStyle/>
          <a:p>
            <a:endParaRPr lang="de-DE"/>
          </a:p>
        </p:txBody>
      </p:sp>
      <p:sp>
        <p:nvSpPr>
          <p:cNvPr id="326" name="Freihandform: Form 325">
            <a:extLst>
              <a:ext uri="{FF2B5EF4-FFF2-40B4-BE49-F238E27FC236}">
                <a16:creationId xmlns:a16="http://schemas.microsoft.com/office/drawing/2014/main" id="{95E32A0E-3A5A-4B5B-A0A6-86D6905C4904}"/>
              </a:ext>
            </a:extLst>
          </p:cNvPr>
          <p:cNvSpPr/>
          <p:nvPr userDrawn="1"/>
        </p:nvSpPr>
        <p:spPr>
          <a:xfrm>
            <a:off x="5602523" y="5630993"/>
            <a:ext cx="50105" cy="54766"/>
          </a:xfrm>
          <a:custGeom>
            <a:avLst/>
            <a:gdLst>
              <a:gd name="connsiteX0" fmla="*/ 22140 w 50105"/>
              <a:gd name="connsiteY0" fmla="*/ 54766 h 54766"/>
              <a:gd name="connsiteX1" fmla="*/ 0 w 50105"/>
              <a:gd name="connsiteY1" fmla="*/ 54766 h 54766"/>
              <a:gd name="connsiteX2" fmla="*/ 26801 w 50105"/>
              <a:gd name="connsiteY2" fmla="*/ 27966 h 54766"/>
              <a:gd name="connsiteX3" fmla="*/ 0 w 50105"/>
              <a:gd name="connsiteY3" fmla="*/ 0 h 54766"/>
              <a:gd name="connsiteX4" fmla="*/ 23305 w 50105"/>
              <a:gd name="connsiteY4" fmla="*/ 0 h 54766"/>
              <a:gd name="connsiteX5" fmla="*/ 50106 w 50105"/>
              <a:gd name="connsiteY5" fmla="*/ 26801 h 5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4765">
                <a:moveTo>
                  <a:pt x="22140" y="54766"/>
                </a:moveTo>
                <a:lnTo>
                  <a:pt x="0" y="54766"/>
                </a:lnTo>
                <a:lnTo>
                  <a:pt x="26801" y="27966"/>
                </a:lnTo>
                <a:lnTo>
                  <a:pt x="0" y="0"/>
                </a:lnTo>
                <a:lnTo>
                  <a:pt x="23305" y="0"/>
                </a:lnTo>
                <a:lnTo>
                  <a:pt x="50106" y="26801"/>
                </a:lnTo>
                <a:close/>
              </a:path>
            </a:pathLst>
          </a:custGeom>
          <a:solidFill>
            <a:srgbClr val="EEF2F5"/>
          </a:solidFill>
          <a:ln w="11643" cap="flat">
            <a:noFill/>
            <a:prstDash val="solid"/>
            <a:miter/>
          </a:ln>
        </p:spPr>
        <p:txBody>
          <a:bodyPr rtlCol="0" anchor="ctr"/>
          <a:lstStyle/>
          <a:p>
            <a:endParaRPr lang="de-DE"/>
          </a:p>
        </p:txBody>
      </p:sp>
      <p:sp>
        <p:nvSpPr>
          <p:cNvPr id="327" name="Freihandform: Form 326">
            <a:extLst>
              <a:ext uri="{FF2B5EF4-FFF2-40B4-BE49-F238E27FC236}">
                <a16:creationId xmlns:a16="http://schemas.microsoft.com/office/drawing/2014/main" id="{85895A0B-5B7D-4040-8BB1-5C871FAB6EE7}"/>
              </a:ext>
            </a:extLst>
          </p:cNvPr>
          <p:cNvSpPr/>
          <p:nvPr userDrawn="1"/>
        </p:nvSpPr>
        <p:spPr>
          <a:xfrm>
            <a:off x="5602523" y="5986393"/>
            <a:ext cx="50105" cy="54766"/>
          </a:xfrm>
          <a:custGeom>
            <a:avLst/>
            <a:gdLst>
              <a:gd name="connsiteX0" fmla="*/ 22140 w 50105"/>
              <a:gd name="connsiteY0" fmla="*/ 54766 h 54766"/>
              <a:gd name="connsiteX1" fmla="*/ 0 w 50105"/>
              <a:gd name="connsiteY1" fmla="*/ 54766 h 54766"/>
              <a:gd name="connsiteX2" fmla="*/ 26801 w 50105"/>
              <a:gd name="connsiteY2" fmla="*/ 26801 h 54766"/>
              <a:gd name="connsiteX3" fmla="*/ 0 w 50105"/>
              <a:gd name="connsiteY3" fmla="*/ 0 h 54766"/>
              <a:gd name="connsiteX4" fmla="*/ 23305 w 50105"/>
              <a:gd name="connsiteY4" fmla="*/ 0 h 54766"/>
              <a:gd name="connsiteX5" fmla="*/ 50106 w 50105"/>
              <a:gd name="connsiteY5" fmla="*/ 26801 h 5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4765">
                <a:moveTo>
                  <a:pt x="22140" y="54766"/>
                </a:moveTo>
                <a:lnTo>
                  <a:pt x="0" y="54766"/>
                </a:lnTo>
                <a:lnTo>
                  <a:pt x="26801" y="26801"/>
                </a:lnTo>
                <a:lnTo>
                  <a:pt x="0" y="0"/>
                </a:lnTo>
                <a:lnTo>
                  <a:pt x="23305" y="0"/>
                </a:lnTo>
                <a:lnTo>
                  <a:pt x="50106" y="26801"/>
                </a:lnTo>
                <a:close/>
              </a:path>
            </a:pathLst>
          </a:custGeom>
          <a:solidFill>
            <a:srgbClr val="EEF2F5"/>
          </a:solidFill>
          <a:ln w="11643" cap="flat">
            <a:noFill/>
            <a:prstDash val="solid"/>
            <a:miter/>
          </a:ln>
        </p:spPr>
        <p:txBody>
          <a:bodyPr rtlCol="0" anchor="ctr"/>
          <a:lstStyle/>
          <a:p>
            <a:endParaRPr lang="de-DE"/>
          </a:p>
        </p:txBody>
      </p:sp>
      <p:sp>
        <p:nvSpPr>
          <p:cNvPr id="328" name="Freihandform: Form 327">
            <a:extLst>
              <a:ext uri="{FF2B5EF4-FFF2-40B4-BE49-F238E27FC236}">
                <a16:creationId xmlns:a16="http://schemas.microsoft.com/office/drawing/2014/main" id="{F82EB456-ACBE-4744-9452-8F06AAB03489}"/>
              </a:ext>
            </a:extLst>
          </p:cNvPr>
          <p:cNvSpPr/>
          <p:nvPr userDrawn="1"/>
        </p:nvSpPr>
        <p:spPr>
          <a:xfrm>
            <a:off x="5602523" y="6340628"/>
            <a:ext cx="50105" cy="54766"/>
          </a:xfrm>
          <a:custGeom>
            <a:avLst/>
            <a:gdLst>
              <a:gd name="connsiteX0" fmla="*/ 22140 w 50105"/>
              <a:gd name="connsiteY0" fmla="*/ 54766 h 54766"/>
              <a:gd name="connsiteX1" fmla="*/ 0 w 50105"/>
              <a:gd name="connsiteY1" fmla="*/ 54766 h 54766"/>
              <a:gd name="connsiteX2" fmla="*/ 26801 w 50105"/>
              <a:gd name="connsiteY2" fmla="*/ 27966 h 54766"/>
              <a:gd name="connsiteX3" fmla="*/ 0 w 50105"/>
              <a:gd name="connsiteY3" fmla="*/ 0 h 54766"/>
              <a:gd name="connsiteX4" fmla="*/ 23305 w 50105"/>
              <a:gd name="connsiteY4" fmla="*/ 0 h 54766"/>
              <a:gd name="connsiteX5" fmla="*/ 50106 w 50105"/>
              <a:gd name="connsiteY5" fmla="*/ 26801 h 5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4765">
                <a:moveTo>
                  <a:pt x="22140" y="54766"/>
                </a:moveTo>
                <a:lnTo>
                  <a:pt x="0" y="54766"/>
                </a:lnTo>
                <a:lnTo>
                  <a:pt x="26801" y="27966"/>
                </a:lnTo>
                <a:lnTo>
                  <a:pt x="0" y="0"/>
                </a:lnTo>
                <a:lnTo>
                  <a:pt x="23305" y="0"/>
                </a:lnTo>
                <a:lnTo>
                  <a:pt x="50106" y="26801"/>
                </a:lnTo>
                <a:close/>
              </a:path>
            </a:pathLst>
          </a:custGeom>
          <a:solidFill>
            <a:srgbClr val="EEF2F5"/>
          </a:solidFill>
          <a:ln w="11643" cap="flat">
            <a:noFill/>
            <a:prstDash val="solid"/>
            <a:miter/>
          </a:ln>
        </p:spPr>
        <p:txBody>
          <a:bodyPr rtlCol="0" anchor="ctr"/>
          <a:lstStyle/>
          <a:p>
            <a:endParaRPr lang="de-DE"/>
          </a:p>
        </p:txBody>
      </p:sp>
      <p:sp>
        <p:nvSpPr>
          <p:cNvPr id="329" name="Freihandform: Form 328">
            <a:extLst>
              <a:ext uri="{FF2B5EF4-FFF2-40B4-BE49-F238E27FC236}">
                <a16:creationId xmlns:a16="http://schemas.microsoft.com/office/drawing/2014/main" id="{4FED52AE-417D-492D-96F2-E2A5734595A3}"/>
              </a:ext>
            </a:extLst>
          </p:cNvPr>
          <p:cNvSpPr/>
          <p:nvPr userDrawn="1"/>
        </p:nvSpPr>
        <p:spPr>
          <a:xfrm>
            <a:off x="5602523" y="6696029"/>
            <a:ext cx="50105" cy="54766"/>
          </a:xfrm>
          <a:custGeom>
            <a:avLst/>
            <a:gdLst>
              <a:gd name="connsiteX0" fmla="*/ 22140 w 50105"/>
              <a:gd name="connsiteY0" fmla="*/ 54766 h 54766"/>
              <a:gd name="connsiteX1" fmla="*/ 0 w 50105"/>
              <a:gd name="connsiteY1" fmla="*/ 54766 h 54766"/>
              <a:gd name="connsiteX2" fmla="*/ 26801 w 50105"/>
              <a:gd name="connsiteY2" fmla="*/ 27966 h 54766"/>
              <a:gd name="connsiteX3" fmla="*/ 0 w 50105"/>
              <a:gd name="connsiteY3" fmla="*/ 0 h 54766"/>
              <a:gd name="connsiteX4" fmla="*/ 23305 w 50105"/>
              <a:gd name="connsiteY4" fmla="*/ 0 h 54766"/>
              <a:gd name="connsiteX5" fmla="*/ 50106 w 50105"/>
              <a:gd name="connsiteY5" fmla="*/ 26801 h 5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4765">
                <a:moveTo>
                  <a:pt x="22140" y="54766"/>
                </a:moveTo>
                <a:lnTo>
                  <a:pt x="0" y="54766"/>
                </a:lnTo>
                <a:lnTo>
                  <a:pt x="26801" y="27966"/>
                </a:lnTo>
                <a:lnTo>
                  <a:pt x="0" y="0"/>
                </a:lnTo>
                <a:lnTo>
                  <a:pt x="23305" y="0"/>
                </a:lnTo>
                <a:lnTo>
                  <a:pt x="50106" y="26801"/>
                </a:lnTo>
                <a:close/>
              </a:path>
            </a:pathLst>
          </a:custGeom>
          <a:solidFill>
            <a:srgbClr val="EEF2F5"/>
          </a:solidFill>
          <a:ln w="11643" cap="flat">
            <a:noFill/>
            <a:prstDash val="solid"/>
            <a:miter/>
          </a:ln>
        </p:spPr>
        <p:txBody>
          <a:bodyPr rtlCol="0" anchor="ctr"/>
          <a:lstStyle/>
          <a:p>
            <a:endParaRPr lang="de-DE"/>
          </a:p>
        </p:txBody>
      </p:sp>
      <p:sp>
        <p:nvSpPr>
          <p:cNvPr id="330" name="Freihandform: Form 329">
            <a:extLst>
              <a:ext uri="{FF2B5EF4-FFF2-40B4-BE49-F238E27FC236}">
                <a16:creationId xmlns:a16="http://schemas.microsoft.com/office/drawing/2014/main" id="{BA0E4B54-661A-44F6-9401-68AED3542315}"/>
              </a:ext>
            </a:extLst>
          </p:cNvPr>
          <p:cNvSpPr/>
          <p:nvPr userDrawn="1"/>
        </p:nvSpPr>
        <p:spPr>
          <a:xfrm>
            <a:off x="5948602" y="2073490"/>
            <a:ext cx="66419" cy="72245"/>
          </a:xfrm>
          <a:custGeom>
            <a:avLst/>
            <a:gdLst>
              <a:gd name="connsiteX0" fmla="*/ 30297 w 66419"/>
              <a:gd name="connsiteY0" fmla="*/ 72245 h 72245"/>
              <a:gd name="connsiteX1" fmla="*/ 0 w 66419"/>
              <a:gd name="connsiteY1" fmla="*/ 72245 h 72245"/>
              <a:gd name="connsiteX2" fmla="*/ 36123 w 66419"/>
              <a:gd name="connsiteY2" fmla="*/ 37288 h 72245"/>
              <a:gd name="connsiteX3" fmla="*/ 0 w 66419"/>
              <a:gd name="connsiteY3" fmla="*/ 0 h 72245"/>
              <a:gd name="connsiteX4" fmla="*/ 31462 w 66419"/>
              <a:gd name="connsiteY4" fmla="*/ 0 h 72245"/>
              <a:gd name="connsiteX5" fmla="*/ 66419 w 66419"/>
              <a:gd name="connsiteY5" fmla="*/ 36123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5"/>
                </a:moveTo>
                <a:lnTo>
                  <a:pt x="0" y="72245"/>
                </a:lnTo>
                <a:lnTo>
                  <a:pt x="36123" y="37288"/>
                </a:lnTo>
                <a:lnTo>
                  <a:pt x="0" y="0"/>
                </a:lnTo>
                <a:lnTo>
                  <a:pt x="31462" y="0"/>
                </a:lnTo>
                <a:lnTo>
                  <a:pt x="66419" y="36123"/>
                </a:lnTo>
                <a:close/>
              </a:path>
            </a:pathLst>
          </a:custGeom>
          <a:solidFill>
            <a:srgbClr val="EEF2F5"/>
          </a:solidFill>
          <a:ln w="11643" cap="flat">
            <a:noFill/>
            <a:prstDash val="solid"/>
            <a:miter/>
          </a:ln>
        </p:spPr>
        <p:txBody>
          <a:bodyPr rtlCol="0" anchor="ctr"/>
          <a:lstStyle/>
          <a:p>
            <a:endParaRPr lang="de-DE"/>
          </a:p>
        </p:txBody>
      </p:sp>
      <p:sp>
        <p:nvSpPr>
          <p:cNvPr id="331" name="Freihandform: Form 330">
            <a:extLst>
              <a:ext uri="{FF2B5EF4-FFF2-40B4-BE49-F238E27FC236}">
                <a16:creationId xmlns:a16="http://schemas.microsoft.com/office/drawing/2014/main" id="{AF09B959-FEBB-4D08-B203-97FE6AE60305}"/>
              </a:ext>
            </a:extLst>
          </p:cNvPr>
          <p:cNvSpPr/>
          <p:nvPr userDrawn="1"/>
        </p:nvSpPr>
        <p:spPr>
          <a:xfrm>
            <a:off x="5948602" y="2428891"/>
            <a:ext cx="66419" cy="72245"/>
          </a:xfrm>
          <a:custGeom>
            <a:avLst/>
            <a:gdLst>
              <a:gd name="connsiteX0" fmla="*/ 30297 w 66419"/>
              <a:gd name="connsiteY0" fmla="*/ 72245 h 72245"/>
              <a:gd name="connsiteX1" fmla="*/ 0 w 66419"/>
              <a:gd name="connsiteY1" fmla="*/ 72245 h 72245"/>
              <a:gd name="connsiteX2" fmla="*/ 36123 w 66419"/>
              <a:gd name="connsiteY2" fmla="*/ 36123 h 72245"/>
              <a:gd name="connsiteX3" fmla="*/ 0 w 66419"/>
              <a:gd name="connsiteY3" fmla="*/ 0 h 72245"/>
              <a:gd name="connsiteX4" fmla="*/ 31462 w 66419"/>
              <a:gd name="connsiteY4" fmla="*/ 0 h 72245"/>
              <a:gd name="connsiteX5" fmla="*/ 66419 w 66419"/>
              <a:gd name="connsiteY5" fmla="*/ 34957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5"/>
                </a:moveTo>
                <a:lnTo>
                  <a:pt x="0" y="72245"/>
                </a:lnTo>
                <a:lnTo>
                  <a:pt x="36123" y="36123"/>
                </a:lnTo>
                <a:lnTo>
                  <a:pt x="0" y="0"/>
                </a:lnTo>
                <a:lnTo>
                  <a:pt x="31462" y="0"/>
                </a:lnTo>
                <a:lnTo>
                  <a:pt x="66419" y="34957"/>
                </a:lnTo>
                <a:close/>
              </a:path>
            </a:pathLst>
          </a:custGeom>
          <a:solidFill>
            <a:srgbClr val="EEF2F5"/>
          </a:solidFill>
          <a:ln w="11643" cap="flat">
            <a:noFill/>
            <a:prstDash val="solid"/>
            <a:miter/>
          </a:ln>
        </p:spPr>
        <p:txBody>
          <a:bodyPr rtlCol="0" anchor="ctr"/>
          <a:lstStyle/>
          <a:p>
            <a:endParaRPr lang="de-DE"/>
          </a:p>
        </p:txBody>
      </p:sp>
      <p:sp>
        <p:nvSpPr>
          <p:cNvPr id="332" name="Freihandform: Form 331">
            <a:extLst>
              <a:ext uri="{FF2B5EF4-FFF2-40B4-BE49-F238E27FC236}">
                <a16:creationId xmlns:a16="http://schemas.microsoft.com/office/drawing/2014/main" id="{8BDF68B8-5B5A-4BE8-90ED-91D64FF78D61}"/>
              </a:ext>
            </a:extLst>
          </p:cNvPr>
          <p:cNvSpPr/>
          <p:nvPr userDrawn="1"/>
        </p:nvSpPr>
        <p:spPr>
          <a:xfrm>
            <a:off x="5948602" y="2783126"/>
            <a:ext cx="66419" cy="72245"/>
          </a:xfrm>
          <a:custGeom>
            <a:avLst/>
            <a:gdLst>
              <a:gd name="connsiteX0" fmla="*/ 30297 w 66419"/>
              <a:gd name="connsiteY0" fmla="*/ 72245 h 72245"/>
              <a:gd name="connsiteX1" fmla="*/ 0 w 66419"/>
              <a:gd name="connsiteY1" fmla="*/ 72245 h 72245"/>
              <a:gd name="connsiteX2" fmla="*/ 36123 w 66419"/>
              <a:gd name="connsiteY2" fmla="*/ 37288 h 72245"/>
              <a:gd name="connsiteX3" fmla="*/ 0 w 66419"/>
              <a:gd name="connsiteY3" fmla="*/ 0 h 72245"/>
              <a:gd name="connsiteX4" fmla="*/ 31462 w 66419"/>
              <a:gd name="connsiteY4" fmla="*/ 0 h 72245"/>
              <a:gd name="connsiteX5" fmla="*/ 66419 w 66419"/>
              <a:gd name="connsiteY5" fmla="*/ 36123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5"/>
                </a:moveTo>
                <a:lnTo>
                  <a:pt x="0" y="72245"/>
                </a:lnTo>
                <a:lnTo>
                  <a:pt x="36123" y="37288"/>
                </a:lnTo>
                <a:lnTo>
                  <a:pt x="0" y="0"/>
                </a:lnTo>
                <a:lnTo>
                  <a:pt x="31462" y="0"/>
                </a:lnTo>
                <a:lnTo>
                  <a:pt x="66419" y="36123"/>
                </a:lnTo>
                <a:close/>
              </a:path>
            </a:pathLst>
          </a:custGeom>
          <a:solidFill>
            <a:srgbClr val="EEF2F5"/>
          </a:solidFill>
          <a:ln w="11643" cap="flat">
            <a:noFill/>
            <a:prstDash val="solid"/>
            <a:miter/>
          </a:ln>
        </p:spPr>
        <p:txBody>
          <a:bodyPr rtlCol="0" anchor="ctr"/>
          <a:lstStyle/>
          <a:p>
            <a:endParaRPr lang="de-DE"/>
          </a:p>
        </p:txBody>
      </p:sp>
      <p:sp>
        <p:nvSpPr>
          <p:cNvPr id="333" name="Freihandform: Form 332">
            <a:extLst>
              <a:ext uri="{FF2B5EF4-FFF2-40B4-BE49-F238E27FC236}">
                <a16:creationId xmlns:a16="http://schemas.microsoft.com/office/drawing/2014/main" id="{EC037E08-87A0-4AFA-8BB8-AF8BC0B89644}"/>
              </a:ext>
            </a:extLst>
          </p:cNvPr>
          <p:cNvSpPr/>
          <p:nvPr userDrawn="1"/>
        </p:nvSpPr>
        <p:spPr>
          <a:xfrm>
            <a:off x="5948602" y="3138527"/>
            <a:ext cx="66419" cy="72245"/>
          </a:xfrm>
          <a:custGeom>
            <a:avLst/>
            <a:gdLst>
              <a:gd name="connsiteX0" fmla="*/ 30297 w 66419"/>
              <a:gd name="connsiteY0" fmla="*/ 72245 h 72245"/>
              <a:gd name="connsiteX1" fmla="*/ 0 w 66419"/>
              <a:gd name="connsiteY1" fmla="*/ 72245 h 72245"/>
              <a:gd name="connsiteX2" fmla="*/ 36123 w 66419"/>
              <a:gd name="connsiteY2" fmla="*/ 36123 h 72245"/>
              <a:gd name="connsiteX3" fmla="*/ 0 w 66419"/>
              <a:gd name="connsiteY3" fmla="*/ 0 h 72245"/>
              <a:gd name="connsiteX4" fmla="*/ 31462 w 66419"/>
              <a:gd name="connsiteY4" fmla="*/ 0 h 72245"/>
              <a:gd name="connsiteX5" fmla="*/ 66419 w 66419"/>
              <a:gd name="connsiteY5" fmla="*/ 34957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5"/>
                </a:moveTo>
                <a:lnTo>
                  <a:pt x="0" y="72245"/>
                </a:lnTo>
                <a:lnTo>
                  <a:pt x="36123" y="36123"/>
                </a:lnTo>
                <a:lnTo>
                  <a:pt x="0" y="0"/>
                </a:lnTo>
                <a:lnTo>
                  <a:pt x="31462" y="0"/>
                </a:lnTo>
                <a:lnTo>
                  <a:pt x="66419" y="34957"/>
                </a:lnTo>
                <a:close/>
              </a:path>
            </a:pathLst>
          </a:custGeom>
          <a:solidFill>
            <a:srgbClr val="EEF2F5"/>
          </a:solidFill>
          <a:ln w="11643" cap="flat">
            <a:noFill/>
            <a:prstDash val="solid"/>
            <a:miter/>
          </a:ln>
        </p:spPr>
        <p:txBody>
          <a:bodyPr rtlCol="0" anchor="ctr"/>
          <a:lstStyle/>
          <a:p>
            <a:endParaRPr lang="de-DE"/>
          </a:p>
        </p:txBody>
      </p:sp>
      <p:sp>
        <p:nvSpPr>
          <p:cNvPr id="334" name="Freihandform: Form 333">
            <a:extLst>
              <a:ext uri="{FF2B5EF4-FFF2-40B4-BE49-F238E27FC236}">
                <a16:creationId xmlns:a16="http://schemas.microsoft.com/office/drawing/2014/main" id="{296B3953-1098-4657-B23B-8935F1D2DAB8}"/>
              </a:ext>
            </a:extLst>
          </p:cNvPr>
          <p:cNvSpPr/>
          <p:nvPr userDrawn="1"/>
        </p:nvSpPr>
        <p:spPr>
          <a:xfrm>
            <a:off x="5948602" y="3492762"/>
            <a:ext cx="66419" cy="73410"/>
          </a:xfrm>
          <a:custGeom>
            <a:avLst/>
            <a:gdLst>
              <a:gd name="connsiteX0" fmla="*/ 30297 w 66419"/>
              <a:gd name="connsiteY0" fmla="*/ 73411 h 73410"/>
              <a:gd name="connsiteX1" fmla="*/ 0 w 66419"/>
              <a:gd name="connsiteY1" fmla="*/ 73411 h 73410"/>
              <a:gd name="connsiteX2" fmla="*/ 36123 w 66419"/>
              <a:gd name="connsiteY2" fmla="*/ 37288 h 73410"/>
              <a:gd name="connsiteX3" fmla="*/ 0 w 66419"/>
              <a:gd name="connsiteY3" fmla="*/ 0 h 73410"/>
              <a:gd name="connsiteX4" fmla="*/ 31462 w 66419"/>
              <a:gd name="connsiteY4" fmla="*/ 0 h 73410"/>
              <a:gd name="connsiteX5" fmla="*/ 66419 w 66419"/>
              <a:gd name="connsiteY5" fmla="*/ 36123 h 73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3410">
                <a:moveTo>
                  <a:pt x="30297" y="73411"/>
                </a:moveTo>
                <a:lnTo>
                  <a:pt x="0" y="73411"/>
                </a:lnTo>
                <a:lnTo>
                  <a:pt x="36123" y="37288"/>
                </a:lnTo>
                <a:lnTo>
                  <a:pt x="0" y="0"/>
                </a:lnTo>
                <a:lnTo>
                  <a:pt x="31462" y="0"/>
                </a:lnTo>
                <a:lnTo>
                  <a:pt x="66419" y="36123"/>
                </a:lnTo>
                <a:close/>
              </a:path>
            </a:pathLst>
          </a:custGeom>
          <a:solidFill>
            <a:srgbClr val="EEF2F5"/>
          </a:solidFill>
          <a:ln w="11643" cap="flat">
            <a:noFill/>
            <a:prstDash val="solid"/>
            <a:miter/>
          </a:ln>
        </p:spPr>
        <p:txBody>
          <a:bodyPr rtlCol="0" anchor="ctr"/>
          <a:lstStyle/>
          <a:p>
            <a:endParaRPr lang="de-DE"/>
          </a:p>
        </p:txBody>
      </p:sp>
      <p:sp>
        <p:nvSpPr>
          <p:cNvPr id="335" name="Freihandform: Form 334">
            <a:extLst>
              <a:ext uri="{FF2B5EF4-FFF2-40B4-BE49-F238E27FC236}">
                <a16:creationId xmlns:a16="http://schemas.microsoft.com/office/drawing/2014/main" id="{C606BDC9-DBDE-4ACF-8BF9-ACC957E4520D}"/>
              </a:ext>
            </a:extLst>
          </p:cNvPr>
          <p:cNvSpPr/>
          <p:nvPr userDrawn="1"/>
        </p:nvSpPr>
        <p:spPr>
          <a:xfrm>
            <a:off x="5948602" y="3848163"/>
            <a:ext cx="66419" cy="72245"/>
          </a:xfrm>
          <a:custGeom>
            <a:avLst/>
            <a:gdLst>
              <a:gd name="connsiteX0" fmla="*/ 30297 w 66419"/>
              <a:gd name="connsiteY0" fmla="*/ 72245 h 72245"/>
              <a:gd name="connsiteX1" fmla="*/ 0 w 66419"/>
              <a:gd name="connsiteY1" fmla="*/ 72245 h 72245"/>
              <a:gd name="connsiteX2" fmla="*/ 36123 w 66419"/>
              <a:gd name="connsiteY2" fmla="*/ 36123 h 72245"/>
              <a:gd name="connsiteX3" fmla="*/ 0 w 66419"/>
              <a:gd name="connsiteY3" fmla="*/ 0 h 72245"/>
              <a:gd name="connsiteX4" fmla="*/ 31462 w 66419"/>
              <a:gd name="connsiteY4" fmla="*/ 0 h 72245"/>
              <a:gd name="connsiteX5" fmla="*/ 66419 w 66419"/>
              <a:gd name="connsiteY5" fmla="*/ 34957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5"/>
                </a:moveTo>
                <a:lnTo>
                  <a:pt x="0" y="72245"/>
                </a:lnTo>
                <a:lnTo>
                  <a:pt x="36123" y="36123"/>
                </a:lnTo>
                <a:lnTo>
                  <a:pt x="0" y="0"/>
                </a:lnTo>
                <a:lnTo>
                  <a:pt x="31462" y="0"/>
                </a:lnTo>
                <a:lnTo>
                  <a:pt x="66419" y="34957"/>
                </a:lnTo>
                <a:close/>
              </a:path>
            </a:pathLst>
          </a:custGeom>
          <a:solidFill>
            <a:srgbClr val="EEF2F5"/>
          </a:solidFill>
          <a:ln w="11643" cap="flat">
            <a:noFill/>
            <a:prstDash val="solid"/>
            <a:miter/>
          </a:ln>
        </p:spPr>
        <p:txBody>
          <a:bodyPr rtlCol="0" anchor="ctr"/>
          <a:lstStyle/>
          <a:p>
            <a:endParaRPr lang="de-DE"/>
          </a:p>
        </p:txBody>
      </p:sp>
      <p:sp>
        <p:nvSpPr>
          <p:cNvPr id="336" name="Freihandform: Form 335">
            <a:extLst>
              <a:ext uri="{FF2B5EF4-FFF2-40B4-BE49-F238E27FC236}">
                <a16:creationId xmlns:a16="http://schemas.microsoft.com/office/drawing/2014/main" id="{57A6FA3E-F4B9-4859-84E1-85F5F21681EC}"/>
              </a:ext>
            </a:extLst>
          </p:cNvPr>
          <p:cNvSpPr/>
          <p:nvPr userDrawn="1"/>
        </p:nvSpPr>
        <p:spPr>
          <a:xfrm>
            <a:off x="5948602" y="5267435"/>
            <a:ext cx="66419" cy="72245"/>
          </a:xfrm>
          <a:custGeom>
            <a:avLst/>
            <a:gdLst>
              <a:gd name="connsiteX0" fmla="*/ 30297 w 66419"/>
              <a:gd name="connsiteY0" fmla="*/ 72246 h 72245"/>
              <a:gd name="connsiteX1" fmla="*/ 0 w 66419"/>
              <a:gd name="connsiteY1" fmla="*/ 72246 h 72245"/>
              <a:gd name="connsiteX2" fmla="*/ 36123 w 66419"/>
              <a:gd name="connsiteY2" fmla="*/ 36123 h 72245"/>
              <a:gd name="connsiteX3" fmla="*/ 0 w 66419"/>
              <a:gd name="connsiteY3" fmla="*/ 0 h 72245"/>
              <a:gd name="connsiteX4" fmla="*/ 31462 w 66419"/>
              <a:gd name="connsiteY4" fmla="*/ 0 h 72245"/>
              <a:gd name="connsiteX5" fmla="*/ 66419 w 66419"/>
              <a:gd name="connsiteY5" fmla="*/ 36123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6"/>
                </a:moveTo>
                <a:lnTo>
                  <a:pt x="0" y="72246"/>
                </a:lnTo>
                <a:lnTo>
                  <a:pt x="36123" y="36123"/>
                </a:lnTo>
                <a:lnTo>
                  <a:pt x="0" y="0"/>
                </a:lnTo>
                <a:lnTo>
                  <a:pt x="31462" y="0"/>
                </a:lnTo>
                <a:lnTo>
                  <a:pt x="66419" y="36123"/>
                </a:lnTo>
                <a:close/>
              </a:path>
            </a:pathLst>
          </a:custGeom>
          <a:solidFill>
            <a:srgbClr val="EEF2F5"/>
          </a:solidFill>
          <a:ln w="11643" cap="flat">
            <a:noFill/>
            <a:prstDash val="solid"/>
            <a:miter/>
          </a:ln>
        </p:spPr>
        <p:txBody>
          <a:bodyPr rtlCol="0" anchor="ctr"/>
          <a:lstStyle/>
          <a:p>
            <a:endParaRPr lang="de-DE"/>
          </a:p>
        </p:txBody>
      </p:sp>
      <p:sp>
        <p:nvSpPr>
          <p:cNvPr id="337" name="Freihandform: Form 336">
            <a:extLst>
              <a:ext uri="{FF2B5EF4-FFF2-40B4-BE49-F238E27FC236}">
                <a16:creationId xmlns:a16="http://schemas.microsoft.com/office/drawing/2014/main" id="{D4B1D857-1C19-4BB3-BEDF-7C0AF8F86DAA}"/>
              </a:ext>
            </a:extLst>
          </p:cNvPr>
          <p:cNvSpPr/>
          <p:nvPr userDrawn="1"/>
        </p:nvSpPr>
        <p:spPr>
          <a:xfrm>
            <a:off x="5948602" y="5622836"/>
            <a:ext cx="66419" cy="72245"/>
          </a:xfrm>
          <a:custGeom>
            <a:avLst/>
            <a:gdLst>
              <a:gd name="connsiteX0" fmla="*/ 30297 w 66419"/>
              <a:gd name="connsiteY0" fmla="*/ 72246 h 72245"/>
              <a:gd name="connsiteX1" fmla="*/ 0 w 66419"/>
              <a:gd name="connsiteY1" fmla="*/ 72246 h 72245"/>
              <a:gd name="connsiteX2" fmla="*/ 36123 w 66419"/>
              <a:gd name="connsiteY2" fmla="*/ 36123 h 72245"/>
              <a:gd name="connsiteX3" fmla="*/ 0 w 66419"/>
              <a:gd name="connsiteY3" fmla="*/ 0 h 72245"/>
              <a:gd name="connsiteX4" fmla="*/ 31462 w 66419"/>
              <a:gd name="connsiteY4" fmla="*/ 0 h 72245"/>
              <a:gd name="connsiteX5" fmla="*/ 66419 w 66419"/>
              <a:gd name="connsiteY5" fmla="*/ 34957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6"/>
                </a:moveTo>
                <a:lnTo>
                  <a:pt x="0" y="72246"/>
                </a:lnTo>
                <a:lnTo>
                  <a:pt x="36123" y="36123"/>
                </a:lnTo>
                <a:lnTo>
                  <a:pt x="0" y="0"/>
                </a:lnTo>
                <a:lnTo>
                  <a:pt x="31462" y="0"/>
                </a:lnTo>
                <a:lnTo>
                  <a:pt x="66419" y="34957"/>
                </a:lnTo>
                <a:close/>
              </a:path>
            </a:pathLst>
          </a:custGeom>
          <a:solidFill>
            <a:srgbClr val="EEF2F5"/>
          </a:solidFill>
          <a:ln w="11643" cap="flat">
            <a:noFill/>
            <a:prstDash val="solid"/>
            <a:miter/>
          </a:ln>
        </p:spPr>
        <p:txBody>
          <a:bodyPr rtlCol="0" anchor="ctr"/>
          <a:lstStyle/>
          <a:p>
            <a:endParaRPr lang="de-DE"/>
          </a:p>
        </p:txBody>
      </p:sp>
      <p:sp>
        <p:nvSpPr>
          <p:cNvPr id="338" name="Freihandform: Form 337">
            <a:extLst>
              <a:ext uri="{FF2B5EF4-FFF2-40B4-BE49-F238E27FC236}">
                <a16:creationId xmlns:a16="http://schemas.microsoft.com/office/drawing/2014/main" id="{4A0625DC-FF7E-46FA-85B3-D78075F3A91C}"/>
              </a:ext>
            </a:extLst>
          </p:cNvPr>
          <p:cNvSpPr/>
          <p:nvPr userDrawn="1"/>
        </p:nvSpPr>
        <p:spPr>
          <a:xfrm>
            <a:off x="5948602" y="5977071"/>
            <a:ext cx="66419" cy="72245"/>
          </a:xfrm>
          <a:custGeom>
            <a:avLst/>
            <a:gdLst>
              <a:gd name="connsiteX0" fmla="*/ 30297 w 66419"/>
              <a:gd name="connsiteY0" fmla="*/ 72246 h 72245"/>
              <a:gd name="connsiteX1" fmla="*/ 0 w 66419"/>
              <a:gd name="connsiteY1" fmla="*/ 72246 h 72245"/>
              <a:gd name="connsiteX2" fmla="*/ 36123 w 66419"/>
              <a:gd name="connsiteY2" fmla="*/ 36123 h 72245"/>
              <a:gd name="connsiteX3" fmla="*/ 0 w 66419"/>
              <a:gd name="connsiteY3" fmla="*/ 0 h 72245"/>
              <a:gd name="connsiteX4" fmla="*/ 31462 w 66419"/>
              <a:gd name="connsiteY4" fmla="*/ 0 h 72245"/>
              <a:gd name="connsiteX5" fmla="*/ 66419 w 66419"/>
              <a:gd name="connsiteY5" fmla="*/ 36123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6"/>
                </a:moveTo>
                <a:lnTo>
                  <a:pt x="0" y="72246"/>
                </a:lnTo>
                <a:lnTo>
                  <a:pt x="36123" y="36123"/>
                </a:lnTo>
                <a:lnTo>
                  <a:pt x="0" y="0"/>
                </a:lnTo>
                <a:lnTo>
                  <a:pt x="31462" y="0"/>
                </a:lnTo>
                <a:lnTo>
                  <a:pt x="66419" y="36123"/>
                </a:lnTo>
                <a:close/>
              </a:path>
            </a:pathLst>
          </a:custGeom>
          <a:solidFill>
            <a:srgbClr val="EEF2F5"/>
          </a:solidFill>
          <a:ln w="11643" cap="flat">
            <a:noFill/>
            <a:prstDash val="solid"/>
            <a:miter/>
          </a:ln>
        </p:spPr>
        <p:txBody>
          <a:bodyPr rtlCol="0" anchor="ctr"/>
          <a:lstStyle/>
          <a:p>
            <a:endParaRPr lang="de-DE"/>
          </a:p>
        </p:txBody>
      </p:sp>
      <p:sp>
        <p:nvSpPr>
          <p:cNvPr id="339" name="Freihandform: Form 338">
            <a:extLst>
              <a:ext uri="{FF2B5EF4-FFF2-40B4-BE49-F238E27FC236}">
                <a16:creationId xmlns:a16="http://schemas.microsoft.com/office/drawing/2014/main" id="{7BDD0DFC-6E9A-4DFD-896C-269B9F75D87D}"/>
              </a:ext>
            </a:extLst>
          </p:cNvPr>
          <p:cNvSpPr/>
          <p:nvPr userDrawn="1"/>
        </p:nvSpPr>
        <p:spPr>
          <a:xfrm>
            <a:off x="5948602" y="6332472"/>
            <a:ext cx="66419" cy="72245"/>
          </a:xfrm>
          <a:custGeom>
            <a:avLst/>
            <a:gdLst>
              <a:gd name="connsiteX0" fmla="*/ 30297 w 66419"/>
              <a:gd name="connsiteY0" fmla="*/ 72246 h 72245"/>
              <a:gd name="connsiteX1" fmla="*/ 0 w 66419"/>
              <a:gd name="connsiteY1" fmla="*/ 72246 h 72245"/>
              <a:gd name="connsiteX2" fmla="*/ 36123 w 66419"/>
              <a:gd name="connsiteY2" fmla="*/ 36123 h 72245"/>
              <a:gd name="connsiteX3" fmla="*/ 0 w 66419"/>
              <a:gd name="connsiteY3" fmla="*/ 0 h 72245"/>
              <a:gd name="connsiteX4" fmla="*/ 31462 w 66419"/>
              <a:gd name="connsiteY4" fmla="*/ 0 h 72245"/>
              <a:gd name="connsiteX5" fmla="*/ 66419 w 66419"/>
              <a:gd name="connsiteY5" fmla="*/ 34957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6"/>
                </a:moveTo>
                <a:lnTo>
                  <a:pt x="0" y="72246"/>
                </a:lnTo>
                <a:lnTo>
                  <a:pt x="36123" y="36123"/>
                </a:lnTo>
                <a:lnTo>
                  <a:pt x="0" y="0"/>
                </a:lnTo>
                <a:lnTo>
                  <a:pt x="31462" y="0"/>
                </a:lnTo>
                <a:lnTo>
                  <a:pt x="66419" y="34957"/>
                </a:lnTo>
                <a:close/>
              </a:path>
            </a:pathLst>
          </a:custGeom>
          <a:solidFill>
            <a:srgbClr val="EEF2F5"/>
          </a:solidFill>
          <a:ln w="11643" cap="flat">
            <a:noFill/>
            <a:prstDash val="solid"/>
            <a:miter/>
          </a:ln>
        </p:spPr>
        <p:txBody>
          <a:bodyPr rtlCol="0" anchor="ctr"/>
          <a:lstStyle/>
          <a:p>
            <a:endParaRPr lang="de-DE"/>
          </a:p>
        </p:txBody>
      </p:sp>
      <p:sp>
        <p:nvSpPr>
          <p:cNvPr id="340" name="Freihandform: Form 339">
            <a:extLst>
              <a:ext uri="{FF2B5EF4-FFF2-40B4-BE49-F238E27FC236}">
                <a16:creationId xmlns:a16="http://schemas.microsoft.com/office/drawing/2014/main" id="{CAC3908E-B3D7-4D15-B42A-11C8334C3FAE}"/>
              </a:ext>
            </a:extLst>
          </p:cNvPr>
          <p:cNvSpPr/>
          <p:nvPr userDrawn="1"/>
        </p:nvSpPr>
        <p:spPr>
          <a:xfrm>
            <a:off x="5948602" y="6686707"/>
            <a:ext cx="66419" cy="72245"/>
          </a:xfrm>
          <a:custGeom>
            <a:avLst/>
            <a:gdLst>
              <a:gd name="connsiteX0" fmla="*/ 30297 w 66419"/>
              <a:gd name="connsiteY0" fmla="*/ 72246 h 72245"/>
              <a:gd name="connsiteX1" fmla="*/ 0 w 66419"/>
              <a:gd name="connsiteY1" fmla="*/ 72246 h 72245"/>
              <a:gd name="connsiteX2" fmla="*/ 36123 w 66419"/>
              <a:gd name="connsiteY2" fmla="*/ 37288 h 72245"/>
              <a:gd name="connsiteX3" fmla="*/ 0 w 66419"/>
              <a:gd name="connsiteY3" fmla="*/ 0 h 72245"/>
              <a:gd name="connsiteX4" fmla="*/ 31462 w 66419"/>
              <a:gd name="connsiteY4" fmla="*/ 0 h 72245"/>
              <a:gd name="connsiteX5" fmla="*/ 66419 w 66419"/>
              <a:gd name="connsiteY5" fmla="*/ 36123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6"/>
                </a:moveTo>
                <a:lnTo>
                  <a:pt x="0" y="72246"/>
                </a:lnTo>
                <a:lnTo>
                  <a:pt x="36123" y="37288"/>
                </a:lnTo>
                <a:lnTo>
                  <a:pt x="0" y="0"/>
                </a:lnTo>
                <a:lnTo>
                  <a:pt x="31462" y="0"/>
                </a:lnTo>
                <a:lnTo>
                  <a:pt x="66419" y="36123"/>
                </a:lnTo>
                <a:close/>
              </a:path>
            </a:pathLst>
          </a:custGeom>
          <a:solidFill>
            <a:srgbClr val="EEF2F5"/>
          </a:solidFill>
          <a:ln w="11643" cap="flat">
            <a:noFill/>
            <a:prstDash val="solid"/>
            <a:miter/>
          </a:ln>
        </p:spPr>
        <p:txBody>
          <a:bodyPr rtlCol="0" anchor="ctr"/>
          <a:lstStyle/>
          <a:p>
            <a:endParaRPr lang="de-DE"/>
          </a:p>
        </p:txBody>
      </p:sp>
      <p:sp>
        <p:nvSpPr>
          <p:cNvPr id="341" name="Freihandform: Form 340">
            <a:extLst>
              <a:ext uri="{FF2B5EF4-FFF2-40B4-BE49-F238E27FC236}">
                <a16:creationId xmlns:a16="http://schemas.microsoft.com/office/drawing/2014/main" id="{A7FA91F1-E227-486C-9E3D-701B7ECBD358}"/>
              </a:ext>
            </a:extLst>
          </p:cNvPr>
          <p:cNvSpPr/>
          <p:nvPr userDrawn="1"/>
        </p:nvSpPr>
        <p:spPr>
          <a:xfrm>
            <a:off x="6294680" y="2064168"/>
            <a:ext cx="83897" cy="90889"/>
          </a:xfrm>
          <a:custGeom>
            <a:avLst/>
            <a:gdLst>
              <a:gd name="connsiteX0" fmla="*/ 38453 w 83897"/>
              <a:gd name="connsiteY0" fmla="*/ 90889 h 90889"/>
              <a:gd name="connsiteX1" fmla="*/ 0 w 83897"/>
              <a:gd name="connsiteY1" fmla="*/ 90889 h 90889"/>
              <a:gd name="connsiteX2" fmla="*/ 45445 w 83897"/>
              <a:gd name="connsiteY2" fmla="*/ 46610 h 90889"/>
              <a:gd name="connsiteX3" fmla="*/ 0 w 83897"/>
              <a:gd name="connsiteY3" fmla="*/ 0 h 90889"/>
              <a:gd name="connsiteX4" fmla="*/ 39618 w 83897"/>
              <a:gd name="connsiteY4" fmla="*/ 0 h 90889"/>
              <a:gd name="connsiteX5" fmla="*/ 83898 w 83897"/>
              <a:gd name="connsiteY5" fmla="*/ 45445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6610"/>
                </a:lnTo>
                <a:lnTo>
                  <a:pt x="0" y="0"/>
                </a:lnTo>
                <a:lnTo>
                  <a:pt x="39618" y="0"/>
                </a:lnTo>
                <a:lnTo>
                  <a:pt x="83898" y="45445"/>
                </a:lnTo>
                <a:close/>
              </a:path>
            </a:pathLst>
          </a:custGeom>
          <a:solidFill>
            <a:srgbClr val="EEF2F5"/>
          </a:solidFill>
          <a:ln w="11643" cap="flat">
            <a:noFill/>
            <a:prstDash val="solid"/>
            <a:miter/>
          </a:ln>
        </p:spPr>
        <p:txBody>
          <a:bodyPr rtlCol="0" anchor="ctr"/>
          <a:lstStyle/>
          <a:p>
            <a:endParaRPr lang="de-DE"/>
          </a:p>
        </p:txBody>
      </p:sp>
      <p:sp>
        <p:nvSpPr>
          <p:cNvPr id="342" name="Freihandform: Form 341">
            <a:extLst>
              <a:ext uri="{FF2B5EF4-FFF2-40B4-BE49-F238E27FC236}">
                <a16:creationId xmlns:a16="http://schemas.microsoft.com/office/drawing/2014/main" id="{84476B35-4E31-4636-A104-EFCF30564C85}"/>
              </a:ext>
            </a:extLst>
          </p:cNvPr>
          <p:cNvSpPr/>
          <p:nvPr userDrawn="1"/>
        </p:nvSpPr>
        <p:spPr>
          <a:xfrm>
            <a:off x="6294680" y="2419569"/>
            <a:ext cx="83897" cy="90889"/>
          </a:xfrm>
          <a:custGeom>
            <a:avLst/>
            <a:gdLst>
              <a:gd name="connsiteX0" fmla="*/ 38453 w 83897"/>
              <a:gd name="connsiteY0" fmla="*/ 90889 h 90889"/>
              <a:gd name="connsiteX1" fmla="*/ 0 w 83897"/>
              <a:gd name="connsiteY1" fmla="*/ 90889 h 90889"/>
              <a:gd name="connsiteX2" fmla="*/ 45445 w 83897"/>
              <a:gd name="connsiteY2" fmla="*/ 45445 h 90889"/>
              <a:gd name="connsiteX3" fmla="*/ 0 w 83897"/>
              <a:gd name="connsiteY3" fmla="*/ 0 h 90889"/>
              <a:gd name="connsiteX4" fmla="*/ 39618 w 83897"/>
              <a:gd name="connsiteY4" fmla="*/ 0 h 90889"/>
              <a:gd name="connsiteX5" fmla="*/ 83898 w 83897"/>
              <a:gd name="connsiteY5" fmla="*/ 44279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endParaRPr lang="de-DE"/>
          </a:p>
        </p:txBody>
      </p:sp>
      <p:sp>
        <p:nvSpPr>
          <p:cNvPr id="343" name="Freihandform: Form 342">
            <a:extLst>
              <a:ext uri="{FF2B5EF4-FFF2-40B4-BE49-F238E27FC236}">
                <a16:creationId xmlns:a16="http://schemas.microsoft.com/office/drawing/2014/main" id="{6E4C3BE2-5614-4053-AD7A-02597CC57C7F}"/>
              </a:ext>
            </a:extLst>
          </p:cNvPr>
          <p:cNvSpPr/>
          <p:nvPr userDrawn="1"/>
        </p:nvSpPr>
        <p:spPr>
          <a:xfrm>
            <a:off x="6294680" y="2773804"/>
            <a:ext cx="83897" cy="90889"/>
          </a:xfrm>
          <a:custGeom>
            <a:avLst/>
            <a:gdLst>
              <a:gd name="connsiteX0" fmla="*/ 38453 w 83897"/>
              <a:gd name="connsiteY0" fmla="*/ 90889 h 90889"/>
              <a:gd name="connsiteX1" fmla="*/ 0 w 83897"/>
              <a:gd name="connsiteY1" fmla="*/ 90889 h 90889"/>
              <a:gd name="connsiteX2" fmla="*/ 45445 w 83897"/>
              <a:gd name="connsiteY2" fmla="*/ 46610 h 90889"/>
              <a:gd name="connsiteX3" fmla="*/ 0 w 83897"/>
              <a:gd name="connsiteY3" fmla="*/ 0 h 90889"/>
              <a:gd name="connsiteX4" fmla="*/ 39618 w 83897"/>
              <a:gd name="connsiteY4" fmla="*/ 0 h 90889"/>
              <a:gd name="connsiteX5" fmla="*/ 83898 w 83897"/>
              <a:gd name="connsiteY5" fmla="*/ 45445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6610"/>
                </a:lnTo>
                <a:lnTo>
                  <a:pt x="0" y="0"/>
                </a:lnTo>
                <a:lnTo>
                  <a:pt x="39618" y="0"/>
                </a:lnTo>
                <a:lnTo>
                  <a:pt x="83898" y="45445"/>
                </a:lnTo>
                <a:close/>
              </a:path>
            </a:pathLst>
          </a:custGeom>
          <a:solidFill>
            <a:srgbClr val="EEF2F5"/>
          </a:solidFill>
          <a:ln w="11643" cap="flat">
            <a:noFill/>
            <a:prstDash val="solid"/>
            <a:miter/>
          </a:ln>
        </p:spPr>
        <p:txBody>
          <a:bodyPr rtlCol="0" anchor="ctr"/>
          <a:lstStyle/>
          <a:p>
            <a:endParaRPr lang="de-DE"/>
          </a:p>
        </p:txBody>
      </p:sp>
      <p:sp>
        <p:nvSpPr>
          <p:cNvPr id="344" name="Freihandform: Form 343">
            <a:extLst>
              <a:ext uri="{FF2B5EF4-FFF2-40B4-BE49-F238E27FC236}">
                <a16:creationId xmlns:a16="http://schemas.microsoft.com/office/drawing/2014/main" id="{6DD9ED1D-820B-4357-A470-36FDDF21B3EF}"/>
              </a:ext>
            </a:extLst>
          </p:cNvPr>
          <p:cNvSpPr/>
          <p:nvPr userDrawn="1"/>
        </p:nvSpPr>
        <p:spPr>
          <a:xfrm>
            <a:off x="6294680" y="3129205"/>
            <a:ext cx="83897" cy="90889"/>
          </a:xfrm>
          <a:custGeom>
            <a:avLst/>
            <a:gdLst>
              <a:gd name="connsiteX0" fmla="*/ 38453 w 83897"/>
              <a:gd name="connsiteY0" fmla="*/ 90889 h 90889"/>
              <a:gd name="connsiteX1" fmla="*/ 0 w 83897"/>
              <a:gd name="connsiteY1" fmla="*/ 90889 h 90889"/>
              <a:gd name="connsiteX2" fmla="*/ 45445 w 83897"/>
              <a:gd name="connsiteY2" fmla="*/ 45445 h 90889"/>
              <a:gd name="connsiteX3" fmla="*/ 0 w 83897"/>
              <a:gd name="connsiteY3" fmla="*/ 0 h 90889"/>
              <a:gd name="connsiteX4" fmla="*/ 39618 w 83897"/>
              <a:gd name="connsiteY4" fmla="*/ 0 h 90889"/>
              <a:gd name="connsiteX5" fmla="*/ 83898 w 83897"/>
              <a:gd name="connsiteY5" fmla="*/ 44279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endParaRPr lang="de-DE"/>
          </a:p>
        </p:txBody>
      </p:sp>
      <p:sp>
        <p:nvSpPr>
          <p:cNvPr id="345" name="Freihandform: Form 344">
            <a:extLst>
              <a:ext uri="{FF2B5EF4-FFF2-40B4-BE49-F238E27FC236}">
                <a16:creationId xmlns:a16="http://schemas.microsoft.com/office/drawing/2014/main" id="{AB5439D2-89C7-4CE8-94B8-29C5545E1F13}"/>
              </a:ext>
            </a:extLst>
          </p:cNvPr>
          <p:cNvSpPr/>
          <p:nvPr userDrawn="1"/>
        </p:nvSpPr>
        <p:spPr>
          <a:xfrm>
            <a:off x="6294680" y="3484606"/>
            <a:ext cx="83897" cy="89724"/>
          </a:xfrm>
          <a:custGeom>
            <a:avLst/>
            <a:gdLst>
              <a:gd name="connsiteX0" fmla="*/ 38453 w 83897"/>
              <a:gd name="connsiteY0" fmla="*/ 89724 h 89724"/>
              <a:gd name="connsiteX1" fmla="*/ 0 w 83897"/>
              <a:gd name="connsiteY1" fmla="*/ 89724 h 89724"/>
              <a:gd name="connsiteX2" fmla="*/ 45445 w 83897"/>
              <a:gd name="connsiteY2" fmla="*/ 45445 h 89724"/>
              <a:gd name="connsiteX3" fmla="*/ 0 w 83897"/>
              <a:gd name="connsiteY3" fmla="*/ 0 h 89724"/>
              <a:gd name="connsiteX4" fmla="*/ 39618 w 83897"/>
              <a:gd name="connsiteY4" fmla="*/ 0 h 89724"/>
              <a:gd name="connsiteX5" fmla="*/ 83898 w 83897"/>
              <a:gd name="connsiteY5" fmla="*/ 44279 h 89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89724">
                <a:moveTo>
                  <a:pt x="38453" y="89724"/>
                </a:moveTo>
                <a:lnTo>
                  <a:pt x="0" y="89724"/>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endParaRPr lang="de-DE"/>
          </a:p>
        </p:txBody>
      </p:sp>
      <p:sp>
        <p:nvSpPr>
          <p:cNvPr id="346" name="Freihandform: Form 345">
            <a:extLst>
              <a:ext uri="{FF2B5EF4-FFF2-40B4-BE49-F238E27FC236}">
                <a16:creationId xmlns:a16="http://schemas.microsoft.com/office/drawing/2014/main" id="{AF1E6C46-91F7-46BE-B34D-0F8FF181944E}"/>
              </a:ext>
            </a:extLst>
          </p:cNvPr>
          <p:cNvSpPr/>
          <p:nvPr userDrawn="1"/>
        </p:nvSpPr>
        <p:spPr>
          <a:xfrm>
            <a:off x="6294680" y="3838841"/>
            <a:ext cx="83897" cy="90889"/>
          </a:xfrm>
          <a:custGeom>
            <a:avLst/>
            <a:gdLst>
              <a:gd name="connsiteX0" fmla="*/ 38453 w 83897"/>
              <a:gd name="connsiteY0" fmla="*/ 90889 h 90889"/>
              <a:gd name="connsiteX1" fmla="*/ 0 w 83897"/>
              <a:gd name="connsiteY1" fmla="*/ 90889 h 90889"/>
              <a:gd name="connsiteX2" fmla="*/ 45445 w 83897"/>
              <a:gd name="connsiteY2" fmla="*/ 45445 h 90889"/>
              <a:gd name="connsiteX3" fmla="*/ 0 w 83897"/>
              <a:gd name="connsiteY3" fmla="*/ 0 h 90889"/>
              <a:gd name="connsiteX4" fmla="*/ 39618 w 83897"/>
              <a:gd name="connsiteY4" fmla="*/ 0 h 90889"/>
              <a:gd name="connsiteX5" fmla="*/ 83898 w 83897"/>
              <a:gd name="connsiteY5" fmla="*/ 44279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endParaRPr lang="de-DE"/>
          </a:p>
        </p:txBody>
      </p:sp>
      <p:sp>
        <p:nvSpPr>
          <p:cNvPr id="347" name="Freihandform: Form 346">
            <a:extLst>
              <a:ext uri="{FF2B5EF4-FFF2-40B4-BE49-F238E27FC236}">
                <a16:creationId xmlns:a16="http://schemas.microsoft.com/office/drawing/2014/main" id="{098A75FB-3BEC-4A6C-8897-8E57891AACC2}"/>
              </a:ext>
            </a:extLst>
          </p:cNvPr>
          <p:cNvSpPr/>
          <p:nvPr userDrawn="1"/>
        </p:nvSpPr>
        <p:spPr>
          <a:xfrm>
            <a:off x="6294680" y="4194242"/>
            <a:ext cx="83897" cy="89724"/>
          </a:xfrm>
          <a:custGeom>
            <a:avLst/>
            <a:gdLst>
              <a:gd name="connsiteX0" fmla="*/ 38453 w 83897"/>
              <a:gd name="connsiteY0" fmla="*/ 89724 h 89724"/>
              <a:gd name="connsiteX1" fmla="*/ 0 w 83897"/>
              <a:gd name="connsiteY1" fmla="*/ 89724 h 89724"/>
              <a:gd name="connsiteX2" fmla="*/ 45445 w 83897"/>
              <a:gd name="connsiteY2" fmla="*/ 45445 h 89724"/>
              <a:gd name="connsiteX3" fmla="*/ 0 w 83897"/>
              <a:gd name="connsiteY3" fmla="*/ 0 h 89724"/>
              <a:gd name="connsiteX4" fmla="*/ 39618 w 83897"/>
              <a:gd name="connsiteY4" fmla="*/ 0 h 89724"/>
              <a:gd name="connsiteX5" fmla="*/ 83898 w 83897"/>
              <a:gd name="connsiteY5" fmla="*/ 44279 h 89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89724">
                <a:moveTo>
                  <a:pt x="38453" y="89724"/>
                </a:moveTo>
                <a:lnTo>
                  <a:pt x="0" y="89724"/>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endParaRPr lang="de-DE"/>
          </a:p>
        </p:txBody>
      </p:sp>
      <p:sp>
        <p:nvSpPr>
          <p:cNvPr id="348" name="Freihandform: Form 347">
            <a:extLst>
              <a:ext uri="{FF2B5EF4-FFF2-40B4-BE49-F238E27FC236}">
                <a16:creationId xmlns:a16="http://schemas.microsoft.com/office/drawing/2014/main" id="{FB969AF5-A3F7-4A67-927C-8CDA08440EEA}"/>
              </a:ext>
            </a:extLst>
          </p:cNvPr>
          <p:cNvSpPr/>
          <p:nvPr userDrawn="1"/>
        </p:nvSpPr>
        <p:spPr>
          <a:xfrm>
            <a:off x="6294680" y="4903878"/>
            <a:ext cx="83897" cy="89724"/>
          </a:xfrm>
          <a:custGeom>
            <a:avLst/>
            <a:gdLst>
              <a:gd name="connsiteX0" fmla="*/ 38453 w 83897"/>
              <a:gd name="connsiteY0" fmla="*/ 89724 h 89724"/>
              <a:gd name="connsiteX1" fmla="*/ 0 w 83897"/>
              <a:gd name="connsiteY1" fmla="*/ 89724 h 89724"/>
              <a:gd name="connsiteX2" fmla="*/ 45445 w 83897"/>
              <a:gd name="connsiteY2" fmla="*/ 45445 h 89724"/>
              <a:gd name="connsiteX3" fmla="*/ 0 w 83897"/>
              <a:gd name="connsiteY3" fmla="*/ 0 h 89724"/>
              <a:gd name="connsiteX4" fmla="*/ 39618 w 83897"/>
              <a:gd name="connsiteY4" fmla="*/ 0 h 89724"/>
              <a:gd name="connsiteX5" fmla="*/ 83898 w 83897"/>
              <a:gd name="connsiteY5" fmla="*/ 44279 h 89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89724">
                <a:moveTo>
                  <a:pt x="38453" y="89724"/>
                </a:moveTo>
                <a:lnTo>
                  <a:pt x="0" y="89724"/>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endParaRPr lang="de-DE"/>
          </a:p>
        </p:txBody>
      </p:sp>
      <p:sp>
        <p:nvSpPr>
          <p:cNvPr id="349" name="Freihandform: Form 348">
            <a:extLst>
              <a:ext uri="{FF2B5EF4-FFF2-40B4-BE49-F238E27FC236}">
                <a16:creationId xmlns:a16="http://schemas.microsoft.com/office/drawing/2014/main" id="{2E6C2156-0A71-415E-B4B6-B6F43E9327C4}"/>
              </a:ext>
            </a:extLst>
          </p:cNvPr>
          <p:cNvSpPr/>
          <p:nvPr userDrawn="1"/>
        </p:nvSpPr>
        <p:spPr>
          <a:xfrm>
            <a:off x="6294680" y="5258113"/>
            <a:ext cx="83897" cy="90889"/>
          </a:xfrm>
          <a:custGeom>
            <a:avLst/>
            <a:gdLst>
              <a:gd name="connsiteX0" fmla="*/ 38453 w 83897"/>
              <a:gd name="connsiteY0" fmla="*/ 90889 h 90889"/>
              <a:gd name="connsiteX1" fmla="*/ 0 w 83897"/>
              <a:gd name="connsiteY1" fmla="*/ 90889 h 90889"/>
              <a:gd name="connsiteX2" fmla="*/ 45445 w 83897"/>
              <a:gd name="connsiteY2" fmla="*/ 45445 h 90889"/>
              <a:gd name="connsiteX3" fmla="*/ 0 w 83897"/>
              <a:gd name="connsiteY3" fmla="*/ 0 h 90889"/>
              <a:gd name="connsiteX4" fmla="*/ 39618 w 83897"/>
              <a:gd name="connsiteY4" fmla="*/ 0 h 90889"/>
              <a:gd name="connsiteX5" fmla="*/ 83898 w 83897"/>
              <a:gd name="connsiteY5" fmla="*/ 44279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endParaRPr lang="de-DE"/>
          </a:p>
        </p:txBody>
      </p:sp>
      <p:sp>
        <p:nvSpPr>
          <p:cNvPr id="350" name="Freihandform: Form 349">
            <a:extLst>
              <a:ext uri="{FF2B5EF4-FFF2-40B4-BE49-F238E27FC236}">
                <a16:creationId xmlns:a16="http://schemas.microsoft.com/office/drawing/2014/main" id="{ACCECFFB-F7F0-4072-9DC2-02D68E9052B1}"/>
              </a:ext>
            </a:extLst>
          </p:cNvPr>
          <p:cNvSpPr/>
          <p:nvPr userDrawn="1"/>
        </p:nvSpPr>
        <p:spPr>
          <a:xfrm>
            <a:off x="6294680" y="5613514"/>
            <a:ext cx="83897" cy="90889"/>
          </a:xfrm>
          <a:custGeom>
            <a:avLst/>
            <a:gdLst>
              <a:gd name="connsiteX0" fmla="*/ 38453 w 83897"/>
              <a:gd name="connsiteY0" fmla="*/ 90889 h 90889"/>
              <a:gd name="connsiteX1" fmla="*/ 0 w 83897"/>
              <a:gd name="connsiteY1" fmla="*/ 90889 h 90889"/>
              <a:gd name="connsiteX2" fmla="*/ 45445 w 83897"/>
              <a:gd name="connsiteY2" fmla="*/ 45445 h 90889"/>
              <a:gd name="connsiteX3" fmla="*/ 0 w 83897"/>
              <a:gd name="connsiteY3" fmla="*/ 0 h 90889"/>
              <a:gd name="connsiteX4" fmla="*/ 39618 w 83897"/>
              <a:gd name="connsiteY4" fmla="*/ 0 h 90889"/>
              <a:gd name="connsiteX5" fmla="*/ 83898 w 83897"/>
              <a:gd name="connsiteY5" fmla="*/ 44279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endParaRPr lang="de-DE"/>
          </a:p>
        </p:txBody>
      </p:sp>
      <p:sp>
        <p:nvSpPr>
          <p:cNvPr id="351" name="Freihandform: Form 350">
            <a:extLst>
              <a:ext uri="{FF2B5EF4-FFF2-40B4-BE49-F238E27FC236}">
                <a16:creationId xmlns:a16="http://schemas.microsoft.com/office/drawing/2014/main" id="{30860A54-535E-40E9-96AA-34D99A547843}"/>
              </a:ext>
            </a:extLst>
          </p:cNvPr>
          <p:cNvSpPr/>
          <p:nvPr userDrawn="1"/>
        </p:nvSpPr>
        <p:spPr>
          <a:xfrm>
            <a:off x="6294680" y="5967749"/>
            <a:ext cx="83897" cy="90889"/>
          </a:xfrm>
          <a:custGeom>
            <a:avLst/>
            <a:gdLst>
              <a:gd name="connsiteX0" fmla="*/ 38453 w 83897"/>
              <a:gd name="connsiteY0" fmla="*/ 90889 h 90889"/>
              <a:gd name="connsiteX1" fmla="*/ 0 w 83897"/>
              <a:gd name="connsiteY1" fmla="*/ 90889 h 90889"/>
              <a:gd name="connsiteX2" fmla="*/ 45445 w 83897"/>
              <a:gd name="connsiteY2" fmla="*/ 46610 h 90889"/>
              <a:gd name="connsiteX3" fmla="*/ 0 w 83897"/>
              <a:gd name="connsiteY3" fmla="*/ 0 h 90889"/>
              <a:gd name="connsiteX4" fmla="*/ 39618 w 83897"/>
              <a:gd name="connsiteY4" fmla="*/ 0 h 90889"/>
              <a:gd name="connsiteX5" fmla="*/ 83898 w 83897"/>
              <a:gd name="connsiteY5" fmla="*/ 45445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6610"/>
                </a:lnTo>
                <a:lnTo>
                  <a:pt x="0" y="0"/>
                </a:lnTo>
                <a:lnTo>
                  <a:pt x="39618" y="0"/>
                </a:lnTo>
                <a:lnTo>
                  <a:pt x="83898" y="45445"/>
                </a:lnTo>
                <a:close/>
              </a:path>
            </a:pathLst>
          </a:custGeom>
          <a:solidFill>
            <a:srgbClr val="EEF2F5"/>
          </a:solidFill>
          <a:ln w="11643" cap="flat">
            <a:noFill/>
            <a:prstDash val="solid"/>
            <a:miter/>
          </a:ln>
        </p:spPr>
        <p:txBody>
          <a:bodyPr rtlCol="0" anchor="ctr"/>
          <a:lstStyle/>
          <a:p>
            <a:endParaRPr lang="de-DE"/>
          </a:p>
        </p:txBody>
      </p:sp>
      <p:sp>
        <p:nvSpPr>
          <p:cNvPr id="352" name="Freihandform: Form 351">
            <a:extLst>
              <a:ext uri="{FF2B5EF4-FFF2-40B4-BE49-F238E27FC236}">
                <a16:creationId xmlns:a16="http://schemas.microsoft.com/office/drawing/2014/main" id="{74EA2C5C-043C-43FC-82F8-EBCDC51C4FFE}"/>
              </a:ext>
            </a:extLst>
          </p:cNvPr>
          <p:cNvSpPr/>
          <p:nvPr userDrawn="1"/>
        </p:nvSpPr>
        <p:spPr>
          <a:xfrm>
            <a:off x="6294680" y="6323150"/>
            <a:ext cx="83897" cy="90889"/>
          </a:xfrm>
          <a:custGeom>
            <a:avLst/>
            <a:gdLst>
              <a:gd name="connsiteX0" fmla="*/ 38453 w 83897"/>
              <a:gd name="connsiteY0" fmla="*/ 90889 h 90889"/>
              <a:gd name="connsiteX1" fmla="*/ 0 w 83897"/>
              <a:gd name="connsiteY1" fmla="*/ 90889 h 90889"/>
              <a:gd name="connsiteX2" fmla="*/ 45445 w 83897"/>
              <a:gd name="connsiteY2" fmla="*/ 45445 h 90889"/>
              <a:gd name="connsiteX3" fmla="*/ 0 w 83897"/>
              <a:gd name="connsiteY3" fmla="*/ 0 h 90889"/>
              <a:gd name="connsiteX4" fmla="*/ 39618 w 83897"/>
              <a:gd name="connsiteY4" fmla="*/ 0 h 90889"/>
              <a:gd name="connsiteX5" fmla="*/ 83898 w 83897"/>
              <a:gd name="connsiteY5" fmla="*/ 44279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endParaRPr lang="de-DE"/>
          </a:p>
        </p:txBody>
      </p:sp>
      <p:sp>
        <p:nvSpPr>
          <p:cNvPr id="353" name="Freihandform: Form 352">
            <a:extLst>
              <a:ext uri="{FF2B5EF4-FFF2-40B4-BE49-F238E27FC236}">
                <a16:creationId xmlns:a16="http://schemas.microsoft.com/office/drawing/2014/main" id="{C8CACB49-436D-4574-8377-C753156738F1}"/>
              </a:ext>
            </a:extLst>
          </p:cNvPr>
          <p:cNvSpPr/>
          <p:nvPr userDrawn="1"/>
        </p:nvSpPr>
        <p:spPr>
          <a:xfrm>
            <a:off x="6294680" y="6677385"/>
            <a:ext cx="83897" cy="90889"/>
          </a:xfrm>
          <a:custGeom>
            <a:avLst/>
            <a:gdLst>
              <a:gd name="connsiteX0" fmla="*/ 38453 w 83897"/>
              <a:gd name="connsiteY0" fmla="*/ 90889 h 90889"/>
              <a:gd name="connsiteX1" fmla="*/ 0 w 83897"/>
              <a:gd name="connsiteY1" fmla="*/ 90889 h 90889"/>
              <a:gd name="connsiteX2" fmla="*/ 45445 w 83897"/>
              <a:gd name="connsiteY2" fmla="*/ 46610 h 90889"/>
              <a:gd name="connsiteX3" fmla="*/ 0 w 83897"/>
              <a:gd name="connsiteY3" fmla="*/ 0 h 90889"/>
              <a:gd name="connsiteX4" fmla="*/ 39618 w 83897"/>
              <a:gd name="connsiteY4" fmla="*/ 0 h 90889"/>
              <a:gd name="connsiteX5" fmla="*/ 83898 w 83897"/>
              <a:gd name="connsiteY5" fmla="*/ 45445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6610"/>
                </a:lnTo>
                <a:lnTo>
                  <a:pt x="0" y="0"/>
                </a:lnTo>
                <a:lnTo>
                  <a:pt x="39618" y="0"/>
                </a:lnTo>
                <a:lnTo>
                  <a:pt x="83898" y="45445"/>
                </a:lnTo>
                <a:close/>
              </a:path>
            </a:pathLst>
          </a:custGeom>
          <a:solidFill>
            <a:srgbClr val="EEF2F5"/>
          </a:solidFill>
          <a:ln w="11643" cap="flat">
            <a:noFill/>
            <a:prstDash val="solid"/>
            <a:miter/>
          </a:ln>
        </p:spPr>
        <p:txBody>
          <a:bodyPr rtlCol="0" anchor="ctr"/>
          <a:lstStyle/>
          <a:p>
            <a:endParaRPr lang="de-DE"/>
          </a:p>
        </p:txBody>
      </p:sp>
      <p:sp>
        <p:nvSpPr>
          <p:cNvPr id="354" name="Freihandform: Form 353">
            <a:extLst>
              <a:ext uri="{FF2B5EF4-FFF2-40B4-BE49-F238E27FC236}">
                <a16:creationId xmlns:a16="http://schemas.microsoft.com/office/drawing/2014/main" id="{B29013A0-BCBB-40DB-8B64-C13F7A006ED1}"/>
              </a:ext>
            </a:extLst>
          </p:cNvPr>
          <p:cNvSpPr/>
          <p:nvPr userDrawn="1"/>
        </p:nvSpPr>
        <p:spPr>
          <a:xfrm>
            <a:off x="6641924" y="2056012"/>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3601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355" name="Freihandform: Form 354">
            <a:extLst>
              <a:ext uri="{FF2B5EF4-FFF2-40B4-BE49-F238E27FC236}">
                <a16:creationId xmlns:a16="http://schemas.microsoft.com/office/drawing/2014/main" id="{CFF769E7-83E6-4FFF-B7B6-43CAC363AE64}"/>
              </a:ext>
            </a:extLst>
          </p:cNvPr>
          <p:cNvSpPr/>
          <p:nvPr userDrawn="1"/>
        </p:nvSpPr>
        <p:spPr>
          <a:xfrm>
            <a:off x="6641924" y="2410247"/>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3601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356" name="Freihandform: Form 355">
            <a:extLst>
              <a:ext uri="{FF2B5EF4-FFF2-40B4-BE49-F238E27FC236}">
                <a16:creationId xmlns:a16="http://schemas.microsoft.com/office/drawing/2014/main" id="{B4DC8A4E-265A-423E-AB7E-52089C97E7ED}"/>
              </a:ext>
            </a:extLst>
          </p:cNvPr>
          <p:cNvSpPr/>
          <p:nvPr userDrawn="1"/>
        </p:nvSpPr>
        <p:spPr>
          <a:xfrm>
            <a:off x="6641924" y="2765648"/>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3601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357" name="Freihandform: Form 356">
            <a:extLst>
              <a:ext uri="{FF2B5EF4-FFF2-40B4-BE49-F238E27FC236}">
                <a16:creationId xmlns:a16="http://schemas.microsoft.com/office/drawing/2014/main" id="{8229E235-012D-4068-9887-186727B34CE4}"/>
              </a:ext>
            </a:extLst>
          </p:cNvPr>
          <p:cNvSpPr/>
          <p:nvPr userDrawn="1"/>
        </p:nvSpPr>
        <p:spPr>
          <a:xfrm>
            <a:off x="6641924" y="3119883"/>
            <a:ext cx="100211" cy="109533"/>
          </a:xfrm>
          <a:custGeom>
            <a:avLst/>
            <a:gdLst>
              <a:gd name="connsiteX0" fmla="*/ 45445 w 100211"/>
              <a:gd name="connsiteY0" fmla="*/ 109533 h 109533"/>
              <a:gd name="connsiteX1" fmla="*/ 0 w 100211"/>
              <a:gd name="connsiteY1" fmla="*/ 109533 h 109533"/>
              <a:gd name="connsiteX2" fmla="*/ 53601 w 100211"/>
              <a:gd name="connsiteY2" fmla="*/ 54767 h 109533"/>
              <a:gd name="connsiteX3" fmla="*/ 0 w 100211"/>
              <a:gd name="connsiteY3" fmla="*/ 0 h 109533"/>
              <a:gd name="connsiteX4" fmla="*/ 46610 w 100211"/>
              <a:gd name="connsiteY4" fmla="*/ 0 h 109533"/>
              <a:gd name="connsiteX5" fmla="*/ 100211 w 100211"/>
              <a:gd name="connsiteY5" fmla="*/ 53601 h 109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9533">
                <a:moveTo>
                  <a:pt x="45445" y="109533"/>
                </a:moveTo>
                <a:lnTo>
                  <a:pt x="0" y="109533"/>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358" name="Freihandform: Form 357">
            <a:extLst>
              <a:ext uri="{FF2B5EF4-FFF2-40B4-BE49-F238E27FC236}">
                <a16:creationId xmlns:a16="http://schemas.microsoft.com/office/drawing/2014/main" id="{984E28EA-AC69-4530-BB08-379D156F0B5F}"/>
              </a:ext>
            </a:extLst>
          </p:cNvPr>
          <p:cNvSpPr/>
          <p:nvPr userDrawn="1"/>
        </p:nvSpPr>
        <p:spPr>
          <a:xfrm>
            <a:off x="6641924" y="3475284"/>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3601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359" name="Freihandform: Form 358">
            <a:extLst>
              <a:ext uri="{FF2B5EF4-FFF2-40B4-BE49-F238E27FC236}">
                <a16:creationId xmlns:a16="http://schemas.microsoft.com/office/drawing/2014/main" id="{FEDFDF1D-F996-436D-95F7-5BE574FD9E43}"/>
              </a:ext>
            </a:extLst>
          </p:cNvPr>
          <p:cNvSpPr/>
          <p:nvPr userDrawn="1"/>
        </p:nvSpPr>
        <p:spPr>
          <a:xfrm>
            <a:off x="6641924" y="3829519"/>
            <a:ext cx="100211" cy="109533"/>
          </a:xfrm>
          <a:custGeom>
            <a:avLst/>
            <a:gdLst>
              <a:gd name="connsiteX0" fmla="*/ 45445 w 100211"/>
              <a:gd name="connsiteY0" fmla="*/ 109533 h 109533"/>
              <a:gd name="connsiteX1" fmla="*/ 0 w 100211"/>
              <a:gd name="connsiteY1" fmla="*/ 109533 h 109533"/>
              <a:gd name="connsiteX2" fmla="*/ 53601 w 100211"/>
              <a:gd name="connsiteY2" fmla="*/ 54767 h 109533"/>
              <a:gd name="connsiteX3" fmla="*/ 0 w 100211"/>
              <a:gd name="connsiteY3" fmla="*/ 0 h 109533"/>
              <a:gd name="connsiteX4" fmla="*/ 46610 w 100211"/>
              <a:gd name="connsiteY4" fmla="*/ 0 h 109533"/>
              <a:gd name="connsiteX5" fmla="*/ 100211 w 100211"/>
              <a:gd name="connsiteY5" fmla="*/ 53601 h 109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9533">
                <a:moveTo>
                  <a:pt x="45445" y="109533"/>
                </a:moveTo>
                <a:lnTo>
                  <a:pt x="0" y="109533"/>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360" name="Freihandform: Form 359">
            <a:extLst>
              <a:ext uri="{FF2B5EF4-FFF2-40B4-BE49-F238E27FC236}">
                <a16:creationId xmlns:a16="http://schemas.microsoft.com/office/drawing/2014/main" id="{8685CC1C-42AB-4B1F-A9DB-BA63AF39AC62}"/>
              </a:ext>
            </a:extLst>
          </p:cNvPr>
          <p:cNvSpPr/>
          <p:nvPr userDrawn="1"/>
        </p:nvSpPr>
        <p:spPr>
          <a:xfrm>
            <a:off x="6641924" y="4184920"/>
            <a:ext cx="100211" cy="108367"/>
          </a:xfrm>
          <a:custGeom>
            <a:avLst/>
            <a:gdLst>
              <a:gd name="connsiteX0" fmla="*/ 45445 w 100211"/>
              <a:gd name="connsiteY0" fmla="*/ 108368 h 108367"/>
              <a:gd name="connsiteX1" fmla="*/ 0 w 100211"/>
              <a:gd name="connsiteY1" fmla="*/ 108368 h 108367"/>
              <a:gd name="connsiteX2" fmla="*/ 53601 w 100211"/>
              <a:gd name="connsiteY2" fmla="*/ 54767 h 108367"/>
              <a:gd name="connsiteX3" fmla="*/ 0 w 100211"/>
              <a:gd name="connsiteY3" fmla="*/ 0 h 108367"/>
              <a:gd name="connsiteX4" fmla="*/ 46610 w 100211"/>
              <a:gd name="connsiteY4" fmla="*/ 0 h 108367"/>
              <a:gd name="connsiteX5" fmla="*/ 100211 w 100211"/>
              <a:gd name="connsiteY5" fmla="*/ 53601 h 108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7">
                <a:moveTo>
                  <a:pt x="45445" y="108368"/>
                </a:moveTo>
                <a:lnTo>
                  <a:pt x="0" y="108368"/>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361" name="Freihandform: Form 360">
            <a:extLst>
              <a:ext uri="{FF2B5EF4-FFF2-40B4-BE49-F238E27FC236}">
                <a16:creationId xmlns:a16="http://schemas.microsoft.com/office/drawing/2014/main" id="{48EE8789-AAA0-46DB-896E-70EAB25AAE92}"/>
              </a:ext>
            </a:extLst>
          </p:cNvPr>
          <p:cNvSpPr/>
          <p:nvPr userDrawn="1"/>
        </p:nvSpPr>
        <p:spPr>
          <a:xfrm>
            <a:off x="6641924" y="4539155"/>
            <a:ext cx="100211" cy="109533"/>
          </a:xfrm>
          <a:custGeom>
            <a:avLst/>
            <a:gdLst>
              <a:gd name="connsiteX0" fmla="*/ 45445 w 100211"/>
              <a:gd name="connsiteY0" fmla="*/ 109533 h 109533"/>
              <a:gd name="connsiteX1" fmla="*/ 0 w 100211"/>
              <a:gd name="connsiteY1" fmla="*/ 109533 h 109533"/>
              <a:gd name="connsiteX2" fmla="*/ 53601 w 100211"/>
              <a:gd name="connsiteY2" fmla="*/ 54767 h 109533"/>
              <a:gd name="connsiteX3" fmla="*/ 0 w 100211"/>
              <a:gd name="connsiteY3" fmla="*/ 0 h 109533"/>
              <a:gd name="connsiteX4" fmla="*/ 46610 w 100211"/>
              <a:gd name="connsiteY4" fmla="*/ 0 h 109533"/>
              <a:gd name="connsiteX5" fmla="*/ 100211 w 100211"/>
              <a:gd name="connsiteY5" fmla="*/ 53601 h 109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9533">
                <a:moveTo>
                  <a:pt x="45445" y="109533"/>
                </a:moveTo>
                <a:lnTo>
                  <a:pt x="0" y="109533"/>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362" name="Freihandform: Form 361">
            <a:extLst>
              <a:ext uri="{FF2B5EF4-FFF2-40B4-BE49-F238E27FC236}">
                <a16:creationId xmlns:a16="http://schemas.microsoft.com/office/drawing/2014/main" id="{102A4279-5E98-4085-A63D-1DC589536896}"/>
              </a:ext>
            </a:extLst>
          </p:cNvPr>
          <p:cNvSpPr/>
          <p:nvPr userDrawn="1"/>
        </p:nvSpPr>
        <p:spPr>
          <a:xfrm>
            <a:off x="6641924" y="4894556"/>
            <a:ext cx="100211" cy="108367"/>
          </a:xfrm>
          <a:custGeom>
            <a:avLst/>
            <a:gdLst>
              <a:gd name="connsiteX0" fmla="*/ 45445 w 100211"/>
              <a:gd name="connsiteY0" fmla="*/ 108368 h 108367"/>
              <a:gd name="connsiteX1" fmla="*/ 0 w 100211"/>
              <a:gd name="connsiteY1" fmla="*/ 108368 h 108367"/>
              <a:gd name="connsiteX2" fmla="*/ 53601 w 100211"/>
              <a:gd name="connsiteY2" fmla="*/ 54767 h 108367"/>
              <a:gd name="connsiteX3" fmla="*/ 0 w 100211"/>
              <a:gd name="connsiteY3" fmla="*/ 0 h 108367"/>
              <a:gd name="connsiteX4" fmla="*/ 46610 w 100211"/>
              <a:gd name="connsiteY4" fmla="*/ 0 h 108367"/>
              <a:gd name="connsiteX5" fmla="*/ 100211 w 100211"/>
              <a:gd name="connsiteY5" fmla="*/ 53601 h 108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7">
                <a:moveTo>
                  <a:pt x="45445" y="108368"/>
                </a:moveTo>
                <a:lnTo>
                  <a:pt x="0" y="108368"/>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363" name="Freihandform: Form 362">
            <a:extLst>
              <a:ext uri="{FF2B5EF4-FFF2-40B4-BE49-F238E27FC236}">
                <a16:creationId xmlns:a16="http://schemas.microsoft.com/office/drawing/2014/main" id="{F159DC3D-E9B7-40DC-80A5-80705CE3B859}"/>
              </a:ext>
            </a:extLst>
          </p:cNvPr>
          <p:cNvSpPr/>
          <p:nvPr userDrawn="1"/>
        </p:nvSpPr>
        <p:spPr>
          <a:xfrm>
            <a:off x="6641924" y="5249956"/>
            <a:ext cx="100211" cy="108367"/>
          </a:xfrm>
          <a:custGeom>
            <a:avLst/>
            <a:gdLst>
              <a:gd name="connsiteX0" fmla="*/ 45445 w 100211"/>
              <a:gd name="connsiteY0" fmla="*/ 108368 h 108367"/>
              <a:gd name="connsiteX1" fmla="*/ 0 w 100211"/>
              <a:gd name="connsiteY1" fmla="*/ 108368 h 108367"/>
              <a:gd name="connsiteX2" fmla="*/ 53601 w 100211"/>
              <a:gd name="connsiteY2" fmla="*/ 54767 h 108367"/>
              <a:gd name="connsiteX3" fmla="*/ 0 w 100211"/>
              <a:gd name="connsiteY3" fmla="*/ 0 h 108367"/>
              <a:gd name="connsiteX4" fmla="*/ 46610 w 100211"/>
              <a:gd name="connsiteY4" fmla="*/ 0 h 108367"/>
              <a:gd name="connsiteX5" fmla="*/ 100211 w 100211"/>
              <a:gd name="connsiteY5" fmla="*/ 52436 h 108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7">
                <a:moveTo>
                  <a:pt x="45445" y="108368"/>
                </a:moveTo>
                <a:lnTo>
                  <a:pt x="0" y="108368"/>
                </a:lnTo>
                <a:lnTo>
                  <a:pt x="53601" y="54767"/>
                </a:lnTo>
                <a:lnTo>
                  <a:pt x="0" y="0"/>
                </a:lnTo>
                <a:lnTo>
                  <a:pt x="46610" y="0"/>
                </a:lnTo>
                <a:lnTo>
                  <a:pt x="100211" y="52436"/>
                </a:lnTo>
                <a:close/>
              </a:path>
            </a:pathLst>
          </a:custGeom>
          <a:solidFill>
            <a:srgbClr val="EEF2F5"/>
          </a:solidFill>
          <a:ln w="11643" cap="flat">
            <a:noFill/>
            <a:prstDash val="solid"/>
            <a:miter/>
          </a:ln>
        </p:spPr>
        <p:txBody>
          <a:bodyPr rtlCol="0" anchor="ctr"/>
          <a:lstStyle/>
          <a:p>
            <a:endParaRPr lang="de-DE"/>
          </a:p>
        </p:txBody>
      </p:sp>
      <p:sp>
        <p:nvSpPr>
          <p:cNvPr id="364" name="Freihandform: Form 363">
            <a:extLst>
              <a:ext uri="{FF2B5EF4-FFF2-40B4-BE49-F238E27FC236}">
                <a16:creationId xmlns:a16="http://schemas.microsoft.com/office/drawing/2014/main" id="{72A08ED3-7BD7-47B4-8793-76366AD64EE4}"/>
              </a:ext>
            </a:extLst>
          </p:cNvPr>
          <p:cNvSpPr/>
          <p:nvPr userDrawn="1"/>
        </p:nvSpPr>
        <p:spPr>
          <a:xfrm>
            <a:off x="6641924" y="5604192"/>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3601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365" name="Freihandform: Form 364">
            <a:extLst>
              <a:ext uri="{FF2B5EF4-FFF2-40B4-BE49-F238E27FC236}">
                <a16:creationId xmlns:a16="http://schemas.microsoft.com/office/drawing/2014/main" id="{C895AAFE-E256-4007-9B16-BC9198849207}"/>
              </a:ext>
            </a:extLst>
          </p:cNvPr>
          <p:cNvSpPr/>
          <p:nvPr userDrawn="1"/>
        </p:nvSpPr>
        <p:spPr>
          <a:xfrm>
            <a:off x="6641924" y="5959592"/>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2436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2436"/>
                </a:lnTo>
                <a:close/>
              </a:path>
            </a:pathLst>
          </a:custGeom>
          <a:solidFill>
            <a:srgbClr val="EEF2F5"/>
          </a:solidFill>
          <a:ln w="11643" cap="flat">
            <a:noFill/>
            <a:prstDash val="solid"/>
            <a:miter/>
          </a:ln>
        </p:spPr>
        <p:txBody>
          <a:bodyPr rtlCol="0" anchor="ctr"/>
          <a:lstStyle/>
          <a:p>
            <a:endParaRPr lang="de-DE"/>
          </a:p>
        </p:txBody>
      </p:sp>
      <p:sp>
        <p:nvSpPr>
          <p:cNvPr id="366" name="Freihandform: Form 365">
            <a:extLst>
              <a:ext uri="{FF2B5EF4-FFF2-40B4-BE49-F238E27FC236}">
                <a16:creationId xmlns:a16="http://schemas.microsoft.com/office/drawing/2014/main" id="{6C173860-BF8F-4E2F-BCFC-7F292BAC3A01}"/>
              </a:ext>
            </a:extLst>
          </p:cNvPr>
          <p:cNvSpPr/>
          <p:nvPr userDrawn="1"/>
        </p:nvSpPr>
        <p:spPr>
          <a:xfrm>
            <a:off x="6641924" y="6313828"/>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3601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367" name="Freihandform: Form 366">
            <a:extLst>
              <a:ext uri="{FF2B5EF4-FFF2-40B4-BE49-F238E27FC236}">
                <a16:creationId xmlns:a16="http://schemas.microsoft.com/office/drawing/2014/main" id="{73853278-27BF-4E81-94D6-486931097CE6}"/>
              </a:ext>
            </a:extLst>
          </p:cNvPr>
          <p:cNvSpPr/>
          <p:nvPr userDrawn="1"/>
        </p:nvSpPr>
        <p:spPr>
          <a:xfrm>
            <a:off x="6641924" y="6669228"/>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2436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2436"/>
                </a:lnTo>
                <a:close/>
              </a:path>
            </a:pathLst>
          </a:custGeom>
          <a:solidFill>
            <a:srgbClr val="EEF2F5"/>
          </a:solidFill>
          <a:ln w="11643" cap="flat">
            <a:noFill/>
            <a:prstDash val="solid"/>
            <a:miter/>
          </a:ln>
        </p:spPr>
        <p:txBody>
          <a:bodyPr rtlCol="0" anchor="ctr"/>
          <a:lstStyle/>
          <a:p>
            <a:endParaRPr lang="de-DE"/>
          </a:p>
        </p:txBody>
      </p:sp>
      <p:sp>
        <p:nvSpPr>
          <p:cNvPr id="368" name="Freihandform: Form 367">
            <a:extLst>
              <a:ext uri="{FF2B5EF4-FFF2-40B4-BE49-F238E27FC236}">
                <a16:creationId xmlns:a16="http://schemas.microsoft.com/office/drawing/2014/main" id="{94E5B3F3-1943-4AAC-A8E5-78E273FC1825}"/>
              </a:ext>
            </a:extLst>
          </p:cNvPr>
          <p:cNvSpPr/>
          <p:nvPr userDrawn="1"/>
        </p:nvSpPr>
        <p:spPr>
          <a:xfrm>
            <a:off x="6988003" y="2046690"/>
            <a:ext cx="117690" cy="127012"/>
          </a:xfrm>
          <a:custGeom>
            <a:avLst/>
            <a:gdLst>
              <a:gd name="connsiteX0" fmla="*/ 53601 w 117690"/>
              <a:gd name="connsiteY0" fmla="*/ 127012 h 127012"/>
              <a:gd name="connsiteX1" fmla="*/ 0 w 117690"/>
              <a:gd name="connsiteY1" fmla="*/ 127012 h 127012"/>
              <a:gd name="connsiteX2" fmla="*/ 62924 w 117690"/>
              <a:gd name="connsiteY2" fmla="*/ 64089 h 127012"/>
              <a:gd name="connsiteX3" fmla="*/ 0 w 117690"/>
              <a:gd name="connsiteY3" fmla="*/ 0 h 127012"/>
              <a:gd name="connsiteX4" fmla="*/ 54767 w 117690"/>
              <a:gd name="connsiteY4" fmla="*/ 0 h 127012"/>
              <a:gd name="connsiteX5" fmla="*/ 117690 w 117690"/>
              <a:gd name="connsiteY5" fmla="*/ 61758 h 12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2">
                <a:moveTo>
                  <a:pt x="53601" y="127012"/>
                </a:moveTo>
                <a:lnTo>
                  <a:pt x="0" y="127012"/>
                </a:lnTo>
                <a:lnTo>
                  <a:pt x="62924" y="64089"/>
                </a:lnTo>
                <a:lnTo>
                  <a:pt x="0" y="0"/>
                </a:lnTo>
                <a:lnTo>
                  <a:pt x="54767" y="0"/>
                </a:lnTo>
                <a:lnTo>
                  <a:pt x="117690" y="61758"/>
                </a:lnTo>
                <a:close/>
              </a:path>
            </a:pathLst>
          </a:custGeom>
          <a:solidFill>
            <a:srgbClr val="EEF2F5"/>
          </a:solidFill>
          <a:ln w="11643" cap="flat">
            <a:noFill/>
            <a:prstDash val="solid"/>
            <a:miter/>
          </a:ln>
        </p:spPr>
        <p:txBody>
          <a:bodyPr rtlCol="0" anchor="ctr"/>
          <a:lstStyle/>
          <a:p>
            <a:endParaRPr lang="de-DE"/>
          </a:p>
        </p:txBody>
      </p:sp>
      <p:sp>
        <p:nvSpPr>
          <p:cNvPr id="369" name="Freihandform: Form 368">
            <a:extLst>
              <a:ext uri="{FF2B5EF4-FFF2-40B4-BE49-F238E27FC236}">
                <a16:creationId xmlns:a16="http://schemas.microsoft.com/office/drawing/2014/main" id="{EDD934F7-8866-497B-BDDF-333CE12CC342}"/>
              </a:ext>
            </a:extLst>
          </p:cNvPr>
          <p:cNvSpPr/>
          <p:nvPr userDrawn="1"/>
        </p:nvSpPr>
        <p:spPr>
          <a:xfrm>
            <a:off x="6988003" y="2400925"/>
            <a:ext cx="117690" cy="127012"/>
          </a:xfrm>
          <a:custGeom>
            <a:avLst/>
            <a:gdLst>
              <a:gd name="connsiteX0" fmla="*/ 53601 w 117690"/>
              <a:gd name="connsiteY0" fmla="*/ 127012 h 127012"/>
              <a:gd name="connsiteX1" fmla="*/ 0 w 117690"/>
              <a:gd name="connsiteY1" fmla="*/ 127012 h 127012"/>
              <a:gd name="connsiteX2" fmla="*/ 62924 w 117690"/>
              <a:gd name="connsiteY2" fmla="*/ 64089 h 127012"/>
              <a:gd name="connsiteX3" fmla="*/ 0 w 117690"/>
              <a:gd name="connsiteY3" fmla="*/ 0 h 127012"/>
              <a:gd name="connsiteX4" fmla="*/ 54767 w 117690"/>
              <a:gd name="connsiteY4" fmla="*/ 0 h 127012"/>
              <a:gd name="connsiteX5" fmla="*/ 117690 w 117690"/>
              <a:gd name="connsiteY5" fmla="*/ 62923 h 12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2">
                <a:moveTo>
                  <a:pt x="53601" y="127012"/>
                </a:moveTo>
                <a:lnTo>
                  <a:pt x="0" y="127012"/>
                </a:lnTo>
                <a:lnTo>
                  <a:pt x="62924" y="64089"/>
                </a:lnTo>
                <a:lnTo>
                  <a:pt x="0" y="0"/>
                </a:lnTo>
                <a:lnTo>
                  <a:pt x="54767" y="0"/>
                </a:lnTo>
                <a:lnTo>
                  <a:pt x="117690" y="62923"/>
                </a:lnTo>
                <a:close/>
              </a:path>
            </a:pathLst>
          </a:custGeom>
          <a:solidFill>
            <a:srgbClr val="EEF2F5"/>
          </a:solidFill>
          <a:ln w="11643" cap="flat">
            <a:noFill/>
            <a:prstDash val="solid"/>
            <a:miter/>
          </a:ln>
        </p:spPr>
        <p:txBody>
          <a:bodyPr rtlCol="0" anchor="ctr"/>
          <a:lstStyle/>
          <a:p>
            <a:endParaRPr lang="de-DE"/>
          </a:p>
        </p:txBody>
      </p:sp>
      <p:sp>
        <p:nvSpPr>
          <p:cNvPr id="370" name="Freihandform: Form 369">
            <a:extLst>
              <a:ext uri="{FF2B5EF4-FFF2-40B4-BE49-F238E27FC236}">
                <a16:creationId xmlns:a16="http://schemas.microsoft.com/office/drawing/2014/main" id="{56DAFA73-B8F0-4EB9-8D0E-120ABAAAC29F}"/>
              </a:ext>
            </a:extLst>
          </p:cNvPr>
          <p:cNvSpPr/>
          <p:nvPr userDrawn="1"/>
        </p:nvSpPr>
        <p:spPr>
          <a:xfrm>
            <a:off x="6988003" y="2756326"/>
            <a:ext cx="117690" cy="127012"/>
          </a:xfrm>
          <a:custGeom>
            <a:avLst/>
            <a:gdLst>
              <a:gd name="connsiteX0" fmla="*/ 53601 w 117690"/>
              <a:gd name="connsiteY0" fmla="*/ 127012 h 127012"/>
              <a:gd name="connsiteX1" fmla="*/ 0 w 117690"/>
              <a:gd name="connsiteY1" fmla="*/ 127012 h 127012"/>
              <a:gd name="connsiteX2" fmla="*/ 62924 w 117690"/>
              <a:gd name="connsiteY2" fmla="*/ 64089 h 127012"/>
              <a:gd name="connsiteX3" fmla="*/ 0 w 117690"/>
              <a:gd name="connsiteY3" fmla="*/ 0 h 127012"/>
              <a:gd name="connsiteX4" fmla="*/ 54767 w 117690"/>
              <a:gd name="connsiteY4" fmla="*/ 0 h 127012"/>
              <a:gd name="connsiteX5" fmla="*/ 117690 w 117690"/>
              <a:gd name="connsiteY5" fmla="*/ 61758 h 12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2">
                <a:moveTo>
                  <a:pt x="53601" y="127012"/>
                </a:moveTo>
                <a:lnTo>
                  <a:pt x="0" y="127012"/>
                </a:lnTo>
                <a:lnTo>
                  <a:pt x="62924" y="64089"/>
                </a:lnTo>
                <a:lnTo>
                  <a:pt x="0" y="0"/>
                </a:lnTo>
                <a:lnTo>
                  <a:pt x="54767" y="0"/>
                </a:lnTo>
                <a:lnTo>
                  <a:pt x="117690" y="61758"/>
                </a:lnTo>
                <a:close/>
              </a:path>
            </a:pathLst>
          </a:custGeom>
          <a:solidFill>
            <a:srgbClr val="EEF2F5"/>
          </a:solidFill>
          <a:ln w="11643" cap="flat">
            <a:noFill/>
            <a:prstDash val="solid"/>
            <a:miter/>
          </a:ln>
        </p:spPr>
        <p:txBody>
          <a:bodyPr rtlCol="0" anchor="ctr"/>
          <a:lstStyle/>
          <a:p>
            <a:endParaRPr lang="de-DE"/>
          </a:p>
        </p:txBody>
      </p:sp>
      <p:sp>
        <p:nvSpPr>
          <p:cNvPr id="371" name="Freihandform: Form 370">
            <a:extLst>
              <a:ext uri="{FF2B5EF4-FFF2-40B4-BE49-F238E27FC236}">
                <a16:creationId xmlns:a16="http://schemas.microsoft.com/office/drawing/2014/main" id="{240F5A60-B565-4874-BFA1-B6F0B7F354EE}"/>
              </a:ext>
            </a:extLst>
          </p:cNvPr>
          <p:cNvSpPr/>
          <p:nvPr userDrawn="1"/>
        </p:nvSpPr>
        <p:spPr>
          <a:xfrm>
            <a:off x="6988003" y="3111726"/>
            <a:ext cx="117690" cy="125846"/>
          </a:xfrm>
          <a:custGeom>
            <a:avLst/>
            <a:gdLst>
              <a:gd name="connsiteX0" fmla="*/ 53601 w 117690"/>
              <a:gd name="connsiteY0" fmla="*/ 125847 h 125846"/>
              <a:gd name="connsiteX1" fmla="*/ 0 w 117690"/>
              <a:gd name="connsiteY1" fmla="*/ 125847 h 125846"/>
              <a:gd name="connsiteX2" fmla="*/ 62924 w 117690"/>
              <a:gd name="connsiteY2" fmla="*/ 62923 h 125846"/>
              <a:gd name="connsiteX3" fmla="*/ 0 w 117690"/>
              <a:gd name="connsiteY3" fmla="*/ 0 h 125846"/>
              <a:gd name="connsiteX4" fmla="*/ 54767 w 117690"/>
              <a:gd name="connsiteY4" fmla="*/ 0 h 125846"/>
              <a:gd name="connsiteX5" fmla="*/ 117690 w 117690"/>
              <a:gd name="connsiteY5" fmla="*/ 61758 h 125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5846">
                <a:moveTo>
                  <a:pt x="53601" y="125847"/>
                </a:moveTo>
                <a:lnTo>
                  <a:pt x="0" y="125847"/>
                </a:lnTo>
                <a:lnTo>
                  <a:pt x="62924" y="62923"/>
                </a:lnTo>
                <a:lnTo>
                  <a:pt x="0" y="0"/>
                </a:lnTo>
                <a:lnTo>
                  <a:pt x="54767" y="0"/>
                </a:lnTo>
                <a:lnTo>
                  <a:pt x="117690" y="61758"/>
                </a:lnTo>
                <a:close/>
              </a:path>
            </a:pathLst>
          </a:custGeom>
          <a:solidFill>
            <a:srgbClr val="EEF2F5"/>
          </a:solidFill>
          <a:ln w="11643" cap="flat">
            <a:noFill/>
            <a:prstDash val="solid"/>
            <a:miter/>
          </a:ln>
        </p:spPr>
        <p:txBody>
          <a:bodyPr rtlCol="0" anchor="ctr"/>
          <a:lstStyle/>
          <a:p>
            <a:endParaRPr lang="de-DE"/>
          </a:p>
        </p:txBody>
      </p:sp>
      <p:sp>
        <p:nvSpPr>
          <p:cNvPr id="372" name="Freihandform: Form 371">
            <a:extLst>
              <a:ext uri="{FF2B5EF4-FFF2-40B4-BE49-F238E27FC236}">
                <a16:creationId xmlns:a16="http://schemas.microsoft.com/office/drawing/2014/main" id="{3C037353-0135-47CD-AF22-880B75EBAC3E}"/>
              </a:ext>
            </a:extLst>
          </p:cNvPr>
          <p:cNvSpPr/>
          <p:nvPr userDrawn="1"/>
        </p:nvSpPr>
        <p:spPr>
          <a:xfrm>
            <a:off x="6988003" y="3465962"/>
            <a:ext cx="117690" cy="127012"/>
          </a:xfrm>
          <a:custGeom>
            <a:avLst/>
            <a:gdLst>
              <a:gd name="connsiteX0" fmla="*/ 53601 w 117690"/>
              <a:gd name="connsiteY0" fmla="*/ 127012 h 127012"/>
              <a:gd name="connsiteX1" fmla="*/ 0 w 117690"/>
              <a:gd name="connsiteY1" fmla="*/ 127012 h 127012"/>
              <a:gd name="connsiteX2" fmla="*/ 62924 w 117690"/>
              <a:gd name="connsiteY2" fmla="*/ 64089 h 127012"/>
              <a:gd name="connsiteX3" fmla="*/ 0 w 117690"/>
              <a:gd name="connsiteY3" fmla="*/ 0 h 127012"/>
              <a:gd name="connsiteX4" fmla="*/ 54767 w 117690"/>
              <a:gd name="connsiteY4" fmla="*/ 0 h 127012"/>
              <a:gd name="connsiteX5" fmla="*/ 117690 w 117690"/>
              <a:gd name="connsiteY5" fmla="*/ 62923 h 12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2">
                <a:moveTo>
                  <a:pt x="53601" y="127012"/>
                </a:moveTo>
                <a:lnTo>
                  <a:pt x="0" y="127012"/>
                </a:lnTo>
                <a:lnTo>
                  <a:pt x="62924" y="64089"/>
                </a:lnTo>
                <a:lnTo>
                  <a:pt x="0" y="0"/>
                </a:lnTo>
                <a:lnTo>
                  <a:pt x="54767" y="0"/>
                </a:lnTo>
                <a:lnTo>
                  <a:pt x="117690" y="62923"/>
                </a:lnTo>
                <a:close/>
              </a:path>
            </a:pathLst>
          </a:custGeom>
          <a:solidFill>
            <a:srgbClr val="EEF2F5"/>
          </a:solidFill>
          <a:ln w="11643" cap="flat">
            <a:noFill/>
            <a:prstDash val="solid"/>
            <a:miter/>
          </a:ln>
        </p:spPr>
        <p:txBody>
          <a:bodyPr rtlCol="0" anchor="ctr"/>
          <a:lstStyle/>
          <a:p>
            <a:endParaRPr lang="de-DE"/>
          </a:p>
        </p:txBody>
      </p:sp>
      <p:sp>
        <p:nvSpPr>
          <p:cNvPr id="373" name="Freihandform: Form 372">
            <a:extLst>
              <a:ext uri="{FF2B5EF4-FFF2-40B4-BE49-F238E27FC236}">
                <a16:creationId xmlns:a16="http://schemas.microsoft.com/office/drawing/2014/main" id="{213D6103-FD9E-4D62-B7C4-1F08EA89236E}"/>
              </a:ext>
            </a:extLst>
          </p:cNvPr>
          <p:cNvSpPr/>
          <p:nvPr userDrawn="1"/>
        </p:nvSpPr>
        <p:spPr>
          <a:xfrm>
            <a:off x="6988003" y="3821362"/>
            <a:ext cx="117690" cy="125846"/>
          </a:xfrm>
          <a:custGeom>
            <a:avLst/>
            <a:gdLst>
              <a:gd name="connsiteX0" fmla="*/ 53601 w 117690"/>
              <a:gd name="connsiteY0" fmla="*/ 125847 h 125846"/>
              <a:gd name="connsiteX1" fmla="*/ 0 w 117690"/>
              <a:gd name="connsiteY1" fmla="*/ 125847 h 125846"/>
              <a:gd name="connsiteX2" fmla="*/ 62924 w 117690"/>
              <a:gd name="connsiteY2" fmla="*/ 62923 h 125846"/>
              <a:gd name="connsiteX3" fmla="*/ 0 w 117690"/>
              <a:gd name="connsiteY3" fmla="*/ 0 h 125846"/>
              <a:gd name="connsiteX4" fmla="*/ 54767 w 117690"/>
              <a:gd name="connsiteY4" fmla="*/ 0 h 125846"/>
              <a:gd name="connsiteX5" fmla="*/ 117690 w 117690"/>
              <a:gd name="connsiteY5" fmla="*/ 61758 h 125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5846">
                <a:moveTo>
                  <a:pt x="53601" y="125847"/>
                </a:moveTo>
                <a:lnTo>
                  <a:pt x="0" y="125847"/>
                </a:lnTo>
                <a:lnTo>
                  <a:pt x="62924" y="62923"/>
                </a:lnTo>
                <a:lnTo>
                  <a:pt x="0" y="0"/>
                </a:lnTo>
                <a:lnTo>
                  <a:pt x="54767" y="0"/>
                </a:lnTo>
                <a:lnTo>
                  <a:pt x="117690" y="61758"/>
                </a:lnTo>
                <a:close/>
              </a:path>
            </a:pathLst>
          </a:custGeom>
          <a:solidFill>
            <a:srgbClr val="EEF2F5"/>
          </a:solidFill>
          <a:ln w="11643" cap="flat">
            <a:noFill/>
            <a:prstDash val="solid"/>
            <a:miter/>
          </a:ln>
        </p:spPr>
        <p:txBody>
          <a:bodyPr rtlCol="0" anchor="ctr"/>
          <a:lstStyle/>
          <a:p>
            <a:endParaRPr lang="de-DE"/>
          </a:p>
        </p:txBody>
      </p:sp>
      <p:sp>
        <p:nvSpPr>
          <p:cNvPr id="374" name="Freihandform: Form 373">
            <a:extLst>
              <a:ext uri="{FF2B5EF4-FFF2-40B4-BE49-F238E27FC236}">
                <a16:creationId xmlns:a16="http://schemas.microsoft.com/office/drawing/2014/main" id="{BFE4BB97-0A78-4555-A56A-0CE8A922BBB4}"/>
              </a:ext>
            </a:extLst>
          </p:cNvPr>
          <p:cNvSpPr/>
          <p:nvPr userDrawn="1"/>
        </p:nvSpPr>
        <p:spPr>
          <a:xfrm>
            <a:off x="6988003" y="4175598"/>
            <a:ext cx="117690" cy="127011"/>
          </a:xfrm>
          <a:custGeom>
            <a:avLst/>
            <a:gdLst>
              <a:gd name="connsiteX0" fmla="*/ 53601 w 117690"/>
              <a:gd name="connsiteY0" fmla="*/ 127012 h 127011"/>
              <a:gd name="connsiteX1" fmla="*/ 0 w 117690"/>
              <a:gd name="connsiteY1" fmla="*/ 127012 h 127011"/>
              <a:gd name="connsiteX2" fmla="*/ 62924 w 117690"/>
              <a:gd name="connsiteY2" fmla="*/ 64089 h 127011"/>
              <a:gd name="connsiteX3" fmla="*/ 0 w 117690"/>
              <a:gd name="connsiteY3" fmla="*/ 0 h 127011"/>
              <a:gd name="connsiteX4" fmla="*/ 54767 w 117690"/>
              <a:gd name="connsiteY4" fmla="*/ 0 h 127011"/>
              <a:gd name="connsiteX5" fmla="*/ 117690 w 117690"/>
              <a:gd name="connsiteY5" fmla="*/ 62923 h 12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1">
                <a:moveTo>
                  <a:pt x="53601" y="127012"/>
                </a:moveTo>
                <a:lnTo>
                  <a:pt x="0" y="127012"/>
                </a:lnTo>
                <a:lnTo>
                  <a:pt x="62924" y="64089"/>
                </a:lnTo>
                <a:lnTo>
                  <a:pt x="0" y="0"/>
                </a:lnTo>
                <a:lnTo>
                  <a:pt x="54767" y="0"/>
                </a:lnTo>
                <a:lnTo>
                  <a:pt x="117690" y="62923"/>
                </a:lnTo>
                <a:close/>
              </a:path>
            </a:pathLst>
          </a:custGeom>
          <a:solidFill>
            <a:srgbClr val="EEF2F5"/>
          </a:solidFill>
          <a:ln w="11643" cap="flat">
            <a:noFill/>
            <a:prstDash val="solid"/>
            <a:miter/>
          </a:ln>
        </p:spPr>
        <p:txBody>
          <a:bodyPr rtlCol="0" anchor="ctr"/>
          <a:lstStyle/>
          <a:p>
            <a:endParaRPr lang="de-DE"/>
          </a:p>
        </p:txBody>
      </p:sp>
      <p:sp>
        <p:nvSpPr>
          <p:cNvPr id="375" name="Freihandform: Form 374">
            <a:extLst>
              <a:ext uri="{FF2B5EF4-FFF2-40B4-BE49-F238E27FC236}">
                <a16:creationId xmlns:a16="http://schemas.microsoft.com/office/drawing/2014/main" id="{A1B20E53-2B21-486E-9646-2EC1DD80CFC0}"/>
              </a:ext>
            </a:extLst>
          </p:cNvPr>
          <p:cNvSpPr/>
          <p:nvPr userDrawn="1"/>
        </p:nvSpPr>
        <p:spPr>
          <a:xfrm>
            <a:off x="6988003" y="4530998"/>
            <a:ext cx="117690" cy="125846"/>
          </a:xfrm>
          <a:custGeom>
            <a:avLst/>
            <a:gdLst>
              <a:gd name="connsiteX0" fmla="*/ 53601 w 117690"/>
              <a:gd name="connsiteY0" fmla="*/ 125847 h 125846"/>
              <a:gd name="connsiteX1" fmla="*/ 0 w 117690"/>
              <a:gd name="connsiteY1" fmla="*/ 125847 h 125846"/>
              <a:gd name="connsiteX2" fmla="*/ 62924 w 117690"/>
              <a:gd name="connsiteY2" fmla="*/ 64089 h 125846"/>
              <a:gd name="connsiteX3" fmla="*/ 0 w 117690"/>
              <a:gd name="connsiteY3" fmla="*/ 0 h 125846"/>
              <a:gd name="connsiteX4" fmla="*/ 54767 w 117690"/>
              <a:gd name="connsiteY4" fmla="*/ 0 h 125846"/>
              <a:gd name="connsiteX5" fmla="*/ 117690 w 117690"/>
              <a:gd name="connsiteY5" fmla="*/ 61758 h 125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5846">
                <a:moveTo>
                  <a:pt x="53601" y="125847"/>
                </a:moveTo>
                <a:lnTo>
                  <a:pt x="0" y="125847"/>
                </a:lnTo>
                <a:lnTo>
                  <a:pt x="62924" y="64089"/>
                </a:lnTo>
                <a:lnTo>
                  <a:pt x="0" y="0"/>
                </a:lnTo>
                <a:lnTo>
                  <a:pt x="54767" y="0"/>
                </a:lnTo>
                <a:lnTo>
                  <a:pt x="117690" y="61758"/>
                </a:lnTo>
                <a:close/>
              </a:path>
            </a:pathLst>
          </a:custGeom>
          <a:solidFill>
            <a:srgbClr val="EEF2F5"/>
          </a:solidFill>
          <a:ln w="11643" cap="flat">
            <a:noFill/>
            <a:prstDash val="solid"/>
            <a:miter/>
          </a:ln>
        </p:spPr>
        <p:txBody>
          <a:bodyPr rtlCol="0" anchor="ctr"/>
          <a:lstStyle/>
          <a:p>
            <a:endParaRPr lang="de-DE"/>
          </a:p>
        </p:txBody>
      </p:sp>
      <p:sp>
        <p:nvSpPr>
          <p:cNvPr id="376" name="Freihandform: Form 375">
            <a:extLst>
              <a:ext uri="{FF2B5EF4-FFF2-40B4-BE49-F238E27FC236}">
                <a16:creationId xmlns:a16="http://schemas.microsoft.com/office/drawing/2014/main" id="{4147BD00-94B9-4CCC-BFE6-30FC48042AA5}"/>
              </a:ext>
            </a:extLst>
          </p:cNvPr>
          <p:cNvSpPr/>
          <p:nvPr userDrawn="1"/>
        </p:nvSpPr>
        <p:spPr>
          <a:xfrm>
            <a:off x="6988003" y="4885234"/>
            <a:ext cx="117690" cy="127012"/>
          </a:xfrm>
          <a:custGeom>
            <a:avLst/>
            <a:gdLst>
              <a:gd name="connsiteX0" fmla="*/ 53601 w 117690"/>
              <a:gd name="connsiteY0" fmla="*/ 127012 h 127012"/>
              <a:gd name="connsiteX1" fmla="*/ 0 w 117690"/>
              <a:gd name="connsiteY1" fmla="*/ 127012 h 127012"/>
              <a:gd name="connsiteX2" fmla="*/ 62924 w 117690"/>
              <a:gd name="connsiteY2" fmla="*/ 64089 h 127012"/>
              <a:gd name="connsiteX3" fmla="*/ 0 w 117690"/>
              <a:gd name="connsiteY3" fmla="*/ 0 h 127012"/>
              <a:gd name="connsiteX4" fmla="*/ 54767 w 117690"/>
              <a:gd name="connsiteY4" fmla="*/ 0 h 127012"/>
              <a:gd name="connsiteX5" fmla="*/ 117690 w 117690"/>
              <a:gd name="connsiteY5" fmla="*/ 62923 h 12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2">
                <a:moveTo>
                  <a:pt x="53601" y="127012"/>
                </a:moveTo>
                <a:lnTo>
                  <a:pt x="0" y="127012"/>
                </a:lnTo>
                <a:lnTo>
                  <a:pt x="62924" y="64089"/>
                </a:lnTo>
                <a:lnTo>
                  <a:pt x="0" y="0"/>
                </a:lnTo>
                <a:lnTo>
                  <a:pt x="54767" y="0"/>
                </a:lnTo>
                <a:lnTo>
                  <a:pt x="117690" y="62923"/>
                </a:lnTo>
                <a:close/>
              </a:path>
            </a:pathLst>
          </a:custGeom>
          <a:solidFill>
            <a:srgbClr val="EEF2F5"/>
          </a:solidFill>
          <a:ln w="11643" cap="flat">
            <a:noFill/>
            <a:prstDash val="solid"/>
            <a:miter/>
          </a:ln>
        </p:spPr>
        <p:txBody>
          <a:bodyPr rtlCol="0" anchor="ctr"/>
          <a:lstStyle/>
          <a:p>
            <a:endParaRPr lang="de-DE"/>
          </a:p>
        </p:txBody>
      </p:sp>
      <p:sp>
        <p:nvSpPr>
          <p:cNvPr id="377" name="Freihandform: Form 376">
            <a:extLst>
              <a:ext uri="{FF2B5EF4-FFF2-40B4-BE49-F238E27FC236}">
                <a16:creationId xmlns:a16="http://schemas.microsoft.com/office/drawing/2014/main" id="{6FD55161-C60E-4123-94C6-998E3F0CBDAE}"/>
              </a:ext>
            </a:extLst>
          </p:cNvPr>
          <p:cNvSpPr/>
          <p:nvPr userDrawn="1"/>
        </p:nvSpPr>
        <p:spPr>
          <a:xfrm>
            <a:off x="6988003" y="5240634"/>
            <a:ext cx="117690" cy="127011"/>
          </a:xfrm>
          <a:custGeom>
            <a:avLst/>
            <a:gdLst>
              <a:gd name="connsiteX0" fmla="*/ 53601 w 117690"/>
              <a:gd name="connsiteY0" fmla="*/ 127012 h 127011"/>
              <a:gd name="connsiteX1" fmla="*/ 0 w 117690"/>
              <a:gd name="connsiteY1" fmla="*/ 127012 h 127011"/>
              <a:gd name="connsiteX2" fmla="*/ 62924 w 117690"/>
              <a:gd name="connsiteY2" fmla="*/ 64089 h 127011"/>
              <a:gd name="connsiteX3" fmla="*/ 0 w 117690"/>
              <a:gd name="connsiteY3" fmla="*/ 0 h 127011"/>
              <a:gd name="connsiteX4" fmla="*/ 54767 w 117690"/>
              <a:gd name="connsiteY4" fmla="*/ 0 h 127011"/>
              <a:gd name="connsiteX5" fmla="*/ 117690 w 117690"/>
              <a:gd name="connsiteY5" fmla="*/ 61758 h 12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1">
                <a:moveTo>
                  <a:pt x="53601" y="127012"/>
                </a:moveTo>
                <a:lnTo>
                  <a:pt x="0" y="127012"/>
                </a:lnTo>
                <a:lnTo>
                  <a:pt x="62924" y="64089"/>
                </a:lnTo>
                <a:lnTo>
                  <a:pt x="0" y="0"/>
                </a:lnTo>
                <a:lnTo>
                  <a:pt x="54767" y="0"/>
                </a:lnTo>
                <a:lnTo>
                  <a:pt x="117690" y="61758"/>
                </a:lnTo>
                <a:close/>
              </a:path>
            </a:pathLst>
          </a:custGeom>
          <a:solidFill>
            <a:srgbClr val="EEF2F5"/>
          </a:solidFill>
          <a:ln w="11643" cap="flat">
            <a:noFill/>
            <a:prstDash val="solid"/>
            <a:miter/>
          </a:ln>
        </p:spPr>
        <p:txBody>
          <a:bodyPr rtlCol="0" anchor="ctr"/>
          <a:lstStyle/>
          <a:p>
            <a:endParaRPr lang="de-DE"/>
          </a:p>
        </p:txBody>
      </p:sp>
      <p:sp>
        <p:nvSpPr>
          <p:cNvPr id="378" name="Freihandform: Form 377">
            <a:extLst>
              <a:ext uri="{FF2B5EF4-FFF2-40B4-BE49-F238E27FC236}">
                <a16:creationId xmlns:a16="http://schemas.microsoft.com/office/drawing/2014/main" id="{F3C8ECE6-A2EF-41DE-A87C-3FB86FCA1031}"/>
              </a:ext>
            </a:extLst>
          </p:cNvPr>
          <p:cNvSpPr/>
          <p:nvPr userDrawn="1"/>
        </p:nvSpPr>
        <p:spPr>
          <a:xfrm>
            <a:off x="6988003" y="5594870"/>
            <a:ext cx="117690" cy="127011"/>
          </a:xfrm>
          <a:custGeom>
            <a:avLst/>
            <a:gdLst>
              <a:gd name="connsiteX0" fmla="*/ 53601 w 117690"/>
              <a:gd name="connsiteY0" fmla="*/ 127012 h 127011"/>
              <a:gd name="connsiteX1" fmla="*/ 0 w 117690"/>
              <a:gd name="connsiteY1" fmla="*/ 127012 h 127011"/>
              <a:gd name="connsiteX2" fmla="*/ 62924 w 117690"/>
              <a:gd name="connsiteY2" fmla="*/ 64089 h 127011"/>
              <a:gd name="connsiteX3" fmla="*/ 0 w 117690"/>
              <a:gd name="connsiteY3" fmla="*/ 0 h 127011"/>
              <a:gd name="connsiteX4" fmla="*/ 54767 w 117690"/>
              <a:gd name="connsiteY4" fmla="*/ 0 h 127011"/>
              <a:gd name="connsiteX5" fmla="*/ 117690 w 117690"/>
              <a:gd name="connsiteY5" fmla="*/ 62923 h 12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1">
                <a:moveTo>
                  <a:pt x="53601" y="127012"/>
                </a:moveTo>
                <a:lnTo>
                  <a:pt x="0" y="127012"/>
                </a:lnTo>
                <a:lnTo>
                  <a:pt x="62924" y="64089"/>
                </a:lnTo>
                <a:lnTo>
                  <a:pt x="0" y="0"/>
                </a:lnTo>
                <a:lnTo>
                  <a:pt x="54767" y="0"/>
                </a:lnTo>
                <a:lnTo>
                  <a:pt x="117690" y="62923"/>
                </a:lnTo>
                <a:close/>
              </a:path>
            </a:pathLst>
          </a:custGeom>
          <a:solidFill>
            <a:srgbClr val="EEF2F5"/>
          </a:solidFill>
          <a:ln w="11643" cap="flat">
            <a:noFill/>
            <a:prstDash val="solid"/>
            <a:miter/>
          </a:ln>
        </p:spPr>
        <p:txBody>
          <a:bodyPr rtlCol="0" anchor="ctr"/>
          <a:lstStyle/>
          <a:p>
            <a:endParaRPr lang="de-DE"/>
          </a:p>
        </p:txBody>
      </p:sp>
      <p:sp>
        <p:nvSpPr>
          <p:cNvPr id="379" name="Freihandform: Form 378">
            <a:extLst>
              <a:ext uri="{FF2B5EF4-FFF2-40B4-BE49-F238E27FC236}">
                <a16:creationId xmlns:a16="http://schemas.microsoft.com/office/drawing/2014/main" id="{B757F792-E71A-486E-A79E-007A9729854D}"/>
              </a:ext>
            </a:extLst>
          </p:cNvPr>
          <p:cNvSpPr/>
          <p:nvPr userDrawn="1"/>
        </p:nvSpPr>
        <p:spPr>
          <a:xfrm>
            <a:off x="6988003" y="5950270"/>
            <a:ext cx="117690" cy="127011"/>
          </a:xfrm>
          <a:custGeom>
            <a:avLst/>
            <a:gdLst>
              <a:gd name="connsiteX0" fmla="*/ 53601 w 117690"/>
              <a:gd name="connsiteY0" fmla="*/ 127012 h 127011"/>
              <a:gd name="connsiteX1" fmla="*/ 0 w 117690"/>
              <a:gd name="connsiteY1" fmla="*/ 127012 h 127011"/>
              <a:gd name="connsiteX2" fmla="*/ 62924 w 117690"/>
              <a:gd name="connsiteY2" fmla="*/ 64089 h 127011"/>
              <a:gd name="connsiteX3" fmla="*/ 0 w 117690"/>
              <a:gd name="connsiteY3" fmla="*/ 0 h 127011"/>
              <a:gd name="connsiteX4" fmla="*/ 54767 w 117690"/>
              <a:gd name="connsiteY4" fmla="*/ 0 h 127011"/>
              <a:gd name="connsiteX5" fmla="*/ 117690 w 117690"/>
              <a:gd name="connsiteY5" fmla="*/ 61758 h 12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1">
                <a:moveTo>
                  <a:pt x="53601" y="127012"/>
                </a:moveTo>
                <a:lnTo>
                  <a:pt x="0" y="127012"/>
                </a:lnTo>
                <a:lnTo>
                  <a:pt x="62924" y="64089"/>
                </a:lnTo>
                <a:lnTo>
                  <a:pt x="0" y="0"/>
                </a:lnTo>
                <a:lnTo>
                  <a:pt x="54767" y="0"/>
                </a:lnTo>
                <a:lnTo>
                  <a:pt x="117690" y="61758"/>
                </a:lnTo>
                <a:close/>
              </a:path>
            </a:pathLst>
          </a:custGeom>
          <a:solidFill>
            <a:srgbClr val="EEF2F5"/>
          </a:solidFill>
          <a:ln w="11643" cap="flat">
            <a:noFill/>
            <a:prstDash val="solid"/>
            <a:miter/>
          </a:ln>
        </p:spPr>
        <p:txBody>
          <a:bodyPr rtlCol="0" anchor="ctr"/>
          <a:lstStyle/>
          <a:p>
            <a:endParaRPr lang="de-DE"/>
          </a:p>
        </p:txBody>
      </p:sp>
      <p:sp>
        <p:nvSpPr>
          <p:cNvPr id="380" name="Freihandform: Form 379">
            <a:extLst>
              <a:ext uri="{FF2B5EF4-FFF2-40B4-BE49-F238E27FC236}">
                <a16:creationId xmlns:a16="http://schemas.microsoft.com/office/drawing/2014/main" id="{15F4D627-864D-47BE-9457-2AFE1454DAE3}"/>
              </a:ext>
            </a:extLst>
          </p:cNvPr>
          <p:cNvSpPr/>
          <p:nvPr userDrawn="1"/>
        </p:nvSpPr>
        <p:spPr>
          <a:xfrm>
            <a:off x="6988003" y="6304506"/>
            <a:ext cx="117690" cy="127011"/>
          </a:xfrm>
          <a:custGeom>
            <a:avLst/>
            <a:gdLst>
              <a:gd name="connsiteX0" fmla="*/ 53601 w 117690"/>
              <a:gd name="connsiteY0" fmla="*/ 127012 h 127011"/>
              <a:gd name="connsiteX1" fmla="*/ 0 w 117690"/>
              <a:gd name="connsiteY1" fmla="*/ 127012 h 127011"/>
              <a:gd name="connsiteX2" fmla="*/ 62924 w 117690"/>
              <a:gd name="connsiteY2" fmla="*/ 64089 h 127011"/>
              <a:gd name="connsiteX3" fmla="*/ 0 w 117690"/>
              <a:gd name="connsiteY3" fmla="*/ 0 h 127011"/>
              <a:gd name="connsiteX4" fmla="*/ 54767 w 117690"/>
              <a:gd name="connsiteY4" fmla="*/ 0 h 127011"/>
              <a:gd name="connsiteX5" fmla="*/ 117690 w 117690"/>
              <a:gd name="connsiteY5" fmla="*/ 62923 h 12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1">
                <a:moveTo>
                  <a:pt x="53601" y="127012"/>
                </a:moveTo>
                <a:lnTo>
                  <a:pt x="0" y="127012"/>
                </a:lnTo>
                <a:lnTo>
                  <a:pt x="62924" y="64089"/>
                </a:lnTo>
                <a:lnTo>
                  <a:pt x="0" y="0"/>
                </a:lnTo>
                <a:lnTo>
                  <a:pt x="54767" y="0"/>
                </a:lnTo>
                <a:lnTo>
                  <a:pt x="117690" y="62923"/>
                </a:lnTo>
                <a:close/>
              </a:path>
            </a:pathLst>
          </a:custGeom>
          <a:solidFill>
            <a:srgbClr val="EEF2F5"/>
          </a:solidFill>
          <a:ln w="11643" cap="flat">
            <a:noFill/>
            <a:prstDash val="solid"/>
            <a:miter/>
          </a:ln>
        </p:spPr>
        <p:txBody>
          <a:bodyPr rtlCol="0" anchor="ctr"/>
          <a:lstStyle/>
          <a:p>
            <a:endParaRPr lang="de-DE"/>
          </a:p>
        </p:txBody>
      </p:sp>
      <p:sp>
        <p:nvSpPr>
          <p:cNvPr id="381" name="Freihandform: Form 380">
            <a:extLst>
              <a:ext uri="{FF2B5EF4-FFF2-40B4-BE49-F238E27FC236}">
                <a16:creationId xmlns:a16="http://schemas.microsoft.com/office/drawing/2014/main" id="{5B9A1A98-26A6-4C1D-928E-D24F433024ED}"/>
              </a:ext>
            </a:extLst>
          </p:cNvPr>
          <p:cNvSpPr/>
          <p:nvPr userDrawn="1"/>
        </p:nvSpPr>
        <p:spPr>
          <a:xfrm>
            <a:off x="6988003" y="6659906"/>
            <a:ext cx="117690" cy="127011"/>
          </a:xfrm>
          <a:custGeom>
            <a:avLst/>
            <a:gdLst>
              <a:gd name="connsiteX0" fmla="*/ 53601 w 117690"/>
              <a:gd name="connsiteY0" fmla="*/ 127012 h 127011"/>
              <a:gd name="connsiteX1" fmla="*/ 0 w 117690"/>
              <a:gd name="connsiteY1" fmla="*/ 127012 h 127011"/>
              <a:gd name="connsiteX2" fmla="*/ 62924 w 117690"/>
              <a:gd name="connsiteY2" fmla="*/ 64089 h 127011"/>
              <a:gd name="connsiteX3" fmla="*/ 0 w 117690"/>
              <a:gd name="connsiteY3" fmla="*/ 0 h 127011"/>
              <a:gd name="connsiteX4" fmla="*/ 54767 w 117690"/>
              <a:gd name="connsiteY4" fmla="*/ 0 h 127011"/>
              <a:gd name="connsiteX5" fmla="*/ 117690 w 117690"/>
              <a:gd name="connsiteY5" fmla="*/ 61758 h 12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1">
                <a:moveTo>
                  <a:pt x="53601" y="127012"/>
                </a:moveTo>
                <a:lnTo>
                  <a:pt x="0" y="127012"/>
                </a:lnTo>
                <a:lnTo>
                  <a:pt x="62924" y="64089"/>
                </a:lnTo>
                <a:lnTo>
                  <a:pt x="0" y="0"/>
                </a:lnTo>
                <a:lnTo>
                  <a:pt x="54767" y="0"/>
                </a:lnTo>
                <a:lnTo>
                  <a:pt x="117690" y="61758"/>
                </a:lnTo>
                <a:close/>
              </a:path>
            </a:pathLst>
          </a:custGeom>
          <a:solidFill>
            <a:srgbClr val="EEF2F5"/>
          </a:solidFill>
          <a:ln w="11643" cap="flat">
            <a:noFill/>
            <a:prstDash val="solid"/>
            <a:miter/>
          </a:ln>
        </p:spPr>
        <p:txBody>
          <a:bodyPr rtlCol="0" anchor="ctr"/>
          <a:lstStyle/>
          <a:p>
            <a:endParaRPr lang="de-DE"/>
          </a:p>
        </p:txBody>
      </p:sp>
      <p:sp>
        <p:nvSpPr>
          <p:cNvPr id="382" name="Freihandform: Form 381">
            <a:extLst>
              <a:ext uri="{FF2B5EF4-FFF2-40B4-BE49-F238E27FC236}">
                <a16:creationId xmlns:a16="http://schemas.microsoft.com/office/drawing/2014/main" id="{82A4EEA7-5CFB-4E90-9AD2-D5ED8D09BC3C}"/>
              </a:ext>
            </a:extLst>
          </p:cNvPr>
          <p:cNvSpPr/>
          <p:nvPr userDrawn="1"/>
        </p:nvSpPr>
        <p:spPr>
          <a:xfrm>
            <a:off x="7335247" y="2038533"/>
            <a:ext cx="132838" cy="143325"/>
          </a:xfrm>
          <a:custGeom>
            <a:avLst/>
            <a:gdLst>
              <a:gd name="connsiteX0" fmla="*/ 60593 w 132838"/>
              <a:gd name="connsiteY0" fmla="*/ 143326 h 143325"/>
              <a:gd name="connsiteX1" fmla="*/ 0 w 132838"/>
              <a:gd name="connsiteY1" fmla="*/ 143326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6"/>
                </a:moveTo>
                <a:lnTo>
                  <a:pt x="0" y="143326"/>
                </a:lnTo>
                <a:lnTo>
                  <a:pt x="71080" y="72245"/>
                </a:lnTo>
                <a:lnTo>
                  <a:pt x="0" y="0"/>
                </a:lnTo>
                <a:lnTo>
                  <a:pt x="61758" y="0"/>
                </a:lnTo>
                <a:lnTo>
                  <a:pt x="132838" y="69915"/>
                </a:lnTo>
                <a:close/>
              </a:path>
            </a:pathLst>
          </a:custGeom>
          <a:solidFill>
            <a:srgbClr val="EEF2F5"/>
          </a:solidFill>
          <a:ln w="11643" cap="flat">
            <a:noFill/>
            <a:prstDash val="solid"/>
            <a:miter/>
          </a:ln>
        </p:spPr>
        <p:txBody>
          <a:bodyPr rtlCol="0" anchor="ctr"/>
          <a:lstStyle/>
          <a:p>
            <a:endParaRPr lang="de-DE"/>
          </a:p>
        </p:txBody>
      </p:sp>
      <p:sp>
        <p:nvSpPr>
          <p:cNvPr id="383" name="Freihandform: Form 382">
            <a:extLst>
              <a:ext uri="{FF2B5EF4-FFF2-40B4-BE49-F238E27FC236}">
                <a16:creationId xmlns:a16="http://schemas.microsoft.com/office/drawing/2014/main" id="{6C9D3BF2-6E80-41A7-A83F-18F86CB24C49}"/>
              </a:ext>
            </a:extLst>
          </p:cNvPr>
          <p:cNvSpPr/>
          <p:nvPr userDrawn="1"/>
        </p:nvSpPr>
        <p:spPr>
          <a:xfrm>
            <a:off x="7335247" y="2392768"/>
            <a:ext cx="132838" cy="143325"/>
          </a:xfrm>
          <a:custGeom>
            <a:avLst/>
            <a:gdLst>
              <a:gd name="connsiteX0" fmla="*/ 60593 w 132838"/>
              <a:gd name="connsiteY0" fmla="*/ 143325 h 143325"/>
              <a:gd name="connsiteX1" fmla="*/ 0 w 132838"/>
              <a:gd name="connsiteY1" fmla="*/ 143325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71080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5"/>
                </a:moveTo>
                <a:lnTo>
                  <a:pt x="0" y="143325"/>
                </a:lnTo>
                <a:lnTo>
                  <a:pt x="71080" y="72245"/>
                </a:lnTo>
                <a:lnTo>
                  <a:pt x="0" y="0"/>
                </a:lnTo>
                <a:lnTo>
                  <a:pt x="61758" y="0"/>
                </a:lnTo>
                <a:lnTo>
                  <a:pt x="132838" y="71080"/>
                </a:lnTo>
                <a:close/>
              </a:path>
            </a:pathLst>
          </a:custGeom>
          <a:solidFill>
            <a:srgbClr val="EEF2F5"/>
          </a:solidFill>
          <a:ln w="11643" cap="flat">
            <a:noFill/>
            <a:prstDash val="solid"/>
            <a:miter/>
          </a:ln>
        </p:spPr>
        <p:txBody>
          <a:bodyPr rtlCol="0" anchor="ctr"/>
          <a:lstStyle/>
          <a:p>
            <a:endParaRPr lang="de-DE"/>
          </a:p>
        </p:txBody>
      </p:sp>
      <p:sp>
        <p:nvSpPr>
          <p:cNvPr id="384" name="Freihandform: Form 383">
            <a:extLst>
              <a:ext uri="{FF2B5EF4-FFF2-40B4-BE49-F238E27FC236}">
                <a16:creationId xmlns:a16="http://schemas.microsoft.com/office/drawing/2014/main" id="{DBA45F13-8F61-4402-AA92-16AA0BF673F4}"/>
              </a:ext>
            </a:extLst>
          </p:cNvPr>
          <p:cNvSpPr/>
          <p:nvPr userDrawn="1"/>
        </p:nvSpPr>
        <p:spPr>
          <a:xfrm>
            <a:off x="7335247" y="2748169"/>
            <a:ext cx="132838" cy="143325"/>
          </a:xfrm>
          <a:custGeom>
            <a:avLst/>
            <a:gdLst>
              <a:gd name="connsiteX0" fmla="*/ 60593 w 132838"/>
              <a:gd name="connsiteY0" fmla="*/ 143325 h 143325"/>
              <a:gd name="connsiteX1" fmla="*/ 0 w 132838"/>
              <a:gd name="connsiteY1" fmla="*/ 143325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5"/>
                </a:moveTo>
                <a:lnTo>
                  <a:pt x="0" y="143325"/>
                </a:lnTo>
                <a:lnTo>
                  <a:pt x="71080" y="72245"/>
                </a:lnTo>
                <a:lnTo>
                  <a:pt x="0" y="0"/>
                </a:lnTo>
                <a:lnTo>
                  <a:pt x="61758" y="0"/>
                </a:lnTo>
                <a:lnTo>
                  <a:pt x="132838" y="69915"/>
                </a:lnTo>
                <a:close/>
              </a:path>
            </a:pathLst>
          </a:custGeom>
          <a:solidFill>
            <a:srgbClr val="EEF2F5"/>
          </a:solidFill>
          <a:ln w="11643" cap="flat">
            <a:noFill/>
            <a:prstDash val="solid"/>
            <a:miter/>
          </a:ln>
        </p:spPr>
        <p:txBody>
          <a:bodyPr rtlCol="0" anchor="ctr"/>
          <a:lstStyle/>
          <a:p>
            <a:endParaRPr lang="de-DE"/>
          </a:p>
        </p:txBody>
      </p:sp>
      <p:sp>
        <p:nvSpPr>
          <p:cNvPr id="385" name="Freihandform: Form 384">
            <a:extLst>
              <a:ext uri="{FF2B5EF4-FFF2-40B4-BE49-F238E27FC236}">
                <a16:creationId xmlns:a16="http://schemas.microsoft.com/office/drawing/2014/main" id="{C75C3C28-90BF-4A16-BD17-5BEF223EA73E}"/>
              </a:ext>
            </a:extLst>
          </p:cNvPr>
          <p:cNvSpPr/>
          <p:nvPr userDrawn="1"/>
        </p:nvSpPr>
        <p:spPr>
          <a:xfrm>
            <a:off x="7335247" y="3102404"/>
            <a:ext cx="132838" cy="143325"/>
          </a:xfrm>
          <a:custGeom>
            <a:avLst/>
            <a:gdLst>
              <a:gd name="connsiteX0" fmla="*/ 60593 w 132838"/>
              <a:gd name="connsiteY0" fmla="*/ 143326 h 143325"/>
              <a:gd name="connsiteX1" fmla="*/ 0 w 132838"/>
              <a:gd name="connsiteY1" fmla="*/ 143326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71080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6"/>
                </a:moveTo>
                <a:lnTo>
                  <a:pt x="0" y="143326"/>
                </a:lnTo>
                <a:lnTo>
                  <a:pt x="71080" y="72245"/>
                </a:lnTo>
                <a:lnTo>
                  <a:pt x="0" y="0"/>
                </a:lnTo>
                <a:lnTo>
                  <a:pt x="61758" y="0"/>
                </a:lnTo>
                <a:lnTo>
                  <a:pt x="132838" y="71080"/>
                </a:lnTo>
                <a:close/>
              </a:path>
            </a:pathLst>
          </a:custGeom>
          <a:solidFill>
            <a:srgbClr val="EEF2F5"/>
          </a:solidFill>
          <a:ln w="11643" cap="flat">
            <a:noFill/>
            <a:prstDash val="solid"/>
            <a:miter/>
          </a:ln>
        </p:spPr>
        <p:txBody>
          <a:bodyPr rtlCol="0" anchor="ctr"/>
          <a:lstStyle/>
          <a:p>
            <a:endParaRPr lang="de-DE"/>
          </a:p>
        </p:txBody>
      </p:sp>
      <p:sp>
        <p:nvSpPr>
          <p:cNvPr id="386" name="Freihandform: Form 385">
            <a:extLst>
              <a:ext uri="{FF2B5EF4-FFF2-40B4-BE49-F238E27FC236}">
                <a16:creationId xmlns:a16="http://schemas.microsoft.com/office/drawing/2014/main" id="{1170380C-68A1-44F1-B1A8-DF05F90C065C}"/>
              </a:ext>
            </a:extLst>
          </p:cNvPr>
          <p:cNvSpPr/>
          <p:nvPr userDrawn="1"/>
        </p:nvSpPr>
        <p:spPr>
          <a:xfrm>
            <a:off x="7335247" y="3457805"/>
            <a:ext cx="132838" cy="143325"/>
          </a:xfrm>
          <a:custGeom>
            <a:avLst/>
            <a:gdLst>
              <a:gd name="connsiteX0" fmla="*/ 60593 w 132838"/>
              <a:gd name="connsiteY0" fmla="*/ 143326 h 143325"/>
              <a:gd name="connsiteX1" fmla="*/ 0 w 132838"/>
              <a:gd name="connsiteY1" fmla="*/ 143326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6"/>
                </a:moveTo>
                <a:lnTo>
                  <a:pt x="0" y="143326"/>
                </a:lnTo>
                <a:lnTo>
                  <a:pt x="71080" y="72245"/>
                </a:lnTo>
                <a:lnTo>
                  <a:pt x="0" y="0"/>
                </a:lnTo>
                <a:lnTo>
                  <a:pt x="61758" y="0"/>
                </a:lnTo>
                <a:lnTo>
                  <a:pt x="132838" y="69915"/>
                </a:lnTo>
                <a:close/>
              </a:path>
            </a:pathLst>
          </a:custGeom>
          <a:solidFill>
            <a:srgbClr val="EEF2F5"/>
          </a:solidFill>
          <a:ln w="11643" cap="flat">
            <a:noFill/>
            <a:prstDash val="solid"/>
            <a:miter/>
          </a:ln>
        </p:spPr>
        <p:txBody>
          <a:bodyPr rtlCol="0" anchor="ctr"/>
          <a:lstStyle/>
          <a:p>
            <a:endParaRPr lang="de-DE"/>
          </a:p>
        </p:txBody>
      </p:sp>
      <p:sp>
        <p:nvSpPr>
          <p:cNvPr id="387" name="Freihandform: Form 386">
            <a:extLst>
              <a:ext uri="{FF2B5EF4-FFF2-40B4-BE49-F238E27FC236}">
                <a16:creationId xmlns:a16="http://schemas.microsoft.com/office/drawing/2014/main" id="{553EF259-97B4-4E0D-B27F-A6E4D2E18BEB}"/>
              </a:ext>
            </a:extLst>
          </p:cNvPr>
          <p:cNvSpPr/>
          <p:nvPr userDrawn="1"/>
        </p:nvSpPr>
        <p:spPr>
          <a:xfrm>
            <a:off x="7335247" y="3812040"/>
            <a:ext cx="132838" cy="144490"/>
          </a:xfrm>
          <a:custGeom>
            <a:avLst/>
            <a:gdLst>
              <a:gd name="connsiteX0" fmla="*/ 60593 w 132838"/>
              <a:gd name="connsiteY0" fmla="*/ 144491 h 144490"/>
              <a:gd name="connsiteX1" fmla="*/ 0 w 132838"/>
              <a:gd name="connsiteY1" fmla="*/ 144491 h 144490"/>
              <a:gd name="connsiteX2" fmla="*/ 71080 w 132838"/>
              <a:gd name="connsiteY2" fmla="*/ 73410 h 144490"/>
              <a:gd name="connsiteX3" fmla="*/ 0 w 132838"/>
              <a:gd name="connsiteY3" fmla="*/ 0 h 144490"/>
              <a:gd name="connsiteX4" fmla="*/ 61758 w 132838"/>
              <a:gd name="connsiteY4" fmla="*/ 0 h 144490"/>
              <a:gd name="connsiteX5" fmla="*/ 132838 w 132838"/>
              <a:gd name="connsiteY5" fmla="*/ 71080 h 144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4490">
                <a:moveTo>
                  <a:pt x="60593" y="144491"/>
                </a:moveTo>
                <a:lnTo>
                  <a:pt x="0" y="144491"/>
                </a:lnTo>
                <a:lnTo>
                  <a:pt x="71080" y="73410"/>
                </a:lnTo>
                <a:lnTo>
                  <a:pt x="0" y="0"/>
                </a:lnTo>
                <a:lnTo>
                  <a:pt x="61758" y="0"/>
                </a:lnTo>
                <a:lnTo>
                  <a:pt x="132838" y="71080"/>
                </a:lnTo>
                <a:close/>
              </a:path>
            </a:pathLst>
          </a:custGeom>
          <a:solidFill>
            <a:srgbClr val="EEF2F5"/>
          </a:solidFill>
          <a:ln w="11643" cap="flat">
            <a:noFill/>
            <a:prstDash val="solid"/>
            <a:miter/>
          </a:ln>
        </p:spPr>
        <p:txBody>
          <a:bodyPr rtlCol="0" anchor="ctr"/>
          <a:lstStyle/>
          <a:p>
            <a:endParaRPr lang="de-DE"/>
          </a:p>
        </p:txBody>
      </p:sp>
      <p:sp>
        <p:nvSpPr>
          <p:cNvPr id="388" name="Freihandform: Form 387">
            <a:extLst>
              <a:ext uri="{FF2B5EF4-FFF2-40B4-BE49-F238E27FC236}">
                <a16:creationId xmlns:a16="http://schemas.microsoft.com/office/drawing/2014/main" id="{EB5F5B5A-9CB5-47D1-91FC-556189A9F9A6}"/>
              </a:ext>
            </a:extLst>
          </p:cNvPr>
          <p:cNvSpPr/>
          <p:nvPr userDrawn="1"/>
        </p:nvSpPr>
        <p:spPr>
          <a:xfrm>
            <a:off x="7335247" y="4167441"/>
            <a:ext cx="132838" cy="143325"/>
          </a:xfrm>
          <a:custGeom>
            <a:avLst/>
            <a:gdLst>
              <a:gd name="connsiteX0" fmla="*/ 60593 w 132838"/>
              <a:gd name="connsiteY0" fmla="*/ 143325 h 143325"/>
              <a:gd name="connsiteX1" fmla="*/ 0 w 132838"/>
              <a:gd name="connsiteY1" fmla="*/ 143325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5"/>
                </a:moveTo>
                <a:lnTo>
                  <a:pt x="0" y="143325"/>
                </a:lnTo>
                <a:lnTo>
                  <a:pt x="71080" y="72245"/>
                </a:lnTo>
                <a:lnTo>
                  <a:pt x="0" y="0"/>
                </a:lnTo>
                <a:lnTo>
                  <a:pt x="61758" y="0"/>
                </a:lnTo>
                <a:lnTo>
                  <a:pt x="132838" y="69915"/>
                </a:lnTo>
                <a:close/>
              </a:path>
            </a:pathLst>
          </a:custGeom>
          <a:solidFill>
            <a:srgbClr val="EEF2F5"/>
          </a:solidFill>
          <a:ln w="11643" cap="flat">
            <a:noFill/>
            <a:prstDash val="solid"/>
            <a:miter/>
          </a:ln>
        </p:spPr>
        <p:txBody>
          <a:bodyPr rtlCol="0" anchor="ctr"/>
          <a:lstStyle/>
          <a:p>
            <a:endParaRPr lang="de-DE"/>
          </a:p>
        </p:txBody>
      </p:sp>
      <p:sp>
        <p:nvSpPr>
          <p:cNvPr id="389" name="Freihandform: Form 388">
            <a:extLst>
              <a:ext uri="{FF2B5EF4-FFF2-40B4-BE49-F238E27FC236}">
                <a16:creationId xmlns:a16="http://schemas.microsoft.com/office/drawing/2014/main" id="{01DDC0E0-D1C4-4A00-B92F-DF0D19F49DE5}"/>
              </a:ext>
            </a:extLst>
          </p:cNvPr>
          <p:cNvSpPr/>
          <p:nvPr userDrawn="1"/>
        </p:nvSpPr>
        <p:spPr>
          <a:xfrm>
            <a:off x="7335247" y="4522842"/>
            <a:ext cx="132838" cy="143325"/>
          </a:xfrm>
          <a:custGeom>
            <a:avLst/>
            <a:gdLst>
              <a:gd name="connsiteX0" fmla="*/ 60593 w 132838"/>
              <a:gd name="connsiteY0" fmla="*/ 143325 h 143325"/>
              <a:gd name="connsiteX1" fmla="*/ 0 w 132838"/>
              <a:gd name="connsiteY1" fmla="*/ 143325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5"/>
                </a:moveTo>
                <a:lnTo>
                  <a:pt x="0" y="143325"/>
                </a:lnTo>
                <a:lnTo>
                  <a:pt x="71080" y="72245"/>
                </a:lnTo>
                <a:lnTo>
                  <a:pt x="0" y="0"/>
                </a:lnTo>
                <a:lnTo>
                  <a:pt x="61758" y="0"/>
                </a:lnTo>
                <a:lnTo>
                  <a:pt x="132838" y="69915"/>
                </a:lnTo>
                <a:close/>
              </a:path>
            </a:pathLst>
          </a:custGeom>
          <a:solidFill>
            <a:srgbClr val="EEF2F5"/>
          </a:solidFill>
          <a:ln w="11643" cap="flat">
            <a:noFill/>
            <a:prstDash val="solid"/>
            <a:miter/>
          </a:ln>
        </p:spPr>
        <p:txBody>
          <a:bodyPr rtlCol="0" anchor="ctr"/>
          <a:lstStyle/>
          <a:p>
            <a:endParaRPr lang="de-DE"/>
          </a:p>
        </p:txBody>
      </p:sp>
      <p:sp>
        <p:nvSpPr>
          <p:cNvPr id="390" name="Freihandform: Form 389">
            <a:extLst>
              <a:ext uri="{FF2B5EF4-FFF2-40B4-BE49-F238E27FC236}">
                <a16:creationId xmlns:a16="http://schemas.microsoft.com/office/drawing/2014/main" id="{F05542B7-5A13-43F4-A6B6-3D91FBE8F247}"/>
              </a:ext>
            </a:extLst>
          </p:cNvPr>
          <p:cNvSpPr/>
          <p:nvPr userDrawn="1"/>
        </p:nvSpPr>
        <p:spPr>
          <a:xfrm>
            <a:off x="7335247" y="4877077"/>
            <a:ext cx="132838" cy="143325"/>
          </a:xfrm>
          <a:custGeom>
            <a:avLst/>
            <a:gdLst>
              <a:gd name="connsiteX0" fmla="*/ 60593 w 132838"/>
              <a:gd name="connsiteY0" fmla="*/ 143325 h 143325"/>
              <a:gd name="connsiteX1" fmla="*/ 0 w 132838"/>
              <a:gd name="connsiteY1" fmla="*/ 143325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71080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5"/>
                </a:moveTo>
                <a:lnTo>
                  <a:pt x="0" y="143325"/>
                </a:lnTo>
                <a:lnTo>
                  <a:pt x="71080" y="72245"/>
                </a:lnTo>
                <a:lnTo>
                  <a:pt x="0" y="0"/>
                </a:lnTo>
                <a:lnTo>
                  <a:pt x="61758" y="0"/>
                </a:lnTo>
                <a:lnTo>
                  <a:pt x="132838" y="71080"/>
                </a:lnTo>
                <a:close/>
              </a:path>
            </a:pathLst>
          </a:custGeom>
          <a:solidFill>
            <a:srgbClr val="EEF2F5"/>
          </a:solidFill>
          <a:ln w="11643" cap="flat">
            <a:noFill/>
            <a:prstDash val="solid"/>
            <a:miter/>
          </a:ln>
        </p:spPr>
        <p:txBody>
          <a:bodyPr rtlCol="0" anchor="ctr"/>
          <a:lstStyle/>
          <a:p>
            <a:endParaRPr lang="de-DE"/>
          </a:p>
        </p:txBody>
      </p:sp>
      <p:sp>
        <p:nvSpPr>
          <p:cNvPr id="391" name="Freihandform: Form 390">
            <a:extLst>
              <a:ext uri="{FF2B5EF4-FFF2-40B4-BE49-F238E27FC236}">
                <a16:creationId xmlns:a16="http://schemas.microsoft.com/office/drawing/2014/main" id="{4A5DEDF6-969D-405A-A7AC-2CF3502C1348}"/>
              </a:ext>
            </a:extLst>
          </p:cNvPr>
          <p:cNvSpPr/>
          <p:nvPr userDrawn="1"/>
        </p:nvSpPr>
        <p:spPr>
          <a:xfrm>
            <a:off x="7335247" y="5232478"/>
            <a:ext cx="132838" cy="143325"/>
          </a:xfrm>
          <a:custGeom>
            <a:avLst/>
            <a:gdLst>
              <a:gd name="connsiteX0" fmla="*/ 60593 w 132838"/>
              <a:gd name="connsiteY0" fmla="*/ 143325 h 143325"/>
              <a:gd name="connsiteX1" fmla="*/ 0 w 132838"/>
              <a:gd name="connsiteY1" fmla="*/ 143325 h 143325"/>
              <a:gd name="connsiteX2" fmla="*/ 71080 w 132838"/>
              <a:gd name="connsiteY2" fmla="*/ 72246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5"/>
                </a:moveTo>
                <a:lnTo>
                  <a:pt x="0" y="143325"/>
                </a:lnTo>
                <a:lnTo>
                  <a:pt x="71080" y="72246"/>
                </a:lnTo>
                <a:lnTo>
                  <a:pt x="0" y="0"/>
                </a:lnTo>
                <a:lnTo>
                  <a:pt x="61758" y="0"/>
                </a:lnTo>
                <a:lnTo>
                  <a:pt x="132838" y="69915"/>
                </a:lnTo>
                <a:close/>
              </a:path>
            </a:pathLst>
          </a:custGeom>
          <a:solidFill>
            <a:srgbClr val="EEF2F5"/>
          </a:solidFill>
          <a:ln w="11643" cap="flat">
            <a:noFill/>
            <a:prstDash val="solid"/>
            <a:miter/>
          </a:ln>
        </p:spPr>
        <p:txBody>
          <a:bodyPr rtlCol="0" anchor="ctr"/>
          <a:lstStyle/>
          <a:p>
            <a:endParaRPr lang="de-DE"/>
          </a:p>
        </p:txBody>
      </p:sp>
      <p:sp>
        <p:nvSpPr>
          <p:cNvPr id="392" name="Freihandform: Form 391">
            <a:extLst>
              <a:ext uri="{FF2B5EF4-FFF2-40B4-BE49-F238E27FC236}">
                <a16:creationId xmlns:a16="http://schemas.microsoft.com/office/drawing/2014/main" id="{992F37D0-9AF3-405A-84A6-76CAAC63FCC5}"/>
              </a:ext>
            </a:extLst>
          </p:cNvPr>
          <p:cNvSpPr/>
          <p:nvPr userDrawn="1"/>
        </p:nvSpPr>
        <p:spPr>
          <a:xfrm>
            <a:off x="7335247" y="5586713"/>
            <a:ext cx="132838" cy="143325"/>
          </a:xfrm>
          <a:custGeom>
            <a:avLst/>
            <a:gdLst>
              <a:gd name="connsiteX0" fmla="*/ 60593 w 132838"/>
              <a:gd name="connsiteY0" fmla="*/ 143326 h 143325"/>
              <a:gd name="connsiteX1" fmla="*/ 0 w 132838"/>
              <a:gd name="connsiteY1" fmla="*/ 143326 h 143325"/>
              <a:gd name="connsiteX2" fmla="*/ 71080 w 132838"/>
              <a:gd name="connsiteY2" fmla="*/ 72246 h 143325"/>
              <a:gd name="connsiteX3" fmla="*/ 0 w 132838"/>
              <a:gd name="connsiteY3" fmla="*/ 0 h 143325"/>
              <a:gd name="connsiteX4" fmla="*/ 61758 w 132838"/>
              <a:gd name="connsiteY4" fmla="*/ 0 h 143325"/>
              <a:gd name="connsiteX5" fmla="*/ 132838 w 132838"/>
              <a:gd name="connsiteY5" fmla="*/ 71080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6"/>
                </a:moveTo>
                <a:lnTo>
                  <a:pt x="0" y="143326"/>
                </a:lnTo>
                <a:lnTo>
                  <a:pt x="71080" y="72246"/>
                </a:lnTo>
                <a:lnTo>
                  <a:pt x="0" y="0"/>
                </a:lnTo>
                <a:lnTo>
                  <a:pt x="61758" y="0"/>
                </a:lnTo>
                <a:lnTo>
                  <a:pt x="132838" y="71080"/>
                </a:lnTo>
                <a:close/>
              </a:path>
            </a:pathLst>
          </a:custGeom>
          <a:solidFill>
            <a:srgbClr val="EEF2F5"/>
          </a:solidFill>
          <a:ln w="11643" cap="flat">
            <a:noFill/>
            <a:prstDash val="solid"/>
            <a:miter/>
          </a:ln>
        </p:spPr>
        <p:txBody>
          <a:bodyPr rtlCol="0" anchor="ctr"/>
          <a:lstStyle/>
          <a:p>
            <a:endParaRPr lang="de-DE"/>
          </a:p>
        </p:txBody>
      </p:sp>
      <p:sp>
        <p:nvSpPr>
          <p:cNvPr id="393" name="Freihandform: Form 392">
            <a:extLst>
              <a:ext uri="{FF2B5EF4-FFF2-40B4-BE49-F238E27FC236}">
                <a16:creationId xmlns:a16="http://schemas.microsoft.com/office/drawing/2014/main" id="{A123B81C-0D5B-44AC-9677-41B2CE41672D}"/>
              </a:ext>
            </a:extLst>
          </p:cNvPr>
          <p:cNvSpPr/>
          <p:nvPr userDrawn="1"/>
        </p:nvSpPr>
        <p:spPr>
          <a:xfrm>
            <a:off x="7335247" y="5942114"/>
            <a:ext cx="132838" cy="143325"/>
          </a:xfrm>
          <a:custGeom>
            <a:avLst/>
            <a:gdLst>
              <a:gd name="connsiteX0" fmla="*/ 60593 w 132838"/>
              <a:gd name="connsiteY0" fmla="*/ 143326 h 143325"/>
              <a:gd name="connsiteX1" fmla="*/ 0 w 132838"/>
              <a:gd name="connsiteY1" fmla="*/ 143326 h 143325"/>
              <a:gd name="connsiteX2" fmla="*/ 71080 w 132838"/>
              <a:gd name="connsiteY2" fmla="*/ 72246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6"/>
                </a:moveTo>
                <a:lnTo>
                  <a:pt x="0" y="143326"/>
                </a:lnTo>
                <a:lnTo>
                  <a:pt x="71080" y="72246"/>
                </a:lnTo>
                <a:lnTo>
                  <a:pt x="0" y="0"/>
                </a:lnTo>
                <a:lnTo>
                  <a:pt x="61758" y="0"/>
                </a:lnTo>
                <a:lnTo>
                  <a:pt x="132838" y="69915"/>
                </a:lnTo>
                <a:close/>
              </a:path>
            </a:pathLst>
          </a:custGeom>
          <a:solidFill>
            <a:srgbClr val="EEF2F5"/>
          </a:solidFill>
          <a:ln w="11643" cap="flat">
            <a:noFill/>
            <a:prstDash val="solid"/>
            <a:miter/>
          </a:ln>
        </p:spPr>
        <p:txBody>
          <a:bodyPr rtlCol="0" anchor="ctr"/>
          <a:lstStyle/>
          <a:p>
            <a:endParaRPr lang="de-DE"/>
          </a:p>
        </p:txBody>
      </p:sp>
      <p:sp>
        <p:nvSpPr>
          <p:cNvPr id="394" name="Freihandform: Form 393">
            <a:extLst>
              <a:ext uri="{FF2B5EF4-FFF2-40B4-BE49-F238E27FC236}">
                <a16:creationId xmlns:a16="http://schemas.microsoft.com/office/drawing/2014/main" id="{10F8A7E4-CB0C-4156-A180-E4F1A603A10E}"/>
              </a:ext>
            </a:extLst>
          </p:cNvPr>
          <p:cNvSpPr/>
          <p:nvPr userDrawn="1"/>
        </p:nvSpPr>
        <p:spPr>
          <a:xfrm>
            <a:off x="7335247" y="6296349"/>
            <a:ext cx="132838" cy="143325"/>
          </a:xfrm>
          <a:custGeom>
            <a:avLst/>
            <a:gdLst>
              <a:gd name="connsiteX0" fmla="*/ 60593 w 132838"/>
              <a:gd name="connsiteY0" fmla="*/ 143326 h 143325"/>
              <a:gd name="connsiteX1" fmla="*/ 0 w 132838"/>
              <a:gd name="connsiteY1" fmla="*/ 143326 h 143325"/>
              <a:gd name="connsiteX2" fmla="*/ 71080 w 132838"/>
              <a:gd name="connsiteY2" fmla="*/ 72246 h 143325"/>
              <a:gd name="connsiteX3" fmla="*/ 0 w 132838"/>
              <a:gd name="connsiteY3" fmla="*/ 0 h 143325"/>
              <a:gd name="connsiteX4" fmla="*/ 61758 w 132838"/>
              <a:gd name="connsiteY4" fmla="*/ 0 h 143325"/>
              <a:gd name="connsiteX5" fmla="*/ 132838 w 132838"/>
              <a:gd name="connsiteY5" fmla="*/ 71080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6"/>
                </a:moveTo>
                <a:lnTo>
                  <a:pt x="0" y="143326"/>
                </a:lnTo>
                <a:lnTo>
                  <a:pt x="71080" y="72246"/>
                </a:lnTo>
                <a:lnTo>
                  <a:pt x="0" y="0"/>
                </a:lnTo>
                <a:lnTo>
                  <a:pt x="61758" y="0"/>
                </a:lnTo>
                <a:lnTo>
                  <a:pt x="132838" y="71080"/>
                </a:lnTo>
                <a:close/>
              </a:path>
            </a:pathLst>
          </a:custGeom>
          <a:solidFill>
            <a:srgbClr val="EEF2F5"/>
          </a:solidFill>
          <a:ln w="11643" cap="flat">
            <a:noFill/>
            <a:prstDash val="solid"/>
            <a:miter/>
          </a:ln>
        </p:spPr>
        <p:txBody>
          <a:bodyPr rtlCol="0" anchor="ctr"/>
          <a:lstStyle/>
          <a:p>
            <a:endParaRPr lang="de-DE"/>
          </a:p>
        </p:txBody>
      </p:sp>
      <p:sp>
        <p:nvSpPr>
          <p:cNvPr id="395" name="Freihandform: Form 394">
            <a:extLst>
              <a:ext uri="{FF2B5EF4-FFF2-40B4-BE49-F238E27FC236}">
                <a16:creationId xmlns:a16="http://schemas.microsoft.com/office/drawing/2014/main" id="{2595AD4F-3613-411F-AF5E-490AA23115BA}"/>
              </a:ext>
            </a:extLst>
          </p:cNvPr>
          <p:cNvSpPr/>
          <p:nvPr userDrawn="1"/>
        </p:nvSpPr>
        <p:spPr>
          <a:xfrm>
            <a:off x="7335247" y="6651749"/>
            <a:ext cx="132838" cy="143325"/>
          </a:xfrm>
          <a:custGeom>
            <a:avLst/>
            <a:gdLst>
              <a:gd name="connsiteX0" fmla="*/ 60593 w 132838"/>
              <a:gd name="connsiteY0" fmla="*/ 143326 h 143325"/>
              <a:gd name="connsiteX1" fmla="*/ 0 w 132838"/>
              <a:gd name="connsiteY1" fmla="*/ 143326 h 143325"/>
              <a:gd name="connsiteX2" fmla="*/ 71080 w 132838"/>
              <a:gd name="connsiteY2" fmla="*/ 72246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6"/>
                </a:moveTo>
                <a:lnTo>
                  <a:pt x="0" y="143326"/>
                </a:lnTo>
                <a:lnTo>
                  <a:pt x="71080" y="72246"/>
                </a:lnTo>
                <a:lnTo>
                  <a:pt x="0" y="0"/>
                </a:lnTo>
                <a:lnTo>
                  <a:pt x="61758" y="0"/>
                </a:lnTo>
                <a:lnTo>
                  <a:pt x="132838" y="69915"/>
                </a:lnTo>
                <a:close/>
              </a:path>
            </a:pathLst>
          </a:custGeom>
          <a:solidFill>
            <a:srgbClr val="EEF2F5"/>
          </a:solidFill>
          <a:ln w="11643" cap="flat">
            <a:noFill/>
            <a:prstDash val="solid"/>
            <a:miter/>
          </a:ln>
        </p:spPr>
        <p:txBody>
          <a:bodyPr rtlCol="0" anchor="ctr"/>
          <a:lstStyle/>
          <a:p>
            <a:endParaRPr lang="de-DE"/>
          </a:p>
        </p:txBody>
      </p:sp>
      <p:sp>
        <p:nvSpPr>
          <p:cNvPr id="396" name="Freihandform: Form 395">
            <a:extLst>
              <a:ext uri="{FF2B5EF4-FFF2-40B4-BE49-F238E27FC236}">
                <a16:creationId xmlns:a16="http://schemas.microsoft.com/office/drawing/2014/main" id="{9EBD3A98-044D-4031-AC35-3BF914F7302F}"/>
              </a:ext>
            </a:extLst>
          </p:cNvPr>
          <p:cNvSpPr/>
          <p:nvPr userDrawn="1"/>
        </p:nvSpPr>
        <p:spPr>
          <a:xfrm>
            <a:off x="7682491" y="2029211"/>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397" name="Freihandform: Form 396">
            <a:extLst>
              <a:ext uri="{FF2B5EF4-FFF2-40B4-BE49-F238E27FC236}">
                <a16:creationId xmlns:a16="http://schemas.microsoft.com/office/drawing/2014/main" id="{43C53F6D-4828-4940-97F4-B626CD126756}"/>
              </a:ext>
            </a:extLst>
          </p:cNvPr>
          <p:cNvSpPr/>
          <p:nvPr userDrawn="1"/>
        </p:nvSpPr>
        <p:spPr>
          <a:xfrm>
            <a:off x="7682491" y="2384612"/>
            <a:ext cx="147986" cy="160804"/>
          </a:xfrm>
          <a:custGeom>
            <a:avLst/>
            <a:gdLst>
              <a:gd name="connsiteX0" fmla="*/ 67584 w 147986"/>
              <a:gd name="connsiteY0" fmla="*/ 160804 h 160804"/>
              <a:gd name="connsiteX1" fmla="*/ 0 w 147986"/>
              <a:gd name="connsiteY1" fmla="*/ 160804 h 160804"/>
              <a:gd name="connsiteX2" fmla="*/ 79237 w 147986"/>
              <a:gd name="connsiteY2" fmla="*/ 80402 h 160804"/>
              <a:gd name="connsiteX3" fmla="*/ 0 w 147986"/>
              <a:gd name="connsiteY3" fmla="*/ 0 h 160804"/>
              <a:gd name="connsiteX4" fmla="*/ 68750 w 147986"/>
              <a:gd name="connsiteY4" fmla="*/ 0 h 160804"/>
              <a:gd name="connsiteX5" fmla="*/ 147986 w 147986"/>
              <a:gd name="connsiteY5" fmla="*/ 79237 h 160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0804">
                <a:moveTo>
                  <a:pt x="67584" y="160804"/>
                </a:moveTo>
                <a:lnTo>
                  <a:pt x="0" y="160804"/>
                </a:lnTo>
                <a:lnTo>
                  <a:pt x="79237" y="80402"/>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398" name="Freihandform: Form 397">
            <a:extLst>
              <a:ext uri="{FF2B5EF4-FFF2-40B4-BE49-F238E27FC236}">
                <a16:creationId xmlns:a16="http://schemas.microsoft.com/office/drawing/2014/main" id="{120E8F27-6892-406B-90DB-A43FCDE80878}"/>
              </a:ext>
            </a:extLst>
          </p:cNvPr>
          <p:cNvSpPr/>
          <p:nvPr userDrawn="1"/>
        </p:nvSpPr>
        <p:spPr>
          <a:xfrm>
            <a:off x="7682491" y="2738847"/>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399" name="Freihandform: Form 398">
            <a:extLst>
              <a:ext uri="{FF2B5EF4-FFF2-40B4-BE49-F238E27FC236}">
                <a16:creationId xmlns:a16="http://schemas.microsoft.com/office/drawing/2014/main" id="{5C717E3E-F6BC-42B4-A350-C1DEE9C442C9}"/>
              </a:ext>
            </a:extLst>
          </p:cNvPr>
          <p:cNvSpPr/>
          <p:nvPr userDrawn="1"/>
        </p:nvSpPr>
        <p:spPr>
          <a:xfrm>
            <a:off x="7682491" y="3094248"/>
            <a:ext cx="147986" cy="160804"/>
          </a:xfrm>
          <a:custGeom>
            <a:avLst/>
            <a:gdLst>
              <a:gd name="connsiteX0" fmla="*/ 67584 w 147986"/>
              <a:gd name="connsiteY0" fmla="*/ 160804 h 160804"/>
              <a:gd name="connsiteX1" fmla="*/ 0 w 147986"/>
              <a:gd name="connsiteY1" fmla="*/ 160804 h 160804"/>
              <a:gd name="connsiteX2" fmla="*/ 79237 w 147986"/>
              <a:gd name="connsiteY2" fmla="*/ 81567 h 160804"/>
              <a:gd name="connsiteX3" fmla="*/ 0 w 147986"/>
              <a:gd name="connsiteY3" fmla="*/ 0 h 160804"/>
              <a:gd name="connsiteX4" fmla="*/ 68750 w 147986"/>
              <a:gd name="connsiteY4" fmla="*/ 0 h 160804"/>
              <a:gd name="connsiteX5" fmla="*/ 147986 w 147986"/>
              <a:gd name="connsiteY5" fmla="*/ 79237 h 160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0804">
                <a:moveTo>
                  <a:pt x="67584" y="160804"/>
                </a:moveTo>
                <a:lnTo>
                  <a:pt x="0" y="160804"/>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400" name="Freihandform: Form 399">
            <a:extLst>
              <a:ext uri="{FF2B5EF4-FFF2-40B4-BE49-F238E27FC236}">
                <a16:creationId xmlns:a16="http://schemas.microsoft.com/office/drawing/2014/main" id="{4F410CDD-2620-4397-B84B-BC98C66C7973}"/>
              </a:ext>
            </a:extLst>
          </p:cNvPr>
          <p:cNvSpPr/>
          <p:nvPr userDrawn="1"/>
        </p:nvSpPr>
        <p:spPr>
          <a:xfrm>
            <a:off x="7682491" y="3448483"/>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401" name="Freihandform: Form 400">
            <a:extLst>
              <a:ext uri="{FF2B5EF4-FFF2-40B4-BE49-F238E27FC236}">
                <a16:creationId xmlns:a16="http://schemas.microsoft.com/office/drawing/2014/main" id="{02172315-7916-4D70-BD29-FC5BB87983F8}"/>
              </a:ext>
            </a:extLst>
          </p:cNvPr>
          <p:cNvSpPr/>
          <p:nvPr userDrawn="1"/>
        </p:nvSpPr>
        <p:spPr>
          <a:xfrm>
            <a:off x="7682491" y="3803883"/>
            <a:ext cx="147986" cy="160804"/>
          </a:xfrm>
          <a:custGeom>
            <a:avLst/>
            <a:gdLst>
              <a:gd name="connsiteX0" fmla="*/ 67584 w 147986"/>
              <a:gd name="connsiteY0" fmla="*/ 160804 h 160804"/>
              <a:gd name="connsiteX1" fmla="*/ 0 w 147986"/>
              <a:gd name="connsiteY1" fmla="*/ 160804 h 160804"/>
              <a:gd name="connsiteX2" fmla="*/ 79237 w 147986"/>
              <a:gd name="connsiteY2" fmla="*/ 81567 h 160804"/>
              <a:gd name="connsiteX3" fmla="*/ 0 w 147986"/>
              <a:gd name="connsiteY3" fmla="*/ 0 h 160804"/>
              <a:gd name="connsiteX4" fmla="*/ 68750 w 147986"/>
              <a:gd name="connsiteY4" fmla="*/ 0 h 160804"/>
              <a:gd name="connsiteX5" fmla="*/ 147986 w 147986"/>
              <a:gd name="connsiteY5" fmla="*/ 79237 h 160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0804">
                <a:moveTo>
                  <a:pt x="67584" y="160804"/>
                </a:moveTo>
                <a:lnTo>
                  <a:pt x="0" y="160804"/>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402" name="Freihandform: Form 401">
            <a:extLst>
              <a:ext uri="{FF2B5EF4-FFF2-40B4-BE49-F238E27FC236}">
                <a16:creationId xmlns:a16="http://schemas.microsoft.com/office/drawing/2014/main" id="{675200BF-627C-42A4-9F53-4A172D52E39B}"/>
              </a:ext>
            </a:extLst>
          </p:cNvPr>
          <p:cNvSpPr/>
          <p:nvPr userDrawn="1"/>
        </p:nvSpPr>
        <p:spPr>
          <a:xfrm>
            <a:off x="7682491" y="4158119"/>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403" name="Freihandform: Form 402">
            <a:extLst>
              <a:ext uri="{FF2B5EF4-FFF2-40B4-BE49-F238E27FC236}">
                <a16:creationId xmlns:a16="http://schemas.microsoft.com/office/drawing/2014/main" id="{CAF5CE73-97E8-49F4-906D-4FDA8880D376}"/>
              </a:ext>
            </a:extLst>
          </p:cNvPr>
          <p:cNvSpPr/>
          <p:nvPr userDrawn="1"/>
        </p:nvSpPr>
        <p:spPr>
          <a:xfrm>
            <a:off x="7682491" y="4513520"/>
            <a:ext cx="147986" cy="160804"/>
          </a:xfrm>
          <a:custGeom>
            <a:avLst/>
            <a:gdLst>
              <a:gd name="connsiteX0" fmla="*/ 67584 w 147986"/>
              <a:gd name="connsiteY0" fmla="*/ 160804 h 160804"/>
              <a:gd name="connsiteX1" fmla="*/ 0 w 147986"/>
              <a:gd name="connsiteY1" fmla="*/ 160804 h 160804"/>
              <a:gd name="connsiteX2" fmla="*/ 79237 w 147986"/>
              <a:gd name="connsiteY2" fmla="*/ 81567 h 160804"/>
              <a:gd name="connsiteX3" fmla="*/ 0 w 147986"/>
              <a:gd name="connsiteY3" fmla="*/ 0 h 160804"/>
              <a:gd name="connsiteX4" fmla="*/ 68750 w 147986"/>
              <a:gd name="connsiteY4" fmla="*/ 0 h 160804"/>
              <a:gd name="connsiteX5" fmla="*/ 147986 w 147986"/>
              <a:gd name="connsiteY5" fmla="*/ 79237 h 160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0804">
                <a:moveTo>
                  <a:pt x="67584" y="160804"/>
                </a:moveTo>
                <a:lnTo>
                  <a:pt x="0" y="160804"/>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404" name="Freihandform: Form 403">
            <a:extLst>
              <a:ext uri="{FF2B5EF4-FFF2-40B4-BE49-F238E27FC236}">
                <a16:creationId xmlns:a16="http://schemas.microsoft.com/office/drawing/2014/main" id="{218DF139-4DC1-4BCB-9F4E-581AFD9F6331}"/>
              </a:ext>
            </a:extLst>
          </p:cNvPr>
          <p:cNvSpPr/>
          <p:nvPr userDrawn="1"/>
        </p:nvSpPr>
        <p:spPr>
          <a:xfrm>
            <a:off x="7682491" y="4867755"/>
            <a:ext cx="147986" cy="161969"/>
          </a:xfrm>
          <a:custGeom>
            <a:avLst/>
            <a:gdLst>
              <a:gd name="connsiteX0" fmla="*/ 67584 w 147986"/>
              <a:gd name="connsiteY0" fmla="*/ 161970 h 161969"/>
              <a:gd name="connsiteX1" fmla="*/ 0 w 147986"/>
              <a:gd name="connsiteY1" fmla="*/ 161970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70"/>
                </a:moveTo>
                <a:lnTo>
                  <a:pt x="0" y="161970"/>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405" name="Freihandform: Form 404">
            <a:extLst>
              <a:ext uri="{FF2B5EF4-FFF2-40B4-BE49-F238E27FC236}">
                <a16:creationId xmlns:a16="http://schemas.microsoft.com/office/drawing/2014/main" id="{0A37C202-DA7A-49FE-8C7A-70FAA46867C6}"/>
              </a:ext>
            </a:extLst>
          </p:cNvPr>
          <p:cNvSpPr/>
          <p:nvPr userDrawn="1"/>
        </p:nvSpPr>
        <p:spPr>
          <a:xfrm>
            <a:off x="7682491" y="5223156"/>
            <a:ext cx="147986" cy="160804"/>
          </a:xfrm>
          <a:custGeom>
            <a:avLst/>
            <a:gdLst>
              <a:gd name="connsiteX0" fmla="*/ 67584 w 147986"/>
              <a:gd name="connsiteY0" fmla="*/ 160804 h 160804"/>
              <a:gd name="connsiteX1" fmla="*/ 0 w 147986"/>
              <a:gd name="connsiteY1" fmla="*/ 160804 h 160804"/>
              <a:gd name="connsiteX2" fmla="*/ 79237 w 147986"/>
              <a:gd name="connsiteY2" fmla="*/ 81567 h 160804"/>
              <a:gd name="connsiteX3" fmla="*/ 0 w 147986"/>
              <a:gd name="connsiteY3" fmla="*/ 0 h 160804"/>
              <a:gd name="connsiteX4" fmla="*/ 68750 w 147986"/>
              <a:gd name="connsiteY4" fmla="*/ 0 h 160804"/>
              <a:gd name="connsiteX5" fmla="*/ 147986 w 147986"/>
              <a:gd name="connsiteY5" fmla="*/ 79237 h 160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0804">
                <a:moveTo>
                  <a:pt x="67584" y="160804"/>
                </a:moveTo>
                <a:lnTo>
                  <a:pt x="0" y="160804"/>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406" name="Freihandform: Form 405">
            <a:extLst>
              <a:ext uri="{FF2B5EF4-FFF2-40B4-BE49-F238E27FC236}">
                <a16:creationId xmlns:a16="http://schemas.microsoft.com/office/drawing/2014/main" id="{9C4CC063-F063-49A1-A191-445FCAA404F3}"/>
              </a:ext>
            </a:extLst>
          </p:cNvPr>
          <p:cNvSpPr/>
          <p:nvPr userDrawn="1"/>
        </p:nvSpPr>
        <p:spPr>
          <a:xfrm>
            <a:off x="7682491" y="5577391"/>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407" name="Freihandform: Form 406">
            <a:extLst>
              <a:ext uri="{FF2B5EF4-FFF2-40B4-BE49-F238E27FC236}">
                <a16:creationId xmlns:a16="http://schemas.microsoft.com/office/drawing/2014/main" id="{E4A5A0CA-718E-4526-8905-36FE802C3C3C}"/>
              </a:ext>
            </a:extLst>
          </p:cNvPr>
          <p:cNvSpPr/>
          <p:nvPr userDrawn="1"/>
        </p:nvSpPr>
        <p:spPr>
          <a:xfrm>
            <a:off x="7682491" y="5932792"/>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408" name="Freihandform: Form 407">
            <a:extLst>
              <a:ext uri="{FF2B5EF4-FFF2-40B4-BE49-F238E27FC236}">
                <a16:creationId xmlns:a16="http://schemas.microsoft.com/office/drawing/2014/main" id="{F21B4889-030D-4F50-9502-7C167A1D25E3}"/>
              </a:ext>
            </a:extLst>
          </p:cNvPr>
          <p:cNvSpPr/>
          <p:nvPr userDrawn="1"/>
        </p:nvSpPr>
        <p:spPr>
          <a:xfrm>
            <a:off x="7682491" y="6287027"/>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80402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80402"/>
                </a:lnTo>
                <a:close/>
              </a:path>
            </a:pathLst>
          </a:custGeom>
          <a:solidFill>
            <a:srgbClr val="EEF2F5"/>
          </a:solidFill>
          <a:ln w="11643" cap="flat">
            <a:noFill/>
            <a:prstDash val="solid"/>
            <a:miter/>
          </a:ln>
        </p:spPr>
        <p:txBody>
          <a:bodyPr rtlCol="0" anchor="ctr"/>
          <a:lstStyle/>
          <a:p>
            <a:endParaRPr lang="de-DE"/>
          </a:p>
        </p:txBody>
      </p:sp>
      <p:sp>
        <p:nvSpPr>
          <p:cNvPr id="409" name="Freihandform: Form 408">
            <a:extLst>
              <a:ext uri="{FF2B5EF4-FFF2-40B4-BE49-F238E27FC236}">
                <a16:creationId xmlns:a16="http://schemas.microsoft.com/office/drawing/2014/main" id="{F20E497A-F5DB-4F96-B341-3DF47EDCD66D}"/>
              </a:ext>
            </a:extLst>
          </p:cNvPr>
          <p:cNvSpPr/>
          <p:nvPr userDrawn="1"/>
        </p:nvSpPr>
        <p:spPr>
          <a:xfrm>
            <a:off x="7682491" y="6642428"/>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410" name="Freihandform: Form 409">
            <a:extLst>
              <a:ext uri="{FF2B5EF4-FFF2-40B4-BE49-F238E27FC236}">
                <a16:creationId xmlns:a16="http://schemas.microsoft.com/office/drawing/2014/main" id="{20D583A8-A99E-46DB-A41A-3E08431963F8}"/>
              </a:ext>
            </a:extLst>
          </p:cNvPr>
          <p:cNvSpPr/>
          <p:nvPr userDrawn="1"/>
        </p:nvSpPr>
        <p:spPr>
          <a:xfrm>
            <a:off x="8028570" y="2019889"/>
            <a:ext cx="165465" cy="179448"/>
          </a:xfrm>
          <a:custGeom>
            <a:avLst/>
            <a:gdLst>
              <a:gd name="connsiteX0" fmla="*/ 75741 w 165465"/>
              <a:gd name="connsiteY0" fmla="*/ 179448 h 179448"/>
              <a:gd name="connsiteX1" fmla="*/ 0 w 165465"/>
              <a:gd name="connsiteY1" fmla="*/ 179448 h 179448"/>
              <a:gd name="connsiteX2" fmla="*/ 88559 w 165465"/>
              <a:gd name="connsiteY2" fmla="*/ 90889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411" name="Freihandform: Form 410">
            <a:extLst>
              <a:ext uri="{FF2B5EF4-FFF2-40B4-BE49-F238E27FC236}">
                <a16:creationId xmlns:a16="http://schemas.microsoft.com/office/drawing/2014/main" id="{09B60DC3-4079-4CF1-9FA2-3667E3169BE5}"/>
              </a:ext>
            </a:extLst>
          </p:cNvPr>
          <p:cNvSpPr/>
          <p:nvPr userDrawn="1"/>
        </p:nvSpPr>
        <p:spPr>
          <a:xfrm>
            <a:off x="8028570" y="2375290"/>
            <a:ext cx="165465" cy="179448"/>
          </a:xfrm>
          <a:custGeom>
            <a:avLst/>
            <a:gdLst>
              <a:gd name="connsiteX0" fmla="*/ 75741 w 165465"/>
              <a:gd name="connsiteY0" fmla="*/ 179448 h 179448"/>
              <a:gd name="connsiteX1" fmla="*/ 0 w 165465"/>
              <a:gd name="connsiteY1" fmla="*/ 179448 h 179448"/>
              <a:gd name="connsiteX2" fmla="*/ 88559 w 165465"/>
              <a:gd name="connsiteY2" fmla="*/ 90889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412" name="Freihandform: Form 411">
            <a:extLst>
              <a:ext uri="{FF2B5EF4-FFF2-40B4-BE49-F238E27FC236}">
                <a16:creationId xmlns:a16="http://schemas.microsoft.com/office/drawing/2014/main" id="{A28ECBD0-0C03-43BC-B913-C56FBFD468AD}"/>
              </a:ext>
            </a:extLst>
          </p:cNvPr>
          <p:cNvSpPr/>
          <p:nvPr userDrawn="1"/>
        </p:nvSpPr>
        <p:spPr>
          <a:xfrm>
            <a:off x="8028570" y="2729525"/>
            <a:ext cx="165465" cy="179448"/>
          </a:xfrm>
          <a:custGeom>
            <a:avLst/>
            <a:gdLst>
              <a:gd name="connsiteX0" fmla="*/ 75741 w 165465"/>
              <a:gd name="connsiteY0" fmla="*/ 179448 h 179448"/>
              <a:gd name="connsiteX1" fmla="*/ 0 w 165465"/>
              <a:gd name="connsiteY1" fmla="*/ 179448 h 179448"/>
              <a:gd name="connsiteX2" fmla="*/ 88559 w 165465"/>
              <a:gd name="connsiteY2" fmla="*/ 90889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413" name="Freihandform: Form 412">
            <a:extLst>
              <a:ext uri="{FF2B5EF4-FFF2-40B4-BE49-F238E27FC236}">
                <a16:creationId xmlns:a16="http://schemas.microsoft.com/office/drawing/2014/main" id="{81865AF8-BEB5-4A5A-A20B-57F13A2AC867}"/>
              </a:ext>
            </a:extLst>
          </p:cNvPr>
          <p:cNvSpPr/>
          <p:nvPr userDrawn="1"/>
        </p:nvSpPr>
        <p:spPr>
          <a:xfrm>
            <a:off x="8028570" y="3084926"/>
            <a:ext cx="165465" cy="179448"/>
          </a:xfrm>
          <a:custGeom>
            <a:avLst/>
            <a:gdLst>
              <a:gd name="connsiteX0" fmla="*/ 75741 w 165465"/>
              <a:gd name="connsiteY0" fmla="*/ 179448 h 179448"/>
              <a:gd name="connsiteX1" fmla="*/ 0 w 165465"/>
              <a:gd name="connsiteY1" fmla="*/ 179448 h 179448"/>
              <a:gd name="connsiteX2" fmla="*/ 88559 w 165465"/>
              <a:gd name="connsiteY2" fmla="*/ 90889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414" name="Freihandform: Form 413">
            <a:extLst>
              <a:ext uri="{FF2B5EF4-FFF2-40B4-BE49-F238E27FC236}">
                <a16:creationId xmlns:a16="http://schemas.microsoft.com/office/drawing/2014/main" id="{A77752D8-E05F-4500-BE69-EE4B76C596D4}"/>
              </a:ext>
            </a:extLst>
          </p:cNvPr>
          <p:cNvSpPr/>
          <p:nvPr userDrawn="1"/>
        </p:nvSpPr>
        <p:spPr>
          <a:xfrm>
            <a:off x="8028570" y="3439161"/>
            <a:ext cx="165465" cy="180613"/>
          </a:xfrm>
          <a:custGeom>
            <a:avLst/>
            <a:gdLst>
              <a:gd name="connsiteX0" fmla="*/ 75741 w 165465"/>
              <a:gd name="connsiteY0" fmla="*/ 180614 h 180613"/>
              <a:gd name="connsiteX1" fmla="*/ 0 w 165465"/>
              <a:gd name="connsiteY1" fmla="*/ 180614 h 180613"/>
              <a:gd name="connsiteX2" fmla="*/ 88559 w 165465"/>
              <a:gd name="connsiteY2" fmla="*/ 90889 h 180613"/>
              <a:gd name="connsiteX3" fmla="*/ 0 w 165465"/>
              <a:gd name="connsiteY3" fmla="*/ 0 h 180613"/>
              <a:gd name="connsiteX4" fmla="*/ 76906 w 165465"/>
              <a:gd name="connsiteY4" fmla="*/ 0 h 180613"/>
              <a:gd name="connsiteX5" fmla="*/ 165465 w 165465"/>
              <a:gd name="connsiteY5" fmla="*/ 88559 h 180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80613">
                <a:moveTo>
                  <a:pt x="75741" y="180614"/>
                </a:moveTo>
                <a:lnTo>
                  <a:pt x="0" y="180614"/>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415" name="Freihandform: Form 414">
            <a:extLst>
              <a:ext uri="{FF2B5EF4-FFF2-40B4-BE49-F238E27FC236}">
                <a16:creationId xmlns:a16="http://schemas.microsoft.com/office/drawing/2014/main" id="{5946384E-284D-4976-A3EC-765399D6C96E}"/>
              </a:ext>
            </a:extLst>
          </p:cNvPr>
          <p:cNvSpPr/>
          <p:nvPr userDrawn="1"/>
        </p:nvSpPr>
        <p:spPr>
          <a:xfrm>
            <a:off x="8028570" y="3794562"/>
            <a:ext cx="165465" cy="179448"/>
          </a:xfrm>
          <a:custGeom>
            <a:avLst/>
            <a:gdLst>
              <a:gd name="connsiteX0" fmla="*/ 75741 w 165465"/>
              <a:gd name="connsiteY0" fmla="*/ 179448 h 179448"/>
              <a:gd name="connsiteX1" fmla="*/ 0 w 165465"/>
              <a:gd name="connsiteY1" fmla="*/ 179448 h 179448"/>
              <a:gd name="connsiteX2" fmla="*/ 88559 w 165465"/>
              <a:gd name="connsiteY2" fmla="*/ 90889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416" name="Freihandform: Form 415">
            <a:extLst>
              <a:ext uri="{FF2B5EF4-FFF2-40B4-BE49-F238E27FC236}">
                <a16:creationId xmlns:a16="http://schemas.microsoft.com/office/drawing/2014/main" id="{90800565-457C-44CA-B5C7-654275474468}"/>
              </a:ext>
            </a:extLst>
          </p:cNvPr>
          <p:cNvSpPr/>
          <p:nvPr userDrawn="1"/>
        </p:nvSpPr>
        <p:spPr>
          <a:xfrm>
            <a:off x="8028570" y="4148797"/>
            <a:ext cx="165465" cy="180613"/>
          </a:xfrm>
          <a:custGeom>
            <a:avLst/>
            <a:gdLst>
              <a:gd name="connsiteX0" fmla="*/ 75741 w 165465"/>
              <a:gd name="connsiteY0" fmla="*/ 180613 h 180613"/>
              <a:gd name="connsiteX1" fmla="*/ 0 w 165465"/>
              <a:gd name="connsiteY1" fmla="*/ 180613 h 180613"/>
              <a:gd name="connsiteX2" fmla="*/ 88559 w 165465"/>
              <a:gd name="connsiteY2" fmla="*/ 90889 h 180613"/>
              <a:gd name="connsiteX3" fmla="*/ 0 w 165465"/>
              <a:gd name="connsiteY3" fmla="*/ 0 h 180613"/>
              <a:gd name="connsiteX4" fmla="*/ 76906 w 165465"/>
              <a:gd name="connsiteY4" fmla="*/ 0 h 180613"/>
              <a:gd name="connsiteX5" fmla="*/ 165465 w 165465"/>
              <a:gd name="connsiteY5" fmla="*/ 88559 h 180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80613">
                <a:moveTo>
                  <a:pt x="75741" y="180613"/>
                </a:moveTo>
                <a:lnTo>
                  <a:pt x="0" y="180613"/>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417" name="Freihandform: Form 416">
            <a:extLst>
              <a:ext uri="{FF2B5EF4-FFF2-40B4-BE49-F238E27FC236}">
                <a16:creationId xmlns:a16="http://schemas.microsoft.com/office/drawing/2014/main" id="{F42B60A2-B724-49DF-B9C1-DF590E07CED7}"/>
              </a:ext>
            </a:extLst>
          </p:cNvPr>
          <p:cNvSpPr/>
          <p:nvPr userDrawn="1"/>
        </p:nvSpPr>
        <p:spPr>
          <a:xfrm>
            <a:off x="8028570" y="4504198"/>
            <a:ext cx="165465" cy="179448"/>
          </a:xfrm>
          <a:custGeom>
            <a:avLst/>
            <a:gdLst>
              <a:gd name="connsiteX0" fmla="*/ 75741 w 165465"/>
              <a:gd name="connsiteY0" fmla="*/ 179448 h 179448"/>
              <a:gd name="connsiteX1" fmla="*/ 0 w 165465"/>
              <a:gd name="connsiteY1" fmla="*/ 179448 h 179448"/>
              <a:gd name="connsiteX2" fmla="*/ 88559 w 165465"/>
              <a:gd name="connsiteY2" fmla="*/ 90889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418" name="Freihandform: Form 417">
            <a:extLst>
              <a:ext uri="{FF2B5EF4-FFF2-40B4-BE49-F238E27FC236}">
                <a16:creationId xmlns:a16="http://schemas.microsoft.com/office/drawing/2014/main" id="{918786C3-E0C0-40D3-AEEC-2B0928087F67}"/>
              </a:ext>
            </a:extLst>
          </p:cNvPr>
          <p:cNvSpPr/>
          <p:nvPr userDrawn="1"/>
        </p:nvSpPr>
        <p:spPr>
          <a:xfrm>
            <a:off x="8028570" y="4859598"/>
            <a:ext cx="165465" cy="179448"/>
          </a:xfrm>
          <a:custGeom>
            <a:avLst/>
            <a:gdLst>
              <a:gd name="connsiteX0" fmla="*/ 75741 w 165465"/>
              <a:gd name="connsiteY0" fmla="*/ 179448 h 179448"/>
              <a:gd name="connsiteX1" fmla="*/ 0 w 165465"/>
              <a:gd name="connsiteY1" fmla="*/ 179448 h 179448"/>
              <a:gd name="connsiteX2" fmla="*/ 88559 w 165465"/>
              <a:gd name="connsiteY2" fmla="*/ 89724 h 179448"/>
              <a:gd name="connsiteX3" fmla="*/ 0 w 165465"/>
              <a:gd name="connsiteY3" fmla="*/ 0 h 179448"/>
              <a:gd name="connsiteX4" fmla="*/ 76906 w 165465"/>
              <a:gd name="connsiteY4" fmla="*/ 0 h 179448"/>
              <a:gd name="connsiteX5" fmla="*/ 165465 w 165465"/>
              <a:gd name="connsiteY5" fmla="*/ 87394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89724"/>
                </a:lnTo>
                <a:lnTo>
                  <a:pt x="0" y="0"/>
                </a:lnTo>
                <a:lnTo>
                  <a:pt x="76906" y="0"/>
                </a:lnTo>
                <a:lnTo>
                  <a:pt x="165465" y="87394"/>
                </a:lnTo>
                <a:close/>
              </a:path>
            </a:pathLst>
          </a:custGeom>
          <a:solidFill>
            <a:srgbClr val="EEF2F5"/>
          </a:solidFill>
          <a:ln w="11643" cap="flat">
            <a:noFill/>
            <a:prstDash val="solid"/>
            <a:miter/>
          </a:ln>
        </p:spPr>
        <p:txBody>
          <a:bodyPr rtlCol="0" anchor="ctr"/>
          <a:lstStyle/>
          <a:p>
            <a:endParaRPr lang="de-DE"/>
          </a:p>
        </p:txBody>
      </p:sp>
      <p:sp>
        <p:nvSpPr>
          <p:cNvPr id="419" name="Freihandform: Form 418">
            <a:extLst>
              <a:ext uri="{FF2B5EF4-FFF2-40B4-BE49-F238E27FC236}">
                <a16:creationId xmlns:a16="http://schemas.microsoft.com/office/drawing/2014/main" id="{5A95C5AF-A7DE-46D9-BD81-B38E5EE66F36}"/>
              </a:ext>
            </a:extLst>
          </p:cNvPr>
          <p:cNvSpPr/>
          <p:nvPr userDrawn="1"/>
        </p:nvSpPr>
        <p:spPr>
          <a:xfrm>
            <a:off x="8028570" y="5213834"/>
            <a:ext cx="165465" cy="179448"/>
          </a:xfrm>
          <a:custGeom>
            <a:avLst/>
            <a:gdLst>
              <a:gd name="connsiteX0" fmla="*/ 75741 w 165465"/>
              <a:gd name="connsiteY0" fmla="*/ 179448 h 179448"/>
              <a:gd name="connsiteX1" fmla="*/ 0 w 165465"/>
              <a:gd name="connsiteY1" fmla="*/ 179448 h 179448"/>
              <a:gd name="connsiteX2" fmla="*/ 88559 w 165465"/>
              <a:gd name="connsiteY2" fmla="*/ 90890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90"/>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420" name="Freihandform: Form 419">
            <a:extLst>
              <a:ext uri="{FF2B5EF4-FFF2-40B4-BE49-F238E27FC236}">
                <a16:creationId xmlns:a16="http://schemas.microsoft.com/office/drawing/2014/main" id="{E84E62F6-ABA2-4007-8DEC-26ABA65D4FD4}"/>
              </a:ext>
            </a:extLst>
          </p:cNvPr>
          <p:cNvSpPr/>
          <p:nvPr userDrawn="1"/>
        </p:nvSpPr>
        <p:spPr>
          <a:xfrm>
            <a:off x="8028570" y="5569234"/>
            <a:ext cx="165465" cy="179448"/>
          </a:xfrm>
          <a:custGeom>
            <a:avLst/>
            <a:gdLst>
              <a:gd name="connsiteX0" fmla="*/ 75741 w 165465"/>
              <a:gd name="connsiteY0" fmla="*/ 179448 h 179448"/>
              <a:gd name="connsiteX1" fmla="*/ 0 w 165465"/>
              <a:gd name="connsiteY1" fmla="*/ 179448 h 179448"/>
              <a:gd name="connsiteX2" fmla="*/ 88559 w 165465"/>
              <a:gd name="connsiteY2" fmla="*/ 89724 h 179448"/>
              <a:gd name="connsiteX3" fmla="*/ 0 w 165465"/>
              <a:gd name="connsiteY3" fmla="*/ 0 h 179448"/>
              <a:gd name="connsiteX4" fmla="*/ 76906 w 165465"/>
              <a:gd name="connsiteY4" fmla="*/ 0 h 179448"/>
              <a:gd name="connsiteX5" fmla="*/ 165465 w 165465"/>
              <a:gd name="connsiteY5" fmla="*/ 87394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89724"/>
                </a:lnTo>
                <a:lnTo>
                  <a:pt x="0" y="0"/>
                </a:lnTo>
                <a:lnTo>
                  <a:pt x="76906" y="0"/>
                </a:lnTo>
                <a:lnTo>
                  <a:pt x="165465" y="87394"/>
                </a:lnTo>
                <a:close/>
              </a:path>
            </a:pathLst>
          </a:custGeom>
          <a:solidFill>
            <a:srgbClr val="EEF2F5"/>
          </a:solidFill>
          <a:ln w="11643" cap="flat">
            <a:noFill/>
            <a:prstDash val="solid"/>
            <a:miter/>
          </a:ln>
        </p:spPr>
        <p:txBody>
          <a:bodyPr rtlCol="0" anchor="ctr"/>
          <a:lstStyle/>
          <a:p>
            <a:endParaRPr lang="de-DE"/>
          </a:p>
        </p:txBody>
      </p:sp>
      <p:sp>
        <p:nvSpPr>
          <p:cNvPr id="421" name="Freihandform: Form 420">
            <a:extLst>
              <a:ext uri="{FF2B5EF4-FFF2-40B4-BE49-F238E27FC236}">
                <a16:creationId xmlns:a16="http://schemas.microsoft.com/office/drawing/2014/main" id="{BA0B5D5D-DD77-4EAC-9B17-FCAA6E650A70}"/>
              </a:ext>
            </a:extLst>
          </p:cNvPr>
          <p:cNvSpPr/>
          <p:nvPr userDrawn="1"/>
        </p:nvSpPr>
        <p:spPr>
          <a:xfrm>
            <a:off x="8028570" y="5923469"/>
            <a:ext cx="165465" cy="179448"/>
          </a:xfrm>
          <a:custGeom>
            <a:avLst/>
            <a:gdLst>
              <a:gd name="connsiteX0" fmla="*/ 75741 w 165465"/>
              <a:gd name="connsiteY0" fmla="*/ 179448 h 179448"/>
              <a:gd name="connsiteX1" fmla="*/ 0 w 165465"/>
              <a:gd name="connsiteY1" fmla="*/ 179448 h 179448"/>
              <a:gd name="connsiteX2" fmla="*/ 88559 w 165465"/>
              <a:gd name="connsiteY2" fmla="*/ 90890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90"/>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422" name="Freihandform: Form 421">
            <a:extLst>
              <a:ext uri="{FF2B5EF4-FFF2-40B4-BE49-F238E27FC236}">
                <a16:creationId xmlns:a16="http://schemas.microsoft.com/office/drawing/2014/main" id="{5ED5F732-E2A1-428A-B725-5499FA571055}"/>
              </a:ext>
            </a:extLst>
          </p:cNvPr>
          <p:cNvSpPr/>
          <p:nvPr userDrawn="1"/>
        </p:nvSpPr>
        <p:spPr>
          <a:xfrm>
            <a:off x="8028570" y="6278870"/>
            <a:ext cx="165465" cy="179448"/>
          </a:xfrm>
          <a:custGeom>
            <a:avLst/>
            <a:gdLst>
              <a:gd name="connsiteX0" fmla="*/ 75741 w 165465"/>
              <a:gd name="connsiteY0" fmla="*/ 179448 h 179448"/>
              <a:gd name="connsiteX1" fmla="*/ 0 w 165465"/>
              <a:gd name="connsiteY1" fmla="*/ 179448 h 179448"/>
              <a:gd name="connsiteX2" fmla="*/ 88559 w 165465"/>
              <a:gd name="connsiteY2" fmla="*/ 89724 h 179448"/>
              <a:gd name="connsiteX3" fmla="*/ 0 w 165465"/>
              <a:gd name="connsiteY3" fmla="*/ 0 h 179448"/>
              <a:gd name="connsiteX4" fmla="*/ 76906 w 165465"/>
              <a:gd name="connsiteY4" fmla="*/ 0 h 179448"/>
              <a:gd name="connsiteX5" fmla="*/ 165465 w 165465"/>
              <a:gd name="connsiteY5" fmla="*/ 87394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89724"/>
                </a:lnTo>
                <a:lnTo>
                  <a:pt x="0" y="0"/>
                </a:lnTo>
                <a:lnTo>
                  <a:pt x="76906" y="0"/>
                </a:lnTo>
                <a:lnTo>
                  <a:pt x="165465" y="87394"/>
                </a:lnTo>
                <a:close/>
              </a:path>
            </a:pathLst>
          </a:custGeom>
          <a:solidFill>
            <a:srgbClr val="EEF2F5"/>
          </a:solidFill>
          <a:ln w="11643" cap="flat">
            <a:noFill/>
            <a:prstDash val="solid"/>
            <a:miter/>
          </a:ln>
        </p:spPr>
        <p:txBody>
          <a:bodyPr rtlCol="0" anchor="ctr"/>
          <a:lstStyle/>
          <a:p>
            <a:endParaRPr lang="de-DE"/>
          </a:p>
        </p:txBody>
      </p:sp>
      <p:sp>
        <p:nvSpPr>
          <p:cNvPr id="423" name="Freihandform: Form 422">
            <a:extLst>
              <a:ext uri="{FF2B5EF4-FFF2-40B4-BE49-F238E27FC236}">
                <a16:creationId xmlns:a16="http://schemas.microsoft.com/office/drawing/2014/main" id="{7CB387CA-4891-4983-8E5A-E36398952292}"/>
              </a:ext>
            </a:extLst>
          </p:cNvPr>
          <p:cNvSpPr/>
          <p:nvPr userDrawn="1"/>
        </p:nvSpPr>
        <p:spPr>
          <a:xfrm>
            <a:off x="8028570" y="6633106"/>
            <a:ext cx="165465" cy="179448"/>
          </a:xfrm>
          <a:custGeom>
            <a:avLst/>
            <a:gdLst>
              <a:gd name="connsiteX0" fmla="*/ 75741 w 165465"/>
              <a:gd name="connsiteY0" fmla="*/ 179448 h 179448"/>
              <a:gd name="connsiteX1" fmla="*/ 0 w 165465"/>
              <a:gd name="connsiteY1" fmla="*/ 179448 h 179448"/>
              <a:gd name="connsiteX2" fmla="*/ 88559 w 165465"/>
              <a:gd name="connsiteY2" fmla="*/ 90889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424" name="Freihandform: Form 423">
            <a:extLst>
              <a:ext uri="{FF2B5EF4-FFF2-40B4-BE49-F238E27FC236}">
                <a16:creationId xmlns:a16="http://schemas.microsoft.com/office/drawing/2014/main" id="{12CEA374-A1E4-4EDF-A88E-97BA00CE075E}"/>
              </a:ext>
            </a:extLst>
          </p:cNvPr>
          <p:cNvSpPr/>
          <p:nvPr userDrawn="1"/>
        </p:nvSpPr>
        <p:spPr>
          <a:xfrm>
            <a:off x="8375813" y="2011732"/>
            <a:ext cx="180613" cy="196926"/>
          </a:xfrm>
          <a:custGeom>
            <a:avLst/>
            <a:gdLst>
              <a:gd name="connsiteX0" fmla="*/ 82733 w 180613"/>
              <a:gd name="connsiteY0" fmla="*/ 196927 h 196926"/>
              <a:gd name="connsiteX1" fmla="*/ 0 w 180613"/>
              <a:gd name="connsiteY1" fmla="*/ 196927 h 196926"/>
              <a:gd name="connsiteX2" fmla="*/ 96715 w 180613"/>
              <a:gd name="connsiteY2" fmla="*/ 99046 h 196926"/>
              <a:gd name="connsiteX3" fmla="*/ 0 w 180613"/>
              <a:gd name="connsiteY3" fmla="*/ 0 h 196926"/>
              <a:gd name="connsiteX4" fmla="*/ 83898 w 180613"/>
              <a:gd name="connsiteY4" fmla="*/ 0 h 196926"/>
              <a:gd name="connsiteX5" fmla="*/ 180613 w 180613"/>
              <a:gd name="connsiteY5" fmla="*/ 96716 h 196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6926">
                <a:moveTo>
                  <a:pt x="82733" y="196927"/>
                </a:moveTo>
                <a:lnTo>
                  <a:pt x="0" y="196927"/>
                </a:lnTo>
                <a:lnTo>
                  <a:pt x="96715" y="99046"/>
                </a:lnTo>
                <a:lnTo>
                  <a:pt x="0" y="0"/>
                </a:lnTo>
                <a:lnTo>
                  <a:pt x="83898" y="0"/>
                </a:lnTo>
                <a:lnTo>
                  <a:pt x="180613" y="96716"/>
                </a:lnTo>
                <a:close/>
              </a:path>
            </a:pathLst>
          </a:custGeom>
          <a:solidFill>
            <a:srgbClr val="EEF2F5"/>
          </a:solidFill>
          <a:ln w="11643" cap="flat">
            <a:noFill/>
            <a:prstDash val="solid"/>
            <a:miter/>
          </a:ln>
        </p:spPr>
        <p:txBody>
          <a:bodyPr rtlCol="0" anchor="ctr"/>
          <a:lstStyle/>
          <a:p>
            <a:endParaRPr lang="de-DE"/>
          </a:p>
        </p:txBody>
      </p:sp>
      <p:sp>
        <p:nvSpPr>
          <p:cNvPr id="425" name="Freihandform: Form 424">
            <a:extLst>
              <a:ext uri="{FF2B5EF4-FFF2-40B4-BE49-F238E27FC236}">
                <a16:creationId xmlns:a16="http://schemas.microsoft.com/office/drawing/2014/main" id="{56C3244B-93A0-4C8E-AF15-1B7B4B778A1C}"/>
              </a:ext>
            </a:extLst>
          </p:cNvPr>
          <p:cNvSpPr/>
          <p:nvPr userDrawn="1"/>
        </p:nvSpPr>
        <p:spPr>
          <a:xfrm>
            <a:off x="8375813" y="2367133"/>
            <a:ext cx="180613" cy="195761"/>
          </a:xfrm>
          <a:custGeom>
            <a:avLst/>
            <a:gdLst>
              <a:gd name="connsiteX0" fmla="*/ 82733 w 180613"/>
              <a:gd name="connsiteY0" fmla="*/ 195762 h 195761"/>
              <a:gd name="connsiteX1" fmla="*/ 0 w 180613"/>
              <a:gd name="connsiteY1" fmla="*/ 195762 h 195761"/>
              <a:gd name="connsiteX2" fmla="*/ 96715 w 180613"/>
              <a:gd name="connsiteY2" fmla="*/ 99046 h 195761"/>
              <a:gd name="connsiteX3" fmla="*/ 0 w 180613"/>
              <a:gd name="connsiteY3" fmla="*/ 0 h 195761"/>
              <a:gd name="connsiteX4" fmla="*/ 83898 w 180613"/>
              <a:gd name="connsiteY4" fmla="*/ 0 h 195761"/>
              <a:gd name="connsiteX5" fmla="*/ 180613 w 180613"/>
              <a:gd name="connsiteY5" fmla="*/ 95550 h 19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5761">
                <a:moveTo>
                  <a:pt x="82733" y="195762"/>
                </a:moveTo>
                <a:lnTo>
                  <a:pt x="0" y="195762"/>
                </a:lnTo>
                <a:lnTo>
                  <a:pt x="96715" y="99046"/>
                </a:lnTo>
                <a:lnTo>
                  <a:pt x="0" y="0"/>
                </a:lnTo>
                <a:lnTo>
                  <a:pt x="83898" y="0"/>
                </a:lnTo>
                <a:lnTo>
                  <a:pt x="180613" y="95550"/>
                </a:lnTo>
                <a:close/>
              </a:path>
            </a:pathLst>
          </a:custGeom>
          <a:solidFill>
            <a:srgbClr val="EEF2F5"/>
          </a:solidFill>
          <a:ln w="11643" cap="flat">
            <a:noFill/>
            <a:prstDash val="solid"/>
            <a:miter/>
          </a:ln>
        </p:spPr>
        <p:txBody>
          <a:bodyPr rtlCol="0" anchor="ctr"/>
          <a:lstStyle/>
          <a:p>
            <a:endParaRPr lang="de-DE"/>
          </a:p>
        </p:txBody>
      </p:sp>
      <p:sp>
        <p:nvSpPr>
          <p:cNvPr id="426" name="Freihandform: Form 425">
            <a:extLst>
              <a:ext uri="{FF2B5EF4-FFF2-40B4-BE49-F238E27FC236}">
                <a16:creationId xmlns:a16="http://schemas.microsoft.com/office/drawing/2014/main" id="{5EF2422E-3B65-405D-A92A-FC38539348AE}"/>
              </a:ext>
            </a:extLst>
          </p:cNvPr>
          <p:cNvSpPr/>
          <p:nvPr userDrawn="1"/>
        </p:nvSpPr>
        <p:spPr>
          <a:xfrm>
            <a:off x="8375813" y="2721368"/>
            <a:ext cx="180613" cy="196926"/>
          </a:xfrm>
          <a:custGeom>
            <a:avLst/>
            <a:gdLst>
              <a:gd name="connsiteX0" fmla="*/ 82733 w 180613"/>
              <a:gd name="connsiteY0" fmla="*/ 196927 h 196926"/>
              <a:gd name="connsiteX1" fmla="*/ 0 w 180613"/>
              <a:gd name="connsiteY1" fmla="*/ 196927 h 196926"/>
              <a:gd name="connsiteX2" fmla="*/ 96715 w 180613"/>
              <a:gd name="connsiteY2" fmla="*/ 99046 h 196926"/>
              <a:gd name="connsiteX3" fmla="*/ 0 w 180613"/>
              <a:gd name="connsiteY3" fmla="*/ 0 h 196926"/>
              <a:gd name="connsiteX4" fmla="*/ 83898 w 180613"/>
              <a:gd name="connsiteY4" fmla="*/ 0 h 196926"/>
              <a:gd name="connsiteX5" fmla="*/ 180613 w 180613"/>
              <a:gd name="connsiteY5" fmla="*/ 96716 h 196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6926">
                <a:moveTo>
                  <a:pt x="82733" y="196927"/>
                </a:moveTo>
                <a:lnTo>
                  <a:pt x="0" y="196927"/>
                </a:lnTo>
                <a:lnTo>
                  <a:pt x="96715" y="99046"/>
                </a:lnTo>
                <a:lnTo>
                  <a:pt x="0" y="0"/>
                </a:lnTo>
                <a:lnTo>
                  <a:pt x="83898" y="0"/>
                </a:lnTo>
                <a:lnTo>
                  <a:pt x="180613" y="96716"/>
                </a:lnTo>
                <a:close/>
              </a:path>
            </a:pathLst>
          </a:custGeom>
          <a:solidFill>
            <a:srgbClr val="EEF2F5"/>
          </a:solidFill>
          <a:ln w="11643" cap="flat">
            <a:noFill/>
            <a:prstDash val="solid"/>
            <a:miter/>
          </a:ln>
        </p:spPr>
        <p:txBody>
          <a:bodyPr rtlCol="0" anchor="ctr"/>
          <a:lstStyle/>
          <a:p>
            <a:endParaRPr lang="de-DE"/>
          </a:p>
        </p:txBody>
      </p:sp>
      <p:sp>
        <p:nvSpPr>
          <p:cNvPr id="427" name="Freihandform: Form 426">
            <a:extLst>
              <a:ext uri="{FF2B5EF4-FFF2-40B4-BE49-F238E27FC236}">
                <a16:creationId xmlns:a16="http://schemas.microsoft.com/office/drawing/2014/main" id="{7C3432CB-7D40-43FB-A958-E3C261C7469F}"/>
              </a:ext>
            </a:extLst>
          </p:cNvPr>
          <p:cNvSpPr/>
          <p:nvPr userDrawn="1"/>
        </p:nvSpPr>
        <p:spPr>
          <a:xfrm>
            <a:off x="8375813" y="3076769"/>
            <a:ext cx="180613" cy="195761"/>
          </a:xfrm>
          <a:custGeom>
            <a:avLst/>
            <a:gdLst>
              <a:gd name="connsiteX0" fmla="*/ 82733 w 180613"/>
              <a:gd name="connsiteY0" fmla="*/ 195762 h 195761"/>
              <a:gd name="connsiteX1" fmla="*/ 0 w 180613"/>
              <a:gd name="connsiteY1" fmla="*/ 195762 h 195761"/>
              <a:gd name="connsiteX2" fmla="*/ 96715 w 180613"/>
              <a:gd name="connsiteY2" fmla="*/ 99046 h 195761"/>
              <a:gd name="connsiteX3" fmla="*/ 0 w 180613"/>
              <a:gd name="connsiteY3" fmla="*/ 0 h 195761"/>
              <a:gd name="connsiteX4" fmla="*/ 83898 w 180613"/>
              <a:gd name="connsiteY4" fmla="*/ 0 h 195761"/>
              <a:gd name="connsiteX5" fmla="*/ 180613 w 180613"/>
              <a:gd name="connsiteY5" fmla="*/ 95550 h 19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5761">
                <a:moveTo>
                  <a:pt x="82733" y="195762"/>
                </a:moveTo>
                <a:lnTo>
                  <a:pt x="0" y="195762"/>
                </a:lnTo>
                <a:lnTo>
                  <a:pt x="96715" y="99046"/>
                </a:lnTo>
                <a:lnTo>
                  <a:pt x="0" y="0"/>
                </a:lnTo>
                <a:lnTo>
                  <a:pt x="83898" y="0"/>
                </a:lnTo>
                <a:lnTo>
                  <a:pt x="180613" y="95550"/>
                </a:lnTo>
                <a:close/>
              </a:path>
            </a:pathLst>
          </a:custGeom>
          <a:solidFill>
            <a:srgbClr val="EEF2F5"/>
          </a:solidFill>
          <a:ln w="11643" cap="flat">
            <a:noFill/>
            <a:prstDash val="solid"/>
            <a:miter/>
          </a:ln>
        </p:spPr>
        <p:txBody>
          <a:bodyPr rtlCol="0" anchor="ctr"/>
          <a:lstStyle/>
          <a:p>
            <a:endParaRPr lang="de-DE"/>
          </a:p>
        </p:txBody>
      </p:sp>
      <p:sp>
        <p:nvSpPr>
          <p:cNvPr id="428" name="Freihandform: Form 427">
            <a:extLst>
              <a:ext uri="{FF2B5EF4-FFF2-40B4-BE49-F238E27FC236}">
                <a16:creationId xmlns:a16="http://schemas.microsoft.com/office/drawing/2014/main" id="{95CDAEC0-EF92-40D9-B669-FB01CC74ECF7}"/>
              </a:ext>
            </a:extLst>
          </p:cNvPr>
          <p:cNvSpPr/>
          <p:nvPr userDrawn="1"/>
        </p:nvSpPr>
        <p:spPr>
          <a:xfrm>
            <a:off x="8375813" y="3431004"/>
            <a:ext cx="180613" cy="196926"/>
          </a:xfrm>
          <a:custGeom>
            <a:avLst/>
            <a:gdLst>
              <a:gd name="connsiteX0" fmla="*/ 82733 w 180613"/>
              <a:gd name="connsiteY0" fmla="*/ 196927 h 196926"/>
              <a:gd name="connsiteX1" fmla="*/ 0 w 180613"/>
              <a:gd name="connsiteY1" fmla="*/ 196927 h 196926"/>
              <a:gd name="connsiteX2" fmla="*/ 96715 w 180613"/>
              <a:gd name="connsiteY2" fmla="*/ 99046 h 196926"/>
              <a:gd name="connsiteX3" fmla="*/ 0 w 180613"/>
              <a:gd name="connsiteY3" fmla="*/ 0 h 196926"/>
              <a:gd name="connsiteX4" fmla="*/ 83898 w 180613"/>
              <a:gd name="connsiteY4" fmla="*/ 0 h 196926"/>
              <a:gd name="connsiteX5" fmla="*/ 180613 w 180613"/>
              <a:gd name="connsiteY5" fmla="*/ 96716 h 196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6926">
                <a:moveTo>
                  <a:pt x="82733" y="196927"/>
                </a:moveTo>
                <a:lnTo>
                  <a:pt x="0" y="196927"/>
                </a:lnTo>
                <a:lnTo>
                  <a:pt x="96715" y="99046"/>
                </a:lnTo>
                <a:lnTo>
                  <a:pt x="0" y="0"/>
                </a:lnTo>
                <a:lnTo>
                  <a:pt x="83898" y="0"/>
                </a:lnTo>
                <a:lnTo>
                  <a:pt x="180613" y="96716"/>
                </a:lnTo>
                <a:close/>
              </a:path>
            </a:pathLst>
          </a:custGeom>
          <a:solidFill>
            <a:srgbClr val="EEF2F5"/>
          </a:solidFill>
          <a:ln w="11643" cap="flat">
            <a:noFill/>
            <a:prstDash val="solid"/>
            <a:miter/>
          </a:ln>
        </p:spPr>
        <p:txBody>
          <a:bodyPr rtlCol="0" anchor="ctr"/>
          <a:lstStyle/>
          <a:p>
            <a:endParaRPr lang="de-DE"/>
          </a:p>
        </p:txBody>
      </p:sp>
      <p:sp>
        <p:nvSpPr>
          <p:cNvPr id="429" name="Freihandform: Form 428">
            <a:extLst>
              <a:ext uri="{FF2B5EF4-FFF2-40B4-BE49-F238E27FC236}">
                <a16:creationId xmlns:a16="http://schemas.microsoft.com/office/drawing/2014/main" id="{B918A736-A720-49F8-86AD-DB321FB14B75}"/>
              </a:ext>
            </a:extLst>
          </p:cNvPr>
          <p:cNvSpPr/>
          <p:nvPr userDrawn="1"/>
        </p:nvSpPr>
        <p:spPr>
          <a:xfrm>
            <a:off x="8375813" y="3786405"/>
            <a:ext cx="180613" cy="195761"/>
          </a:xfrm>
          <a:custGeom>
            <a:avLst/>
            <a:gdLst>
              <a:gd name="connsiteX0" fmla="*/ 82733 w 180613"/>
              <a:gd name="connsiteY0" fmla="*/ 195762 h 195761"/>
              <a:gd name="connsiteX1" fmla="*/ 0 w 180613"/>
              <a:gd name="connsiteY1" fmla="*/ 195762 h 195761"/>
              <a:gd name="connsiteX2" fmla="*/ 96715 w 180613"/>
              <a:gd name="connsiteY2" fmla="*/ 99046 h 195761"/>
              <a:gd name="connsiteX3" fmla="*/ 0 w 180613"/>
              <a:gd name="connsiteY3" fmla="*/ 0 h 195761"/>
              <a:gd name="connsiteX4" fmla="*/ 83898 w 180613"/>
              <a:gd name="connsiteY4" fmla="*/ 0 h 195761"/>
              <a:gd name="connsiteX5" fmla="*/ 180613 w 180613"/>
              <a:gd name="connsiteY5" fmla="*/ 96716 h 19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5761">
                <a:moveTo>
                  <a:pt x="82733" y="195762"/>
                </a:moveTo>
                <a:lnTo>
                  <a:pt x="0" y="195762"/>
                </a:lnTo>
                <a:lnTo>
                  <a:pt x="96715" y="99046"/>
                </a:lnTo>
                <a:lnTo>
                  <a:pt x="0" y="0"/>
                </a:lnTo>
                <a:lnTo>
                  <a:pt x="83898" y="0"/>
                </a:lnTo>
                <a:lnTo>
                  <a:pt x="180613" y="96716"/>
                </a:lnTo>
                <a:close/>
              </a:path>
            </a:pathLst>
          </a:custGeom>
          <a:solidFill>
            <a:srgbClr val="EEF2F5"/>
          </a:solidFill>
          <a:ln w="11643" cap="flat">
            <a:noFill/>
            <a:prstDash val="solid"/>
            <a:miter/>
          </a:ln>
        </p:spPr>
        <p:txBody>
          <a:bodyPr rtlCol="0" anchor="ctr"/>
          <a:lstStyle/>
          <a:p>
            <a:endParaRPr lang="de-DE"/>
          </a:p>
        </p:txBody>
      </p:sp>
      <p:sp>
        <p:nvSpPr>
          <p:cNvPr id="430" name="Freihandform: Form 429">
            <a:extLst>
              <a:ext uri="{FF2B5EF4-FFF2-40B4-BE49-F238E27FC236}">
                <a16:creationId xmlns:a16="http://schemas.microsoft.com/office/drawing/2014/main" id="{CC0A0D46-E810-4C74-8A3D-EF4F2E9D55A7}"/>
              </a:ext>
            </a:extLst>
          </p:cNvPr>
          <p:cNvSpPr/>
          <p:nvPr userDrawn="1"/>
        </p:nvSpPr>
        <p:spPr>
          <a:xfrm>
            <a:off x="8375813" y="4140640"/>
            <a:ext cx="180613" cy="196926"/>
          </a:xfrm>
          <a:custGeom>
            <a:avLst/>
            <a:gdLst>
              <a:gd name="connsiteX0" fmla="*/ 82733 w 180613"/>
              <a:gd name="connsiteY0" fmla="*/ 196927 h 196926"/>
              <a:gd name="connsiteX1" fmla="*/ 0 w 180613"/>
              <a:gd name="connsiteY1" fmla="*/ 196927 h 196926"/>
              <a:gd name="connsiteX2" fmla="*/ 96715 w 180613"/>
              <a:gd name="connsiteY2" fmla="*/ 99046 h 196926"/>
              <a:gd name="connsiteX3" fmla="*/ 0 w 180613"/>
              <a:gd name="connsiteY3" fmla="*/ 0 h 196926"/>
              <a:gd name="connsiteX4" fmla="*/ 83898 w 180613"/>
              <a:gd name="connsiteY4" fmla="*/ 0 h 196926"/>
              <a:gd name="connsiteX5" fmla="*/ 180613 w 180613"/>
              <a:gd name="connsiteY5" fmla="*/ 96716 h 196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6926">
                <a:moveTo>
                  <a:pt x="82733" y="196927"/>
                </a:moveTo>
                <a:lnTo>
                  <a:pt x="0" y="196927"/>
                </a:lnTo>
                <a:lnTo>
                  <a:pt x="96715" y="99046"/>
                </a:lnTo>
                <a:lnTo>
                  <a:pt x="0" y="0"/>
                </a:lnTo>
                <a:lnTo>
                  <a:pt x="83898" y="0"/>
                </a:lnTo>
                <a:lnTo>
                  <a:pt x="180613" y="96716"/>
                </a:lnTo>
                <a:close/>
              </a:path>
            </a:pathLst>
          </a:custGeom>
          <a:solidFill>
            <a:srgbClr val="EEF2F5"/>
          </a:solidFill>
          <a:ln w="11643" cap="flat">
            <a:noFill/>
            <a:prstDash val="solid"/>
            <a:miter/>
          </a:ln>
        </p:spPr>
        <p:txBody>
          <a:bodyPr rtlCol="0" anchor="ctr"/>
          <a:lstStyle/>
          <a:p>
            <a:endParaRPr lang="de-DE"/>
          </a:p>
        </p:txBody>
      </p:sp>
      <p:sp>
        <p:nvSpPr>
          <p:cNvPr id="431" name="Freihandform: Form 430">
            <a:extLst>
              <a:ext uri="{FF2B5EF4-FFF2-40B4-BE49-F238E27FC236}">
                <a16:creationId xmlns:a16="http://schemas.microsoft.com/office/drawing/2014/main" id="{34C0EB52-123E-44D9-9EC9-7D7BEF0ABD80}"/>
              </a:ext>
            </a:extLst>
          </p:cNvPr>
          <p:cNvSpPr/>
          <p:nvPr userDrawn="1"/>
        </p:nvSpPr>
        <p:spPr>
          <a:xfrm>
            <a:off x="8375813" y="4496041"/>
            <a:ext cx="180613" cy="195761"/>
          </a:xfrm>
          <a:custGeom>
            <a:avLst/>
            <a:gdLst>
              <a:gd name="connsiteX0" fmla="*/ 82733 w 180613"/>
              <a:gd name="connsiteY0" fmla="*/ 195762 h 195761"/>
              <a:gd name="connsiteX1" fmla="*/ 0 w 180613"/>
              <a:gd name="connsiteY1" fmla="*/ 195762 h 195761"/>
              <a:gd name="connsiteX2" fmla="*/ 96715 w 180613"/>
              <a:gd name="connsiteY2" fmla="*/ 99046 h 195761"/>
              <a:gd name="connsiteX3" fmla="*/ 0 w 180613"/>
              <a:gd name="connsiteY3" fmla="*/ 0 h 195761"/>
              <a:gd name="connsiteX4" fmla="*/ 83898 w 180613"/>
              <a:gd name="connsiteY4" fmla="*/ 0 h 195761"/>
              <a:gd name="connsiteX5" fmla="*/ 180613 w 180613"/>
              <a:gd name="connsiteY5" fmla="*/ 96716 h 19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5761">
                <a:moveTo>
                  <a:pt x="82733" y="195762"/>
                </a:moveTo>
                <a:lnTo>
                  <a:pt x="0" y="195762"/>
                </a:lnTo>
                <a:lnTo>
                  <a:pt x="96715" y="99046"/>
                </a:lnTo>
                <a:lnTo>
                  <a:pt x="0" y="0"/>
                </a:lnTo>
                <a:lnTo>
                  <a:pt x="83898" y="0"/>
                </a:lnTo>
                <a:lnTo>
                  <a:pt x="180613" y="96716"/>
                </a:lnTo>
                <a:close/>
              </a:path>
            </a:pathLst>
          </a:custGeom>
          <a:solidFill>
            <a:srgbClr val="EEF2F5"/>
          </a:solidFill>
          <a:ln w="11643" cap="flat">
            <a:noFill/>
            <a:prstDash val="solid"/>
            <a:miter/>
          </a:ln>
        </p:spPr>
        <p:txBody>
          <a:bodyPr rtlCol="0" anchor="ctr"/>
          <a:lstStyle/>
          <a:p>
            <a:endParaRPr lang="de-DE"/>
          </a:p>
        </p:txBody>
      </p:sp>
      <p:sp>
        <p:nvSpPr>
          <p:cNvPr id="432" name="Freihandform: Form 431">
            <a:extLst>
              <a:ext uri="{FF2B5EF4-FFF2-40B4-BE49-F238E27FC236}">
                <a16:creationId xmlns:a16="http://schemas.microsoft.com/office/drawing/2014/main" id="{5219E8F1-626A-4690-864E-3909F2395641}"/>
              </a:ext>
            </a:extLst>
          </p:cNvPr>
          <p:cNvSpPr/>
          <p:nvPr userDrawn="1"/>
        </p:nvSpPr>
        <p:spPr>
          <a:xfrm>
            <a:off x="8375813" y="4850276"/>
            <a:ext cx="180613" cy="196927"/>
          </a:xfrm>
          <a:custGeom>
            <a:avLst/>
            <a:gdLst>
              <a:gd name="connsiteX0" fmla="*/ 82733 w 180613"/>
              <a:gd name="connsiteY0" fmla="*/ 196927 h 196927"/>
              <a:gd name="connsiteX1" fmla="*/ 0 w 180613"/>
              <a:gd name="connsiteY1" fmla="*/ 196927 h 196927"/>
              <a:gd name="connsiteX2" fmla="*/ 96715 w 180613"/>
              <a:gd name="connsiteY2" fmla="*/ 99046 h 196927"/>
              <a:gd name="connsiteX3" fmla="*/ 0 w 180613"/>
              <a:gd name="connsiteY3" fmla="*/ 0 h 196927"/>
              <a:gd name="connsiteX4" fmla="*/ 83898 w 180613"/>
              <a:gd name="connsiteY4" fmla="*/ 0 h 196927"/>
              <a:gd name="connsiteX5" fmla="*/ 180613 w 180613"/>
              <a:gd name="connsiteY5" fmla="*/ 96716 h 196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6927">
                <a:moveTo>
                  <a:pt x="82733" y="196927"/>
                </a:moveTo>
                <a:lnTo>
                  <a:pt x="0" y="196927"/>
                </a:lnTo>
                <a:lnTo>
                  <a:pt x="96715" y="99046"/>
                </a:lnTo>
                <a:lnTo>
                  <a:pt x="0" y="0"/>
                </a:lnTo>
                <a:lnTo>
                  <a:pt x="83898" y="0"/>
                </a:lnTo>
                <a:lnTo>
                  <a:pt x="180613" y="96716"/>
                </a:lnTo>
                <a:close/>
              </a:path>
            </a:pathLst>
          </a:custGeom>
          <a:solidFill>
            <a:srgbClr val="EEF2F5"/>
          </a:solidFill>
          <a:ln w="11643" cap="flat">
            <a:noFill/>
            <a:prstDash val="solid"/>
            <a:miter/>
          </a:ln>
        </p:spPr>
        <p:txBody>
          <a:bodyPr rtlCol="0" anchor="ctr"/>
          <a:lstStyle/>
          <a:p>
            <a:endParaRPr lang="de-DE"/>
          </a:p>
        </p:txBody>
      </p:sp>
      <p:sp>
        <p:nvSpPr>
          <p:cNvPr id="433" name="Freihandform: Form 432">
            <a:extLst>
              <a:ext uri="{FF2B5EF4-FFF2-40B4-BE49-F238E27FC236}">
                <a16:creationId xmlns:a16="http://schemas.microsoft.com/office/drawing/2014/main" id="{D51309D8-1401-412C-AF26-DDF972F4A03F}"/>
              </a:ext>
            </a:extLst>
          </p:cNvPr>
          <p:cNvSpPr/>
          <p:nvPr userDrawn="1"/>
        </p:nvSpPr>
        <p:spPr>
          <a:xfrm>
            <a:off x="8375813" y="5205677"/>
            <a:ext cx="180613" cy="195761"/>
          </a:xfrm>
          <a:custGeom>
            <a:avLst/>
            <a:gdLst>
              <a:gd name="connsiteX0" fmla="*/ 82733 w 180613"/>
              <a:gd name="connsiteY0" fmla="*/ 195762 h 195761"/>
              <a:gd name="connsiteX1" fmla="*/ 0 w 180613"/>
              <a:gd name="connsiteY1" fmla="*/ 195762 h 195761"/>
              <a:gd name="connsiteX2" fmla="*/ 96715 w 180613"/>
              <a:gd name="connsiteY2" fmla="*/ 99046 h 195761"/>
              <a:gd name="connsiteX3" fmla="*/ 0 w 180613"/>
              <a:gd name="connsiteY3" fmla="*/ 0 h 195761"/>
              <a:gd name="connsiteX4" fmla="*/ 83898 w 180613"/>
              <a:gd name="connsiteY4" fmla="*/ 0 h 195761"/>
              <a:gd name="connsiteX5" fmla="*/ 180613 w 180613"/>
              <a:gd name="connsiteY5" fmla="*/ 96715 h 19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5761">
                <a:moveTo>
                  <a:pt x="82733" y="195762"/>
                </a:moveTo>
                <a:lnTo>
                  <a:pt x="0" y="195762"/>
                </a:lnTo>
                <a:lnTo>
                  <a:pt x="96715" y="99046"/>
                </a:lnTo>
                <a:lnTo>
                  <a:pt x="0" y="0"/>
                </a:lnTo>
                <a:lnTo>
                  <a:pt x="83898" y="0"/>
                </a:lnTo>
                <a:lnTo>
                  <a:pt x="180613" y="96715"/>
                </a:lnTo>
                <a:close/>
              </a:path>
            </a:pathLst>
          </a:custGeom>
          <a:solidFill>
            <a:srgbClr val="EEF2F5"/>
          </a:solidFill>
          <a:ln w="11643" cap="flat">
            <a:noFill/>
            <a:prstDash val="solid"/>
            <a:miter/>
          </a:ln>
        </p:spPr>
        <p:txBody>
          <a:bodyPr rtlCol="0" anchor="ctr"/>
          <a:lstStyle/>
          <a:p>
            <a:endParaRPr lang="de-DE"/>
          </a:p>
        </p:txBody>
      </p:sp>
      <p:sp>
        <p:nvSpPr>
          <p:cNvPr id="434" name="Freihandform: Form 433">
            <a:extLst>
              <a:ext uri="{FF2B5EF4-FFF2-40B4-BE49-F238E27FC236}">
                <a16:creationId xmlns:a16="http://schemas.microsoft.com/office/drawing/2014/main" id="{18C115C5-2AC9-4E5E-BDA3-03481CD7237E}"/>
              </a:ext>
            </a:extLst>
          </p:cNvPr>
          <p:cNvSpPr/>
          <p:nvPr userDrawn="1"/>
        </p:nvSpPr>
        <p:spPr>
          <a:xfrm>
            <a:off x="8375813" y="5559912"/>
            <a:ext cx="180613" cy="196926"/>
          </a:xfrm>
          <a:custGeom>
            <a:avLst/>
            <a:gdLst>
              <a:gd name="connsiteX0" fmla="*/ 82733 w 180613"/>
              <a:gd name="connsiteY0" fmla="*/ 196927 h 196926"/>
              <a:gd name="connsiteX1" fmla="*/ 0 w 180613"/>
              <a:gd name="connsiteY1" fmla="*/ 196927 h 196926"/>
              <a:gd name="connsiteX2" fmla="*/ 96715 w 180613"/>
              <a:gd name="connsiteY2" fmla="*/ 99046 h 196926"/>
              <a:gd name="connsiteX3" fmla="*/ 0 w 180613"/>
              <a:gd name="connsiteY3" fmla="*/ 0 h 196926"/>
              <a:gd name="connsiteX4" fmla="*/ 83898 w 180613"/>
              <a:gd name="connsiteY4" fmla="*/ 0 h 196926"/>
              <a:gd name="connsiteX5" fmla="*/ 180613 w 180613"/>
              <a:gd name="connsiteY5" fmla="*/ 96715 h 196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6926">
                <a:moveTo>
                  <a:pt x="82733" y="196927"/>
                </a:moveTo>
                <a:lnTo>
                  <a:pt x="0" y="196927"/>
                </a:lnTo>
                <a:lnTo>
                  <a:pt x="96715" y="99046"/>
                </a:lnTo>
                <a:lnTo>
                  <a:pt x="0" y="0"/>
                </a:lnTo>
                <a:lnTo>
                  <a:pt x="83898" y="0"/>
                </a:lnTo>
                <a:lnTo>
                  <a:pt x="180613" y="96715"/>
                </a:lnTo>
                <a:close/>
              </a:path>
            </a:pathLst>
          </a:custGeom>
          <a:solidFill>
            <a:srgbClr val="EEF2F5"/>
          </a:solidFill>
          <a:ln w="11643" cap="flat">
            <a:noFill/>
            <a:prstDash val="solid"/>
            <a:miter/>
          </a:ln>
        </p:spPr>
        <p:txBody>
          <a:bodyPr rtlCol="0" anchor="ctr"/>
          <a:lstStyle/>
          <a:p>
            <a:endParaRPr lang="de-DE"/>
          </a:p>
        </p:txBody>
      </p:sp>
      <p:sp>
        <p:nvSpPr>
          <p:cNvPr id="435" name="Freihandform: Form 434">
            <a:extLst>
              <a:ext uri="{FF2B5EF4-FFF2-40B4-BE49-F238E27FC236}">
                <a16:creationId xmlns:a16="http://schemas.microsoft.com/office/drawing/2014/main" id="{6AF44250-C7AA-4392-96AF-9FBE14A0A151}"/>
              </a:ext>
            </a:extLst>
          </p:cNvPr>
          <p:cNvSpPr/>
          <p:nvPr userDrawn="1"/>
        </p:nvSpPr>
        <p:spPr>
          <a:xfrm>
            <a:off x="8375813" y="5915313"/>
            <a:ext cx="180613" cy="195761"/>
          </a:xfrm>
          <a:custGeom>
            <a:avLst/>
            <a:gdLst>
              <a:gd name="connsiteX0" fmla="*/ 82733 w 180613"/>
              <a:gd name="connsiteY0" fmla="*/ 195762 h 195761"/>
              <a:gd name="connsiteX1" fmla="*/ 0 w 180613"/>
              <a:gd name="connsiteY1" fmla="*/ 195762 h 195761"/>
              <a:gd name="connsiteX2" fmla="*/ 96715 w 180613"/>
              <a:gd name="connsiteY2" fmla="*/ 99046 h 195761"/>
              <a:gd name="connsiteX3" fmla="*/ 0 w 180613"/>
              <a:gd name="connsiteY3" fmla="*/ 0 h 195761"/>
              <a:gd name="connsiteX4" fmla="*/ 83898 w 180613"/>
              <a:gd name="connsiteY4" fmla="*/ 0 h 195761"/>
              <a:gd name="connsiteX5" fmla="*/ 180613 w 180613"/>
              <a:gd name="connsiteY5" fmla="*/ 96715 h 19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5761">
                <a:moveTo>
                  <a:pt x="82733" y="195762"/>
                </a:moveTo>
                <a:lnTo>
                  <a:pt x="0" y="195762"/>
                </a:lnTo>
                <a:lnTo>
                  <a:pt x="96715" y="99046"/>
                </a:lnTo>
                <a:lnTo>
                  <a:pt x="0" y="0"/>
                </a:lnTo>
                <a:lnTo>
                  <a:pt x="83898" y="0"/>
                </a:lnTo>
                <a:lnTo>
                  <a:pt x="180613" y="96715"/>
                </a:lnTo>
                <a:close/>
              </a:path>
            </a:pathLst>
          </a:custGeom>
          <a:solidFill>
            <a:srgbClr val="EEF2F5"/>
          </a:solidFill>
          <a:ln w="11643" cap="flat">
            <a:noFill/>
            <a:prstDash val="solid"/>
            <a:miter/>
          </a:ln>
        </p:spPr>
        <p:txBody>
          <a:bodyPr rtlCol="0" anchor="ctr"/>
          <a:lstStyle/>
          <a:p>
            <a:endParaRPr lang="de-DE"/>
          </a:p>
        </p:txBody>
      </p:sp>
      <p:sp>
        <p:nvSpPr>
          <p:cNvPr id="436" name="Freihandform: Form 435">
            <a:extLst>
              <a:ext uri="{FF2B5EF4-FFF2-40B4-BE49-F238E27FC236}">
                <a16:creationId xmlns:a16="http://schemas.microsoft.com/office/drawing/2014/main" id="{FC7422D5-7BFD-49F1-8CF8-41977E51E586}"/>
              </a:ext>
            </a:extLst>
          </p:cNvPr>
          <p:cNvSpPr/>
          <p:nvPr userDrawn="1"/>
        </p:nvSpPr>
        <p:spPr>
          <a:xfrm>
            <a:off x="8375813" y="6270714"/>
            <a:ext cx="180613" cy="195761"/>
          </a:xfrm>
          <a:custGeom>
            <a:avLst/>
            <a:gdLst>
              <a:gd name="connsiteX0" fmla="*/ 82733 w 180613"/>
              <a:gd name="connsiteY0" fmla="*/ 195762 h 195761"/>
              <a:gd name="connsiteX1" fmla="*/ 0 w 180613"/>
              <a:gd name="connsiteY1" fmla="*/ 195762 h 195761"/>
              <a:gd name="connsiteX2" fmla="*/ 96715 w 180613"/>
              <a:gd name="connsiteY2" fmla="*/ 97881 h 195761"/>
              <a:gd name="connsiteX3" fmla="*/ 0 w 180613"/>
              <a:gd name="connsiteY3" fmla="*/ 0 h 195761"/>
              <a:gd name="connsiteX4" fmla="*/ 83898 w 180613"/>
              <a:gd name="connsiteY4" fmla="*/ 0 h 195761"/>
              <a:gd name="connsiteX5" fmla="*/ 180613 w 180613"/>
              <a:gd name="connsiteY5" fmla="*/ 95550 h 19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5761">
                <a:moveTo>
                  <a:pt x="82733" y="195762"/>
                </a:moveTo>
                <a:lnTo>
                  <a:pt x="0" y="195762"/>
                </a:lnTo>
                <a:lnTo>
                  <a:pt x="96715" y="97881"/>
                </a:lnTo>
                <a:lnTo>
                  <a:pt x="0" y="0"/>
                </a:lnTo>
                <a:lnTo>
                  <a:pt x="83898" y="0"/>
                </a:lnTo>
                <a:lnTo>
                  <a:pt x="180613" y="95550"/>
                </a:lnTo>
                <a:close/>
              </a:path>
            </a:pathLst>
          </a:custGeom>
          <a:solidFill>
            <a:srgbClr val="EEF2F5"/>
          </a:solidFill>
          <a:ln w="11643" cap="flat">
            <a:noFill/>
            <a:prstDash val="solid"/>
            <a:miter/>
          </a:ln>
        </p:spPr>
        <p:txBody>
          <a:bodyPr rtlCol="0" anchor="ctr"/>
          <a:lstStyle/>
          <a:p>
            <a:endParaRPr lang="de-DE"/>
          </a:p>
        </p:txBody>
      </p:sp>
      <p:sp>
        <p:nvSpPr>
          <p:cNvPr id="437" name="Freihandform: Form 436">
            <a:extLst>
              <a:ext uri="{FF2B5EF4-FFF2-40B4-BE49-F238E27FC236}">
                <a16:creationId xmlns:a16="http://schemas.microsoft.com/office/drawing/2014/main" id="{E943456F-C9D7-440F-BAE7-3340B9DC6330}"/>
              </a:ext>
            </a:extLst>
          </p:cNvPr>
          <p:cNvSpPr/>
          <p:nvPr userDrawn="1"/>
        </p:nvSpPr>
        <p:spPr>
          <a:xfrm>
            <a:off x="8375813" y="6624949"/>
            <a:ext cx="180613" cy="196926"/>
          </a:xfrm>
          <a:custGeom>
            <a:avLst/>
            <a:gdLst>
              <a:gd name="connsiteX0" fmla="*/ 82733 w 180613"/>
              <a:gd name="connsiteY0" fmla="*/ 196927 h 196926"/>
              <a:gd name="connsiteX1" fmla="*/ 0 w 180613"/>
              <a:gd name="connsiteY1" fmla="*/ 196927 h 196926"/>
              <a:gd name="connsiteX2" fmla="*/ 96715 w 180613"/>
              <a:gd name="connsiteY2" fmla="*/ 99046 h 196926"/>
              <a:gd name="connsiteX3" fmla="*/ 0 w 180613"/>
              <a:gd name="connsiteY3" fmla="*/ 0 h 196926"/>
              <a:gd name="connsiteX4" fmla="*/ 83898 w 180613"/>
              <a:gd name="connsiteY4" fmla="*/ 0 h 196926"/>
              <a:gd name="connsiteX5" fmla="*/ 180613 w 180613"/>
              <a:gd name="connsiteY5" fmla="*/ 96715 h 196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6926">
                <a:moveTo>
                  <a:pt x="82733" y="196927"/>
                </a:moveTo>
                <a:lnTo>
                  <a:pt x="0" y="196927"/>
                </a:lnTo>
                <a:lnTo>
                  <a:pt x="96715" y="99046"/>
                </a:lnTo>
                <a:lnTo>
                  <a:pt x="0" y="0"/>
                </a:lnTo>
                <a:lnTo>
                  <a:pt x="83898" y="0"/>
                </a:lnTo>
                <a:lnTo>
                  <a:pt x="180613" y="96715"/>
                </a:lnTo>
                <a:close/>
              </a:path>
            </a:pathLst>
          </a:custGeom>
          <a:solidFill>
            <a:srgbClr val="EEF2F5"/>
          </a:solidFill>
          <a:ln w="11643" cap="flat">
            <a:noFill/>
            <a:prstDash val="solid"/>
            <a:miter/>
          </a:ln>
        </p:spPr>
        <p:txBody>
          <a:bodyPr rtlCol="0" anchor="ctr"/>
          <a:lstStyle/>
          <a:p>
            <a:endParaRPr lang="de-DE"/>
          </a:p>
        </p:txBody>
      </p:sp>
      <p:sp>
        <p:nvSpPr>
          <p:cNvPr id="438" name="Freihandform: Form 437">
            <a:extLst>
              <a:ext uri="{FF2B5EF4-FFF2-40B4-BE49-F238E27FC236}">
                <a16:creationId xmlns:a16="http://schemas.microsoft.com/office/drawing/2014/main" id="{51CAB98F-4CBB-4D06-A263-949D791C9F0B}"/>
              </a:ext>
            </a:extLst>
          </p:cNvPr>
          <p:cNvSpPr/>
          <p:nvPr userDrawn="1"/>
        </p:nvSpPr>
        <p:spPr>
          <a:xfrm>
            <a:off x="8721892" y="2002410"/>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6038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6038"/>
                </a:lnTo>
                <a:close/>
              </a:path>
            </a:pathLst>
          </a:custGeom>
          <a:solidFill>
            <a:srgbClr val="EEF2F5"/>
          </a:solidFill>
          <a:ln w="11643" cap="flat">
            <a:noFill/>
            <a:prstDash val="solid"/>
            <a:miter/>
          </a:ln>
        </p:spPr>
        <p:txBody>
          <a:bodyPr rtlCol="0" anchor="ctr"/>
          <a:lstStyle/>
          <a:p>
            <a:endParaRPr lang="de-DE"/>
          </a:p>
        </p:txBody>
      </p:sp>
      <p:sp>
        <p:nvSpPr>
          <p:cNvPr id="439" name="Freihandform: Form 438">
            <a:extLst>
              <a:ext uri="{FF2B5EF4-FFF2-40B4-BE49-F238E27FC236}">
                <a16:creationId xmlns:a16="http://schemas.microsoft.com/office/drawing/2014/main" id="{62F4C308-3870-47E2-8215-AAF8FAAB7155}"/>
              </a:ext>
            </a:extLst>
          </p:cNvPr>
          <p:cNvSpPr/>
          <p:nvPr userDrawn="1"/>
        </p:nvSpPr>
        <p:spPr>
          <a:xfrm>
            <a:off x="8721892" y="2357811"/>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4872"/>
                </a:lnTo>
                <a:close/>
              </a:path>
            </a:pathLst>
          </a:custGeom>
          <a:solidFill>
            <a:srgbClr val="EEF2F5"/>
          </a:solidFill>
          <a:ln w="11643" cap="flat">
            <a:noFill/>
            <a:prstDash val="solid"/>
            <a:miter/>
          </a:ln>
        </p:spPr>
        <p:txBody>
          <a:bodyPr rtlCol="0" anchor="ctr"/>
          <a:lstStyle/>
          <a:p>
            <a:endParaRPr lang="de-DE"/>
          </a:p>
        </p:txBody>
      </p:sp>
      <p:sp>
        <p:nvSpPr>
          <p:cNvPr id="440" name="Freihandform: Form 439">
            <a:extLst>
              <a:ext uri="{FF2B5EF4-FFF2-40B4-BE49-F238E27FC236}">
                <a16:creationId xmlns:a16="http://schemas.microsoft.com/office/drawing/2014/main" id="{D7322EBB-EAEE-4A42-9AD7-53B76C52A248}"/>
              </a:ext>
            </a:extLst>
          </p:cNvPr>
          <p:cNvSpPr/>
          <p:nvPr userDrawn="1"/>
        </p:nvSpPr>
        <p:spPr>
          <a:xfrm>
            <a:off x="8721892" y="2712046"/>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6038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6038"/>
                </a:lnTo>
                <a:close/>
              </a:path>
            </a:pathLst>
          </a:custGeom>
          <a:solidFill>
            <a:srgbClr val="EEF2F5"/>
          </a:solidFill>
          <a:ln w="11643" cap="flat">
            <a:noFill/>
            <a:prstDash val="solid"/>
            <a:miter/>
          </a:ln>
        </p:spPr>
        <p:txBody>
          <a:bodyPr rtlCol="0" anchor="ctr"/>
          <a:lstStyle/>
          <a:p>
            <a:endParaRPr lang="de-DE"/>
          </a:p>
        </p:txBody>
      </p:sp>
      <p:sp>
        <p:nvSpPr>
          <p:cNvPr id="441" name="Freihandform: Form 440">
            <a:extLst>
              <a:ext uri="{FF2B5EF4-FFF2-40B4-BE49-F238E27FC236}">
                <a16:creationId xmlns:a16="http://schemas.microsoft.com/office/drawing/2014/main" id="{2F1B8135-9A4E-476E-8711-64C2C031A7D4}"/>
              </a:ext>
            </a:extLst>
          </p:cNvPr>
          <p:cNvSpPr/>
          <p:nvPr userDrawn="1"/>
        </p:nvSpPr>
        <p:spPr>
          <a:xfrm>
            <a:off x="8721892" y="3067447"/>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4872"/>
                </a:lnTo>
                <a:close/>
              </a:path>
            </a:pathLst>
          </a:custGeom>
          <a:solidFill>
            <a:srgbClr val="EEF2F5"/>
          </a:solidFill>
          <a:ln w="11643" cap="flat">
            <a:noFill/>
            <a:prstDash val="solid"/>
            <a:miter/>
          </a:ln>
        </p:spPr>
        <p:txBody>
          <a:bodyPr rtlCol="0" anchor="ctr"/>
          <a:lstStyle/>
          <a:p>
            <a:endParaRPr lang="de-DE"/>
          </a:p>
        </p:txBody>
      </p:sp>
      <p:sp>
        <p:nvSpPr>
          <p:cNvPr id="442" name="Freihandform: Form 441">
            <a:extLst>
              <a:ext uri="{FF2B5EF4-FFF2-40B4-BE49-F238E27FC236}">
                <a16:creationId xmlns:a16="http://schemas.microsoft.com/office/drawing/2014/main" id="{6FC17601-18E6-4BF7-A8D1-2826F0BE14DB}"/>
              </a:ext>
            </a:extLst>
          </p:cNvPr>
          <p:cNvSpPr/>
          <p:nvPr userDrawn="1"/>
        </p:nvSpPr>
        <p:spPr>
          <a:xfrm>
            <a:off x="8721892" y="3421682"/>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6038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6038"/>
                </a:lnTo>
                <a:close/>
              </a:path>
            </a:pathLst>
          </a:custGeom>
          <a:solidFill>
            <a:srgbClr val="EEF2F5"/>
          </a:solidFill>
          <a:ln w="11643" cap="flat">
            <a:noFill/>
            <a:prstDash val="solid"/>
            <a:miter/>
          </a:ln>
        </p:spPr>
        <p:txBody>
          <a:bodyPr rtlCol="0" anchor="ctr"/>
          <a:lstStyle/>
          <a:p>
            <a:endParaRPr lang="de-DE"/>
          </a:p>
        </p:txBody>
      </p:sp>
      <p:sp>
        <p:nvSpPr>
          <p:cNvPr id="443" name="Freihandform: Form 442">
            <a:extLst>
              <a:ext uri="{FF2B5EF4-FFF2-40B4-BE49-F238E27FC236}">
                <a16:creationId xmlns:a16="http://schemas.microsoft.com/office/drawing/2014/main" id="{14285465-FDDA-4690-A394-8C87D559E31D}"/>
              </a:ext>
            </a:extLst>
          </p:cNvPr>
          <p:cNvSpPr/>
          <p:nvPr userDrawn="1"/>
        </p:nvSpPr>
        <p:spPr>
          <a:xfrm>
            <a:off x="8721892" y="3777083"/>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4872"/>
                </a:lnTo>
                <a:close/>
              </a:path>
            </a:pathLst>
          </a:custGeom>
          <a:solidFill>
            <a:srgbClr val="EEF2F5"/>
          </a:solidFill>
          <a:ln w="11643" cap="flat">
            <a:noFill/>
            <a:prstDash val="solid"/>
            <a:miter/>
          </a:ln>
        </p:spPr>
        <p:txBody>
          <a:bodyPr rtlCol="0" anchor="ctr"/>
          <a:lstStyle/>
          <a:p>
            <a:endParaRPr lang="de-DE"/>
          </a:p>
        </p:txBody>
      </p:sp>
      <p:sp>
        <p:nvSpPr>
          <p:cNvPr id="444" name="Freihandform: Form 443">
            <a:extLst>
              <a:ext uri="{FF2B5EF4-FFF2-40B4-BE49-F238E27FC236}">
                <a16:creationId xmlns:a16="http://schemas.microsoft.com/office/drawing/2014/main" id="{EF5CE05F-09D9-4E8A-A64E-CC6C5BB6F1A5}"/>
              </a:ext>
            </a:extLst>
          </p:cNvPr>
          <p:cNvSpPr/>
          <p:nvPr userDrawn="1"/>
        </p:nvSpPr>
        <p:spPr>
          <a:xfrm>
            <a:off x="8721892" y="4132484"/>
            <a:ext cx="198092" cy="214405"/>
          </a:xfrm>
          <a:custGeom>
            <a:avLst/>
            <a:gdLst>
              <a:gd name="connsiteX0" fmla="*/ 90889 w 198092"/>
              <a:gd name="connsiteY0" fmla="*/ 214406 h 214405"/>
              <a:gd name="connsiteX1" fmla="*/ 0 w 198092"/>
              <a:gd name="connsiteY1" fmla="*/ 214406 h 214405"/>
              <a:gd name="connsiteX2" fmla="*/ 106037 w 198092"/>
              <a:gd name="connsiteY2" fmla="*/ 107203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7203"/>
                </a:lnTo>
                <a:lnTo>
                  <a:pt x="0" y="0"/>
                </a:lnTo>
                <a:lnTo>
                  <a:pt x="92055" y="0"/>
                </a:lnTo>
                <a:lnTo>
                  <a:pt x="198092" y="104872"/>
                </a:lnTo>
                <a:close/>
              </a:path>
            </a:pathLst>
          </a:custGeom>
          <a:solidFill>
            <a:srgbClr val="EEF2F5"/>
          </a:solidFill>
          <a:ln w="11643" cap="flat">
            <a:noFill/>
            <a:prstDash val="solid"/>
            <a:miter/>
          </a:ln>
        </p:spPr>
        <p:txBody>
          <a:bodyPr rtlCol="0" anchor="ctr"/>
          <a:lstStyle/>
          <a:p>
            <a:endParaRPr lang="de-DE"/>
          </a:p>
        </p:txBody>
      </p:sp>
      <p:sp>
        <p:nvSpPr>
          <p:cNvPr id="445" name="Freihandform: Form 444">
            <a:extLst>
              <a:ext uri="{FF2B5EF4-FFF2-40B4-BE49-F238E27FC236}">
                <a16:creationId xmlns:a16="http://schemas.microsoft.com/office/drawing/2014/main" id="{252B6EA4-1D20-403F-A67B-8BCEBA7181EA}"/>
              </a:ext>
            </a:extLst>
          </p:cNvPr>
          <p:cNvSpPr/>
          <p:nvPr userDrawn="1"/>
        </p:nvSpPr>
        <p:spPr>
          <a:xfrm>
            <a:off x="8721892" y="4486719"/>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4872"/>
                </a:lnTo>
                <a:close/>
              </a:path>
            </a:pathLst>
          </a:custGeom>
          <a:solidFill>
            <a:srgbClr val="EEF2F5"/>
          </a:solidFill>
          <a:ln w="11643" cap="flat">
            <a:noFill/>
            <a:prstDash val="solid"/>
            <a:miter/>
          </a:ln>
        </p:spPr>
        <p:txBody>
          <a:bodyPr rtlCol="0" anchor="ctr"/>
          <a:lstStyle/>
          <a:p>
            <a:endParaRPr lang="de-DE"/>
          </a:p>
        </p:txBody>
      </p:sp>
      <p:sp>
        <p:nvSpPr>
          <p:cNvPr id="446" name="Freihandform: Form 445">
            <a:extLst>
              <a:ext uri="{FF2B5EF4-FFF2-40B4-BE49-F238E27FC236}">
                <a16:creationId xmlns:a16="http://schemas.microsoft.com/office/drawing/2014/main" id="{B34E7EF8-659D-41D0-A7E6-F80D2A72E4F5}"/>
              </a:ext>
            </a:extLst>
          </p:cNvPr>
          <p:cNvSpPr/>
          <p:nvPr userDrawn="1"/>
        </p:nvSpPr>
        <p:spPr>
          <a:xfrm>
            <a:off x="8721892" y="4842120"/>
            <a:ext cx="198092" cy="214405"/>
          </a:xfrm>
          <a:custGeom>
            <a:avLst/>
            <a:gdLst>
              <a:gd name="connsiteX0" fmla="*/ 90889 w 198092"/>
              <a:gd name="connsiteY0" fmla="*/ 214406 h 214405"/>
              <a:gd name="connsiteX1" fmla="*/ 0 w 198092"/>
              <a:gd name="connsiteY1" fmla="*/ 214406 h 214405"/>
              <a:gd name="connsiteX2" fmla="*/ 106037 w 198092"/>
              <a:gd name="connsiteY2" fmla="*/ 107203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7203"/>
                </a:lnTo>
                <a:lnTo>
                  <a:pt x="0" y="0"/>
                </a:lnTo>
                <a:lnTo>
                  <a:pt x="92055" y="0"/>
                </a:lnTo>
                <a:lnTo>
                  <a:pt x="198092" y="104872"/>
                </a:lnTo>
                <a:close/>
              </a:path>
            </a:pathLst>
          </a:custGeom>
          <a:solidFill>
            <a:srgbClr val="EEF2F5"/>
          </a:solidFill>
          <a:ln w="11643" cap="flat">
            <a:noFill/>
            <a:prstDash val="solid"/>
            <a:miter/>
          </a:ln>
        </p:spPr>
        <p:txBody>
          <a:bodyPr rtlCol="0" anchor="ctr"/>
          <a:lstStyle/>
          <a:p>
            <a:endParaRPr lang="de-DE"/>
          </a:p>
        </p:txBody>
      </p:sp>
      <p:sp>
        <p:nvSpPr>
          <p:cNvPr id="447" name="Freihandform: Form 446">
            <a:extLst>
              <a:ext uri="{FF2B5EF4-FFF2-40B4-BE49-F238E27FC236}">
                <a16:creationId xmlns:a16="http://schemas.microsoft.com/office/drawing/2014/main" id="{0755A084-00C6-4064-9BC1-07F7BB9E8B25}"/>
              </a:ext>
            </a:extLst>
          </p:cNvPr>
          <p:cNvSpPr/>
          <p:nvPr userDrawn="1"/>
        </p:nvSpPr>
        <p:spPr>
          <a:xfrm>
            <a:off x="8721892" y="5196355"/>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6038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6038"/>
                </a:lnTo>
                <a:close/>
              </a:path>
            </a:pathLst>
          </a:custGeom>
          <a:solidFill>
            <a:srgbClr val="EEF2F5"/>
          </a:solidFill>
          <a:ln w="11643" cap="flat">
            <a:noFill/>
            <a:prstDash val="solid"/>
            <a:miter/>
          </a:ln>
        </p:spPr>
        <p:txBody>
          <a:bodyPr rtlCol="0" anchor="ctr"/>
          <a:lstStyle/>
          <a:p>
            <a:endParaRPr lang="de-DE"/>
          </a:p>
        </p:txBody>
      </p:sp>
      <p:sp>
        <p:nvSpPr>
          <p:cNvPr id="448" name="Freihandform: Form 447">
            <a:extLst>
              <a:ext uri="{FF2B5EF4-FFF2-40B4-BE49-F238E27FC236}">
                <a16:creationId xmlns:a16="http://schemas.microsoft.com/office/drawing/2014/main" id="{EC6887F2-DD05-4AFE-B004-C0A73966DD5E}"/>
              </a:ext>
            </a:extLst>
          </p:cNvPr>
          <p:cNvSpPr/>
          <p:nvPr userDrawn="1"/>
        </p:nvSpPr>
        <p:spPr>
          <a:xfrm>
            <a:off x="8721892" y="5551755"/>
            <a:ext cx="198092" cy="214405"/>
          </a:xfrm>
          <a:custGeom>
            <a:avLst/>
            <a:gdLst>
              <a:gd name="connsiteX0" fmla="*/ 90889 w 198092"/>
              <a:gd name="connsiteY0" fmla="*/ 214406 h 214405"/>
              <a:gd name="connsiteX1" fmla="*/ 0 w 198092"/>
              <a:gd name="connsiteY1" fmla="*/ 214406 h 214405"/>
              <a:gd name="connsiteX2" fmla="*/ 106037 w 198092"/>
              <a:gd name="connsiteY2" fmla="*/ 107203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7203"/>
                </a:lnTo>
                <a:lnTo>
                  <a:pt x="0" y="0"/>
                </a:lnTo>
                <a:lnTo>
                  <a:pt x="92055" y="0"/>
                </a:lnTo>
                <a:lnTo>
                  <a:pt x="198092" y="104872"/>
                </a:lnTo>
                <a:close/>
              </a:path>
            </a:pathLst>
          </a:custGeom>
          <a:solidFill>
            <a:srgbClr val="EEF2F5"/>
          </a:solidFill>
          <a:ln w="11643" cap="flat">
            <a:noFill/>
            <a:prstDash val="solid"/>
            <a:miter/>
          </a:ln>
        </p:spPr>
        <p:txBody>
          <a:bodyPr rtlCol="0" anchor="ctr"/>
          <a:lstStyle/>
          <a:p>
            <a:endParaRPr lang="de-DE"/>
          </a:p>
        </p:txBody>
      </p:sp>
      <p:sp>
        <p:nvSpPr>
          <p:cNvPr id="449" name="Freihandform: Form 448">
            <a:extLst>
              <a:ext uri="{FF2B5EF4-FFF2-40B4-BE49-F238E27FC236}">
                <a16:creationId xmlns:a16="http://schemas.microsoft.com/office/drawing/2014/main" id="{A49E266A-420E-492F-9080-574F846C1DBD}"/>
              </a:ext>
            </a:extLst>
          </p:cNvPr>
          <p:cNvSpPr/>
          <p:nvPr userDrawn="1"/>
        </p:nvSpPr>
        <p:spPr>
          <a:xfrm>
            <a:off x="8721892" y="5905991"/>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6038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6038"/>
                </a:lnTo>
                <a:close/>
              </a:path>
            </a:pathLst>
          </a:custGeom>
          <a:solidFill>
            <a:srgbClr val="EEF2F5"/>
          </a:solidFill>
          <a:ln w="11643" cap="flat">
            <a:noFill/>
            <a:prstDash val="solid"/>
            <a:miter/>
          </a:ln>
        </p:spPr>
        <p:txBody>
          <a:bodyPr rtlCol="0" anchor="ctr"/>
          <a:lstStyle/>
          <a:p>
            <a:endParaRPr lang="de-DE"/>
          </a:p>
        </p:txBody>
      </p:sp>
      <p:sp>
        <p:nvSpPr>
          <p:cNvPr id="450" name="Freihandform: Form 449">
            <a:extLst>
              <a:ext uri="{FF2B5EF4-FFF2-40B4-BE49-F238E27FC236}">
                <a16:creationId xmlns:a16="http://schemas.microsoft.com/office/drawing/2014/main" id="{AEC0C683-94C7-4C89-B770-8C0D416A44C7}"/>
              </a:ext>
            </a:extLst>
          </p:cNvPr>
          <p:cNvSpPr/>
          <p:nvPr userDrawn="1"/>
        </p:nvSpPr>
        <p:spPr>
          <a:xfrm>
            <a:off x="8721892" y="6261391"/>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4872"/>
                </a:lnTo>
                <a:close/>
              </a:path>
            </a:pathLst>
          </a:custGeom>
          <a:solidFill>
            <a:srgbClr val="EEF2F5"/>
          </a:solidFill>
          <a:ln w="11643" cap="flat">
            <a:noFill/>
            <a:prstDash val="solid"/>
            <a:miter/>
          </a:ln>
        </p:spPr>
        <p:txBody>
          <a:bodyPr rtlCol="0" anchor="ctr"/>
          <a:lstStyle/>
          <a:p>
            <a:endParaRPr lang="de-DE"/>
          </a:p>
        </p:txBody>
      </p:sp>
      <p:sp>
        <p:nvSpPr>
          <p:cNvPr id="451" name="Freihandform: Form 450">
            <a:extLst>
              <a:ext uri="{FF2B5EF4-FFF2-40B4-BE49-F238E27FC236}">
                <a16:creationId xmlns:a16="http://schemas.microsoft.com/office/drawing/2014/main" id="{3270C365-CF3A-47A7-889C-ADD47E29F3FB}"/>
              </a:ext>
            </a:extLst>
          </p:cNvPr>
          <p:cNvSpPr/>
          <p:nvPr userDrawn="1"/>
        </p:nvSpPr>
        <p:spPr>
          <a:xfrm>
            <a:off x="8721892" y="6615627"/>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6037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6037"/>
                </a:lnTo>
                <a:close/>
              </a:path>
            </a:pathLst>
          </a:custGeom>
          <a:solidFill>
            <a:srgbClr val="EEF2F5"/>
          </a:solidFill>
          <a:ln w="11643" cap="flat">
            <a:noFill/>
            <a:prstDash val="solid"/>
            <a:miter/>
          </a:ln>
        </p:spPr>
        <p:txBody>
          <a:bodyPr rtlCol="0" anchor="ctr"/>
          <a:lstStyle/>
          <a:p>
            <a:endParaRPr lang="de-DE"/>
          </a:p>
        </p:txBody>
      </p:sp>
      <p:sp>
        <p:nvSpPr>
          <p:cNvPr id="452" name="Freihandform: Form 451">
            <a:extLst>
              <a:ext uri="{FF2B5EF4-FFF2-40B4-BE49-F238E27FC236}">
                <a16:creationId xmlns:a16="http://schemas.microsoft.com/office/drawing/2014/main" id="{26027323-4EC1-4CE3-A800-FC54F6FA3CC5}"/>
              </a:ext>
            </a:extLst>
          </p:cNvPr>
          <p:cNvSpPr/>
          <p:nvPr userDrawn="1"/>
        </p:nvSpPr>
        <p:spPr>
          <a:xfrm>
            <a:off x="9069136" y="1994253"/>
            <a:ext cx="214405" cy="231884"/>
          </a:xfrm>
          <a:custGeom>
            <a:avLst/>
            <a:gdLst>
              <a:gd name="connsiteX0" fmla="*/ 97881 w 214405"/>
              <a:gd name="connsiteY0" fmla="*/ 231884 h 231884"/>
              <a:gd name="connsiteX1" fmla="*/ 0 w 214405"/>
              <a:gd name="connsiteY1" fmla="*/ 231884 h 231884"/>
              <a:gd name="connsiteX2" fmla="*/ 114194 w 214405"/>
              <a:gd name="connsiteY2" fmla="*/ 116525 h 231884"/>
              <a:gd name="connsiteX3" fmla="*/ 0 w 214405"/>
              <a:gd name="connsiteY3" fmla="*/ 0 h 231884"/>
              <a:gd name="connsiteX4" fmla="*/ 100211 w 214405"/>
              <a:gd name="connsiteY4" fmla="*/ 0 h 231884"/>
              <a:gd name="connsiteX5" fmla="*/ 214406 w 214405"/>
              <a:gd name="connsiteY5" fmla="*/ 114194 h 23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1884">
                <a:moveTo>
                  <a:pt x="97881" y="231884"/>
                </a:moveTo>
                <a:lnTo>
                  <a:pt x="0" y="231884"/>
                </a:lnTo>
                <a:lnTo>
                  <a:pt x="114194" y="116525"/>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453" name="Freihandform: Form 452">
            <a:extLst>
              <a:ext uri="{FF2B5EF4-FFF2-40B4-BE49-F238E27FC236}">
                <a16:creationId xmlns:a16="http://schemas.microsoft.com/office/drawing/2014/main" id="{FEAF7BFB-37DF-46E2-B375-619668E31A63}"/>
              </a:ext>
            </a:extLst>
          </p:cNvPr>
          <p:cNvSpPr/>
          <p:nvPr userDrawn="1"/>
        </p:nvSpPr>
        <p:spPr>
          <a:xfrm>
            <a:off x="9069136" y="2348489"/>
            <a:ext cx="214405" cy="233049"/>
          </a:xfrm>
          <a:custGeom>
            <a:avLst/>
            <a:gdLst>
              <a:gd name="connsiteX0" fmla="*/ 97881 w 214405"/>
              <a:gd name="connsiteY0" fmla="*/ 233050 h 233049"/>
              <a:gd name="connsiteX1" fmla="*/ 0 w 214405"/>
              <a:gd name="connsiteY1" fmla="*/ 233050 h 233049"/>
              <a:gd name="connsiteX2" fmla="*/ 114194 w 214405"/>
              <a:gd name="connsiteY2" fmla="*/ 117690 h 233049"/>
              <a:gd name="connsiteX3" fmla="*/ 0 w 214405"/>
              <a:gd name="connsiteY3" fmla="*/ 0 h 233049"/>
              <a:gd name="connsiteX4" fmla="*/ 100211 w 214405"/>
              <a:gd name="connsiteY4" fmla="*/ 0 h 233049"/>
              <a:gd name="connsiteX5" fmla="*/ 214406 w 214405"/>
              <a:gd name="connsiteY5" fmla="*/ 114194 h 23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3048">
                <a:moveTo>
                  <a:pt x="97881" y="233050"/>
                </a:moveTo>
                <a:lnTo>
                  <a:pt x="0" y="233050"/>
                </a:lnTo>
                <a:lnTo>
                  <a:pt x="114194" y="117690"/>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454" name="Freihandform: Form 453">
            <a:extLst>
              <a:ext uri="{FF2B5EF4-FFF2-40B4-BE49-F238E27FC236}">
                <a16:creationId xmlns:a16="http://schemas.microsoft.com/office/drawing/2014/main" id="{FD5C6D0C-1BC8-4A1C-B6D3-6B1F2F12554E}"/>
              </a:ext>
            </a:extLst>
          </p:cNvPr>
          <p:cNvSpPr/>
          <p:nvPr userDrawn="1"/>
        </p:nvSpPr>
        <p:spPr>
          <a:xfrm>
            <a:off x="9069136" y="2703889"/>
            <a:ext cx="214405" cy="231884"/>
          </a:xfrm>
          <a:custGeom>
            <a:avLst/>
            <a:gdLst>
              <a:gd name="connsiteX0" fmla="*/ 97881 w 214405"/>
              <a:gd name="connsiteY0" fmla="*/ 231884 h 231884"/>
              <a:gd name="connsiteX1" fmla="*/ 0 w 214405"/>
              <a:gd name="connsiteY1" fmla="*/ 231884 h 231884"/>
              <a:gd name="connsiteX2" fmla="*/ 114194 w 214405"/>
              <a:gd name="connsiteY2" fmla="*/ 116525 h 231884"/>
              <a:gd name="connsiteX3" fmla="*/ 0 w 214405"/>
              <a:gd name="connsiteY3" fmla="*/ 0 h 231884"/>
              <a:gd name="connsiteX4" fmla="*/ 100211 w 214405"/>
              <a:gd name="connsiteY4" fmla="*/ 0 h 231884"/>
              <a:gd name="connsiteX5" fmla="*/ 214406 w 214405"/>
              <a:gd name="connsiteY5" fmla="*/ 114194 h 23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1884">
                <a:moveTo>
                  <a:pt x="97881" y="231884"/>
                </a:moveTo>
                <a:lnTo>
                  <a:pt x="0" y="231884"/>
                </a:lnTo>
                <a:lnTo>
                  <a:pt x="114194" y="116525"/>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455" name="Freihandform: Form 454">
            <a:extLst>
              <a:ext uri="{FF2B5EF4-FFF2-40B4-BE49-F238E27FC236}">
                <a16:creationId xmlns:a16="http://schemas.microsoft.com/office/drawing/2014/main" id="{A78779BD-37D4-49F3-88CC-B8EBBFCA2551}"/>
              </a:ext>
            </a:extLst>
          </p:cNvPr>
          <p:cNvSpPr/>
          <p:nvPr userDrawn="1"/>
        </p:nvSpPr>
        <p:spPr>
          <a:xfrm>
            <a:off x="9069136" y="3058125"/>
            <a:ext cx="214405" cy="233049"/>
          </a:xfrm>
          <a:custGeom>
            <a:avLst/>
            <a:gdLst>
              <a:gd name="connsiteX0" fmla="*/ 97881 w 214405"/>
              <a:gd name="connsiteY0" fmla="*/ 233050 h 233049"/>
              <a:gd name="connsiteX1" fmla="*/ 0 w 214405"/>
              <a:gd name="connsiteY1" fmla="*/ 233050 h 233049"/>
              <a:gd name="connsiteX2" fmla="*/ 114194 w 214405"/>
              <a:gd name="connsiteY2" fmla="*/ 117690 h 233049"/>
              <a:gd name="connsiteX3" fmla="*/ 0 w 214405"/>
              <a:gd name="connsiteY3" fmla="*/ 0 h 233049"/>
              <a:gd name="connsiteX4" fmla="*/ 100211 w 214405"/>
              <a:gd name="connsiteY4" fmla="*/ 0 h 233049"/>
              <a:gd name="connsiteX5" fmla="*/ 214406 w 214405"/>
              <a:gd name="connsiteY5" fmla="*/ 114194 h 23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3048">
                <a:moveTo>
                  <a:pt x="97881" y="233050"/>
                </a:moveTo>
                <a:lnTo>
                  <a:pt x="0" y="233050"/>
                </a:lnTo>
                <a:lnTo>
                  <a:pt x="114194" y="117690"/>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456" name="Freihandform: Form 455">
            <a:extLst>
              <a:ext uri="{FF2B5EF4-FFF2-40B4-BE49-F238E27FC236}">
                <a16:creationId xmlns:a16="http://schemas.microsoft.com/office/drawing/2014/main" id="{ADF13FA3-CD5F-4BCC-8A70-81E183EC3EB7}"/>
              </a:ext>
            </a:extLst>
          </p:cNvPr>
          <p:cNvSpPr/>
          <p:nvPr userDrawn="1"/>
        </p:nvSpPr>
        <p:spPr>
          <a:xfrm>
            <a:off x="9069136" y="3413526"/>
            <a:ext cx="214405" cy="231884"/>
          </a:xfrm>
          <a:custGeom>
            <a:avLst/>
            <a:gdLst>
              <a:gd name="connsiteX0" fmla="*/ 97881 w 214405"/>
              <a:gd name="connsiteY0" fmla="*/ 231884 h 231884"/>
              <a:gd name="connsiteX1" fmla="*/ 0 w 214405"/>
              <a:gd name="connsiteY1" fmla="*/ 231884 h 231884"/>
              <a:gd name="connsiteX2" fmla="*/ 114194 w 214405"/>
              <a:gd name="connsiteY2" fmla="*/ 116525 h 231884"/>
              <a:gd name="connsiteX3" fmla="*/ 0 w 214405"/>
              <a:gd name="connsiteY3" fmla="*/ 0 h 231884"/>
              <a:gd name="connsiteX4" fmla="*/ 100211 w 214405"/>
              <a:gd name="connsiteY4" fmla="*/ 0 h 231884"/>
              <a:gd name="connsiteX5" fmla="*/ 214406 w 214405"/>
              <a:gd name="connsiteY5" fmla="*/ 114194 h 23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1884">
                <a:moveTo>
                  <a:pt x="97881" y="231884"/>
                </a:moveTo>
                <a:lnTo>
                  <a:pt x="0" y="231884"/>
                </a:lnTo>
                <a:lnTo>
                  <a:pt x="114194" y="116525"/>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457" name="Freihandform: Form 456">
            <a:extLst>
              <a:ext uri="{FF2B5EF4-FFF2-40B4-BE49-F238E27FC236}">
                <a16:creationId xmlns:a16="http://schemas.microsoft.com/office/drawing/2014/main" id="{C201908D-C044-4D76-8D1A-438321DC7D12}"/>
              </a:ext>
            </a:extLst>
          </p:cNvPr>
          <p:cNvSpPr/>
          <p:nvPr userDrawn="1"/>
        </p:nvSpPr>
        <p:spPr>
          <a:xfrm>
            <a:off x="9069136" y="3767761"/>
            <a:ext cx="214405" cy="233049"/>
          </a:xfrm>
          <a:custGeom>
            <a:avLst/>
            <a:gdLst>
              <a:gd name="connsiteX0" fmla="*/ 97881 w 214405"/>
              <a:gd name="connsiteY0" fmla="*/ 233050 h 233049"/>
              <a:gd name="connsiteX1" fmla="*/ 0 w 214405"/>
              <a:gd name="connsiteY1" fmla="*/ 233050 h 233049"/>
              <a:gd name="connsiteX2" fmla="*/ 114194 w 214405"/>
              <a:gd name="connsiteY2" fmla="*/ 117690 h 233049"/>
              <a:gd name="connsiteX3" fmla="*/ 0 w 214405"/>
              <a:gd name="connsiteY3" fmla="*/ 0 h 233049"/>
              <a:gd name="connsiteX4" fmla="*/ 100211 w 214405"/>
              <a:gd name="connsiteY4" fmla="*/ 0 h 233049"/>
              <a:gd name="connsiteX5" fmla="*/ 214406 w 214405"/>
              <a:gd name="connsiteY5" fmla="*/ 114194 h 23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3048">
                <a:moveTo>
                  <a:pt x="97881" y="233050"/>
                </a:moveTo>
                <a:lnTo>
                  <a:pt x="0" y="233050"/>
                </a:lnTo>
                <a:lnTo>
                  <a:pt x="114194" y="117690"/>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458" name="Freihandform: Form 457">
            <a:extLst>
              <a:ext uri="{FF2B5EF4-FFF2-40B4-BE49-F238E27FC236}">
                <a16:creationId xmlns:a16="http://schemas.microsoft.com/office/drawing/2014/main" id="{D66CA348-96DF-49E0-9A09-19D76A480531}"/>
              </a:ext>
            </a:extLst>
          </p:cNvPr>
          <p:cNvSpPr/>
          <p:nvPr userDrawn="1"/>
        </p:nvSpPr>
        <p:spPr>
          <a:xfrm>
            <a:off x="9069136" y="4123162"/>
            <a:ext cx="214405" cy="231884"/>
          </a:xfrm>
          <a:custGeom>
            <a:avLst/>
            <a:gdLst>
              <a:gd name="connsiteX0" fmla="*/ 97881 w 214405"/>
              <a:gd name="connsiteY0" fmla="*/ 231884 h 231884"/>
              <a:gd name="connsiteX1" fmla="*/ 0 w 214405"/>
              <a:gd name="connsiteY1" fmla="*/ 231884 h 231884"/>
              <a:gd name="connsiteX2" fmla="*/ 114194 w 214405"/>
              <a:gd name="connsiteY2" fmla="*/ 116525 h 231884"/>
              <a:gd name="connsiteX3" fmla="*/ 0 w 214405"/>
              <a:gd name="connsiteY3" fmla="*/ 0 h 231884"/>
              <a:gd name="connsiteX4" fmla="*/ 100211 w 214405"/>
              <a:gd name="connsiteY4" fmla="*/ 0 h 231884"/>
              <a:gd name="connsiteX5" fmla="*/ 214406 w 214405"/>
              <a:gd name="connsiteY5" fmla="*/ 114194 h 23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1884">
                <a:moveTo>
                  <a:pt x="97881" y="231884"/>
                </a:moveTo>
                <a:lnTo>
                  <a:pt x="0" y="231884"/>
                </a:lnTo>
                <a:lnTo>
                  <a:pt x="114194" y="116525"/>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459" name="Freihandform: Form 458">
            <a:extLst>
              <a:ext uri="{FF2B5EF4-FFF2-40B4-BE49-F238E27FC236}">
                <a16:creationId xmlns:a16="http://schemas.microsoft.com/office/drawing/2014/main" id="{73DB73DF-6673-48E9-B28E-8EC17635427D}"/>
              </a:ext>
            </a:extLst>
          </p:cNvPr>
          <p:cNvSpPr/>
          <p:nvPr userDrawn="1"/>
        </p:nvSpPr>
        <p:spPr>
          <a:xfrm>
            <a:off x="9069136" y="4477397"/>
            <a:ext cx="214405" cy="233049"/>
          </a:xfrm>
          <a:custGeom>
            <a:avLst/>
            <a:gdLst>
              <a:gd name="connsiteX0" fmla="*/ 97881 w 214405"/>
              <a:gd name="connsiteY0" fmla="*/ 233050 h 233049"/>
              <a:gd name="connsiteX1" fmla="*/ 0 w 214405"/>
              <a:gd name="connsiteY1" fmla="*/ 233050 h 233049"/>
              <a:gd name="connsiteX2" fmla="*/ 114194 w 214405"/>
              <a:gd name="connsiteY2" fmla="*/ 117690 h 233049"/>
              <a:gd name="connsiteX3" fmla="*/ 0 w 214405"/>
              <a:gd name="connsiteY3" fmla="*/ 0 h 233049"/>
              <a:gd name="connsiteX4" fmla="*/ 100211 w 214405"/>
              <a:gd name="connsiteY4" fmla="*/ 0 h 233049"/>
              <a:gd name="connsiteX5" fmla="*/ 214406 w 214405"/>
              <a:gd name="connsiteY5" fmla="*/ 114194 h 23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3048">
                <a:moveTo>
                  <a:pt x="97881" y="233050"/>
                </a:moveTo>
                <a:lnTo>
                  <a:pt x="0" y="233050"/>
                </a:lnTo>
                <a:lnTo>
                  <a:pt x="114194" y="117690"/>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460" name="Freihandform: Form 459">
            <a:extLst>
              <a:ext uri="{FF2B5EF4-FFF2-40B4-BE49-F238E27FC236}">
                <a16:creationId xmlns:a16="http://schemas.microsoft.com/office/drawing/2014/main" id="{2AC000E1-63D7-4436-A71E-7F6A5657A1C6}"/>
              </a:ext>
            </a:extLst>
          </p:cNvPr>
          <p:cNvSpPr/>
          <p:nvPr userDrawn="1"/>
        </p:nvSpPr>
        <p:spPr>
          <a:xfrm>
            <a:off x="9069136" y="4832797"/>
            <a:ext cx="214405" cy="231884"/>
          </a:xfrm>
          <a:custGeom>
            <a:avLst/>
            <a:gdLst>
              <a:gd name="connsiteX0" fmla="*/ 97881 w 214405"/>
              <a:gd name="connsiteY0" fmla="*/ 231884 h 231884"/>
              <a:gd name="connsiteX1" fmla="*/ 0 w 214405"/>
              <a:gd name="connsiteY1" fmla="*/ 231884 h 231884"/>
              <a:gd name="connsiteX2" fmla="*/ 114194 w 214405"/>
              <a:gd name="connsiteY2" fmla="*/ 116525 h 231884"/>
              <a:gd name="connsiteX3" fmla="*/ 0 w 214405"/>
              <a:gd name="connsiteY3" fmla="*/ 0 h 231884"/>
              <a:gd name="connsiteX4" fmla="*/ 100211 w 214405"/>
              <a:gd name="connsiteY4" fmla="*/ 0 h 231884"/>
              <a:gd name="connsiteX5" fmla="*/ 214406 w 214405"/>
              <a:gd name="connsiteY5" fmla="*/ 114194 h 23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1884">
                <a:moveTo>
                  <a:pt x="97881" y="231884"/>
                </a:moveTo>
                <a:lnTo>
                  <a:pt x="0" y="231884"/>
                </a:lnTo>
                <a:lnTo>
                  <a:pt x="114194" y="116525"/>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461" name="Freihandform: Form 460">
            <a:extLst>
              <a:ext uri="{FF2B5EF4-FFF2-40B4-BE49-F238E27FC236}">
                <a16:creationId xmlns:a16="http://schemas.microsoft.com/office/drawing/2014/main" id="{D1CABC6A-77D1-495C-8BC3-9779693109C5}"/>
              </a:ext>
            </a:extLst>
          </p:cNvPr>
          <p:cNvSpPr/>
          <p:nvPr userDrawn="1"/>
        </p:nvSpPr>
        <p:spPr>
          <a:xfrm>
            <a:off x="9069136" y="5187033"/>
            <a:ext cx="214405" cy="233049"/>
          </a:xfrm>
          <a:custGeom>
            <a:avLst/>
            <a:gdLst>
              <a:gd name="connsiteX0" fmla="*/ 97881 w 214405"/>
              <a:gd name="connsiteY0" fmla="*/ 233050 h 233049"/>
              <a:gd name="connsiteX1" fmla="*/ 0 w 214405"/>
              <a:gd name="connsiteY1" fmla="*/ 233050 h 233049"/>
              <a:gd name="connsiteX2" fmla="*/ 114194 w 214405"/>
              <a:gd name="connsiteY2" fmla="*/ 117690 h 233049"/>
              <a:gd name="connsiteX3" fmla="*/ 0 w 214405"/>
              <a:gd name="connsiteY3" fmla="*/ 0 h 233049"/>
              <a:gd name="connsiteX4" fmla="*/ 100211 w 214405"/>
              <a:gd name="connsiteY4" fmla="*/ 0 h 233049"/>
              <a:gd name="connsiteX5" fmla="*/ 214406 w 214405"/>
              <a:gd name="connsiteY5" fmla="*/ 114194 h 23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3048">
                <a:moveTo>
                  <a:pt x="97881" y="233050"/>
                </a:moveTo>
                <a:lnTo>
                  <a:pt x="0" y="233050"/>
                </a:lnTo>
                <a:lnTo>
                  <a:pt x="114194" y="117690"/>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462" name="Freihandform: Form 461">
            <a:extLst>
              <a:ext uri="{FF2B5EF4-FFF2-40B4-BE49-F238E27FC236}">
                <a16:creationId xmlns:a16="http://schemas.microsoft.com/office/drawing/2014/main" id="{7EAB2106-7444-47F6-AF61-2FC7C13BD6CC}"/>
              </a:ext>
            </a:extLst>
          </p:cNvPr>
          <p:cNvSpPr/>
          <p:nvPr userDrawn="1"/>
        </p:nvSpPr>
        <p:spPr>
          <a:xfrm>
            <a:off x="9069136" y="5542434"/>
            <a:ext cx="214405" cy="231884"/>
          </a:xfrm>
          <a:custGeom>
            <a:avLst/>
            <a:gdLst>
              <a:gd name="connsiteX0" fmla="*/ 97881 w 214405"/>
              <a:gd name="connsiteY0" fmla="*/ 231884 h 231884"/>
              <a:gd name="connsiteX1" fmla="*/ 0 w 214405"/>
              <a:gd name="connsiteY1" fmla="*/ 231884 h 231884"/>
              <a:gd name="connsiteX2" fmla="*/ 114194 w 214405"/>
              <a:gd name="connsiteY2" fmla="*/ 117690 h 231884"/>
              <a:gd name="connsiteX3" fmla="*/ 0 w 214405"/>
              <a:gd name="connsiteY3" fmla="*/ 0 h 231884"/>
              <a:gd name="connsiteX4" fmla="*/ 100211 w 214405"/>
              <a:gd name="connsiteY4" fmla="*/ 0 h 231884"/>
              <a:gd name="connsiteX5" fmla="*/ 214406 w 214405"/>
              <a:gd name="connsiteY5" fmla="*/ 114194 h 23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1884">
                <a:moveTo>
                  <a:pt x="97881" y="231884"/>
                </a:moveTo>
                <a:lnTo>
                  <a:pt x="0" y="231884"/>
                </a:lnTo>
                <a:lnTo>
                  <a:pt x="114194" y="117690"/>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463" name="Freihandform: Form 462">
            <a:extLst>
              <a:ext uri="{FF2B5EF4-FFF2-40B4-BE49-F238E27FC236}">
                <a16:creationId xmlns:a16="http://schemas.microsoft.com/office/drawing/2014/main" id="{3AB53398-93E1-4699-9310-0395816CB2E8}"/>
              </a:ext>
            </a:extLst>
          </p:cNvPr>
          <p:cNvSpPr/>
          <p:nvPr userDrawn="1"/>
        </p:nvSpPr>
        <p:spPr>
          <a:xfrm>
            <a:off x="9069136" y="5896669"/>
            <a:ext cx="214405" cy="233049"/>
          </a:xfrm>
          <a:custGeom>
            <a:avLst/>
            <a:gdLst>
              <a:gd name="connsiteX0" fmla="*/ 97881 w 214405"/>
              <a:gd name="connsiteY0" fmla="*/ 233050 h 233049"/>
              <a:gd name="connsiteX1" fmla="*/ 0 w 214405"/>
              <a:gd name="connsiteY1" fmla="*/ 233050 h 233049"/>
              <a:gd name="connsiteX2" fmla="*/ 114194 w 214405"/>
              <a:gd name="connsiteY2" fmla="*/ 117690 h 233049"/>
              <a:gd name="connsiteX3" fmla="*/ 0 w 214405"/>
              <a:gd name="connsiteY3" fmla="*/ 0 h 233049"/>
              <a:gd name="connsiteX4" fmla="*/ 100211 w 214405"/>
              <a:gd name="connsiteY4" fmla="*/ 0 h 233049"/>
              <a:gd name="connsiteX5" fmla="*/ 214406 w 214405"/>
              <a:gd name="connsiteY5" fmla="*/ 114194 h 23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3048">
                <a:moveTo>
                  <a:pt x="97881" y="233050"/>
                </a:moveTo>
                <a:lnTo>
                  <a:pt x="0" y="233050"/>
                </a:lnTo>
                <a:lnTo>
                  <a:pt x="114194" y="117690"/>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464" name="Freihandform: Form 463">
            <a:extLst>
              <a:ext uri="{FF2B5EF4-FFF2-40B4-BE49-F238E27FC236}">
                <a16:creationId xmlns:a16="http://schemas.microsoft.com/office/drawing/2014/main" id="{4CCB3846-2B55-4B55-BF75-8867C7C59B82}"/>
              </a:ext>
            </a:extLst>
          </p:cNvPr>
          <p:cNvSpPr/>
          <p:nvPr userDrawn="1"/>
        </p:nvSpPr>
        <p:spPr>
          <a:xfrm>
            <a:off x="9069136" y="6252070"/>
            <a:ext cx="214405" cy="233049"/>
          </a:xfrm>
          <a:custGeom>
            <a:avLst/>
            <a:gdLst>
              <a:gd name="connsiteX0" fmla="*/ 97881 w 214405"/>
              <a:gd name="connsiteY0" fmla="*/ 233050 h 233049"/>
              <a:gd name="connsiteX1" fmla="*/ 0 w 214405"/>
              <a:gd name="connsiteY1" fmla="*/ 233050 h 233049"/>
              <a:gd name="connsiteX2" fmla="*/ 114194 w 214405"/>
              <a:gd name="connsiteY2" fmla="*/ 117690 h 233049"/>
              <a:gd name="connsiteX3" fmla="*/ 0 w 214405"/>
              <a:gd name="connsiteY3" fmla="*/ 0 h 233049"/>
              <a:gd name="connsiteX4" fmla="*/ 100211 w 214405"/>
              <a:gd name="connsiteY4" fmla="*/ 0 h 233049"/>
              <a:gd name="connsiteX5" fmla="*/ 214406 w 214405"/>
              <a:gd name="connsiteY5" fmla="*/ 114194 h 23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3048">
                <a:moveTo>
                  <a:pt x="97881" y="233050"/>
                </a:moveTo>
                <a:lnTo>
                  <a:pt x="0" y="233050"/>
                </a:lnTo>
                <a:lnTo>
                  <a:pt x="114194" y="117690"/>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465" name="Freihandform: Form 464">
            <a:extLst>
              <a:ext uri="{FF2B5EF4-FFF2-40B4-BE49-F238E27FC236}">
                <a16:creationId xmlns:a16="http://schemas.microsoft.com/office/drawing/2014/main" id="{40A79061-F4B0-42D9-9BD3-FD4BCED5445B}"/>
              </a:ext>
            </a:extLst>
          </p:cNvPr>
          <p:cNvSpPr/>
          <p:nvPr userDrawn="1"/>
        </p:nvSpPr>
        <p:spPr>
          <a:xfrm>
            <a:off x="9069136" y="6607470"/>
            <a:ext cx="214405" cy="231884"/>
          </a:xfrm>
          <a:custGeom>
            <a:avLst/>
            <a:gdLst>
              <a:gd name="connsiteX0" fmla="*/ 97881 w 214405"/>
              <a:gd name="connsiteY0" fmla="*/ 231884 h 231884"/>
              <a:gd name="connsiteX1" fmla="*/ 0 w 214405"/>
              <a:gd name="connsiteY1" fmla="*/ 231884 h 231884"/>
              <a:gd name="connsiteX2" fmla="*/ 114194 w 214405"/>
              <a:gd name="connsiteY2" fmla="*/ 116525 h 231884"/>
              <a:gd name="connsiteX3" fmla="*/ 0 w 214405"/>
              <a:gd name="connsiteY3" fmla="*/ 0 h 231884"/>
              <a:gd name="connsiteX4" fmla="*/ 100211 w 214405"/>
              <a:gd name="connsiteY4" fmla="*/ 0 h 231884"/>
              <a:gd name="connsiteX5" fmla="*/ 214406 w 214405"/>
              <a:gd name="connsiteY5" fmla="*/ 114194 h 23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1884">
                <a:moveTo>
                  <a:pt x="97881" y="231884"/>
                </a:moveTo>
                <a:lnTo>
                  <a:pt x="0" y="231884"/>
                </a:lnTo>
                <a:lnTo>
                  <a:pt x="114194" y="116525"/>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466" name="Freihandform: Form 465">
            <a:extLst>
              <a:ext uri="{FF2B5EF4-FFF2-40B4-BE49-F238E27FC236}">
                <a16:creationId xmlns:a16="http://schemas.microsoft.com/office/drawing/2014/main" id="{943EE673-B8FD-4F26-8BD5-4324C5F8C0F6}"/>
              </a:ext>
            </a:extLst>
          </p:cNvPr>
          <p:cNvSpPr/>
          <p:nvPr userDrawn="1"/>
        </p:nvSpPr>
        <p:spPr>
          <a:xfrm>
            <a:off x="9415215" y="1984931"/>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2351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5847"/>
                </a:lnTo>
                <a:lnTo>
                  <a:pt x="0" y="0"/>
                </a:lnTo>
                <a:lnTo>
                  <a:pt x="108368" y="0"/>
                </a:lnTo>
                <a:lnTo>
                  <a:pt x="230719" y="122351"/>
                </a:lnTo>
                <a:close/>
              </a:path>
            </a:pathLst>
          </a:custGeom>
          <a:solidFill>
            <a:srgbClr val="EEF2F5"/>
          </a:solidFill>
          <a:ln w="11643" cap="flat">
            <a:noFill/>
            <a:prstDash val="solid"/>
            <a:miter/>
          </a:ln>
        </p:spPr>
        <p:txBody>
          <a:bodyPr rtlCol="0" anchor="ctr"/>
          <a:lstStyle/>
          <a:p>
            <a:endParaRPr lang="de-DE"/>
          </a:p>
        </p:txBody>
      </p:sp>
      <p:sp>
        <p:nvSpPr>
          <p:cNvPr id="467" name="Freihandform: Form 466">
            <a:extLst>
              <a:ext uri="{FF2B5EF4-FFF2-40B4-BE49-F238E27FC236}">
                <a16:creationId xmlns:a16="http://schemas.microsoft.com/office/drawing/2014/main" id="{87A53D99-9883-4DF3-8F12-7929E8D22C53}"/>
              </a:ext>
            </a:extLst>
          </p:cNvPr>
          <p:cNvSpPr/>
          <p:nvPr userDrawn="1"/>
        </p:nvSpPr>
        <p:spPr>
          <a:xfrm>
            <a:off x="9415215" y="2339167"/>
            <a:ext cx="230718" cy="250528"/>
          </a:xfrm>
          <a:custGeom>
            <a:avLst/>
            <a:gdLst>
              <a:gd name="connsiteX0" fmla="*/ 106037 w 230718"/>
              <a:gd name="connsiteY0" fmla="*/ 250528 h 250528"/>
              <a:gd name="connsiteX1" fmla="*/ 0 w 230718"/>
              <a:gd name="connsiteY1" fmla="*/ 250528 h 250528"/>
              <a:gd name="connsiteX2" fmla="*/ 123516 w 230718"/>
              <a:gd name="connsiteY2" fmla="*/ 127012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7012"/>
                </a:lnTo>
                <a:lnTo>
                  <a:pt x="0" y="0"/>
                </a:lnTo>
                <a:lnTo>
                  <a:pt x="108368" y="0"/>
                </a:lnTo>
                <a:lnTo>
                  <a:pt x="230719" y="123516"/>
                </a:lnTo>
                <a:close/>
              </a:path>
            </a:pathLst>
          </a:custGeom>
          <a:solidFill>
            <a:srgbClr val="EEF2F5"/>
          </a:solidFill>
          <a:ln w="11643" cap="flat">
            <a:noFill/>
            <a:prstDash val="solid"/>
            <a:miter/>
          </a:ln>
        </p:spPr>
        <p:txBody>
          <a:bodyPr rtlCol="0" anchor="ctr"/>
          <a:lstStyle/>
          <a:p>
            <a:endParaRPr lang="de-DE"/>
          </a:p>
        </p:txBody>
      </p:sp>
      <p:sp>
        <p:nvSpPr>
          <p:cNvPr id="468" name="Freihandform: Form 467">
            <a:extLst>
              <a:ext uri="{FF2B5EF4-FFF2-40B4-BE49-F238E27FC236}">
                <a16:creationId xmlns:a16="http://schemas.microsoft.com/office/drawing/2014/main" id="{63252D08-D82D-4E5D-B69D-3C692A2048C4}"/>
              </a:ext>
            </a:extLst>
          </p:cNvPr>
          <p:cNvSpPr/>
          <p:nvPr userDrawn="1"/>
        </p:nvSpPr>
        <p:spPr>
          <a:xfrm>
            <a:off x="9415215" y="2694568"/>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5847"/>
                </a:lnTo>
                <a:lnTo>
                  <a:pt x="0" y="0"/>
                </a:lnTo>
                <a:lnTo>
                  <a:pt x="108368" y="0"/>
                </a:lnTo>
                <a:lnTo>
                  <a:pt x="230719" y="123516"/>
                </a:lnTo>
                <a:close/>
              </a:path>
            </a:pathLst>
          </a:custGeom>
          <a:solidFill>
            <a:srgbClr val="EEF2F5"/>
          </a:solidFill>
          <a:ln w="11643" cap="flat">
            <a:noFill/>
            <a:prstDash val="solid"/>
            <a:miter/>
          </a:ln>
        </p:spPr>
        <p:txBody>
          <a:bodyPr rtlCol="0" anchor="ctr"/>
          <a:lstStyle/>
          <a:p>
            <a:endParaRPr lang="de-DE"/>
          </a:p>
        </p:txBody>
      </p:sp>
      <p:sp>
        <p:nvSpPr>
          <p:cNvPr id="469" name="Freihandform: Form 468">
            <a:extLst>
              <a:ext uri="{FF2B5EF4-FFF2-40B4-BE49-F238E27FC236}">
                <a16:creationId xmlns:a16="http://schemas.microsoft.com/office/drawing/2014/main" id="{2D96FD4E-6BD4-4E95-B758-5237E3AF6CAC}"/>
              </a:ext>
            </a:extLst>
          </p:cNvPr>
          <p:cNvSpPr/>
          <p:nvPr userDrawn="1"/>
        </p:nvSpPr>
        <p:spPr>
          <a:xfrm>
            <a:off x="9415215" y="3048803"/>
            <a:ext cx="230718" cy="250528"/>
          </a:xfrm>
          <a:custGeom>
            <a:avLst/>
            <a:gdLst>
              <a:gd name="connsiteX0" fmla="*/ 106037 w 230718"/>
              <a:gd name="connsiteY0" fmla="*/ 250528 h 250528"/>
              <a:gd name="connsiteX1" fmla="*/ 0 w 230718"/>
              <a:gd name="connsiteY1" fmla="*/ 250528 h 250528"/>
              <a:gd name="connsiteX2" fmla="*/ 123516 w 230718"/>
              <a:gd name="connsiteY2" fmla="*/ 127012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7012"/>
                </a:lnTo>
                <a:lnTo>
                  <a:pt x="0" y="0"/>
                </a:lnTo>
                <a:lnTo>
                  <a:pt x="108368" y="0"/>
                </a:lnTo>
                <a:lnTo>
                  <a:pt x="230719" y="123516"/>
                </a:lnTo>
                <a:close/>
              </a:path>
            </a:pathLst>
          </a:custGeom>
          <a:solidFill>
            <a:srgbClr val="EEF2F5"/>
          </a:solidFill>
          <a:ln w="11643" cap="flat">
            <a:noFill/>
            <a:prstDash val="solid"/>
            <a:miter/>
          </a:ln>
        </p:spPr>
        <p:txBody>
          <a:bodyPr rtlCol="0" anchor="ctr"/>
          <a:lstStyle/>
          <a:p>
            <a:endParaRPr lang="de-DE"/>
          </a:p>
        </p:txBody>
      </p:sp>
      <p:sp>
        <p:nvSpPr>
          <p:cNvPr id="470" name="Freihandform: Form 469">
            <a:extLst>
              <a:ext uri="{FF2B5EF4-FFF2-40B4-BE49-F238E27FC236}">
                <a16:creationId xmlns:a16="http://schemas.microsoft.com/office/drawing/2014/main" id="{E226C185-80E2-4945-B19A-87F6D324436B}"/>
              </a:ext>
            </a:extLst>
          </p:cNvPr>
          <p:cNvSpPr/>
          <p:nvPr userDrawn="1"/>
        </p:nvSpPr>
        <p:spPr>
          <a:xfrm>
            <a:off x="9415215" y="3404203"/>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5847"/>
                </a:lnTo>
                <a:lnTo>
                  <a:pt x="0" y="0"/>
                </a:lnTo>
                <a:lnTo>
                  <a:pt x="108368" y="0"/>
                </a:lnTo>
                <a:lnTo>
                  <a:pt x="230719" y="123516"/>
                </a:lnTo>
                <a:close/>
              </a:path>
            </a:pathLst>
          </a:custGeom>
          <a:solidFill>
            <a:srgbClr val="EEF2F5"/>
          </a:solidFill>
          <a:ln w="11643" cap="flat">
            <a:noFill/>
            <a:prstDash val="solid"/>
            <a:miter/>
          </a:ln>
        </p:spPr>
        <p:txBody>
          <a:bodyPr rtlCol="0" anchor="ctr"/>
          <a:lstStyle/>
          <a:p>
            <a:endParaRPr lang="de-DE"/>
          </a:p>
        </p:txBody>
      </p:sp>
      <p:sp>
        <p:nvSpPr>
          <p:cNvPr id="471" name="Freihandform: Form 470">
            <a:extLst>
              <a:ext uri="{FF2B5EF4-FFF2-40B4-BE49-F238E27FC236}">
                <a16:creationId xmlns:a16="http://schemas.microsoft.com/office/drawing/2014/main" id="{8216F4B4-E4AF-4EE5-A82E-249143E44EB1}"/>
              </a:ext>
            </a:extLst>
          </p:cNvPr>
          <p:cNvSpPr/>
          <p:nvPr userDrawn="1"/>
        </p:nvSpPr>
        <p:spPr>
          <a:xfrm>
            <a:off x="9415215" y="3758439"/>
            <a:ext cx="230718" cy="251693"/>
          </a:xfrm>
          <a:custGeom>
            <a:avLst/>
            <a:gdLst>
              <a:gd name="connsiteX0" fmla="*/ 106037 w 230718"/>
              <a:gd name="connsiteY0" fmla="*/ 251694 h 251693"/>
              <a:gd name="connsiteX1" fmla="*/ 0 w 230718"/>
              <a:gd name="connsiteY1" fmla="*/ 251694 h 251693"/>
              <a:gd name="connsiteX2" fmla="*/ 123516 w 230718"/>
              <a:gd name="connsiteY2" fmla="*/ 127012 h 251693"/>
              <a:gd name="connsiteX3" fmla="*/ 0 w 230718"/>
              <a:gd name="connsiteY3" fmla="*/ 0 h 251693"/>
              <a:gd name="connsiteX4" fmla="*/ 108368 w 230718"/>
              <a:gd name="connsiteY4" fmla="*/ 0 h 251693"/>
              <a:gd name="connsiteX5" fmla="*/ 230719 w 230718"/>
              <a:gd name="connsiteY5" fmla="*/ 123516 h 251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1693">
                <a:moveTo>
                  <a:pt x="106037" y="251694"/>
                </a:moveTo>
                <a:lnTo>
                  <a:pt x="0" y="251694"/>
                </a:lnTo>
                <a:lnTo>
                  <a:pt x="123516" y="127012"/>
                </a:lnTo>
                <a:lnTo>
                  <a:pt x="0" y="0"/>
                </a:lnTo>
                <a:lnTo>
                  <a:pt x="108368" y="0"/>
                </a:lnTo>
                <a:lnTo>
                  <a:pt x="230719" y="123516"/>
                </a:lnTo>
                <a:close/>
              </a:path>
            </a:pathLst>
          </a:custGeom>
          <a:solidFill>
            <a:srgbClr val="EEF2F5"/>
          </a:solidFill>
          <a:ln w="11643" cap="flat">
            <a:noFill/>
            <a:prstDash val="solid"/>
            <a:miter/>
          </a:ln>
        </p:spPr>
        <p:txBody>
          <a:bodyPr rtlCol="0" anchor="ctr"/>
          <a:lstStyle/>
          <a:p>
            <a:endParaRPr lang="de-DE"/>
          </a:p>
        </p:txBody>
      </p:sp>
      <p:sp>
        <p:nvSpPr>
          <p:cNvPr id="472" name="Freihandform: Form 471">
            <a:extLst>
              <a:ext uri="{FF2B5EF4-FFF2-40B4-BE49-F238E27FC236}">
                <a16:creationId xmlns:a16="http://schemas.microsoft.com/office/drawing/2014/main" id="{C3611650-5A39-417A-8E28-06A016589A86}"/>
              </a:ext>
            </a:extLst>
          </p:cNvPr>
          <p:cNvSpPr/>
          <p:nvPr userDrawn="1"/>
        </p:nvSpPr>
        <p:spPr>
          <a:xfrm>
            <a:off x="9415215" y="4113840"/>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5847"/>
                </a:lnTo>
                <a:lnTo>
                  <a:pt x="0" y="0"/>
                </a:lnTo>
                <a:lnTo>
                  <a:pt x="108368" y="0"/>
                </a:lnTo>
                <a:lnTo>
                  <a:pt x="230719" y="123516"/>
                </a:lnTo>
                <a:close/>
              </a:path>
            </a:pathLst>
          </a:custGeom>
          <a:solidFill>
            <a:srgbClr val="EEF2F5"/>
          </a:solidFill>
          <a:ln w="11643" cap="flat">
            <a:noFill/>
            <a:prstDash val="solid"/>
            <a:miter/>
          </a:ln>
        </p:spPr>
        <p:txBody>
          <a:bodyPr rtlCol="0" anchor="ctr"/>
          <a:lstStyle/>
          <a:p>
            <a:endParaRPr lang="de-DE"/>
          </a:p>
        </p:txBody>
      </p:sp>
      <p:sp>
        <p:nvSpPr>
          <p:cNvPr id="473" name="Freihandform: Form 472">
            <a:extLst>
              <a:ext uri="{FF2B5EF4-FFF2-40B4-BE49-F238E27FC236}">
                <a16:creationId xmlns:a16="http://schemas.microsoft.com/office/drawing/2014/main" id="{A4834F6A-C40A-4A2D-BB8B-EF97775C175E}"/>
              </a:ext>
            </a:extLst>
          </p:cNvPr>
          <p:cNvSpPr/>
          <p:nvPr userDrawn="1"/>
        </p:nvSpPr>
        <p:spPr>
          <a:xfrm>
            <a:off x="9415215" y="4469240"/>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2351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5847"/>
                </a:lnTo>
                <a:lnTo>
                  <a:pt x="0" y="0"/>
                </a:lnTo>
                <a:lnTo>
                  <a:pt x="108368" y="0"/>
                </a:lnTo>
                <a:lnTo>
                  <a:pt x="230719" y="122351"/>
                </a:lnTo>
                <a:close/>
              </a:path>
            </a:pathLst>
          </a:custGeom>
          <a:solidFill>
            <a:srgbClr val="EEF2F5"/>
          </a:solidFill>
          <a:ln w="11643" cap="flat">
            <a:noFill/>
            <a:prstDash val="solid"/>
            <a:miter/>
          </a:ln>
        </p:spPr>
        <p:txBody>
          <a:bodyPr rtlCol="0" anchor="ctr"/>
          <a:lstStyle/>
          <a:p>
            <a:endParaRPr lang="de-DE"/>
          </a:p>
        </p:txBody>
      </p:sp>
      <p:sp>
        <p:nvSpPr>
          <p:cNvPr id="474" name="Freihandform: Form 473">
            <a:extLst>
              <a:ext uri="{FF2B5EF4-FFF2-40B4-BE49-F238E27FC236}">
                <a16:creationId xmlns:a16="http://schemas.microsoft.com/office/drawing/2014/main" id="{BD3150AE-B016-44F0-AD8A-CC24BB0B8DCC}"/>
              </a:ext>
            </a:extLst>
          </p:cNvPr>
          <p:cNvSpPr/>
          <p:nvPr userDrawn="1"/>
        </p:nvSpPr>
        <p:spPr>
          <a:xfrm>
            <a:off x="9415215" y="4823475"/>
            <a:ext cx="230718" cy="250528"/>
          </a:xfrm>
          <a:custGeom>
            <a:avLst/>
            <a:gdLst>
              <a:gd name="connsiteX0" fmla="*/ 106037 w 230718"/>
              <a:gd name="connsiteY0" fmla="*/ 250528 h 250528"/>
              <a:gd name="connsiteX1" fmla="*/ 0 w 230718"/>
              <a:gd name="connsiteY1" fmla="*/ 250528 h 250528"/>
              <a:gd name="connsiteX2" fmla="*/ 123516 w 230718"/>
              <a:gd name="connsiteY2" fmla="*/ 127012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7012"/>
                </a:lnTo>
                <a:lnTo>
                  <a:pt x="0" y="0"/>
                </a:lnTo>
                <a:lnTo>
                  <a:pt x="108368" y="0"/>
                </a:lnTo>
                <a:lnTo>
                  <a:pt x="230719" y="123516"/>
                </a:lnTo>
                <a:close/>
              </a:path>
            </a:pathLst>
          </a:custGeom>
          <a:solidFill>
            <a:srgbClr val="EEF2F5"/>
          </a:solidFill>
          <a:ln w="11643" cap="flat">
            <a:noFill/>
            <a:prstDash val="solid"/>
            <a:miter/>
          </a:ln>
        </p:spPr>
        <p:txBody>
          <a:bodyPr rtlCol="0" anchor="ctr"/>
          <a:lstStyle/>
          <a:p>
            <a:endParaRPr lang="de-DE"/>
          </a:p>
        </p:txBody>
      </p:sp>
      <p:sp>
        <p:nvSpPr>
          <p:cNvPr id="475" name="Freihandform: Form 474">
            <a:extLst>
              <a:ext uri="{FF2B5EF4-FFF2-40B4-BE49-F238E27FC236}">
                <a16:creationId xmlns:a16="http://schemas.microsoft.com/office/drawing/2014/main" id="{8F46F2FC-CCE2-4282-AA26-153D1EA218A1}"/>
              </a:ext>
            </a:extLst>
          </p:cNvPr>
          <p:cNvSpPr/>
          <p:nvPr userDrawn="1"/>
        </p:nvSpPr>
        <p:spPr>
          <a:xfrm>
            <a:off x="9415215" y="5178876"/>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2351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5847"/>
                </a:lnTo>
                <a:lnTo>
                  <a:pt x="0" y="0"/>
                </a:lnTo>
                <a:lnTo>
                  <a:pt x="108368" y="0"/>
                </a:lnTo>
                <a:lnTo>
                  <a:pt x="230719" y="122351"/>
                </a:lnTo>
                <a:close/>
              </a:path>
            </a:pathLst>
          </a:custGeom>
          <a:solidFill>
            <a:srgbClr val="EEF2F5"/>
          </a:solidFill>
          <a:ln w="11643" cap="flat">
            <a:noFill/>
            <a:prstDash val="solid"/>
            <a:miter/>
          </a:ln>
        </p:spPr>
        <p:txBody>
          <a:bodyPr rtlCol="0" anchor="ctr"/>
          <a:lstStyle/>
          <a:p>
            <a:endParaRPr lang="de-DE"/>
          </a:p>
        </p:txBody>
      </p:sp>
      <p:sp>
        <p:nvSpPr>
          <p:cNvPr id="476" name="Freihandform: Form 475">
            <a:extLst>
              <a:ext uri="{FF2B5EF4-FFF2-40B4-BE49-F238E27FC236}">
                <a16:creationId xmlns:a16="http://schemas.microsoft.com/office/drawing/2014/main" id="{A29055BD-1B52-4B46-A495-DD92BB1DBC0E}"/>
              </a:ext>
            </a:extLst>
          </p:cNvPr>
          <p:cNvSpPr/>
          <p:nvPr userDrawn="1"/>
        </p:nvSpPr>
        <p:spPr>
          <a:xfrm>
            <a:off x="9415215" y="5533111"/>
            <a:ext cx="230718" cy="250528"/>
          </a:xfrm>
          <a:custGeom>
            <a:avLst/>
            <a:gdLst>
              <a:gd name="connsiteX0" fmla="*/ 106037 w 230718"/>
              <a:gd name="connsiteY0" fmla="*/ 250528 h 250528"/>
              <a:gd name="connsiteX1" fmla="*/ 0 w 230718"/>
              <a:gd name="connsiteY1" fmla="*/ 250528 h 250528"/>
              <a:gd name="connsiteX2" fmla="*/ 123516 w 230718"/>
              <a:gd name="connsiteY2" fmla="*/ 127012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7012"/>
                </a:lnTo>
                <a:lnTo>
                  <a:pt x="0" y="0"/>
                </a:lnTo>
                <a:lnTo>
                  <a:pt x="108368" y="0"/>
                </a:lnTo>
                <a:lnTo>
                  <a:pt x="230719" y="123516"/>
                </a:lnTo>
                <a:close/>
              </a:path>
            </a:pathLst>
          </a:custGeom>
          <a:solidFill>
            <a:srgbClr val="EEF2F5"/>
          </a:solidFill>
          <a:ln w="11643" cap="flat">
            <a:noFill/>
            <a:prstDash val="solid"/>
            <a:miter/>
          </a:ln>
        </p:spPr>
        <p:txBody>
          <a:bodyPr rtlCol="0" anchor="ctr"/>
          <a:lstStyle/>
          <a:p>
            <a:endParaRPr lang="de-DE"/>
          </a:p>
        </p:txBody>
      </p:sp>
      <p:sp>
        <p:nvSpPr>
          <p:cNvPr id="477" name="Freihandform: Form 476">
            <a:extLst>
              <a:ext uri="{FF2B5EF4-FFF2-40B4-BE49-F238E27FC236}">
                <a16:creationId xmlns:a16="http://schemas.microsoft.com/office/drawing/2014/main" id="{D44339B8-50B8-4AC9-8B2C-02D44C591DF6}"/>
              </a:ext>
            </a:extLst>
          </p:cNvPr>
          <p:cNvSpPr/>
          <p:nvPr userDrawn="1"/>
        </p:nvSpPr>
        <p:spPr>
          <a:xfrm>
            <a:off x="9415215" y="5888512"/>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2351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5847"/>
                </a:lnTo>
                <a:lnTo>
                  <a:pt x="0" y="0"/>
                </a:lnTo>
                <a:lnTo>
                  <a:pt x="108368" y="0"/>
                </a:lnTo>
                <a:lnTo>
                  <a:pt x="230719" y="122351"/>
                </a:lnTo>
                <a:close/>
              </a:path>
            </a:pathLst>
          </a:custGeom>
          <a:solidFill>
            <a:srgbClr val="EEF2F5"/>
          </a:solidFill>
          <a:ln w="11643" cap="flat">
            <a:noFill/>
            <a:prstDash val="solid"/>
            <a:miter/>
          </a:ln>
        </p:spPr>
        <p:txBody>
          <a:bodyPr rtlCol="0" anchor="ctr"/>
          <a:lstStyle/>
          <a:p>
            <a:endParaRPr lang="de-DE"/>
          </a:p>
        </p:txBody>
      </p:sp>
      <p:sp>
        <p:nvSpPr>
          <p:cNvPr id="478" name="Freihandform: Form 477">
            <a:extLst>
              <a:ext uri="{FF2B5EF4-FFF2-40B4-BE49-F238E27FC236}">
                <a16:creationId xmlns:a16="http://schemas.microsoft.com/office/drawing/2014/main" id="{66AF7D49-3A28-449B-B645-34567CF2F4E2}"/>
              </a:ext>
            </a:extLst>
          </p:cNvPr>
          <p:cNvSpPr/>
          <p:nvPr userDrawn="1"/>
        </p:nvSpPr>
        <p:spPr>
          <a:xfrm>
            <a:off x="9415215" y="6242748"/>
            <a:ext cx="230718" cy="250528"/>
          </a:xfrm>
          <a:custGeom>
            <a:avLst/>
            <a:gdLst>
              <a:gd name="connsiteX0" fmla="*/ 106037 w 230718"/>
              <a:gd name="connsiteY0" fmla="*/ 250528 h 250528"/>
              <a:gd name="connsiteX1" fmla="*/ 0 w 230718"/>
              <a:gd name="connsiteY1" fmla="*/ 250528 h 250528"/>
              <a:gd name="connsiteX2" fmla="*/ 123516 w 230718"/>
              <a:gd name="connsiteY2" fmla="*/ 127012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7012"/>
                </a:lnTo>
                <a:lnTo>
                  <a:pt x="0" y="0"/>
                </a:lnTo>
                <a:lnTo>
                  <a:pt x="108368" y="0"/>
                </a:lnTo>
                <a:lnTo>
                  <a:pt x="230719" y="123516"/>
                </a:lnTo>
                <a:close/>
              </a:path>
            </a:pathLst>
          </a:custGeom>
          <a:solidFill>
            <a:srgbClr val="EEF2F5"/>
          </a:solidFill>
          <a:ln w="11643" cap="flat">
            <a:noFill/>
            <a:prstDash val="solid"/>
            <a:miter/>
          </a:ln>
        </p:spPr>
        <p:txBody>
          <a:bodyPr rtlCol="0" anchor="ctr"/>
          <a:lstStyle/>
          <a:p>
            <a:endParaRPr lang="de-DE"/>
          </a:p>
        </p:txBody>
      </p:sp>
      <p:sp>
        <p:nvSpPr>
          <p:cNvPr id="479" name="Freihandform: Form 478">
            <a:extLst>
              <a:ext uri="{FF2B5EF4-FFF2-40B4-BE49-F238E27FC236}">
                <a16:creationId xmlns:a16="http://schemas.microsoft.com/office/drawing/2014/main" id="{F2247E83-ADCA-4D56-80E1-AFB3483E8B0F}"/>
              </a:ext>
            </a:extLst>
          </p:cNvPr>
          <p:cNvSpPr/>
          <p:nvPr userDrawn="1"/>
        </p:nvSpPr>
        <p:spPr>
          <a:xfrm>
            <a:off x="9415215" y="6598148"/>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2351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5847"/>
                </a:lnTo>
                <a:lnTo>
                  <a:pt x="0" y="0"/>
                </a:lnTo>
                <a:lnTo>
                  <a:pt x="108368" y="0"/>
                </a:lnTo>
                <a:lnTo>
                  <a:pt x="230719" y="122351"/>
                </a:lnTo>
                <a:close/>
              </a:path>
            </a:pathLst>
          </a:custGeom>
          <a:solidFill>
            <a:srgbClr val="EEF2F5"/>
          </a:solidFill>
          <a:ln w="11643" cap="flat">
            <a:noFill/>
            <a:prstDash val="solid"/>
            <a:miter/>
          </a:ln>
        </p:spPr>
        <p:txBody>
          <a:bodyPr rtlCol="0" anchor="ctr"/>
          <a:lstStyle/>
          <a:p>
            <a:endParaRPr lang="de-DE"/>
          </a:p>
        </p:txBody>
      </p:sp>
      <p:sp>
        <p:nvSpPr>
          <p:cNvPr id="480" name="Freihandform: Form 479">
            <a:extLst>
              <a:ext uri="{FF2B5EF4-FFF2-40B4-BE49-F238E27FC236}">
                <a16:creationId xmlns:a16="http://schemas.microsoft.com/office/drawing/2014/main" id="{2A4D62B8-F7F3-4271-9A21-481EA11F2C07}"/>
              </a:ext>
            </a:extLst>
          </p:cNvPr>
          <p:cNvSpPr/>
          <p:nvPr userDrawn="1"/>
        </p:nvSpPr>
        <p:spPr>
          <a:xfrm>
            <a:off x="9761293" y="1975610"/>
            <a:ext cx="248198" cy="269172"/>
          </a:xfrm>
          <a:custGeom>
            <a:avLst/>
            <a:gdLst>
              <a:gd name="connsiteX0" fmla="*/ 114195 w 248198"/>
              <a:gd name="connsiteY0" fmla="*/ 269172 h 269172"/>
              <a:gd name="connsiteX1" fmla="*/ 0 w 248198"/>
              <a:gd name="connsiteY1" fmla="*/ 269172 h 269172"/>
              <a:gd name="connsiteX2" fmla="*/ 132838 w 248198"/>
              <a:gd name="connsiteY2" fmla="*/ 135169 h 269172"/>
              <a:gd name="connsiteX3" fmla="*/ 0 w 248198"/>
              <a:gd name="connsiteY3" fmla="*/ 0 h 269172"/>
              <a:gd name="connsiteX4" fmla="*/ 116525 w 248198"/>
              <a:gd name="connsiteY4" fmla="*/ 0 h 269172"/>
              <a:gd name="connsiteX5" fmla="*/ 248198 w 248198"/>
              <a:gd name="connsiteY5" fmla="*/ 131673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endParaRPr lang="de-DE"/>
          </a:p>
        </p:txBody>
      </p:sp>
      <p:sp>
        <p:nvSpPr>
          <p:cNvPr id="481" name="Freihandform: Form 480">
            <a:extLst>
              <a:ext uri="{FF2B5EF4-FFF2-40B4-BE49-F238E27FC236}">
                <a16:creationId xmlns:a16="http://schemas.microsoft.com/office/drawing/2014/main" id="{4DF1C417-D96B-403C-8543-89A9B26955F5}"/>
              </a:ext>
            </a:extLst>
          </p:cNvPr>
          <p:cNvSpPr/>
          <p:nvPr userDrawn="1"/>
        </p:nvSpPr>
        <p:spPr>
          <a:xfrm>
            <a:off x="9761293" y="2331010"/>
            <a:ext cx="248198" cy="268007"/>
          </a:xfrm>
          <a:custGeom>
            <a:avLst/>
            <a:gdLst>
              <a:gd name="connsiteX0" fmla="*/ 114195 w 248198"/>
              <a:gd name="connsiteY0" fmla="*/ 268007 h 268007"/>
              <a:gd name="connsiteX1" fmla="*/ 0 w 248198"/>
              <a:gd name="connsiteY1" fmla="*/ 268007 h 268007"/>
              <a:gd name="connsiteX2" fmla="*/ 132838 w 248198"/>
              <a:gd name="connsiteY2" fmla="*/ 135169 h 268007"/>
              <a:gd name="connsiteX3" fmla="*/ 0 w 248198"/>
              <a:gd name="connsiteY3" fmla="*/ 0 h 268007"/>
              <a:gd name="connsiteX4" fmla="*/ 116525 w 248198"/>
              <a:gd name="connsiteY4" fmla="*/ 0 h 268007"/>
              <a:gd name="connsiteX5" fmla="*/ 248198 w 248198"/>
              <a:gd name="connsiteY5" fmla="*/ 131673 h 268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8007">
                <a:moveTo>
                  <a:pt x="114195" y="268007"/>
                </a:moveTo>
                <a:lnTo>
                  <a:pt x="0" y="268007"/>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endParaRPr lang="de-DE"/>
          </a:p>
        </p:txBody>
      </p:sp>
      <p:sp>
        <p:nvSpPr>
          <p:cNvPr id="482" name="Freihandform: Form 481">
            <a:extLst>
              <a:ext uri="{FF2B5EF4-FFF2-40B4-BE49-F238E27FC236}">
                <a16:creationId xmlns:a16="http://schemas.microsoft.com/office/drawing/2014/main" id="{88DE78C6-B3E8-4EA0-AC89-A5BAEF371677}"/>
              </a:ext>
            </a:extLst>
          </p:cNvPr>
          <p:cNvSpPr/>
          <p:nvPr userDrawn="1"/>
        </p:nvSpPr>
        <p:spPr>
          <a:xfrm>
            <a:off x="9761293" y="2685246"/>
            <a:ext cx="248198" cy="269172"/>
          </a:xfrm>
          <a:custGeom>
            <a:avLst/>
            <a:gdLst>
              <a:gd name="connsiteX0" fmla="*/ 114195 w 248198"/>
              <a:gd name="connsiteY0" fmla="*/ 269172 h 269172"/>
              <a:gd name="connsiteX1" fmla="*/ 0 w 248198"/>
              <a:gd name="connsiteY1" fmla="*/ 269172 h 269172"/>
              <a:gd name="connsiteX2" fmla="*/ 132838 w 248198"/>
              <a:gd name="connsiteY2" fmla="*/ 135169 h 269172"/>
              <a:gd name="connsiteX3" fmla="*/ 0 w 248198"/>
              <a:gd name="connsiteY3" fmla="*/ 0 h 269172"/>
              <a:gd name="connsiteX4" fmla="*/ 116525 w 248198"/>
              <a:gd name="connsiteY4" fmla="*/ 0 h 269172"/>
              <a:gd name="connsiteX5" fmla="*/ 248198 w 248198"/>
              <a:gd name="connsiteY5" fmla="*/ 131673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endParaRPr lang="de-DE"/>
          </a:p>
        </p:txBody>
      </p:sp>
      <p:sp>
        <p:nvSpPr>
          <p:cNvPr id="483" name="Freihandform: Form 482">
            <a:extLst>
              <a:ext uri="{FF2B5EF4-FFF2-40B4-BE49-F238E27FC236}">
                <a16:creationId xmlns:a16="http://schemas.microsoft.com/office/drawing/2014/main" id="{7E5B19BA-DB7F-4287-886F-9833AAC59D5F}"/>
              </a:ext>
            </a:extLst>
          </p:cNvPr>
          <p:cNvSpPr/>
          <p:nvPr userDrawn="1"/>
        </p:nvSpPr>
        <p:spPr>
          <a:xfrm>
            <a:off x="9761293" y="3040646"/>
            <a:ext cx="248198" cy="268007"/>
          </a:xfrm>
          <a:custGeom>
            <a:avLst/>
            <a:gdLst>
              <a:gd name="connsiteX0" fmla="*/ 114195 w 248198"/>
              <a:gd name="connsiteY0" fmla="*/ 268007 h 268007"/>
              <a:gd name="connsiteX1" fmla="*/ 0 w 248198"/>
              <a:gd name="connsiteY1" fmla="*/ 268007 h 268007"/>
              <a:gd name="connsiteX2" fmla="*/ 132838 w 248198"/>
              <a:gd name="connsiteY2" fmla="*/ 135169 h 268007"/>
              <a:gd name="connsiteX3" fmla="*/ 0 w 248198"/>
              <a:gd name="connsiteY3" fmla="*/ 0 h 268007"/>
              <a:gd name="connsiteX4" fmla="*/ 116525 w 248198"/>
              <a:gd name="connsiteY4" fmla="*/ 0 h 268007"/>
              <a:gd name="connsiteX5" fmla="*/ 248198 w 248198"/>
              <a:gd name="connsiteY5" fmla="*/ 131673 h 268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8007">
                <a:moveTo>
                  <a:pt x="114195" y="268007"/>
                </a:moveTo>
                <a:lnTo>
                  <a:pt x="0" y="268007"/>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endParaRPr lang="de-DE"/>
          </a:p>
        </p:txBody>
      </p:sp>
      <p:sp>
        <p:nvSpPr>
          <p:cNvPr id="484" name="Freihandform: Form 483">
            <a:extLst>
              <a:ext uri="{FF2B5EF4-FFF2-40B4-BE49-F238E27FC236}">
                <a16:creationId xmlns:a16="http://schemas.microsoft.com/office/drawing/2014/main" id="{292EFE73-2F46-4190-B4FC-3E703117A105}"/>
              </a:ext>
            </a:extLst>
          </p:cNvPr>
          <p:cNvSpPr/>
          <p:nvPr userDrawn="1"/>
        </p:nvSpPr>
        <p:spPr>
          <a:xfrm>
            <a:off x="9761293" y="3394882"/>
            <a:ext cx="248198" cy="269172"/>
          </a:xfrm>
          <a:custGeom>
            <a:avLst/>
            <a:gdLst>
              <a:gd name="connsiteX0" fmla="*/ 114195 w 248198"/>
              <a:gd name="connsiteY0" fmla="*/ 269172 h 269172"/>
              <a:gd name="connsiteX1" fmla="*/ 0 w 248198"/>
              <a:gd name="connsiteY1" fmla="*/ 269172 h 269172"/>
              <a:gd name="connsiteX2" fmla="*/ 132838 w 248198"/>
              <a:gd name="connsiteY2" fmla="*/ 135169 h 269172"/>
              <a:gd name="connsiteX3" fmla="*/ 0 w 248198"/>
              <a:gd name="connsiteY3" fmla="*/ 0 h 269172"/>
              <a:gd name="connsiteX4" fmla="*/ 116525 w 248198"/>
              <a:gd name="connsiteY4" fmla="*/ 0 h 269172"/>
              <a:gd name="connsiteX5" fmla="*/ 248198 w 248198"/>
              <a:gd name="connsiteY5" fmla="*/ 131673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endParaRPr lang="de-DE"/>
          </a:p>
        </p:txBody>
      </p:sp>
      <p:sp>
        <p:nvSpPr>
          <p:cNvPr id="485" name="Freihandform: Form 484">
            <a:extLst>
              <a:ext uri="{FF2B5EF4-FFF2-40B4-BE49-F238E27FC236}">
                <a16:creationId xmlns:a16="http://schemas.microsoft.com/office/drawing/2014/main" id="{8200EA12-ED68-4A99-80A6-A22CF802AF1C}"/>
              </a:ext>
            </a:extLst>
          </p:cNvPr>
          <p:cNvSpPr/>
          <p:nvPr userDrawn="1"/>
        </p:nvSpPr>
        <p:spPr>
          <a:xfrm>
            <a:off x="9761293" y="3750282"/>
            <a:ext cx="248198" cy="268007"/>
          </a:xfrm>
          <a:custGeom>
            <a:avLst/>
            <a:gdLst>
              <a:gd name="connsiteX0" fmla="*/ 114195 w 248198"/>
              <a:gd name="connsiteY0" fmla="*/ 268007 h 268007"/>
              <a:gd name="connsiteX1" fmla="*/ 0 w 248198"/>
              <a:gd name="connsiteY1" fmla="*/ 268007 h 268007"/>
              <a:gd name="connsiteX2" fmla="*/ 132838 w 248198"/>
              <a:gd name="connsiteY2" fmla="*/ 135169 h 268007"/>
              <a:gd name="connsiteX3" fmla="*/ 0 w 248198"/>
              <a:gd name="connsiteY3" fmla="*/ 0 h 268007"/>
              <a:gd name="connsiteX4" fmla="*/ 116525 w 248198"/>
              <a:gd name="connsiteY4" fmla="*/ 0 h 268007"/>
              <a:gd name="connsiteX5" fmla="*/ 248198 w 248198"/>
              <a:gd name="connsiteY5" fmla="*/ 131673 h 268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8007">
                <a:moveTo>
                  <a:pt x="114195" y="268007"/>
                </a:moveTo>
                <a:lnTo>
                  <a:pt x="0" y="268007"/>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endParaRPr lang="de-DE"/>
          </a:p>
        </p:txBody>
      </p:sp>
      <p:sp>
        <p:nvSpPr>
          <p:cNvPr id="486" name="Freihandform: Form 485">
            <a:extLst>
              <a:ext uri="{FF2B5EF4-FFF2-40B4-BE49-F238E27FC236}">
                <a16:creationId xmlns:a16="http://schemas.microsoft.com/office/drawing/2014/main" id="{F786CFD9-D7C8-441E-B62F-0EB92655CAFC}"/>
              </a:ext>
            </a:extLst>
          </p:cNvPr>
          <p:cNvSpPr/>
          <p:nvPr userDrawn="1"/>
        </p:nvSpPr>
        <p:spPr>
          <a:xfrm>
            <a:off x="9761293" y="4104518"/>
            <a:ext cx="248198" cy="269172"/>
          </a:xfrm>
          <a:custGeom>
            <a:avLst/>
            <a:gdLst>
              <a:gd name="connsiteX0" fmla="*/ 114195 w 248198"/>
              <a:gd name="connsiteY0" fmla="*/ 269172 h 269172"/>
              <a:gd name="connsiteX1" fmla="*/ 0 w 248198"/>
              <a:gd name="connsiteY1" fmla="*/ 269172 h 269172"/>
              <a:gd name="connsiteX2" fmla="*/ 132838 w 248198"/>
              <a:gd name="connsiteY2" fmla="*/ 136334 h 269172"/>
              <a:gd name="connsiteX3" fmla="*/ 0 w 248198"/>
              <a:gd name="connsiteY3" fmla="*/ 0 h 269172"/>
              <a:gd name="connsiteX4" fmla="*/ 116525 w 248198"/>
              <a:gd name="connsiteY4" fmla="*/ 0 h 269172"/>
              <a:gd name="connsiteX5" fmla="*/ 248198 w 248198"/>
              <a:gd name="connsiteY5" fmla="*/ 132838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6334"/>
                </a:lnTo>
                <a:lnTo>
                  <a:pt x="0" y="0"/>
                </a:lnTo>
                <a:lnTo>
                  <a:pt x="116525" y="0"/>
                </a:lnTo>
                <a:lnTo>
                  <a:pt x="248198" y="132838"/>
                </a:lnTo>
                <a:close/>
              </a:path>
            </a:pathLst>
          </a:custGeom>
          <a:solidFill>
            <a:srgbClr val="EEF2F5"/>
          </a:solidFill>
          <a:ln w="11643" cap="flat">
            <a:noFill/>
            <a:prstDash val="solid"/>
            <a:miter/>
          </a:ln>
        </p:spPr>
        <p:txBody>
          <a:bodyPr rtlCol="0" anchor="ctr"/>
          <a:lstStyle/>
          <a:p>
            <a:endParaRPr lang="de-DE"/>
          </a:p>
        </p:txBody>
      </p:sp>
      <p:sp>
        <p:nvSpPr>
          <p:cNvPr id="487" name="Freihandform: Form 486">
            <a:extLst>
              <a:ext uri="{FF2B5EF4-FFF2-40B4-BE49-F238E27FC236}">
                <a16:creationId xmlns:a16="http://schemas.microsoft.com/office/drawing/2014/main" id="{01FD0002-F436-4142-A628-D55068EAF9A4}"/>
              </a:ext>
            </a:extLst>
          </p:cNvPr>
          <p:cNvSpPr/>
          <p:nvPr userDrawn="1"/>
        </p:nvSpPr>
        <p:spPr>
          <a:xfrm>
            <a:off x="9761293" y="4459918"/>
            <a:ext cx="248198" cy="268007"/>
          </a:xfrm>
          <a:custGeom>
            <a:avLst/>
            <a:gdLst>
              <a:gd name="connsiteX0" fmla="*/ 114195 w 248198"/>
              <a:gd name="connsiteY0" fmla="*/ 268007 h 268007"/>
              <a:gd name="connsiteX1" fmla="*/ 0 w 248198"/>
              <a:gd name="connsiteY1" fmla="*/ 268007 h 268007"/>
              <a:gd name="connsiteX2" fmla="*/ 132838 w 248198"/>
              <a:gd name="connsiteY2" fmla="*/ 135169 h 268007"/>
              <a:gd name="connsiteX3" fmla="*/ 0 w 248198"/>
              <a:gd name="connsiteY3" fmla="*/ 0 h 268007"/>
              <a:gd name="connsiteX4" fmla="*/ 116525 w 248198"/>
              <a:gd name="connsiteY4" fmla="*/ 0 h 268007"/>
              <a:gd name="connsiteX5" fmla="*/ 248198 w 248198"/>
              <a:gd name="connsiteY5" fmla="*/ 131673 h 268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8007">
                <a:moveTo>
                  <a:pt x="114195" y="268007"/>
                </a:moveTo>
                <a:lnTo>
                  <a:pt x="0" y="268007"/>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endParaRPr lang="de-DE"/>
          </a:p>
        </p:txBody>
      </p:sp>
      <p:sp>
        <p:nvSpPr>
          <p:cNvPr id="488" name="Freihandform: Form 487">
            <a:extLst>
              <a:ext uri="{FF2B5EF4-FFF2-40B4-BE49-F238E27FC236}">
                <a16:creationId xmlns:a16="http://schemas.microsoft.com/office/drawing/2014/main" id="{06660CCF-FEE4-4A5F-8E5C-895C66A8B07F}"/>
              </a:ext>
            </a:extLst>
          </p:cNvPr>
          <p:cNvSpPr/>
          <p:nvPr userDrawn="1"/>
        </p:nvSpPr>
        <p:spPr>
          <a:xfrm>
            <a:off x="9761293" y="4814154"/>
            <a:ext cx="248198" cy="269172"/>
          </a:xfrm>
          <a:custGeom>
            <a:avLst/>
            <a:gdLst>
              <a:gd name="connsiteX0" fmla="*/ 114195 w 248198"/>
              <a:gd name="connsiteY0" fmla="*/ 269172 h 269172"/>
              <a:gd name="connsiteX1" fmla="*/ 0 w 248198"/>
              <a:gd name="connsiteY1" fmla="*/ 269172 h 269172"/>
              <a:gd name="connsiteX2" fmla="*/ 132838 w 248198"/>
              <a:gd name="connsiteY2" fmla="*/ 136334 h 269172"/>
              <a:gd name="connsiteX3" fmla="*/ 0 w 248198"/>
              <a:gd name="connsiteY3" fmla="*/ 0 h 269172"/>
              <a:gd name="connsiteX4" fmla="*/ 116525 w 248198"/>
              <a:gd name="connsiteY4" fmla="*/ 0 h 269172"/>
              <a:gd name="connsiteX5" fmla="*/ 248198 w 248198"/>
              <a:gd name="connsiteY5" fmla="*/ 132838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6334"/>
                </a:lnTo>
                <a:lnTo>
                  <a:pt x="0" y="0"/>
                </a:lnTo>
                <a:lnTo>
                  <a:pt x="116525" y="0"/>
                </a:lnTo>
                <a:lnTo>
                  <a:pt x="248198" y="132838"/>
                </a:lnTo>
                <a:close/>
              </a:path>
            </a:pathLst>
          </a:custGeom>
          <a:solidFill>
            <a:srgbClr val="EEF2F5"/>
          </a:solidFill>
          <a:ln w="11643" cap="flat">
            <a:noFill/>
            <a:prstDash val="solid"/>
            <a:miter/>
          </a:ln>
        </p:spPr>
        <p:txBody>
          <a:bodyPr rtlCol="0" anchor="ctr"/>
          <a:lstStyle/>
          <a:p>
            <a:endParaRPr lang="de-DE"/>
          </a:p>
        </p:txBody>
      </p:sp>
      <p:sp>
        <p:nvSpPr>
          <p:cNvPr id="489" name="Freihandform: Form 488">
            <a:extLst>
              <a:ext uri="{FF2B5EF4-FFF2-40B4-BE49-F238E27FC236}">
                <a16:creationId xmlns:a16="http://schemas.microsoft.com/office/drawing/2014/main" id="{6E41AC2D-718A-468C-AC62-C1169CCB8D98}"/>
              </a:ext>
            </a:extLst>
          </p:cNvPr>
          <p:cNvSpPr/>
          <p:nvPr userDrawn="1"/>
        </p:nvSpPr>
        <p:spPr>
          <a:xfrm>
            <a:off x="9761293" y="5169554"/>
            <a:ext cx="248198" cy="268007"/>
          </a:xfrm>
          <a:custGeom>
            <a:avLst/>
            <a:gdLst>
              <a:gd name="connsiteX0" fmla="*/ 114195 w 248198"/>
              <a:gd name="connsiteY0" fmla="*/ 268007 h 268007"/>
              <a:gd name="connsiteX1" fmla="*/ 0 w 248198"/>
              <a:gd name="connsiteY1" fmla="*/ 268007 h 268007"/>
              <a:gd name="connsiteX2" fmla="*/ 132838 w 248198"/>
              <a:gd name="connsiteY2" fmla="*/ 135169 h 268007"/>
              <a:gd name="connsiteX3" fmla="*/ 0 w 248198"/>
              <a:gd name="connsiteY3" fmla="*/ 0 h 268007"/>
              <a:gd name="connsiteX4" fmla="*/ 116525 w 248198"/>
              <a:gd name="connsiteY4" fmla="*/ 0 h 268007"/>
              <a:gd name="connsiteX5" fmla="*/ 248198 w 248198"/>
              <a:gd name="connsiteY5" fmla="*/ 131673 h 268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8007">
                <a:moveTo>
                  <a:pt x="114195" y="268007"/>
                </a:moveTo>
                <a:lnTo>
                  <a:pt x="0" y="268007"/>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endParaRPr lang="de-DE"/>
          </a:p>
        </p:txBody>
      </p:sp>
      <p:sp>
        <p:nvSpPr>
          <p:cNvPr id="490" name="Freihandform: Form 489">
            <a:extLst>
              <a:ext uri="{FF2B5EF4-FFF2-40B4-BE49-F238E27FC236}">
                <a16:creationId xmlns:a16="http://schemas.microsoft.com/office/drawing/2014/main" id="{4BE823B6-3CF5-4C0A-8FBC-8BF3D89E62E6}"/>
              </a:ext>
            </a:extLst>
          </p:cNvPr>
          <p:cNvSpPr/>
          <p:nvPr userDrawn="1"/>
        </p:nvSpPr>
        <p:spPr>
          <a:xfrm>
            <a:off x="9761293" y="5523790"/>
            <a:ext cx="248198" cy="269172"/>
          </a:xfrm>
          <a:custGeom>
            <a:avLst/>
            <a:gdLst>
              <a:gd name="connsiteX0" fmla="*/ 114195 w 248198"/>
              <a:gd name="connsiteY0" fmla="*/ 269172 h 269172"/>
              <a:gd name="connsiteX1" fmla="*/ 0 w 248198"/>
              <a:gd name="connsiteY1" fmla="*/ 269172 h 269172"/>
              <a:gd name="connsiteX2" fmla="*/ 132838 w 248198"/>
              <a:gd name="connsiteY2" fmla="*/ 136334 h 269172"/>
              <a:gd name="connsiteX3" fmla="*/ 0 w 248198"/>
              <a:gd name="connsiteY3" fmla="*/ 0 h 269172"/>
              <a:gd name="connsiteX4" fmla="*/ 116525 w 248198"/>
              <a:gd name="connsiteY4" fmla="*/ 0 h 269172"/>
              <a:gd name="connsiteX5" fmla="*/ 248198 w 248198"/>
              <a:gd name="connsiteY5" fmla="*/ 132838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6334"/>
                </a:lnTo>
                <a:lnTo>
                  <a:pt x="0" y="0"/>
                </a:lnTo>
                <a:lnTo>
                  <a:pt x="116525" y="0"/>
                </a:lnTo>
                <a:lnTo>
                  <a:pt x="248198" y="132838"/>
                </a:lnTo>
                <a:close/>
              </a:path>
            </a:pathLst>
          </a:custGeom>
          <a:solidFill>
            <a:srgbClr val="EEF2F5"/>
          </a:solidFill>
          <a:ln w="11643" cap="flat">
            <a:noFill/>
            <a:prstDash val="solid"/>
            <a:miter/>
          </a:ln>
        </p:spPr>
        <p:txBody>
          <a:bodyPr rtlCol="0" anchor="ctr"/>
          <a:lstStyle/>
          <a:p>
            <a:endParaRPr lang="de-DE"/>
          </a:p>
        </p:txBody>
      </p:sp>
      <p:sp>
        <p:nvSpPr>
          <p:cNvPr id="491" name="Freihandform: Form 490">
            <a:extLst>
              <a:ext uri="{FF2B5EF4-FFF2-40B4-BE49-F238E27FC236}">
                <a16:creationId xmlns:a16="http://schemas.microsoft.com/office/drawing/2014/main" id="{B0586C0A-D3A9-43C8-BC22-E34DC9A911FC}"/>
              </a:ext>
            </a:extLst>
          </p:cNvPr>
          <p:cNvSpPr/>
          <p:nvPr userDrawn="1"/>
        </p:nvSpPr>
        <p:spPr>
          <a:xfrm>
            <a:off x="9761293" y="5879190"/>
            <a:ext cx="248198" cy="269172"/>
          </a:xfrm>
          <a:custGeom>
            <a:avLst/>
            <a:gdLst>
              <a:gd name="connsiteX0" fmla="*/ 114195 w 248198"/>
              <a:gd name="connsiteY0" fmla="*/ 269172 h 269172"/>
              <a:gd name="connsiteX1" fmla="*/ 0 w 248198"/>
              <a:gd name="connsiteY1" fmla="*/ 269172 h 269172"/>
              <a:gd name="connsiteX2" fmla="*/ 132838 w 248198"/>
              <a:gd name="connsiteY2" fmla="*/ 135169 h 269172"/>
              <a:gd name="connsiteX3" fmla="*/ 0 w 248198"/>
              <a:gd name="connsiteY3" fmla="*/ 0 h 269172"/>
              <a:gd name="connsiteX4" fmla="*/ 116525 w 248198"/>
              <a:gd name="connsiteY4" fmla="*/ 0 h 269172"/>
              <a:gd name="connsiteX5" fmla="*/ 248198 w 248198"/>
              <a:gd name="connsiteY5" fmla="*/ 131673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endParaRPr lang="de-DE"/>
          </a:p>
        </p:txBody>
      </p:sp>
      <p:sp>
        <p:nvSpPr>
          <p:cNvPr id="492" name="Freihandform: Form 491">
            <a:extLst>
              <a:ext uri="{FF2B5EF4-FFF2-40B4-BE49-F238E27FC236}">
                <a16:creationId xmlns:a16="http://schemas.microsoft.com/office/drawing/2014/main" id="{BAA83463-E746-448C-AEF2-15F032667EAD}"/>
              </a:ext>
            </a:extLst>
          </p:cNvPr>
          <p:cNvSpPr/>
          <p:nvPr userDrawn="1"/>
        </p:nvSpPr>
        <p:spPr>
          <a:xfrm>
            <a:off x="9761293" y="6233426"/>
            <a:ext cx="248198" cy="269172"/>
          </a:xfrm>
          <a:custGeom>
            <a:avLst/>
            <a:gdLst>
              <a:gd name="connsiteX0" fmla="*/ 114195 w 248198"/>
              <a:gd name="connsiteY0" fmla="*/ 269172 h 269172"/>
              <a:gd name="connsiteX1" fmla="*/ 0 w 248198"/>
              <a:gd name="connsiteY1" fmla="*/ 269172 h 269172"/>
              <a:gd name="connsiteX2" fmla="*/ 132838 w 248198"/>
              <a:gd name="connsiteY2" fmla="*/ 136334 h 269172"/>
              <a:gd name="connsiteX3" fmla="*/ 0 w 248198"/>
              <a:gd name="connsiteY3" fmla="*/ 0 h 269172"/>
              <a:gd name="connsiteX4" fmla="*/ 116525 w 248198"/>
              <a:gd name="connsiteY4" fmla="*/ 0 h 269172"/>
              <a:gd name="connsiteX5" fmla="*/ 248198 w 248198"/>
              <a:gd name="connsiteY5" fmla="*/ 132838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6334"/>
                </a:lnTo>
                <a:lnTo>
                  <a:pt x="0" y="0"/>
                </a:lnTo>
                <a:lnTo>
                  <a:pt x="116525" y="0"/>
                </a:lnTo>
                <a:lnTo>
                  <a:pt x="248198" y="132838"/>
                </a:lnTo>
                <a:close/>
              </a:path>
            </a:pathLst>
          </a:custGeom>
          <a:solidFill>
            <a:srgbClr val="EEF2F5"/>
          </a:solidFill>
          <a:ln w="11643" cap="flat">
            <a:noFill/>
            <a:prstDash val="solid"/>
            <a:miter/>
          </a:ln>
        </p:spPr>
        <p:txBody>
          <a:bodyPr rtlCol="0" anchor="ctr"/>
          <a:lstStyle/>
          <a:p>
            <a:endParaRPr lang="de-DE"/>
          </a:p>
        </p:txBody>
      </p:sp>
      <p:sp>
        <p:nvSpPr>
          <p:cNvPr id="493" name="Freihandform: Form 492">
            <a:extLst>
              <a:ext uri="{FF2B5EF4-FFF2-40B4-BE49-F238E27FC236}">
                <a16:creationId xmlns:a16="http://schemas.microsoft.com/office/drawing/2014/main" id="{630922BC-26BD-42F2-898F-FEDC66EF3731}"/>
              </a:ext>
            </a:extLst>
          </p:cNvPr>
          <p:cNvSpPr/>
          <p:nvPr userDrawn="1"/>
        </p:nvSpPr>
        <p:spPr>
          <a:xfrm>
            <a:off x="9761293" y="6588826"/>
            <a:ext cx="248198" cy="269172"/>
          </a:xfrm>
          <a:custGeom>
            <a:avLst/>
            <a:gdLst>
              <a:gd name="connsiteX0" fmla="*/ 114195 w 248198"/>
              <a:gd name="connsiteY0" fmla="*/ 269172 h 269172"/>
              <a:gd name="connsiteX1" fmla="*/ 0 w 248198"/>
              <a:gd name="connsiteY1" fmla="*/ 269172 h 269172"/>
              <a:gd name="connsiteX2" fmla="*/ 132838 w 248198"/>
              <a:gd name="connsiteY2" fmla="*/ 135169 h 269172"/>
              <a:gd name="connsiteX3" fmla="*/ 0 w 248198"/>
              <a:gd name="connsiteY3" fmla="*/ 0 h 269172"/>
              <a:gd name="connsiteX4" fmla="*/ 116525 w 248198"/>
              <a:gd name="connsiteY4" fmla="*/ 0 h 269172"/>
              <a:gd name="connsiteX5" fmla="*/ 248198 w 248198"/>
              <a:gd name="connsiteY5" fmla="*/ 131673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endParaRPr lang="de-DE"/>
          </a:p>
        </p:txBody>
      </p:sp>
      <p:grpSp>
        <p:nvGrpSpPr>
          <p:cNvPr id="39" name="Gruppieren 38">
            <a:extLst>
              <a:ext uri="{FF2B5EF4-FFF2-40B4-BE49-F238E27FC236}">
                <a16:creationId xmlns:a16="http://schemas.microsoft.com/office/drawing/2014/main" id="{AA666764-7F63-4EE2-87ED-D1E80C7F6AA1}"/>
              </a:ext>
            </a:extLst>
          </p:cNvPr>
          <p:cNvGrpSpPr/>
          <p:nvPr userDrawn="1"/>
        </p:nvGrpSpPr>
        <p:grpSpPr>
          <a:xfrm>
            <a:off x="4814318" y="4632993"/>
            <a:ext cx="421976" cy="421976"/>
            <a:chOff x="4991839" y="5657214"/>
            <a:chExt cx="203835" cy="203835"/>
          </a:xfrm>
        </p:grpSpPr>
        <p:sp>
          <p:nvSpPr>
            <p:cNvPr id="38" name="Grafik 3">
              <a:extLst>
                <a:ext uri="{FF2B5EF4-FFF2-40B4-BE49-F238E27FC236}">
                  <a16:creationId xmlns:a16="http://schemas.microsoft.com/office/drawing/2014/main" id="{3ACBFD09-2BCE-47C1-82F9-F67E69F50CD5}"/>
                </a:ext>
              </a:extLst>
            </p:cNvPr>
            <p:cNvSpPr/>
            <p:nvPr/>
          </p:nvSpPr>
          <p:spPr>
            <a:xfrm>
              <a:off x="4991839" y="5657214"/>
              <a:ext cx="203835" cy="203835"/>
            </a:xfrm>
            <a:custGeom>
              <a:avLst/>
              <a:gdLst>
                <a:gd name="connsiteX0" fmla="*/ 203835 w 203835"/>
                <a:gd name="connsiteY0" fmla="*/ 101918 h 203835"/>
                <a:gd name="connsiteX1" fmla="*/ 101918 w 203835"/>
                <a:gd name="connsiteY1" fmla="*/ 203835 h 203835"/>
                <a:gd name="connsiteX2" fmla="*/ 0 w 203835"/>
                <a:gd name="connsiteY2" fmla="*/ 101918 h 203835"/>
                <a:gd name="connsiteX3" fmla="*/ 101918 w 203835"/>
                <a:gd name="connsiteY3" fmla="*/ 0 h 203835"/>
                <a:gd name="connsiteX4" fmla="*/ 203835 w 203835"/>
                <a:gd name="connsiteY4" fmla="*/ 101918 h 2038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3835" h="203835">
                  <a:moveTo>
                    <a:pt x="203835" y="101918"/>
                  </a:moveTo>
                  <a:cubicBezTo>
                    <a:pt x="203835" y="158205"/>
                    <a:pt x="158205" y="203835"/>
                    <a:pt x="101918" y="203835"/>
                  </a:cubicBezTo>
                  <a:cubicBezTo>
                    <a:pt x="45630" y="203835"/>
                    <a:pt x="0" y="158205"/>
                    <a:pt x="0" y="101918"/>
                  </a:cubicBezTo>
                  <a:cubicBezTo>
                    <a:pt x="0" y="45630"/>
                    <a:pt x="45630" y="0"/>
                    <a:pt x="101918" y="0"/>
                  </a:cubicBezTo>
                  <a:cubicBezTo>
                    <a:pt x="158205" y="0"/>
                    <a:pt x="203835" y="45630"/>
                    <a:pt x="203835" y="101918"/>
                  </a:cubicBezTo>
                  <a:close/>
                </a:path>
              </a:pathLst>
            </a:custGeom>
            <a:solidFill>
              <a:srgbClr val="ECF0F4"/>
            </a:solidFill>
            <a:ln w="9525" cap="flat">
              <a:noFill/>
              <a:prstDash val="solid"/>
              <a:miter/>
            </a:ln>
          </p:spPr>
          <p:txBody>
            <a:bodyPr rtlCol="0" anchor="ctr"/>
            <a:lstStyle/>
            <a:p>
              <a:endParaRPr lang="de-DE"/>
            </a:p>
          </p:txBody>
        </p:sp>
        <p:sp>
          <p:nvSpPr>
            <p:cNvPr id="37" name="Grafik 30">
              <a:extLst>
                <a:ext uri="{FF2B5EF4-FFF2-40B4-BE49-F238E27FC236}">
                  <a16:creationId xmlns:a16="http://schemas.microsoft.com/office/drawing/2014/main" id="{0F7F147F-AAE3-4BE1-B657-9037D1087DC9}"/>
                </a:ext>
              </a:extLst>
            </p:cNvPr>
            <p:cNvSpPr/>
            <p:nvPr/>
          </p:nvSpPr>
          <p:spPr>
            <a:xfrm>
              <a:off x="5039940" y="5721508"/>
              <a:ext cx="107632" cy="75247"/>
            </a:xfrm>
            <a:custGeom>
              <a:avLst/>
              <a:gdLst>
                <a:gd name="connsiteX0" fmla="*/ 98108 w 107632"/>
                <a:gd name="connsiteY0" fmla="*/ 0 h 75247"/>
                <a:gd name="connsiteX1" fmla="*/ 9525 w 107632"/>
                <a:gd name="connsiteY1" fmla="*/ 0 h 75247"/>
                <a:gd name="connsiteX2" fmla="*/ 0 w 107632"/>
                <a:gd name="connsiteY2" fmla="*/ 9525 h 75247"/>
                <a:gd name="connsiteX3" fmla="*/ 0 w 107632"/>
                <a:gd name="connsiteY3" fmla="*/ 65723 h 75247"/>
                <a:gd name="connsiteX4" fmla="*/ 9525 w 107632"/>
                <a:gd name="connsiteY4" fmla="*/ 75248 h 75247"/>
                <a:gd name="connsiteX5" fmla="*/ 98108 w 107632"/>
                <a:gd name="connsiteY5" fmla="*/ 75248 h 75247"/>
                <a:gd name="connsiteX6" fmla="*/ 107633 w 107632"/>
                <a:gd name="connsiteY6" fmla="*/ 65723 h 75247"/>
                <a:gd name="connsiteX7" fmla="*/ 107633 w 107632"/>
                <a:gd name="connsiteY7" fmla="*/ 9525 h 75247"/>
                <a:gd name="connsiteX8" fmla="*/ 98108 w 107632"/>
                <a:gd name="connsiteY8" fmla="*/ 0 h 75247"/>
                <a:gd name="connsiteX9" fmla="*/ 96203 w 107632"/>
                <a:gd name="connsiteY9" fmla="*/ 6668 h 75247"/>
                <a:gd name="connsiteX10" fmla="*/ 60008 w 107632"/>
                <a:gd name="connsiteY10" fmla="*/ 41910 h 75247"/>
                <a:gd name="connsiteX11" fmla="*/ 53340 w 107632"/>
                <a:gd name="connsiteY11" fmla="*/ 44768 h 75247"/>
                <a:gd name="connsiteX12" fmla="*/ 46673 w 107632"/>
                <a:gd name="connsiteY12" fmla="*/ 41910 h 75247"/>
                <a:gd name="connsiteX13" fmla="*/ 10478 w 107632"/>
                <a:gd name="connsiteY13" fmla="*/ 6668 h 75247"/>
                <a:gd name="connsiteX14" fmla="*/ 96203 w 107632"/>
                <a:gd name="connsiteY14" fmla="*/ 6668 h 75247"/>
                <a:gd name="connsiteX15" fmla="*/ 6668 w 107632"/>
                <a:gd name="connsiteY15" fmla="*/ 64770 h 75247"/>
                <a:gd name="connsiteX16" fmla="*/ 6668 w 107632"/>
                <a:gd name="connsiteY16" fmla="*/ 10478 h 75247"/>
                <a:gd name="connsiteX17" fmla="*/ 33338 w 107632"/>
                <a:gd name="connsiteY17" fmla="*/ 38100 h 75247"/>
                <a:gd name="connsiteX18" fmla="*/ 6668 w 107632"/>
                <a:gd name="connsiteY18" fmla="*/ 64770 h 75247"/>
                <a:gd name="connsiteX19" fmla="*/ 10478 w 107632"/>
                <a:gd name="connsiteY19" fmla="*/ 68580 h 75247"/>
                <a:gd name="connsiteX20" fmla="*/ 38100 w 107632"/>
                <a:gd name="connsiteY20" fmla="*/ 41910 h 75247"/>
                <a:gd name="connsiteX21" fmla="*/ 42863 w 107632"/>
                <a:gd name="connsiteY21" fmla="*/ 46673 h 75247"/>
                <a:gd name="connsiteX22" fmla="*/ 54293 w 107632"/>
                <a:gd name="connsiteY22" fmla="*/ 51435 h 75247"/>
                <a:gd name="connsiteX23" fmla="*/ 65723 w 107632"/>
                <a:gd name="connsiteY23" fmla="*/ 46673 h 75247"/>
                <a:gd name="connsiteX24" fmla="*/ 70485 w 107632"/>
                <a:gd name="connsiteY24" fmla="*/ 41910 h 75247"/>
                <a:gd name="connsiteX25" fmla="*/ 97155 w 107632"/>
                <a:gd name="connsiteY25" fmla="*/ 68580 h 75247"/>
                <a:gd name="connsiteX26" fmla="*/ 10478 w 107632"/>
                <a:gd name="connsiteY26" fmla="*/ 68580 h 75247"/>
                <a:gd name="connsiteX27" fmla="*/ 100965 w 107632"/>
                <a:gd name="connsiteY27" fmla="*/ 64770 h 75247"/>
                <a:gd name="connsiteX28" fmla="*/ 73343 w 107632"/>
                <a:gd name="connsiteY28" fmla="*/ 38100 h 75247"/>
                <a:gd name="connsiteX29" fmla="*/ 100013 w 107632"/>
                <a:gd name="connsiteY29" fmla="*/ 11430 h 75247"/>
                <a:gd name="connsiteX30" fmla="*/ 100013 w 107632"/>
                <a:gd name="connsiteY30" fmla="*/ 64770 h 75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07632" h="75247">
                  <a:moveTo>
                    <a:pt x="98108" y="0"/>
                  </a:moveTo>
                  <a:lnTo>
                    <a:pt x="9525" y="0"/>
                  </a:lnTo>
                  <a:cubicBezTo>
                    <a:pt x="3810" y="0"/>
                    <a:pt x="0" y="3810"/>
                    <a:pt x="0" y="9525"/>
                  </a:cubicBezTo>
                  <a:lnTo>
                    <a:pt x="0" y="65723"/>
                  </a:lnTo>
                  <a:cubicBezTo>
                    <a:pt x="0" y="70485"/>
                    <a:pt x="3810" y="75248"/>
                    <a:pt x="9525" y="75248"/>
                  </a:cubicBezTo>
                  <a:lnTo>
                    <a:pt x="98108" y="75248"/>
                  </a:lnTo>
                  <a:cubicBezTo>
                    <a:pt x="102870" y="75248"/>
                    <a:pt x="107633" y="71438"/>
                    <a:pt x="107633" y="65723"/>
                  </a:cubicBezTo>
                  <a:lnTo>
                    <a:pt x="107633" y="9525"/>
                  </a:lnTo>
                  <a:cubicBezTo>
                    <a:pt x="106680" y="3810"/>
                    <a:pt x="102870" y="0"/>
                    <a:pt x="98108" y="0"/>
                  </a:cubicBezTo>
                  <a:close/>
                  <a:moveTo>
                    <a:pt x="96203" y="6668"/>
                  </a:moveTo>
                  <a:cubicBezTo>
                    <a:pt x="94298" y="8573"/>
                    <a:pt x="60960" y="40958"/>
                    <a:pt x="60008" y="41910"/>
                  </a:cubicBezTo>
                  <a:cubicBezTo>
                    <a:pt x="58103" y="43815"/>
                    <a:pt x="56198" y="44768"/>
                    <a:pt x="53340" y="44768"/>
                  </a:cubicBezTo>
                  <a:cubicBezTo>
                    <a:pt x="50483" y="44768"/>
                    <a:pt x="48578" y="43815"/>
                    <a:pt x="46673" y="41910"/>
                  </a:cubicBezTo>
                  <a:cubicBezTo>
                    <a:pt x="45720" y="41910"/>
                    <a:pt x="13335" y="8573"/>
                    <a:pt x="10478" y="6668"/>
                  </a:cubicBezTo>
                  <a:lnTo>
                    <a:pt x="96203" y="6668"/>
                  </a:lnTo>
                  <a:close/>
                  <a:moveTo>
                    <a:pt x="6668" y="64770"/>
                  </a:moveTo>
                  <a:lnTo>
                    <a:pt x="6668" y="10478"/>
                  </a:lnTo>
                  <a:lnTo>
                    <a:pt x="33338" y="38100"/>
                  </a:lnTo>
                  <a:lnTo>
                    <a:pt x="6668" y="64770"/>
                  </a:lnTo>
                  <a:close/>
                  <a:moveTo>
                    <a:pt x="10478" y="68580"/>
                  </a:moveTo>
                  <a:lnTo>
                    <a:pt x="38100" y="41910"/>
                  </a:lnTo>
                  <a:lnTo>
                    <a:pt x="42863" y="46673"/>
                  </a:lnTo>
                  <a:cubicBezTo>
                    <a:pt x="45720" y="49530"/>
                    <a:pt x="49530" y="51435"/>
                    <a:pt x="54293" y="51435"/>
                  </a:cubicBezTo>
                  <a:cubicBezTo>
                    <a:pt x="58103" y="51435"/>
                    <a:pt x="62865" y="49530"/>
                    <a:pt x="65723" y="46673"/>
                  </a:cubicBezTo>
                  <a:lnTo>
                    <a:pt x="70485" y="41910"/>
                  </a:lnTo>
                  <a:lnTo>
                    <a:pt x="97155" y="68580"/>
                  </a:lnTo>
                  <a:lnTo>
                    <a:pt x="10478" y="68580"/>
                  </a:lnTo>
                  <a:close/>
                  <a:moveTo>
                    <a:pt x="100965" y="64770"/>
                  </a:moveTo>
                  <a:lnTo>
                    <a:pt x="73343" y="38100"/>
                  </a:lnTo>
                  <a:lnTo>
                    <a:pt x="100013" y="11430"/>
                  </a:lnTo>
                  <a:lnTo>
                    <a:pt x="100013" y="64770"/>
                  </a:lnTo>
                  <a:close/>
                </a:path>
              </a:pathLst>
            </a:custGeom>
            <a:solidFill>
              <a:srgbClr val="3A5C7D"/>
            </a:solidFill>
            <a:ln w="9525" cap="flat">
              <a:noFill/>
              <a:prstDash val="solid"/>
              <a:miter/>
            </a:ln>
          </p:spPr>
          <p:txBody>
            <a:bodyPr rtlCol="0" anchor="ctr"/>
            <a:lstStyle/>
            <a:p>
              <a:endParaRPr lang="de-DE"/>
            </a:p>
          </p:txBody>
        </p:sp>
      </p:grpSp>
      <p:grpSp>
        <p:nvGrpSpPr>
          <p:cNvPr id="36" name="Gruppieren 35">
            <a:extLst>
              <a:ext uri="{FF2B5EF4-FFF2-40B4-BE49-F238E27FC236}">
                <a16:creationId xmlns:a16="http://schemas.microsoft.com/office/drawing/2014/main" id="{66A2E61D-F083-418F-919D-66394DC26082}"/>
              </a:ext>
            </a:extLst>
          </p:cNvPr>
          <p:cNvGrpSpPr/>
          <p:nvPr userDrawn="1"/>
        </p:nvGrpSpPr>
        <p:grpSpPr>
          <a:xfrm>
            <a:off x="4812959" y="4085094"/>
            <a:ext cx="424694" cy="424694"/>
            <a:chOff x="4702667" y="5218499"/>
            <a:chExt cx="203835" cy="203835"/>
          </a:xfrm>
        </p:grpSpPr>
        <p:sp>
          <p:nvSpPr>
            <p:cNvPr id="34" name="Grafik 31">
              <a:extLst>
                <a:ext uri="{FF2B5EF4-FFF2-40B4-BE49-F238E27FC236}">
                  <a16:creationId xmlns:a16="http://schemas.microsoft.com/office/drawing/2014/main" id="{E92F21DB-71AC-49E2-A5A9-E6D54A01D532}"/>
                </a:ext>
              </a:extLst>
            </p:cNvPr>
            <p:cNvSpPr/>
            <p:nvPr/>
          </p:nvSpPr>
          <p:spPr>
            <a:xfrm>
              <a:off x="4702667" y="5218499"/>
              <a:ext cx="203835" cy="203835"/>
            </a:xfrm>
            <a:custGeom>
              <a:avLst/>
              <a:gdLst>
                <a:gd name="connsiteX0" fmla="*/ 203835 w 203835"/>
                <a:gd name="connsiteY0" fmla="*/ 101918 h 203835"/>
                <a:gd name="connsiteX1" fmla="*/ 101918 w 203835"/>
                <a:gd name="connsiteY1" fmla="*/ 203835 h 203835"/>
                <a:gd name="connsiteX2" fmla="*/ 0 w 203835"/>
                <a:gd name="connsiteY2" fmla="*/ 101918 h 203835"/>
                <a:gd name="connsiteX3" fmla="*/ 101918 w 203835"/>
                <a:gd name="connsiteY3" fmla="*/ 0 h 203835"/>
                <a:gd name="connsiteX4" fmla="*/ 203835 w 203835"/>
                <a:gd name="connsiteY4" fmla="*/ 101918 h 2038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3835" h="203835">
                  <a:moveTo>
                    <a:pt x="203835" y="101918"/>
                  </a:moveTo>
                  <a:cubicBezTo>
                    <a:pt x="203835" y="158205"/>
                    <a:pt x="158205" y="203835"/>
                    <a:pt x="101918" y="203835"/>
                  </a:cubicBezTo>
                  <a:cubicBezTo>
                    <a:pt x="45630" y="203835"/>
                    <a:pt x="0" y="158205"/>
                    <a:pt x="0" y="101918"/>
                  </a:cubicBezTo>
                  <a:cubicBezTo>
                    <a:pt x="0" y="45630"/>
                    <a:pt x="45630" y="0"/>
                    <a:pt x="101918" y="0"/>
                  </a:cubicBezTo>
                  <a:cubicBezTo>
                    <a:pt x="158205" y="0"/>
                    <a:pt x="203835" y="45630"/>
                    <a:pt x="203835" y="101918"/>
                  </a:cubicBezTo>
                  <a:close/>
                </a:path>
              </a:pathLst>
            </a:custGeom>
            <a:solidFill>
              <a:srgbClr val="ECF0F4"/>
            </a:solidFill>
            <a:ln w="9525" cap="flat">
              <a:noFill/>
              <a:prstDash val="solid"/>
              <a:miter/>
            </a:ln>
          </p:spPr>
          <p:txBody>
            <a:bodyPr rtlCol="0" anchor="ctr"/>
            <a:lstStyle/>
            <a:p>
              <a:endParaRPr lang="de-DE"/>
            </a:p>
          </p:txBody>
        </p:sp>
        <p:sp>
          <p:nvSpPr>
            <p:cNvPr id="33" name="Grafik 29">
              <a:extLst>
                <a:ext uri="{FF2B5EF4-FFF2-40B4-BE49-F238E27FC236}">
                  <a16:creationId xmlns:a16="http://schemas.microsoft.com/office/drawing/2014/main" id="{C5CDD651-6752-43FB-B542-3447DAD562C2}"/>
                </a:ext>
              </a:extLst>
            </p:cNvPr>
            <p:cNvSpPr/>
            <p:nvPr/>
          </p:nvSpPr>
          <p:spPr>
            <a:xfrm>
              <a:off x="4749870" y="5265171"/>
              <a:ext cx="109428" cy="110490"/>
            </a:xfrm>
            <a:custGeom>
              <a:avLst/>
              <a:gdLst>
                <a:gd name="connsiteX0" fmla="*/ 105728 w 109428"/>
                <a:gd name="connsiteY0" fmla="*/ 80010 h 110490"/>
                <a:gd name="connsiteX1" fmla="*/ 92393 w 109428"/>
                <a:gd name="connsiteY1" fmla="*/ 65723 h 110490"/>
                <a:gd name="connsiteX2" fmla="*/ 83820 w 109428"/>
                <a:gd name="connsiteY2" fmla="*/ 62865 h 110490"/>
                <a:gd name="connsiteX3" fmla="*/ 76200 w 109428"/>
                <a:gd name="connsiteY3" fmla="*/ 65723 h 110490"/>
                <a:gd name="connsiteX4" fmla="*/ 67628 w 109428"/>
                <a:gd name="connsiteY4" fmla="*/ 74295 h 110490"/>
                <a:gd name="connsiteX5" fmla="*/ 65723 w 109428"/>
                <a:gd name="connsiteY5" fmla="*/ 73343 h 110490"/>
                <a:gd name="connsiteX6" fmla="*/ 62865 w 109428"/>
                <a:gd name="connsiteY6" fmla="*/ 72390 h 110490"/>
                <a:gd name="connsiteX7" fmla="*/ 42863 w 109428"/>
                <a:gd name="connsiteY7" fmla="*/ 53340 h 110490"/>
                <a:gd name="connsiteX8" fmla="*/ 35243 w 109428"/>
                <a:gd name="connsiteY8" fmla="*/ 41910 h 110490"/>
                <a:gd name="connsiteX9" fmla="*/ 41910 w 109428"/>
                <a:gd name="connsiteY9" fmla="*/ 36195 h 110490"/>
                <a:gd name="connsiteX10" fmla="*/ 43815 w 109428"/>
                <a:gd name="connsiteY10" fmla="*/ 34290 h 110490"/>
                <a:gd name="connsiteX11" fmla="*/ 47625 w 109428"/>
                <a:gd name="connsiteY11" fmla="*/ 25718 h 110490"/>
                <a:gd name="connsiteX12" fmla="*/ 43815 w 109428"/>
                <a:gd name="connsiteY12" fmla="*/ 17145 h 110490"/>
                <a:gd name="connsiteX13" fmla="*/ 37148 w 109428"/>
                <a:gd name="connsiteY13" fmla="*/ 10478 h 110490"/>
                <a:gd name="connsiteX14" fmla="*/ 34290 w 109428"/>
                <a:gd name="connsiteY14" fmla="*/ 8573 h 110490"/>
                <a:gd name="connsiteX15" fmla="*/ 29528 w 109428"/>
                <a:gd name="connsiteY15" fmla="*/ 3810 h 110490"/>
                <a:gd name="connsiteX16" fmla="*/ 21908 w 109428"/>
                <a:gd name="connsiteY16" fmla="*/ 0 h 110490"/>
                <a:gd name="connsiteX17" fmla="*/ 14288 w 109428"/>
                <a:gd name="connsiteY17" fmla="*/ 3810 h 110490"/>
                <a:gd name="connsiteX18" fmla="*/ 5715 w 109428"/>
                <a:gd name="connsiteY18" fmla="*/ 12383 h 110490"/>
                <a:gd name="connsiteX19" fmla="*/ 0 w 109428"/>
                <a:gd name="connsiteY19" fmla="*/ 22860 h 110490"/>
                <a:gd name="connsiteX20" fmla="*/ 2858 w 109428"/>
                <a:gd name="connsiteY20" fmla="*/ 41910 h 110490"/>
                <a:gd name="connsiteX21" fmla="*/ 21908 w 109428"/>
                <a:gd name="connsiteY21" fmla="*/ 73343 h 110490"/>
                <a:gd name="connsiteX22" fmla="*/ 60960 w 109428"/>
                <a:gd name="connsiteY22" fmla="*/ 103823 h 110490"/>
                <a:gd name="connsiteX23" fmla="*/ 82868 w 109428"/>
                <a:gd name="connsiteY23" fmla="*/ 110490 h 110490"/>
                <a:gd name="connsiteX24" fmla="*/ 84773 w 109428"/>
                <a:gd name="connsiteY24" fmla="*/ 110490 h 110490"/>
                <a:gd name="connsiteX25" fmla="*/ 99060 w 109428"/>
                <a:gd name="connsiteY25" fmla="*/ 104775 h 110490"/>
                <a:gd name="connsiteX26" fmla="*/ 99060 w 109428"/>
                <a:gd name="connsiteY26" fmla="*/ 104775 h 110490"/>
                <a:gd name="connsiteX27" fmla="*/ 103823 w 109428"/>
                <a:gd name="connsiteY27" fmla="*/ 100013 h 110490"/>
                <a:gd name="connsiteX28" fmla="*/ 106680 w 109428"/>
                <a:gd name="connsiteY28" fmla="*/ 97155 h 110490"/>
                <a:gd name="connsiteX29" fmla="*/ 105728 w 109428"/>
                <a:gd name="connsiteY29" fmla="*/ 80010 h 110490"/>
                <a:gd name="connsiteX30" fmla="*/ 101918 w 109428"/>
                <a:gd name="connsiteY30" fmla="*/ 92393 h 110490"/>
                <a:gd name="connsiteX31" fmla="*/ 99060 w 109428"/>
                <a:gd name="connsiteY31" fmla="*/ 95250 h 110490"/>
                <a:gd name="connsiteX32" fmla="*/ 94298 w 109428"/>
                <a:gd name="connsiteY32" fmla="*/ 100013 h 110490"/>
                <a:gd name="connsiteX33" fmla="*/ 84773 w 109428"/>
                <a:gd name="connsiteY33" fmla="*/ 103823 h 110490"/>
                <a:gd name="connsiteX34" fmla="*/ 83820 w 109428"/>
                <a:gd name="connsiteY34" fmla="*/ 103823 h 110490"/>
                <a:gd name="connsiteX35" fmla="*/ 63818 w 109428"/>
                <a:gd name="connsiteY35" fmla="*/ 98108 h 110490"/>
                <a:gd name="connsiteX36" fmla="*/ 26670 w 109428"/>
                <a:gd name="connsiteY36" fmla="*/ 69533 h 110490"/>
                <a:gd name="connsiteX37" fmla="*/ 8573 w 109428"/>
                <a:gd name="connsiteY37" fmla="*/ 40005 h 110490"/>
                <a:gd name="connsiteX38" fmla="*/ 5715 w 109428"/>
                <a:gd name="connsiteY38" fmla="*/ 23813 h 110490"/>
                <a:gd name="connsiteX39" fmla="*/ 9525 w 109428"/>
                <a:gd name="connsiteY39" fmla="*/ 16193 h 110490"/>
                <a:gd name="connsiteX40" fmla="*/ 18098 w 109428"/>
                <a:gd name="connsiteY40" fmla="*/ 7620 h 110490"/>
                <a:gd name="connsiteX41" fmla="*/ 21908 w 109428"/>
                <a:gd name="connsiteY41" fmla="*/ 5715 h 110490"/>
                <a:gd name="connsiteX42" fmla="*/ 25718 w 109428"/>
                <a:gd name="connsiteY42" fmla="*/ 7620 h 110490"/>
                <a:gd name="connsiteX43" fmla="*/ 30480 w 109428"/>
                <a:gd name="connsiteY43" fmla="*/ 12383 h 110490"/>
                <a:gd name="connsiteX44" fmla="*/ 32385 w 109428"/>
                <a:gd name="connsiteY44" fmla="*/ 15240 h 110490"/>
                <a:gd name="connsiteX45" fmla="*/ 39053 w 109428"/>
                <a:gd name="connsiteY45" fmla="*/ 21908 h 110490"/>
                <a:gd name="connsiteX46" fmla="*/ 40958 w 109428"/>
                <a:gd name="connsiteY46" fmla="*/ 25718 h 110490"/>
                <a:gd name="connsiteX47" fmla="*/ 39053 w 109428"/>
                <a:gd name="connsiteY47" fmla="*/ 29528 h 110490"/>
                <a:gd name="connsiteX48" fmla="*/ 38100 w 109428"/>
                <a:gd name="connsiteY48" fmla="*/ 32385 h 110490"/>
                <a:gd name="connsiteX49" fmla="*/ 31433 w 109428"/>
                <a:gd name="connsiteY49" fmla="*/ 38100 h 110490"/>
                <a:gd name="connsiteX50" fmla="*/ 31433 w 109428"/>
                <a:gd name="connsiteY50" fmla="*/ 38100 h 110490"/>
                <a:gd name="connsiteX51" fmla="*/ 30480 w 109428"/>
                <a:gd name="connsiteY51" fmla="*/ 42863 h 110490"/>
                <a:gd name="connsiteX52" fmla="*/ 30480 w 109428"/>
                <a:gd name="connsiteY52" fmla="*/ 42863 h 110490"/>
                <a:gd name="connsiteX53" fmla="*/ 38100 w 109428"/>
                <a:gd name="connsiteY53" fmla="*/ 56198 h 110490"/>
                <a:gd name="connsiteX54" fmla="*/ 60008 w 109428"/>
                <a:gd name="connsiteY54" fmla="*/ 76200 h 110490"/>
                <a:gd name="connsiteX55" fmla="*/ 62865 w 109428"/>
                <a:gd name="connsiteY55" fmla="*/ 78105 h 110490"/>
                <a:gd name="connsiteX56" fmla="*/ 65723 w 109428"/>
                <a:gd name="connsiteY56" fmla="*/ 79058 h 110490"/>
                <a:gd name="connsiteX57" fmla="*/ 65723 w 109428"/>
                <a:gd name="connsiteY57" fmla="*/ 79058 h 110490"/>
                <a:gd name="connsiteX58" fmla="*/ 67628 w 109428"/>
                <a:gd name="connsiteY58" fmla="*/ 80010 h 110490"/>
                <a:gd name="connsiteX59" fmla="*/ 71438 w 109428"/>
                <a:gd name="connsiteY59" fmla="*/ 78105 h 110490"/>
                <a:gd name="connsiteX60" fmla="*/ 80010 w 109428"/>
                <a:gd name="connsiteY60" fmla="*/ 69533 h 110490"/>
                <a:gd name="connsiteX61" fmla="*/ 83820 w 109428"/>
                <a:gd name="connsiteY61" fmla="*/ 67628 h 110490"/>
                <a:gd name="connsiteX62" fmla="*/ 87630 w 109428"/>
                <a:gd name="connsiteY62" fmla="*/ 69533 h 110490"/>
                <a:gd name="connsiteX63" fmla="*/ 100965 w 109428"/>
                <a:gd name="connsiteY63" fmla="*/ 82868 h 110490"/>
                <a:gd name="connsiteX64" fmla="*/ 101918 w 109428"/>
                <a:gd name="connsiteY64" fmla="*/ 92393 h 110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109428" h="110489">
                  <a:moveTo>
                    <a:pt x="105728" y="80010"/>
                  </a:moveTo>
                  <a:lnTo>
                    <a:pt x="92393" y="65723"/>
                  </a:lnTo>
                  <a:cubicBezTo>
                    <a:pt x="89535" y="63818"/>
                    <a:pt x="87630" y="62865"/>
                    <a:pt x="83820" y="62865"/>
                  </a:cubicBezTo>
                  <a:cubicBezTo>
                    <a:pt x="80963" y="62865"/>
                    <a:pt x="78105" y="63818"/>
                    <a:pt x="76200" y="65723"/>
                  </a:cubicBezTo>
                  <a:lnTo>
                    <a:pt x="67628" y="74295"/>
                  </a:lnTo>
                  <a:cubicBezTo>
                    <a:pt x="67628" y="73343"/>
                    <a:pt x="66675" y="73343"/>
                    <a:pt x="65723" y="73343"/>
                  </a:cubicBezTo>
                  <a:cubicBezTo>
                    <a:pt x="64770" y="73343"/>
                    <a:pt x="63818" y="72390"/>
                    <a:pt x="62865" y="72390"/>
                  </a:cubicBezTo>
                  <a:cubicBezTo>
                    <a:pt x="56198" y="66675"/>
                    <a:pt x="48578" y="60960"/>
                    <a:pt x="42863" y="53340"/>
                  </a:cubicBezTo>
                  <a:cubicBezTo>
                    <a:pt x="39053" y="48578"/>
                    <a:pt x="37148" y="45720"/>
                    <a:pt x="35243" y="41910"/>
                  </a:cubicBezTo>
                  <a:cubicBezTo>
                    <a:pt x="38100" y="40005"/>
                    <a:pt x="40005" y="38100"/>
                    <a:pt x="41910" y="36195"/>
                  </a:cubicBezTo>
                  <a:cubicBezTo>
                    <a:pt x="42863" y="35243"/>
                    <a:pt x="42863" y="35243"/>
                    <a:pt x="43815" y="34290"/>
                  </a:cubicBezTo>
                  <a:cubicBezTo>
                    <a:pt x="46673" y="31433"/>
                    <a:pt x="47625" y="28575"/>
                    <a:pt x="47625" y="25718"/>
                  </a:cubicBezTo>
                  <a:cubicBezTo>
                    <a:pt x="47625" y="22860"/>
                    <a:pt x="46673" y="20003"/>
                    <a:pt x="43815" y="17145"/>
                  </a:cubicBezTo>
                  <a:lnTo>
                    <a:pt x="37148" y="10478"/>
                  </a:lnTo>
                  <a:cubicBezTo>
                    <a:pt x="36195" y="9525"/>
                    <a:pt x="35243" y="8573"/>
                    <a:pt x="34290" y="8573"/>
                  </a:cubicBezTo>
                  <a:cubicBezTo>
                    <a:pt x="33338" y="6668"/>
                    <a:pt x="31433" y="4763"/>
                    <a:pt x="29528" y="3810"/>
                  </a:cubicBezTo>
                  <a:cubicBezTo>
                    <a:pt x="27623" y="953"/>
                    <a:pt x="24765" y="0"/>
                    <a:pt x="21908" y="0"/>
                  </a:cubicBezTo>
                  <a:cubicBezTo>
                    <a:pt x="19050" y="0"/>
                    <a:pt x="16193" y="953"/>
                    <a:pt x="14288" y="3810"/>
                  </a:cubicBezTo>
                  <a:lnTo>
                    <a:pt x="5715" y="12383"/>
                  </a:lnTo>
                  <a:cubicBezTo>
                    <a:pt x="1905" y="15240"/>
                    <a:pt x="0" y="19050"/>
                    <a:pt x="0" y="22860"/>
                  </a:cubicBezTo>
                  <a:cubicBezTo>
                    <a:pt x="0" y="28575"/>
                    <a:pt x="953" y="34290"/>
                    <a:pt x="2858" y="41910"/>
                  </a:cubicBezTo>
                  <a:cubicBezTo>
                    <a:pt x="6668" y="52388"/>
                    <a:pt x="13335" y="62865"/>
                    <a:pt x="21908" y="73343"/>
                  </a:cubicBezTo>
                  <a:cubicBezTo>
                    <a:pt x="32385" y="86678"/>
                    <a:pt x="45720" y="96203"/>
                    <a:pt x="60960" y="103823"/>
                  </a:cubicBezTo>
                  <a:cubicBezTo>
                    <a:pt x="66675" y="106680"/>
                    <a:pt x="74295" y="109538"/>
                    <a:pt x="82868" y="110490"/>
                  </a:cubicBezTo>
                  <a:cubicBezTo>
                    <a:pt x="83820" y="110490"/>
                    <a:pt x="83820" y="110490"/>
                    <a:pt x="84773" y="110490"/>
                  </a:cubicBezTo>
                  <a:cubicBezTo>
                    <a:pt x="90488" y="110490"/>
                    <a:pt x="95250" y="108585"/>
                    <a:pt x="99060" y="104775"/>
                  </a:cubicBezTo>
                  <a:cubicBezTo>
                    <a:pt x="99060" y="104775"/>
                    <a:pt x="99060" y="104775"/>
                    <a:pt x="99060" y="104775"/>
                  </a:cubicBezTo>
                  <a:cubicBezTo>
                    <a:pt x="100013" y="102870"/>
                    <a:pt x="101918" y="101918"/>
                    <a:pt x="103823" y="100013"/>
                  </a:cubicBezTo>
                  <a:cubicBezTo>
                    <a:pt x="104775" y="99060"/>
                    <a:pt x="105728" y="98108"/>
                    <a:pt x="106680" y="97155"/>
                  </a:cubicBezTo>
                  <a:cubicBezTo>
                    <a:pt x="110490" y="91440"/>
                    <a:pt x="110490" y="84773"/>
                    <a:pt x="105728" y="80010"/>
                  </a:cubicBezTo>
                  <a:close/>
                  <a:moveTo>
                    <a:pt x="101918" y="92393"/>
                  </a:moveTo>
                  <a:cubicBezTo>
                    <a:pt x="100965" y="93345"/>
                    <a:pt x="100013" y="94298"/>
                    <a:pt x="99060" y="95250"/>
                  </a:cubicBezTo>
                  <a:cubicBezTo>
                    <a:pt x="97155" y="97155"/>
                    <a:pt x="96203" y="98108"/>
                    <a:pt x="94298" y="100013"/>
                  </a:cubicBezTo>
                  <a:cubicBezTo>
                    <a:pt x="91440" y="102870"/>
                    <a:pt x="88583" y="103823"/>
                    <a:pt x="84773" y="103823"/>
                  </a:cubicBezTo>
                  <a:cubicBezTo>
                    <a:pt x="84773" y="103823"/>
                    <a:pt x="83820" y="103823"/>
                    <a:pt x="83820" y="103823"/>
                  </a:cubicBezTo>
                  <a:cubicBezTo>
                    <a:pt x="76200" y="102870"/>
                    <a:pt x="69533" y="100013"/>
                    <a:pt x="63818" y="98108"/>
                  </a:cubicBezTo>
                  <a:cubicBezTo>
                    <a:pt x="49530" y="91440"/>
                    <a:pt x="37148" y="81915"/>
                    <a:pt x="26670" y="69533"/>
                  </a:cubicBezTo>
                  <a:cubicBezTo>
                    <a:pt x="18098" y="59055"/>
                    <a:pt x="12383" y="49530"/>
                    <a:pt x="8573" y="40005"/>
                  </a:cubicBezTo>
                  <a:cubicBezTo>
                    <a:pt x="5715" y="33338"/>
                    <a:pt x="5715" y="28575"/>
                    <a:pt x="5715" y="23813"/>
                  </a:cubicBezTo>
                  <a:cubicBezTo>
                    <a:pt x="5715" y="20955"/>
                    <a:pt x="7620" y="18098"/>
                    <a:pt x="9525" y="16193"/>
                  </a:cubicBezTo>
                  <a:lnTo>
                    <a:pt x="18098" y="7620"/>
                  </a:lnTo>
                  <a:cubicBezTo>
                    <a:pt x="19050" y="6668"/>
                    <a:pt x="20955" y="5715"/>
                    <a:pt x="21908" y="5715"/>
                  </a:cubicBezTo>
                  <a:cubicBezTo>
                    <a:pt x="22860" y="5715"/>
                    <a:pt x="24765" y="6668"/>
                    <a:pt x="25718" y="7620"/>
                  </a:cubicBezTo>
                  <a:cubicBezTo>
                    <a:pt x="27623" y="8573"/>
                    <a:pt x="28575" y="10478"/>
                    <a:pt x="30480" y="12383"/>
                  </a:cubicBezTo>
                  <a:cubicBezTo>
                    <a:pt x="31433" y="13335"/>
                    <a:pt x="32385" y="14288"/>
                    <a:pt x="32385" y="15240"/>
                  </a:cubicBezTo>
                  <a:lnTo>
                    <a:pt x="39053" y="21908"/>
                  </a:lnTo>
                  <a:cubicBezTo>
                    <a:pt x="40005" y="22860"/>
                    <a:pt x="40958" y="24765"/>
                    <a:pt x="40958" y="25718"/>
                  </a:cubicBezTo>
                  <a:cubicBezTo>
                    <a:pt x="40958" y="26670"/>
                    <a:pt x="40005" y="28575"/>
                    <a:pt x="39053" y="29528"/>
                  </a:cubicBezTo>
                  <a:cubicBezTo>
                    <a:pt x="39053" y="30480"/>
                    <a:pt x="38100" y="31433"/>
                    <a:pt x="38100" y="32385"/>
                  </a:cubicBezTo>
                  <a:cubicBezTo>
                    <a:pt x="35243" y="34290"/>
                    <a:pt x="33338" y="36195"/>
                    <a:pt x="31433" y="38100"/>
                  </a:cubicBezTo>
                  <a:cubicBezTo>
                    <a:pt x="31433" y="38100"/>
                    <a:pt x="31433" y="38100"/>
                    <a:pt x="31433" y="38100"/>
                  </a:cubicBezTo>
                  <a:cubicBezTo>
                    <a:pt x="29528" y="40005"/>
                    <a:pt x="29528" y="41910"/>
                    <a:pt x="30480" y="42863"/>
                  </a:cubicBezTo>
                  <a:cubicBezTo>
                    <a:pt x="30480" y="42863"/>
                    <a:pt x="30480" y="42863"/>
                    <a:pt x="30480" y="42863"/>
                  </a:cubicBezTo>
                  <a:cubicBezTo>
                    <a:pt x="32385" y="47625"/>
                    <a:pt x="34290" y="51435"/>
                    <a:pt x="38100" y="56198"/>
                  </a:cubicBezTo>
                  <a:cubicBezTo>
                    <a:pt x="44768" y="64770"/>
                    <a:pt x="52388" y="71438"/>
                    <a:pt x="60008" y="76200"/>
                  </a:cubicBezTo>
                  <a:cubicBezTo>
                    <a:pt x="60960" y="77153"/>
                    <a:pt x="61913" y="77153"/>
                    <a:pt x="62865" y="78105"/>
                  </a:cubicBezTo>
                  <a:cubicBezTo>
                    <a:pt x="63818" y="78105"/>
                    <a:pt x="64770" y="79058"/>
                    <a:pt x="65723" y="79058"/>
                  </a:cubicBezTo>
                  <a:cubicBezTo>
                    <a:pt x="65723" y="79058"/>
                    <a:pt x="65723" y="79058"/>
                    <a:pt x="65723" y="79058"/>
                  </a:cubicBezTo>
                  <a:cubicBezTo>
                    <a:pt x="66675" y="79058"/>
                    <a:pt x="67628" y="80010"/>
                    <a:pt x="67628" y="80010"/>
                  </a:cubicBezTo>
                  <a:cubicBezTo>
                    <a:pt x="69533" y="80010"/>
                    <a:pt x="70485" y="79058"/>
                    <a:pt x="71438" y="78105"/>
                  </a:cubicBezTo>
                  <a:lnTo>
                    <a:pt x="80010" y="69533"/>
                  </a:lnTo>
                  <a:cubicBezTo>
                    <a:pt x="80963" y="68580"/>
                    <a:pt x="82868" y="67628"/>
                    <a:pt x="83820" y="67628"/>
                  </a:cubicBezTo>
                  <a:cubicBezTo>
                    <a:pt x="85725" y="67628"/>
                    <a:pt x="86678" y="68580"/>
                    <a:pt x="87630" y="69533"/>
                  </a:cubicBezTo>
                  <a:lnTo>
                    <a:pt x="100965" y="82868"/>
                  </a:lnTo>
                  <a:cubicBezTo>
                    <a:pt x="104775" y="86678"/>
                    <a:pt x="104775" y="89535"/>
                    <a:pt x="101918" y="92393"/>
                  </a:cubicBezTo>
                  <a:close/>
                </a:path>
              </a:pathLst>
            </a:custGeom>
            <a:solidFill>
              <a:srgbClr val="3A5C7D"/>
            </a:solidFill>
            <a:ln w="9525" cap="flat">
              <a:noFill/>
              <a:prstDash val="solid"/>
              <a:miter/>
            </a:ln>
          </p:spPr>
          <p:txBody>
            <a:bodyPr rtlCol="0" anchor="ctr"/>
            <a:lstStyle/>
            <a:p>
              <a:endParaRPr lang="de-DE"/>
            </a:p>
          </p:txBody>
        </p:sp>
      </p:grpSp>
      <p:sp>
        <p:nvSpPr>
          <p:cNvPr id="2" name="Titel 1">
            <a:extLst>
              <a:ext uri="{FF2B5EF4-FFF2-40B4-BE49-F238E27FC236}">
                <a16:creationId xmlns:a16="http://schemas.microsoft.com/office/drawing/2014/main" id="{0526DC72-FA1D-422D-8055-3374742D122B}"/>
              </a:ext>
            </a:extLst>
          </p:cNvPr>
          <p:cNvSpPr>
            <a:spLocks noGrp="1"/>
          </p:cNvSpPr>
          <p:nvPr>
            <p:ph type="title"/>
          </p:nvPr>
        </p:nvSpPr>
        <p:spPr/>
        <p:txBody>
          <a:bodyPr/>
          <a:lstStyle>
            <a:lvl1pPr>
              <a:lnSpc>
                <a:spcPct val="100000"/>
              </a:lnSpc>
              <a:defRPr/>
            </a:lvl1pPr>
          </a:lstStyle>
          <a:p>
            <a:r>
              <a:rPr lang="de-DE"/>
              <a:t>Mastertitelformat bearbeiten</a:t>
            </a:r>
          </a:p>
        </p:txBody>
      </p:sp>
      <p:sp>
        <p:nvSpPr>
          <p:cNvPr id="3" name="Foliennummernplatzhalter 2">
            <a:extLst>
              <a:ext uri="{FF2B5EF4-FFF2-40B4-BE49-F238E27FC236}">
                <a16:creationId xmlns:a16="http://schemas.microsoft.com/office/drawing/2014/main" id="{5B327254-466C-4606-8589-BCC72CBDADDF}"/>
              </a:ext>
            </a:extLst>
          </p:cNvPr>
          <p:cNvSpPr>
            <a:spLocks noGrp="1"/>
          </p:cNvSpPr>
          <p:nvPr>
            <p:ph type="sldNum" sz="quarter" idx="10"/>
          </p:nvPr>
        </p:nvSpPr>
        <p:spPr/>
        <p:txBody>
          <a:bodyPr/>
          <a:lstStyle/>
          <a:p>
            <a:fld id="{A04BEB4F-8CE1-4F18-986F-6CE0A0BE9470}" type="slidenum">
              <a:rPr lang="de-DE" smtClean="0"/>
              <a:t>‹#›</a:t>
            </a:fld>
            <a:endParaRPr lang="de-DE"/>
          </a:p>
        </p:txBody>
      </p:sp>
      <p:sp>
        <p:nvSpPr>
          <p:cNvPr id="244" name="Bildplatzhalter 243">
            <a:extLst>
              <a:ext uri="{FF2B5EF4-FFF2-40B4-BE49-F238E27FC236}">
                <a16:creationId xmlns:a16="http://schemas.microsoft.com/office/drawing/2014/main" id="{BEFA9F10-608F-4384-8CB7-67B15BA77E30}"/>
              </a:ext>
            </a:extLst>
          </p:cNvPr>
          <p:cNvSpPr>
            <a:spLocks noGrp="1"/>
          </p:cNvSpPr>
          <p:nvPr>
            <p:ph type="pic" sz="quarter" idx="11" hasCustomPrompt="1"/>
          </p:nvPr>
        </p:nvSpPr>
        <p:spPr>
          <a:xfrm>
            <a:off x="815952" y="1979612"/>
            <a:ext cx="3677602" cy="3677602"/>
          </a:xfrm>
          <a:custGeom>
            <a:avLst/>
            <a:gdLst>
              <a:gd name="connsiteX0" fmla="*/ 161297 w 3677602"/>
              <a:gd name="connsiteY0" fmla="*/ 0 h 3677602"/>
              <a:gd name="connsiteX1" fmla="*/ 3677602 w 3677602"/>
              <a:gd name="connsiteY1" fmla="*/ 0 h 3677602"/>
              <a:gd name="connsiteX2" fmla="*/ 3677602 w 3677602"/>
              <a:gd name="connsiteY2" fmla="*/ 1627609 h 3677602"/>
              <a:gd name="connsiteX3" fmla="*/ 3677602 w 3677602"/>
              <a:gd name="connsiteY3" fmla="*/ 1851070 h 3677602"/>
              <a:gd name="connsiteX4" fmla="*/ 3677602 w 3677602"/>
              <a:gd name="connsiteY4" fmla="*/ 3487700 h 3677602"/>
              <a:gd name="connsiteX5" fmla="*/ 3676079 w 3677602"/>
              <a:gd name="connsiteY5" fmla="*/ 3504386 h 3677602"/>
              <a:gd name="connsiteX6" fmla="*/ 3506882 w 3677602"/>
              <a:gd name="connsiteY6" fmla="*/ 3674433 h 3677602"/>
              <a:gd name="connsiteX7" fmla="*/ 3475439 w 3677602"/>
              <a:gd name="connsiteY7" fmla="*/ 3677602 h 3677602"/>
              <a:gd name="connsiteX8" fmla="*/ 0 w 3677602"/>
              <a:gd name="connsiteY8" fmla="*/ 3677602 h 3677602"/>
              <a:gd name="connsiteX9" fmla="*/ 0 w 3677602"/>
              <a:gd name="connsiteY9" fmla="*/ 1851070 h 3677602"/>
              <a:gd name="connsiteX10" fmla="*/ 0 w 3677602"/>
              <a:gd name="connsiteY10" fmla="*/ 1627609 h 3677602"/>
              <a:gd name="connsiteX11" fmla="*/ 0 w 3677602"/>
              <a:gd name="connsiteY11" fmla="*/ 166948 h 3677602"/>
              <a:gd name="connsiteX12" fmla="*/ 23 w 3677602"/>
              <a:gd name="connsiteY12" fmla="*/ 166723 h 3677602"/>
              <a:gd name="connsiteX13" fmla="*/ 128514 w 3677602"/>
              <a:gd name="connsiteY13" fmla="*/ 10240 h 3677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77601" h="3677601">
                <a:moveTo>
                  <a:pt x="161297" y="0"/>
                </a:moveTo>
                <a:lnTo>
                  <a:pt x="3677602" y="0"/>
                </a:lnTo>
                <a:lnTo>
                  <a:pt x="3677602" y="1627609"/>
                </a:lnTo>
                <a:lnTo>
                  <a:pt x="3677602" y="1851070"/>
                </a:lnTo>
                <a:lnTo>
                  <a:pt x="3677602" y="3487700"/>
                </a:lnTo>
                <a:lnTo>
                  <a:pt x="3676079" y="3504386"/>
                </a:lnTo>
                <a:cubicBezTo>
                  <a:pt x="3659344" y="3589744"/>
                  <a:pt x="3592225" y="3656968"/>
                  <a:pt x="3506882" y="3674433"/>
                </a:cubicBezTo>
                <a:lnTo>
                  <a:pt x="3475439" y="3677602"/>
                </a:lnTo>
                <a:lnTo>
                  <a:pt x="0" y="3677602"/>
                </a:lnTo>
                <a:lnTo>
                  <a:pt x="0" y="1851070"/>
                </a:lnTo>
                <a:lnTo>
                  <a:pt x="0" y="1627609"/>
                </a:lnTo>
                <a:lnTo>
                  <a:pt x="0" y="166948"/>
                </a:lnTo>
                <a:lnTo>
                  <a:pt x="23" y="166723"/>
                </a:lnTo>
                <a:cubicBezTo>
                  <a:pt x="14564" y="96199"/>
                  <a:pt x="63599" y="37834"/>
                  <a:pt x="128514" y="10240"/>
                </a:cubicBezTo>
                <a:close/>
              </a:path>
            </a:pathLst>
          </a:custGeom>
          <a:effectLst>
            <a:outerShdw blurRad="190500" dist="127000" algn="ctr" rotWithShape="0">
              <a:prstClr val="black">
                <a:alpha val="10000"/>
              </a:prstClr>
            </a:outerShdw>
          </a:effectLst>
        </p:spPr>
        <p:txBody>
          <a:bodyPr wrap="square">
            <a:noAutofit/>
          </a:bodyPr>
          <a:lstStyle>
            <a:lvl1pPr marL="0" marR="0" indent="0" algn="l" defTabSz="1644650" rtl="0" eaLnBrk="0" fontAlgn="base" latinLnBrk="0" hangingPunct="0">
              <a:lnSpc>
                <a:spcPct val="130000"/>
              </a:lnSpc>
              <a:spcBef>
                <a:spcPct val="0"/>
              </a:spcBef>
              <a:spcAft>
                <a:spcPts val="1200"/>
              </a:spcAft>
              <a:buClr>
                <a:srgbClr val="004C99"/>
              </a:buClr>
              <a:buSzPct val="120000"/>
              <a:buFontTx/>
              <a:buBlip>
                <a:blip r:embed="rId2"/>
              </a:buBlip>
              <a:defRPr/>
            </a:lvl1pPr>
            <a:lvl2pPr marL="344488" indent="0" algn="l">
              <a:buNone/>
              <a:defRPr/>
            </a:lvl2pPr>
            <a:lvl3pPr marL="990600" marR="0" indent="-285750" algn="l" defTabSz="1644650" rtl="0" eaLnBrk="0" fontAlgn="base" latinLnBrk="0" hangingPunct="0">
              <a:lnSpc>
                <a:spcPct val="130000"/>
              </a:lnSpc>
              <a:spcBef>
                <a:spcPct val="0"/>
              </a:spcBef>
              <a:spcAft>
                <a:spcPts val="1200"/>
              </a:spcAft>
              <a:buClr>
                <a:srgbClr val="004C99"/>
              </a:buClr>
              <a:buSzPct val="120000"/>
              <a:defRPr/>
            </a:lvl3pPr>
          </a:lstStyle>
          <a:p>
            <a:pPr marL="285750" marR="0" lvl="0" indent="-285750" algn="l" defTabSz="1644650" rtl="0" eaLnBrk="0" fontAlgn="base" latinLnBrk="0" hangingPunct="0">
              <a:lnSpc>
                <a:spcPct val="130000"/>
              </a:lnSpc>
              <a:spcBef>
                <a:spcPct val="0"/>
              </a:spcBef>
              <a:spcAft>
                <a:spcPts val="1200"/>
              </a:spcAft>
              <a:buClr>
                <a:srgbClr val="004C99"/>
              </a:buClr>
              <a:buSzPct val="120000"/>
              <a:defRPr/>
            </a:pPr>
            <a:r>
              <a:rPr lang="de-DE"/>
              <a:t>Please insert image</a:t>
            </a:r>
          </a:p>
        </p:txBody>
      </p:sp>
      <p:sp>
        <p:nvSpPr>
          <p:cNvPr id="19" name="Textplatzhalter 16">
            <a:extLst>
              <a:ext uri="{FF2B5EF4-FFF2-40B4-BE49-F238E27FC236}">
                <a16:creationId xmlns:a16="http://schemas.microsoft.com/office/drawing/2014/main" id="{93A96B82-B2E7-4ED9-BED8-958994003381}"/>
              </a:ext>
            </a:extLst>
          </p:cNvPr>
          <p:cNvSpPr>
            <a:spLocks noGrp="1"/>
          </p:cNvSpPr>
          <p:nvPr>
            <p:ph type="body" sz="quarter" idx="12" hasCustomPrompt="1"/>
          </p:nvPr>
        </p:nvSpPr>
        <p:spPr>
          <a:xfrm>
            <a:off x="4815065" y="1979612"/>
            <a:ext cx="6560982" cy="508000"/>
          </a:xfrm>
        </p:spPr>
        <p:txBody>
          <a:bodyPr/>
          <a:lstStyle>
            <a:lvl1pPr marL="0" indent="0">
              <a:buNone/>
              <a:defRPr b="0">
                <a:latin typeface="Roboto Medium" panose="02000000000000000000" pitchFamily="2" charset="0"/>
                <a:ea typeface="Roboto Medium" panose="02000000000000000000" pitchFamily="2" charset="0"/>
              </a:defRPr>
            </a:lvl1pPr>
          </a:lstStyle>
          <a:p>
            <a:pPr lvl="0"/>
            <a:r>
              <a:rPr lang="de-DE"/>
              <a:t>Enter name</a:t>
            </a:r>
          </a:p>
        </p:txBody>
      </p:sp>
      <p:sp>
        <p:nvSpPr>
          <p:cNvPr id="20" name="Textplatzhalter 16">
            <a:extLst>
              <a:ext uri="{FF2B5EF4-FFF2-40B4-BE49-F238E27FC236}">
                <a16:creationId xmlns:a16="http://schemas.microsoft.com/office/drawing/2014/main" id="{142F198E-1DB4-4E63-A2C7-0A4547AC0674}"/>
              </a:ext>
            </a:extLst>
          </p:cNvPr>
          <p:cNvSpPr>
            <a:spLocks noGrp="1"/>
          </p:cNvSpPr>
          <p:nvPr>
            <p:ph type="body" sz="quarter" idx="13" hasCustomPrompt="1"/>
          </p:nvPr>
        </p:nvSpPr>
        <p:spPr>
          <a:xfrm>
            <a:off x="4815065" y="2601912"/>
            <a:ext cx="6560982" cy="1250110"/>
          </a:xfrm>
        </p:spPr>
        <p:txBody>
          <a:bodyPr>
            <a:normAutofit/>
          </a:bodyPr>
          <a:lstStyle>
            <a:lvl1pPr marL="0" indent="0">
              <a:buNone/>
              <a:defRPr sz="1800" baseline="0">
                <a:solidFill>
                  <a:schemeClr val="tx1"/>
                </a:solidFill>
                <a:latin typeface="+mn-lt"/>
                <a:ea typeface="Roboto Medium" panose="02000000000000000000" pitchFamily="2" charset="0"/>
              </a:defRPr>
            </a:lvl1pPr>
          </a:lstStyle>
          <a:p>
            <a:pPr lvl="0"/>
            <a:r>
              <a:rPr lang="de-DE"/>
              <a:t>Enter job title and adress</a:t>
            </a:r>
          </a:p>
        </p:txBody>
      </p:sp>
      <p:sp>
        <p:nvSpPr>
          <p:cNvPr id="27" name="Textplatzhalter 16">
            <a:extLst>
              <a:ext uri="{FF2B5EF4-FFF2-40B4-BE49-F238E27FC236}">
                <a16:creationId xmlns:a16="http://schemas.microsoft.com/office/drawing/2014/main" id="{7014F03A-61A7-4B14-B49F-D025A3D18EC3}"/>
              </a:ext>
            </a:extLst>
          </p:cNvPr>
          <p:cNvSpPr>
            <a:spLocks noGrp="1"/>
          </p:cNvSpPr>
          <p:nvPr>
            <p:ph type="body" sz="quarter" idx="14" hasCustomPrompt="1"/>
          </p:nvPr>
        </p:nvSpPr>
        <p:spPr>
          <a:xfrm>
            <a:off x="5561269" y="4045011"/>
            <a:ext cx="5814777" cy="421976"/>
          </a:xfrm>
        </p:spPr>
        <p:txBody>
          <a:bodyPr anchor="ctr">
            <a:normAutofit/>
          </a:bodyPr>
          <a:lstStyle>
            <a:lvl1pPr marL="0" indent="0">
              <a:buNone/>
              <a:defRPr sz="1800">
                <a:solidFill>
                  <a:schemeClr val="tx1"/>
                </a:solidFill>
                <a:latin typeface="+mn-lt"/>
                <a:ea typeface="Roboto Medium" panose="02000000000000000000" pitchFamily="2" charset="0"/>
              </a:defRPr>
            </a:lvl1pPr>
          </a:lstStyle>
          <a:p>
            <a:pPr lvl="0"/>
            <a:r>
              <a:rPr lang="de-DE"/>
              <a:t>Enter phone</a:t>
            </a:r>
          </a:p>
        </p:txBody>
      </p:sp>
      <p:sp>
        <p:nvSpPr>
          <p:cNvPr id="28" name="Textplatzhalter 16">
            <a:extLst>
              <a:ext uri="{FF2B5EF4-FFF2-40B4-BE49-F238E27FC236}">
                <a16:creationId xmlns:a16="http://schemas.microsoft.com/office/drawing/2014/main" id="{903F4678-5805-4A88-8976-545B16AEBDEC}"/>
              </a:ext>
            </a:extLst>
          </p:cNvPr>
          <p:cNvSpPr>
            <a:spLocks noGrp="1"/>
          </p:cNvSpPr>
          <p:nvPr>
            <p:ph type="body" sz="quarter" idx="15" hasCustomPrompt="1"/>
          </p:nvPr>
        </p:nvSpPr>
        <p:spPr>
          <a:xfrm>
            <a:off x="5561270" y="4590192"/>
            <a:ext cx="5814776" cy="421976"/>
          </a:xfrm>
        </p:spPr>
        <p:txBody>
          <a:bodyPr anchor="ctr">
            <a:normAutofit/>
          </a:bodyPr>
          <a:lstStyle>
            <a:lvl1pPr marL="0" indent="0">
              <a:buNone/>
              <a:defRPr sz="1800">
                <a:solidFill>
                  <a:schemeClr val="tx1"/>
                </a:solidFill>
                <a:latin typeface="+mn-lt"/>
                <a:ea typeface="Roboto Medium" panose="02000000000000000000" pitchFamily="2" charset="0"/>
              </a:defRPr>
            </a:lvl1pPr>
          </a:lstStyle>
          <a:p>
            <a:pPr lvl="0"/>
            <a:r>
              <a:rPr lang="de-DE"/>
              <a:t>Enter email</a:t>
            </a:r>
          </a:p>
        </p:txBody>
      </p:sp>
    </p:spTree>
    <p:extLst>
      <p:ext uri="{BB962C8B-B14F-4D97-AF65-F5344CB8AC3E}">
        <p14:creationId xmlns:p14="http://schemas.microsoft.com/office/powerpoint/2010/main" val="4078630404"/>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8" dur="1000" decel="10000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0-#ppt_w/2"/>
                                          </p:val>
                                        </p:tav>
                                        <p:tav tm="100000">
                                          <p:val>
                                            <p:strVal val="#ppt_x"/>
                                          </p:val>
                                        </p:tav>
                                      </p:tavLst>
                                    </p:anim>
                                    <p:anim calcmode="lin" valueType="num">
                                      <p:cBhvr additive="base">
                                        <p:cTn id="8" dur="1000" fill="hold"/>
                                        <p:tgtEl>
                                          <p:spTgt spid="2"/>
                                        </p:tgtEl>
                                        <p:attrNameLst>
                                          <p:attrName>ppt_y</p:attrName>
                                        </p:attrNameLst>
                                      </p:cBhvr>
                                      <p:tavLst>
                                        <p:tav tm="0">
                                          <p:val>
                                            <p:strVal val="#ppt_y"/>
                                          </p:val>
                                        </p:tav>
                                        <p:tav tm="100000">
                                          <p:val>
                                            <p:strVal val="#ppt_y"/>
                                          </p:val>
                                        </p:tav>
                                      </p:tavLst>
                                    </p:anim>
                                  </p:childTnLst>
                                </p:cTn>
                              </p:par>
                              <p:par>
                                <p:cTn id="9" presetID="2" presetClass="entr" presetSubtype="2" dur="1000" decel="100000" fill="hold" grpId="0" nodeType="withEffect">
                                  <p:stCondLst>
                                    <p:cond delay="250"/>
                                  </p:stCondLst>
                                  <p:childTnLst>
                                    <p:set>
                                      <p:cBhvr>
                                        <p:cTn id="10" dur="1" fill="hold">
                                          <p:stCondLst>
                                            <p:cond delay="0"/>
                                          </p:stCondLst>
                                        </p:cTn>
                                        <p:tgtEl>
                                          <p:spTgt spid="19"/>
                                        </p:tgtEl>
                                        <p:attrNameLst>
                                          <p:attrName>style.visibility</p:attrName>
                                        </p:attrNameLst>
                                      </p:cBhvr>
                                      <p:to>
                                        <p:strVal val="visible"/>
                                      </p:to>
                                    </p:set>
                                    <p:anim calcmode="lin" valueType="num">
                                      <p:cBhvr additive="base">
                                        <p:cTn id="11" dur="1000" fill="hold"/>
                                        <p:tgtEl>
                                          <p:spTgt spid="19"/>
                                        </p:tgtEl>
                                        <p:attrNameLst>
                                          <p:attrName>ppt_x</p:attrName>
                                        </p:attrNameLst>
                                      </p:cBhvr>
                                      <p:tavLst>
                                        <p:tav tm="0">
                                          <p:val>
                                            <p:strVal val="1+#ppt_w/2"/>
                                          </p:val>
                                        </p:tav>
                                        <p:tav tm="100000">
                                          <p:val>
                                            <p:strVal val="#ppt_x"/>
                                          </p:val>
                                        </p:tav>
                                      </p:tavLst>
                                    </p:anim>
                                    <p:anim calcmode="lin" valueType="num">
                                      <p:cBhvr additive="base">
                                        <p:cTn id="12" dur="1000" fill="hold"/>
                                        <p:tgtEl>
                                          <p:spTgt spid="19"/>
                                        </p:tgtEl>
                                        <p:attrNameLst>
                                          <p:attrName>ppt_y</p:attrName>
                                        </p:attrNameLst>
                                      </p:cBhvr>
                                      <p:tavLst>
                                        <p:tav tm="0">
                                          <p:val>
                                            <p:strVal val="#ppt_y"/>
                                          </p:val>
                                        </p:tav>
                                        <p:tav tm="100000">
                                          <p:val>
                                            <p:strVal val="#ppt_y"/>
                                          </p:val>
                                        </p:tav>
                                      </p:tavLst>
                                    </p:anim>
                                  </p:childTnLst>
                                </p:cTn>
                              </p:par>
                              <p:par>
                                <p:cTn id="13" presetID="2" presetClass="entr" presetSubtype="2" dur="1000" decel="100000" fill="hold" grpId="0" nodeType="withEffect">
                                  <p:stCondLst>
                                    <p:cond delay="250"/>
                                  </p:stCondLst>
                                  <p:childTnLst>
                                    <p:set>
                                      <p:cBhvr>
                                        <p:cTn id="14" dur="1" fill="hold">
                                          <p:stCondLst>
                                            <p:cond delay="0"/>
                                          </p:stCondLst>
                                        </p:cTn>
                                        <p:tgtEl>
                                          <p:spTgt spid="20"/>
                                        </p:tgtEl>
                                        <p:attrNameLst>
                                          <p:attrName>style.visibility</p:attrName>
                                        </p:attrNameLst>
                                      </p:cBhvr>
                                      <p:to>
                                        <p:strVal val="visible"/>
                                      </p:to>
                                    </p:set>
                                    <p:anim calcmode="lin" valueType="num">
                                      <p:cBhvr additive="base">
                                        <p:cTn id="15" dur="1000" fill="hold"/>
                                        <p:tgtEl>
                                          <p:spTgt spid="20"/>
                                        </p:tgtEl>
                                        <p:attrNameLst>
                                          <p:attrName>ppt_x</p:attrName>
                                        </p:attrNameLst>
                                      </p:cBhvr>
                                      <p:tavLst>
                                        <p:tav tm="0">
                                          <p:val>
                                            <p:strVal val="1+#ppt_w/2"/>
                                          </p:val>
                                        </p:tav>
                                        <p:tav tm="100000">
                                          <p:val>
                                            <p:strVal val="#ppt_x"/>
                                          </p:val>
                                        </p:tav>
                                      </p:tavLst>
                                    </p:anim>
                                    <p:anim calcmode="lin" valueType="num">
                                      <p:cBhvr additive="base">
                                        <p:cTn id="16" dur="1000" fill="hold"/>
                                        <p:tgtEl>
                                          <p:spTgt spid="20"/>
                                        </p:tgtEl>
                                        <p:attrNameLst>
                                          <p:attrName>ppt_y</p:attrName>
                                        </p:attrNameLst>
                                      </p:cBhvr>
                                      <p:tavLst>
                                        <p:tav tm="0">
                                          <p:val>
                                            <p:strVal val="#ppt_y"/>
                                          </p:val>
                                        </p:tav>
                                        <p:tav tm="100000">
                                          <p:val>
                                            <p:strVal val="#ppt_y"/>
                                          </p:val>
                                        </p:tav>
                                      </p:tavLst>
                                    </p:anim>
                                  </p:childTnLst>
                                </p:cTn>
                              </p:par>
                              <p:par>
                                <p:cTn id="17" presetID="2" presetClass="entr" presetSubtype="2" dur="1000" decel="100000" fill="hold" nodeType="withEffect">
                                  <p:stCondLst>
                                    <p:cond delay="250"/>
                                  </p:stCondLst>
                                  <p:childTnLst>
                                    <p:set>
                                      <p:cBhvr>
                                        <p:cTn id="18" dur="1" fill="hold">
                                          <p:stCondLst>
                                            <p:cond delay="0"/>
                                          </p:stCondLst>
                                        </p:cTn>
                                        <p:tgtEl>
                                          <p:spTgt spid="36"/>
                                        </p:tgtEl>
                                        <p:attrNameLst>
                                          <p:attrName>style.visibility</p:attrName>
                                        </p:attrNameLst>
                                      </p:cBhvr>
                                      <p:to>
                                        <p:strVal val="visible"/>
                                      </p:to>
                                    </p:set>
                                    <p:anim calcmode="lin" valueType="num">
                                      <p:cBhvr additive="base">
                                        <p:cTn id="19" dur="1000" fill="hold"/>
                                        <p:tgtEl>
                                          <p:spTgt spid="36"/>
                                        </p:tgtEl>
                                        <p:attrNameLst>
                                          <p:attrName>ppt_x</p:attrName>
                                        </p:attrNameLst>
                                      </p:cBhvr>
                                      <p:tavLst>
                                        <p:tav tm="0">
                                          <p:val>
                                            <p:strVal val="1+#ppt_w/2"/>
                                          </p:val>
                                        </p:tav>
                                        <p:tav tm="100000">
                                          <p:val>
                                            <p:strVal val="#ppt_x"/>
                                          </p:val>
                                        </p:tav>
                                      </p:tavLst>
                                    </p:anim>
                                    <p:anim calcmode="lin" valueType="num">
                                      <p:cBhvr additive="base">
                                        <p:cTn id="20" dur="1000" fill="hold"/>
                                        <p:tgtEl>
                                          <p:spTgt spid="36"/>
                                        </p:tgtEl>
                                        <p:attrNameLst>
                                          <p:attrName>ppt_y</p:attrName>
                                        </p:attrNameLst>
                                      </p:cBhvr>
                                      <p:tavLst>
                                        <p:tav tm="0">
                                          <p:val>
                                            <p:strVal val="#ppt_y"/>
                                          </p:val>
                                        </p:tav>
                                        <p:tav tm="100000">
                                          <p:val>
                                            <p:strVal val="#ppt_y"/>
                                          </p:val>
                                        </p:tav>
                                      </p:tavLst>
                                    </p:anim>
                                  </p:childTnLst>
                                </p:cTn>
                              </p:par>
                              <p:par>
                                <p:cTn id="21" presetID="2" presetClass="entr" presetSubtype="2" dur="1000" decel="100000" fill="hold" nodeType="withEffect">
                                  <p:stCondLst>
                                    <p:cond delay="250"/>
                                  </p:stCondLst>
                                  <p:childTnLst>
                                    <p:set>
                                      <p:cBhvr>
                                        <p:cTn id="22" dur="1" fill="hold">
                                          <p:stCondLst>
                                            <p:cond delay="0"/>
                                          </p:stCondLst>
                                        </p:cTn>
                                        <p:tgtEl>
                                          <p:spTgt spid="39"/>
                                        </p:tgtEl>
                                        <p:attrNameLst>
                                          <p:attrName>style.visibility</p:attrName>
                                        </p:attrNameLst>
                                      </p:cBhvr>
                                      <p:to>
                                        <p:strVal val="visible"/>
                                      </p:to>
                                    </p:set>
                                    <p:anim calcmode="lin" valueType="num">
                                      <p:cBhvr additive="base">
                                        <p:cTn id="23" dur="1000" fill="hold"/>
                                        <p:tgtEl>
                                          <p:spTgt spid="39"/>
                                        </p:tgtEl>
                                        <p:attrNameLst>
                                          <p:attrName>ppt_x</p:attrName>
                                        </p:attrNameLst>
                                      </p:cBhvr>
                                      <p:tavLst>
                                        <p:tav tm="0">
                                          <p:val>
                                            <p:strVal val="1+#ppt_w/2"/>
                                          </p:val>
                                        </p:tav>
                                        <p:tav tm="100000">
                                          <p:val>
                                            <p:strVal val="#ppt_x"/>
                                          </p:val>
                                        </p:tav>
                                      </p:tavLst>
                                    </p:anim>
                                    <p:anim calcmode="lin" valueType="num">
                                      <p:cBhvr additive="base">
                                        <p:cTn id="24" dur="1000" fill="hold"/>
                                        <p:tgtEl>
                                          <p:spTgt spid="39"/>
                                        </p:tgtEl>
                                        <p:attrNameLst>
                                          <p:attrName>ppt_y</p:attrName>
                                        </p:attrNameLst>
                                      </p:cBhvr>
                                      <p:tavLst>
                                        <p:tav tm="0">
                                          <p:val>
                                            <p:strVal val="#ppt_y"/>
                                          </p:val>
                                        </p:tav>
                                        <p:tav tm="100000">
                                          <p:val>
                                            <p:strVal val="#ppt_y"/>
                                          </p:val>
                                        </p:tav>
                                      </p:tavLst>
                                    </p:anim>
                                  </p:childTnLst>
                                </p:cTn>
                              </p:par>
                              <p:par>
                                <p:cTn id="25" presetID="2" presetClass="entr" presetSubtype="2" dur="1000" decel="100000" fill="hold" grpId="0" nodeType="withEffect">
                                  <p:stCondLst>
                                    <p:cond delay="250"/>
                                  </p:stCondLst>
                                  <p:childTnLst>
                                    <p:set>
                                      <p:cBhvr>
                                        <p:cTn id="26" dur="1" fill="hold">
                                          <p:stCondLst>
                                            <p:cond delay="0"/>
                                          </p:stCondLst>
                                        </p:cTn>
                                        <p:tgtEl>
                                          <p:spTgt spid="27">
                                            <p:txEl>
                                              <p:pRg st="0" end="0"/>
                                            </p:txEl>
                                          </p:spTgt>
                                        </p:tgtEl>
                                        <p:attrNameLst>
                                          <p:attrName>style.visibility</p:attrName>
                                        </p:attrNameLst>
                                      </p:cBhvr>
                                      <p:to>
                                        <p:strVal val="visible"/>
                                      </p:to>
                                    </p:set>
                                    <p:anim calcmode="lin" valueType="num">
                                      <p:cBhvr additive="base">
                                        <p:cTn id="27" dur="1000" fill="hold"/>
                                        <p:tgtEl>
                                          <p:spTgt spid="27">
                                            <p:txEl>
                                              <p:pRg st="0" end="0"/>
                                            </p:txEl>
                                          </p:spTgt>
                                        </p:tgtEl>
                                        <p:attrNameLst>
                                          <p:attrName>ppt_x</p:attrName>
                                        </p:attrNameLst>
                                      </p:cBhvr>
                                      <p:tavLst>
                                        <p:tav tm="0">
                                          <p:val>
                                            <p:strVal val="1+#ppt_w/2"/>
                                          </p:val>
                                        </p:tav>
                                        <p:tav tm="100000">
                                          <p:val>
                                            <p:strVal val="#ppt_x"/>
                                          </p:val>
                                        </p:tav>
                                      </p:tavLst>
                                    </p:anim>
                                    <p:anim calcmode="lin" valueType="num">
                                      <p:cBhvr additive="base">
                                        <p:cTn id="28" dur="1000" fill="hold"/>
                                        <p:tgtEl>
                                          <p:spTgt spid="27">
                                            <p:txEl>
                                              <p:pRg st="0" end="0"/>
                                            </p:txEl>
                                          </p:spTgt>
                                        </p:tgtEl>
                                        <p:attrNameLst>
                                          <p:attrName>ppt_y</p:attrName>
                                        </p:attrNameLst>
                                      </p:cBhvr>
                                      <p:tavLst>
                                        <p:tav tm="0">
                                          <p:val>
                                            <p:strVal val="#ppt_y"/>
                                          </p:val>
                                        </p:tav>
                                        <p:tav tm="100000">
                                          <p:val>
                                            <p:strVal val="#ppt_y"/>
                                          </p:val>
                                        </p:tav>
                                      </p:tavLst>
                                    </p:anim>
                                  </p:childTnLst>
                                </p:cTn>
                              </p:par>
                              <p:par>
                                <p:cTn id="29" presetID="2" presetClass="entr" presetSubtype="2" dur="1000" decel="100000" fill="hold" grpId="0" nodeType="withEffect">
                                  <p:stCondLst>
                                    <p:cond delay="250"/>
                                  </p:stCondLst>
                                  <p:childTnLst>
                                    <p:set>
                                      <p:cBhvr>
                                        <p:cTn id="30" dur="1" fill="hold">
                                          <p:stCondLst>
                                            <p:cond delay="0"/>
                                          </p:stCondLst>
                                        </p:cTn>
                                        <p:tgtEl>
                                          <p:spTgt spid="28">
                                            <p:txEl>
                                              <p:pRg st="0" end="0"/>
                                            </p:txEl>
                                          </p:spTgt>
                                        </p:tgtEl>
                                        <p:attrNameLst>
                                          <p:attrName>style.visibility</p:attrName>
                                        </p:attrNameLst>
                                      </p:cBhvr>
                                      <p:to>
                                        <p:strVal val="visible"/>
                                      </p:to>
                                    </p:set>
                                    <p:anim calcmode="lin" valueType="num">
                                      <p:cBhvr additive="base">
                                        <p:cTn id="31" dur="1000" fill="hold"/>
                                        <p:tgtEl>
                                          <p:spTgt spid="28">
                                            <p:txEl>
                                              <p:pRg st="0" end="0"/>
                                            </p:txEl>
                                          </p:spTgt>
                                        </p:tgtEl>
                                        <p:attrNameLst>
                                          <p:attrName>ppt_x</p:attrName>
                                        </p:attrNameLst>
                                      </p:cBhvr>
                                      <p:tavLst>
                                        <p:tav tm="0">
                                          <p:val>
                                            <p:strVal val="1+#ppt_w/2"/>
                                          </p:val>
                                        </p:tav>
                                        <p:tav tm="100000">
                                          <p:val>
                                            <p:strVal val="#ppt_x"/>
                                          </p:val>
                                        </p:tav>
                                      </p:tavLst>
                                    </p:anim>
                                    <p:anim calcmode="lin" valueType="num">
                                      <p:cBhvr additive="base">
                                        <p:cTn id="32" dur="1000" fill="hold"/>
                                        <p:tgtEl>
                                          <p:spTgt spid="28">
                                            <p:txEl>
                                              <p:pRg st="0" end="0"/>
                                            </p:txEl>
                                          </p:spTgt>
                                        </p:tgtEl>
                                        <p:attrNameLst>
                                          <p:attrName>ppt_y</p:attrName>
                                        </p:attrNameLst>
                                      </p:cBhvr>
                                      <p:tavLst>
                                        <p:tav tm="0">
                                          <p:val>
                                            <p:strVal val="#ppt_y"/>
                                          </p:val>
                                        </p:tav>
                                        <p:tav tm="100000">
                                          <p:val>
                                            <p:strVal val="#ppt_y"/>
                                          </p:val>
                                        </p:tav>
                                      </p:tavLst>
                                    </p:anim>
                                  </p:childTnLst>
                                </p:cTn>
                              </p:par>
                              <p:par>
                                <p:cTn id="33" presetID="26" presetClass="emph" presetSubtype="0" dur="2000" repeatCount="indefinite" fill="hold" grpId="0" nodeType="withEffect">
                                  <p:stCondLst>
                                    <p:cond delay="0"/>
                                  </p:stCondLst>
                                  <p:childTnLst>
                                    <p:animEffect transition="out" filter="fade">
                                      <p:cBhvr>
                                        <p:cTn id="34" dur="2000" tmFilter="0, 0; .2, .5; .8, .5; 1, 0"/>
                                        <p:tgtEl>
                                          <p:spTgt spid="309"/>
                                        </p:tgtEl>
                                      </p:cBhvr>
                                    </p:animEffect>
                                    <p:animScale>
                                      <p:cBhvr>
                                        <p:cTn id="35" dur="1000" autoRev="1" fill="hold"/>
                                        <p:tgtEl>
                                          <p:spTgt spid="309"/>
                                        </p:tgtEl>
                                      </p:cBhvr>
                                      <p:by x="105000" y="105000"/>
                                    </p:animScale>
                                  </p:childTnLst>
                                </p:cTn>
                              </p:par>
                              <p:par>
                                <p:cTn id="36" presetID="26" presetClass="emph" presetSubtype="0" dur="2000" repeatCount="indefinite" fill="hold" grpId="0" nodeType="withEffect">
                                  <p:stCondLst>
                                    <p:cond delay="0"/>
                                  </p:stCondLst>
                                  <p:childTnLst>
                                    <p:animEffect transition="out" filter="fade">
                                      <p:cBhvr>
                                        <p:cTn id="37" dur="2000" tmFilter="0, 0; .2, .5; .8, .5; 1, 0"/>
                                        <p:tgtEl>
                                          <p:spTgt spid="310"/>
                                        </p:tgtEl>
                                      </p:cBhvr>
                                    </p:animEffect>
                                    <p:animScale>
                                      <p:cBhvr>
                                        <p:cTn id="38" dur="1000" autoRev="1" fill="hold"/>
                                        <p:tgtEl>
                                          <p:spTgt spid="310"/>
                                        </p:tgtEl>
                                      </p:cBhvr>
                                      <p:by x="105000" y="105000"/>
                                    </p:animScale>
                                  </p:childTnLst>
                                </p:cTn>
                              </p:par>
                              <p:par>
                                <p:cTn id="39" presetID="26" presetClass="emph" presetSubtype="0" dur="2000" repeatCount="indefinite" fill="hold" grpId="0" nodeType="withEffect">
                                  <p:stCondLst>
                                    <p:cond delay="0"/>
                                  </p:stCondLst>
                                  <p:childTnLst>
                                    <p:animEffect transition="out" filter="fade">
                                      <p:cBhvr>
                                        <p:cTn id="40" dur="2000" tmFilter="0, 0; .2, .5; .8, .5; 1, 0"/>
                                        <p:tgtEl>
                                          <p:spTgt spid="311"/>
                                        </p:tgtEl>
                                      </p:cBhvr>
                                    </p:animEffect>
                                    <p:animScale>
                                      <p:cBhvr>
                                        <p:cTn id="41" dur="1000" autoRev="1" fill="hold"/>
                                        <p:tgtEl>
                                          <p:spTgt spid="311"/>
                                        </p:tgtEl>
                                      </p:cBhvr>
                                      <p:by x="105000" y="105000"/>
                                    </p:animScale>
                                  </p:childTnLst>
                                </p:cTn>
                              </p:par>
                              <p:par>
                                <p:cTn id="42" presetID="26" presetClass="emph" presetSubtype="0" dur="2000" repeatCount="indefinite" fill="hold" grpId="0" nodeType="withEffect">
                                  <p:stCondLst>
                                    <p:cond delay="0"/>
                                  </p:stCondLst>
                                  <p:childTnLst>
                                    <p:animEffect transition="out" filter="fade">
                                      <p:cBhvr>
                                        <p:cTn id="43" dur="2000" tmFilter="0, 0; .2, .5; .8, .5; 1, 0"/>
                                        <p:tgtEl>
                                          <p:spTgt spid="312"/>
                                        </p:tgtEl>
                                      </p:cBhvr>
                                    </p:animEffect>
                                    <p:animScale>
                                      <p:cBhvr>
                                        <p:cTn id="44" dur="1000" autoRev="1" fill="hold"/>
                                        <p:tgtEl>
                                          <p:spTgt spid="312"/>
                                        </p:tgtEl>
                                      </p:cBhvr>
                                      <p:by x="105000" y="105000"/>
                                    </p:animScale>
                                  </p:childTnLst>
                                </p:cTn>
                              </p:par>
                              <p:par>
                                <p:cTn id="45" presetID="26" presetClass="emph" presetSubtype="0" dur="2000" repeatCount="indefinite" fill="hold" grpId="0" nodeType="withEffect">
                                  <p:stCondLst>
                                    <p:cond delay="0"/>
                                  </p:stCondLst>
                                  <p:childTnLst>
                                    <p:animEffect transition="out" filter="fade">
                                      <p:cBhvr>
                                        <p:cTn id="46" dur="2000" tmFilter="0, 0; .2, .5; .8, .5; 1, 0"/>
                                        <p:tgtEl>
                                          <p:spTgt spid="313"/>
                                        </p:tgtEl>
                                      </p:cBhvr>
                                    </p:animEffect>
                                    <p:animScale>
                                      <p:cBhvr>
                                        <p:cTn id="47" dur="1000" autoRev="1" fill="hold"/>
                                        <p:tgtEl>
                                          <p:spTgt spid="313"/>
                                        </p:tgtEl>
                                      </p:cBhvr>
                                      <p:by x="105000" y="105000"/>
                                    </p:animScale>
                                  </p:childTnLst>
                                </p:cTn>
                              </p:par>
                              <p:par>
                                <p:cTn id="48" presetID="26" presetClass="emph" presetSubtype="0" dur="2000" repeatCount="indefinite" fill="hold" grpId="0" nodeType="withEffect">
                                  <p:stCondLst>
                                    <p:cond delay="250"/>
                                  </p:stCondLst>
                                  <p:childTnLst>
                                    <p:animEffect transition="out" filter="fade">
                                      <p:cBhvr>
                                        <p:cTn id="49" dur="2000" tmFilter="0, 0; .2, .5; .8, .5; 1, 0"/>
                                        <p:tgtEl>
                                          <p:spTgt spid="314"/>
                                        </p:tgtEl>
                                      </p:cBhvr>
                                    </p:animEffect>
                                    <p:animScale>
                                      <p:cBhvr>
                                        <p:cTn id="50" dur="1000" autoRev="1" fill="hold"/>
                                        <p:tgtEl>
                                          <p:spTgt spid="314"/>
                                        </p:tgtEl>
                                      </p:cBhvr>
                                      <p:by x="105000" y="105000"/>
                                    </p:animScale>
                                  </p:childTnLst>
                                </p:cTn>
                              </p:par>
                              <p:par>
                                <p:cTn id="51" presetID="26" presetClass="emph" presetSubtype="0" dur="2000" repeatCount="indefinite" fill="hold" grpId="0" nodeType="withEffect">
                                  <p:stCondLst>
                                    <p:cond delay="250"/>
                                  </p:stCondLst>
                                  <p:childTnLst>
                                    <p:animEffect transition="out" filter="fade">
                                      <p:cBhvr>
                                        <p:cTn id="52" dur="2000" tmFilter="0, 0; .2, .5; .8, .5; 1, 0"/>
                                        <p:tgtEl>
                                          <p:spTgt spid="315"/>
                                        </p:tgtEl>
                                      </p:cBhvr>
                                    </p:animEffect>
                                    <p:animScale>
                                      <p:cBhvr>
                                        <p:cTn id="53" dur="1000" autoRev="1" fill="hold"/>
                                        <p:tgtEl>
                                          <p:spTgt spid="315"/>
                                        </p:tgtEl>
                                      </p:cBhvr>
                                      <p:by x="105000" y="105000"/>
                                    </p:animScale>
                                  </p:childTnLst>
                                </p:cTn>
                              </p:par>
                              <p:par>
                                <p:cTn id="54" presetID="26" presetClass="emph" presetSubtype="0" dur="2000" repeatCount="indefinite" fill="hold" grpId="0" nodeType="withEffect">
                                  <p:stCondLst>
                                    <p:cond delay="250"/>
                                  </p:stCondLst>
                                  <p:childTnLst>
                                    <p:animEffect transition="out" filter="fade">
                                      <p:cBhvr>
                                        <p:cTn id="55" dur="2000" tmFilter="0, 0; .2, .5; .8, .5; 1, 0"/>
                                        <p:tgtEl>
                                          <p:spTgt spid="316"/>
                                        </p:tgtEl>
                                      </p:cBhvr>
                                    </p:animEffect>
                                    <p:animScale>
                                      <p:cBhvr>
                                        <p:cTn id="56" dur="1000" autoRev="1" fill="hold"/>
                                        <p:tgtEl>
                                          <p:spTgt spid="316"/>
                                        </p:tgtEl>
                                      </p:cBhvr>
                                      <p:by x="105000" y="105000"/>
                                    </p:animScale>
                                  </p:childTnLst>
                                </p:cTn>
                              </p:par>
                              <p:par>
                                <p:cTn id="57" presetID="26" presetClass="emph" presetSubtype="0" dur="2000" repeatCount="indefinite" fill="hold" grpId="0" nodeType="withEffect">
                                  <p:stCondLst>
                                    <p:cond delay="250"/>
                                  </p:stCondLst>
                                  <p:childTnLst>
                                    <p:animEffect transition="out" filter="fade">
                                      <p:cBhvr>
                                        <p:cTn id="58" dur="2000" tmFilter="0, 0; .2, .5; .8, .5; 1, 0"/>
                                        <p:tgtEl>
                                          <p:spTgt spid="317"/>
                                        </p:tgtEl>
                                      </p:cBhvr>
                                    </p:animEffect>
                                    <p:animScale>
                                      <p:cBhvr>
                                        <p:cTn id="59" dur="1000" autoRev="1" fill="hold"/>
                                        <p:tgtEl>
                                          <p:spTgt spid="317"/>
                                        </p:tgtEl>
                                      </p:cBhvr>
                                      <p:by x="105000" y="105000"/>
                                    </p:animScale>
                                  </p:childTnLst>
                                </p:cTn>
                              </p:par>
                              <p:par>
                                <p:cTn id="60" presetID="26" presetClass="emph" presetSubtype="0" dur="2000" repeatCount="indefinite" fill="hold" grpId="0" nodeType="withEffect">
                                  <p:stCondLst>
                                    <p:cond delay="250"/>
                                  </p:stCondLst>
                                  <p:childTnLst>
                                    <p:animEffect transition="out" filter="fade">
                                      <p:cBhvr>
                                        <p:cTn id="61" dur="2000" tmFilter="0, 0; .2, .5; .8, .5; 1, 0"/>
                                        <p:tgtEl>
                                          <p:spTgt spid="318"/>
                                        </p:tgtEl>
                                      </p:cBhvr>
                                    </p:animEffect>
                                    <p:animScale>
                                      <p:cBhvr>
                                        <p:cTn id="62" dur="1000" autoRev="1" fill="hold"/>
                                        <p:tgtEl>
                                          <p:spTgt spid="318"/>
                                        </p:tgtEl>
                                      </p:cBhvr>
                                      <p:by x="105000" y="105000"/>
                                    </p:animScale>
                                  </p:childTnLst>
                                </p:cTn>
                              </p:par>
                              <p:par>
                                <p:cTn id="63" presetID="26" presetClass="emph" presetSubtype="0" dur="2000" repeatCount="indefinite" fill="hold" grpId="0" nodeType="withEffect">
                                  <p:stCondLst>
                                    <p:cond delay="250"/>
                                  </p:stCondLst>
                                  <p:childTnLst>
                                    <p:animEffect transition="out" filter="fade">
                                      <p:cBhvr>
                                        <p:cTn id="64" dur="2000" tmFilter="0, 0; .2, .5; .8, .5; 1, 0"/>
                                        <p:tgtEl>
                                          <p:spTgt spid="319"/>
                                        </p:tgtEl>
                                      </p:cBhvr>
                                    </p:animEffect>
                                    <p:animScale>
                                      <p:cBhvr>
                                        <p:cTn id="65" dur="1000" autoRev="1" fill="hold"/>
                                        <p:tgtEl>
                                          <p:spTgt spid="319"/>
                                        </p:tgtEl>
                                      </p:cBhvr>
                                      <p:by x="105000" y="105000"/>
                                    </p:animScale>
                                  </p:childTnLst>
                                </p:cTn>
                              </p:par>
                              <p:par>
                                <p:cTn id="66" presetID="26" presetClass="emph" presetSubtype="0" dur="2000" repeatCount="indefinite" fill="hold" grpId="0" nodeType="withEffect">
                                  <p:stCondLst>
                                    <p:cond delay="250"/>
                                  </p:stCondLst>
                                  <p:childTnLst>
                                    <p:animEffect transition="out" filter="fade">
                                      <p:cBhvr>
                                        <p:cTn id="67" dur="2000" tmFilter="0, 0; .2, .5; .8, .5; 1, 0"/>
                                        <p:tgtEl>
                                          <p:spTgt spid="320"/>
                                        </p:tgtEl>
                                      </p:cBhvr>
                                    </p:animEffect>
                                    <p:animScale>
                                      <p:cBhvr>
                                        <p:cTn id="68" dur="1000" autoRev="1" fill="hold"/>
                                        <p:tgtEl>
                                          <p:spTgt spid="320"/>
                                        </p:tgtEl>
                                      </p:cBhvr>
                                      <p:by x="105000" y="105000"/>
                                    </p:animScale>
                                  </p:childTnLst>
                                </p:cTn>
                              </p:par>
                              <p:par>
                                <p:cTn id="69" presetID="26" presetClass="emph" presetSubtype="0" dur="2000" repeatCount="indefinite" fill="hold" grpId="0" nodeType="withEffect">
                                  <p:stCondLst>
                                    <p:cond delay="500"/>
                                  </p:stCondLst>
                                  <p:childTnLst>
                                    <p:animEffect transition="out" filter="fade">
                                      <p:cBhvr>
                                        <p:cTn id="70" dur="2000" tmFilter="0, 0; .2, .5; .8, .5; 1, 0"/>
                                        <p:tgtEl>
                                          <p:spTgt spid="321"/>
                                        </p:tgtEl>
                                      </p:cBhvr>
                                    </p:animEffect>
                                    <p:animScale>
                                      <p:cBhvr>
                                        <p:cTn id="71" dur="1000" autoRev="1" fill="hold"/>
                                        <p:tgtEl>
                                          <p:spTgt spid="321"/>
                                        </p:tgtEl>
                                      </p:cBhvr>
                                      <p:by x="105000" y="105000"/>
                                    </p:animScale>
                                  </p:childTnLst>
                                </p:cTn>
                              </p:par>
                              <p:par>
                                <p:cTn id="72" presetID="26" presetClass="emph" presetSubtype="0" dur="2000" repeatCount="indefinite" fill="hold" grpId="0" nodeType="withEffect">
                                  <p:stCondLst>
                                    <p:cond delay="500"/>
                                  </p:stCondLst>
                                  <p:childTnLst>
                                    <p:animEffect transition="out" filter="fade">
                                      <p:cBhvr>
                                        <p:cTn id="73" dur="2000" tmFilter="0, 0; .2, .5; .8, .5; 1, 0"/>
                                        <p:tgtEl>
                                          <p:spTgt spid="322"/>
                                        </p:tgtEl>
                                      </p:cBhvr>
                                    </p:animEffect>
                                    <p:animScale>
                                      <p:cBhvr>
                                        <p:cTn id="74" dur="1000" autoRev="1" fill="hold"/>
                                        <p:tgtEl>
                                          <p:spTgt spid="322"/>
                                        </p:tgtEl>
                                      </p:cBhvr>
                                      <p:by x="105000" y="105000"/>
                                    </p:animScale>
                                  </p:childTnLst>
                                </p:cTn>
                              </p:par>
                              <p:par>
                                <p:cTn id="75" presetID="26" presetClass="emph" presetSubtype="0" dur="2000" repeatCount="indefinite" fill="hold" grpId="0" nodeType="withEffect">
                                  <p:stCondLst>
                                    <p:cond delay="500"/>
                                  </p:stCondLst>
                                  <p:childTnLst>
                                    <p:animEffect transition="out" filter="fade">
                                      <p:cBhvr>
                                        <p:cTn id="76" dur="2000" tmFilter="0, 0; .2, .5; .8, .5; 1, 0"/>
                                        <p:tgtEl>
                                          <p:spTgt spid="323"/>
                                        </p:tgtEl>
                                      </p:cBhvr>
                                    </p:animEffect>
                                    <p:animScale>
                                      <p:cBhvr>
                                        <p:cTn id="77" dur="1000" autoRev="1" fill="hold"/>
                                        <p:tgtEl>
                                          <p:spTgt spid="323"/>
                                        </p:tgtEl>
                                      </p:cBhvr>
                                      <p:by x="105000" y="105000"/>
                                    </p:animScale>
                                  </p:childTnLst>
                                </p:cTn>
                              </p:par>
                              <p:par>
                                <p:cTn id="78" presetID="26" presetClass="emph" presetSubtype="0" dur="2000" repeatCount="indefinite" fill="hold" grpId="0" nodeType="withEffect">
                                  <p:stCondLst>
                                    <p:cond delay="500"/>
                                  </p:stCondLst>
                                  <p:childTnLst>
                                    <p:animEffect transition="out" filter="fade">
                                      <p:cBhvr>
                                        <p:cTn id="79" dur="2000" tmFilter="0, 0; .2, .5; .8, .5; 1, 0"/>
                                        <p:tgtEl>
                                          <p:spTgt spid="324"/>
                                        </p:tgtEl>
                                      </p:cBhvr>
                                    </p:animEffect>
                                    <p:animScale>
                                      <p:cBhvr>
                                        <p:cTn id="80" dur="1000" autoRev="1" fill="hold"/>
                                        <p:tgtEl>
                                          <p:spTgt spid="324"/>
                                        </p:tgtEl>
                                      </p:cBhvr>
                                      <p:by x="105000" y="105000"/>
                                    </p:animScale>
                                  </p:childTnLst>
                                </p:cTn>
                              </p:par>
                              <p:par>
                                <p:cTn id="81" presetID="26" presetClass="emph" presetSubtype="0" dur="2000" repeatCount="indefinite" fill="hold" grpId="0" nodeType="withEffect">
                                  <p:stCondLst>
                                    <p:cond delay="500"/>
                                  </p:stCondLst>
                                  <p:childTnLst>
                                    <p:animEffect transition="out" filter="fade">
                                      <p:cBhvr>
                                        <p:cTn id="82" dur="2000" tmFilter="0, 0; .2, .5; .8, .5; 1, 0"/>
                                        <p:tgtEl>
                                          <p:spTgt spid="325"/>
                                        </p:tgtEl>
                                      </p:cBhvr>
                                    </p:animEffect>
                                    <p:animScale>
                                      <p:cBhvr>
                                        <p:cTn id="83" dur="1000" autoRev="1" fill="hold"/>
                                        <p:tgtEl>
                                          <p:spTgt spid="325"/>
                                        </p:tgtEl>
                                      </p:cBhvr>
                                      <p:by x="105000" y="105000"/>
                                    </p:animScale>
                                  </p:childTnLst>
                                </p:cTn>
                              </p:par>
                              <p:par>
                                <p:cTn id="84" presetID="26" presetClass="emph" presetSubtype="0" dur="2000" repeatCount="indefinite" fill="hold" grpId="0" nodeType="withEffect">
                                  <p:stCondLst>
                                    <p:cond delay="500"/>
                                  </p:stCondLst>
                                  <p:childTnLst>
                                    <p:animEffect transition="out" filter="fade">
                                      <p:cBhvr>
                                        <p:cTn id="85" dur="2000" tmFilter="0, 0; .2, .5; .8, .5; 1, 0"/>
                                        <p:tgtEl>
                                          <p:spTgt spid="326"/>
                                        </p:tgtEl>
                                      </p:cBhvr>
                                    </p:animEffect>
                                    <p:animScale>
                                      <p:cBhvr>
                                        <p:cTn id="86" dur="1000" autoRev="1" fill="hold"/>
                                        <p:tgtEl>
                                          <p:spTgt spid="326"/>
                                        </p:tgtEl>
                                      </p:cBhvr>
                                      <p:by x="105000" y="105000"/>
                                    </p:animScale>
                                  </p:childTnLst>
                                </p:cTn>
                              </p:par>
                              <p:par>
                                <p:cTn id="87" presetID="26" presetClass="emph" presetSubtype="0" dur="2000" repeatCount="indefinite" fill="hold" grpId="0" nodeType="withEffect">
                                  <p:stCondLst>
                                    <p:cond delay="500"/>
                                  </p:stCondLst>
                                  <p:childTnLst>
                                    <p:animEffect transition="out" filter="fade">
                                      <p:cBhvr>
                                        <p:cTn id="88" dur="2000" tmFilter="0, 0; .2, .5; .8, .5; 1, 0"/>
                                        <p:tgtEl>
                                          <p:spTgt spid="327"/>
                                        </p:tgtEl>
                                      </p:cBhvr>
                                    </p:animEffect>
                                    <p:animScale>
                                      <p:cBhvr>
                                        <p:cTn id="89" dur="1000" autoRev="1" fill="hold"/>
                                        <p:tgtEl>
                                          <p:spTgt spid="327"/>
                                        </p:tgtEl>
                                      </p:cBhvr>
                                      <p:by x="105000" y="105000"/>
                                    </p:animScale>
                                  </p:childTnLst>
                                </p:cTn>
                              </p:par>
                              <p:par>
                                <p:cTn id="90" presetID="26" presetClass="emph" presetSubtype="0" dur="2000" repeatCount="indefinite" fill="hold" grpId="0" nodeType="withEffect">
                                  <p:stCondLst>
                                    <p:cond delay="500"/>
                                  </p:stCondLst>
                                  <p:childTnLst>
                                    <p:animEffect transition="out" filter="fade">
                                      <p:cBhvr>
                                        <p:cTn id="91" dur="2000" tmFilter="0, 0; .2, .5; .8, .5; 1, 0"/>
                                        <p:tgtEl>
                                          <p:spTgt spid="328"/>
                                        </p:tgtEl>
                                      </p:cBhvr>
                                    </p:animEffect>
                                    <p:animScale>
                                      <p:cBhvr>
                                        <p:cTn id="92" dur="1000" autoRev="1" fill="hold"/>
                                        <p:tgtEl>
                                          <p:spTgt spid="328"/>
                                        </p:tgtEl>
                                      </p:cBhvr>
                                      <p:by x="105000" y="105000"/>
                                    </p:animScale>
                                  </p:childTnLst>
                                </p:cTn>
                              </p:par>
                              <p:par>
                                <p:cTn id="93" presetID="26" presetClass="emph" presetSubtype="0" dur="2000" repeatCount="indefinite" fill="hold" grpId="0" nodeType="withEffect">
                                  <p:stCondLst>
                                    <p:cond delay="500"/>
                                  </p:stCondLst>
                                  <p:childTnLst>
                                    <p:animEffect transition="out" filter="fade">
                                      <p:cBhvr>
                                        <p:cTn id="94" dur="2000" tmFilter="0, 0; .2, .5; .8, .5; 1, 0"/>
                                        <p:tgtEl>
                                          <p:spTgt spid="329"/>
                                        </p:tgtEl>
                                      </p:cBhvr>
                                    </p:animEffect>
                                    <p:animScale>
                                      <p:cBhvr>
                                        <p:cTn id="95" dur="1000" autoRev="1" fill="hold"/>
                                        <p:tgtEl>
                                          <p:spTgt spid="329"/>
                                        </p:tgtEl>
                                      </p:cBhvr>
                                      <p:by x="105000" y="105000"/>
                                    </p:animScale>
                                  </p:childTnLst>
                                </p:cTn>
                              </p:par>
                              <p:par>
                                <p:cTn id="96" presetID="26" presetClass="emph" presetSubtype="0" dur="2000" repeatCount="indefinite" fill="hold" grpId="0" nodeType="withEffect">
                                  <p:stCondLst>
                                    <p:cond delay="750"/>
                                  </p:stCondLst>
                                  <p:childTnLst>
                                    <p:animEffect transition="out" filter="fade">
                                      <p:cBhvr>
                                        <p:cTn id="97" dur="2000" tmFilter="0, 0; .2, .5; .8, .5; 1, 0"/>
                                        <p:tgtEl>
                                          <p:spTgt spid="330"/>
                                        </p:tgtEl>
                                      </p:cBhvr>
                                    </p:animEffect>
                                    <p:animScale>
                                      <p:cBhvr>
                                        <p:cTn id="98" dur="1000" autoRev="1" fill="hold"/>
                                        <p:tgtEl>
                                          <p:spTgt spid="330"/>
                                        </p:tgtEl>
                                      </p:cBhvr>
                                      <p:by x="105000" y="105000"/>
                                    </p:animScale>
                                  </p:childTnLst>
                                </p:cTn>
                              </p:par>
                              <p:par>
                                <p:cTn id="99" presetID="26" presetClass="emph" presetSubtype="0" dur="2000" repeatCount="indefinite" fill="hold" grpId="0" nodeType="withEffect">
                                  <p:stCondLst>
                                    <p:cond delay="750"/>
                                  </p:stCondLst>
                                  <p:childTnLst>
                                    <p:animEffect transition="out" filter="fade">
                                      <p:cBhvr>
                                        <p:cTn id="100" dur="2000" tmFilter="0, 0; .2, .5; .8, .5; 1, 0"/>
                                        <p:tgtEl>
                                          <p:spTgt spid="331"/>
                                        </p:tgtEl>
                                      </p:cBhvr>
                                    </p:animEffect>
                                    <p:animScale>
                                      <p:cBhvr>
                                        <p:cTn id="101" dur="1000" autoRev="1" fill="hold"/>
                                        <p:tgtEl>
                                          <p:spTgt spid="331"/>
                                        </p:tgtEl>
                                      </p:cBhvr>
                                      <p:by x="105000" y="105000"/>
                                    </p:animScale>
                                  </p:childTnLst>
                                </p:cTn>
                              </p:par>
                              <p:par>
                                <p:cTn id="102" presetID="26" presetClass="emph" presetSubtype="0" dur="2000" repeatCount="indefinite" fill="hold" grpId="0" nodeType="withEffect">
                                  <p:stCondLst>
                                    <p:cond delay="750"/>
                                  </p:stCondLst>
                                  <p:childTnLst>
                                    <p:animEffect transition="out" filter="fade">
                                      <p:cBhvr>
                                        <p:cTn id="103" dur="2000" tmFilter="0, 0; .2, .5; .8, .5; 1, 0"/>
                                        <p:tgtEl>
                                          <p:spTgt spid="332"/>
                                        </p:tgtEl>
                                      </p:cBhvr>
                                    </p:animEffect>
                                    <p:animScale>
                                      <p:cBhvr>
                                        <p:cTn id="104" dur="1000" autoRev="1" fill="hold"/>
                                        <p:tgtEl>
                                          <p:spTgt spid="332"/>
                                        </p:tgtEl>
                                      </p:cBhvr>
                                      <p:by x="105000" y="105000"/>
                                    </p:animScale>
                                  </p:childTnLst>
                                </p:cTn>
                              </p:par>
                              <p:par>
                                <p:cTn id="105" presetID="26" presetClass="emph" presetSubtype="0" dur="2000" repeatCount="indefinite" fill="hold" grpId="0" nodeType="withEffect">
                                  <p:stCondLst>
                                    <p:cond delay="750"/>
                                  </p:stCondLst>
                                  <p:childTnLst>
                                    <p:animEffect transition="out" filter="fade">
                                      <p:cBhvr>
                                        <p:cTn id="106" dur="2000" tmFilter="0, 0; .2, .5; .8, .5; 1, 0"/>
                                        <p:tgtEl>
                                          <p:spTgt spid="333"/>
                                        </p:tgtEl>
                                      </p:cBhvr>
                                    </p:animEffect>
                                    <p:animScale>
                                      <p:cBhvr>
                                        <p:cTn id="107" dur="1000" autoRev="1" fill="hold"/>
                                        <p:tgtEl>
                                          <p:spTgt spid="333"/>
                                        </p:tgtEl>
                                      </p:cBhvr>
                                      <p:by x="105000" y="105000"/>
                                    </p:animScale>
                                  </p:childTnLst>
                                </p:cTn>
                              </p:par>
                              <p:par>
                                <p:cTn id="108" presetID="26" presetClass="emph" presetSubtype="0" dur="2000" repeatCount="indefinite" fill="hold" grpId="0" nodeType="withEffect">
                                  <p:stCondLst>
                                    <p:cond delay="750"/>
                                  </p:stCondLst>
                                  <p:childTnLst>
                                    <p:animEffect transition="out" filter="fade">
                                      <p:cBhvr>
                                        <p:cTn id="109" dur="2000" tmFilter="0, 0; .2, .5; .8, .5; 1, 0"/>
                                        <p:tgtEl>
                                          <p:spTgt spid="334"/>
                                        </p:tgtEl>
                                      </p:cBhvr>
                                    </p:animEffect>
                                    <p:animScale>
                                      <p:cBhvr>
                                        <p:cTn id="110" dur="1000" autoRev="1" fill="hold"/>
                                        <p:tgtEl>
                                          <p:spTgt spid="334"/>
                                        </p:tgtEl>
                                      </p:cBhvr>
                                      <p:by x="105000" y="105000"/>
                                    </p:animScale>
                                  </p:childTnLst>
                                </p:cTn>
                              </p:par>
                              <p:par>
                                <p:cTn id="111" presetID="26" presetClass="emph" presetSubtype="0" dur="2000" repeatCount="indefinite" fill="hold" grpId="0" nodeType="withEffect">
                                  <p:stCondLst>
                                    <p:cond delay="750"/>
                                  </p:stCondLst>
                                  <p:childTnLst>
                                    <p:animEffect transition="out" filter="fade">
                                      <p:cBhvr>
                                        <p:cTn id="112" dur="2000" tmFilter="0, 0; .2, .5; .8, .5; 1, 0"/>
                                        <p:tgtEl>
                                          <p:spTgt spid="335"/>
                                        </p:tgtEl>
                                      </p:cBhvr>
                                    </p:animEffect>
                                    <p:animScale>
                                      <p:cBhvr>
                                        <p:cTn id="113" dur="1000" autoRev="1" fill="hold"/>
                                        <p:tgtEl>
                                          <p:spTgt spid="335"/>
                                        </p:tgtEl>
                                      </p:cBhvr>
                                      <p:by x="105000" y="105000"/>
                                    </p:animScale>
                                  </p:childTnLst>
                                </p:cTn>
                              </p:par>
                              <p:par>
                                <p:cTn id="114" presetID="26" presetClass="emph" presetSubtype="0" dur="2000" repeatCount="indefinite" fill="hold" grpId="0" nodeType="withEffect">
                                  <p:stCondLst>
                                    <p:cond delay="750"/>
                                  </p:stCondLst>
                                  <p:childTnLst>
                                    <p:animEffect transition="out" filter="fade">
                                      <p:cBhvr>
                                        <p:cTn id="115" dur="2000" tmFilter="0, 0; .2, .5; .8, .5; 1, 0"/>
                                        <p:tgtEl>
                                          <p:spTgt spid="336"/>
                                        </p:tgtEl>
                                      </p:cBhvr>
                                    </p:animEffect>
                                    <p:animScale>
                                      <p:cBhvr>
                                        <p:cTn id="116" dur="1000" autoRev="1" fill="hold"/>
                                        <p:tgtEl>
                                          <p:spTgt spid="336"/>
                                        </p:tgtEl>
                                      </p:cBhvr>
                                      <p:by x="105000" y="105000"/>
                                    </p:animScale>
                                  </p:childTnLst>
                                </p:cTn>
                              </p:par>
                              <p:par>
                                <p:cTn id="117" presetID="26" presetClass="emph" presetSubtype="0" dur="2000" repeatCount="indefinite" fill="hold" grpId="0" nodeType="withEffect">
                                  <p:stCondLst>
                                    <p:cond delay="750"/>
                                  </p:stCondLst>
                                  <p:childTnLst>
                                    <p:animEffect transition="out" filter="fade">
                                      <p:cBhvr>
                                        <p:cTn id="118" dur="2000" tmFilter="0, 0; .2, .5; .8, .5; 1, 0"/>
                                        <p:tgtEl>
                                          <p:spTgt spid="337"/>
                                        </p:tgtEl>
                                      </p:cBhvr>
                                    </p:animEffect>
                                    <p:animScale>
                                      <p:cBhvr>
                                        <p:cTn id="119" dur="1000" autoRev="1" fill="hold"/>
                                        <p:tgtEl>
                                          <p:spTgt spid="337"/>
                                        </p:tgtEl>
                                      </p:cBhvr>
                                      <p:by x="105000" y="105000"/>
                                    </p:animScale>
                                  </p:childTnLst>
                                </p:cTn>
                              </p:par>
                              <p:par>
                                <p:cTn id="120" presetID="26" presetClass="emph" presetSubtype="0" dur="2000" repeatCount="indefinite" fill="hold" grpId="0" nodeType="withEffect">
                                  <p:stCondLst>
                                    <p:cond delay="750"/>
                                  </p:stCondLst>
                                  <p:childTnLst>
                                    <p:animEffect transition="out" filter="fade">
                                      <p:cBhvr>
                                        <p:cTn id="121" dur="2000" tmFilter="0, 0; .2, .5; .8, .5; 1, 0"/>
                                        <p:tgtEl>
                                          <p:spTgt spid="338"/>
                                        </p:tgtEl>
                                      </p:cBhvr>
                                    </p:animEffect>
                                    <p:animScale>
                                      <p:cBhvr>
                                        <p:cTn id="122" dur="1000" autoRev="1" fill="hold"/>
                                        <p:tgtEl>
                                          <p:spTgt spid="338"/>
                                        </p:tgtEl>
                                      </p:cBhvr>
                                      <p:by x="105000" y="105000"/>
                                    </p:animScale>
                                  </p:childTnLst>
                                </p:cTn>
                              </p:par>
                              <p:par>
                                <p:cTn id="123" presetID="26" presetClass="emph" presetSubtype="0" dur="2000" repeatCount="indefinite" fill="hold" grpId="0" nodeType="withEffect">
                                  <p:stCondLst>
                                    <p:cond delay="750"/>
                                  </p:stCondLst>
                                  <p:childTnLst>
                                    <p:animEffect transition="out" filter="fade">
                                      <p:cBhvr>
                                        <p:cTn id="124" dur="2000" tmFilter="0, 0; .2, .5; .8, .5; 1, 0"/>
                                        <p:tgtEl>
                                          <p:spTgt spid="339"/>
                                        </p:tgtEl>
                                      </p:cBhvr>
                                    </p:animEffect>
                                    <p:animScale>
                                      <p:cBhvr>
                                        <p:cTn id="125" dur="1000" autoRev="1" fill="hold"/>
                                        <p:tgtEl>
                                          <p:spTgt spid="339"/>
                                        </p:tgtEl>
                                      </p:cBhvr>
                                      <p:by x="105000" y="105000"/>
                                    </p:animScale>
                                  </p:childTnLst>
                                </p:cTn>
                              </p:par>
                              <p:par>
                                <p:cTn id="126" presetID="26" presetClass="emph" presetSubtype="0" dur="2000" repeatCount="indefinite" fill="hold" grpId="0" nodeType="withEffect">
                                  <p:stCondLst>
                                    <p:cond delay="750"/>
                                  </p:stCondLst>
                                  <p:childTnLst>
                                    <p:animEffect transition="out" filter="fade">
                                      <p:cBhvr>
                                        <p:cTn id="127" dur="2000" tmFilter="0, 0; .2, .5; .8, .5; 1, 0"/>
                                        <p:tgtEl>
                                          <p:spTgt spid="340"/>
                                        </p:tgtEl>
                                      </p:cBhvr>
                                    </p:animEffect>
                                    <p:animScale>
                                      <p:cBhvr>
                                        <p:cTn id="128" dur="1000" autoRev="1" fill="hold"/>
                                        <p:tgtEl>
                                          <p:spTgt spid="340"/>
                                        </p:tgtEl>
                                      </p:cBhvr>
                                      <p:by x="105000" y="105000"/>
                                    </p:animScale>
                                  </p:childTnLst>
                                </p:cTn>
                              </p:par>
                              <p:par>
                                <p:cTn id="129" presetID="26" presetClass="emph" presetSubtype="0" dur="2000" repeatCount="indefinite" fill="hold" grpId="0" nodeType="withEffect">
                                  <p:stCondLst>
                                    <p:cond delay="1000"/>
                                  </p:stCondLst>
                                  <p:childTnLst>
                                    <p:animEffect transition="out" filter="fade">
                                      <p:cBhvr>
                                        <p:cTn id="130" dur="2000" tmFilter="0, 0; .2, .5; .8, .5; 1, 0"/>
                                        <p:tgtEl>
                                          <p:spTgt spid="341"/>
                                        </p:tgtEl>
                                      </p:cBhvr>
                                    </p:animEffect>
                                    <p:animScale>
                                      <p:cBhvr>
                                        <p:cTn id="131" dur="1000" autoRev="1" fill="hold"/>
                                        <p:tgtEl>
                                          <p:spTgt spid="341"/>
                                        </p:tgtEl>
                                      </p:cBhvr>
                                      <p:by x="105000" y="105000"/>
                                    </p:animScale>
                                  </p:childTnLst>
                                </p:cTn>
                              </p:par>
                              <p:par>
                                <p:cTn id="132" presetID="26" presetClass="emph" presetSubtype="0" dur="2000" repeatCount="indefinite" fill="hold" grpId="0" nodeType="withEffect">
                                  <p:stCondLst>
                                    <p:cond delay="1000"/>
                                  </p:stCondLst>
                                  <p:childTnLst>
                                    <p:animEffect transition="out" filter="fade">
                                      <p:cBhvr>
                                        <p:cTn id="133" dur="2000" tmFilter="0, 0; .2, .5; .8, .5; 1, 0"/>
                                        <p:tgtEl>
                                          <p:spTgt spid="342"/>
                                        </p:tgtEl>
                                      </p:cBhvr>
                                    </p:animEffect>
                                    <p:animScale>
                                      <p:cBhvr>
                                        <p:cTn id="134" dur="1000" autoRev="1" fill="hold"/>
                                        <p:tgtEl>
                                          <p:spTgt spid="342"/>
                                        </p:tgtEl>
                                      </p:cBhvr>
                                      <p:by x="105000" y="105000"/>
                                    </p:animScale>
                                  </p:childTnLst>
                                </p:cTn>
                              </p:par>
                              <p:par>
                                <p:cTn id="135" presetID="26" presetClass="emph" presetSubtype="0" dur="2000" repeatCount="indefinite" fill="hold" grpId="0" nodeType="withEffect">
                                  <p:stCondLst>
                                    <p:cond delay="1000"/>
                                  </p:stCondLst>
                                  <p:childTnLst>
                                    <p:animEffect transition="out" filter="fade">
                                      <p:cBhvr>
                                        <p:cTn id="136" dur="2000" tmFilter="0, 0; .2, .5; .8, .5; 1, 0"/>
                                        <p:tgtEl>
                                          <p:spTgt spid="343"/>
                                        </p:tgtEl>
                                      </p:cBhvr>
                                    </p:animEffect>
                                    <p:animScale>
                                      <p:cBhvr>
                                        <p:cTn id="137" dur="1000" autoRev="1" fill="hold"/>
                                        <p:tgtEl>
                                          <p:spTgt spid="343"/>
                                        </p:tgtEl>
                                      </p:cBhvr>
                                      <p:by x="105000" y="105000"/>
                                    </p:animScale>
                                  </p:childTnLst>
                                </p:cTn>
                              </p:par>
                              <p:par>
                                <p:cTn id="138" presetID="26" presetClass="emph" presetSubtype="0" dur="2000" repeatCount="indefinite" fill="hold" grpId="0" nodeType="withEffect">
                                  <p:stCondLst>
                                    <p:cond delay="1000"/>
                                  </p:stCondLst>
                                  <p:childTnLst>
                                    <p:animEffect transition="out" filter="fade">
                                      <p:cBhvr>
                                        <p:cTn id="139" dur="2000" tmFilter="0, 0; .2, .5; .8, .5; 1, 0"/>
                                        <p:tgtEl>
                                          <p:spTgt spid="344"/>
                                        </p:tgtEl>
                                      </p:cBhvr>
                                    </p:animEffect>
                                    <p:animScale>
                                      <p:cBhvr>
                                        <p:cTn id="140" dur="1000" autoRev="1" fill="hold"/>
                                        <p:tgtEl>
                                          <p:spTgt spid="344"/>
                                        </p:tgtEl>
                                      </p:cBhvr>
                                      <p:by x="105000" y="105000"/>
                                    </p:animScale>
                                  </p:childTnLst>
                                </p:cTn>
                              </p:par>
                              <p:par>
                                <p:cTn id="141" presetID="26" presetClass="emph" presetSubtype="0" dur="2000" repeatCount="indefinite" fill="hold" grpId="0" nodeType="withEffect">
                                  <p:stCondLst>
                                    <p:cond delay="1000"/>
                                  </p:stCondLst>
                                  <p:childTnLst>
                                    <p:animEffect transition="out" filter="fade">
                                      <p:cBhvr>
                                        <p:cTn id="142" dur="2000" tmFilter="0, 0; .2, .5; .8, .5; 1, 0"/>
                                        <p:tgtEl>
                                          <p:spTgt spid="345"/>
                                        </p:tgtEl>
                                      </p:cBhvr>
                                    </p:animEffect>
                                    <p:animScale>
                                      <p:cBhvr>
                                        <p:cTn id="143" dur="1000" autoRev="1" fill="hold"/>
                                        <p:tgtEl>
                                          <p:spTgt spid="345"/>
                                        </p:tgtEl>
                                      </p:cBhvr>
                                      <p:by x="105000" y="105000"/>
                                    </p:animScale>
                                  </p:childTnLst>
                                </p:cTn>
                              </p:par>
                              <p:par>
                                <p:cTn id="144" presetID="26" presetClass="emph" presetSubtype="0" dur="2000" repeatCount="indefinite" fill="hold" grpId="0" nodeType="withEffect">
                                  <p:stCondLst>
                                    <p:cond delay="1000"/>
                                  </p:stCondLst>
                                  <p:childTnLst>
                                    <p:animEffect transition="out" filter="fade">
                                      <p:cBhvr>
                                        <p:cTn id="145" dur="2000" tmFilter="0, 0; .2, .5; .8, .5; 1, 0"/>
                                        <p:tgtEl>
                                          <p:spTgt spid="346"/>
                                        </p:tgtEl>
                                      </p:cBhvr>
                                    </p:animEffect>
                                    <p:animScale>
                                      <p:cBhvr>
                                        <p:cTn id="146" dur="1000" autoRev="1" fill="hold"/>
                                        <p:tgtEl>
                                          <p:spTgt spid="346"/>
                                        </p:tgtEl>
                                      </p:cBhvr>
                                      <p:by x="105000" y="105000"/>
                                    </p:animScale>
                                  </p:childTnLst>
                                </p:cTn>
                              </p:par>
                              <p:par>
                                <p:cTn id="147" presetID="26" presetClass="emph" presetSubtype="0" dur="2000" repeatCount="indefinite" fill="hold" grpId="0" nodeType="withEffect">
                                  <p:stCondLst>
                                    <p:cond delay="1000"/>
                                  </p:stCondLst>
                                  <p:childTnLst>
                                    <p:animEffect transition="out" filter="fade">
                                      <p:cBhvr>
                                        <p:cTn id="148" dur="2000" tmFilter="0, 0; .2, .5; .8, .5; 1, 0"/>
                                        <p:tgtEl>
                                          <p:spTgt spid="347"/>
                                        </p:tgtEl>
                                      </p:cBhvr>
                                    </p:animEffect>
                                    <p:animScale>
                                      <p:cBhvr>
                                        <p:cTn id="149" dur="1000" autoRev="1" fill="hold"/>
                                        <p:tgtEl>
                                          <p:spTgt spid="347"/>
                                        </p:tgtEl>
                                      </p:cBhvr>
                                      <p:by x="105000" y="105000"/>
                                    </p:animScale>
                                  </p:childTnLst>
                                </p:cTn>
                              </p:par>
                              <p:par>
                                <p:cTn id="150" presetID="26" presetClass="emph" presetSubtype="0" dur="2000" repeatCount="indefinite" fill="hold" grpId="0" nodeType="withEffect">
                                  <p:stCondLst>
                                    <p:cond delay="1000"/>
                                  </p:stCondLst>
                                  <p:childTnLst>
                                    <p:animEffect transition="out" filter="fade">
                                      <p:cBhvr>
                                        <p:cTn id="151" dur="2000" tmFilter="0, 0; .2, .5; .8, .5; 1, 0"/>
                                        <p:tgtEl>
                                          <p:spTgt spid="348"/>
                                        </p:tgtEl>
                                      </p:cBhvr>
                                    </p:animEffect>
                                    <p:animScale>
                                      <p:cBhvr>
                                        <p:cTn id="152" dur="1000" autoRev="1" fill="hold"/>
                                        <p:tgtEl>
                                          <p:spTgt spid="348"/>
                                        </p:tgtEl>
                                      </p:cBhvr>
                                      <p:by x="105000" y="105000"/>
                                    </p:animScale>
                                  </p:childTnLst>
                                </p:cTn>
                              </p:par>
                              <p:par>
                                <p:cTn id="153" presetID="26" presetClass="emph" presetSubtype="0" dur="2000" repeatCount="indefinite" fill="hold" grpId="0" nodeType="withEffect">
                                  <p:stCondLst>
                                    <p:cond delay="1000"/>
                                  </p:stCondLst>
                                  <p:childTnLst>
                                    <p:animEffect transition="out" filter="fade">
                                      <p:cBhvr>
                                        <p:cTn id="154" dur="2000" tmFilter="0, 0; .2, .5; .8, .5; 1, 0"/>
                                        <p:tgtEl>
                                          <p:spTgt spid="349"/>
                                        </p:tgtEl>
                                      </p:cBhvr>
                                    </p:animEffect>
                                    <p:animScale>
                                      <p:cBhvr>
                                        <p:cTn id="155" dur="1000" autoRev="1" fill="hold"/>
                                        <p:tgtEl>
                                          <p:spTgt spid="349"/>
                                        </p:tgtEl>
                                      </p:cBhvr>
                                      <p:by x="105000" y="105000"/>
                                    </p:animScale>
                                  </p:childTnLst>
                                </p:cTn>
                              </p:par>
                              <p:par>
                                <p:cTn id="156" presetID="26" presetClass="emph" presetSubtype="0" dur="2000" repeatCount="indefinite" fill="hold" grpId="0" nodeType="withEffect">
                                  <p:stCondLst>
                                    <p:cond delay="1000"/>
                                  </p:stCondLst>
                                  <p:childTnLst>
                                    <p:animEffect transition="out" filter="fade">
                                      <p:cBhvr>
                                        <p:cTn id="157" dur="2000" tmFilter="0, 0; .2, .5; .8, .5; 1, 0"/>
                                        <p:tgtEl>
                                          <p:spTgt spid="350"/>
                                        </p:tgtEl>
                                      </p:cBhvr>
                                    </p:animEffect>
                                    <p:animScale>
                                      <p:cBhvr>
                                        <p:cTn id="158" dur="1000" autoRev="1" fill="hold"/>
                                        <p:tgtEl>
                                          <p:spTgt spid="350"/>
                                        </p:tgtEl>
                                      </p:cBhvr>
                                      <p:by x="105000" y="105000"/>
                                    </p:animScale>
                                  </p:childTnLst>
                                </p:cTn>
                              </p:par>
                              <p:par>
                                <p:cTn id="159" presetID="26" presetClass="emph" presetSubtype="0" dur="2000" repeatCount="indefinite" fill="hold" grpId="0" nodeType="withEffect">
                                  <p:stCondLst>
                                    <p:cond delay="1000"/>
                                  </p:stCondLst>
                                  <p:childTnLst>
                                    <p:animEffect transition="out" filter="fade">
                                      <p:cBhvr>
                                        <p:cTn id="160" dur="2000" tmFilter="0, 0; .2, .5; .8, .5; 1, 0"/>
                                        <p:tgtEl>
                                          <p:spTgt spid="351"/>
                                        </p:tgtEl>
                                      </p:cBhvr>
                                    </p:animEffect>
                                    <p:animScale>
                                      <p:cBhvr>
                                        <p:cTn id="161" dur="1000" autoRev="1" fill="hold"/>
                                        <p:tgtEl>
                                          <p:spTgt spid="351"/>
                                        </p:tgtEl>
                                      </p:cBhvr>
                                      <p:by x="105000" y="105000"/>
                                    </p:animScale>
                                  </p:childTnLst>
                                </p:cTn>
                              </p:par>
                              <p:par>
                                <p:cTn id="162" presetID="26" presetClass="emph" presetSubtype="0" dur="2000" repeatCount="indefinite" fill="hold" grpId="0" nodeType="withEffect">
                                  <p:stCondLst>
                                    <p:cond delay="1000"/>
                                  </p:stCondLst>
                                  <p:childTnLst>
                                    <p:animEffect transition="out" filter="fade">
                                      <p:cBhvr>
                                        <p:cTn id="163" dur="2000" tmFilter="0, 0; .2, .5; .8, .5; 1, 0"/>
                                        <p:tgtEl>
                                          <p:spTgt spid="352"/>
                                        </p:tgtEl>
                                      </p:cBhvr>
                                    </p:animEffect>
                                    <p:animScale>
                                      <p:cBhvr>
                                        <p:cTn id="164" dur="1000" autoRev="1" fill="hold"/>
                                        <p:tgtEl>
                                          <p:spTgt spid="352"/>
                                        </p:tgtEl>
                                      </p:cBhvr>
                                      <p:by x="105000" y="105000"/>
                                    </p:animScale>
                                  </p:childTnLst>
                                </p:cTn>
                              </p:par>
                              <p:par>
                                <p:cTn id="165" presetID="26" presetClass="emph" presetSubtype="0" dur="2000" repeatCount="indefinite" fill="hold" grpId="0" nodeType="withEffect">
                                  <p:stCondLst>
                                    <p:cond delay="1000"/>
                                  </p:stCondLst>
                                  <p:childTnLst>
                                    <p:animEffect transition="out" filter="fade">
                                      <p:cBhvr>
                                        <p:cTn id="166" dur="2000" tmFilter="0, 0; .2, .5; .8, .5; 1, 0"/>
                                        <p:tgtEl>
                                          <p:spTgt spid="353"/>
                                        </p:tgtEl>
                                      </p:cBhvr>
                                    </p:animEffect>
                                    <p:animScale>
                                      <p:cBhvr>
                                        <p:cTn id="167" dur="1000" autoRev="1" fill="hold"/>
                                        <p:tgtEl>
                                          <p:spTgt spid="353"/>
                                        </p:tgtEl>
                                      </p:cBhvr>
                                      <p:by x="105000" y="105000"/>
                                    </p:animScale>
                                  </p:childTnLst>
                                </p:cTn>
                              </p:par>
                              <p:par>
                                <p:cTn id="168" presetID="26" presetClass="emph" presetSubtype="0" dur="2000" repeatCount="indefinite" fill="hold" grpId="0" nodeType="withEffect">
                                  <p:stCondLst>
                                    <p:cond delay="1250"/>
                                  </p:stCondLst>
                                  <p:childTnLst>
                                    <p:animEffect transition="out" filter="fade">
                                      <p:cBhvr>
                                        <p:cTn id="169" dur="2000" tmFilter="0, 0; .2, .5; .8, .5; 1, 0"/>
                                        <p:tgtEl>
                                          <p:spTgt spid="354"/>
                                        </p:tgtEl>
                                      </p:cBhvr>
                                    </p:animEffect>
                                    <p:animScale>
                                      <p:cBhvr>
                                        <p:cTn id="170" dur="1000" autoRev="1" fill="hold"/>
                                        <p:tgtEl>
                                          <p:spTgt spid="354"/>
                                        </p:tgtEl>
                                      </p:cBhvr>
                                      <p:by x="105000" y="105000"/>
                                    </p:animScale>
                                  </p:childTnLst>
                                </p:cTn>
                              </p:par>
                              <p:par>
                                <p:cTn id="171" presetID="26" presetClass="emph" presetSubtype="0" dur="2000" repeatCount="indefinite" fill="hold" grpId="0" nodeType="withEffect">
                                  <p:stCondLst>
                                    <p:cond delay="1250"/>
                                  </p:stCondLst>
                                  <p:childTnLst>
                                    <p:animEffect transition="out" filter="fade">
                                      <p:cBhvr>
                                        <p:cTn id="172" dur="2000" tmFilter="0, 0; .2, .5; .8, .5; 1, 0"/>
                                        <p:tgtEl>
                                          <p:spTgt spid="355"/>
                                        </p:tgtEl>
                                      </p:cBhvr>
                                    </p:animEffect>
                                    <p:animScale>
                                      <p:cBhvr>
                                        <p:cTn id="173" dur="1000" autoRev="1" fill="hold"/>
                                        <p:tgtEl>
                                          <p:spTgt spid="355"/>
                                        </p:tgtEl>
                                      </p:cBhvr>
                                      <p:by x="105000" y="105000"/>
                                    </p:animScale>
                                  </p:childTnLst>
                                </p:cTn>
                              </p:par>
                              <p:par>
                                <p:cTn id="174" presetID="26" presetClass="emph" presetSubtype="0" dur="2000" repeatCount="indefinite" fill="hold" grpId="0" nodeType="withEffect">
                                  <p:stCondLst>
                                    <p:cond delay="1250"/>
                                  </p:stCondLst>
                                  <p:childTnLst>
                                    <p:animEffect transition="out" filter="fade">
                                      <p:cBhvr>
                                        <p:cTn id="175" dur="2000" tmFilter="0, 0; .2, .5; .8, .5; 1, 0"/>
                                        <p:tgtEl>
                                          <p:spTgt spid="356"/>
                                        </p:tgtEl>
                                      </p:cBhvr>
                                    </p:animEffect>
                                    <p:animScale>
                                      <p:cBhvr>
                                        <p:cTn id="176" dur="1000" autoRev="1" fill="hold"/>
                                        <p:tgtEl>
                                          <p:spTgt spid="356"/>
                                        </p:tgtEl>
                                      </p:cBhvr>
                                      <p:by x="105000" y="105000"/>
                                    </p:animScale>
                                  </p:childTnLst>
                                </p:cTn>
                              </p:par>
                              <p:par>
                                <p:cTn id="177" presetID="26" presetClass="emph" presetSubtype="0" dur="2000" repeatCount="indefinite" fill="hold" grpId="0" nodeType="withEffect">
                                  <p:stCondLst>
                                    <p:cond delay="1250"/>
                                  </p:stCondLst>
                                  <p:childTnLst>
                                    <p:animEffect transition="out" filter="fade">
                                      <p:cBhvr>
                                        <p:cTn id="178" dur="2000" tmFilter="0, 0; .2, .5; .8, .5; 1, 0"/>
                                        <p:tgtEl>
                                          <p:spTgt spid="357"/>
                                        </p:tgtEl>
                                      </p:cBhvr>
                                    </p:animEffect>
                                    <p:animScale>
                                      <p:cBhvr>
                                        <p:cTn id="179" dur="1000" autoRev="1" fill="hold"/>
                                        <p:tgtEl>
                                          <p:spTgt spid="357"/>
                                        </p:tgtEl>
                                      </p:cBhvr>
                                      <p:by x="105000" y="105000"/>
                                    </p:animScale>
                                  </p:childTnLst>
                                </p:cTn>
                              </p:par>
                              <p:par>
                                <p:cTn id="180" presetID="26" presetClass="emph" presetSubtype="0" dur="2000" repeatCount="indefinite" fill="hold" grpId="0" nodeType="withEffect">
                                  <p:stCondLst>
                                    <p:cond delay="1250"/>
                                  </p:stCondLst>
                                  <p:childTnLst>
                                    <p:animEffect transition="out" filter="fade">
                                      <p:cBhvr>
                                        <p:cTn id="181" dur="2000" tmFilter="0, 0; .2, .5; .8, .5; 1, 0"/>
                                        <p:tgtEl>
                                          <p:spTgt spid="358"/>
                                        </p:tgtEl>
                                      </p:cBhvr>
                                    </p:animEffect>
                                    <p:animScale>
                                      <p:cBhvr>
                                        <p:cTn id="182" dur="1000" autoRev="1" fill="hold"/>
                                        <p:tgtEl>
                                          <p:spTgt spid="358"/>
                                        </p:tgtEl>
                                      </p:cBhvr>
                                      <p:by x="105000" y="105000"/>
                                    </p:animScale>
                                  </p:childTnLst>
                                </p:cTn>
                              </p:par>
                              <p:par>
                                <p:cTn id="183" presetID="26" presetClass="emph" presetSubtype="0" dur="2000" repeatCount="indefinite" fill="hold" grpId="0" nodeType="withEffect">
                                  <p:stCondLst>
                                    <p:cond delay="1250"/>
                                  </p:stCondLst>
                                  <p:childTnLst>
                                    <p:animEffect transition="out" filter="fade">
                                      <p:cBhvr>
                                        <p:cTn id="184" dur="2000" tmFilter="0, 0; .2, .5; .8, .5; 1, 0"/>
                                        <p:tgtEl>
                                          <p:spTgt spid="359"/>
                                        </p:tgtEl>
                                      </p:cBhvr>
                                    </p:animEffect>
                                    <p:animScale>
                                      <p:cBhvr>
                                        <p:cTn id="185" dur="1000" autoRev="1" fill="hold"/>
                                        <p:tgtEl>
                                          <p:spTgt spid="359"/>
                                        </p:tgtEl>
                                      </p:cBhvr>
                                      <p:by x="105000" y="105000"/>
                                    </p:animScale>
                                  </p:childTnLst>
                                </p:cTn>
                              </p:par>
                              <p:par>
                                <p:cTn id="186" presetID="26" presetClass="emph" presetSubtype="0" dur="2000" repeatCount="indefinite" fill="hold" grpId="0" nodeType="withEffect">
                                  <p:stCondLst>
                                    <p:cond delay="1250"/>
                                  </p:stCondLst>
                                  <p:childTnLst>
                                    <p:animEffect transition="out" filter="fade">
                                      <p:cBhvr>
                                        <p:cTn id="187" dur="2000" tmFilter="0, 0; .2, .5; .8, .5; 1, 0"/>
                                        <p:tgtEl>
                                          <p:spTgt spid="360"/>
                                        </p:tgtEl>
                                      </p:cBhvr>
                                    </p:animEffect>
                                    <p:animScale>
                                      <p:cBhvr>
                                        <p:cTn id="188" dur="1000" autoRev="1" fill="hold"/>
                                        <p:tgtEl>
                                          <p:spTgt spid="360"/>
                                        </p:tgtEl>
                                      </p:cBhvr>
                                      <p:by x="105000" y="105000"/>
                                    </p:animScale>
                                  </p:childTnLst>
                                </p:cTn>
                              </p:par>
                              <p:par>
                                <p:cTn id="189" presetID="26" presetClass="emph" presetSubtype="0" dur="2000" repeatCount="indefinite" fill="hold" grpId="0" nodeType="withEffect">
                                  <p:stCondLst>
                                    <p:cond delay="1250"/>
                                  </p:stCondLst>
                                  <p:childTnLst>
                                    <p:animEffect transition="out" filter="fade">
                                      <p:cBhvr>
                                        <p:cTn id="190" dur="2000" tmFilter="0, 0; .2, .5; .8, .5; 1, 0"/>
                                        <p:tgtEl>
                                          <p:spTgt spid="361"/>
                                        </p:tgtEl>
                                      </p:cBhvr>
                                    </p:animEffect>
                                    <p:animScale>
                                      <p:cBhvr>
                                        <p:cTn id="191" dur="1000" autoRev="1" fill="hold"/>
                                        <p:tgtEl>
                                          <p:spTgt spid="361"/>
                                        </p:tgtEl>
                                      </p:cBhvr>
                                      <p:by x="105000" y="105000"/>
                                    </p:animScale>
                                  </p:childTnLst>
                                </p:cTn>
                              </p:par>
                              <p:par>
                                <p:cTn id="192" presetID="26" presetClass="emph" presetSubtype="0" dur="2000" repeatCount="indefinite" fill="hold" grpId="0" nodeType="withEffect">
                                  <p:stCondLst>
                                    <p:cond delay="1250"/>
                                  </p:stCondLst>
                                  <p:childTnLst>
                                    <p:animEffect transition="out" filter="fade">
                                      <p:cBhvr>
                                        <p:cTn id="193" dur="2000" tmFilter="0, 0; .2, .5; .8, .5; 1, 0"/>
                                        <p:tgtEl>
                                          <p:spTgt spid="362"/>
                                        </p:tgtEl>
                                      </p:cBhvr>
                                    </p:animEffect>
                                    <p:animScale>
                                      <p:cBhvr>
                                        <p:cTn id="194" dur="1000" autoRev="1" fill="hold"/>
                                        <p:tgtEl>
                                          <p:spTgt spid="362"/>
                                        </p:tgtEl>
                                      </p:cBhvr>
                                      <p:by x="105000" y="105000"/>
                                    </p:animScale>
                                  </p:childTnLst>
                                </p:cTn>
                              </p:par>
                              <p:par>
                                <p:cTn id="195" presetID="26" presetClass="emph" presetSubtype="0" dur="2000" repeatCount="indefinite" fill="hold" grpId="0" nodeType="withEffect">
                                  <p:stCondLst>
                                    <p:cond delay="1250"/>
                                  </p:stCondLst>
                                  <p:childTnLst>
                                    <p:animEffect transition="out" filter="fade">
                                      <p:cBhvr>
                                        <p:cTn id="196" dur="2000" tmFilter="0, 0; .2, .5; .8, .5; 1, 0"/>
                                        <p:tgtEl>
                                          <p:spTgt spid="363"/>
                                        </p:tgtEl>
                                      </p:cBhvr>
                                    </p:animEffect>
                                    <p:animScale>
                                      <p:cBhvr>
                                        <p:cTn id="197" dur="1000" autoRev="1" fill="hold"/>
                                        <p:tgtEl>
                                          <p:spTgt spid="363"/>
                                        </p:tgtEl>
                                      </p:cBhvr>
                                      <p:by x="105000" y="105000"/>
                                    </p:animScale>
                                  </p:childTnLst>
                                </p:cTn>
                              </p:par>
                              <p:par>
                                <p:cTn id="198" presetID="26" presetClass="emph" presetSubtype="0" dur="2000" repeatCount="indefinite" fill="hold" grpId="0" nodeType="withEffect">
                                  <p:stCondLst>
                                    <p:cond delay="1250"/>
                                  </p:stCondLst>
                                  <p:childTnLst>
                                    <p:animEffect transition="out" filter="fade">
                                      <p:cBhvr>
                                        <p:cTn id="199" dur="2000" tmFilter="0, 0; .2, .5; .8, .5; 1, 0"/>
                                        <p:tgtEl>
                                          <p:spTgt spid="364"/>
                                        </p:tgtEl>
                                      </p:cBhvr>
                                    </p:animEffect>
                                    <p:animScale>
                                      <p:cBhvr>
                                        <p:cTn id="200" dur="1000" autoRev="1" fill="hold"/>
                                        <p:tgtEl>
                                          <p:spTgt spid="364"/>
                                        </p:tgtEl>
                                      </p:cBhvr>
                                      <p:by x="105000" y="105000"/>
                                    </p:animScale>
                                  </p:childTnLst>
                                </p:cTn>
                              </p:par>
                              <p:par>
                                <p:cTn id="201" presetID="26" presetClass="emph" presetSubtype="0" dur="2000" repeatCount="indefinite" fill="hold" grpId="0" nodeType="withEffect">
                                  <p:stCondLst>
                                    <p:cond delay="1250"/>
                                  </p:stCondLst>
                                  <p:childTnLst>
                                    <p:animEffect transition="out" filter="fade">
                                      <p:cBhvr>
                                        <p:cTn id="202" dur="2000" tmFilter="0, 0; .2, .5; .8, .5; 1, 0"/>
                                        <p:tgtEl>
                                          <p:spTgt spid="365"/>
                                        </p:tgtEl>
                                      </p:cBhvr>
                                    </p:animEffect>
                                    <p:animScale>
                                      <p:cBhvr>
                                        <p:cTn id="203" dur="1000" autoRev="1" fill="hold"/>
                                        <p:tgtEl>
                                          <p:spTgt spid="365"/>
                                        </p:tgtEl>
                                      </p:cBhvr>
                                      <p:by x="105000" y="105000"/>
                                    </p:animScale>
                                  </p:childTnLst>
                                </p:cTn>
                              </p:par>
                              <p:par>
                                <p:cTn id="204" presetID="26" presetClass="emph" presetSubtype="0" dur="2000" repeatCount="indefinite" fill="hold" grpId="0" nodeType="withEffect">
                                  <p:stCondLst>
                                    <p:cond delay="1250"/>
                                  </p:stCondLst>
                                  <p:childTnLst>
                                    <p:animEffect transition="out" filter="fade">
                                      <p:cBhvr>
                                        <p:cTn id="205" dur="2000" tmFilter="0, 0; .2, .5; .8, .5; 1, 0"/>
                                        <p:tgtEl>
                                          <p:spTgt spid="366"/>
                                        </p:tgtEl>
                                      </p:cBhvr>
                                    </p:animEffect>
                                    <p:animScale>
                                      <p:cBhvr>
                                        <p:cTn id="206" dur="1000" autoRev="1" fill="hold"/>
                                        <p:tgtEl>
                                          <p:spTgt spid="366"/>
                                        </p:tgtEl>
                                      </p:cBhvr>
                                      <p:by x="105000" y="105000"/>
                                    </p:animScale>
                                  </p:childTnLst>
                                </p:cTn>
                              </p:par>
                              <p:par>
                                <p:cTn id="207" presetID="26" presetClass="emph" presetSubtype="0" dur="2000" repeatCount="indefinite" fill="hold" grpId="0" nodeType="withEffect">
                                  <p:stCondLst>
                                    <p:cond delay="1250"/>
                                  </p:stCondLst>
                                  <p:childTnLst>
                                    <p:animEffect transition="out" filter="fade">
                                      <p:cBhvr>
                                        <p:cTn id="208" dur="2000" tmFilter="0, 0; .2, .5; .8, .5; 1, 0"/>
                                        <p:tgtEl>
                                          <p:spTgt spid="367"/>
                                        </p:tgtEl>
                                      </p:cBhvr>
                                    </p:animEffect>
                                    <p:animScale>
                                      <p:cBhvr>
                                        <p:cTn id="209" dur="1000" autoRev="1" fill="hold"/>
                                        <p:tgtEl>
                                          <p:spTgt spid="367"/>
                                        </p:tgtEl>
                                      </p:cBhvr>
                                      <p:by x="105000" y="105000"/>
                                    </p:animScale>
                                  </p:childTnLst>
                                </p:cTn>
                              </p:par>
                              <p:par>
                                <p:cTn id="210" presetID="26" presetClass="emph" presetSubtype="0" dur="2000" repeatCount="indefinite" fill="hold" grpId="0" nodeType="withEffect">
                                  <p:stCondLst>
                                    <p:cond delay="1500"/>
                                  </p:stCondLst>
                                  <p:childTnLst>
                                    <p:animEffect transition="out" filter="fade">
                                      <p:cBhvr>
                                        <p:cTn id="211" dur="2000" tmFilter="0, 0; .2, .5; .8, .5; 1, 0"/>
                                        <p:tgtEl>
                                          <p:spTgt spid="368"/>
                                        </p:tgtEl>
                                      </p:cBhvr>
                                    </p:animEffect>
                                    <p:animScale>
                                      <p:cBhvr>
                                        <p:cTn id="212" dur="1000" autoRev="1" fill="hold"/>
                                        <p:tgtEl>
                                          <p:spTgt spid="368"/>
                                        </p:tgtEl>
                                      </p:cBhvr>
                                      <p:by x="105000" y="105000"/>
                                    </p:animScale>
                                  </p:childTnLst>
                                </p:cTn>
                              </p:par>
                              <p:par>
                                <p:cTn id="213" presetID="26" presetClass="emph" presetSubtype="0" dur="2000" repeatCount="indefinite" fill="hold" grpId="0" nodeType="withEffect">
                                  <p:stCondLst>
                                    <p:cond delay="1500"/>
                                  </p:stCondLst>
                                  <p:childTnLst>
                                    <p:animEffect transition="out" filter="fade">
                                      <p:cBhvr>
                                        <p:cTn id="214" dur="2000" tmFilter="0, 0; .2, .5; .8, .5; 1, 0"/>
                                        <p:tgtEl>
                                          <p:spTgt spid="369"/>
                                        </p:tgtEl>
                                      </p:cBhvr>
                                    </p:animEffect>
                                    <p:animScale>
                                      <p:cBhvr>
                                        <p:cTn id="215" dur="1000" autoRev="1" fill="hold"/>
                                        <p:tgtEl>
                                          <p:spTgt spid="369"/>
                                        </p:tgtEl>
                                      </p:cBhvr>
                                      <p:by x="105000" y="105000"/>
                                    </p:animScale>
                                  </p:childTnLst>
                                </p:cTn>
                              </p:par>
                              <p:par>
                                <p:cTn id="216" presetID="26" presetClass="emph" presetSubtype="0" dur="2000" repeatCount="indefinite" fill="hold" grpId="0" nodeType="withEffect">
                                  <p:stCondLst>
                                    <p:cond delay="1500"/>
                                  </p:stCondLst>
                                  <p:childTnLst>
                                    <p:animEffect transition="out" filter="fade">
                                      <p:cBhvr>
                                        <p:cTn id="217" dur="2000" tmFilter="0, 0; .2, .5; .8, .5; 1, 0"/>
                                        <p:tgtEl>
                                          <p:spTgt spid="370"/>
                                        </p:tgtEl>
                                      </p:cBhvr>
                                    </p:animEffect>
                                    <p:animScale>
                                      <p:cBhvr>
                                        <p:cTn id="218" dur="1000" autoRev="1" fill="hold"/>
                                        <p:tgtEl>
                                          <p:spTgt spid="370"/>
                                        </p:tgtEl>
                                      </p:cBhvr>
                                      <p:by x="105000" y="105000"/>
                                    </p:animScale>
                                  </p:childTnLst>
                                </p:cTn>
                              </p:par>
                              <p:par>
                                <p:cTn id="219" presetID="26" presetClass="emph" presetSubtype="0" dur="2000" repeatCount="indefinite" fill="hold" grpId="0" nodeType="withEffect">
                                  <p:stCondLst>
                                    <p:cond delay="1500"/>
                                  </p:stCondLst>
                                  <p:childTnLst>
                                    <p:animEffect transition="out" filter="fade">
                                      <p:cBhvr>
                                        <p:cTn id="220" dur="2000" tmFilter="0, 0; .2, .5; .8, .5; 1, 0"/>
                                        <p:tgtEl>
                                          <p:spTgt spid="371"/>
                                        </p:tgtEl>
                                      </p:cBhvr>
                                    </p:animEffect>
                                    <p:animScale>
                                      <p:cBhvr>
                                        <p:cTn id="221" dur="1000" autoRev="1" fill="hold"/>
                                        <p:tgtEl>
                                          <p:spTgt spid="371"/>
                                        </p:tgtEl>
                                      </p:cBhvr>
                                      <p:by x="105000" y="105000"/>
                                    </p:animScale>
                                  </p:childTnLst>
                                </p:cTn>
                              </p:par>
                              <p:par>
                                <p:cTn id="222" presetID="26" presetClass="emph" presetSubtype="0" dur="2000" repeatCount="indefinite" fill="hold" grpId="0" nodeType="withEffect">
                                  <p:stCondLst>
                                    <p:cond delay="1500"/>
                                  </p:stCondLst>
                                  <p:childTnLst>
                                    <p:animEffect transition="out" filter="fade">
                                      <p:cBhvr>
                                        <p:cTn id="223" dur="2000" tmFilter="0, 0; .2, .5; .8, .5; 1, 0"/>
                                        <p:tgtEl>
                                          <p:spTgt spid="372"/>
                                        </p:tgtEl>
                                      </p:cBhvr>
                                    </p:animEffect>
                                    <p:animScale>
                                      <p:cBhvr>
                                        <p:cTn id="224" dur="1000" autoRev="1" fill="hold"/>
                                        <p:tgtEl>
                                          <p:spTgt spid="372"/>
                                        </p:tgtEl>
                                      </p:cBhvr>
                                      <p:by x="105000" y="105000"/>
                                    </p:animScale>
                                  </p:childTnLst>
                                </p:cTn>
                              </p:par>
                              <p:par>
                                <p:cTn id="225" presetID="26" presetClass="emph" presetSubtype="0" dur="2000" repeatCount="indefinite" fill="hold" grpId="0" nodeType="withEffect">
                                  <p:stCondLst>
                                    <p:cond delay="1500"/>
                                  </p:stCondLst>
                                  <p:childTnLst>
                                    <p:animEffect transition="out" filter="fade">
                                      <p:cBhvr>
                                        <p:cTn id="226" dur="2000" tmFilter="0, 0; .2, .5; .8, .5; 1, 0"/>
                                        <p:tgtEl>
                                          <p:spTgt spid="373"/>
                                        </p:tgtEl>
                                      </p:cBhvr>
                                    </p:animEffect>
                                    <p:animScale>
                                      <p:cBhvr>
                                        <p:cTn id="227" dur="1000" autoRev="1" fill="hold"/>
                                        <p:tgtEl>
                                          <p:spTgt spid="373"/>
                                        </p:tgtEl>
                                      </p:cBhvr>
                                      <p:by x="105000" y="105000"/>
                                    </p:animScale>
                                  </p:childTnLst>
                                </p:cTn>
                              </p:par>
                              <p:par>
                                <p:cTn id="228" presetID="26" presetClass="emph" presetSubtype="0" dur="2000" repeatCount="indefinite" fill="hold" grpId="0" nodeType="withEffect">
                                  <p:stCondLst>
                                    <p:cond delay="1500"/>
                                  </p:stCondLst>
                                  <p:childTnLst>
                                    <p:animEffect transition="out" filter="fade">
                                      <p:cBhvr>
                                        <p:cTn id="229" dur="2000" tmFilter="0, 0; .2, .5; .8, .5; 1, 0"/>
                                        <p:tgtEl>
                                          <p:spTgt spid="374"/>
                                        </p:tgtEl>
                                      </p:cBhvr>
                                    </p:animEffect>
                                    <p:animScale>
                                      <p:cBhvr>
                                        <p:cTn id="230" dur="1000" autoRev="1" fill="hold"/>
                                        <p:tgtEl>
                                          <p:spTgt spid="374"/>
                                        </p:tgtEl>
                                      </p:cBhvr>
                                      <p:by x="105000" y="105000"/>
                                    </p:animScale>
                                  </p:childTnLst>
                                </p:cTn>
                              </p:par>
                              <p:par>
                                <p:cTn id="231" presetID="26" presetClass="emph" presetSubtype="0" dur="2000" repeatCount="indefinite" fill="hold" grpId="0" nodeType="withEffect">
                                  <p:stCondLst>
                                    <p:cond delay="1500"/>
                                  </p:stCondLst>
                                  <p:childTnLst>
                                    <p:animEffect transition="out" filter="fade">
                                      <p:cBhvr>
                                        <p:cTn id="232" dur="2000" tmFilter="0, 0; .2, .5; .8, .5; 1, 0"/>
                                        <p:tgtEl>
                                          <p:spTgt spid="375"/>
                                        </p:tgtEl>
                                      </p:cBhvr>
                                    </p:animEffect>
                                    <p:animScale>
                                      <p:cBhvr>
                                        <p:cTn id="233" dur="1000" autoRev="1" fill="hold"/>
                                        <p:tgtEl>
                                          <p:spTgt spid="375"/>
                                        </p:tgtEl>
                                      </p:cBhvr>
                                      <p:by x="105000" y="105000"/>
                                    </p:animScale>
                                  </p:childTnLst>
                                </p:cTn>
                              </p:par>
                              <p:par>
                                <p:cTn id="234" presetID="26" presetClass="emph" presetSubtype="0" dur="2000" repeatCount="indefinite" fill="hold" grpId="0" nodeType="withEffect">
                                  <p:stCondLst>
                                    <p:cond delay="1500"/>
                                  </p:stCondLst>
                                  <p:childTnLst>
                                    <p:animEffect transition="out" filter="fade">
                                      <p:cBhvr>
                                        <p:cTn id="235" dur="2000" tmFilter="0, 0; .2, .5; .8, .5; 1, 0"/>
                                        <p:tgtEl>
                                          <p:spTgt spid="376"/>
                                        </p:tgtEl>
                                      </p:cBhvr>
                                    </p:animEffect>
                                    <p:animScale>
                                      <p:cBhvr>
                                        <p:cTn id="236" dur="1000" autoRev="1" fill="hold"/>
                                        <p:tgtEl>
                                          <p:spTgt spid="376"/>
                                        </p:tgtEl>
                                      </p:cBhvr>
                                      <p:by x="105000" y="105000"/>
                                    </p:animScale>
                                  </p:childTnLst>
                                </p:cTn>
                              </p:par>
                              <p:par>
                                <p:cTn id="237" presetID="26" presetClass="emph" presetSubtype="0" dur="2000" repeatCount="indefinite" fill="hold" grpId="0" nodeType="withEffect">
                                  <p:stCondLst>
                                    <p:cond delay="1500"/>
                                  </p:stCondLst>
                                  <p:childTnLst>
                                    <p:animEffect transition="out" filter="fade">
                                      <p:cBhvr>
                                        <p:cTn id="238" dur="2000" tmFilter="0, 0; .2, .5; .8, .5; 1, 0"/>
                                        <p:tgtEl>
                                          <p:spTgt spid="377"/>
                                        </p:tgtEl>
                                      </p:cBhvr>
                                    </p:animEffect>
                                    <p:animScale>
                                      <p:cBhvr>
                                        <p:cTn id="239" dur="1000" autoRev="1" fill="hold"/>
                                        <p:tgtEl>
                                          <p:spTgt spid="377"/>
                                        </p:tgtEl>
                                      </p:cBhvr>
                                      <p:by x="105000" y="105000"/>
                                    </p:animScale>
                                  </p:childTnLst>
                                </p:cTn>
                              </p:par>
                              <p:par>
                                <p:cTn id="240" presetID="26" presetClass="emph" presetSubtype="0" dur="2000" repeatCount="indefinite" fill="hold" grpId="0" nodeType="withEffect">
                                  <p:stCondLst>
                                    <p:cond delay="1500"/>
                                  </p:stCondLst>
                                  <p:childTnLst>
                                    <p:animEffect transition="out" filter="fade">
                                      <p:cBhvr>
                                        <p:cTn id="241" dur="2000" tmFilter="0, 0; .2, .5; .8, .5; 1, 0"/>
                                        <p:tgtEl>
                                          <p:spTgt spid="378"/>
                                        </p:tgtEl>
                                      </p:cBhvr>
                                    </p:animEffect>
                                    <p:animScale>
                                      <p:cBhvr>
                                        <p:cTn id="242" dur="1000" autoRev="1" fill="hold"/>
                                        <p:tgtEl>
                                          <p:spTgt spid="378"/>
                                        </p:tgtEl>
                                      </p:cBhvr>
                                      <p:by x="105000" y="105000"/>
                                    </p:animScale>
                                  </p:childTnLst>
                                </p:cTn>
                              </p:par>
                              <p:par>
                                <p:cTn id="243" presetID="26" presetClass="emph" presetSubtype="0" dur="2000" repeatCount="indefinite" fill="hold" grpId="0" nodeType="withEffect">
                                  <p:stCondLst>
                                    <p:cond delay="1500"/>
                                  </p:stCondLst>
                                  <p:childTnLst>
                                    <p:animEffect transition="out" filter="fade">
                                      <p:cBhvr>
                                        <p:cTn id="244" dur="2000" tmFilter="0, 0; .2, .5; .8, .5; 1, 0"/>
                                        <p:tgtEl>
                                          <p:spTgt spid="379"/>
                                        </p:tgtEl>
                                      </p:cBhvr>
                                    </p:animEffect>
                                    <p:animScale>
                                      <p:cBhvr>
                                        <p:cTn id="245" dur="1000" autoRev="1" fill="hold"/>
                                        <p:tgtEl>
                                          <p:spTgt spid="379"/>
                                        </p:tgtEl>
                                      </p:cBhvr>
                                      <p:by x="105000" y="105000"/>
                                    </p:animScale>
                                  </p:childTnLst>
                                </p:cTn>
                              </p:par>
                              <p:par>
                                <p:cTn id="246" presetID="26" presetClass="emph" presetSubtype="0" dur="2000" repeatCount="indefinite" fill="hold" grpId="0" nodeType="withEffect">
                                  <p:stCondLst>
                                    <p:cond delay="1500"/>
                                  </p:stCondLst>
                                  <p:childTnLst>
                                    <p:animEffect transition="out" filter="fade">
                                      <p:cBhvr>
                                        <p:cTn id="247" dur="2000" tmFilter="0, 0; .2, .5; .8, .5; 1, 0"/>
                                        <p:tgtEl>
                                          <p:spTgt spid="380"/>
                                        </p:tgtEl>
                                      </p:cBhvr>
                                    </p:animEffect>
                                    <p:animScale>
                                      <p:cBhvr>
                                        <p:cTn id="248" dur="1000" autoRev="1" fill="hold"/>
                                        <p:tgtEl>
                                          <p:spTgt spid="380"/>
                                        </p:tgtEl>
                                      </p:cBhvr>
                                      <p:by x="105000" y="105000"/>
                                    </p:animScale>
                                  </p:childTnLst>
                                </p:cTn>
                              </p:par>
                              <p:par>
                                <p:cTn id="249" presetID="26" presetClass="emph" presetSubtype="0" dur="2000" repeatCount="indefinite" fill="hold" grpId="0" nodeType="withEffect">
                                  <p:stCondLst>
                                    <p:cond delay="1500"/>
                                  </p:stCondLst>
                                  <p:childTnLst>
                                    <p:animEffect transition="out" filter="fade">
                                      <p:cBhvr>
                                        <p:cTn id="250" dur="2000" tmFilter="0, 0; .2, .5; .8, .5; 1, 0"/>
                                        <p:tgtEl>
                                          <p:spTgt spid="381"/>
                                        </p:tgtEl>
                                      </p:cBhvr>
                                    </p:animEffect>
                                    <p:animScale>
                                      <p:cBhvr>
                                        <p:cTn id="251" dur="1000" autoRev="1" fill="hold"/>
                                        <p:tgtEl>
                                          <p:spTgt spid="381"/>
                                        </p:tgtEl>
                                      </p:cBhvr>
                                      <p:by x="105000" y="105000"/>
                                    </p:animScale>
                                  </p:childTnLst>
                                </p:cTn>
                              </p:par>
                              <p:par>
                                <p:cTn id="252" presetID="26" presetClass="emph" presetSubtype="0" dur="2000" repeatCount="indefinite" fill="hold" grpId="0" nodeType="withEffect">
                                  <p:stCondLst>
                                    <p:cond delay="1750"/>
                                  </p:stCondLst>
                                  <p:childTnLst>
                                    <p:animEffect transition="out" filter="fade">
                                      <p:cBhvr>
                                        <p:cTn id="253" dur="2000" tmFilter="0, 0; .2, .5; .8, .5; 1, 0"/>
                                        <p:tgtEl>
                                          <p:spTgt spid="382"/>
                                        </p:tgtEl>
                                      </p:cBhvr>
                                    </p:animEffect>
                                    <p:animScale>
                                      <p:cBhvr>
                                        <p:cTn id="254" dur="1000" autoRev="1" fill="hold"/>
                                        <p:tgtEl>
                                          <p:spTgt spid="382"/>
                                        </p:tgtEl>
                                      </p:cBhvr>
                                      <p:by x="105000" y="105000"/>
                                    </p:animScale>
                                  </p:childTnLst>
                                </p:cTn>
                              </p:par>
                              <p:par>
                                <p:cTn id="255" presetID="26" presetClass="emph" presetSubtype="0" dur="2000" repeatCount="indefinite" fill="hold" grpId="0" nodeType="withEffect">
                                  <p:stCondLst>
                                    <p:cond delay="1750"/>
                                  </p:stCondLst>
                                  <p:childTnLst>
                                    <p:animEffect transition="out" filter="fade">
                                      <p:cBhvr>
                                        <p:cTn id="256" dur="2000" tmFilter="0, 0; .2, .5; .8, .5; 1, 0"/>
                                        <p:tgtEl>
                                          <p:spTgt spid="383"/>
                                        </p:tgtEl>
                                      </p:cBhvr>
                                    </p:animEffect>
                                    <p:animScale>
                                      <p:cBhvr>
                                        <p:cTn id="257" dur="1000" autoRev="1" fill="hold"/>
                                        <p:tgtEl>
                                          <p:spTgt spid="383"/>
                                        </p:tgtEl>
                                      </p:cBhvr>
                                      <p:by x="105000" y="105000"/>
                                    </p:animScale>
                                  </p:childTnLst>
                                </p:cTn>
                              </p:par>
                              <p:par>
                                <p:cTn id="258" presetID="26" presetClass="emph" presetSubtype="0" dur="2000" repeatCount="indefinite" fill="hold" grpId="0" nodeType="withEffect">
                                  <p:stCondLst>
                                    <p:cond delay="1750"/>
                                  </p:stCondLst>
                                  <p:childTnLst>
                                    <p:animEffect transition="out" filter="fade">
                                      <p:cBhvr>
                                        <p:cTn id="259" dur="2000" tmFilter="0, 0; .2, .5; .8, .5; 1, 0"/>
                                        <p:tgtEl>
                                          <p:spTgt spid="384"/>
                                        </p:tgtEl>
                                      </p:cBhvr>
                                    </p:animEffect>
                                    <p:animScale>
                                      <p:cBhvr>
                                        <p:cTn id="260" dur="1000" autoRev="1" fill="hold"/>
                                        <p:tgtEl>
                                          <p:spTgt spid="384"/>
                                        </p:tgtEl>
                                      </p:cBhvr>
                                      <p:by x="105000" y="105000"/>
                                    </p:animScale>
                                  </p:childTnLst>
                                </p:cTn>
                              </p:par>
                              <p:par>
                                <p:cTn id="261" presetID="26" presetClass="emph" presetSubtype="0" dur="2000" repeatCount="indefinite" fill="hold" grpId="0" nodeType="withEffect">
                                  <p:stCondLst>
                                    <p:cond delay="1750"/>
                                  </p:stCondLst>
                                  <p:childTnLst>
                                    <p:animEffect transition="out" filter="fade">
                                      <p:cBhvr>
                                        <p:cTn id="262" dur="2000" tmFilter="0, 0; .2, .5; .8, .5; 1, 0"/>
                                        <p:tgtEl>
                                          <p:spTgt spid="385"/>
                                        </p:tgtEl>
                                      </p:cBhvr>
                                    </p:animEffect>
                                    <p:animScale>
                                      <p:cBhvr>
                                        <p:cTn id="263" dur="1000" autoRev="1" fill="hold"/>
                                        <p:tgtEl>
                                          <p:spTgt spid="385"/>
                                        </p:tgtEl>
                                      </p:cBhvr>
                                      <p:by x="105000" y="105000"/>
                                    </p:animScale>
                                  </p:childTnLst>
                                </p:cTn>
                              </p:par>
                              <p:par>
                                <p:cTn id="264" presetID="26" presetClass="emph" presetSubtype="0" dur="2000" repeatCount="indefinite" fill="hold" grpId="0" nodeType="withEffect">
                                  <p:stCondLst>
                                    <p:cond delay="1750"/>
                                  </p:stCondLst>
                                  <p:childTnLst>
                                    <p:animEffect transition="out" filter="fade">
                                      <p:cBhvr>
                                        <p:cTn id="265" dur="2000" tmFilter="0, 0; .2, .5; .8, .5; 1, 0"/>
                                        <p:tgtEl>
                                          <p:spTgt spid="386"/>
                                        </p:tgtEl>
                                      </p:cBhvr>
                                    </p:animEffect>
                                    <p:animScale>
                                      <p:cBhvr>
                                        <p:cTn id="266" dur="1000" autoRev="1" fill="hold"/>
                                        <p:tgtEl>
                                          <p:spTgt spid="386"/>
                                        </p:tgtEl>
                                      </p:cBhvr>
                                      <p:by x="105000" y="105000"/>
                                    </p:animScale>
                                  </p:childTnLst>
                                </p:cTn>
                              </p:par>
                              <p:par>
                                <p:cTn id="267" presetID="26" presetClass="emph" presetSubtype="0" dur="2000" repeatCount="indefinite" fill="hold" grpId="0" nodeType="withEffect">
                                  <p:stCondLst>
                                    <p:cond delay="1750"/>
                                  </p:stCondLst>
                                  <p:childTnLst>
                                    <p:animEffect transition="out" filter="fade">
                                      <p:cBhvr>
                                        <p:cTn id="268" dur="2000" tmFilter="0, 0; .2, .5; .8, .5; 1, 0"/>
                                        <p:tgtEl>
                                          <p:spTgt spid="387"/>
                                        </p:tgtEl>
                                      </p:cBhvr>
                                    </p:animEffect>
                                    <p:animScale>
                                      <p:cBhvr>
                                        <p:cTn id="269" dur="1000" autoRev="1" fill="hold"/>
                                        <p:tgtEl>
                                          <p:spTgt spid="387"/>
                                        </p:tgtEl>
                                      </p:cBhvr>
                                      <p:by x="105000" y="105000"/>
                                    </p:animScale>
                                  </p:childTnLst>
                                </p:cTn>
                              </p:par>
                              <p:par>
                                <p:cTn id="270" presetID="26" presetClass="emph" presetSubtype="0" dur="2000" repeatCount="indefinite" fill="hold" grpId="0" nodeType="withEffect">
                                  <p:stCondLst>
                                    <p:cond delay="1750"/>
                                  </p:stCondLst>
                                  <p:childTnLst>
                                    <p:animEffect transition="out" filter="fade">
                                      <p:cBhvr>
                                        <p:cTn id="271" dur="2000" tmFilter="0, 0; .2, .5; .8, .5; 1, 0"/>
                                        <p:tgtEl>
                                          <p:spTgt spid="388"/>
                                        </p:tgtEl>
                                      </p:cBhvr>
                                    </p:animEffect>
                                    <p:animScale>
                                      <p:cBhvr>
                                        <p:cTn id="272" dur="1000" autoRev="1" fill="hold"/>
                                        <p:tgtEl>
                                          <p:spTgt spid="388"/>
                                        </p:tgtEl>
                                      </p:cBhvr>
                                      <p:by x="105000" y="105000"/>
                                    </p:animScale>
                                  </p:childTnLst>
                                </p:cTn>
                              </p:par>
                              <p:par>
                                <p:cTn id="273" presetID="26" presetClass="emph" presetSubtype="0" dur="2000" repeatCount="indefinite" fill="hold" grpId="0" nodeType="withEffect">
                                  <p:stCondLst>
                                    <p:cond delay="1750"/>
                                  </p:stCondLst>
                                  <p:childTnLst>
                                    <p:animEffect transition="out" filter="fade">
                                      <p:cBhvr>
                                        <p:cTn id="274" dur="2000" tmFilter="0, 0; .2, .5; .8, .5; 1, 0"/>
                                        <p:tgtEl>
                                          <p:spTgt spid="389"/>
                                        </p:tgtEl>
                                      </p:cBhvr>
                                    </p:animEffect>
                                    <p:animScale>
                                      <p:cBhvr>
                                        <p:cTn id="275" dur="1000" autoRev="1" fill="hold"/>
                                        <p:tgtEl>
                                          <p:spTgt spid="389"/>
                                        </p:tgtEl>
                                      </p:cBhvr>
                                      <p:by x="105000" y="105000"/>
                                    </p:animScale>
                                  </p:childTnLst>
                                </p:cTn>
                              </p:par>
                              <p:par>
                                <p:cTn id="276" presetID="26" presetClass="emph" presetSubtype="0" dur="2000" repeatCount="indefinite" fill="hold" grpId="0" nodeType="withEffect">
                                  <p:stCondLst>
                                    <p:cond delay="1750"/>
                                  </p:stCondLst>
                                  <p:childTnLst>
                                    <p:animEffect transition="out" filter="fade">
                                      <p:cBhvr>
                                        <p:cTn id="277" dur="2000" tmFilter="0, 0; .2, .5; .8, .5; 1, 0"/>
                                        <p:tgtEl>
                                          <p:spTgt spid="390"/>
                                        </p:tgtEl>
                                      </p:cBhvr>
                                    </p:animEffect>
                                    <p:animScale>
                                      <p:cBhvr>
                                        <p:cTn id="278" dur="1000" autoRev="1" fill="hold"/>
                                        <p:tgtEl>
                                          <p:spTgt spid="390"/>
                                        </p:tgtEl>
                                      </p:cBhvr>
                                      <p:by x="105000" y="105000"/>
                                    </p:animScale>
                                  </p:childTnLst>
                                </p:cTn>
                              </p:par>
                              <p:par>
                                <p:cTn id="279" presetID="26" presetClass="emph" presetSubtype="0" dur="2000" repeatCount="indefinite" fill="hold" grpId="0" nodeType="withEffect">
                                  <p:stCondLst>
                                    <p:cond delay="1750"/>
                                  </p:stCondLst>
                                  <p:childTnLst>
                                    <p:animEffect transition="out" filter="fade">
                                      <p:cBhvr>
                                        <p:cTn id="280" dur="2000" tmFilter="0, 0; .2, .5; .8, .5; 1, 0"/>
                                        <p:tgtEl>
                                          <p:spTgt spid="391"/>
                                        </p:tgtEl>
                                      </p:cBhvr>
                                    </p:animEffect>
                                    <p:animScale>
                                      <p:cBhvr>
                                        <p:cTn id="281" dur="1000" autoRev="1" fill="hold"/>
                                        <p:tgtEl>
                                          <p:spTgt spid="391"/>
                                        </p:tgtEl>
                                      </p:cBhvr>
                                      <p:by x="105000" y="105000"/>
                                    </p:animScale>
                                  </p:childTnLst>
                                </p:cTn>
                              </p:par>
                              <p:par>
                                <p:cTn id="282" presetID="26" presetClass="emph" presetSubtype="0" dur="2000" repeatCount="indefinite" fill="hold" grpId="0" nodeType="withEffect">
                                  <p:stCondLst>
                                    <p:cond delay="1750"/>
                                  </p:stCondLst>
                                  <p:childTnLst>
                                    <p:animEffect transition="out" filter="fade">
                                      <p:cBhvr>
                                        <p:cTn id="283" dur="2000" tmFilter="0, 0; .2, .5; .8, .5; 1, 0"/>
                                        <p:tgtEl>
                                          <p:spTgt spid="392"/>
                                        </p:tgtEl>
                                      </p:cBhvr>
                                    </p:animEffect>
                                    <p:animScale>
                                      <p:cBhvr>
                                        <p:cTn id="284" dur="1000" autoRev="1" fill="hold"/>
                                        <p:tgtEl>
                                          <p:spTgt spid="392"/>
                                        </p:tgtEl>
                                      </p:cBhvr>
                                      <p:by x="105000" y="105000"/>
                                    </p:animScale>
                                  </p:childTnLst>
                                </p:cTn>
                              </p:par>
                              <p:par>
                                <p:cTn id="285" presetID="26" presetClass="emph" presetSubtype="0" dur="2000" repeatCount="indefinite" fill="hold" grpId="0" nodeType="withEffect">
                                  <p:stCondLst>
                                    <p:cond delay="1750"/>
                                  </p:stCondLst>
                                  <p:childTnLst>
                                    <p:animEffect transition="out" filter="fade">
                                      <p:cBhvr>
                                        <p:cTn id="286" dur="2000" tmFilter="0, 0; .2, .5; .8, .5; 1, 0"/>
                                        <p:tgtEl>
                                          <p:spTgt spid="393"/>
                                        </p:tgtEl>
                                      </p:cBhvr>
                                    </p:animEffect>
                                    <p:animScale>
                                      <p:cBhvr>
                                        <p:cTn id="287" dur="1000" autoRev="1" fill="hold"/>
                                        <p:tgtEl>
                                          <p:spTgt spid="393"/>
                                        </p:tgtEl>
                                      </p:cBhvr>
                                      <p:by x="105000" y="105000"/>
                                    </p:animScale>
                                  </p:childTnLst>
                                </p:cTn>
                              </p:par>
                              <p:par>
                                <p:cTn id="288" presetID="26" presetClass="emph" presetSubtype="0" dur="2000" repeatCount="indefinite" fill="hold" grpId="0" nodeType="withEffect">
                                  <p:stCondLst>
                                    <p:cond delay="1750"/>
                                  </p:stCondLst>
                                  <p:childTnLst>
                                    <p:animEffect transition="out" filter="fade">
                                      <p:cBhvr>
                                        <p:cTn id="289" dur="2000" tmFilter="0, 0; .2, .5; .8, .5; 1, 0"/>
                                        <p:tgtEl>
                                          <p:spTgt spid="394"/>
                                        </p:tgtEl>
                                      </p:cBhvr>
                                    </p:animEffect>
                                    <p:animScale>
                                      <p:cBhvr>
                                        <p:cTn id="290" dur="1000" autoRev="1" fill="hold"/>
                                        <p:tgtEl>
                                          <p:spTgt spid="394"/>
                                        </p:tgtEl>
                                      </p:cBhvr>
                                      <p:by x="105000" y="105000"/>
                                    </p:animScale>
                                  </p:childTnLst>
                                </p:cTn>
                              </p:par>
                              <p:par>
                                <p:cTn id="291" presetID="26" presetClass="emph" presetSubtype="0" dur="2000" repeatCount="indefinite" fill="hold" grpId="0" nodeType="withEffect">
                                  <p:stCondLst>
                                    <p:cond delay="1750"/>
                                  </p:stCondLst>
                                  <p:childTnLst>
                                    <p:animEffect transition="out" filter="fade">
                                      <p:cBhvr>
                                        <p:cTn id="292" dur="2000" tmFilter="0, 0; .2, .5; .8, .5; 1, 0"/>
                                        <p:tgtEl>
                                          <p:spTgt spid="395"/>
                                        </p:tgtEl>
                                      </p:cBhvr>
                                    </p:animEffect>
                                    <p:animScale>
                                      <p:cBhvr>
                                        <p:cTn id="293" dur="1000" autoRev="1" fill="hold"/>
                                        <p:tgtEl>
                                          <p:spTgt spid="395"/>
                                        </p:tgtEl>
                                      </p:cBhvr>
                                      <p:by x="105000" y="105000"/>
                                    </p:animScale>
                                  </p:childTnLst>
                                </p:cTn>
                              </p:par>
                              <p:par>
                                <p:cTn id="294" presetID="26" presetClass="emph" presetSubtype="0" dur="2000" repeatCount="indefinite" fill="hold" grpId="0" nodeType="withEffect">
                                  <p:stCondLst>
                                    <p:cond delay="2000"/>
                                  </p:stCondLst>
                                  <p:childTnLst>
                                    <p:animEffect transition="out" filter="fade">
                                      <p:cBhvr>
                                        <p:cTn id="295" dur="2000" tmFilter="0, 0; .2, .5; .8, .5; 1, 0"/>
                                        <p:tgtEl>
                                          <p:spTgt spid="396"/>
                                        </p:tgtEl>
                                      </p:cBhvr>
                                    </p:animEffect>
                                    <p:animScale>
                                      <p:cBhvr>
                                        <p:cTn id="296" dur="1000" autoRev="1" fill="hold"/>
                                        <p:tgtEl>
                                          <p:spTgt spid="396"/>
                                        </p:tgtEl>
                                      </p:cBhvr>
                                      <p:by x="105000" y="105000"/>
                                    </p:animScale>
                                  </p:childTnLst>
                                </p:cTn>
                              </p:par>
                              <p:par>
                                <p:cTn id="297" presetID="26" presetClass="emph" presetSubtype="0" dur="2000" repeatCount="indefinite" fill="hold" grpId="0" nodeType="withEffect">
                                  <p:stCondLst>
                                    <p:cond delay="2000"/>
                                  </p:stCondLst>
                                  <p:childTnLst>
                                    <p:animEffect transition="out" filter="fade">
                                      <p:cBhvr>
                                        <p:cTn id="298" dur="2000" tmFilter="0, 0; .2, .5; .8, .5; 1, 0"/>
                                        <p:tgtEl>
                                          <p:spTgt spid="397"/>
                                        </p:tgtEl>
                                      </p:cBhvr>
                                    </p:animEffect>
                                    <p:animScale>
                                      <p:cBhvr>
                                        <p:cTn id="299" dur="1000" autoRev="1" fill="hold"/>
                                        <p:tgtEl>
                                          <p:spTgt spid="397"/>
                                        </p:tgtEl>
                                      </p:cBhvr>
                                      <p:by x="105000" y="105000"/>
                                    </p:animScale>
                                  </p:childTnLst>
                                </p:cTn>
                              </p:par>
                              <p:par>
                                <p:cTn id="300" presetID="26" presetClass="emph" presetSubtype="0" dur="2000" repeatCount="indefinite" fill="hold" grpId="0" nodeType="withEffect">
                                  <p:stCondLst>
                                    <p:cond delay="2000"/>
                                  </p:stCondLst>
                                  <p:childTnLst>
                                    <p:animEffect transition="out" filter="fade">
                                      <p:cBhvr>
                                        <p:cTn id="301" dur="2000" tmFilter="0, 0; .2, .5; .8, .5; 1, 0"/>
                                        <p:tgtEl>
                                          <p:spTgt spid="398"/>
                                        </p:tgtEl>
                                      </p:cBhvr>
                                    </p:animEffect>
                                    <p:animScale>
                                      <p:cBhvr>
                                        <p:cTn id="302" dur="1000" autoRev="1" fill="hold"/>
                                        <p:tgtEl>
                                          <p:spTgt spid="398"/>
                                        </p:tgtEl>
                                      </p:cBhvr>
                                      <p:by x="105000" y="105000"/>
                                    </p:animScale>
                                  </p:childTnLst>
                                </p:cTn>
                              </p:par>
                              <p:par>
                                <p:cTn id="303" presetID="26" presetClass="emph" presetSubtype="0" dur="2000" repeatCount="indefinite" fill="hold" grpId="0" nodeType="withEffect">
                                  <p:stCondLst>
                                    <p:cond delay="2000"/>
                                  </p:stCondLst>
                                  <p:childTnLst>
                                    <p:animEffect transition="out" filter="fade">
                                      <p:cBhvr>
                                        <p:cTn id="304" dur="2000" tmFilter="0, 0; .2, .5; .8, .5; 1, 0"/>
                                        <p:tgtEl>
                                          <p:spTgt spid="399"/>
                                        </p:tgtEl>
                                      </p:cBhvr>
                                    </p:animEffect>
                                    <p:animScale>
                                      <p:cBhvr>
                                        <p:cTn id="305" dur="1000" autoRev="1" fill="hold"/>
                                        <p:tgtEl>
                                          <p:spTgt spid="399"/>
                                        </p:tgtEl>
                                      </p:cBhvr>
                                      <p:by x="105000" y="105000"/>
                                    </p:animScale>
                                  </p:childTnLst>
                                </p:cTn>
                              </p:par>
                              <p:par>
                                <p:cTn id="306" presetID="26" presetClass="emph" presetSubtype="0" dur="2000" repeatCount="indefinite" fill="hold" grpId="0" nodeType="withEffect">
                                  <p:stCondLst>
                                    <p:cond delay="2000"/>
                                  </p:stCondLst>
                                  <p:childTnLst>
                                    <p:animEffect transition="out" filter="fade">
                                      <p:cBhvr>
                                        <p:cTn id="307" dur="2000" tmFilter="0, 0; .2, .5; .8, .5; 1, 0"/>
                                        <p:tgtEl>
                                          <p:spTgt spid="400"/>
                                        </p:tgtEl>
                                      </p:cBhvr>
                                    </p:animEffect>
                                    <p:animScale>
                                      <p:cBhvr>
                                        <p:cTn id="308" dur="1000" autoRev="1" fill="hold"/>
                                        <p:tgtEl>
                                          <p:spTgt spid="400"/>
                                        </p:tgtEl>
                                      </p:cBhvr>
                                      <p:by x="105000" y="105000"/>
                                    </p:animScale>
                                  </p:childTnLst>
                                </p:cTn>
                              </p:par>
                              <p:par>
                                <p:cTn id="309" presetID="26" presetClass="emph" presetSubtype="0" dur="2000" repeatCount="indefinite" fill="hold" grpId="0" nodeType="withEffect">
                                  <p:stCondLst>
                                    <p:cond delay="2000"/>
                                  </p:stCondLst>
                                  <p:childTnLst>
                                    <p:animEffect transition="out" filter="fade">
                                      <p:cBhvr>
                                        <p:cTn id="310" dur="2000" tmFilter="0, 0; .2, .5; .8, .5; 1, 0"/>
                                        <p:tgtEl>
                                          <p:spTgt spid="401"/>
                                        </p:tgtEl>
                                      </p:cBhvr>
                                    </p:animEffect>
                                    <p:animScale>
                                      <p:cBhvr>
                                        <p:cTn id="311" dur="1000" autoRev="1" fill="hold"/>
                                        <p:tgtEl>
                                          <p:spTgt spid="401"/>
                                        </p:tgtEl>
                                      </p:cBhvr>
                                      <p:by x="105000" y="105000"/>
                                    </p:animScale>
                                  </p:childTnLst>
                                </p:cTn>
                              </p:par>
                              <p:par>
                                <p:cTn id="312" presetID="26" presetClass="emph" presetSubtype="0" dur="2000" repeatCount="indefinite" fill="hold" grpId="0" nodeType="withEffect">
                                  <p:stCondLst>
                                    <p:cond delay="2000"/>
                                  </p:stCondLst>
                                  <p:childTnLst>
                                    <p:animEffect transition="out" filter="fade">
                                      <p:cBhvr>
                                        <p:cTn id="313" dur="2000" tmFilter="0, 0; .2, .5; .8, .5; 1, 0"/>
                                        <p:tgtEl>
                                          <p:spTgt spid="402"/>
                                        </p:tgtEl>
                                      </p:cBhvr>
                                    </p:animEffect>
                                    <p:animScale>
                                      <p:cBhvr>
                                        <p:cTn id="314" dur="1000" autoRev="1" fill="hold"/>
                                        <p:tgtEl>
                                          <p:spTgt spid="402"/>
                                        </p:tgtEl>
                                      </p:cBhvr>
                                      <p:by x="105000" y="105000"/>
                                    </p:animScale>
                                  </p:childTnLst>
                                </p:cTn>
                              </p:par>
                              <p:par>
                                <p:cTn id="315" presetID="26" presetClass="emph" presetSubtype="0" dur="2000" repeatCount="indefinite" fill="hold" grpId="0" nodeType="withEffect">
                                  <p:stCondLst>
                                    <p:cond delay="2000"/>
                                  </p:stCondLst>
                                  <p:childTnLst>
                                    <p:animEffect transition="out" filter="fade">
                                      <p:cBhvr>
                                        <p:cTn id="316" dur="2000" tmFilter="0, 0; .2, .5; .8, .5; 1, 0"/>
                                        <p:tgtEl>
                                          <p:spTgt spid="403"/>
                                        </p:tgtEl>
                                      </p:cBhvr>
                                    </p:animEffect>
                                    <p:animScale>
                                      <p:cBhvr>
                                        <p:cTn id="317" dur="1000" autoRev="1" fill="hold"/>
                                        <p:tgtEl>
                                          <p:spTgt spid="403"/>
                                        </p:tgtEl>
                                      </p:cBhvr>
                                      <p:by x="105000" y="105000"/>
                                    </p:animScale>
                                  </p:childTnLst>
                                </p:cTn>
                              </p:par>
                              <p:par>
                                <p:cTn id="318" presetID="26" presetClass="emph" presetSubtype="0" dur="2000" repeatCount="indefinite" fill="hold" grpId="0" nodeType="withEffect">
                                  <p:stCondLst>
                                    <p:cond delay="2000"/>
                                  </p:stCondLst>
                                  <p:childTnLst>
                                    <p:animEffect transition="out" filter="fade">
                                      <p:cBhvr>
                                        <p:cTn id="319" dur="2000" tmFilter="0, 0; .2, .5; .8, .5; 1, 0"/>
                                        <p:tgtEl>
                                          <p:spTgt spid="404"/>
                                        </p:tgtEl>
                                      </p:cBhvr>
                                    </p:animEffect>
                                    <p:animScale>
                                      <p:cBhvr>
                                        <p:cTn id="320" dur="1000" autoRev="1" fill="hold"/>
                                        <p:tgtEl>
                                          <p:spTgt spid="404"/>
                                        </p:tgtEl>
                                      </p:cBhvr>
                                      <p:by x="105000" y="105000"/>
                                    </p:animScale>
                                  </p:childTnLst>
                                </p:cTn>
                              </p:par>
                              <p:par>
                                <p:cTn id="321" presetID="26" presetClass="emph" presetSubtype="0" dur="2000" repeatCount="indefinite" fill="hold" grpId="0" nodeType="withEffect">
                                  <p:stCondLst>
                                    <p:cond delay="2000"/>
                                  </p:stCondLst>
                                  <p:childTnLst>
                                    <p:animEffect transition="out" filter="fade">
                                      <p:cBhvr>
                                        <p:cTn id="322" dur="2000" tmFilter="0, 0; .2, .5; .8, .5; 1, 0"/>
                                        <p:tgtEl>
                                          <p:spTgt spid="405"/>
                                        </p:tgtEl>
                                      </p:cBhvr>
                                    </p:animEffect>
                                    <p:animScale>
                                      <p:cBhvr>
                                        <p:cTn id="323" dur="1000" autoRev="1" fill="hold"/>
                                        <p:tgtEl>
                                          <p:spTgt spid="405"/>
                                        </p:tgtEl>
                                      </p:cBhvr>
                                      <p:by x="105000" y="105000"/>
                                    </p:animScale>
                                  </p:childTnLst>
                                </p:cTn>
                              </p:par>
                              <p:par>
                                <p:cTn id="324" presetID="26" presetClass="emph" presetSubtype="0" dur="2000" repeatCount="indefinite" fill="hold" grpId="0" nodeType="withEffect">
                                  <p:stCondLst>
                                    <p:cond delay="2000"/>
                                  </p:stCondLst>
                                  <p:childTnLst>
                                    <p:animEffect transition="out" filter="fade">
                                      <p:cBhvr>
                                        <p:cTn id="325" dur="2000" tmFilter="0, 0; .2, .5; .8, .5; 1, 0"/>
                                        <p:tgtEl>
                                          <p:spTgt spid="406"/>
                                        </p:tgtEl>
                                      </p:cBhvr>
                                    </p:animEffect>
                                    <p:animScale>
                                      <p:cBhvr>
                                        <p:cTn id="326" dur="1000" autoRev="1" fill="hold"/>
                                        <p:tgtEl>
                                          <p:spTgt spid="406"/>
                                        </p:tgtEl>
                                      </p:cBhvr>
                                      <p:by x="105000" y="105000"/>
                                    </p:animScale>
                                  </p:childTnLst>
                                </p:cTn>
                              </p:par>
                              <p:par>
                                <p:cTn id="327" presetID="26" presetClass="emph" presetSubtype="0" dur="2000" repeatCount="indefinite" fill="hold" grpId="0" nodeType="withEffect">
                                  <p:stCondLst>
                                    <p:cond delay="2000"/>
                                  </p:stCondLst>
                                  <p:childTnLst>
                                    <p:animEffect transition="out" filter="fade">
                                      <p:cBhvr>
                                        <p:cTn id="328" dur="2000" tmFilter="0, 0; .2, .5; .8, .5; 1, 0"/>
                                        <p:tgtEl>
                                          <p:spTgt spid="407"/>
                                        </p:tgtEl>
                                      </p:cBhvr>
                                    </p:animEffect>
                                    <p:animScale>
                                      <p:cBhvr>
                                        <p:cTn id="329" dur="1000" autoRev="1" fill="hold"/>
                                        <p:tgtEl>
                                          <p:spTgt spid="407"/>
                                        </p:tgtEl>
                                      </p:cBhvr>
                                      <p:by x="105000" y="105000"/>
                                    </p:animScale>
                                  </p:childTnLst>
                                </p:cTn>
                              </p:par>
                              <p:par>
                                <p:cTn id="330" presetID="26" presetClass="emph" presetSubtype="0" dur="2000" repeatCount="indefinite" fill="hold" grpId="0" nodeType="withEffect">
                                  <p:stCondLst>
                                    <p:cond delay="2000"/>
                                  </p:stCondLst>
                                  <p:childTnLst>
                                    <p:animEffect transition="out" filter="fade">
                                      <p:cBhvr>
                                        <p:cTn id="331" dur="2000" tmFilter="0, 0; .2, .5; .8, .5; 1, 0"/>
                                        <p:tgtEl>
                                          <p:spTgt spid="408"/>
                                        </p:tgtEl>
                                      </p:cBhvr>
                                    </p:animEffect>
                                    <p:animScale>
                                      <p:cBhvr>
                                        <p:cTn id="332" dur="1000" autoRev="1" fill="hold"/>
                                        <p:tgtEl>
                                          <p:spTgt spid="408"/>
                                        </p:tgtEl>
                                      </p:cBhvr>
                                      <p:by x="105000" y="105000"/>
                                    </p:animScale>
                                  </p:childTnLst>
                                </p:cTn>
                              </p:par>
                              <p:par>
                                <p:cTn id="333" presetID="26" presetClass="emph" presetSubtype="0" dur="2000" repeatCount="indefinite" fill="hold" grpId="0" nodeType="withEffect">
                                  <p:stCondLst>
                                    <p:cond delay="2000"/>
                                  </p:stCondLst>
                                  <p:childTnLst>
                                    <p:animEffect transition="out" filter="fade">
                                      <p:cBhvr>
                                        <p:cTn id="334" dur="2000" tmFilter="0, 0; .2, .5; .8, .5; 1, 0"/>
                                        <p:tgtEl>
                                          <p:spTgt spid="409"/>
                                        </p:tgtEl>
                                      </p:cBhvr>
                                    </p:animEffect>
                                    <p:animScale>
                                      <p:cBhvr>
                                        <p:cTn id="335" dur="1000" autoRev="1" fill="hold"/>
                                        <p:tgtEl>
                                          <p:spTgt spid="409"/>
                                        </p:tgtEl>
                                      </p:cBhvr>
                                      <p:by x="105000" y="105000"/>
                                    </p:animScale>
                                  </p:childTnLst>
                                </p:cTn>
                              </p:par>
                              <p:par>
                                <p:cTn id="336" presetID="26" presetClass="emph" presetSubtype="0" dur="2000" repeatCount="indefinite" fill="hold" grpId="0" nodeType="withEffect">
                                  <p:stCondLst>
                                    <p:cond delay="2250"/>
                                  </p:stCondLst>
                                  <p:childTnLst>
                                    <p:animEffect transition="out" filter="fade">
                                      <p:cBhvr>
                                        <p:cTn id="337" dur="2000" tmFilter="0, 0; .2, .5; .8, .5; 1, 0"/>
                                        <p:tgtEl>
                                          <p:spTgt spid="410"/>
                                        </p:tgtEl>
                                      </p:cBhvr>
                                    </p:animEffect>
                                    <p:animScale>
                                      <p:cBhvr>
                                        <p:cTn id="338" dur="1000" autoRev="1" fill="hold"/>
                                        <p:tgtEl>
                                          <p:spTgt spid="410"/>
                                        </p:tgtEl>
                                      </p:cBhvr>
                                      <p:by x="105000" y="105000"/>
                                    </p:animScale>
                                  </p:childTnLst>
                                </p:cTn>
                              </p:par>
                              <p:par>
                                <p:cTn id="339" presetID="26" presetClass="emph" presetSubtype="0" dur="2000" repeatCount="indefinite" fill="hold" grpId="0" nodeType="withEffect">
                                  <p:stCondLst>
                                    <p:cond delay="2250"/>
                                  </p:stCondLst>
                                  <p:childTnLst>
                                    <p:animEffect transition="out" filter="fade">
                                      <p:cBhvr>
                                        <p:cTn id="340" dur="2000" tmFilter="0, 0; .2, .5; .8, .5; 1, 0"/>
                                        <p:tgtEl>
                                          <p:spTgt spid="411"/>
                                        </p:tgtEl>
                                      </p:cBhvr>
                                    </p:animEffect>
                                    <p:animScale>
                                      <p:cBhvr>
                                        <p:cTn id="341" dur="1000" autoRev="1" fill="hold"/>
                                        <p:tgtEl>
                                          <p:spTgt spid="411"/>
                                        </p:tgtEl>
                                      </p:cBhvr>
                                      <p:by x="105000" y="105000"/>
                                    </p:animScale>
                                  </p:childTnLst>
                                </p:cTn>
                              </p:par>
                              <p:par>
                                <p:cTn id="342" presetID="26" presetClass="emph" presetSubtype="0" dur="2000" repeatCount="indefinite" fill="hold" grpId="0" nodeType="withEffect">
                                  <p:stCondLst>
                                    <p:cond delay="2250"/>
                                  </p:stCondLst>
                                  <p:childTnLst>
                                    <p:animEffect transition="out" filter="fade">
                                      <p:cBhvr>
                                        <p:cTn id="343" dur="2000" tmFilter="0, 0; .2, .5; .8, .5; 1, 0"/>
                                        <p:tgtEl>
                                          <p:spTgt spid="412"/>
                                        </p:tgtEl>
                                      </p:cBhvr>
                                    </p:animEffect>
                                    <p:animScale>
                                      <p:cBhvr>
                                        <p:cTn id="344" dur="1000" autoRev="1" fill="hold"/>
                                        <p:tgtEl>
                                          <p:spTgt spid="412"/>
                                        </p:tgtEl>
                                      </p:cBhvr>
                                      <p:by x="105000" y="105000"/>
                                    </p:animScale>
                                  </p:childTnLst>
                                </p:cTn>
                              </p:par>
                              <p:par>
                                <p:cTn id="345" presetID="26" presetClass="emph" presetSubtype="0" dur="2000" repeatCount="indefinite" fill="hold" grpId="0" nodeType="withEffect">
                                  <p:stCondLst>
                                    <p:cond delay="2250"/>
                                  </p:stCondLst>
                                  <p:childTnLst>
                                    <p:animEffect transition="out" filter="fade">
                                      <p:cBhvr>
                                        <p:cTn id="346" dur="2000" tmFilter="0, 0; .2, .5; .8, .5; 1, 0"/>
                                        <p:tgtEl>
                                          <p:spTgt spid="413"/>
                                        </p:tgtEl>
                                      </p:cBhvr>
                                    </p:animEffect>
                                    <p:animScale>
                                      <p:cBhvr>
                                        <p:cTn id="347" dur="1000" autoRev="1" fill="hold"/>
                                        <p:tgtEl>
                                          <p:spTgt spid="413"/>
                                        </p:tgtEl>
                                      </p:cBhvr>
                                      <p:by x="105000" y="105000"/>
                                    </p:animScale>
                                  </p:childTnLst>
                                </p:cTn>
                              </p:par>
                              <p:par>
                                <p:cTn id="348" presetID="26" presetClass="emph" presetSubtype="0" dur="2000" repeatCount="indefinite" fill="hold" grpId="0" nodeType="withEffect">
                                  <p:stCondLst>
                                    <p:cond delay="2250"/>
                                  </p:stCondLst>
                                  <p:childTnLst>
                                    <p:animEffect transition="out" filter="fade">
                                      <p:cBhvr>
                                        <p:cTn id="349" dur="2000" tmFilter="0, 0; .2, .5; .8, .5; 1, 0"/>
                                        <p:tgtEl>
                                          <p:spTgt spid="414"/>
                                        </p:tgtEl>
                                      </p:cBhvr>
                                    </p:animEffect>
                                    <p:animScale>
                                      <p:cBhvr>
                                        <p:cTn id="350" dur="1000" autoRev="1" fill="hold"/>
                                        <p:tgtEl>
                                          <p:spTgt spid="414"/>
                                        </p:tgtEl>
                                      </p:cBhvr>
                                      <p:by x="105000" y="105000"/>
                                    </p:animScale>
                                  </p:childTnLst>
                                </p:cTn>
                              </p:par>
                              <p:par>
                                <p:cTn id="351" presetID="26" presetClass="emph" presetSubtype="0" dur="2000" repeatCount="indefinite" fill="hold" grpId="0" nodeType="withEffect">
                                  <p:stCondLst>
                                    <p:cond delay="2250"/>
                                  </p:stCondLst>
                                  <p:childTnLst>
                                    <p:animEffect transition="out" filter="fade">
                                      <p:cBhvr>
                                        <p:cTn id="352" dur="2000" tmFilter="0, 0; .2, .5; .8, .5; 1, 0"/>
                                        <p:tgtEl>
                                          <p:spTgt spid="415"/>
                                        </p:tgtEl>
                                      </p:cBhvr>
                                    </p:animEffect>
                                    <p:animScale>
                                      <p:cBhvr>
                                        <p:cTn id="353" dur="1000" autoRev="1" fill="hold"/>
                                        <p:tgtEl>
                                          <p:spTgt spid="415"/>
                                        </p:tgtEl>
                                      </p:cBhvr>
                                      <p:by x="105000" y="105000"/>
                                    </p:animScale>
                                  </p:childTnLst>
                                </p:cTn>
                              </p:par>
                              <p:par>
                                <p:cTn id="354" presetID="26" presetClass="emph" presetSubtype="0" dur="2000" repeatCount="indefinite" fill="hold" grpId="0" nodeType="withEffect">
                                  <p:stCondLst>
                                    <p:cond delay="2250"/>
                                  </p:stCondLst>
                                  <p:childTnLst>
                                    <p:animEffect transition="out" filter="fade">
                                      <p:cBhvr>
                                        <p:cTn id="355" dur="2000" tmFilter="0, 0; .2, .5; .8, .5; 1, 0"/>
                                        <p:tgtEl>
                                          <p:spTgt spid="416"/>
                                        </p:tgtEl>
                                      </p:cBhvr>
                                    </p:animEffect>
                                    <p:animScale>
                                      <p:cBhvr>
                                        <p:cTn id="356" dur="1000" autoRev="1" fill="hold"/>
                                        <p:tgtEl>
                                          <p:spTgt spid="416"/>
                                        </p:tgtEl>
                                      </p:cBhvr>
                                      <p:by x="105000" y="105000"/>
                                    </p:animScale>
                                  </p:childTnLst>
                                </p:cTn>
                              </p:par>
                              <p:par>
                                <p:cTn id="357" presetID="26" presetClass="emph" presetSubtype="0" dur="2000" repeatCount="indefinite" fill="hold" grpId="0" nodeType="withEffect">
                                  <p:stCondLst>
                                    <p:cond delay="2250"/>
                                  </p:stCondLst>
                                  <p:childTnLst>
                                    <p:animEffect transition="out" filter="fade">
                                      <p:cBhvr>
                                        <p:cTn id="358" dur="2000" tmFilter="0, 0; .2, .5; .8, .5; 1, 0"/>
                                        <p:tgtEl>
                                          <p:spTgt spid="417"/>
                                        </p:tgtEl>
                                      </p:cBhvr>
                                    </p:animEffect>
                                    <p:animScale>
                                      <p:cBhvr>
                                        <p:cTn id="359" dur="1000" autoRev="1" fill="hold"/>
                                        <p:tgtEl>
                                          <p:spTgt spid="417"/>
                                        </p:tgtEl>
                                      </p:cBhvr>
                                      <p:by x="105000" y="105000"/>
                                    </p:animScale>
                                  </p:childTnLst>
                                </p:cTn>
                              </p:par>
                              <p:par>
                                <p:cTn id="360" presetID="26" presetClass="emph" presetSubtype="0" dur="2000" repeatCount="indefinite" fill="hold" grpId="0" nodeType="withEffect">
                                  <p:stCondLst>
                                    <p:cond delay="2250"/>
                                  </p:stCondLst>
                                  <p:childTnLst>
                                    <p:animEffect transition="out" filter="fade">
                                      <p:cBhvr>
                                        <p:cTn id="361" dur="2000" tmFilter="0, 0; .2, .5; .8, .5; 1, 0"/>
                                        <p:tgtEl>
                                          <p:spTgt spid="418"/>
                                        </p:tgtEl>
                                      </p:cBhvr>
                                    </p:animEffect>
                                    <p:animScale>
                                      <p:cBhvr>
                                        <p:cTn id="362" dur="1000" autoRev="1" fill="hold"/>
                                        <p:tgtEl>
                                          <p:spTgt spid="418"/>
                                        </p:tgtEl>
                                      </p:cBhvr>
                                      <p:by x="105000" y="105000"/>
                                    </p:animScale>
                                  </p:childTnLst>
                                </p:cTn>
                              </p:par>
                              <p:par>
                                <p:cTn id="363" presetID="26" presetClass="emph" presetSubtype="0" dur="2000" repeatCount="indefinite" fill="hold" grpId="0" nodeType="withEffect">
                                  <p:stCondLst>
                                    <p:cond delay="2250"/>
                                  </p:stCondLst>
                                  <p:childTnLst>
                                    <p:animEffect transition="out" filter="fade">
                                      <p:cBhvr>
                                        <p:cTn id="364" dur="2000" tmFilter="0, 0; .2, .5; .8, .5; 1, 0"/>
                                        <p:tgtEl>
                                          <p:spTgt spid="419"/>
                                        </p:tgtEl>
                                      </p:cBhvr>
                                    </p:animEffect>
                                    <p:animScale>
                                      <p:cBhvr>
                                        <p:cTn id="365" dur="1000" autoRev="1" fill="hold"/>
                                        <p:tgtEl>
                                          <p:spTgt spid="419"/>
                                        </p:tgtEl>
                                      </p:cBhvr>
                                      <p:by x="105000" y="105000"/>
                                    </p:animScale>
                                  </p:childTnLst>
                                </p:cTn>
                              </p:par>
                              <p:par>
                                <p:cTn id="366" presetID="26" presetClass="emph" presetSubtype="0" dur="2000" repeatCount="indefinite" fill="hold" grpId="0" nodeType="withEffect">
                                  <p:stCondLst>
                                    <p:cond delay="2250"/>
                                  </p:stCondLst>
                                  <p:childTnLst>
                                    <p:animEffect transition="out" filter="fade">
                                      <p:cBhvr>
                                        <p:cTn id="367" dur="2000" tmFilter="0, 0; .2, .5; .8, .5; 1, 0"/>
                                        <p:tgtEl>
                                          <p:spTgt spid="420"/>
                                        </p:tgtEl>
                                      </p:cBhvr>
                                    </p:animEffect>
                                    <p:animScale>
                                      <p:cBhvr>
                                        <p:cTn id="368" dur="1000" autoRev="1" fill="hold"/>
                                        <p:tgtEl>
                                          <p:spTgt spid="420"/>
                                        </p:tgtEl>
                                      </p:cBhvr>
                                      <p:by x="105000" y="105000"/>
                                    </p:animScale>
                                  </p:childTnLst>
                                </p:cTn>
                              </p:par>
                              <p:par>
                                <p:cTn id="369" presetID="26" presetClass="emph" presetSubtype="0" dur="2000" repeatCount="indefinite" fill="hold" grpId="0" nodeType="withEffect">
                                  <p:stCondLst>
                                    <p:cond delay="2250"/>
                                  </p:stCondLst>
                                  <p:childTnLst>
                                    <p:animEffect transition="out" filter="fade">
                                      <p:cBhvr>
                                        <p:cTn id="370" dur="2000" tmFilter="0, 0; .2, .5; .8, .5; 1, 0"/>
                                        <p:tgtEl>
                                          <p:spTgt spid="421"/>
                                        </p:tgtEl>
                                      </p:cBhvr>
                                    </p:animEffect>
                                    <p:animScale>
                                      <p:cBhvr>
                                        <p:cTn id="371" dur="1000" autoRev="1" fill="hold"/>
                                        <p:tgtEl>
                                          <p:spTgt spid="421"/>
                                        </p:tgtEl>
                                      </p:cBhvr>
                                      <p:by x="105000" y="105000"/>
                                    </p:animScale>
                                  </p:childTnLst>
                                </p:cTn>
                              </p:par>
                              <p:par>
                                <p:cTn id="372" presetID="26" presetClass="emph" presetSubtype="0" dur="2000" repeatCount="indefinite" fill="hold" grpId="0" nodeType="withEffect">
                                  <p:stCondLst>
                                    <p:cond delay="2250"/>
                                  </p:stCondLst>
                                  <p:childTnLst>
                                    <p:animEffect transition="out" filter="fade">
                                      <p:cBhvr>
                                        <p:cTn id="373" dur="2000" tmFilter="0, 0; .2, .5; .8, .5; 1, 0"/>
                                        <p:tgtEl>
                                          <p:spTgt spid="422"/>
                                        </p:tgtEl>
                                      </p:cBhvr>
                                    </p:animEffect>
                                    <p:animScale>
                                      <p:cBhvr>
                                        <p:cTn id="374" dur="1000" autoRev="1" fill="hold"/>
                                        <p:tgtEl>
                                          <p:spTgt spid="422"/>
                                        </p:tgtEl>
                                      </p:cBhvr>
                                      <p:by x="105000" y="105000"/>
                                    </p:animScale>
                                  </p:childTnLst>
                                </p:cTn>
                              </p:par>
                              <p:par>
                                <p:cTn id="375" presetID="26" presetClass="emph" presetSubtype="0" dur="2000" repeatCount="indefinite" fill="hold" grpId="0" nodeType="withEffect">
                                  <p:stCondLst>
                                    <p:cond delay="2250"/>
                                  </p:stCondLst>
                                  <p:childTnLst>
                                    <p:animEffect transition="out" filter="fade">
                                      <p:cBhvr>
                                        <p:cTn id="376" dur="2000" tmFilter="0, 0; .2, .5; .8, .5; 1, 0"/>
                                        <p:tgtEl>
                                          <p:spTgt spid="423"/>
                                        </p:tgtEl>
                                      </p:cBhvr>
                                    </p:animEffect>
                                    <p:animScale>
                                      <p:cBhvr>
                                        <p:cTn id="377" dur="1000" autoRev="1" fill="hold"/>
                                        <p:tgtEl>
                                          <p:spTgt spid="423"/>
                                        </p:tgtEl>
                                      </p:cBhvr>
                                      <p:by x="105000" y="105000"/>
                                    </p:animScale>
                                  </p:childTnLst>
                                </p:cTn>
                              </p:par>
                              <p:par>
                                <p:cTn id="378" presetID="26" presetClass="emph" presetSubtype="0" dur="2000" repeatCount="indefinite" fill="hold" grpId="0" nodeType="withEffect">
                                  <p:stCondLst>
                                    <p:cond delay="2500"/>
                                  </p:stCondLst>
                                  <p:childTnLst>
                                    <p:animEffect transition="out" filter="fade">
                                      <p:cBhvr>
                                        <p:cTn id="379" dur="2000" tmFilter="0, 0; .2, .5; .8, .5; 1, 0"/>
                                        <p:tgtEl>
                                          <p:spTgt spid="424"/>
                                        </p:tgtEl>
                                      </p:cBhvr>
                                    </p:animEffect>
                                    <p:animScale>
                                      <p:cBhvr>
                                        <p:cTn id="380" dur="1000" autoRev="1" fill="hold"/>
                                        <p:tgtEl>
                                          <p:spTgt spid="424"/>
                                        </p:tgtEl>
                                      </p:cBhvr>
                                      <p:by x="105000" y="105000"/>
                                    </p:animScale>
                                  </p:childTnLst>
                                </p:cTn>
                              </p:par>
                              <p:par>
                                <p:cTn id="381" presetID="26" presetClass="emph" presetSubtype="0" dur="2000" repeatCount="indefinite" fill="hold" grpId="0" nodeType="withEffect">
                                  <p:stCondLst>
                                    <p:cond delay="2500"/>
                                  </p:stCondLst>
                                  <p:childTnLst>
                                    <p:animEffect transition="out" filter="fade">
                                      <p:cBhvr>
                                        <p:cTn id="382" dur="2000" tmFilter="0, 0; .2, .5; .8, .5; 1, 0"/>
                                        <p:tgtEl>
                                          <p:spTgt spid="425"/>
                                        </p:tgtEl>
                                      </p:cBhvr>
                                    </p:animEffect>
                                    <p:animScale>
                                      <p:cBhvr>
                                        <p:cTn id="383" dur="1000" autoRev="1" fill="hold"/>
                                        <p:tgtEl>
                                          <p:spTgt spid="425"/>
                                        </p:tgtEl>
                                      </p:cBhvr>
                                      <p:by x="105000" y="105000"/>
                                    </p:animScale>
                                  </p:childTnLst>
                                </p:cTn>
                              </p:par>
                              <p:par>
                                <p:cTn id="384" presetID="26" presetClass="emph" presetSubtype="0" dur="2000" repeatCount="indefinite" fill="hold" grpId="0" nodeType="withEffect">
                                  <p:stCondLst>
                                    <p:cond delay="2500"/>
                                  </p:stCondLst>
                                  <p:childTnLst>
                                    <p:animEffect transition="out" filter="fade">
                                      <p:cBhvr>
                                        <p:cTn id="385" dur="2000" tmFilter="0, 0; .2, .5; .8, .5; 1, 0"/>
                                        <p:tgtEl>
                                          <p:spTgt spid="426"/>
                                        </p:tgtEl>
                                      </p:cBhvr>
                                    </p:animEffect>
                                    <p:animScale>
                                      <p:cBhvr>
                                        <p:cTn id="386" dur="1000" autoRev="1" fill="hold"/>
                                        <p:tgtEl>
                                          <p:spTgt spid="426"/>
                                        </p:tgtEl>
                                      </p:cBhvr>
                                      <p:by x="105000" y="105000"/>
                                    </p:animScale>
                                  </p:childTnLst>
                                </p:cTn>
                              </p:par>
                              <p:par>
                                <p:cTn id="387" presetID="26" presetClass="emph" presetSubtype="0" dur="2000" repeatCount="indefinite" fill="hold" grpId="0" nodeType="withEffect">
                                  <p:stCondLst>
                                    <p:cond delay="2500"/>
                                  </p:stCondLst>
                                  <p:childTnLst>
                                    <p:animEffect transition="out" filter="fade">
                                      <p:cBhvr>
                                        <p:cTn id="388" dur="2000" tmFilter="0, 0; .2, .5; .8, .5; 1, 0"/>
                                        <p:tgtEl>
                                          <p:spTgt spid="427"/>
                                        </p:tgtEl>
                                      </p:cBhvr>
                                    </p:animEffect>
                                    <p:animScale>
                                      <p:cBhvr>
                                        <p:cTn id="389" dur="1000" autoRev="1" fill="hold"/>
                                        <p:tgtEl>
                                          <p:spTgt spid="427"/>
                                        </p:tgtEl>
                                      </p:cBhvr>
                                      <p:by x="105000" y="105000"/>
                                    </p:animScale>
                                  </p:childTnLst>
                                </p:cTn>
                              </p:par>
                              <p:par>
                                <p:cTn id="390" presetID="26" presetClass="emph" presetSubtype="0" dur="2000" repeatCount="indefinite" fill="hold" grpId="0" nodeType="withEffect">
                                  <p:stCondLst>
                                    <p:cond delay="2500"/>
                                  </p:stCondLst>
                                  <p:childTnLst>
                                    <p:animEffect transition="out" filter="fade">
                                      <p:cBhvr>
                                        <p:cTn id="391" dur="2000" tmFilter="0, 0; .2, .5; .8, .5; 1, 0"/>
                                        <p:tgtEl>
                                          <p:spTgt spid="428"/>
                                        </p:tgtEl>
                                      </p:cBhvr>
                                    </p:animEffect>
                                    <p:animScale>
                                      <p:cBhvr>
                                        <p:cTn id="392" dur="1000" autoRev="1" fill="hold"/>
                                        <p:tgtEl>
                                          <p:spTgt spid="428"/>
                                        </p:tgtEl>
                                      </p:cBhvr>
                                      <p:by x="105000" y="105000"/>
                                    </p:animScale>
                                  </p:childTnLst>
                                </p:cTn>
                              </p:par>
                              <p:par>
                                <p:cTn id="393" presetID="26" presetClass="emph" presetSubtype="0" dur="2000" repeatCount="indefinite" fill="hold" grpId="0" nodeType="withEffect">
                                  <p:stCondLst>
                                    <p:cond delay="2500"/>
                                  </p:stCondLst>
                                  <p:childTnLst>
                                    <p:animEffect transition="out" filter="fade">
                                      <p:cBhvr>
                                        <p:cTn id="394" dur="2000" tmFilter="0, 0; .2, .5; .8, .5; 1, 0"/>
                                        <p:tgtEl>
                                          <p:spTgt spid="429"/>
                                        </p:tgtEl>
                                      </p:cBhvr>
                                    </p:animEffect>
                                    <p:animScale>
                                      <p:cBhvr>
                                        <p:cTn id="395" dur="1000" autoRev="1" fill="hold"/>
                                        <p:tgtEl>
                                          <p:spTgt spid="429"/>
                                        </p:tgtEl>
                                      </p:cBhvr>
                                      <p:by x="105000" y="105000"/>
                                    </p:animScale>
                                  </p:childTnLst>
                                </p:cTn>
                              </p:par>
                              <p:par>
                                <p:cTn id="396" presetID="26" presetClass="emph" presetSubtype="0" dur="2000" repeatCount="indefinite" fill="hold" grpId="0" nodeType="withEffect">
                                  <p:stCondLst>
                                    <p:cond delay="2500"/>
                                  </p:stCondLst>
                                  <p:childTnLst>
                                    <p:animEffect transition="out" filter="fade">
                                      <p:cBhvr>
                                        <p:cTn id="397" dur="2000" tmFilter="0, 0; .2, .5; .8, .5; 1, 0"/>
                                        <p:tgtEl>
                                          <p:spTgt spid="430"/>
                                        </p:tgtEl>
                                      </p:cBhvr>
                                    </p:animEffect>
                                    <p:animScale>
                                      <p:cBhvr>
                                        <p:cTn id="398" dur="1000" autoRev="1" fill="hold"/>
                                        <p:tgtEl>
                                          <p:spTgt spid="430"/>
                                        </p:tgtEl>
                                      </p:cBhvr>
                                      <p:by x="105000" y="105000"/>
                                    </p:animScale>
                                  </p:childTnLst>
                                </p:cTn>
                              </p:par>
                              <p:par>
                                <p:cTn id="399" presetID="26" presetClass="emph" presetSubtype="0" dur="2000" repeatCount="indefinite" fill="hold" grpId="0" nodeType="withEffect">
                                  <p:stCondLst>
                                    <p:cond delay="2500"/>
                                  </p:stCondLst>
                                  <p:childTnLst>
                                    <p:animEffect transition="out" filter="fade">
                                      <p:cBhvr>
                                        <p:cTn id="400" dur="2000" tmFilter="0, 0; .2, .5; .8, .5; 1, 0"/>
                                        <p:tgtEl>
                                          <p:spTgt spid="431"/>
                                        </p:tgtEl>
                                      </p:cBhvr>
                                    </p:animEffect>
                                    <p:animScale>
                                      <p:cBhvr>
                                        <p:cTn id="401" dur="1000" autoRev="1" fill="hold"/>
                                        <p:tgtEl>
                                          <p:spTgt spid="431"/>
                                        </p:tgtEl>
                                      </p:cBhvr>
                                      <p:by x="105000" y="105000"/>
                                    </p:animScale>
                                  </p:childTnLst>
                                </p:cTn>
                              </p:par>
                              <p:par>
                                <p:cTn id="402" presetID="26" presetClass="emph" presetSubtype="0" dur="2000" repeatCount="indefinite" fill="hold" grpId="0" nodeType="withEffect">
                                  <p:stCondLst>
                                    <p:cond delay="2500"/>
                                  </p:stCondLst>
                                  <p:childTnLst>
                                    <p:animEffect transition="out" filter="fade">
                                      <p:cBhvr>
                                        <p:cTn id="403" dur="2000" tmFilter="0, 0; .2, .5; .8, .5; 1, 0"/>
                                        <p:tgtEl>
                                          <p:spTgt spid="432"/>
                                        </p:tgtEl>
                                      </p:cBhvr>
                                    </p:animEffect>
                                    <p:animScale>
                                      <p:cBhvr>
                                        <p:cTn id="404" dur="1000" autoRev="1" fill="hold"/>
                                        <p:tgtEl>
                                          <p:spTgt spid="432"/>
                                        </p:tgtEl>
                                      </p:cBhvr>
                                      <p:by x="105000" y="105000"/>
                                    </p:animScale>
                                  </p:childTnLst>
                                </p:cTn>
                              </p:par>
                              <p:par>
                                <p:cTn id="405" presetID="26" presetClass="emph" presetSubtype="0" dur="2000" repeatCount="indefinite" fill="hold" grpId="0" nodeType="withEffect">
                                  <p:stCondLst>
                                    <p:cond delay="2500"/>
                                  </p:stCondLst>
                                  <p:childTnLst>
                                    <p:animEffect transition="out" filter="fade">
                                      <p:cBhvr>
                                        <p:cTn id="406" dur="2000" tmFilter="0, 0; .2, .5; .8, .5; 1, 0"/>
                                        <p:tgtEl>
                                          <p:spTgt spid="433"/>
                                        </p:tgtEl>
                                      </p:cBhvr>
                                    </p:animEffect>
                                    <p:animScale>
                                      <p:cBhvr>
                                        <p:cTn id="407" dur="1000" autoRev="1" fill="hold"/>
                                        <p:tgtEl>
                                          <p:spTgt spid="433"/>
                                        </p:tgtEl>
                                      </p:cBhvr>
                                      <p:by x="105000" y="105000"/>
                                    </p:animScale>
                                  </p:childTnLst>
                                </p:cTn>
                              </p:par>
                              <p:par>
                                <p:cTn id="408" presetID="26" presetClass="emph" presetSubtype="0" dur="2000" repeatCount="indefinite" fill="hold" grpId="0" nodeType="withEffect">
                                  <p:stCondLst>
                                    <p:cond delay="2500"/>
                                  </p:stCondLst>
                                  <p:childTnLst>
                                    <p:animEffect transition="out" filter="fade">
                                      <p:cBhvr>
                                        <p:cTn id="409" dur="2000" tmFilter="0, 0; .2, .5; .8, .5; 1, 0"/>
                                        <p:tgtEl>
                                          <p:spTgt spid="434"/>
                                        </p:tgtEl>
                                      </p:cBhvr>
                                    </p:animEffect>
                                    <p:animScale>
                                      <p:cBhvr>
                                        <p:cTn id="410" dur="1000" autoRev="1" fill="hold"/>
                                        <p:tgtEl>
                                          <p:spTgt spid="434"/>
                                        </p:tgtEl>
                                      </p:cBhvr>
                                      <p:by x="105000" y="105000"/>
                                    </p:animScale>
                                  </p:childTnLst>
                                </p:cTn>
                              </p:par>
                              <p:par>
                                <p:cTn id="411" presetID="26" presetClass="emph" presetSubtype="0" dur="2000" repeatCount="indefinite" fill="hold" grpId="0" nodeType="withEffect">
                                  <p:stCondLst>
                                    <p:cond delay="2500"/>
                                  </p:stCondLst>
                                  <p:childTnLst>
                                    <p:animEffect transition="out" filter="fade">
                                      <p:cBhvr>
                                        <p:cTn id="412" dur="2000" tmFilter="0, 0; .2, .5; .8, .5; 1, 0"/>
                                        <p:tgtEl>
                                          <p:spTgt spid="435"/>
                                        </p:tgtEl>
                                      </p:cBhvr>
                                    </p:animEffect>
                                    <p:animScale>
                                      <p:cBhvr>
                                        <p:cTn id="413" dur="1000" autoRev="1" fill="hold"/>
                                        <p:tgtEl>
                                          <p:spTgt spid="435"/>
                                        </p:tgtEl>
                                      </p:cBhvr>
                                      <p:by x="105000" y="105000"/>
                                    </p:animScale>
                                  </p:childTnLst>
                                </p:cTn>
                              </p:par>
                              <p:par>
                                <p:cTn id="414" presetID="26" presetClass="emph" presetSubtype="0" dur="2000" repeatCount="indefinite" fill="hold" grpId="0" nodeType="withEffect">
                                  <p:stCondLst>
                                    <p:cond delay="2500"/>
                                  </p:stCondLst>
                                  <p:childTnLst>
                                    <p:animEffect transition="out" filter="fade">
                                      <p:cBhvr>
                                        <p:cTn id="415" dur="2000" tmFilter="0, 0; .2, .5; .8, .5; 1, 0"/>
                                        <p:tgtEl>
                                          <p:spTgt spid="436"/>
                                        </p:tgtEl>
                                      </p:cBhvr>
                                    </p:animEffect>
                                    <p:animScale>
                                      <p:cBhvr>
                                        <p:cTn id="416" dur="1000" autoRev="1" fill="hold"/>
                                        <p:tgtEl>
                                          <p:spTgt spid="436"/>
                                        </p:tgtEl>
                                      </p:cBhvr>
                                      <p:by x="105000" y="105000"/>
                                    </p:animScale>
                                  </p:childTnLst>
                                </p:cTn>
                              </p:par>
                              <p:par>
                                <p:cTn id="417" presetID="26" presetClass="emph" presetSubtype="0" dur="2000" repeatCount="indefinite" fill="hold" grpId="0" nodeType="withEffect">
                                  <p:stCondLst>
                                    <p:cond delay="2500"/>
                                  </p:stCondLst>
                                  <p:childTnLst>
                                    <p:animEffect transition="out" filter="fade">
                                      <p:cBhvr>
                                        <p:cTn id="418" dur="2000" tmFilter="0, 0; .2, .5; .8, .5; 1, 0"/>
                                        <p:tgtEl>
                                          <p:spTgt spid="437"/>
                                        </p:tgtEl>
                                      </p:cBhvr>
                                    </p:animEffect>
                                    <p:animScale>
                                      <p:cBhvr>
                                        <p:cTn id="419" dur="1000" autoRev="1" fill="hold"/>
                                        <p:tgtEl>
                                          <p:spTgt spid="437"/>
                                        </p:tgtEl>
                                      </p:cBhvr>
                                      <p:by x="105000" y="105000"/>
                                    </p:animScale>
                                  </p:childTnLst>
                                </p:cTn>
                              </p:par>
                              <p:par>
                                <p:cTn id="420" presetID="26" presetClass="emph" presetSubtype="0" dur="2000" repeatCount="indefinite" fill="hold" grpId="0" nodeType="withEffect">
                                  <p:stCondLst>
                                    <p:cond delay="2750"/>
                                  </p:stCondLst>
                                  <p:childTnLst>
                                    <p:animEffect transition="out" filter="fade">
                                      <p:cBhvr>
                                        <p:cTn id="421" dur="2000" tmFilter="0, 0; .2, .5; .8, .5; 1, 0"/>
                                        <p:tgtEl>
                                          <p:spTgt spid="438"/>
                                        </p:tgtEl>
                                      </p:cBhvr>
                                    </p:animEffect>
                                    <p:animScale>
                                      <p:cBhvr>
                                        <p:cTn id="422" dur="1000" autoRev="1" fill="hold"/>
                                        <p:tgtEl>
                                          <p:spTgt spid="438"/>
                                        </p:tgtEl>
                                      </p:cBhvr>
                                      <p:by x="105000" y="105000"/>
                                    </p:animScale>
                                  </p:childTnLst>
                                </p:cTn>
                              </p:par>
                              <p:par>
                                <p:cTn id="423" presetID="26" presetClass="emph" presetSubtype="0" dur="2000" repeatCount="indefinite" fill="hold" grpId="0" nodeType="withEffect">
                                  <p:stCondLst>
                                    <p:cond delay="2750"/>
                                  </p:stCondLst>
                                  <p:childTnLst>
                                    <p:animEffect transition="out" filter="fade">
                                      <p:cBhvr>
                                        <p:cTn id="424" dur="2000" tmFilter="0, 0; .2, .5; .8, .5; 1, 0"/>
                                        <p:tgtEl>
                                          <p:spTgt spid="439"/>
                                        </p:tgtEl>
                                      </p:cBhvr>
                                    </p:animEffect>
                                    <p:animScale>
                                      <p:cBhvr>
                                        <p:cTn id="425" dur="1000" autoRev="1" fill="hold"/>
                                        <p:tgtEl>
                                          <p:spTgt spid="439"/>
                                        </p:tgtEl>
                                      </p:cBhvr>
                                      <p:by x="105000" y="105000"/>
                                    </p:animScale>
                                  </p:childTnLst>
                                </p:cTn>
                              </p:par>
                              <p:par>
                                <p:cTn id="426" presetID="26" presetClass="emph" presetSubtype="0" dur="2000" repeatCount="indefinite" fill="hold" grpId="0" nodeType="withEffect">
                                  <p:stCondLst>
                                    <p:cond delay="2750"/>
                                  </p:stCondLst>
                                  <p:childTnLst>
                                    <p:animEffect transition="out" filter="fade">
                                      <p:cBhvr>
                                        <p:cTn id="427" dur="2000" tmFilter="0, 0; .2, .5; .8, .5; 1, 0"/>
                                        <p:tgtEl>
                                          <p:spTgt spid="440"/>
                                        </p:tgtEl>
                                      </p:cBhvr>
                                    </p:animEffect>
                                    <p:animScale>
                                      <p:cBhvr>
                                        <p:cTn id="428" dur="1000" autoRev="1" fill="hold"/>
                                        <p:tgtEl>
                                          <p:spTgt spid="440"/>
                                        </p:tgtEl>
                                      </p:cBhvr>
                                      <p:by x="105000" y="105000"/>
                                    </p:animScale>
                                  </p:childTnLst>
                                </p:cTn>
                              </p:par>
                              <p:par>
                                <p:cTn id="429" presetID="26" presetClass="emph" presetSubtype="0" dur="2000" repeatCount="indefinite" fill="hold" grpId="0" nodeType="withEffect">
                                  <p:stCondLst>
                                    <p:cond delay="2750"/>
                                  </p:stCondLst>
                                  <p:childTnLst>
                                    <p:animEffect transition="out" filter="fade">
                                      <p:cBhvr>
                                        <p:cTn id="430" dur="2000" tmFilter="0, 0; .2, .5; .8, .5; 1, 0"/>
                                        <p:tgtEl>
                                          <p:spTgt spid="441"/>
                                        </p:tgtEl>
                                      </p:cBhvr>
                                    </p:animEffect>
                                    <p:animScale>
                                      <p:cBhvr>
                                        <p:cTn id="431" dur="1000" autoRev="1" fill="hold"/>
                                        <p:tgtEl>
                                          <p:spTgt spid="441"/>
                                        </p:tgtEl>
                                      </p:cBhvr>
                                      <p:by x="105000" y="105000"/>
                                    </p:animScale>
                                  </p:childTnLst>
                                </p:cTn>
                              </p:par>
                              <p:par>
                                <p:cTn id="432" presetID="26" presetClass="emph" presetSubtype="0" dur="2000" repeatCount="indefinite" fill="hold" grpId="0" nodeType="withEffect">
                                  <p:stCondLst>
                                    <p:cond delay="2750"/>
                                  </p:stCondLst>
                                  <p:childTnLst>
                                    <p:animEffect transition="out" filter="fade">
                                      <p:cBhvr>
                                        <p:cTn id="433" dur="2000" tmFilter="0, 0; .2, .5; .8, .5; 1, 0"/>
                                        <p:tgtEl>
                                          <p:spTgt spid="442"/>
                                        </p:tgtEl>
                                      </p:cBhvr>
                                    </p:animEffect>
                                    <p:animScale>
                                      <p:cBhvr>
                                        <p:cTn id="434" dur="1000" autoRev="1" fill="hold"/>
                                        <p:tgtEl>
                                          <p:spTgt spid="442"/>
                                        </p:tgtEl>
                                      </p:cBhvr>
                                      <p:by x="105000" y="105000"/>
                                    </p:animScale>
                                  </p:childTnLst>
                                </p:cTn>
                              </p:par>
                              <p:par>
                                <p:cTn id="435" presetID="26" presetClass="emph" presetSubtype="0" dur="2000" repeatCount="indefinite" fill="hold" grpId="0" nodeType="withEffect">
                                  <p:stCondLst>
                                    <p:cond delay="2750"/>
                                  </p:stCondLst>
                                  <p:childTnLst>
                                    <p:animEffect transition="out" filter="fade">
                                      <p:cBhvr>
                                        <p:cTn id="436" dur="2000" tmFilter="0, 0; .2, .5; .8, .5; 1, 0"/>
                                        <p:tgtEl>
                                          <p:spTgt spid="443"/>
                                        </p:tgtEl>
                                      </p:cBhvr>
                                    </p:animEffect>
                                    <p:animScale>
                                      <p:cBhvr>
                                        <p:cTn id="437" dur="1000" autoRev="1" fill="hold"/>
                                        <p:tgtEl>
                                          <p:spTgt spid="443"/>
                                        </p:tgtEl>
                                      </p:cBhvr>
                                      <p:by x="105000" y="105000"/>
                                    </p:animScale>
                                  </p:childTnLst>
                                </p:cTn>
                              </p:par>
                              <p:par>
                                <p:cTn id="438" presetID="26" presetClass="emph" presetSubtype="0" dur="2000" repeatCount="indefinite" fill="hold" grpId="0" nodeType="withEffect">
                                  <p:stCondLst>
                                    <p:cond delay="2750"/>
                                  </p:stCondLst>
                                  <p:childTnLst>
                                    <p:animEffect transition="out" filter="fade">
                                      <p:cBhvr>
                                        <p:cTn id="439" dur="2000" tmFilter="0, 0; .2, .5; .8, .5; 1, 0"/>
                                        <p:tgtEl>
                                          <p:spTgt spid="444"/>
                                        </p:tgtEl>
                                      </p:cBhvr>
                                    </p:animEffect>
                                    <p:animScale>
                                      <p:cBhvr>
                                        <p:cTn id="440" dur="1000" autoRev="1" fill="hold"/>
                                        <p:tgtEl>
                                          <p:spTgt spid="444"/>
                                        </p:tgtEl>
                                      </p:cBhvr>
                                      <p:by x="105000" y="105000"/>
                                    </p:animScale>
                                  </p:childTnLst>
                                </p:cTn>
                              </p:par>
                              <p:par>
                                <p:cTn id="441" presetID="26" presetClass="emph" presetSubtype="0" dur="2000" repeatCount="indefinite" fill="hold" grpId="0" nodeType="withEffect">
                                  <p:stCondLst>
                                    <p:cond delay="2750"/>
                                  </p:stCondLst>
                                  <p:childTnLst>
                                    <p:animEffect transition="out" filter="fade">
                                      <p:cBhvr>
                                        <p:cTn id="442" dur="2000" tmFilter="0, 0; .2, .5; .8, .5; 1, 0"/>
                                        <p:tgtEl>
                                          <p:spTgt spid="445"/>
                                        </p:tgtEl>
                                      </p:cBhvr>
                                    </p:animEffect>
                                    <p:animScale>
                                      <p:cBhvr>
                                        <p:cTn id="443" dur="1000" autoRev="1" fill="hold"/>
                                        <p:tgtEl>
                                          <p:spTgt spid="445"/>
                                        </p:tgtEl>
                                      </p:cBhvr>
                                      <p:by x="105000" y="105000"/>
                                    </p:animScale>
                                  </p:childTnLst>
                                </p:cTn>
                              </p:par>
                              <p:par>
                                <p:cTn id="444" presetID="26" presetClass="emph" presetSubtype="0" dur="2000" repeatCount="indefinite" fill="hold" grpId="0" nodeType="withEffect">
                                  <p:stCondLst>
                                    <p:cond delay="2750"/>
                                  </p:stCondLst>
                                  <p:childTnLst>
                                    <p:animEffect transition="out" filter="fade">
                                      <p:cBhvr>
                                        <p:cTn id="445" dur="2000" tmFilter="0, 0; .2, .5; .8, .5; 1, 0"/>
                                        <p:tgtEl>
                                          <p:spTgt spid="446"/>
                                        </p:tgtEl>
                                      </p:cBhvr>
                                    </p:animEffect>
                                    <p:animScale>
                                      <p:cBhvr>
                                        <p:cTn id="446" dur="1000" autoRev="1" fill="hold"/>
                                        <p:tgtEl>
                                          <p:spTgt spid="446"/>
                                        </p:tgtEl>
                                      </p:cBhvr>
                                      <p:by x="105000" y="105000"/>
                                    </p:animScale>
                                  </p:childTnLst>
                                </p:cTn>
                              </p:par>
                              <p:par>
                                <p:cTn id="447" presetID="26" presetClass="emph" presetSubtype="0" dur="2000" repeatCount="indefinite" fill="hold" grpId="0" nodeType="withEffect">
                                  <p:stCondLst>
                                    <p:cond delay="2750"/>
                                  </p:stCondLst>
                                  <p:childTnLst>
                                    <p:animEffect transition="out" filter="fade">
                                      <p:cBhvr>
                                        <p:cTn id="448" dur="2000" tmFilter="0, 0; .2, .5; .8, .5; 1, 0"/>
                                        <p:tgtEl>
                                          <p:spTgt spid="447"/>
                                        </p:tgtEl>
                                      </p:cBhvr>
                                    </p:animEffect>
                                    <p:animScale>
                                      <p:cBhvr>
                                        <p:cTn id="449" dur="1000" autoRev="1" fill="hold"/>
                                        <p:tgtEl>
                                          <p:spTgt spid="447"/>
                                        </p:tgtEl>
                                      </p:cBhvr>
                                      <p:by x="105000" y="105000"/>
                                    </p:animScale>
                                  </p:childTnLst>
                                </p:cTn>
                              </p:par>
                              <p:par>
                                <p:cTn id="450" presetID="26" presetClass="emph" presetSubtype="0" dur="2000" repeatCount="indefinite" fill="hold" grpId="0" nodeType="withEffect">
                                  <p:stCondLst>
                                    <p:cond delay="2750"/>
                                  </p:stCondLst>
                                  <p:childTnLst>
                                    <p:animEffect transition="out" filter="fade">
                                      <p:cBhvr>
                                        <p:cTn id="451" dur="2000" tmFilter="0, 0; .2, .5; .8, .5; 1, 0"/>
                                        <p:tgtEl>
                                          <p:spTgt spid="448"/>
                                        </p:tgtEl>
                                      </p:cBhvr>
                                    </p:animEffect>
                                    <p:animScale>
                                      <p:cBhvr>
                                        <p:cTn id="452" dur="1000" autoRev="1" fill="hold"/>
                                        <p:tgtEl>
                                          <p:spTgt spid="448"/>
                                        </p:tgtEl>
                                      </p:cBhvr>
                                      <p:by x="105000" y="105000"/>
                                    </p:animScale>
                                  </p:childTnLst>
                                </p:cTn>
                              </p:par>
                              <p:par>
                                <p:cTn id="453" presetID="26" presetClass="emph" presetSubtype="0" dur="2000" repeatCount="indefinite" fill="hold" grpId="0" nodeType="withEffect">
                                  <p:stCondLst>
                                    <p:cond delay="2750"/>
                                  </p:stCondLst>
                                  <p:childTnLst>
                                    <p:animEffect transition="out" filter="fade">
                                      <p:cBhvr>
                                        <p:cTn id="454" dur="2000" tmFilter="0, 0; .2, .5; .8, .5; 1, 0"/>
                                        <p:tgtEl>
                                          <p:spTgt spid="449"/>
                                        </p:tgtEl>
                                      </p:cBhvr>
                                    </p:animEffect>
                                    <p:animScale>
                                      <p:cBhvr>
                                        <p:cTn id="455" dur="1000" autoRev="1" fill="hold"/>
                                        <p:tgtEl>
                                          <p:spTgt spid="449"/>
                                        </p:tgtEl>
                                      </p:cBhvr>
                                      <p:by x="105000" y="105000"/>
                                    </p:animScale>
                                  </p:childTnLst>
                                </p:cTn>
                              </p:par>
                              <p:par>
                                <p:cTn id="456" presetID="26" presetClass="emph" presetSubtype="0" dur="2000" repeatCount="indefinite" fill="hold" grpId="0" nodeType="withEffect">
                                  <p:stCondLst>
                                    <p:cond delay="2750"/>
                                  </p:stCondLst>
                                  <p:childTnLst>
                                    <p:animEffect transition="out" filter="fade">
                                      <p:cBhvr>
                                        <p:cTn id="457" dur="2000" tmFilter="0, 0; .2, .5; .8, .5; 1, 0"/>
                                        <p:tgtEl>
                                          <p:spTgt spid="450"/>
                                        </p:tgtEl>
                                      </p:cBhvr>
                                    </p:animEffect>
                                    <p:animScale>
                                      <p:cBhvr>
                                        <p:cTn id="458" dur="1000" autoRev="1" fill="hold"/>
                                        <p:tgtEl>
                                          <p:spTgt spid="450"/>
                                        </p:tgtEl>
                                      </p:cBhvr>
                                      <p:by x="105000" y="105000"/>
                                    </p:animScale>
                                  </p:childTnLst>
                                </p:cTn>
                              </p:par>
                              <p:par>
                                <p:cTn id="459" presetID="26" presetClass="emph" presetSubtype="0" dur="2000" repeatCount="indefinite" fill="hold" grpId="0" nodeType="withEffect">
                                  <p:stCondLst>
                                    <p:cond delay="2750"/>
                                  </p:stCondLst>
                                  <p:childTnLst>
                                    <p:animEffect transition="out" filter="fade">
                                      <p:cBhvr>
                                        <p:cTn id="460" dur="2000" tmFilter="0, 0; .2, .5; .8, .5; 1, 0"/>
                                        <p:tgtEl>
                                          <p:spTgt spid="451"/>
                                        </p:tgtEl>
                                      </p:cBhvr>
                                    </p:animEffect>
                                    <p:animScale>
                                      <p:cBhvr>
                                        <p:cTn id="461" dur="1000" autoRev="1" fill="hold"/>
                                        <p:tgtEl>
                                          <p:spTgt spid="451"/>
                                        </p:tgtEl>
                                      </p:cBhvr>
                                      <p:by x="105000" y="105000"/>
                                    </p:animScale>
                                  </p:childTnLst>
                                </p:cTn>
                              </p:par>
                              <p:par>
                                <p:cTn id="462" presetID="26" presetClass="emph" presetSubtype="0" dur="2000" repeatCount="indefinite" fill="hold" grpId="0" nodeType="withEffect">
                                  <p:stCondLst>
                                    <p:cond delay="3000"/>
                                  </p:stCondLst>
                                  <p:childTnLst>
                                    <p:animEffect transition="out" filter="fade">
                                      <p:cBhvr>
                                        <p:cTn id="463" dur="2000" tmFilter="0, 0; .2, .5; .8, .5; 1, 0"/>
                                        <p:tgtEl>
                                          <p:spTgt spid="452"/>
                                        </p:tgtEl>
                                      </p:cBhvr>
                                    </p:animEffect>
                                    <p:animScale>
                                      <p:cBhvr>
                                        <p:cTn id="464" dur="1000" autoRev="1" fill="hold"/>
                                        <p:tgtEl>
                                          <p:spTgt spid="452"/>
                                        </p:tgtEl>
                                      </p:cBhvr>
                                      <p:by x="105000" y="105000"/>
                                    </p:animScale>
                                  </p:childTnLst>
                                </p:cTn>
                              </p:par>
                              <p:par>
                                <p:cTn id="465" presetID="26" presetClass="emph" presetSubtype="0" dur="2000" repeatCount="indefinite" fill="hold" grpId="0" nodeType="withEffect">
                                  <p:stCondLst>
                                    <p:cond delay="3000"/>
                                  </p:stCondLst>
                                  <p:childTnLst>
                                    <p:animEffect transition="out" filter="fade">
                                      <p:cBhvr>
                                        <p:cTn id="466" dur="2000" tmFilter="0, 0; .2, .5; .8, .5; 1, 0"/>
                                        <p:tgtEl>
                                          <p:spTgt spid="453"/>
                                        </p:tgtEl>
                                      </p:cBhvr>
                                    </p:animEffect>
                                    <p:animScale>
                                      <p:cBhvr>
                                        <p:cTn id="467" dur="1000" autoRev="1" fill="hold"/>
                                        <p:tgtEl>
                                          <p:spTgt spid="453"/>
                                        </p:tgtEl>
                                      </p:cBhvr>
                                      <p:by x="105000" y="105000"/>
                                    </p:animScale>
                                  </p:childTnLst>
                                </p:cTn>
                              </p:par>
                              <p:par>
                                <p:cTn id="468" presetID="26" presetClass="emph" presetSubtype="0" dur="2000" repeatCount="indefinite" fill="hold" grpId="0" nodeType="withEffect">
                                  <p:stCondLst>
                                    <p:cond delay="3000"/>
                                  </p:stCondLst>
                                  <p:childTnLst>
                                    <p:animEffect transition="out" filter="fade">
                                      <p:cBhvr>
                                        <p:cTn id="469" dur="2000" tmFilter="0, 0; .2, .5; .8, .5; 1, 0"/>
                                        <p:tgtEl>
                                          <p:spTgt spid="454"/>
                                        </p:tgtEl>
                                      </p:cBhvr>
                                    </p:animEffect>
                                    <p:animScale>
                                      <p:cBhvr>
                                        <p:cTn id="470" dur="1000" autoRev="1" fill="hold"/>
                                        <p:tgtEl>
                                          <p:spTgt spid="454"/>
                                        </p:tgtEl>
                                      </p:cBhvr>
                                      <p:by x="105000" y="105000"/>
                                    </p:animScale>
                                  </p:childTnLst>
                                </p:cTn>
                              </p:par>
                              <p:par>
                                <p:cTn id="471" presetID="26" presetClass="emph" presetSubtype="0" dur="2000" repeatCount="indefinite" fill="hold" grpId="0" nodeType="withEffect">
                                  <p:stCondLst>
                                    <p:cond delay="3000"/>
                                  </p:stCondLst>
                                  <p:childTnLst>
                                    <p:animEffect transition="out" filter="fade">
                                      <p:cBhvr>
                                        <p:cTn id="472" dur="2000" tmFilter="0, 0; .2, .5; .8, .5; 1, 0"/>
                                        <p:tgtEl>
                                          <p:spTgt spid="455"/>
                                        </p:tgtEl>
                                      </p:cBhvr>
                                    </p:animEffect>
                                    <p:animScale>
                                      <p:cBhvr>
                                        <p:cTn id="473" dur="1000" autoRev="1" fill="hold"/>
                                        <p:tgtEl>
                                          <p:spTgt spid="455"/>
                                        </p:tgtEl>
                                      </p:cBhvr>
                                      <p:by x="105000" y="105000"/>
                                    </p:animScale>
                                  </p:childTnLst>
                                </p:cTn>
                              </p:par>
                              <p:par>
                                <p:cTn id="474" presetID="26" presetClass="emph" presetSubtype="0" dur="2000" repeatCount="indefinite" fill="hold" grpId="0" nodeType="withEffect">
                                  <p:stCondLst>
                                    <p:cond delay="3000"/>
                                  </p:stCondLst>
                                  <p:childTnLst>
                                    <p:animEffect transition="out" filter="fade">
                                      <p:cBhvr>
                                        <p:cTn id="475" dur="2000" tmFilter="0, 0; .2, .5; .8, .5; 1, 0"/>
                                        <p:tgtEl>
                                          <p:spTgt spid="456"/>
                                        </p:tgtEl>
                                      </p:cBhvr>
                                    </p:animEffect>
                                    <p:animScale>
                                      <p:cBhvr>
                                        <p:cTn id="476" dur="1000" autoRev="1" fill="hold"/>
                                        <p:tgtEl>
                                          <p:spTgt spid="456"/>
                                        </p:tgtEl>
                                      </p:cBhvr>
                                      <p:by x="105000" y="105000"/>
                                    </p:animScale>
                                  </p:childTnLst>
                                </p:cTn>
                              </p:par>
                              <p:par>
                                <p:cTn id="477" presetID="26" presetClass="emph" presetSubtype="0" dur="2000" repeatCount="indefinite" fill="hold" grpId="0" nodeType="withEffect">
                                  <p:stCondLst>
                                    <p:cond delay="3000"/>
                                  </p:stCondLst>
                                  <p:childTnLst>
                                    <p:animEffect transition="out" filter="fade">
                                      <p:cBhvr>
                                        <p:cTn id="478" dur="2000" tmFilter="0, 0; .2, .5; .8, .5; 1, 0"/>
                                        <p:tgtEl>
                                          <p:spTgt spid="457"/>
                                        </p:tgtEl>
                                      </p:cBhvr>
                                    </p:animEffect>
                                    <p:animScale>
                                      <p:cBhvr>
                                        <p:cTn id="479" dur="1000" autoRev="1" fill="hold"/>
                                        <p:tgtEl>
                                          <p:spTgt spid="457"/>
                                        </p:tgtEl>
                                      </p:cBhvr>
                                      <p:by x="105000" y="105000"/>
                                    </p:animScale>
                                  </p:childTnLst>
                                </p:cTn>
                              </p:par>
                              <p:par>
                                <p:cTn id="480" presetID="26" presetClass="emph" presetSubtype="0" dur="2000" repeatCount="indefinite" fill="hold" grpId="0" nodeType="withEffect">
                                  <p:stCondLst>
                                    <p:cond delay="3000"/>
                                  </p:stCondLst>
                                  <p:childTnLst>
                                    <p:animEffect transition="out" filter="fade">
                                      <p:cBhvr>
                                        <p:cTn id="481" dur="2000" tmFilter="0, 0; .2, .5; .8, .5; 1, 0"/>
                                        <p:tgtEl>
                                          <p:spTgt spid="458"/>
                                        </p:tgtEl>
                                      </p:cBhvr>
                                    </p:animEffect>
                                    <p:animScale>
                                      <p:cBhvr>
                                        <p:cTn id="482" dur="1000" autoRev="1" fill="hold"/>
                                        <p:tgtEl>
                                          <p:spTgt spid="458"/>
                                        </p:tgtEl>
                                      </p:cBhvr>
                                      <p:by x="105000" y="105000"/>
                                    </p:animScale>
                                  </p:childTnLst>
                                </p:cTn>
                              </p:par>
                              <p:par>
                                <p:cTn id="483" presetID="26" presetClass="emph" presetSubtype="0" dur="2000" repeatCount="indefinite" fill="hold" grpId="0" nodeType="withEffect">
                                  <p:stCondLst>
                                    <p:cond delay="3000"/>
                                  </p:stCondLst>
                                  <p:childTnLst>
                                    <p:animEffect transition="out" filter="fade">
                                      <p:cBhvr>
                                        <p:cTn id="484" dur="2000" tmFilter="0, 0; .2, .5; .8, .5; 1, 0"/>
                                        <p:tgtEl>
                                          <p:spTgt spid="459"/>
                                        </p:tgtEl>
                                      </p:cBhvr>
                                    </p:animEffect>
                                    <p:animScale>
                                      <p:cBhvr>
                                        <p:cTn id="485" dur="1000" autoRev="1" fill="hold"/>
                                        <p:tgtEl>
                                          <p:spTgt spid="459"/>
                                        </p:tgtEl>
                                      </p:cBhvr>
                                      <p:by x="105000" y="105000"/>
                                    </p:animScale>
                                  </p:childTnLst>
                                </p:cTn>
                              </p:par>
                              <p:par>
                                <p:cTn id="486" presetID="26" presetClass="emph" presetSubtype="0" dur="2000" repeatCount="indefinite" fill="hold" grpId="0" nodeType="withEffect">
                                  <p:stCondLst>
                                    <p:cond delay="3000"/>
                                  </p:stCondLst>
                                  <p:childTnLst>
                                    <p:animEffect transition="out" filter="fade">
                                      <p:cBhvr>
                                        <p:cTn id="487" dur="2000" tmFilter="0, 0; .2, .5; .8, .5; 1, 0"/>
                                        <p:tgtEl>
                                          <p:spTgt spid="460"/>
                                        </p:tgtEl>
                                      </p:cBhvr>
                                    </p:animEffect>
                                    <p:animScale>
                                      <p:cBhvr>
                                        <p:cTn id="488" dur="1000" autoRev="1" fill="hold"/>
                                        <p:tgtEl>
                                          <p:spTgt spid="460"/>
                                        </p:tgtEl>
                                      </p:cBhvr>
                                      <p:by x="105000" y="105000"/>
                                    </p:animScale>
                                  </p:childTnLst>
                                </p:cTn>
                              </p:par>
                              <p:par>
                                <p:cTn id="489" presetID="26" presetClass="emph" presetSubtype="0" dur="2000" repeatCount="indefinite" fill="hold" grpId="0" nodeType="withEffect">
                                  <p:stCondLst>
                                    <p:cond delay="3000"/>
                                  </p:stCondLst>
                                  <p:childTnLst>
                                    <p:animEffect transition="out" filter="fade">
                                      <p:cBhvr>
                                        <p:cTn id="490" dur="2000" tmFilter="0, 0; .2, .5; .8, .5; 1, 0"/>
                                        <p:tgtEl>
                                          <p:spTgt spid="461"/>
                                        </p:tgtEl>
                                      </p:cBhvr>
                                    </p:animEffect>
                                    <p:animScale>
                                      <p:cBhvr>
                                        <p:cTn id="491" dur="1000" autoRev="1" fill="hold"/>
                                        <p:tgtEl>
                                          <p:spTgt spid="461"/>
                                        </p:tgtEl>
                                      </p:cBhvr>
                                      <p:by x="105000" y="105000"/>
                                    </p:animScale>
                                  </p:childTnLst>
                                </p:cTn>
                              </p:par>
                              <p:par>
                                <p:cTn id="492" presetID="26" presetClass="emph" presetSubtype="0" dur="2000" repeatCount="indefinite" fill="hold" grpId="0" nodeType="withEffect">
                                  <p:stCondLst>
                                    <p:cond delay="3000"/>
                                  </p:stCondLst>
                                  <p:childTnLst>
                                    <p:animEffect transition="out" filter="fade">
                                      <p:cBhvr>
                                        <p:cTn id="493" dur="2000" tmFilter="0, 0; .2, .5; .8, .5; 1, 0"/>
                                        <p:tgtEl>
                                          <p:spTgt spid="462"/>
                                        </p:tgtEl>
                                      </p:cBhvr>
                                    </p:animEffect>
                                    <p:animScale>
                                      <p:cBhvr>
                                        <p:cTn id="494" dur="1000" autoRev="1" fill="hold"/>
                                        <p:tgtEl>
                                          <p:spTgt spid="462"/>
                                        </p:tgtEl>
                                      </p:cBhvr>
                                      <p:by x="105000" y="105000"/>
                                    </p:animScale>
                                  </p:childTnLst>
                                </p:cTn>
                              </p:par>
                              <p:par>
                                <p:cTn id="495" presetID="26" presetClass="emph" presetSubtype="0" dur="2000" repeatCount="indefinite" fill="hold" grpId="0" nodeType="withEffect">
                                  <p:stCondLst>
                                    <p:cond delay="3000"/>
                                  </p:stCondLst>
                                  <p:childTnLst>
                                    <p:animEffect transition="out" filter="fade">
                                      <p:cBhvr>
                                        <p:cTn id="496" dur="2000" tmFilter="0, 0; .2, .5; .8, .5; 1, 0"/>
                                        <p:tgtEl>
                                          <p:spTgt spid="463"/>
                                        </p:tgtEl>
                                      </p:cBhvr>
                                    </p:animEffect>
                                    <p:animScale>
                                      <p:cBhvr>
                                        <p:cTn id="497" dur="1000" autoRev="1" fill="hold"/>
                                        <p:tgtEl>
                                          <p:spTgt spid="463"/>
                                        </p:tgtEl>
                                      </p:cBhvr>
                                      <p:by x="105000" y="105000"/>
                                    </p:animScale>
                                  </p:childTnLst>
                                </p:cTn>
                              </p:par>
                              <p:par>
                                <p:cTn id="498" presetID="26" presetClass="emph" presetSubtype="0" dur="2000" repeatCount="indefinite" fill="hold" grpId="0" nodeType="withEffect">
                                  <p:stCondLst>
                                    <p:cond delay="3000"/>
                                  </p:stCondLst>
                                  <p:childTnLst>
                                    <p:animEffect transition="out" filter="fade">
                                      <p:cBhvr>
                                        <p:cTn id="499" dur="2000" tmFilter="0, 0; .2, .5; .8, .5; 1, 0"/>
                                        <p:tgtEl>
                                          <p:spTgt spid="464"/>
                                        </p:tgtEl>
                                      </p:cBhvr>
                                    </p:animEffect>
                                    <p:animScale>
                                      <p:cBhvr>
                                        <p:cTn id="500" dur="1000" autoRev="1" fill="hold"/>
                                        <p:tgtEl>
                                          <p:spTgt spid="464"/>
                                        </p:tgtEl>
                                      </p:cBhvr>
                                      <p:by x="105000" y="105000"/>
                                    </p:animScale>
                                  </p:childTnLst>
                                </p:cTn>
                              </p:par>
                              <p:par>
                                <p:cTn id="501" presetID="26" presetClass="emph" presetSubtype="0" dur="2000" repeatCount="indefinite" fill="hold" grpId="0" nodeType="withEffect">
                                  <p:stCondLst>
                                    <p:cond delay="3000"/>
                                  </p:stCondLst>
                                  <p:childTnLst>
                                    <p:animEffect transition="out" filter="fade">
                                      <p:cBhvr>
                                        <p:cTn id="502" dur="2000" tmFilter="0, 0; .2, .5; .8, .5; 1, 0"/>
                                        <p:tgtEl>
                                          <p:spTgt spid="465"/>
                                        </p:tgtEl>
                                      </p:cBhvr>
                                    </p:animEffect>
                                    <p:animScale>
                                      <p:cBhvr>
                                        <p:cTn id="503" dur="1000" autoRev="1" fill="hold"/>
                                        <p:tgtEl>
                                          <p:spTgt spid="465"/>
                                        </p:tgtEl>
                                      </p:cBhvr>
                                      <p:by x="105000" y="105000"/>
                                    </p:animScale>
                                  </p:childTnLst>
                                </p:cTn>
                              </p:par>
                              <p:par>
                                <p:cTn id="504" presetID="26" presetClass="emph" presetSubtype="0" dur="2000" repeatCount="indefinite" fill="hold" grpId="0" nodeType="withEffect">
                                  <p:stCondLst>
                                    <p:cond delay="3250"/>
                                  </p:stCondLst>
                                  <p:childTnLst>
                                    <p:animEffect transition="out" filter="fade">
                                      <p:cBhvr>
                                        <p:cTn id="505" dur="2000" tmFilter="0, 0; .2, .5; .8, .5; 1, 0"/>
                                        <p:tgtEl>
                                          <p:spTgt spid="466"/>
                                        </p:tgtEl>
                                      </p:cBhvr>
                                    </p:animEffect>
                                    <p:animScale>
                                      <p:cBhvr>
                                        <p:cTn id="506" dur="1000" autoRev="1" fill="hold"/>
                                        <p:tgtEl>
                                          <p:spTgt spid="466"/>
                                        </p:tgtEl>
                                      </p:cBhvr>
                                      <p:by x="105000" y="105000"/>
                                    </p:animScale>
                                  </p:childTnLst>
                                </p:cTn>
                              </p:par>
                              <p:par>
                                <p:cTn id="507" presetID="26" presetClass="emph" presetSubtype="0" dur="2000" repeatCount="indefinite" fill="hold" grpId="0" nodeType="withEffect">
                                  <p:stCondLst>
                                    <p:cond delay="3250"/>
                                  </p:stCondLst>
                                  <p:childTnLst>
                                    <p:animEffect transition="out" filter="fade">
                                      <p:cBhvr>
                                        <p:cTn id="508" dur="2000" tmFilter="0, 0; .2, .5; .8, .5; 1, 0"/>
                                        <p:tgtEl>
                                          <p:spTgt spid="467"/>
                                        </p:tgtEl>
                                      </p:cBhvr>
                                    </p:animEffect>
                                    <p:animScale>
                                      <p:cBhvr>
                                        <p:cTn id="509" dur="1000" autoRev="1" fill="hold"/>
                                        <p:tgtEl>
                                          <p:spTgt spid="467"/>
                                        </p:tgtEl>
                                      </p:cBhvr>
                                      <p:by x="105000" y="105000"/>
                                    </p:animScale>
                                  </p:childTnLst>
                                </p:cTn>
                              </p:par>
                              <p:par>
                                <p:cTn id="510" presetID="26" presetClass="emph" presetSubtype="0" dur="2000" repeatCount="indefinite" fill="hold" grpId="0" nodeType="withEffect">
                                  <p:stCondLst>
                                    <p:cond delay="3250"/>
                                  </p:stCondLst>
                                  <p:childTnLst>
                                    <p:animEffect transition="out" filter="fade">
                                      <p:cBhvr>
                                        <p:cTn id="511" dur="2000" tmFilter="0, 0; .2, .5; .8, .5; 1, 0"/>
                                        <p:tgtEl>
                                          <p:spTgt spid="468"/>
                                        </p:tgtEl>
                                      </p:cBhvr>
                                    </p:animEffect>
                                    <p:animScale>
                                      <p:cBhvr>
                                        <p:cTn id="512" dur="1000" autoRev="1" fill="hold"/>
                                        <p:tgtEl>
                                          <p:spTgt spid="468"/>
                                        </p:tgtEl>
                                      </p:cBhvr>
                                      <p:by x="105000" y="105000"/>
                                    </p:animScale>
                                  </p:childTnLst>
                                </p:cTn>
                              </p:par>
                              <p:par>
                                <p:cTn id="513" presetID="26" presetClass="emph" presetSubtype="0" dur="2000" repeatCount="indefinite" fill="hold" grpId="0" nodeType="withEffect">
                                  <p:stCondLst>
                                    <p:cond delay="3250"/>
                                  </p:stCondLst>
                                  <p:childTnLst>
                                    <p:animEffect transition="out" filter="fade">
                                      <p:cBhvr>
                                        <p:cTn id="514" dur="2000" tmFilter="0, 0; .2, .5; .8, .5; 1, 0"/>
                                        <p:tgtEl>
                                          <p:spTgt spid="469"/>
                                        </p:tgtEl>
                                      </p:cBhvr>
                                    </p:animEffect>
                                    <p:animScale>
                                      <p:cBhvr>
                                        <p:cTn id="515" dur="1000" autoRev="1" fill="hold"/>
                                        <p:tgtEl>
                                          <p:spTgt spid="469"/>
                                        </p:tgtEl>
                                      </p:cBhvr>
                                      <p:by x="105000" y="105000"/>
                                    </p:animScale>
                                  </p:childTnLst>
                                </p:cTn>
                              </p:par>
                              <p:par>
                                <p:cTn id="516" presetID="26" presetClass="emph" presetSubtype="0" dur="2000" repeatCount="indefinite" fill="hold" grpId="0" nodeType="withEffect">
                                  <p:stCondLst>
                                    <p:cond delay="3250"/>
                                  </p:stCondLst>
                                  <p:childTnLst>
                                    <p:animEffect transition="out" filter="fade">
                                      <p:cBhvr>
                                        <p:cTn id="517" dur="2000" tmFilter="0, 0; .2, .5; .8, .5; 1, 0"/>
                                        <p:tgtEl>
                                          <p:spTgt spid="470"/>
                                        </p:tgtEl>
                                      </p:cBhvr>
                                    </p:animEffect>
                                    <p:animScale>
                                      <p:cBhvr>
                                        <p:cTn id="518" dur="1000" autoRev="1" fill="hold"/>
                                        <p:tgtEl>
                                          <p:spTgt spid="470"/>
                                        </p:tgtEl>
                                      </p:cBhvr>
                                      <p:by x="105000" y="105000"/>
                                    </p:animScale>
                                  </p:childTnLst>
                                </p:cTn>
                              </p:par>
                              <p:par>
                                <p:cTn id="519" presetID="26" presetClass="emph" presetSubtype="0" dur="2000" repeatCount="indefinite" fill="hold" grpId="0" nodeType="withEffect">
                                  <p:stCondLst>
                                    <p:cond delay="3250"/>
                                  </p:stCondLst>
                                  <p:childTnLst>
                                    <p:animEffect transition="out" filter="fade">
                                      <p:cBhvr>
                                        <p:cTn id="520" dur="2000" tmFilter="0, 0; .2, .5; .8, .5; 1, 0"/>
                                        <p:tgtEl>
                                          <p:spTgt spid="471"/>
                                        </p:tgtEl>
                                      </p:cBhvr>
                                    </p:animEffect>
                                    <p:animScale>
                                      <p:cBhvr>
                                        <p:cTn id="521" dur="1000" autoRev="1" fill="hold"/>
                                        <p:tgtEl>
                                          <p:spTgt spid="471"/>
                                        </p:tgtEl>
                                      </p:cBhvr>
                                      <p:by x="105000" y="105000"/>
                                    </p:animScale>
                                  </p:childTnLst>
                                </p:cTn>
                              </p:par>
                              <p:par>
                                <p:cTn id="522" presetID="26" presetClass="emph" presetSubtype="0" dur="2000" repeatCount="indefinite" fill="hold" grpId="0" nodeType="withEffect">
                                  <p:stCondLst>
                                    <p:cond delay="3250"/>
                                  </p:stCondLst>
                                  <p:childTnLst>
                                    <p:animEffect transition="out" filter="fade">
                                      <p:cBhvr>
                                        <p:cTn id="523" dur="2000" tmFilter="0, 0; .2, .5; .8, .5; 1, 0"/>
                                        <p:tgtEl>
                                          <p:spTgt spid="472"/>
                                        </p:tgtEl>
                                      </p:cBhvr>
                                    </p:animEffect>
                                    <p:animScale>
                                      <p:cBhvr>
                                        <p:cTn id="524" dur="1000" autoRev="1" fill="hold"/>
                                        <p:tgtEl>
                                          <p:spTgt spid="472"/>
                                        </p:tgtEl>
                                      </p:cBhvr>
                                      <p:by x="105000" y="105000"/>
                                    </p:animScale>
                                  </p:childTnLst>
                                </p:cTn>
                              </p:par>
                              <p:par>
                                <p:cTn id="525" presetID="26" presetClass="emph" presetSubtype="0" dur="2000" repeatCount="indefinite" fill="hold" grpId="0" nodeType="withEffect">
                                  <p:stCondLst>
                                    <p:cond delay="3250"/>
                                  </p:stCondLst>
                                  <p:childTnLst>
                                    <p:animEffect transition="out" filter="fade">
                                      <p:cBhvr>
                                        <p:cTn id="526" dur="2000" tmFilter="0, 0; .2, .5; .8, .5; 1, 0"/>
                                        <p:tgtEl>
                                          <p:spTgt spid="473"/>
                                        </p:tgtEl>
                                      </p:cBhvr>
                                    </p:animEffect>
                                    <p:animScale>
                                      <p:cBhvr>
                                        <p:cTn id="527" dur="1000" autoRev="1" fill="hold"/>
                                        <p:tgtEl>
                                          <p:spTgt spid="473"/>
                                        </p:tgtEl>
                                      </p:cBhvr>
                                      <p:by x="105000" y="105000"/>
                                    </p:animScale>
                                  </p:childTnLst>
                                </p:cTn>
                              </p:par>
                              <p:par>
                                <p:cTn id="528" presetID="26" presetClass="emph" presetSubtype="0" dur="2000" repeatCount="indefinite" fill="hold" grpId="0" nodeType="withEffect">
                                  <p:stCondLst>
                                    <p:cond delay="3250"/>
                                  </p:stCondLst>
                                  <p:childTnLst>
                                    <p:animEffect transition="out" filter="fade">
                                      <p:cBhvr>
                                        <p:cTn id="529" dur="2000" tmFilter="0, 0; .2, .5; .8, .5; 1, 0"/>
                                        <p:tgtEl>
                                          <p:spTgt spid="474"/>
                                        </p:tgtEl>
                                      </p:cBhvr>
                                    </p:animEffect>
                                    <p:animScale>
                                      <p:cBhvr>
                                        <p:cTn id="530" dur="1000" autoRev="1" fill="hold"/>
                                        <p:tgtEl>
                                          <p:spTgt spid="474"/>
                                        </p:tgtEl>
                                      </p:cBhvr>
                                      <p:by x="105000" y="105000"/>
                                    </p:animScale>
                                  </p:childTnLst>
                                </p:cTn>
                              </p:par>
                              <p:par>
                                <p:cTn id="531" presetID="26" presetClass="emph" presetSubtype="0" dur="2000" repeatCount="indefinite" fill="hold" grpId="0" nodeType="withEffect">
                                  <p:stCondLst>
                                    <p:cond delay="3250"/>
                                  </p:stCondLst>
                                  <p:childTnLst>
                                    <p:animEffect transition="out" filter="fade">
                                      <p:cBhvr>
                                        <p:cTn id="532" dur="2000" tmFilter="0, 0; .2, .5; .8, .5; 1, 0"/>
                                        <p:tgtEl>
                                          <p:spTgt spid="475"/>
                                        </p:tgtEl>
                                      </p:cBhvr>
                                    </p:animEffect>
                                    <p:animScale>
                                      <p:cBhvr>
                                        <p:cTn id="533" dur="1000" autoRev="1" fill="hold"/>
                                        <p:tgtEl>
                                          <p:spTgt spid="475"/>
                                        </p:tgtEl>
                                      </p:cBhvr>
                                      <p:by x="105000" y="105000"/>
                                    </p:animScale>
                                  </p:childTnLst>
                                </p:cTn>
                              </p:par>
                              <p:par>
                                <p:cTn id="534" presetID="26" presetClass="emph" presetSubtype="0" dur="2000" repeatCount="indefinite" fill="hold" grpId="0" nodeType="withEffect">
                                  <p:stCondLst>
                                    <p:cond delay="3250"/>
                                  </p:stCondLst>
                                  <p:childTnLst>
                                    <p:animEffect transition="out" filter="fade">
                                      <p:cBhvr>
                                        <p:cTn id="535" dur="2000" tmFilter="0, 0; .2, .5; .8, .5; 1, 0"/>
                                        <p:tgtEl>
                                          <p:spTgt spid="476"/>
                                        </p:tgtEl>
                                      </p:cBhvr>
                                    </p:animEffect>
                                    <p:animScale>
                                      <p:cBhvr>
                                        <p:cTn id="536" dur="1000" autoRev="1" fill="hold"/>
                                        <p:tgtEl>
                                          <p:spTgt spid="476"/>
                                        </p:tgtEl>
                                      </p:cBhvr>
                                      <p:by x="105000" y="105000"/>
                                    </p:animScale>
                                  </p:childTnLst>
                                </p:cTn>
                              </p:par>
                              <p:par>
                                <p:cTn id="537" presetID="26" presetClass="emph" presetSubtype="0" dur="2000" repeatCount="indefinite" fill="hold" grpId="0" nodeType="withEffect">
                                  <p:stCondLst>
                                    <p:cond delay="3250"/>
                                  </p:stCondLst>
                                  <p:childTnLst>
                                    <p:animEffect transition="out" filter="fade">
                                      <p:cBhvr>
                                        <p:cTn id="538" dur="2000" tmFilter="0, 0; .2, .5; .8, .5; 1, 0"/>
                                        <p:tgtEl>
                                          <p:spTgt spid="477"/>
                                        </p:tgtEl>
                                      </p:cBhvr>
                                    </p:animEffect>
                                    <p:animScale>
                                      <p:cBhvr>
                                        <p:cTn id="539" dur="1000" autoRev="1" fill="hold"/>
                                        <p:tgtEl>
                                          <p:spTgt spid="477"/>
                                        </p:tgtEl>
                                      </p:cBhvr>
                                      <p:by x="105000" y="105000"/>
                                    </p:animScale>
                                  </p:childTnLst>
                                </p:cTn>
                              </p:par>
                              <p:par>
                                <p:cTn id="540" presetID="26" presetClass="emph" presetSubtype="0" dur="2000" repeatCount="indefinite" fill="hold" grpId="0" nodeType="withEffect">
                                  <p:stCondLst>
                                    <p:cond delay="3250"/>
                                  </p:stCondLst>
                                  <p:childTnLst>
                                    <p:animEffect transition="out" filter="fade">
                                      <p:cBhvr>
                                        <p:cTn id="541" dur="2000" tmFilter="0, 0; .2, .5; .8, .5; 1, 0"/>
                                        <p:tgtEl>
                                          <p:spTgt spid="478"/>
                                        </p:tgtEl>
                                      </p:cBhvr>
                                    </p:animEffect>
                                    <p:animScale>
                                      <p:cBhvr>
                                        <p:cTn id="542" dur="1000" autoRev="1" fill="hold"/>
                                        <p:tgtEl>
                                          <p:spTgt spid="478"/>
                                        </p:tgtEl>
                                      </p:cBhvr>
                                      <p:by x="105000" y="105000"/>
                                    </p:animScale>
                                  </p:childTnLst>
                                </p:cTn>
                              </p:par>
                              <p:par>
                                <p:cTn id="543" presetID="26" presetClass="emph" presetSubtype="0" dur="2000" repeatCount="indefinite" fill="hold" grpId="0" nodeType="withEffect">
                                  <p:stCondLst>
                                    <p:cond delay="3250"/>
                                  </p:stCondLst>
                                  <p:childTnLst>
                                    <p:animEffect transition="out" filter="fade">
                                      <p:cBhvr>
                                        <p:cTn id="544" dur="2000" tmFilter="0, 0; .2, .5; .8, .5; 1, 0"/>
                                        <p:tgtEl>
                                          <p:spTgt spid="479"/>
                                        </p:tgtEl>
                                      </p:cBhvr>
                                    </p:animEffect>
                                    <p:animScale>
                                      <p:cBhvr>
                                        <p:cTn id="545" dur="1000" autoRev="1" fill="hold"/>
                                        <p:tgtEl>
                                          <p:spTgt spid="479"/>
                                        </p:tgtEl>
                                      </p:cBhvr>
                                      <p:by x="105000" y="105000"/>
                                    </p:animScale>
                                  </p:childTnLst>
                                </p:cTn>
                              </p:par>
                              <p:par>
                                <p:cTn id="546" presetID="26" presetClass="emph" presetSubtype="0" dur="2000" repeatCount="indefinite" fill="hold" grpId="0" nodeType="withEffect">
                                  <p:stCondLst>
                                    <p:cond delay="3500"/>
                                  </p:stCondLst>
                                  <p:childTnLst>
                                    <p:animEffect transition="out" filter="fade">
                                      <p:cBhvr>
                                        <p:cTn id="547" dur="2000" tmFilter="0, 0; .2, .5; .8, .5; 1, 0"/>
                                        <p:tgtEl>
                                          <p:spTgt spid="480"/>
                                        </p:tgtEl>
                                      </p:cBhvr>
                                    </p:animEffect>
                                    <p:animScale>
                                      <p:cBhvr>
                                        <p:cTn id="548" dur="1000" autoRev="1" fill="hold"/>
                                        <p:tgtEl>
                                          <p:spTgt spid="480"/>
                                        </p:tgtEl>
                                      </p:cBhvr>
                                      <p:by x="105000" y="105000"/>
                                    </p:animScale>
                                  </p:childTnLst>
                                </p:cTn>
                              </p:par>
                              <p:par>
                                <p:cTn id="549" presetID="26" presetClass="emph" presetSubtype="0" dur="2000" repeatCount="indefinite" fill="hold" grpId="0" nodeType="withEffect">
                                  <p:stCondLst>
                                    <p:cond delay="3500"/>
                                  </p:stCondLst>
                                  <p:childTnLst>
                                    <p:animEffect transition="out" filter="fade">
                                      <p:cBhvr>
                                        <p:cTn id="550" dur="2000" tmFilter="0, 0; .2, .5; .8, .5; 1, 0"/>
                                        <p:tgtEl>
                                          <p:spTgt spid="481"/>
                                        </p:tgtEl>
                                      </p:cBhvr>
                                    </p:animEffect>
                                    <p:animScale>
                                      <p:cBhvr>
                                        <p:cTn id="551" dur="1000" autoRev="1" fill="hold"/>
                                        <p:tgtEl>
                                          <p:spTgt spid="481"/>
                                        </p:tgtEl>
                                      </p:cBhvr>
                                      <p:by x="105000" y="105000"/>
                                    </p:animScale>
                                  </p:childTnLst>
                                </p:cTn>
                              </p:par>
                              <p:par>
                                <p:cTn id="552" presetID="26" presetClass="emph" presetSubtype="0" dur="2000" repeatCount="indefinite" fill="hold" grpId="0" nodeType="withEffect">
                                  <p:stCondLst>
                                    <p:cond delay="3500"/>
                                  </p:stCondLst>
                                  <p:childTnLst>
                                    <p:animEffect transition="out" filter="fade">
                                      <p:cBhvr>
                                        <p:cTn id="553" dur="2000" tmFilter="0, 0; .2, .5; .8, .5; 1, 0"/>
                                        <p:tgtEl>
                                          <p:spTgt spid="482"/>
                                        </p:tgtEl>
                                      </p:cBhvr>
                                    </p:animEffect>
                                    <p:animScale>
                                      <p:cBhvr>
                                        <p:cTn id="554" dur="1000" autoRev="1" fill="hold"/>
                                        <p:tgtEl>
                                          <p:spTgt spid="482"/>
                                        </p:tgtEl>
                                      </p:cBhvr>
                                      <p:by x="105000" y="105000"/>
                                    </p:animScale>
                                  </p:childTnLst>
                                </p:cTn>
                              </p:par>
                              <p:par>
                                <p:cTn id="555" presetID="26" presetClass="emph" presetSubtype="0" dur="2000" repeatCount="indefinite" fill="hold" grpId="0" nodeType="withEffect">
                                  <p:stCondLst>
                                    <p:cond delay="3500"/>
                                  </p:stCondLst>
                                  <p:childTnLst>
                                    <p:animEffect transition="out" filter="fade">
                                      <p:cBhvr>
                                        <p:cTn id="556" dur="2000" tmFilter="0, 0; .2, .5; .8, .5; 1, 0"/>
                                        <p:tgtEl>
                                          <p:spTgt spid="483"/>
                                        </p:tgtEl>
                                      </p:cBhvr>
                                    </p:animEffect>
                                    <p:animScale>
                                      <p:cBhvr>
                                        <p:cTn id="557" dur="1000" autoRev="1" fill="hold"/>
                                        <p:tgtEl>
                                          <p:spTgt spid="483"/>
                                        </p:tgtEl>
                                      </p:cBhvr>
                                      <p:by x="105000" y="105000"/>
                                    </p:animScale>
                                  </p:childTnLst>
                                </p:cTn>
                              </p:par>
                              <p:par>
                                <p:cTn id="558" presetID="26" presetClass="emph" presetSubtype="0" dur="2000" repeatCount="indefinite" fill="hold" grpId="0" nodeType="withEffect">
                                  <p:stCondLst>
                                    <p:cond delay="3500"/>
                                  </p:stCondLst>
                                  <p:childTnLst>
                                    <p:animEffect transition="out" filter="fade">
                                      <p:cBhvr>
                                        <p:cTn id="559" dur="2000" tmFilter="0, 0; .2, .5; .8, .5; 1, 0"/>
                                        <p:tgtEl>
                                          <p:spTgt spid="484"/>
                                        </p:tgtEl>
                                      </p:cBhvr>
                                    </p:animEffect>
                                    <p:animScale>
                                      <p:cBhvr>
                                        <p:cTn id="560" dur="1000" autoRev="1" fill="hold"/>
                                        <p:tgtEl>
                                          <p:spTgt spid="484"/>
                                        </p:tgtEl>
                                      </p:cBhvr>
                                      <p:by x="105000" y="105000"/>
                                    </p:animScale>
                                  </p:childTnLst>
                                </p:cTn>
                              </p:par>
                              <p:par>
                                <p:cTn id="561" presetID="26" presetClass="emph" presetSubtype="0" dur="2000" repeatCount="indefinite" fill="hold" grpId="0" nodeType="withEffect">
                                  <p:stCondLst>
                                    <p:cond delay="3500"/>
                                  </p:stCondLst>
                                  <p:childTnLst>
                                    <p:animEffect transition="out" filter="fade">
                                      <p:cBhvr>
                                        <p:cTn id="562" dur="2000" tmFilter="0, 0; .2, .5; .8, .5; 1, 0"/>
                                        <p:tgtEl>
                                          <p:spTgt spid="485"/>
                                        </p:tgtEl>
                                      </p:cBhvr>
                                    </p:animEffect>
                                    <p:animScale>
                                      <p:cBhvr>
                                        <p:cTn id="563" dur="1000" autoRev="1" fill="hold"/>
                                        <p:tgtEl>
                                          <p:spTgt spid="485"/>
                                        </p:tgtEl>
                                      </p:cBhvr>
                                      <p:by x="105000" y="105000"/>
                                    </p:animScale>
                                  </p:childTnLst>
                                </p:cTn>
                              </p:par>
                              <p:par>
                                <p:cTn id="564" presetID="26" presetClass="emph" presetSubtype="0" dur="2000" repeatCount="indefinite" fill="hold" grpId="0" nodeType="withEffect">
                                  <p:stCondLst>
                                    <p:cond delay="3500"/>
                                  </p:stCondLst>
                                  <p:childTnLst>
                                    <p:animEffect transition="out" filter="fade">
                                      <p:cBhvr>
                                        <p:cTn id="565" dur="2000" tmFilter="0, 0; .2, .5; .8, .5; 1, 0"/>
                                        <p:tgtEl>
                                          <p:spTgt spid="486"/>
                                        </p:tgtEl>
                                      </p:cBhvr>
                                    </p:animEffect>
                                    <p:animScale>
                                      <p:cBhvr>
                                        <p:cTn id="566" dur="1000" autoRev="1" fill="hold"/>
                                        <p:tgtEl>
                                          <p:spTgt spid="486"/>
                                        </p:tgtEl>
                                      </p:cBhvr>
                                      <p:by x="105000" y="105000"/>
                                    </p:animScale>
                                  </p:childTnLst>
                                </p:cTn>
                              </p:par>
                              <p:par>
                                <p:cTn id="567" presetID="26" presetClass="emph" presetSubtype="0" dur="2000" repeatCount="indefinite" fill="hold" grpId="0" nodeType="withEffect">
                                  <p:stCondLst>
                                    <p:cond delay="3500"/>
                                  </p:stCondLst>
                                  <p:childTnLst>
                                    <p:animEffect transition="out" filter="fade">
                                      <p:cBhvr>
                                        <p:cTn id="568" dur="2000" tmFilter="0, 0; .2, .5; .8, .5; 1, 0"/>
                                        <p:tgtEl>
                                          <p:spTgt spid="487"/>
                                        </p:tgtEl>
                                      </p:cBhvr>
                                    </p:animEffect>
                                    <p:animScale>
                                      <p:cBhvr>
                                        <p:cTn id="569" dur="1000" autoRev="1" fill="hold"/>
                                        <p:tgtEl>
                                          <p:spTgt spid="487"/>
                                        </p:tgtEl>
                                      </p:cBhvr>
                                      <p:by x="105000" y="105000"/>
                                    </p:animScale>
                                  </p:childTnLst>
                                </p:cTn>
                              </p:par>
                              <p:par>
                                <p:cTn id="570" presetID="26" presetClass="emph" presetSubtype="0" dur="2000" repeatCount="indefinite" fill="hold" grpId="0" nodeType="withEffect">
                                  <p:stCondLst>
                                    <p:cond delay="3500"/>
                                  </p:stCondLst>
                                  <p:childTnLst>
                                    <p:animEffect transition="out" filter="fade">
                                      <p:cBhvr>
                                        <p:cTn id="571" dur="2000" tmFilter="0, 0; .2, .5; .8, .5; 1, 0"/>
                                        <p:tgtEl>
                                          <p:spTgt spid="488"/>
                                        </p:tgtEl>
                                      </p:cBhvr>
                                    </p:animEffect>
                                    <p:animScale>
                                      <p:cBhvr>
                                        <p:cTn id="572" dur="1000" autoRev="1" fill="hold"/>
                                        <p:tgtEl>
                                          <p:spTgt spid="488"/>
                                        </p:tgtEl>
                                      </p:cBhvr>
                                      <p:by x="105000" y="105000"/>
                                    </p:animScale>
                                  </p:childTnLst>
                                </p:cTn>
                              </p:par>
                              <p:par>
                                <p:cTn id="573" presetID="26" presetClass="emph" presetSubtype="0" dur="2000" repeatCount="indefinite" fill="hold" grpId="0" nodeType="withEffect">
                                  <p:stCondLst>
                                    <p:cond delay="3500"/>
                                  </p:stCondLst>
                                  <p:childTnLst>
                                    <p:animEffect transition="out" filter="fade">
                                      <p:cBhvr>
                                        <p:cTn id="574" dur="2000" tmFilter="0, 0; .2, .5; .8, .5; 1, 0"/>
                                        <p:tgtEl>
                                          <p:spTgt spid="489"/>
                                        </p:tgtEl>
                                      </p:cBhvr>
                                    </p:animEffect>
                                    <p:animScale>
                                      <p:cBhvr>
                                        <p:cTn id="575" dur="1000" autoRev="1" fill="hold"/>
                                        <p:tgtEl>
                                          <p:spTgt spid="489"/>
                                        </p:tgtEl>
                                      </p:cBhvr>
                                      <p:by x="105000" y="105000"/>
                                    </p:animScale>
                                  </p:childTnLst>
                                </p:cTn>
                              </p:par>
                              <p:par>
                                <p:cTn id="576" presetID="26" presetClass="emph" presetSubtype="0" dur="2000" repeatCount="indefinite" fill="hold" grpId="0" nodeType="withEffect">
                                  <p:stCondLst>
                                    <p:cond delay="3500"/>
                                  </p:stCondLst>
                                  <p:childTnLst>
                                    <p:animEffect transition="out" filter="fade">
                                      <p:cBhvr>
                                        <p:cTn id="577" dur="2000" tmFilter="0, 0; .2, .5; .8, .5; 1, 0"/>
                                        <p:tgtEl>
                                          <p:spTgt spid="490"/>
                                        </p:tgtEl>
                                      </p:cBhvr>
                                    </p:animEffect>
                                    <p:animScale>
                                      <p:cBhvr>
                                        <p:cTn id="578" dur="1000" autoRev="1" fill="hold"/>
                                        <p:tgtEl>
                                          <p:spTgt spid="490"/>
                                        </p:tgtEl>
                                      </p:cBhvr>
                                      <p:by x="105000" y="105000"/>
                                    </p:animScale>
                                  </p:childTnLst>
                                </p:cTn>
                              </p:par>
                              <p:par>
                                <p:cTn id="579" presetID="26" presetClass="emph" presetSubtype="0" dur="2000" repeatCount="indefinite" fill="hold" grpId="0" nodeType="withEffect">
                                  <p:stCondLst>
                                    <p:cond delay="3500"/>
                                  </p:stCondLst>
                                  <p:childTnLst>
                                    <p:animEffect transition="out" filter="fade">
                                      <p:cBhvr>
                                        <p:cTn id="580" dur="2000" tmFilter="0, 0; .2, .5; .8, .5; 1, 0"/>
                                        <p:tgtEl>
                                          <p:spTgt spid="491"/>
                                        </p:tgtEl>
                                      </p:cBhvr>
                                    </p:animEffect>
                                    <p:animScale>
                                      <p:cBhvr>
                                        <p:cTn id="581" dur="1000" autoRev="1" fill="hold"/>
                                        <p:tgtEl>
                                          <p:spTgt spid="491"/>
                                        </p:tgtEl>
                                      </p:cBhvr>
                                      <p:by x="105000" y="105000"/>
                                    </p:animScale>
                                  </p:childTnLst>
                                </p:cTn>
                              </p:par>
                              <p:par>
                                <p:cTn id="582" presetID="26" presetClass="emph" presetSubtype="0" dur="2000" repeatCount="indefinite" fill="hold" grpId="0" nodeType="withEffect">
                                  <p:stCondLst>
                                    <p:cond delay="3500"/>
                                  </p:stCondLst>
                                  <p:childTnLst>
                                    <p:animEffect transition="out" filter="fade">
                                      <p:cBhvr>
                                        <p:cTn id="583" dur="2000" tmFilter="0, 0; .2, .5; .8, .5; 1, 0"/>
                                        <p:tgtEl>
                                          <p:spTgt spid="492"/>
                                        </p:tgtEl>
                                      </p:cBhvr>
                                    </p:animEffect>
                                    <p:animScale>
                                      <p:cBhvr>
                                        <p:cTn id="584" dur="1000" autoRev="1" fill="hold"/>
                                        <p:tgtEl>
                                          <p:spTgt spid="492"/>
                                        </p:tgtEl>
                                      </p:cBhvr>
                                      <p:by x="105000" y="105000"/>
                                    </p:animScale>
                                  </p:childTnLst>
                                </p:cTn>
                              </p:par>
                              <p:par>
                                <p:cTn id="585" presetID="26" presetClass="emph" presetSubtype="0" dur="2000" repeatCount="indefinite" fill="hold" grpId="0" nodeType="withEffect">
                                  <p:stCondLst>
                                    <p:cond delay="3500"/>
                                  </p:stCondLst>
                                  <p:childTnLst>
                                    <p:animEffect transition="out" filter="fade">
                                      <p:cBhvr>
                                        <p:cTn id="586" dur="2000" tmFilter="0, 0; .2, .5; .8, .5; 1, 0"/>
                                        <p:tgtEl>
                                          <p:spTgt spid="493"/>
                                        </p:tgtEl>
                                      </p:cBhvr>
                                    </p:animEffect>
                                    <p:animScale>
                                      <p:cBhvr>
                                        <p:cTn id="587" dur="1000" autoRev="1" fill="hold"/>
                                        <p:tgtEl>
                                          <p:spTgt spid="493"/>
                                        </p:tgtEl>
                                      </p:cBhvr>
                                      <p:by x="105000" y="105000"/>
                                    </p:animScale>
                                  </p:childTnLst>
                                </p:cTn>
                              </p:par>
                              <p:par>
                                <p:cTn id="588" presetID="26" presetClass="emph" presetSubtype="0" dur="2000" repeatCount="indefinite" fill="hold" grpId="0" nodeType="withEffect">
                                  <p:stCondLst>
                                    <p:cond delay="3750"/>
                                  </p:stCondLst>
                                  <p:childTnLst>
                                    <p:animEffect transition="out" filter="fade">
                                      <p:cBhvr>
                                        <p:cTn id="589" dur="2000" tmFilter="0, 0; .2, .5; .8, .5; 1, 0"/>
                                        <p:tgtEl>
                                          <p:spTgt spid="297"/>
                                        </p:tgtEl>
                                      </p:cBhvr>
                                    </p:animEffect>
                                    <p:animScale>
                                      <p:cBhvr>
                                        <p:cTn id="590" dur="1000" autoRev="1" fill="hold"/>
                                        <p:tgtEl>
                                          <p:spTgt spid="297"/>
                                        </p:tgtEl>
                                      </p:cBhvr>
                                      <p:by x="105000" y="105000"/>
                                    </p:animScale>
                                  </p:childTnLst>
                                </p:cTn>
                              </p:par>
                              <p:par>
                                <p:cTn id="591" presetID="26" presetClass="emph" presetSubtype="0" dur="2000" repeatCount="indefinite" fill="hold" grpId="0" nodeType="withEffect">
                                  <p:stCondLst>
                                    <p:cond delay="3750"/>
                                  </p:stCondLst>
                                  <p:childTnLst>
                                    <p:animEffect transition="out" filter="fade">
                                      <p:cBhvr>
                                        <p:cTn id="592" dur="2000" tmFilter="0, 0; .2, .5; .8, .5; 1, 0"/>
                                        <p:tgtEl>
                                          <p:spTgt spid="298"/>
                                        </p:tgtEl>
                                      </p:cBhvr>
                                    </p:animEffect>
                                    <p:animScale>
                                      <p:cBhvr>
                                        <p:cTn id="593" dur="1000" autoRev="1" fill="hold"/>
                                        <p:tgtEl>
                                          <p:spTgt spid="298"/>
                                        </p:tgtEl>
                                      </p:cBhvr>
                                      <p:by x="105000" y="105000"/>
                                    </p:animScale>
                                  </p:childTnLst>
                                </p:cTn>
                              </p:par>
                              <p:par>
                                <p:cTn id="594" presetID="26" presetClass="emph" presetSubtype="0" dur="2000" repeatCount="indefinite" fill="hold" grpId="0" nodeType="withEffect">
                                  <p:stCondLst>
                                    <p:cond delay="3750"/>
                                  </p:stCondLst>
                                  <p:childTnLst>
                                    <p:animEffect transition="out" filter="fade">
                                      <p:cBhvr>
                                        <p:cTn id="595" dur="2000" tmFilter="0, 0; .2, .5; .8, .5; 1, 0"/>
                                        <p:tgtEl>
                                          <p:spTgt spid="299"/>
                                        </p:tgtEl>
                                      </p:cBhvr>
                                    </p:animEffect>
                                    <p:animScale>
                                      <p:cBhvr>
                                        <p:cTn id="596" dur="1000" autoRev="1" fill="hold"/>
                                        <p:tgtEl>
                                          <p:spTgt spid="299"/>
                                        </p:tgtEl>
                                      </p:cBhvr>
                                      <p:by x="105000" y="105000"/>
                                    </p:animScale>
                                  </p:childTnLst>
                                </p:cTn>
                              </p:par>
                              <p:par>
                                <p:cTn id="597" presetID="26" presetClass="emph" presetSubtype="0" dur="2000" repeatCount="indefinite" fill="hold" grpId="0" nodeType="withEffect">
                                  <p:stCondLst>
                                    <p:cond delay="3750"/>
                                  </p:stCondLst>
                                  <p:childTnLst>
                                    <p:animEffect transition="out" filter="fade">
                                      <p:cBhvr>
                                        <p:cTn id="598" dur="2000" tmFilter="0, 0; .2, .5; .8, .5; 1, 0"/>
                                        <p:tgtEl>
                                          <p:spTgt spid="300"/>
                                        </p:tgtEl>
                                      </p:cBhvr>
                                    </p:animEffect>
                                    <p:animScale>
                                      <p:cBhvr>
                                        <p:cTn id="599" dur="1000" autoRev="1" fill="hold"/>
                                        <p:tgtEl>
                                          <p:spTgt spid="300"/>
                                        </p:tgtEl>
                                      </p:cBhvr>
                                      <p:by x="105000" y="105000"/>
                                    </p:animScale>
                                  </p:childTnLst>
                                </p:cTn>
                              </p:par>
                              <p:par>
                                <p:cTn id="600" presetID="26" presetClass="emph" presetSubtype="0" dur="2000" repeatCount="indefinite" fill="hold" grpId="0" nodeType="withEffect">
                                  <p:stCondLst>
                                    <p:cond delay="3750"/>
                                  </p:stCondLst>
                                  <p:childTnLst>
                                    <p:animEffect transition="out" filter="fade">
                                      <p:cBhvr>
                                        <p:cTn id="601" dur="2000" tmFilter="0, 0; .2, .5; .8, .5; 1, 0"/>
                                        <p:tgtEl>
                                          <p:spTgt spid="301"/>
                                        </p:tgtEl>
                                      </p:cBhvr>
                                    </p:animEffect>
                                    <p:animScale>
                                      <p:cBhvr>
                                        <p:cTn id="602" dur="1000" autoRev="1" fill="hold"/>
                                        <p:tgtEl>
                                          <p:spTgt spid="301"/>
                                        </p:tgtEl>
                                      </p:cBhvr>
                                      <p:by x="105000" y="105000"/>
                                    </p:animScale>
                                  </p:childTnLst>
                                </p:cTn>
                              </p:par>
                              <p:par>
                                <p:cTn id="603" presetID="26" presetClass="emph" presetSubtype="0" dur="2000" repeatCount="indefinite" fill="hold" grpId="0" nodeType="withEffect">
                                  <p:stCondLst>
                                    <p:cond delay="3750"/>
                                  </p:stCondLst>
                                  <p:childTnLst>
                                    <p:animEffect transition="out" filter="fade">
                                      <p:cBhvr>
                                        <p:cTn id="604" dur="2000" tmFilter="0, 0; .2, .5; .8, .5; 1, 0"/>
                                        <p:tgtEl>
                                          <p:spTgt spid="302"/>
                                        </p:tgtEl>
                                      </p:cBhvr>
                                    </p:animEffect>
                                    <p:animScale>
                                      <p:cBhvr>
                                        <p:cTn id="605" dur="1000" autoRev="1" fill="hold"/>
                                        <p:tgtEl>
                                          <p:spTgt spid="302"/>
                                        </p:tgtEl>
                                      </p:cBhvr>
                                      <p:by x="105000" y="105000"/>
                                    </p:animScale>
                                  </p:childTnLst>
                                </p:cTn>
                              </p:par>
                              <p:par>
                                <p:cTn id="606" presetID="26" presetClass="emph" presetSubtype="0" dur="2000" repeatCount="indefinite" fill="hold" grpId="0" nodeType="withEffect">
                                  <p:stCondLst>
                                    <p:cond delay="3750"/>
                                  </p:stCondLst>
                                  <p:childTnLst>
                                    <p:animEffect transition="out" filter="fade">
                                      <p:cBhvr>
                                        <p:cTn id="607" dur="2000" tmFilter="0, 0; .2, .5; .8, .5; 1, 0"/>
                                        <p:tgtEl>
                                          <p:spTgt spid="303"/>
                                        </p:tgtEl>
                                      </p:cBhvr>
                                    </p:animEffect>
                                    <p:animScale>
                                      <p:cBhvr>
                                        <p:cTn id="608" dur="1000" autoRev="1" fill="hold"/>
                                        <p:tgtEl>
                                          <p:spTgt spid="303"/>
                                        </p:tgtEl>
                                      </p:cBhvr>
                                      <p:by x="105000" y="105000"/>
                                    </p:animScale>
                                  </p:childTnLst>
                                </p:cTn>
                              </p:par>
                              <p:par>
                                <p:cTn id="609" presetID="26" presetClass="emph" presetSubtype="0" dur="2000" repeatCount="indefinite" fill="hold" grpId="0" nodeType="withEffect">
                                  <p:stCondLst>
                                    <p:cond delay="3750"/>
                                  </p:stCondLst>
                                  <p:childTnLst>
                                    <p:animEffect transition="out" filter="fade">
                                      <p:cBhvr>
                                        <p:cTn id="610" dur="2000" tmFilter="0, 0; .2, .5; .8, .5; 1, 0"/>
                                        <p:tgtEl>
                                          <p:spTgt spid="304"/>
                                        </p:tgtEl>
                                      </p:cBhvr>
                                    </p:animEffect>
                                    <p:animScale>
                                      <p:cBhvr>
                                        <p:cTn id="611" dur="1000" autoRev="1" fill="hold"/>
                                        <p:tgtEl>
                                          <p:spTgt spid="304"/>
                                        </p:tgtEl>
                                      </p:cBhvr>
                                      <p:by x="105000" y="105000"/>
                                    </p:animScale>
                                  </p:childTnLst>
                                </p:cTn>
                              </p:par>
                              <p:par>
                                <p:cTn id="612" presetID="26" presetClass="emph" presetSubtype="0" dur="2000" repeatCount="indefinite" fill="hold" grpId="0" nodeType="withEffect">
                                  <p:stCondLst>
                                    <p:cond delay="3750"/>
                                  </p:stCondLst>
                                  <p:childTnLst>
                                    <p:animEffect transition="out" filter="fade">
                                      <p:cBhvr>
                                        <p:cTn id="613" dur="2000" tmFilter="0, 0; .2, .5; .8, .5; 1, 0"/>
                                        <p:tgtEl>
                                          <p:spTgt spid="305"/>
                                        </p:tgtEl>
                                      </p:cBhvr>
                                    </p:animEffect>
                                    <p:animScale>
                                      <p:cBhvr>
                                        <p:cTn id="614" dur="1000" autoRev="1" fill="hold"/>
                                        <p:tgtEl>
                                          <p:spTgt spid="305"/>
                                        </p:tgtEl>
                                      </p:cBhvr>
                                      <p:by x="105000" y="105000"/>
                                    </p:animScale>
                                  </p:childTnLst>
                                </p:cTn>
                              </p:par>
                              <p:par>
                                <p:cTn id="615" presetID="26" presetClass="emph" presetSubtype="0" dur="2000" repeatCount="indefinite" fill="hold" grpId="0" nodeType="withEffect">
                                  <p:stCondLst>
                                    <p:cond delay="3750"/>
                                  </p:stCondLst>
                                  <p:childTnLst>
                                    <p:animEffect transition="out" filter="fade">
                                      <p:cBhvr>
                                        <p:cTn id="616" dur="2000" tmFilter="0, 0; .2, .5; .8, .5; 1, 0"/>
                                        <p:tgtEl>
                                          <p:spTgt spid="306"/>
                                        </p:tgtEl>
                                      </p:cBhvr>
                                    </p:animEffect>
                                    <p:animScale>
                                      <p:cBhvr>
                                        <p:cTn id="617" dur="1000" autoRev="1" fill="hold"/>
                                        <p:tgtEl>
                                          <p:spTgt spid="306"/>
                                        </p:tgtEl>
                                      </p:cBhvr>
                                      <p:by x="105000" y="105000"/>
                                    </p:animScale>
                                  </p:childTnLst>
                                </p:cTn>
                              </p:par>
                              <p:par>
                                <p:cTn id="618" presetID="26" presetClass="emph" presetSubtype="0" dur="2000" repeatCount="indefinite" fill="hold" grpId="0" nodeType="withEffect">
                                  <p:stCondLst>
                                    <p:cond delay="3750"/>
                                  </p:stCondLst>
                                  <p:childTnLst>
                                    <p:animEffect transition="out" filter="fade">
                                      <p:cBhvr>
                                        <p:cTn id="619" dur="2000" tmFilter="0, 0; .2, .5; .8, .5; 1, 0"/>
                                        <p:tgtEl>
                                          <p:spTgt spid="307"/>
                                        </p:tgtEl>
                                      </p:cBhvr>
                                    </p:animEffect>
                                    <p:animScale>
                                      <p:cBhvr>
                                        <p:cTn id="620" dur="1000" autoRev="1" fill="hold"/>
                                        <p:tgtEl>
                                          <p:spTgt spid="307"/>
                                        </p:tgtEl>
                                      </p:cBhvr>
                                      <p:by x="105000" y="105000"/>
                                    </p:animScale>
                                  </p:childTnLst>
                                </p:cTn>
                              </p:par>
                              <p:par>
                                <p:cTn id="621" presetID="26" presetClass="emph" presetSubtype="0" dur="2000" repeatCount="indefinite" fill="hold" grpId="0" nodeType="withEffect">
                                  <p:stCondLst>
                                    <p:cond delay="3750"/>
                                  </p:stCondLst>
                                  <p:childTnLst>
                                    <p:animEffect transition="out" filter="fade">
                                      <p:cBhvr>
                                        <p:cTn id="622" dur="2000" tmFilter="0, 0; .2, .5; .8, .5; 1, 0"/>
                                        <p:tgtEl>
                                          <p:spTgt spid="308"/>
                                        </p:tgtEl>
                                      </p:cBhvr>
                                    </p:animEffect>
                                    <p:animScale>
                                      <p:cBhvr>
                                        <p:cTn id="623" dur="1000" autoRev="1" fill="hold"/>
                                        <p:tgtEl>
                                          <p:spTgt spid="308"/>
                                        </p:tgtEl>
                                      </p:cBhvr>
                                      <p:by x="105000" y="105000"/>
                                    </p:animScale>
                                  </p:childTnLst>
                                </p:cTn>
                              </p:par>
                              <p:par>
                                <p:cTn id="624" presetID="26" presetClass="emph" presetSubtype="0" dur="2000" repeatCount="indefinite" fill="hold" grpId="0" nodeType="withEffect">
                                  <p:stCondLst>
                                    <p:cond delay="4000"/>
                                  </p:stCondLst>
                                  <p:childTnLst>
                                    <p:animEffect transition="out" filter="fade">
                                      <p:cBhvr>
                                        <p:cTn id="625" dur="2000" tmFilter="0, 0; .2, .5; .8, .5; 1, 0"/>
                                        <p:tgtEl>
                                          <p:spTgt spid="287"/>
                                        </p:tgtEl>
                                      </p:cBhvr>
                                    </p:animEffect>
                                    <p:animScale>
                                      <p:cBhvr>
                                        <p:cTn id="626" dur="1000" autoRev="1" fill="hold"/>
                                        <p:tgtEl>
                                          <p:spTgt spid="287"/>
                                        </p:tgtEl>
                                      </p:cBhvr>
                                      <p:by x="105000" y="105000"/>
                                    </p:animScale>
                                  </p:childTnLst>
                                </p:cTn>
                              </p:par>
                              <p:par>
                                <p:cTn id="627" presetID="26" presetClass="emph" presetSubtype="0" dur="2000" repeatCount="indefinite" fill="hold" grpId="0" nodeType="withEffect">
                                  <p:stCondLst>
                                    <p:cond delay="4000"/>
                                  </p:stCondLst>
                                  <p:childTnLst>
                                    <p:animEffect transition="out" filter="fade">
                                      <p:cBhvr>
                                        <p:cTn id="628" dur="2000" tmFilter="0, 0; .2, .5; .8, .5; 1, 0"/>
                                        <p:tgtEl>
                                          <p:spTgt spid="288"/>
                                        </p:tgtEl>
                                      </p:cBhvr>
                                    </p:animEffect>
                                    <p:animScale>
                                      <p:cBhvr>
                                        <p:cTn id="629" dur="1000" autoRev="1" fill="hold"/>
                                        <p:tgtEl>
                                          <p:spTgt spid="288"/>
                                        </p:tgtEl>
                                      </p:cBhvr>
                                      <p:by x="105000" y="105000"/>
                                    </p:animScale>
                                  </p:childTnLst>
                                </p:cTn>
                              </p:par>
                              <p:par>
                                <p:cTn id="630" presetID="26" presetClass="emph" presetSubtype="0" dur="2000" repeatCount="indefinite" fill="hold" grpId="0" nodeType="withEffect">
                                  <p:stCondLst>
                                    <p:cond delay="4000"/>
                                  </p:stCondLst>
                                  <p:childTnLst>
                                    <p:animEffect transition="out" filter="fade">
                                      <p:cBhvr>
                                        <p:cTn id="631" dur="2000" tmFilter="0, 0; .2, .5; .8, .5; 1, 0"/>
                                        <p:tgtEl>
                                          <p:spTgt spid="289"/>
                                        </p:tgtEl>
                                      </p:cBhvr>
                                    </p:animEffect>
                                    <p:animScale>
                                      <p:cBhvr>
                                        <p:cTn id="632" dur="1000" autoRev="1" fill="hold"/>
                                        <p:tgtEl>
                                          <p:spTgt spid="289"/>
                                        </p:tgtEl>
                                      </p:cBhvr>
                                      <p:by x="105000" y="105000"/>
                                    </p:animScale>
                                  </p:childTnLst>
                                </p:cTn>
                              </p:par>
                              <p:par>
                                <p:cTn id="633" presetID="26" presetClass="emph" presetSubtype="0" dur="2000" repeatCount="indefinite" fill="hold" grpId="0" nodeType="withEffect">
                                  <p:stCondLst>
                                    <p:cond delay="4000"/>
                                  </p:stCondLst>
                                  <p:childTnLst>
                                    <p:animEffect transition="out" filter="fade">
                                      <p:cBhvr>
                                        <p:cTn id="634" dur="2000" tmFilter="0, 0; .2, .5; .8, .5; 1, 0"/>
                                        <p:tgtEl>
                                          <p:spTgt spid="290"/>
                                        </p:tgtEl>
                                      </p:cBhvr>
                                    </p:animEffect>
                                    <p:animScale>
                                      <p:cBhvr>
                                        <p:cTn id="635" dur="1000" autoRev="1" fill="hold"/>
                                        <p:tgtEl>
                                          <p:spTgt spid="290"/>
                                        </p:tgtEl>
                                      </p:cBhvr>
                                      <p:by x="105000" y="105000"/>
                                    </p:animScale>
                                  </p:childTnLst>
                                </p:cTn>
                              </p:par>
                              <p:par>
                                <p:cTn id="636" presetID="26" presetClass="emph" presetSubtype="0" dur="2000" repeatCount="indefinite" fill="hold" grpId="0" nodeType="withEffect">
                                  <p:stCondLst>
                                    <p:cond delay="4000"/>
                                  </p:stCondLst>
                                  <p:childTnLst>
                                    <p:animEffect transition="out" filter="fade">
                                      <p:cBhvr>
                                        <p:cTn id="637" dur="2000" tmFilter="0, 0; .2, .5; .8, .5; 1, 0"/>
                                        <p:tgtEl>
                                          <p:spTgt spid="291"/>
                                        </p:tgtEl>
                                      </p:cBhvr>
                                    </p:animEffect>
                                    <p:animScale>
                                      <p:cBhvr>
                                        <p:cTn id="638" dur="1000" autoRev="1" fill="hold"/>
                                        <p:tgtEl>
                                          <p:spTgt spid="291"/>
                                        </p:tgtEl>
                                      </p:cBhvr>
                                      <p:by x="105000" y="105000"/>
                                    </p:animScale>
                                  </p:childTnLst>
                                </p:cTn>
                              </p:par>
                              <p:par>
                                <p:cTn id="639" presetID="26" presetClass="emph" presetSubtype="0" dur="2000" repeatCount="indefinite" fill="hold" grpId="0" nodeType="withEffect">
                                  <p:stCondLst>
                                    <p:cond delay="4000"/>
                                  </p:stCondLst>
                                  <p:childTnLst>
                                    <p:animEffect transition="out" filter="fade">
                                      <p:cBhvr>
                                        <p:cTn id="640" dur="2000" tmFilter="0, 0; .2, .5; .8, .5; 1, 0"/>
                                        <p:tgtEl>
                                          <p:spTgt spid="292"/>
                                        </p:tgtEl>
                                      </p:cBhvr>
                                    </p:animEffect>
                                    <p:animScale>
                                      <p:cBhvr>
                                        <p:cTn id="641" dur="1000" autoRev="1" fill="hold"/>
                                        <p:tgtEl>
                                          <p:spTgt spid="292"/>
                                        </p:tgtEl>
                                      </p:cBhvr>
                                      <p:by x="105000" y="105000"/>
                                    </p:animScale>
                                  </p:childTnLst>
                                </p:cTn>
                              </p:par>
                              <p:par>
                                <p:cTn id="642" presetID="26" presetClass="emph" presetSubtype="0" dur="2000" repeatCount="indefinite" fill="hold" grpId="0" nodeType="withEffect">
                                  <p:stCondLst>
                                    <p:cond delay="4000"/>
                                  </p:stCondLst>
                                  <p:childTnLst>
                                    <p:animEffect transition="out" filter="fade">
                                      <p:cBhvr>
                                        <p:cTn id="643" dur="2000" tmFilter="0, 0; .2, .5; .8, .5; 1, 0"/>
                                        <p:tgtEl>
                                          <p:spTgt spid="293"/>
                                        </p:tgtEl>
                                      </p:cBhvr>
                                    </p:animEffect>
                                    <p:animScale>
                                      <p:cBhvr>
                                        <p:cTn id="644" dur="1000" autoRev="1" fill="hold"/>
                                        <p:tgtEl>
                                          <p:spTgt spid="293"/>
                                        </p:tgtEl>
                                      </p:cBhvr>
                                      <p:by x="105000" y="105000"/>
                                    </p:animScale>
                                  </p:childTnLst>
                                </p:cTn>
                              </p:par>
                              <p:par>
                                <p:cTn id="645" presetID="26" presetClass="emph" presetSubtype="0" dur="2000" repeatCount="indefinite" fill="hold" grpId="0" nodeType="withEffect">
                                  <p:stCondLst>
                                    <p:cond delay="4000"/>
                                  </p:stCondLst>
                                  <p:childTnLst>
                                    <p:animEffect transition="out" filter="fade">
                                      <p:cBhvr>
                                        <p:cTn id="646" dur="2000" tmFilter="0, 0; .2, .5; .8, .5; 1, 0"/>
                                        <p:tgtEl>
                                          <p:spTgt spid="294"/>
                                        </p:tgtEl>
                                      </p:cBhvr>
                                    </p:animEffect>
                                    <p:animScale>
                                      <p:cBhvr>
                                        <p:cTn id="647" dur="1000" autoRev="1" fill="hold"/>
                                        <p:tgtEl>
                                          <p:spTgt spid="294"/>
                                        </p:tgtEl>
                                      </p:cBhvr>
                                      <p:by x="105000" y="105000"/>
                                    </p:animScale>
                                  </p:childTnLst>
                                </p:cTn>
                              </p:par>
                              <p:par>
                                <p:cTn id="648" presetID="26" presetClass="emph" presetSubtype="0" dur="2000" repeatCount="indefinite" fill="hold" grpId="0" nodeType="withEffect">
                                  <p:stCondLst>
                                    <p:cond delay="4000"/>
                                  </p:stCondLst>
                                  <p:childTnLst>
                                    <p:animEffect transition="out" filter="fade">
                                      <p:cBhvr>
                                        <p:cTn id="649" dur="2000" tmFilter="0, 0; .2, .5; .8, .5; 1, 0"/>
                                        <p:tgtEl>
                                          <p:spTgt spid="295"/>
                                        </p:tgtEl>
                                      </p:cBhvr>
                                    </p:animEffect>
                                    <p:animScale>
                                      <p:cBhvr>
                                        <p:cTn id="650" dur="1000" autoRev="1" fill="hold"/>
                                        <p:tgtEl>
                                          <p:spTgt spid="295"/>
                                        </p:tgtEl>
                                      </p:cBhvr>
                                      <p:by x="105000" y="105000"/>
                                    </p:animScale>
                                  </p:childTnLst>
                                </p:cTn>
                              </p:par>
                              <p:par>
                                <p:cTn id="651" presetID="26" presetClass="emph" presetSubtype="0" dur="2000" repeatCount="indefinite" fill="hold" grpId="0" nodeType="withEffect">
                                  <p:stCondLst>
                                    <p:cond delay="4000"/>
                                  </p:stCondLst>
                                  <p:childTnLst>
                                    <p:animEffect transition="out" filter="fade">
                                      <p:cBhvr>
                                        <p:cTn id="652" dur="2000" tmFilter="0, 0; .2, .5; .8, .5; 1, 0"/>
                                        <p:tgtEl>
                                          <p:spTgt spid="296"/>
                                        </p:tgtEl>
                                      </p:cBhvr>
                                    </p:animEffect>
                                    <p:animScale>
                                      <p:cBhvr>
                                        <p:cTn id="653" dur="1000" autoRev="1" fill="hold"/>
                                        <p:tgtEl>
                                          <p:spTgt spid="296"/>
                                        </p:tgtEl>
                                      </p:cBhvr>
                                      <p:by x="105000" y="105000"/>
                                    </p:animScale>
                                  </p:childTnLst>
                                </p:cTn>
                              </p:par>
                              <p:par>
                                <p:cTn id="654" presetID="26" presetClass="emph" presetSubtype="0" dur="2000" repeatCount="indefinite" fill="hold" grpId="0" nodeType="withEffect">
                                  <p:stCondLst>
                                    <p:cond delay="4250"/>
                                  </p:stCondLst>
                                  <p:childTnLst>
                                    <p:animEffect transition="out" filter="fade">
                                      <p:cBhvr>
                                        <p:cTn id="655" dur="2000" tmFilter="0, 0; .2, .5; .8, .5; 1, 0"/>
                                        <p:tgtEl>
                                          <p:spTgt spid="279"/>
                                        </p:tgtEl>
                                      </p:cBhvr>
                                    </p:animEffect>
                                    <p:animScale>
                                      <p:cBhvr>
                                        <p:cTn id="656" dur="1000" autoRev="1" fill="hold"/>
                                        <p:tgtEl>
                                          <p:spTgt spid="279"/>
                                        </p:tgtEl>
                                      </p:cBhvr>
                                      <p:by x="105000" y="105000"/>
                                    </p:animScale>
                                  </p:childTnLst>
                                </p:cTn>
                              </p:par>
                              <p:par>
                                <p:cTn id="657" presetID="26" presetClass="emph" presetSubtype="0" dur="2000" repeatCount="indefinite" fill="hold" grpId="0" nodeType="withEffect">
                                  <p:stCondLst>
                                    <p:cond delay="4250"/>
                                  </p:stCondLst>
                                  <p:childTnLst>
                                    <p:animEffect transition="out" filter="fade">
                                      <p:cBhvr>
                                        <p:cTn id="658" dur="2000" tmFilter="0, 0; .2, .5; .8, .5; 1, 0"/>
                                        <p:tgtEl>
                                          <p:spTgt spid="280"/>
                                        </p:tgtEl>
                                      </p:cBhvr>
                                    </p:animEffect>
                                    <p:animScale>
                                      <p:cBhvr>
                                        <p:cTn id="659" dur="1000" autoRev="1" fill="hold"/>
                                        <p:tgtEl>
                                          <p:spTgt spid="280"/>
                                        </p:tgtEl>
                                      </p:cBhvr>
                                      <p:by x="105000" y="105000"/>
                                    </p:animScale>
                                  </p:childTnLst>
                                </p:cTn>
                              </p:par>
                              <p:par>
                                <p:cTn id="660" presetID="26" presetClass="emph" presetSubtype="0" dur="2000" repeatCount="indefinite" fill="hold" grpId="0" nodeType="withEffect">
                                  <p:stCondLst>
                                    <p:cond delay="4250"/>
                                  </p:stCondLst>
                                  <p:childTnLst>
                                    <p:animEffect transition="out" filter="fade">
                                      <p:cBhvr>
                                        <p:cTn id="661" dur="2000" tmFilter="0, 0; .2, .5; .8, .5; 1, 0"/>
                                        <p:tgtEl>
                                          <p:spTgt spid="281"/>
                                        </p:tgtEl>
                                      </p:cBhvr>
                                    </p:animEffect>
                                    <p:animScale>
                                      <p:cBhvr>
                                        <p:cTn id="662" dur="1000" autoRev="1" fill="hold"/>
                                        <p:tgtEl>
                                          <p:spTgt spid="281"/>
                                        </p:tgtEl>
                                      </p:cBhvr>
                                      <p:by x="105000" y="105000"/>
                                    </p:animScale>
                                  </p:childTnLst>
                                </p:cTn>
                              </p:par>
                              <p:par>
                                <p:cTn id="663" presetID="26" presetClass="emph" presetSubtype="0" dur="2000" repeatCount="indefinite" fill="hold" grpId="0" nodeType="withEffect">
                                  <p:stCondLst>
                                    <p:cond delay="4250"/>
                                  </p:stCondLst>
                                  <p:childTnLst>
                                    <p:animEffect transition="out" filter="fade">
                                      <p:cBhvr>
                                        <p:cTn id="664" dur="2000" tmFilter="0, 0; .2, .5; .8, .5; 1, 0"/>
                                        <p:tgtEl>
                                          <p:spTgt spid="282"/>
                                        </p:tgtEl>
                                      </p:cBhvr>
                                    </p:animEffect>
                                    <p:animScale>
                                      <p:cBhvr>
                                        <p:cTn id="665" dur="1000" autoRev="1" fill="hold"/>
                                        <p:tgtEl>
                                          <p:spTgt spid="282"/>
                                        </p:tgtEl>
                                      </p:cBhvr>
                                      <p:by x="105000" y="105000"/>
                                    </p:animScale>
                                  </p:childTnLst>
                                </p:cTn>
                              </p:par>
                              <p:par>
                                <p:cTn id="666" presetID="26" presetClass="emph" presetSubtype="0" dur="2000" repeatCount="indefinite" fill="hold" grpId="0" nodeType="withEffect">
                                  <p:stCondLst>
                                    <p:cond delay="4250"/>
                                  </p:stCondLst>
                                  <p:childTnLst>
                                    <p:animEffect transition="out" filter="fade">
                                      <p:cBhvr>
                                        <p:cTn id="667" dur="2000" tmFilter="0, 0; .2, .5; .8, .5; 1, 0"/>
                                        <p:tgtEl>
                                          <p:spTgt spid="283"/>
                                        </p:tgtEl>
                                      </p:cBhvr>
                                    </p:animEffect>
                                    <p:animScale>
                                      <p:cBhvr>
                                        <p:cTn id="668" dur="1000" autoRev="1" fill="hold"/>
                                        <p:tgtEl>
                                          <p:spTgt spid="283"/>
                                        </p:tgtEl>
                                      </p:cBhvr>
                                      <p:by x="105000" y="105000"/>
                                    </p:animScale>
                                  </p:childTnLst>
                                </p:cTn>
                              </p:par>
                              <p:par>
                                <p:cTn id="669" presetID="26" presetClass="emph" presetSubtype="0" dur="2000" repeatCount="indefinite" fill="hold" grpId="0" nodeType="withEffect">
                                  <p:stCondLst>
                                    <p:cond delay="4250"/>
                                  </p:stCondLst>
                                  <p:childTnLst>
                                    <p:animEffect transition="out" filter="fade">
                                      <p:cBhvr>
                                        <p:cTn id="670" dur="2000" tmFilter="0, 0; .2, .5; .8, .5; 1, 0"/>
                                        <p:tgtEl>
                                          <p:spTgt spid="284"/>
                                        </p:tgtEl>
                                      </p:cBhvr>
                                    </p:animEffect>
                                    <p:animScale>
                                      <p:cBhvr>
                                        <p:cTn id="671" dur="1000" autoRev="1" fill="hold"/>
                                        <p:tgtEl>
                                          <p:spTgt spid="284"/>
                                        </p:tgtEl>
                                      </p:cBhvr>
                                      <p:by x="105000" y="105000"/>
                                    </p:animScale>
                                  </p:childTnLst>
                                </p:cTn>
                              </p:par>
                              <p:par>
                                <p:cTn id="672" presetID="26" presetClass="emph" presetSubtype="0" dur="2000" repeatCount="indefinite" fill="hold" grpId="0" nodeType="withEffect">
                                  <p:stCondLst>
                                    <p:cond delay="4250"/>
                                  </p:stCondLst>
                                  <p:childTnLst>
                                    <p:animEffect transition="out" filter="fade">
                                      <p:cBhvr>
                                        <p:cTn id="673" dur="2000" tmFilter="0, 0; .2, .5; .8, .5; 1, 0"/>
                                        <p:tgtEl>
                                          <p:spTgt spid="285"/>
                                        </p:tgtEl>
                                      </p:cBhvr>
                                    </p:animEffect>
                                    <p:animScale>
                                      <p:cBhvr>
                                        <p:cTn id="674" dur="1000" autoRev="1" fill="hold"/>
                                        <p:tgtEl>
                                          <p:spTgt spid="285"/>
                                        </p:tgtEl>
                                      </p:cBhvr>
                                      <p:by x="105000" y="105000"/>
                                    </p:animScale>
                                  </p:childTnLst>
                                </p:cTn>
                              </p:par>
                              <p:par>
                                <p:cTn id="675" presetID="26" presetClass="emph" presetSubtype="0" dur="2000" repeatCount="indefinite" fill="hold" grpId="0" nodeType="withEffect">
                                  <p:stCondLst>
                                    <p:cond delay="4250"/>
                                  </p:stCondLst>
                                  <p:childTnLst>
                                    <p:animEffect transition="out" filter="fade">
                                      <p:cBhvr>
                                        <p:cTn id="676" dur="2000" tmFilter="0, 0; .2, .5; .8, .5; 1, 0"/>
                                        <p:tgtEl>
                                          <p:spTgt spid="286"/>
                                        </p:tgtEl>
                                      </p:cBhvr>
                                    </p:animEffect>
                                    <p:animScale>
                                      <p:cBhvr>
                                        <p:cTn id="677" dur="1000" autoRev="1" fill="hold"/>
                                        <p:tgtEl>
                                          <p:spTgt spid="286"/>
                                        </p:tgtEl>
                                      </p:cBhvr>
                                      <p:by x="105000" y="105000"/>
                                    </p:animScale>
                                  </p:childTnLst>
                                </p:cTn>
                              </p:par>
                              <p:par>
                                <p:cTn id="678" presetID="26" presetClass="emph" presetSubtype="0" dur="2000" repeatCount="indefinite" fill="hold" grpId="0" nodeType="withEffect">
                                  <p:stCondLst>
                                    <p:cond delay="4500"/>
                                  </p:stCondLst>
                                  <p:childTnLst>
                                    <p:animEffect transition="out" filter="fade">
                                      <p:cBhvr>
                                        <p:cTn id="679" dur="2000" tmFilter="0, 0; .2, .5; .8, .5; 1, 0"/>
                                        <p:tgtEl>
                                          <p:spTgt spid="273"/>
                                        </p:tgtEl>
                                      </p:cBhvr>
                                    </p:animEffect>
                                    <p:animScale>
                                      <p:cBhvr>
                                        <p:cTn id="680" dur="1000" autoRev="1" fill="hold"/>
                                        <p:tgtEl>
                                          <p:spTgt spid="273"/>
                                        </p:tgtEl>
                                      </p:cBhvr>
                                      <p:by x="105000" y="105000"/>
                                    </p:animScale>
                                  </p:childTnLst>
                                </p:cTn>
                              </p:par>
                              <p:par>
                                <p:cTn id="681" presetID="26" presetClass="emph" presetSubtype="0" dur="2000" repeatCount="indefinite" fill="hold" grpId="0" nodeType="withEffect">
                                  <p:stCondLst>
                                    <p:cond delay="4500"/>
                                  </p:stCondLst>
                                  <p:childTnLst>
                                    <p:animEffect transition="out" filter="fade">
                                      <p:cBhvr>
                                        <p:cTn id="682" dur="2000" tmFilter="0, 0; .2, .5; .8, .5; 1, 0"/>
                                        <p:tgtEl>
                                          <p:spTgt spid="274"/>
                                        </p:tgtEl>
                                      </p:cBhvr>
                                    </p:animEffect>
                                    <p:animScale>
                                      <p:cBhvr>
                                        <p:cTn id="683" dur="1000" autoRev="1" fill="hold"/>
                                        <p:tgtEl>
                                          <p:spTgt spid="274"/>
                                        </p:tgtEl>
                                      </p:cBhvr>
                                      <p:by x="105000" y="105000"/>
                                    </p:animScale>
                                  </p:childTnLst>
                                </p:cTn>
                              </p:par>
                              <p:par>
                                <p:cTn id="684" presetID="26" presetClass="emph" presetSubtype="0" dur="2000" repeatCount="indefinite" fill="hold" grpId="0" nodeType="withEffect">
                                  <p:stCondLst>
                                    <p:cond delay="4500"/>
                                  </p:stCondLst>
                                  <p:childTnLst>
                                    <p:animEffect transition="out" filter="fade">
                                      <p:cBhvr>
                                        <p:cTn id="685" dur="2000" tmFilter="0, 0; .2, .5; .8, .5; 1, 0"/>
                                        <p:tgtEl>
                                          <p:spTgt spid="275"/>
                                        </p:tgtEl>
                                      </p:cBhvr>
                                    </p:animEffect>
                                    <p:animScale>
                                      <p:cBhvr>
                                        <p:cTn id="686" dur="1000" autoRev="1" fill="hold"/>
                                        <p:tgtEl>
                                          <p:spTgt spid="275"/>
                                        </p:tgtEl>
                                      </p:cBhvr>
                                      <p:by x="105000" y="105000"/>
                                    </p:animScale>
                                  </p:childTnLst>
                                </p:cTn>
                              </p:par>
                              <p:par>
                                <p:cTn id="687" presetID="26" presetClass="emph" presetSubtype="0" dur="2000" repeatCount="indefinite" fill="hold" grpId="0" nodeType="withEffect">
                                  <p:stCondLst>
                                    <p:cond delay="4500"/>
                                  </p:stCondLst>
                                  <p:childTnLst>
                                    <p:animEffect transition="out" filter="fade">
                                      <p:cBhvr>
                                        <p:cTn id="688" dur="2000" tmFilter="0, 0; .2, .5; .8, .5; 1, 0"/>
                                        <p:tgtEl>
                                          <p:spTgt spid="276"/>
                                        </p:tgtEl>
                                      </p:cBhvr>
                                    </p:animEffect>
                                    <p:animScale>
                                      <p:cBhvr>
                                        <p:cTn id="689" dur="1000" autoRev="1" fill="hold"/>
                                        <p:tgtEl>
                                          <p:spTgt spid="276"/>
                                        </p:tgtEl>
                                      </p:cBhvr>
                                      <p:by x="105000" y="105000"/>
                                    </p:animScale>
                                  </p:childTnLst>
                                </p:cTn>
                              </p:par>
                              <p:par>
                                <p:cTn id="690" presetID="26" presetClass="emph" presetSubtype="0" dur="2000" repeatCount="indefinite" fill="hold" grpId="0" nodeType="withEffect">
                                  <p:stCondLst>
                                    <p:cond delay="4500"/>
                                  </p:stCondLst>
                                  <p:childTnLst>
                                    <p:animEffect transition="out" filter="fade">
                                      <p:cBhvr>
                                        <p:cTn id="691" dur="2000" tmFilter="0, 0; .2, .5; .8, .5; 1, 0"/>
                                        <p:tgtEl>
                                          <p:spTgt spid="277"/>
                                        </p:tgtEl>
                                      </p:cBhvr>
                                    </p:animEffect>
                                    <p:animScale>
                                      <p:cBhvr>
                                        <p:cTn id="692" dur="1000" autoRev="1" fill="hold"/>
                                        <p:tgtEl>
                                          <p:spTgt spid="277"/>
                                        </p:tgtEl>
                                      </p:cBhvr>
                                      <p:by x="105000" y="105000"/>
                                    </p:animScale>
                                  </p:childTnLst>
                                </p:cTn>
                              </p:par>
                              <p:par>
                                <p:cTn id="693" presetID="26" presetClass="emph" presetSubtype="0" dur="2000" repeatCount="indefinite" fill="hold" grpId="0" nodeType="withEffect">
                                  <p:stCondLst>
                                    <p:cond delay="4500"/>
                                  </p:stCondLst>
                                  <p:childTnLst>
                                    <p:animEffect transition="out" filter="fade">
                                      <p:cBhvr>
                                        <p:cTn id="694" dur="2000" tmFilter="0, 0; .2, .5; .8, .5; 1, 0"/>
                                        <p:tgtEl>
                                          <p:spTgt spid="278"/>
                                        </p:tgtEl>
                                      </p:cBhvr>
                                    </p:animEffect>
                                    <p:animScale>
                                      <p:cBhvr>
                                        <p:cTn id="695" dur="1000" autoRev="1" fill="hold"/>
                                        <p:tgtEl>
                                          <p:spTgt spid="278"/>
                                        </p:tgtEl>
                                      </p:cBhvr>
                                      <p:by x="105000" y="105000"/>
                                    </p:animScale>
                                  </p:childTnLst>
                                </p:cTn>
                              </p:par>
                              <p:par>
                                <p:cTn id="696" presetID="26" presetClass="emph" presetSubtype="0" dur="2000" repeatCount="indefinite" fill="hold" grpId="0" nodeType="withEffect">
                                  <p:stCondLst>
                                    <p:cond delay="4750"/>
                                  </p:stCondLst>
                                  <p:childTnLst>
                                    <p:animEffect transition="out" filter="fade">
                                      <p:cBhvr>
                                        <p:cTn id="697" dur="2000" tmFilter="0, 0; .2, .5; .8, .5; 1, 0"/>
                                        <p:tgtEl>
                                          <p:spTgt spid="269"/>
                                        </p:tgtEl>
                                      </p:cBhvr>
                                    </p:animEffect>
                                    <p:animScale>
                                      <p:cBhvr>
                                        <p:cTn id="698" dur="1000" autoRev="1" fill="hold"/>
                                        <p:tgtEl>
                                          <p:spTgt spid="269"/>
                                        </p:tgtEl>
                                      </p:cBhvr>
                                      <p:by x="105000" y="105000"/>
                                    </p:animScale>
                                  </p:childTnLst>
                                </p:cTn>
                              </p:par>
                              <p:par>
                                <p:cTn id="699" presetID="26" presetClass="emph" presetSubtype="0" dur="2000" repeatCount="indefinite" fill="hold" grpId="0" nodeType="withEffect">
                                  <p:stCondLst>
                                    <p:cond delay="4750"/>
                                  </p:stCondLst>
                                  <p:childTnLst>
                                    <p:animEffect transition="out" filter="fade">
                                      <p:cBhvr>
                                        <p:cTn id="700" dur="2000" tmFilter="0, 0; .2, .5; .8, .5; 1, 0"/>
                                        <p:tgtEl>
                                          <p:spTgt spid="270"/>
                                        </p:tgtEl>
                                      </p:cBhvr>
                                    </p:animEffect>
                                    <p:animScale>
                                      <p:cBhvr>
                                        <p:cTn id="701" dur="1000" autoRev="1" fill="hold"/>
                                        <p:tgtEl>
                                          <p:spTgt spid="270"/>
                                        </p:tgtEl>
                                      </p:cBhvr>
                                      <p:by x="105000" y="105000"/>
                                    </p:animScale>
                                  </p:childTnLst>
                                </p:cTn>
                              </p:par>
                              <p:par>
                                <p:cTn id="702" presetID="26" presetClass="emph" presetSubtype="0" dur="2000" repeatCount="indefinite" fill="hold" grpId="0" nodeType="withEffect">
                                  <p:stCondLst>
                                    <p:cond delay="4750"/>
                                  </p:stCondLst>
                                  <p:childTnLst>
                                    <p:animEffect transition="out" filter="fade">
                                      <p:cBhvr>
                                        <p:cTn id="703" dur="2000" tmFilter="0, 0; .2, .5; .8, .5; 1, 0"/>
                                        <p:tgtEl>
                                          <p:spTgt spid="271"/>
                                        </p:tgtEl>
                                      </p:cBhvr>
                                    </p:animEffect>
                                    <p:animScale>
                                      <p:cBhvr>
                                        <p:cTn id="704" dur="1000" autoRev="1" fill="hold"/>
                                        <p:tgtEl>
                                          <p:spTgt spid="271"/>
                                        </p:tgtEl>
                                      </p:cBhvr>
                                      <p:by x="105000" y="105000"/>
                                    </p:animScale>
                                  </p:childTnLst>
                                </p:cTn>
                              </p:par>
                              <p:par>
                                <p:cTn id="705" presetID="26" presetClass="emph" presetSubtype="0" dur="2000" repeatCount="indefinite" fill="hold" grpId="0" nodeType="withEffect">
                                  <p:stCondLst>
                                    <p:cond delay="4750"/>
                                  </p:stCondLst>
                                  <p:childTnLst>
                                    <p:animEffect transition="out" filter="fade">
                                      <p:cBhvr>
                                        <p:cTn id="706" dur="2000" tmFilter="0, 0; .2, .5; .8, .5; 1, 0"/>
                                        <p:tgtEl>
                                          <p:spTgt spid="272"/>
                                        </p:tgtEl>
                                      </p:cBhvr>
                                    </p:animEffect>
                                    <p:animScale>
                                      <p:cBhvr>
                                        <p:cTn id="707" dur="1000" autoRev="1" fill="hold"/>
                                        <p:tgtEl>
                                          <p:spTgt spid="272"/>
                                        </p:tgtEl>
                                      </p:cBhvr>
                                      <p:by x="105000" y="105000"/>
                                    </p:animScale>
                                  </p:childTnLst>
                                </p:cTn>
                              </p:par>
                              <p:par>
                                <p:cTn id="708" presetID="26" presetClass="emph" presetSubtype="0" dur="2000" repeatCount="indefinite" fill="hold" grpId="0" nodeType="withEffect">
                                  <p:stCondLst>
                                    <p:cond delay="5000"/>
                                  </p:stCondLst>
                                  <p:childTnLst>
                                    <p:animEffect transition="out" filter="fade">
                                      <p:cBhvr>
                                        <p:cTn id="709" dur="2000" tmFilter="0, 0; .2, .5; .8, .5; 1, 0"/>
                                        <p:tgtEl>
                                          <p:spTgt spid="267"/>
                                        </p:tgtEl>
                                      </p:cBhvr>
                                    </p:animEffect>
                                    <p:animScale>
                                      <p:cBhvr>
                                        <p:cTn id="710" dur="1000" autoRev="1" fill="hold"/>
                                        <p:tgtEl>
                                          <p:spTgt spid="267"/>
                                        </p:tgtEl>
                                      </p:cBhvr>
                                      <p:by x="105000" y="105000"/>
                                    </p:animScale>
                                  </p:childTnLst>
                                </p:cTn>
                              </p:par>
                              <p:par>
                                <p:cTn id="711" presetID="26" presetClass="emph" presetSubtype="0" dur="2000" repeatCount="indefinite" fill="hold" grpId="0" nodeType="withEffect">
                                  <p:stCondLst>
                                    <p:cond delay="5000"/>
                                  </p:stCondLst>
                                  <p:childTnLst>
                                    <p:animEffect transition="out" filter="fade">
                                      <p:cBhvr>
                                        <p:cTn id="712" dur="2000" tmFilter="0, 0; .2, .5; .8, .5; 1, 0"/>
                                        <p:tgtEl>
                                          <p:spTgt spid="268"/>
                                        </p:tgtEl>
                                      </p:cBhvr>
                                    </p:animEffect>
                                    <p:animScale>
                                      <p:cBhvr>
                                        <p:cTn id="713" dur="1000" autoRev="1" fill="hold"/>
                                        <p:tgtEl>
                                          <p:spTgt spid="268"/>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7" grpId="0" animBg="1"/>
      <p:bldP spid="268" grpId="0" animBg="1"/>
      <p:bldP spid="269" grpId="0" animBg="1"/>
      <p:bldP spid="270" grpId="0" animBg="1"/>
      <p:bldP spid="271" grpId="0" animBg="1"/>
      <p:bldP spid="272" grpId="0" animBg="1"/>
      <p:bldP spid="273" grpId="0" animBg="1"/>
      <p:bldP spid="274" grpId="0" animBg="1"/>
      <p:bldP spid="275" grpId="0" animBg="1"/>
      <p:bldP spid="276" grpId="0" animBg="1"/>
      <p:bldP spid="277" grpId="0" animBg="1"/>
      <p:bldP spid="278" grpId="0" animBg="1"/>
      <p:bldP spid="279" grpId="0" animBg="1"/>
      <p:bldP spid="280" grpId="0" animBg="1"/>
      <p:bldP spid="281" grpId="0" animBg="1"/>
      <p:bldP spid="282" grpId="0" animBg="1"/>
      <p:bldP spid="283" grpId="0" animBg="1"/>
      <p:bldP spid="284" grpId="0" animBg="1"/>
      <p:bldP spid="285" grpId="0" animBg="1"/>
      <p:bldP spid="286" grpId="0" animBg="1"/>
      <p:bldP spid="287" grpId="0" animBg="1"/>
      <p:bldP spid="288" grpId="0" animBg="1"/>
      <p:bldP spid="289" grpId="0" animBg="1"/>
      <p:bldP spid="290" grpId="0" animBg="1"/>
      <p:bldP spid="291" grpId="0" animBg="1"/>
      <p:bldP spid="292" grpId="0" animBg="1"/>
      <p:bldP spid="293" grpId="0" animBg="1"/>
      <p:bldP spid="294" grpId="0" animBg="1"/>
      <p:bldP spid="295" grpId="0" animBg="1"/>
      <p:bldP spid="296" grpId="0" animBg="1"/>
      <p:bldP spid="297" grpId="0" animBg="1"/>
      <p:bldP spid="298" grpId="0" animBg="1"/>
      <p:bldP spid="299" grpId="0" animBg="1"/>
      <p:bldP spid="300" grpId="0" animBg="1"/>
      <p:bldP spid="301" grpId="0" animBg="1"/>
      <p:bldP spid="302" grpId="0" animBg="1"/>
      <p:bldP spid="303" grpId="0" animBg="1"/>
      <p:bldP spid="304" grpId="0" animBg="1"/>
      <p:bldP spid="305" grpId="0" animBg="1"/>
      <p:bldP spid="306" grpId="0" animBg="1"/>
      <p:bldP spid="307" grpId="0" animBg="1"/>
      <p:bldP spid="308" grpId="0" animBg="1"/>
      <p:bldP spid="309" grpId="0" animBg="1"/>
      <p:bldP spid="310" grpId="0" animBg="1"/>
      <p:bldP spid="311" grpId="0" animBg="1"/>
      <p:bldP spid="312" grpId="0" animBg="1"/>
      <p:bldP spid="313" grpId="0" animBg="1"/>
      <p:bldP spid="314" grpId="0" animBg="1"/>
      <p:bldP spid="315" grpId="0" animBg="1"/>
      <p:bldP spid="316" grpId="0" animBg="1"/>
      <p:bldP spid="317" grpId="0" animBg="1"/>
      <p:bldP spid="318" grpId="0" animBg="1"/>
      <p:bldP spid="319" grpId="0" animBg="1"/>
      <p:bldP spid="320" grpId="0" animBg="1"/>
      <p:bldP spid="321" grpId="0" animBg="1"/>
      <p:bldP spid="322" grpId="0" animBg="1"/>
      <p:bldP spid="323" grpId="0" animBg="1"/>
      <p:bldP spid="324" grpId="0" animBg="1"/>
      <p:bldP spid="325" grpId="0" animBg="1"/>
      <p:bldP spid="326" grpId="0" animBg="1"/>
      <p:bldP spid="327" grpId="0" animBg="1"/>
      <p:bldP spid="328" grpId="0" animBg="1"/>
      <p:bldP spid="329" grpId="0" animBg="1"/>
      <p:bldP spid="330" grpId="0" animBg="1"/>
      <p:bldP spid="331" grpId="0" animBg="1"/>
      <p:bldP spid="332" grpId="0" animBg="1"/>
      <p:bldP spid="333" grpId="0" animBg="1"/>
      <p:bldP spid="334" grpId="0" animBg="1"/>
      <p:bldP spid="335" grpId="0" animBg="1"/>
      <p:bldP spid="336" grpId="0" animBg="1"/>
      <p:bldP spid="337" grpId="0" animBg="1"/>
      <p:bldP spid="338" grpId="0" animBg="1"/>
      <p:bldP spid="339" grpId="0" animBg="1"/>
      <p:bldP spid="340" grpId="0" animBg="1"/>
      <p:bldP spid="341" grpId="0" animBg="1"/>
      <p:bldP spid="342" grpId="0" animBg="1"/>
      <p:bldP spid="343" grpId="0" animBg="1"/>
      <p:bldP spid="344" grpId="0" animBg="1"/>
      <p:bldP spid="345" grpId="0" animBg="1"/>
      <p:bldP spid="346" grpId="0" animBg="1"/>
      <p:bldP spid="347" grpId="0" animBg="1"/>
      <p:bldP spid="348" grpId="0" animBg="1"/>
      <p:bldP spid="349" grpId="0" animBg="1"/>
      <p:bldP spid="350" grpId="0" animBg="1"/>
      <p:bldP spid="351" grpId="0" animBg="1"/>
      <p:bldP spid="352" grpId="0" animBg="1"/>
      <p:bldP spid="353" grpId="0" animBg="1"/>
      <p:bldP spid="354" grpId="0" animBg="1"/>
      <p:bldP spid="355" grpId="0" animBg="1"/>
      <p:bldP spid="356" grpId="0" animBg="1"/>
      <p:bldP spid="357" grpId="0" animBg="1"/>
      <p:bldP spid="358" grpId="0" animBg="1"/>
      <p:bldP spid="359" grpId="0" animBg="1"/>
      <p:bldP spid="360" grpId="0" animBg="1"/>
      <p:bldP spid="361" grpId="0" animBg="1"/>
      <p:bldP spid="362" grpId="0" animBg="1"/>
      <p:bldP spid="363" grpId="0" animBg="1"/>
      <p:bldP spid="364" grpId="0" animBg="1"/>
      <p:bldP spid="365" grpId="0" animBg="1"/>
      <p:bldP spid="366" grpId="0" animBg="1"/>
      <p:bldP spid="367" grpId="0" animBg="1"/>
      <p:bldP spid="368" grpId="0" animBg="1"/>
      <p:bldP spid="369" grpId="0" animBg="1"/>
      <p:bldP spid="370" grpId="0" animBg="1"/>
      <p:bldP spid="371" grpId="0" animBg="1"/>
      <p:bldP spid="372" grpId="0" animBg="1"/>
      <p:bldP spid="373" grpId="0" animBg="1"/>
      <p:bldP spid="374" grpId="0" animBg="1"/>
      <p:bldP spid="375" grpId="0" animBg="1"/>
      <p:bldP spid="376" grpId="0" animBg="1"/>
      <p:bldP spid="377" grpId="0" animBg="1"/>
      <p:bldP spid="378" grpId="0" animBg="1"/>
      <p:bldP spid="379" grpId="0" animBg="1"/>
      <p:bldP spid="380" grpId="0" animBg="1"/>
      <p:bldP spid="381" grpId="0" animBg="1"/>
      <p:bldP spid="382" grpId="0" animBg="1"/>
      <p:bldP spid="383" grpId="0" animBg="1"/>
      <p:bldP spid="384" grpId="0" animBg="1"/>
      <p:bldP spid="385" grpId="0" animBg="1"/>
      <p:bldP spid="386" grpId="0" animBg="1"/>
      <p:bldP spid="387" grpId="0" animBg="1"/>
      <p:bldP spid="388" grpId="0" animBg="1"/>
      <p:bldP spid="389" grpId="0" animBg="1"/>
      <p:bldP spid="390" grpId="0" animBg="1"/>
      <p:bldP spid="391" grpId="0" animBg="1"/>
      <p:bldP spid="392" grpId="0" animBg="1"/>
      <p:bldP spid="393" grpId="0" animBg="1"/>
      <p:bldP spid="394" grpId="0" animBg="1"/>
      <p:bldP spid="395" grpId="0" animBg="1"/>
      <p:bldP spid="396" grpId="0" animBg="1"/>
      <p:bldP spid="397" grpId="0" animBg="1"/>
      <p:bldP spid="398" grpId="0" animBg="1"/>
      <p:bldP spid="399" grpId="0" animBg="1"/>
      <p:bldP spid="400" grpId="0" animBg="1"/>
      <p:bldP spid="401" grpId="0" animBg="1"/>
      <p:bldP spid="402" grpId="0" animBg="1"/>
      <p:bldP spid="403" grpId="0" animBg="1"/>
      <p:bldP spid="404" grpId="0" animBg="1"/>
      <p:bldP spid="405" grpId="0" animBg="1"/>
      <p:bldP spid="406" grpId="0" animBg="1"/>
      <p:bldP spid="407" grpId="0" animBg="1"/>
      <p:bldP spid="408" grpId="0" animBg="1"/>
      <p:bldP spid="409" grpId="0" animBg="1"/>
      <p:bldP spid="410" grpId="0" animBg="1"/>
      <p:bldP spid="411" grpId="0" animBg="1"/>
      <p:bldP spid="412" grpId="0" animBg="1"/>
      <p:bldP spid="413" grpId="0" animBg="1"/>
      <p:bldP spid="414" grpId="0" animBg="1"/>
      <p:bldP spid="415" grpId="0" animBg="1"/>
      <p:bldP spid="416" grpId="0" animBg="1"/>
      <p:bldP spid="417" grpId="0" animBg="1"/>
      <p:bldP spid="418" grpId="0" animBg="1"/>
      <p:bldP spid="419" grpId="0" animBg="1"/>
      <p:bldP spid="420" grpId="0" animBg="1"/>
      <p:bldP spid="421" grpId="0" animBg="1"/>
      <p:bldP spid="422" grpId="0" animBg="1"/>
      <p:bldP spid="423" grpId="0" animBg="1"/>
      <p:bldP spid="424" grpId="0" animBg="1"/>
      <p:bldP spid="425" grpId="0" animBg="1"/>
      <p:bldP spid="426" grpId="0" animBg="1"/>
      <p:bldP spid="427" grpId="0" animBg="1"/>
      <p:bldP spid="428" grpId="0" animBg="1"/>
      <p:bldP spid="429" grpId="0" animBg="1"/>
      <p:bldP spid="430" grpId="0" animBg="1"/>
      <p:bldP spid="431" grpId="0" animBg="1"/>
      <p:bldP spid="432" grpId="0" animBg="1"/>
      <p:bldP spid="433" grpId="0" animBg="1"/>
      <p:bldP spid="434" grpId="0" animBg="1"/>
      <p:bldP spid="435" grpId="0" animBg="1"/>
      <p:bldP spid="436" grpId="0" animBg="1"/>
      <p:bldP spid="437" grpId="0" animBg="1"/>
      <p:bldP spid="438" grpId="0" animBg="1"/>
      <p:bldP spid="439" grpId="0" animBg="1"/>
      <p:bldP spid="440" grpId="0" animBg="1"/>
      <p:bldP spid="441" grpId="0" animBg="1"/>
      <p:bldP spid="442" grpId="0" animBg="1"/>
      <p:bldP spid="443" grpId="0" animBg="1"/>
      <p:bldP spid="444" grpId="0" animBg="1"/>
      <p:bldP spid="445" grpId="0" animBg="1"/>
      <p:bldP spid="446" grpId="0" animBg="1"/>
      <p:bldP spid="447" grpId="0" animBg="1"/>
      <p:bldP spid="448" grpId="0" animBg="1"/>
      <p:bldP spid="449" grpId="0" animBg="1"/>
      <p:bldP spid="450" grpId="0" animBg="1"/>
      <p:bldP spid="451" grpId="0" animBg="1"/>
      <p:bldP spid="452" grpId="0" animBg="1"/>
      <p:bldP spid="453" grpId="0" animBg="1"/>
      <p:bldP spid="454" grpId="0" animBg="1"/>
      <p:bldP spid="455" grpId="0" animBg="1"/>
      <p:bldP spid="456" grpId="0" animBg="1"/>
      <p:bldP spid="457" grpId="0" animBg="1"/>
      <p:bldP spid="458" grpId="0" animBg="1"/>
      <p:bldP spid="459" grpId="0" animBg="1"/>
      <p:bldP spid="460" grpId="0" animBg="1"/>
      <p:bldP spid="461" grpId="0" animBg="1"/>
      <p:bldP spid="462" grpId="0" animBg="1"/>
      <p:bldP spid="463" grpId="0" animBg="1"/>
      <p:bldP spid="464" grpId="0" animBg="1"/>
      <p:bldP spid="465" grpId="0" animBg="1"/>
      <p:bldP spid="466" grpId="0" animBg="1"/>
      <p:bldP spid="467" grpId="0" animBg="1"/>
      <p:bldP spid="468" grpId="0" animBg="1"/>
      <p:bldP spid="469" grpId="0" animBg="1"/>
      <p:bldP spid="470" grpId="0" animBg="1"/>
      <p:bldP spid="471" grpId="0" animBg="1"/>
      <p:bldP spid="472" grpId="0" animBg="1"/>
      <p:bldP spid="473" grpId="0" animBg="1"/>
      <p:bldP spid="474" grpId="0" animBg="1"/>
      <p:bldP spid="475" grpId="0" animBg="1"/>
      <p:bldP spid="476" grpId="0" animBg="1"/>
      <p:bldP spid="477" grpId="0" animBg="1"/>
      <p:bldP spid="478" grpId="0" animBg="1"/>
      <p:bldP spid="479" grpId="0" animBg="1"/>
      <p:bldP spid="480" grpId="0" animBg="1"/>
      <p:bldP spid="481" grpId="0" animBg="1"/>
      <p:bldP spid="482" grpId="0" animBg="1"/>
      <p:bldP spid="483" grpId="0" animBg="1"/>
      <p:bldP spid="484" grpId="0" animBg="1"/>
      <p:bldP spid="485" grpId="0" animBg="1"/>
      <p:bldP spid="486" grpId="0" animBg="1"/>
      <p:bldP spid="487" grpId="0" animBg="1"/>
      <p:bldP spid="488" grpId="0" animBg="1"/>
      <p:bldP spid="489" grpId="0" animBg="1"/>
      <p:bldP spid="490" grpId="0" animBg="1"/>
      <p:bldP spid="491" grpId="0" animBg="1"/>
      <p:bldP spid="492" grpId="0" animBg="1"/>
      <p:bldP spid="493" grpId="0" animBg="1"/>
      <p:bldP spid="2" grpId="0"/>
      <p:bldP spid="19" grpId="0">
        <p:tmplLst>
          <p:tmpl>
            <p:tnLst>
              <p:par>
                <p:cTn presetID="2" presetClass="entr" presetSubtype="2" decel="100000" fill="hold" nodeType="withEffect">
                  <p:stCondLst>
                    <p:cond delay="250"/>
                  </p:stCondLst>
                  <p:childTnLst>
                    <p:set>
                      <p:cBhvr>
                        <p:cTn dur="1" fill="hold">
                          <p:stCondLst>
                            <p:cond delay="0"/>
                          </p:stCondLst>
                        </p:cTn>
                        <p:tgtEl>
                          <p:spTgt spid="19"/>
                        </p:tgtEl>
                        <p:attrNameLst>
                          <p:attrName>style.visibility</p:attrName>
                        </p:attrNameLst>
                      </p:cBhvr>
                      <p:to>
                        <p:strVal val="visible"/>
                      </p:to>
                    </p:set>
                    <p:anim calcmode="lin" valueType="num">
                      <p:cBhvr additive="base">
                        <p:cTn dur="1000" fill="hold"/>
                        <p:tgtEl>
                          <p:spTgt spid="19"/>
                        </p:tgtEl>
                        <p:attrNameLst>
                          <p:attrName>ppt_x</p:attrName>
                        </p:attrNameLst>
                      </p:cBhvr>
                      <p:tavLst>
                        <p:tav tm="0">
                          <p:val>
                            <p:strVal val="1+#ppt_w/2"/>
                          </p:val>
                        </p:tav>
                        <p:tav tm="100000">
                          <p:val>
                            <p:strVal val="#ppt_x"/>
                          </p:val>
                        </p:tav>
                      </p:tavLst>
                    </p:anim>
                    <p:anim calcmode="lin" valueType="num">
                      <p:cBhvr additive="base">
                        <p:cTn dur="1000" fill="hold"/>
                        <p:tgtEl>
                          <p:spTgt spid="19"/>
                        </p:tgtEl>
                        <p:attrNameLst>
                          <p:attrName>ppt_y</p:attrName>
                        </p:attrNameLst>
                      </p:cBhvr>
                      <p:tavLst>
                        <p:tav tm="0">
                          <p:val>
                            <p:strVal val="#ppt_y"/>
                          </p:val>
                        </p:tav>
                        <p:tav tm="100000">
                          <p:val>
                            <p:strVal val="#ppt_y"/>
                          </p:val>
                        </p:tav>
                      </p:tavLst>
                    </p:anim>
                  </p:childTnLst>
                </p:cTn>
              </p:par>
            </p:tnLst>
          </p:tmpl>
        </p:tmplLst>
      </p:bldP>
      <p:bldP spid="20" grpId="0">
        <p:tmplLst>
          <p:tmpl>
            <p:tnLst>
              <p:par>
                <p:cTn presetID="2" presetClass="entr" presetSubtype="2" decel="100000" fill="hold" nodeType="withEffect">
                  <p:stCondLst>
                    <p:cond delay="250"/>
                  </p:stCondLst>
                  <p:childTnLst>
                    <p:set>
                      <p:cBhvr>
                        <p:cTn dur="1" fill="hold">
                          <p:stCondLst>
                            <p:cond delay="0"/>
                          </p:stCondLst>
                        </p:cTn>
                        <p:tgtEl>
                          <p:spTgt spid="20"/>
                        </p:tgtEl>
                        <p:attrNameLst>
                          <p:attrName>style.visibility</p:attrName>
                        </p:attrNameLst>
                      </p:cBhvr>
                      <p:to>
                        <p:strVal val="visible"/>
                      </p:to>
                    </p:set>
                    <p:anim calcmode="lin" valueType="num">
                      <p:cBhvr additive="base">
                        <p:cTn dur="1000" fill="hold"/>
                        <p:tgtEl>
                          <p:spTgt spid="20"/>
                        </p:tgtEl>
                        <p:attrNameLst>
                          <p:attrName>ppt_x</p:attrName>
                        </p:attrNameLst>
                      </p:cBhvr>
                      <p:tavLst>
                        <p:tav tm="0">
                          <p:val>
                            <p:strVal val="1+#ppt_w/2"/>
                          </p:val>
                        </p:tav>
                        <p:tav tm="100000">
                          <p:val>
                            <p:strVal val="#ppt_x"/>
                          </p:val>
                        </p:tav>
                      </p:tavLst>
                    </p:anim>
                    <p:anim calcmode="lin" valueType="num">
                      <p:cBhvr additive="base">
                        <p:cTn dur="1000" fill="hold"/>
                        <p:tgtEl>
                          <p:spTgt spid="20"/>
                        </p:tgtEl>
                        <p:attrNameLst>
                          <p:attrName>ppt_y</p:attrName>
                        </p:attrNameLst>
                      </p:cBhvr>
                      <p:tavLst>
                        <p:tav tm="0">
                          <p:val>
                            <p:strVal val="#ppt_y"/>
                          </p:val>
                        </p:tav>
                        <p:tav tm="100000">
                          <p:val>
                            <p:strVal val="#ppt_y"/>
                          </p:val>
                        </p:tav>
                      </p:tavLst>
                    </p:anim>
                  </p:childTnLst>
                </p:cTn>
              </p:par>
            </p:tnLst>
          </p:tmpl>
        </p:tmplLst>
      </p:bldP>
      <p:bldP spid="27" grpId="0" build="p">
        <p:tmplLst>
          <p:tmpl lvl="1">
            <p:tnLst>
              <p:par>
                <p:cTn presetID="2" presetClass="entr" presetSubtype="2" decel="100000" fill="hold" nodeType="withEffect">
                  <p:stCondLst>
                    <p:cond delay="250"/>
                  </p:stCondLst>
                  <p:childTnLst>
                    <p:set>
                      <p:cBhvr>
                        <p:cTn dur="1" fill="hold">
                          <p:stCondLst>
                            <p:cond delay="0"/>
                          </p:stCondLst>
                        </p:cTn>
                        <p:tgtEl>
                          <p:spTgt spid="27"/>
                        </p:tgtEl>
                        <p:attrNameLst>
                          <p:attrName>style.visibility</p:attrName>
                        </p:attrNameLst>
                      </p:cBhvr>
                      <p:to>
                        <p:strVal val="visible"/>
                      </p:to>
                    </p:set>
                    <p:anim calcmode="lin" valueType="num">
                      <p:cBhvr additive="base">
                        <p:cTn dur="1000" fill="hold"/>
                        <p:tgtEl>
                          <p:spTgt spid="27"/>
                        </p:tgtEl>
                        <p:attrNameLst>
                          <p:attrName>ppt_x</p:attrName>
                        </p:attrNameLst>
                      </p:cBhvr>
                      <p:tavLst>
                        <p:tav tm="0">
                          <p:val>
                            <p:strVal val="1+#ppt_w/2"/>
                          </p:val>
                        </p:tav>
                        <p:tav tm="100000">
                          <p:val>
                            <p:strVal val="#ppt_x"/>
                          </p:val>
                        </p:tav>
                      </p:tavLst>
                    </p:anim>
                    <p:anim calcmode="lin" valueType="num">
                      <p:cBhvr additive="base">
                        <p:cTn dur="1000" fill="hold"/>
                        <p:tgtEl>
                          <p:spTgt spid="27"/>
                        </p:tgtEl>
                        <p:attrNameLst>
                          <p:attrName>ppt_y</p:attrName>
                        </p:attrNameLst>
                      </p:cBhvr>
                      <p:tavLst>
                        <p:tav tm="0">
                          <p:val>
                            <p:strVal val="#ppt_y"/>
                          </p:val>
                        </p:tav>
                        <p:tav tm="100000">
                          <p:val>
                            <p:strVal val="#ppt_y"/>
                          </p:val>
                        </p:tav>
                      </p:tavLst>
                    </p:anim>
                  </p:childTnLst>
                </p:cTn>
              </p:par>
            </p:tnLst>
          </p:tmpl>
        </p:tmplLst>
      </p:bldP>
      <p:bldP spid="28" grpId="0" build="p">
        <p:tmplLst>
          <p:tmpl lvl="1">
            <p:tnLst>
              <p:par>
                <p:cTn presetID="2" presetClass="entr" presetSubtype="2" decel="100000" fill="hold" nodeType="withEffect">
                  <p:stCondLst>
                    <p:cond delay="250"/>
                  </p:stCondLst>
                  <p:childTnLst>
                    <p:set>
                      <p:cBhvr>
                        <p:cTn dur="1" fill="hold">
                          <p:stCondLst>
                            <p:cond delay="0"/>
                          </p:stCondLst>
                        </p:cTn>
                        <p:tgtEl>
                          <p:spTgt spid="28"/>
                        </p:tgtEl>
                        <p:attrNameLst>
                          <p:attrName>style.visibility</p:attrName>
                        </p:attrNameLst>
                      </p:cBhvr>
                      <p:to>
                        <p:strVal val="visible"/>
                      </p:to>
                    </p:set>
                    <p:anim calcmode="lin" valueType="num">
                      <p:cBhvr additive="base">
                        <p:cTn dur="1000" fill="hold"/>
                        <p:tgtEl>
                          <p:spTgt spid="28"/>
                        </p:tgtEl>
                        <p:attrNameLst>
                          <p:attrName>ppt_x</p:attrName>
                        </p:attrNameLst>
                      </p:cBhvr>
                      <p:tavLst>
                        <p:tav tm="0">
                          <p:val>
                            <p:strVal val="1+#ppt_w/2"/>
                          </p:val>
                        </p:tav>
                        <p:tav tm="100000">
                          <p:val>
                            <p:strVal val="#ppt_x"/>
                          </p:val>
                        </p:tav>
                      </p:tavLst>
                    </p:anim>
                    <p:anim calcmode="lin" valueType="num">
                      <p:cBhvr additive="base">
                        <p:cTn dur="1000" fill="hold"/>
                        <p:tgtEl>
                          <p:spTgt spid="28"/>
                        </p:tgtEl>
                        <p:attrNameLst>
                          <p:attrName>ppt_y</p:attrName>
                        </p:attrNameLst>
                      </p:cBhvr>
                      <p:tavLst>
                        <p:tav tm="0">
                          <p:val>
                            <p:strVal val="#ppt_y"/>
                          </p:val>
                        </p:tav>
                        <p:tav tm="100000">
                          <p:val>
                            <p:strVal val="#ppt_y"/>
                          </p:val>
                        </p:tav>
                      </p:tavLst>
                    </p:anim>
                  </p:childTnLst>
                </p:cTn>
              </p:par>
            </p:tnLst>
          </p:tmpl>
        </p:tmplLst>
      </p:bldP>
    </p:bld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HEADLINE ONLY">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D580604-CA90-4824-BA71-7DD12488F4E8}"/>
              </a:ext>
            </a:extLst>
          </p:cNvPr>
          <p:cNvSpPr>
            <a:spLocks noGrp="1"/>
          </p:cNvSpPr>
          <p:nvPr>
            <p:ph type="title"/>
          </p:nvPr>
        </p:nvSpPr>
        <p:spPr/>
        <p:txBody>
          <a:bodyPr/>
          <a:lstStyle/>
          <a:p>
            <a:r>
              <a:rPr lang="de-DE"/>
              <a:t>Mastertitelformat bearbeiten</a:t>
            </a:r>
          </a:p>
        </p:txBody>
      </p:sp>
      <p:sp>
        <p:nvSpPr>
          <p:cNvPr id="3" name="Foliennummernplatzhalter 2">
            <a:extLst>
              <a:ext uri="{FF2B5EF4-FFF2-40B4-BE49-F238E27FC236}">
                <a16:creationId xmlns:a16="http://schemas.microsoft.com/office/drawing/2014/main" id="{648331E1-D418-47BC-B8D2-89EAF4B26D40}"/>
              </a:ext>
            </a:extLst>
          </p:cNvPr>
          <p:cNvSpPr>
            <a:spLocks noGrp="1"/>
          </p:cNvSpPr>
          <p:nvPr>
            <p:ph type="sldNum" sz="quarter" idx="10"/>
          </p:nvPr>
        </p:nvSpPr>
        <p:spPr/>
        <p:txBody>
          <a:bodyPr/>
          <a:lstStyle/>
          <a:p>
            <a:fld id="{A04BEB4F-8CE1-4F18-986F-6CE0A0BE9470}" type="slidenum">
              <a:rPr lang="de-DE" smtClean="0"/>
              <a:t>‹#›</a:t>
            </a:fld>
            <a:endParaRPr lang="de-DE"/>
          </a:p>
        </p:txBody>
      </p:sp>
    </p:spTree>
    <p:extLst>
      <p:ext uri="{BB962C8B-B14F-4D97-AF65-F5344CB8AC3E}">
        <p14:creationId xmlns:p14="http://schemas.microsoft.com/office/powerpoint/2010/main" val="3579182049"/>
      </p:ext>
    </p:extLst>
  </p:cSld>
  <p:clrMapOvr>
    <a:masterClrMapping/>
  </p:clrMapOvr>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FA4954A8-B84C-457D-BB69-9D6B39AD76F3}"/>
              </a:ext>
            </a:extLst>
          </p:cNvPr>
          <p:cNvSpPr>
            <a:spLocks noGrp="1"/>
          </p:cNvSpPr>
          <p:nvPr>
            <p:ph type="sldNum" sz="quarter" idx="10"/>
          </p:nvPr>
        </p:nvSpPr>
        <p:spPr/>
        <p:txBody>
          <a:bodyPr/>
          <a:lstStyle/>
          <a:p>
            <a:fld id="{A04BEB4F-8CE1-4F18-986F-6CE0A0BE9470}" type="slidenum">
              <a:rPr lang="de-DE" smtClean="0"/>
              <a:t>‹#›</a:t>
            </a:fld>
            <a:endParaRPr lang="de-DE"/>
          </a:p>
        </p:txBody>
      </p:sp>
    </p:spTree>
    <p:extLst>
      <p:ext uri="{BB962C8B-B14F-4D97-AF65-F5344CB8AC3E}">
        <p14:creationId xmlns:p14="http://schemas.microsoft.com/office/powerpoint/2010/main" val="52947739"/>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Custom Layou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9310028"/>
      </p:ext>
    </p:extLst>
  </p:cSld>
  <p:clrMapOvr>
    <a:masterClrMapping/>
  </p:clrMapOvr>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43247560"/>
      </p:ext>
    </p:extLst>
  </p:cSld>
  <p:clrMapOvr>
    <a:masterClrMapping/>
  </p:clrMapOvr>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035749986"/>
      </p:ext>
    </p:extLst>
  </p:cSld>
  <p:clrMapOvr>
    <a:masterClrMapping/>
  </p:clrMapOvr>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63_Custom Layout">
    <p:spTree>
      <p:nvGrpSpPr>
        <p:cNvPr id="1" name=""/>
        <p:cNvGrpSpPr/>
        <p:nvPr/>
      </p:nvGrpSpPr>
      <p:grpSpPr>
        <a:xfrm>
          <a:off x="0" y="0"/>
          <a:ext cx="0" cy="0"/>
          <a:chOff x="0" y="0"/>
          <a:chExt cx="0" cy="0"/>
        </a:xfrm>
      </p:grpSpPr>
      <p:sp>
        <p:nvSpPr>
          <p:cNvPr id="15" name="Picture Placeholder 15"/>
          <p:cNvSpPr>
            <a:spLocks noGrp="1"/>
          </p:cNvSpPr>
          <p:nvPr>
            <p:ph type="pic" sz="quarter" idx="10" hasCustomPrompt="1"/>
          </p:nvPr>
        </p:nvSpPr>
        <p:spPr>
          <a:xfrm>
            <a:off x="5247592" y="1624774"/>
            <a:ext cx="1695229" cy="3673508"/>
          </a:xfrm>
          <a:prstGeom prst="rect">
            <a:avLst/>
          </a:prstGeom>
          <a:pattFill prst="pct60">
            <a:fgClr>
              <a:srgbClr val="FFFFFF"/>
            </a:fgClr>
            <a:bgClr>
              <a:srgbClr val="E6E9EE"/>
            </a:bgClr>
          </a:pattFill>
        </p:spPr>
        <p:txBody>
          <a:bodyPr/>
          <a:lstStyle>
            <a:lvl1pPr>
              <a:defRPr lang="en-US"/>
            </a:lvl1pPr>
          </a:lstStyle>
          <a:p>
            <a:pPr lvl="0"/>
            <a:r>
              <a:rPr lang="en-US"/>
              <a:t>Drag and drop picture</a:t>
            </a:r>
          </a:p>
        </p:txBody>
      </p:sp>
    </p:spTree>
    <p:extLst>
      <p:ext uri="{BB962C8B-B14F-4D97-AF65-F5344CB8AC3E}">
        <p14:creationId xmlns:p14="http://schemas.microsoft.com/office/powerpoint/2010/main" val="4084313261"/>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4" dur="150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1500" fill="hold"/>
                                        <p:tgtEl>
                                          <p:spTgt spid="15"/>
                                        </p:tgtEl>
                                        <p:attrNameLst>
                                          <p:attrName>ppt_x</p:attrName>
                                        </p:attrNameLst>
                                      </p:cBhvr>
                                      <p:tavLst>
                                        <p:tav tm="0">
                                          <p:val>
                                            <p:strVal val="#ppt_x"/>
                                          </p:val>
                                        </p:tav>
                                        <p:tav tm="100000">
                                          <p:val>
                                            <p:strVal val="#ppt_x"/>
                                          </p:val>
                                        </p:tav>
                                      </p:tavLst>
                                    </p:anim>
                                    <p:anim calcmode="lin" valueType="num">
                                      <p:cBhvr additive="base">
                                        <p:cTn id="8" dur="1500" fill="hold"/>
                                        <p:tgtEl>
                                          <p:spTgt spid="1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64_Custom Layout">
    <p:spTree>
      <p:nvGrpSpPr>
        <p:cNvPr id="1" name=""/>
        <p:cNvGrpSpPr/>
        <p:nvPr/>
      </p:nvGrpSpPr>
      <p:grpSpPr>
        <a:xfrm>
          <a:off x="0" y="0"/>
          <a:ext cx="0" cy="0"/>
          <a:chOff x="0" y="0"/>
          <a:chExt cx="0" cy="0"/>
        </a:xfrm>
      </p:grpSpPr>
      <p:sp>
        <p:nvSpPr>
          <p:cNvPr id="15" name="Picture Placeholder 15"/>
          <p:cNvSpPr>
            <a:spLocks noGrp="1"/>
          </p:cNvSpPr>
          <p:nvPr>
            <p:ph type="pic" sz="quarter" idx="10" hasCustomPrompt="1"/>
          </p:nvPr>
        </p:nvSpPr>
        <p:spPr>
          <a:xfrm>
            <a:off x="3616154" y="1624774"/>
            <a:ext cx="1695229" cy="3673508"/>
          </a:xfrm>
          <a:prstGeom prst="rect">
            <a:avLst/>
          </a:prstGeom>
          <a:pattFill prst="pct60">
            <a:fgClr>
              <a:srgbClr val="FFFFFF"/>
            </a:fgClr>
            <a:bgClr>
              <a:srgbClr val="E6E9EE"/>
            </a:bgClr>
          </a:pattFill>
        </p:spPr>
        <p:txBody>
          <a:bodyPr anchor="ctr"/>
          <a:lstStyle>
            <a:lvl1pPr>
              <a:defRPr lang="en-US"/>
            </a:lvl1pPr>
          </a:lstStyle>
          <a:p>
            <a:pPr lvl="0"/>
            <a:r>
              <a:rPr lang="en-US"/>
              <a:t>Drag and drop picture</a:t>
            </a:r>
          </a:p>
        </p:txBody>
      </p:sp>
      <p:sp>
        <p:nvSpPr>
          <p:cNvPr id="33" name="Picture Placeholder 15"/>
          <p:cNvSpPr>
            <a:spLocks noGrp="1"/>
          </p:cNvSpPr>
          <p:nvPr>
            <p:ph type="pic" sz="quarter" idx="11" hasCustomPrompt="1"/>
          </p:nvPr>
        </p:nvSpPr>
        <p:spPr>
          <a:xfrm>
            <a:off x="1557815" y="1624774"/>
            <a:ext cx="1695229" cy="3673508"/>
          </a:xfrm>
          <a:prstGeom prst="rect">
            <a:avLst/>
          </a:prstGeom>
          <a:pattFill prst="pct60">
            <a:fgClr>
              <a:srgbClr val="FFFFFF"/>
            </a:fgClr>
            <a:bgClr>
              <a:srgbClr val="E6E9EE"/>
            </a:bgClr>
          </a:pattFill>
        </p:spPr>
        <p:txBody>
          <a:bodyPr anchor="ctr"/>
          <a:lstStyle>
            <a:lvl1pPr>
              <a:defRPr lang="en-US"/>
            </a:lvl1pPr>
          </a:lstStyle>
          <a:p>
            <a:pPr lvl="0"/>
            <a:r>
              <a:rPr lang="en-US"/>
              <a:t>Drag and drop picture</a:t>
            </a:r>
          </a:p>
        </p:txBody>
      </p:sp>
      <p:sp>
        <p:nvSpPr>
          <p:cNvPr id="35" name="Picture Placeholder 15"/>
          <p:cNvSpPr>
            <a:spLocks noGrp="1"/>
          </p:cNvSpPr>
          <p:nvPr>
            <p:ph type="pic" sz="quarter" idx="12" hasCustomPrompt="1"/>
          </p:nvPr>
        </p:nvSpPr>
        <p:spPr>
          <a:xfrm>
            <a:off x="5672587" y="1624774"/>
            <a:ext cx="1695229" cy="3673508"/>
          </a:xfrm>
          <a:prstGeom prst="rect">
            <a:avLst/>
          </a:prstGeom>
          <a:pattFill prst="pct60">
            <a:fgClr>
              <a:srgbClr val="FFFFFF"/>
            </a:fgClr>
            <a:bgClr>
              <a:srgbClr val="E6E9EE"/>
            </a:bgClr>
          </a:pattFill>
        </p:spPr>
        <p:txBody>
          <a:bodyPr anchor="ctr"/>
          <a:lstStyle>
            <a:lvl1pPr>
              <a:defRPr lang="en-US"/>
            </a:lvl1pPr>
          </a:lstStyle>
          <a:p>
            <a:pPr lvl="0"/>
            <a:r>
              <a:rPr lang="en-US"/>
              <a:t>Drag and drop picture</a:t>
            </a:r>
          </a:p>
        </p:txBody>
      </p:sp>
    </p:spTree>
    <p:extLst>
      <p:ext uri="{BB962C8B-B14F-4D97-AF65-F5344CB8AC3E}">
        <p14:creationId xmlns:p14="http://schemas.microsoft.com/office/powerpoint/2010/main" val="1235316593"/>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8" dur="1000" decel="100000" fill="hold" grpId="0" nodeType="withEffect">
                                  <p:stCondLst>
                                    <p:cond delay="0"/>
                                  </p:stCondLst>
                                  <p:childTnLst>
                                    <p:set>
                                      <p:cBhvr>
                                        <p:cTn id="6" dur="1" fill="hold">
                                          <p:stCondLst>
                                            <p:cond delay="0"/>
                                          </p:stCondLst>
                                        </p:cTn>
                                        <p:tgtEl>
                                          <p:spTgt spid="35"/>
                                        </p:tgtEl>
                                        <p:attrNameLst>
                                          <p:attrName>style.visibility</p:attrName>
                                        </p:attrNameLst>
                                      </p:cBhvr>
                                      <p:to>
                                        <p:strVal val="visible"/>
                                      </p:to>
                                    </p:set>
                                    <p:anim calcmode="lin" valueType="num">
                                      <p:cBhvr additive="base">
                                        <p:cTn id="7" dur="1000" fill="hold"/>
                                        <p:tgtEl>
                                          <p:spTgt spid="35"/>
                                        </p:tgtEl>
                                        <p:attrNameLst>
                                          <p:attrName>ppt_x</p:attrName>
                                        </p:attrNameLst>
                                      </p:cBhvr>
                                      <p:tavLst>
                                        <p:tav tm="0">
                                          <p:val>
                                            <p:strVal val="0-#ppt_w/2"/>
                                          </p:val>
                                        </p:tav>
                                        <p:tav tm="100000">
                                          <p:val>
                                            <p:strVal val="#ppt_x"/>
                                          </p:val>
                                        </p:tav>
                                      </p:tavLst>
                                    </p:anim>
                                    <p:anim calcmode="lin" valueType="num">
                                      <p:cBhvr additive="base">
                                        <p:cTn id="8" dur="1000" fill="hold"/>
                                        <p:tgtEl>
                                          <p:spTgt spid="35"/>
                                        </p:tgtEl>
                                        <p:attrNameLst>
                                          <p:attrName>ppt_y</p:attrName>
                                        </p:attrNameLst>
                                      </p:cBhvr>
                                      <p:tavLst>
                                        <p:tav tm="0">
                                          <p:val>
                                            <p:strVal val="#ppt_y"/>
                                          </p:val>
                                        </p:tav>
                                        <p:tav tm="100000">
                                          <p:val>
                                            <p:strVal val="#ppt_y"/>
                                          </p:val>
                                        </p:tav>
                                      </p:tavLst>
                                    </p:anim>
                                  </p:childTnLst>
                                </p:cTn>
                              </p:par>
                              <p:par>
                                <p:cTn id="9" presetID="2" presetClass="entr" presetSubtype="8" dur="1000" decel="100000" fill="hold" grpId="0" nodeType="withEffect">
                                  <p:stCondLst>
                                    <p:cond delay="100"/>
                                  </p:stCondLst>
                                  <p:childTnLst>
                                    <p:set>
                                      <p:cBhvr>
                                        <p:cTn id="10" dur="1" fill="hold">
                                          <p:stCondLst>
                                            <p:cond delay="0"/>
                                          </p:stCondLst>
                                        </p:cTn>
                                        <p:tgtEl>
                                          <p:spTgt spid="15"/>
                                        </p:tgtEl>
                                        <p:attrNameLst>
                                          <p:attrName>style.visibility</p:attrName>
                                        </p:attrNameLst>
                                      </p:cBhvr>
                                      <p:to>
                                        <p:strVal val="visible"/>
                                      </p:to>
                                    </p:set>
                                    <p:anim calcmode="lin" valueType="num">
                                      <p:cBhvr additive="base">
                                        <p:cTn id="11" dur="1000" fill="hold"/>
                                        <p:tgtEl>
                                          <p:spTgt spid="15"/>
                                        </p:tgtEl>
                                        <p:attrNameLst>
                                          <p:attrName>ppt_x</p:attrName>
                                        </p:attrNameLst>
                                      </p:cBhvr>
                                      <p:tavLst>
                                        <p:tav tm="0">
                                          <p:val>
                                            <p:strVal val="0-#ppt_w/2"/>
                                          </p:val>
                                        </p:tav>
                                        <p:tav tm="100000">
                                          <p:val>
                                            <p:strVal val="#ppt_x"/>
                                          </p:val>
                                        </p:tav>
                                      </p:tavLst>
                                    </p:anim>
                                    <p:anim calcmode="lin" valueType="num">
                                      <p:cBhvr additive="base">
                                        <p:cTn id="12" dur="1000" fill="hold"/>
                                        <p:tgtEl>
                                          <p:spTgt spid="15"/>
                                        </p:tgtEl>
                                        <p:attrNameLst>
                                          <p:attrName>ppt_y</p:attrName>
                                        </p:attrNameLst>
                                      </p:cBhvr>
                                      <p:tavLst>
                                        <p:tav tm="0">
                                          <p:val>
                                            <p:strVal val="#ppt_y"/>
                                          </p:val>
                                        </p:tav>
                                        <p:tav tm="100000">
                                          <p:val>
                                            <p:strVal val="#ppt_y"/>
                                          </p:val>
                                        </p:tav>
                                      </p:tavLst>
                                    </p:anim>
                                  </p:childTnLst>
                                </p:cTn>
                              </p:par>
                              <p:par>
                                <p:cTn id="13" presetID="2" presetClass="entr" presetSubtype="8" dur="1000" decel="100000" fill="hold" grpId="0" nodeType="withEffect">
                                  <p:stCondLst>
                                    <p:cond delay="200"/>
                                  </p:stCondLst>
                                  <p:childTnLst>
                                    <p:set>
                                      <p:cBhvr>
                                        <p:cTn id="14" dur="1" fill="hold">
                                          <p:stCondLst>
                                            <p:cond delay="0"/>
                                          </p:stCondLst>
                                        </p:cTn>
                                        <p:tgtEl>
                                          <p:spTgt spid="33"/>
                                        </p:tgtEl>
                                        <p:attrNameLst>
                                          <p:attrName>style.visibility</p:attrName>
                                        </p:attrNameLst>
                                      </p:cBhvr>
                                      <p:to>
                                        <p:strVal val="visible"/>
                                      </p:to>
                                    </p:set>
                                    <p:anim calcmode="lin" valueType="num">
                                      <p:cBhvr additive="base">
                                        <p:cTn id="15" dur="1000" fill="hold"/>
                                        <p:tgtEl>
                                          <p:spTgt spid="33"/>
                                        </p:tgtEl>
                                        <p:attrNameLst>
                                          <p:attrName>ppt_x</p:attrName>
                                        </p:attrNameLst>
                                      </p:cBhvr>
                                      <p:tavLst>
                                        <p:tav tm="0">
                                          <p:val>
                                            <p:strVal val="0-#ppt_w/2"/>
                                          </p:val>
                                        </p:tav>
                                        <p:tav tm="100000">
                                          <p:val>
                                            <p:strVal val="#ppt_x"/>
                                          </p:val>
                                        </p:tav>
                                      </p:tavLst>
                                    </p:anim>
                                    <p:anim calcmode="lin" valueType="num">
                                      <p:cBhvr additive="base">
                                        <p:cTn id="16" dur="1000" fill="hold"/>
                                        <p:tgtEl>
                                          <p:spTgt spid="3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33" grpId="0" animBg="1"/>
      <p:bldP spid="35" grpId="0" animBg="1"/>
    </p:bld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71_Custom Layout">
    <p:spTree>
      <p:nvGrpSpPr>
        <p:cNvPr id="1" name=""/>
        <p:cNvGrpSpPr/>
        <p:nvPr/>
      </p:nvGrpSpPr>
      <p:grpSpPr>
        <a:xfrm>
          <a:off x="0" y="0"/>
          <a:ext cx="0" cy="0"/>
          <a:chOff x="0" y="0"/>
          <a:chExt cx="0" cy="0"/>
        </a:xfrm>
      </p:grpSpPr>
      <p:sp>
        <p:nvSpPr>
          <p:cNvPr id="34" name="Picture Placeholder 29"/>
          <p:cNvSpPr>
            <a:spLocks noGrp="1"/>
          </p:cNvSpPr>
          <p:nvPr>
            <p:ph type="pic" sz="quarter" idx="12" hasCustomPrompt="1"/>
          </p:nvPr>
        </p:nvSpPr>
        <p:spPr>
          <a:xfrm>
            <a:off x="8275563" y="2905237"/>
            <a:ext cx="2769446" cy="6026722"/>
          </a:xfrm>
          <a:custGeom>
            <a:avLst/>
            <a:gdLst>
              <a:gd name="connsiteX0" fmla="*/ 0 w 3867993"/>
              <a:gd name="connsiteY0" fmla="*/ 0 h 8367894"/>
              <a:gd name="connsiteX1" fmla="*/ 3867993 w 3867993"/>
              <a:gd name="connsiteY1" fmla="*/ 0 h 8367894"/>
              <a:gd name="connsiteX2" fmla="*/ 3867993 w 3867993"/>
              <a:gd name="connsiteY2" fmla="*/ 8367894 h 8367894"/>
              <a:gd name="connsiteX3" fmla="*/ 0 w 3867993"/>
              <a:gd name="connsiteY3" fmla="*/ 8367894 h 8367894"/>
            </a:gdLst>
            <a:ahLst/>
            <a:cxnLst>
              <a:cxn ang="0">
                <a:pos x="connsiteX0" y="connsiteY0"/>
              </a:cxn>
              <a:cxn ang="0">
                <a:pos x="connsiteX1" y="connsiteY1"/>
              </a:cxn>
              <a:cxn ang="0">
                <a:pos x="connsiteX2" y="connsiteY2"/>
              </a:cxn>
              <a:cxn ang="0">
                <a:pos x="connsiteX3" y="connsiteY3"/>
              </a:cxn>
            </a:cxnLst>
            <a:rect l="l" t="t" r="r" b="b"/>
            <a:pathLst>
              <a:path w="3867992" h="8367894">
                <a:moveTo>
                  <a:pt x="0" y="0"/>
                </a:moveTo>
                <a:lnTo>
                  <a:pt x="3867993" y="0"/>
                </a:lnTo>
                <a:lnTo>
                  <a:pt x="3867993" y="8367894"/>
                </a:lnTo>
                <a:lnTo>
                  <a:pt x="0" y="8367894"/>
                </a:lnTo>
                <a:close/>
              </a:path>
            </a:pathLst>
          </a:custGeom>
          <a:pattFill prst="pct60">
            <a:fgClr>
              <a:srgbClr val="FFFFFF"/>
            </a:fgClr>
            <a:bgClr>
              <a:srgbClr val="E6E9EE"/>
            </a:bgClr>
          </a:pattFill>
        </p:spPr>
        <p:txBody>
          <a:bodyPr anchor="ctr"/>
          <a:lstStyle>
            <a:lvl1pPr>
              <a:defRPr lang="en-US"/>
            </a:lvl1pPr>
          </a:lstStyle>
          <a:p>
            <a:pPr lvl="0"/>
            <a:r>
              <a:rPr lang="en-US"/>
              <a:t>Drag and drop picture</a:t>
            </a:r>
          </a:p>
        </p:txBody>
      </p:sp>
      <p:sp>
        <p:nvSpPr>
          <p:cNvPr id="30" name="Picture Placeholder 29"/>
          <p:cNvSpPr>
            <a:spLocks noGrp="1"/>
          </p:cNvSpPr>
          <p:nvPr>
            <p:ph type="pic" sz="quarter" idx="11" hasCustomPrompt="1"/>
          </p:nvPr>
        </p:nvSpPr>
        <p:spPr>
          <a:xfrm>
            <a:off x="1138993" y="2905237"/>
            <a:ext cx="2769446" cy="6026722"/>
          </a:xfrm>
          <a:custGeom>
            <a:avLst/>
            <a:gdLst>
              <a:gd name="connsiteX0" fmla="*/ 0 w 3867993"/>
              <a:gd name="connsiteY0" fmla="*/ 0 h 8367894"/>
              <a:gd name="connsiteX1" fmla="*/ 3867993 w 3867993"/>
              <a:gd name="connsiteY1" fmla="*/ 0 h 8367894"/>
              <a:gd name="connsiteX2" fmla="*/ 3867993 w 3867993"/>
              <a:gd name="connsiteY2" fmla="*/ 8367894 h 8367894"/>
              <a:gd name="connsiteX3" fmla="*/ 0 w 3867993"/>
              <a:gd name="connsiteY3" fmla="*/ 8367894 h 8367894"/>
            </a:gdLst>
            <a:ahLst/>
            <a:cxnLst>
              <a:cxn ang="0">
                <a:pos x="connsiteX0" y="connsiteY0"/>
              </a:cxn>
              <a:cxn ang="0">
                <a:pos x="connsiteX1" y="connsiteY1"/>
              </a:cxn>
              <a:cxn ang="0">
                <a:pos x="connsiteX2" y="connsiteY2"/>
              </a:cxn>
              <a:cxn ang="0">
                <a:pos x="connsiteX3" y="connsiteY3"/>
              </a:cxn>
            </a:cxnLst>
            <a:rect l="l" t="t" r="r" b="b"/>
            <a:pathLst>
              <a:path w="3867992" h="8367894">
                <a:moveTo>
                  <a:pt x="0" y="0"/>
                </a:moveTo>
                <a:lnTo>
                  <a:pt x="3867993" y="0"/>
                </a:lnTo>
                <a:lnTo>
                  <a:pt x="3867993" y="8367894"/>
                </a:lnTo>
                <a:lnTo>
                  <a:pt x="0" y="8367894"/>
                </a:lnTo>
                <a:close/>
              </a:path>
            </a:pathLst>
          </a:custGeom>
          <a:pattFill prst="pct60">
            <a:fgClr>
              <a:srgbClr val="FFFFFF"/>
            </a:fgClr>
            <a:bgClr>
              <a:srgbClr val="E6E9EE"/>
            </a:bgClr>
          </a:pattFill>
        </p:spPr>
        <p:txBody>
          <a:bodyPr anchor="ctr"/>
          <a:lstStyle>
            <a:lvl1pPr>
              <a:defRPr lang="en-US"/>
            </a:lvl1pPr>
          </a:lstStyle>
          <a:p>
            <a:pPr lvl="0"/>
            <a:r>
              <a:rPr lang="en-US"/>
              <a:t>Drag and drop picture</a:t>
            </a:r>
          </a:p>
        </p:txBody>
      </p:sp>
      <p:sp>
        <p:nvSpPr>
          <p:cNvPr id="11" name="Picture Placeholder 10"/>
          <p:cNvSpPr>
            <a:spLocks noGrp="1"/>
          </p:cNvSpPr>
          <p:nvPr>
            <p:ph type="pic" sz="quarter" idx="10" hasCustomPrompt="1"/>
          </p:nvPr>
        </p:nvSpPr>
        <p:spPr>
          <a:xfrm>
            <a:off x="4567925" y="2612378"/>
            <a:ext cx="3056150" cy="6612439"/>
          </a:xfrm>
          <a:custGeom>
            <a:avLst/>
            <a:gdLst>
              <a:gd name="connsiteX0" fmla="*/ 0 w 3867993"/>
              <a:gd name="connsiteY0" fmla="*/ 0 h 8367894"/>
              <a:gd name="connsiteX1" fmla="*/ 3867993 w 3867993"/>
              <a:gd name="connsiteY1" fmla="*/ 0 h 8367894"/>
              <a:gd name="connsiteX2" fmla="*/ 3867993 w 3867993"/>
              <a:gd name="connsiteY2" fmla="*/ 8367894 h 8367894"/>
              <a:gd name="connsiteX3" fmla="*/ 0 w 3867993"/>
              <a:gd name="connsiteY3" fmla="*/ 8367894 h 8367894"/>
            </a:gdLst>
            <a:ahLst/>
            <a:cxnLst>
              <a:cxn ang="0">
                <a:pos x="connsiteX0" y="connsiteY0"/>
              </a:cxn>
              <a:cxn ang="0">
                <a:pos x="connsiteX1" y="connsiteY1"/>
              </a:cxn>
              <a:cxn ang="0">
                <a:pos x="connsiteX2" y="connsiteY2"/>
              </a:cxn>
              <a:cxn ang="0">
                <a:pos x="connsiteX3" y="connsiteY3"/>
              </a:cxn>
            </a:cxnLst>
            <a:rect l="l" t="t" r="r" b="b"/>
            <a:pathLst>
              <a:path w="3867992" h="8367894">
                <a:moveTo>
                  <a:pt x="0" y="0"/>
                </a:moveTo>
                <a:lnTo>
                  <a:pt x="3867993" y="0"/>
                </a:lnTo>
                <a:lnTo>
                  <a:pt x="3867993" y="8367894"/>
                </a:lnTo>
                <a:lnTo>
                  <a:pt x="0" y="8367894"/>
                </a:lnTo>
                <a:close/>
              </a:path>
            </a:pathLst>
          </a:custGeom>
          <a:pattFill prst="pct60">
            <a:fgClr>
              <a:srgbClr val="FFFFFF"/>
            </a:fgClr>
            <a:bgClr>
              <a:srgbClr val="E6E9EE"/>
            </a:bgClr>
          </a:pattFill>
        </p:spPr>
        <p:txBody>
          <a:bodyPr anchor="ctr"/>
          <a:lstStyle>
            <a:lvl1pPr>
              <a:defRPr lang="en-US"/>
            </a:lvl1pPr>
          </a:lstStyle>
          <a:p>
            <a:pPr lvl="0"/>
            <a:r>
              <a:rPr lang="en-US"/>
              <a:t>Drag and drop picture</a:t>
            </a:r>
          </a:p>
        </p:txBody>
      </p:sp>
    </p:spTree>
    <p:extLst>
      <p:ext uri="{BB962C8B-B14F-4D97-AF65-F5344CB8AC3E}">
        <p14:creationId xmlns:p14="http://schemas.microsoft.com/office/powerpoint/2010/main" val="737415727"/>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4" dur="1000" decel="100000" fill="hold" grpId="0" nodeType="withEffect">
                                  <p:stCondLst>
                                    <p:cond delay="80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1000" fill="hold"/>
                                        <p:tgtEl>
                                          <p:spTgt spid="11"/>
                                        </p:tgtEl>
                                        <p:attrNameLst>
                                          <p:attrName>ppt_x</p:attrName>
                                        </p:attrNameLst>
                                      </p:cBhvr>
                                      <p:tavLst>
                                        <p:tav tm="0">
                                          <p:val>
                                            <p:strVal val="#ppt_x"/>
                                          </p:val>
                                        </p:tav>
                                        <p:tav tm="100000">
                                          <p:val>
                                            <p:strVal val="#ppt_x"/>
                                          </p:val>
                                        </p:tav>
                                      </p:tavLst>
                                    </p:anim>
                                    <p:anim calcmode="lin" valueType="num">
                                      <p:cBhvr additive="base">
                                        <p:cTn id="8" dur="1000" fill="hold"/>
                                        <p:tgtEl>
                                          <p:spTgt spid="11"/>
                                        </p:tgtEl>
                                        <p:attrNameLst>
                                          <p:attrName>ppt_y</p:attrName>
                                        </p:attrNameLst>
                                      </p:cBhvr>
                                      <p:tavLst>
                                        <p:tav tm="0">
                                          <p:val>
                                            <p:strVal val="1+#ppt_h/2"/>
                                          </p:val>
                                        </p:tav>
                                        <p:tav tm="100000">
                                          <p:val>
                                            <p:strVal val="#ppt_y"/>
                                          </p:val>
                                        </p:tav>
                                      </p:tavLst>
                                    </p:anim>
                                  </p:childTnLst>
                                </p:cTn>
                              </p:par>
                              <p:par>
                                <p:cTn id="9" presetID="2" presetClass="entr" presetSubtype="4" dur="1000" decel="100000" fill="hold" grpId="0" nodeType="withEffect">
                                  <p:stCondLst>
                                    <p:cond delay="900"/>
                                  </p:stCondLst>
                                  <p:childTnLst>
                                    <p:set>
                                      <p:cBhvr>
                                        <p:cTn id="10" dur="1" fill="hold">
                                          <p:stCondLst>
                                            <p:cond delay="0"/>
                                          </p:stCondLst>
                                        </p:cTn>
                                        <p:tgtEl>
                                          <p:spTgt spid="30"/>
                                        </p:tgtEl>
                                        <p:attrNameLst>
                                          <p:attrName>style.visibility</p:attrName>
                                        </p:attrNameLst>
                                      </p:cBhvr>
                                      <p:to>
                                        <p:strVal val="visible"/>
                                      </p:to>
                                    </p:set>
                                    <p:anim calcmode="lin" valueType="num">
                                      <p:cBhvr additive="base">
                                        <p:cTn id="11" dur="1000" fill="hold"/>
                                        <p:tgtEl>
                                          <p:spTgt spid="30"/>
                                        </p:tgtEl>
                                        <p:attrNameLst>
                                          <p:attrName>ppt_x</p:attrName>
                                        </p:attrNameLst>
                                      </p:cBhvr>
                                      <p:tavLst>
                                        <p:tav tm="0">
                                          <p:val>
                                            <p:strVal val="#ppt_x"/>
                                          </p:val>
                                        </p:tav>
                                        <p:tav tm="100000">
                                          <p:val>
                                            <p:strVal val="#ppt_x"/>
                                          </p:val>
                                        </p:tav>
                                      </p:tavLst>
                                    </p:anim>
                                    <p:anim calcmode="lin" valueType="num">
                                      <p:cBhvr additive="base">
                                        <p:cTn id="12" dur="1000" fill="hold"/>
                                        <p:tgtEl>
                                          <p:spTgt spid="30"/>
                                        </p:tgtEl>
                                        <p:attrNameLst>
                                          <p:attrName>ppt_y</p:attrName>
                                        </p:attrNameLst>
                                      </p:cBhvr>
                                      <p:tavLst>
                                        <p:tav tm="0">
                                          <p:val>
                                            <p:strVal val="1+#ppt_h/2"/>
                                          </p:val>
                                        </p:tav>
                                        <p:tav tm="100000">
                                          <p:val>
                                            <p:strVal val="#ppt_y"/>
                                          </p:val>
                                        </p:tav>
                                      </p:tavLst>
                                    </p:anim>
                                  </p:childTnLst>
                                </p:cTn>
                              </p:par>
                              <p:par>
                                <p:cTn id="13" presetID="2" presetClass="entr" presetSubtype="4" dur="1000" decel="100000" fill="hold" grpId="0" nodeType="withEffect">
                                  <p:stCondLst>
                                    <p:cond delay="1000"/>
                                  </p:stCondLst>
                                  <p:childTnLst>
                                    <p:set>
                                      <p:cBhvr>
                                        <p:cTn id="14" dur="1" fill="hold">
                                          <p:stCondLst>
                                            <p:cond delay="0"/>
                                          </p:stCondLst>
                                        </p:cTn>
                                        <p:tgtEl>
                                          <p:spTgt spid="34"/>
                                        </p:tgtEl>
                                        <p:attrNameLst>
                                          <p:attrName>style.visibility</p:attrName>
                                        </p:attrNameLst>
                                      </p:cBhvr>
                                      <p:to>
                                        <p:strVal val="visible"/>
                                      </p:to>
                                    </p:set>
                                    <p:anim calcmode="lin" valueType="num">
                                      <p:cBhvr additive="base">
                                        <p:cTn id="15" dur="1000" fill="hold"/>
                                        <p:tgtEl>
                                          <p:spTgt spid="34"/>
                                        </p:tgtEl>
                                        <p:attrNameLst>
                                          <p:attrName>ppt_x</p:attrName>
                                        </p:attrNameLst>
                                      </p:cBhvr>
                                      <p:tavLst>
                                        <p:tav tm="0">
                                          <p:val>
                                            <p:strVal val="#ppt_x"/>
                                          </p:val>
                                        </p:tav>
                                        <p:tav tm="100000">
                                          <p:val>
                                            <p:strVal val="#ppt_x"/>
                                          </p:val>
                                        </p:tav>
                                      </p:tavLst>
                                    </p:anim>
                                    <p:anim calcmode="lin" valueType="num">
                                      <p:cBhvr additive="base">
                                        <p:cTn id="16" dur="1000" fill="hold"/>
                                        <p:tgtEl>
                                          <p:spTgt spid="3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P spid="30" grpId="0" animBg="1"/>
      <p:bldP spid="11" grpId="0" animBg="1"/>
    </p:bld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75_Custom Layout">
    <p:spTree>
      <p:nvGrpSpPr>
        <p:cNvPr id="1" name=""/>
        <p:cNvGrpSpPr/>
        <p:nvPr/>
      </p:nvGrpSpPr>
      <p:grpSpPr>
        <a:xfrm>
          <a:off x="0" y="0"/>
          <a:ext cx="0" cy="0"/>
          <a:chOff x="0" y="0"/>
          <a:chExt cx="0" cy="0"/>
        </a:xfrm>
      </p:grpSpPr>
      <p:sp>
        <p:nvSpPr>
          <p:cNvPr id="9" name="Picture Placeholder 10"/>
          <p:cNvSpPr>
            <a:spLocks noGrp="1"/>
          </p:cNvSpPr>
          <p:nvPr>
            <p:ph type="pic" sz="quarter" idx="10" hasCustomPrompt="1"/>
          </p:nvPr>
        </p:nvSpPr>
        <p:spPr>
          <a:xfrm>
            <a:off x="4361883" y="2213968"/>
            <a:ext cx="3483238" cy="2182639"/>
          </a:xfrm>
          <a:custGeom>
            <a:avLst/>
            <a:gdLst>
              <a:gd name="connsiteX0" fmla="*/ 0 w 3867993"/>
              <a:gd name="connsiteY0" fmla="*/ 0 h 8367894"/>
              <a:gd name="connsiteX1" fmla="*/ 3867993 w 3867993"/>
              <a:gd name="connsiteY1" fmla="*/ 0 h 8367894"/>
              <a:gd name="connsiteX2" fmla="*/ 3867993 w 3867993"/>
              <a:gd name="connsiteY2" fmla="*/ 8367894 h 8367894"/>
              <a:gd name="connsiteX3" fmla="*/ 0 w 3867993"/>
              <a:gd name="connsiteY3" fmla="*/ 8367894 h 8367894"/>
            </a:gdLst>
            <a:ahLst/>
            <a:cxnLst>
              <a:cxn ang="0">
                <a:pos x="connsiteX0" y="connsiteY0"/>
              </a:cxn>
              <a:cxn ang="0">
                <a:pos x="connsiteX1" y="connsiteY1"/>
              </a:cxn>
              <a:cxn ang="0">
                <a:pos x="connsiteX2" y="connsiteY2"/>
              </a:cxn>
              <a:cxn ang="0">
                <a:pos x="connsiteX3" y="connsiteY3"/>
              </a:cxn>
            </a:cxnLst>
            <a:rect l="l" t="t" r="r" b="b"/>
            <a:pathLst>
              <a:path w="3867992" h="8367894">
                <a:moveTo>
                  <a:pt x="0" y="0"/>
                </a:moveTo>
                <a:lnTo>
                  <a:pt x="3867993" y="0"/>
                </a:lnTo>
                <a:lnTo>
                  <a:pt x="3867993" y="8367894"/>
                </a:lnTo>
                <a:lnTo>
                  <a:pt x="0" y="8367894"/>
                </a:lnTo>
                <a:close/>
              </a:path>
            </a:pathLst>
          </a:custGeom>
          <a:pattFill prst="pct60">
            <a:fgClr>
              <a:srgbClr val="FFFFFF"/>
            </a:fgClr>
            <a:bgClr>
              <a:srgbClr val="E6E9EE"/>
            </a:bgClr>
          </a:pattFill>
        </p:spPr>
        <p:txBody>
          <a:bodyPr anchor="ctr"/>
          <a:lstStyle>
            <a:lvl1pPr>
              <a:defRPr lang="en-US"/>
            </a:lvl1pPr>
          </a:lstStyle>
          <a:p>
            <a:pPr lvl="0"/>
            <a:r>
              <a:rPr lang="en-US"/>
              <a:t>Drag and drop picture</a:t>
            </a:r>
          </a:p>
        </p:txBody>
      </p:sp>
    </p:spTree>
    <p:extLst>
      <p:ext uri="{BB962C8B-B14F-4D97-AF65-F5344CB8AC3E}">
        <p14:creationId xmlns:p14="http://schemas.microsoft.com/office/powerpoint/2010/main" val="112998347"/>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4" dur="1800" decel="10000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1800" fill="hold"/>
                                        <p:tgtEl>
                                          <p:spTgt spid="9"/>
                                        </p:tgtEl>
                                        <p:attrNameLst>
                                          <p:attrName>ppt_x</p:attrName>
                                        </p:attrNameLst>
                                      </p:cBhvr>
                                      <p:tavLst>
                                        <p:tav tm="0">
                                          <p:val>
                                            <p:strVal val="#ppt_x"/>
                                          </p:val>
                                        </p:tav>
                                        <p:tav tm="100000">
                                          <p:val>
                                            <p:strVal val="#ppt_x"/>
                                          </p:val>
                                        </p:tav>
                                      </p:tavLst>
                                    </p:anim>
                                    <p:anim calcmode="lin" valueType="num">
                                      <p:cBhvr additive="base">
                                        <p:cTn id="8" dur="18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77_Custom Layout">
    <p:spTree>
      <p:nvGrpSpPr>
        <p:cNvPr id="1" name=""/>
        <p:cNvGrpSpPr/>
        <p:nvPr/>
      </p:nvGrpSpPr>
      <p:grpSpPr>
        <a:xfrm>
          <a:off x="0" y="0"/>
          <a:ext cx="0" cy="0"/>
          <a:chOff x="0" y="0"/>
          <a:chExt cx="0" cy="0"/>
        </a:xfrm>
      </p:grpSpPr>
      <p:sp>
        <p:nvSpPr>
          <p:cNvPr id="41" name="Picture Placeholder 15"/>
          <p:cNvSpPr>
            <a:spLocks noGrp="1"/>
          </p:cNvSpPr>
          <p:nvPr>
            <p:ph type="pic" sz="quarter" idx="10" hasCustomPrompt="1"/>
          </p:nvPr>
        </p:nvSpPr>
        <p:spPr>
          <a:xfrm>
            <a:off x="4577536" y="4183563"/>
            <a:ext cx="2820557" cy="3255264"/>
          </a:xfrm>
          <a:prstGeom prst="rect">
            <a:avLst/>
          </a:prstGeom>
          <a:pattFill prst="lgGrid">
            <a:fgClr>
              <a:schemeClr val="bg1"/>
            </a:fgClr>
            <a:bgClr>
              <a:schemeClr val="tx2">
                <a:lumMod val="10000"/>
                <a:lumOff val="90000"/>
              </a:schemeClr>
            </a:bgClr>
          </a:pattFill>
          <a:ln>
            <a:noFill/>
          </a:ln>
          <a:effectLst>
            <a:outerShdw blurRad="546100" dist="495300" dir="8100000" sx="94000" sy="94000" algn="ctr" rotWithShape="0">
              <a:srgbClr val="000000">
                <a:alpha val="40000"/>
              </a:srgbClr>
            </a:outerShdw>
          </a:effectLst>
          <a:scene3d>
            <a:camera prst="isometricTopUp"/>
            <a:lightRig rig="threePt" dir="t"/>
          </a:scene3d>
          <a:sp3d extrusionH="76200"/>
        </p:spPr>
        <p:txBody>
          <a:bodyPr anchor="ctr"/>
          <a:lstStyle>
            <a:lvl1pPr marL="0" indent="0" algn="ctr">
              <a:buNone/>
              <a:defRPr baseline="0"/>
            </a:lvl1pPr>
          </a:lstStyle>
          <a:p>
            <a:r>
              <a:rPr lang="en-US"/>
              <a:t>Drag and drop picture</a:t>
            </a:r>
          </a:p>
        </p:txBody>
      </p:sp>
      <p:sp>
        <p:nvSpPr>
          <p:cNvPr id="42" name="Picture Placeholder 15"/>
          <p:cNvSpPr>
            <a:spLocks noGrp="1"/>
          </p:cNvSpPr>
          <p:nvPr>
            <p:ph type="pic" sz="quarter" idx="11" hasCustomPrompt="1"/>
          </p:nvPr>
        </p:nvSpPr>
        <p:spPr>
          <a:xfrm>
            <a:off x="2130908" y="2791402"/>
            <a:ext cx="2820557" cy="3255264"/>
          </a:xfrm>
          <a:prstGeom prst="rect">
            <a:avLst/>
          </a:prstGeom>
          <a:pattFill prst="lgGrid">
            <a:fgClr>
              <a:schemeClr val="bg1"/>
            </a:fgClr>
            <a:bgClr>
              <a:schemeClr val="tx2">
                <a:lumMod val="10000"/>
                <a:lumOff val="90000"/>
              </a:schemeClr>
            </a:bgClr>
          </a:pattFill>
          <a:ln>
            <a:noFill/>
          </a:ln>
          <a:effectLst>
            <a:outerShdw blurRad="546100" dist="495300" dir="8100000" sx="94000" sy="94000" algn="ctr" rotWithShape="0">
              <a:srgbClr val="000000">
                <a:alpha val="40000"/>
              </a:srgbClr>
            </a:outerShdw>
          </a:effectLst>
          <a:scene3d>
            <a:camera prst="isometricTopUp"/>
            <a:lightRig rig="threePt" dir="t"/>
          </a:scene3d>
          <a:sp3d extrusionH="76200"/>
        </p:spPr>
        <p:txBody>
          <a:bodyPr anchor="ctr"/>
          <a:lstStyle>
            <a:lvl1pPr marL="0" indent="0" algn="ctr">
              <a:buNone/>
              <a:defRPr baseline="0"/>
            </a:lvl1pPr>
          </a:lstStyle>
          <a:p>
            <a:r>
              <a:rPr lang="en-US"/>
              <a:t>Drag and drop picture</a:t>
            </a:r>
          </a:p>
        </p:txBody>
      </p:sp>
      <p:sp>
        <p:nvSpPr>
          <p:cNvPr id="43" name="Picture Placeholder 15"/>
          <p:cNvSpPr>
            <a:spLocks noGrp="1"/>
          </p:cNvSpPr>
          <p:nvPr>
            <p:ph type="pic" sz="quarter" idx="12" hasCustomPrompt="1"/>
          </p:nvPr>
        </p:nvSpPr>
        <p:spPr>
          <a:xfrm>
            <a:off x="-315720" y="1400109"/>
            <a:ext cx="2820557" cy="3255264"/>
          </a:xfrm>
          <a:prstGeom prst="rect">
            <a:avLst/>
          </a:prstGeom>
          <a:pattFill prst="lgGrid">
            <a:fgClr>
              <a:schemeClr val="bg1"/>
            </a:fgClr>
            <a:bgClr>
              <a:schemeClr val="tx2">
                <a:lumMod val="10000"/>
                <a:lumOff val="90000"/>
              </a:schemeClr>
            </a:bgClr>
          </a:pattFill>
          <a:ln>
            <a:noFill/>
          </a:ln>
          <a:effectLst>
            <a:outerShdw blurRad="546100" dist="495300" dir="8100000" sx="94000" sy="94000" algn="ctr" rotWithShape="0">
              <a:srgbClr val="000000">
                <a:alpha val="40000"/>
              </a:srgbClr>
            </a:outerShdw>
          </a:effectLst>
          <a:scene3d>
            <a:camera prst="isometricTopUp"/>
            <a:lightRig rig="threePt" dir="t"/>
          </a:scene3d>
          <a:sp3d extrusionH="76200"/>
        </p:spPr>
        <p:txBody>
          <a:bodyPr anchor="ctr"/>
          <a:lstStyle>
            <a:lvl1pPr marL="0" indent="0" algn="ctr">
              <a:buNone/>
              <a:defRPr baseline="0"/>
            </a:lvl1pPr>
          </a:lstStyle>
          <a:p>
            <a:r>
              <a:rPr lang="en-US"/>
              <a:t>Drag and drop picture</a:t>
            </a:r>
          </a:p>
        </p:txBody>
      </p:sp>
      <p:sp>
        <p:nvSpPr>
          <p:cNvPr id="44" name="Picture Placeholder 15"/>
          <p:cNvSpPr>
            <a:spLocks noGrp="1"/>
          </p:cNvSpPr>
          <p:nvPr>
            <p:ph type="pic" sz="quarter" idx="13" hasCustomPrompt="1"/>
          </p:nvPr>
        </p:nvSpPr>
        <p:spPr>
          <a:xfrm>
            <a:off x="1380268" y="4834086"/>
            <a:ext cx="2820557" cy="3255264"/>
          </a:xfrm>
          <a:prstGeom prst="rect">
            <a:avLst/>
          </a:prstGeom>
          <a:pattFill prst="lgGrid">
            <a:fgClr>
              <a:schemeClr val="bg1"/>
            </a:fgClr>
            <a:bgClr>
              <a:schemeClr val="tx2">
                <a:lumMod val="10000"/>
                <a:lumOff val="90000"/>
              </a:schemeClr>
            </a:bgClr>
          </a:pattFill>
          <a:ln>
            <a:noFill/>
          </a:ln>
          <a:effectLst>
            <a:outerShdw blurRad="546100" dist="495300" dir="8100000" sx="94000" sy="94000" algn="ctr" rotWithShape="0">
              <a:srgbClr val="000000">
                <a:alpha val="40000"/>
              </a:srgbClr>
            </a:outerShdw>
          </a:effectLst>
          <a:scene3d>
            <a:camera prst="isometricTopUp"/>
            <a:lightRig rig="threePt" dir="t"/>
          </a:scene3d>
          <a:sp3d extrusionH="76200"/>
        </p:spPr>
        <p:txBody>
          <a:bodyPr anchor="ctr"/>
          <a:lstStyle>
            <a:lvl1pPr marL="0" indent="0" algn="ctr">
              <a:buNone/>
              <a:defRPr baseline="0"/>
            </a:lvl1pPr>
          </a:lstStyle>
          <a:p>
            <a:r>
              <a:rPr lang="en-US"/>
              <a:t>Drag and drop picture</a:t>
            </a:r>
          </a:p>
        </p:txBody>
      </p:sp>
      <p:sp>
        <p:nvSpPr>
          <p:cNvPr id="17" name="Picture Placeholder 15"/>
          <p:cNvSpPr>
            <a:spLocks noGrp="1"/>
          </p:cNvSpPr>
          <p:nvPr>
            <p:ph type="pic" sz="quarter" idx="14" hasCustomPrompt="1"/>
          </p:nvPr>
        </p:nvSpPr>
        <p:spPr>
          <a:xfrm>
            <a:off x="-1010007" y="3422821"/>
            <a:ext cx="2820557" cy="3255264"/>
          </a:xfrm>
          <a:prstGeom prst="rect">
            <a:avLst/>
          </a:prstGeom>
          <a:pattFill prst="lgGrid">
            <a:fgClr>
              <a:schemeClr val="bg1"/>
            </a:fgClr>
            <a:bgClr>
              <a:schemeClr val="tx2">
                <a:lumMod val="10000"/>
                <a:lumOff val="90000"/>
              </a:schemeClr>
            </a:bgClr>
          </a:pattFill>
          <a:ln>
            <a:noFill/>
          </a:ln>
          <a:effectLst>
            <a:outerShdw blurRad="546100" dist="495300" dir="8100000" sx="94000" sy="94000" algn="ctr" rotWithShape="0">
              <a:srgbClr val="000000">
                <a:alpha val="40000"/>
              </a:srgbClr>
            </a:outerShdw>
          </a:effectLst>
          <a:scene3d>
            <a:camera prst="isometricTopUp"/>
            <a:lightRig rig="threePt" dir="t"/>
          </a:scene3d>
          <a:sp3d extrusionH="76200"/>
        </p:spPr>
        <p:txBody>
          <a:bodyPr anchor="ctr"/>
          <a:lstStyle>
            <a:lvl1pPr marL="0" indent="0" algn="ctr">
              <a:buNone/>
              <a:defRPr baseline="0"/>
            </a:lvl1pPr>
          </a:lstStyle>
          <a:p>
            <a:r>
              <a:rPr lang="en-US"/>
              <a:t>Drag and drop picture</a:t>
            </a:r>
          </a:p>
        </p:txBody>
      </p:sp>
    </p:spTree>
    <p:extLst>
      <p:ext uri="{BB962C8B-B14F-4D97-AF65-F5344CB8AC3E}">
        <p14:creationId xmlns:p14="http://schemas.microsoft.com/office/powerpoint/2010/main" val="854204620"/>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4" dur="1000" decel="100000" fill="hold" grpId="0" nodeType="withEffect">
                                  <p:stCondLst>
                                    <p:cond delay="0"/>
                                  </p:stCondLst>
                                  <p:childTnLst>
                                    <p:set>
                                      <p:cBhvr>
                                        <p:cTn id="6" dur="1" fill="hold">
                                          <p:stCondLst>
                                            <p:cond delay="0"/>
                                          </p:stCondLst>
                                        </p:cTn>
                                        <p:tgtEl>
                                          <p:spTgt spid="43"/>
                                        </p:tgtEl>
                                        <p:attrNameLst>
                                          <p:attrName>style.visibility</p:attrName>
                                        </p:attrNameLst>
                                      </p:cBhvr>
                                      <p:to>
                                        <p:strVal val="visible"/>
                                      </p:to>
                                    </p:set>
                                    <p:anim calcmode="lin" valueType="num">
                                      <p:cBhvr additive="base">
                                        <p:cTn id="7" dur="1000" fill="hold"/>
                                        <p:tgtEl>
                                          <p:spTgt spid="43"/>
                                        </p:tgtEl>
                                        <p:attrNameLst>
                                          <p:attrName>ppt_x</p:attrName>
                                        </p:attrNameLst>
                                      </p:cBhvr>
                                      <p:tavLst>
                                        <p:tav tm="0">
                                          <p:val>
                                            <p:strVal val="#ppt_x"/>
                                          </p:val>
                                        </p:tav>
                                        <p:tav tm="100000">
                                          <p:val>
                                            <p:strVal val="#ppt_x"/>
                                          </p:val>
                                        </p:tav>
                                      </p:tavLst>
                                    </p:anim>
                                    <p:anim calcmode="lin" valueType="num">
                                      <p:cBhvr additive="base">
                                        <p:cTn id="8" dur="1000" fill="hold"/>
                                        <p:tgtEl>
                                          <p:spTgt spid="43"/>
                                        </p:tgtEl>
                                        <p:attrNameLst>
                                          <p:attrName>ppt_y</p:attrName>
                                        </p:attrNameLst>
                                      </p:cBhvr>
                                      <p:tavLst>
                                        <p:tav tm="0">
                                          <p:val>
                                            <p:strVal val="1+#ppt_h/2"/>
                                          </p:val>
                                        </p:tav>
                                        <p:tav tm="100000">
                                          <p:val>
                                            <p:strVal val="#ppt_y"/>
                                          </p:val>
                                        </p:tav>
                                      </p:tavLst>
                                    </p:anim>
                                  </p:childTnLst>
                                </p:cTn>
                              </p:par>
                              <p:par>
                                <p:cTn id="9" presetID="2" presetClass="entr" presetSubtype="4" dur="1000" decel="100000" fill="hold" grpId="0" nodeType="withEffect">
                                  <p:stCondLst>
                                    <p:cond delay="100"/>
                                  </p:stCondLst>
                                  <p:childTnLst>
                                    <p:set>
                                      <p:cBhvr>
                                        <p:cTn id="10" dur="1" fill="hold">
                                          <p:stCondLst>
                                            <p:cond delay="0"/>
                                          </p:stCondLst>
                                        </p:cTn>
                                        <p:tgtEl>
                                          <p:spTgt spid="42"/>
                                        </p:tgtEl>
                                        <p:attrNameLst>
                                          <p:attrName>style.visibility</p:attrName>
                                        </p:attrNameLst>
                                      </p:cBhvr>
                                      <p:to>
                                        <p:strVal val="visible"/>
                                      </p:to>
                                    </p:set>
                                    <p:anim calcmode="lin" valueType="num">
                                      <p:cBhvr additive="base">
                                        <p:cTn id="11" dur="1000" fill="hold"/>
                                        <p:tgtEl>
                                          <p:spTgt spid="42"/>
                                        </p:tgtEl>
                                        <p:attrNameLst>
                                          <p:attrName>ppt_x</p:attrName>
                                        </p:attrNameLst>
                                      </p:cBhvr>
                                      <p:tavLst>
                                        <p:tav tm="0">
                                          <p:val>
                                            <p:strVal val="#ppt_x"/>
                                          </p:val>
                                        </p:tav>
                                        <p:tav tm="100000">
                                          <p:val>
                                            <p:strVal val="#ppt_x"/>
                                          </p:val>
                                        </p:tav>
                                      </p:tavLst>
                                    </p:anim>
                                    <p:anim calcmode="lin" valueType="num">
                                      <p:cBhvr additive="base">
                                        <p:cTn id="12" dur="1000" fill="hold"/>
                                        <p:tgtEl>
                                          <p:spTgt spid="42"/>
                                        </p:tgtEl>
                                        <p:attrNameLst>
                                          <p:attrName>ppt_y</p:attrName>
                                        </p:attrNameLst>
                                      </p:cBhvr>
                                      <p:tavLst>
                                        <p:tav tm="0">
                                          <p:val>
                                            <p:strVal val="1+#ppt_h/2"/>
                                          </p:val>
                                        </p:tav>
                                        <p:tav tm="100000">
                                          <p:val>
                                            <p:strVal val="#ppt_y"/>
                                          </p:val>
                                        </p:tav>
                                      </p:tavLst>
                                    </p:anim>
                                  </p:childTnLst>
                                </p:cTn>
                              </p:par>
                              <p:par>
                                <p:cTn id="13" presetID="2" presetClass="entr" presetSubtype="4" dur="1000" decel="100000" fill="hold" grpId="0" nodeType="withEffect">
                                  <p:stCondLst>
                                    <p:cond delay="200"/>
                                  </p:stCondLst>
                                  <p:childTnLst>
                                    <p:set>
                                      <p:cBhvr>
                                        <p:cTn id="14" dur="1" fill="hold">
                                          <p:stCondLst>
                                            <p:cond delay="0"/>
                                          </p:stCondLst>
                                        </p:cTn>
                                        <p:tgtEl>
                                          <p:spTgt spid="41"/>
                                        </p:tgtEl>
                                        <p:attrNameLst>
                                          <p:attrName>style.visibility</p:attrName>
                                        </p:attrNameLst>
                                      </p:cBhvr>
                                      <p:to>
                                        <p:strVal val="visible"/>
                                      </p:to>
                                    </p:set>
                                    <p:anim calcmode="lin" valueType="num">
                                      <p:cBhvr additive="base">
                                        <p:cTn id="15" dur="1000" fill="hold"/>
                                        <p:tgtEl>
                                          <p:spTgt spid="41"/>
                                        </p:tgtEl>
                                        <p:attrNameLst>
                                          <p:attrName>ppt_x</p:attrName>
                                        </p:attrNameLst>
                                      </p:cBhvr>
                                      <p:tavLst>
                                        <p:tav tm="0">
                                          <p:val>
                                            <p:strVal val="#ppt_x"/>
                                          </p:val>
                                        </p:tav>
                                        <p:tav tm="100000">
                                          <p:val>
                                            <p:strVal val="#ppt_x"/>
                                          </p:val>
                                        </p:tav>
                                      </p:tavLst>
                                    </p:anim>
                                    <p:anim calcmode="lin" valueType="num">
                                      <p:cBhvr additive="base">
                                        <p:cTn id="16" dur="1000" fill="hold"/>
                                        <p:tgtEl>
                                          <p:spTgt spid="41"/>
                                        </p:tgtEl>
                                        <p:attrNameLst>
                                          <p:attrName>ppt_y</p:attrName>
                                        </p:attrNameLst>
                                      </p:cBhvr>
                                      <p:tavLst>
                                        <p:tav tm="0">
                                          <p:val>
                                            <p:strVal val="1+#ppt_h/2"/>
                                          </p:val>
                                        </p:tav>
                                        <p:tav tm="100000">
                                          <p:val>
                                            <p:strVal val="#ppt_y"/>
                                          </p:val>
                                        </p:tav>
                                      </p:tavLst>
                                    </p:anim>
                                  </p:childTnLst>
                                </p:cTn>
                              </p:par>
                              <p:par>
                                <p:cTn id="17" presetID="2" presetClass="entr" presetSubtype="4" dur="1000" decel="100000" fill="hold" grpId="0" nodeType="withEffect">
                                  <p:stCondLst>
                                    <p:cond delay="300"/>
                                  </p:stCondLst>
                                  <p:childTnLst>
                                    <p:set>
                                      <p:cBhvr>
                                        <p:cTn id="18" dur="1" fill="hold">
                                          <p:stCondLst>
                                            <p:cond delay="0"/>
                                          </p:stCondLst>
                                        </p:cTn>
                                        <p:tgtEl>
                                          <p:spTgt spid="17"/>
                                        </p:tgtEl>
                                        <p:attrNameLst>
                                          <p:attrName>style.visibility</p:attrName>
                                        </p:attrNameLst>
                                      </p:cBhvr>
                                      <p:to>
                                        <p:strVal val="visible"/>
                                      </p:to>
                                    </p:set>
                                    <p:anim calcmode="lin" valueType="num">
                                      <p:cBhvr additive="base">
                                        <p:cTn id="19" dur="1000" fill="hold"/>
                                        <p:tgtEl>
                                          <p:spTgt spid="17"/>
                                        </p:tgtEl>
                                        <p:attrNameLst>
                                          <p:attrName>ppt_x</p:attrName>
                                        </p:attrNameLst>
                                      </p:cBhvr>
                                      <p:tavLst>
                                        <p:tav tm="0">
                                          <p:val>
                                            <p:strVal val="#ppt_x"/>
                                          </p:val>
                                        </p:tav>
                                        <p:tav tm="100000">
                                          <p:val>
                                            <p:strVal val="#ppt_x"/>
                                          </p:val>
                                        </p:tav>
                                      </p:tavLst>
                                    </p:anim>
                                    <p:anim calcmode="lin" valueType="num">
                                      <p:cBhvr additive="base">
                                        <p:cTn id="20" dur="1000" fill="hold"/>
                                        <p:tgtEl>
                                          <p:spTgt spid="17"/>
                                        </p:tgtEl>
                                        <p:attrNameLst>
                                          <p:attrName>ppt_y</p:attrName>
                                        </p:attrNameLst>
                                      </p:cBhvr>
                                      <p:tavLst>
                                        <p:tav tm="0">
                                          <p:val>
                                            <p:strVal val="1+#ppt_h/2"/>
                                          </p:val>
                                        </p:tav>
                                        <p:tav tm="100000">
                                          <p:val>
                                            <p:strVal val="#ppt_y"/>
                                          </p:val>
                                        </p:tav>
                                      </p:tavLst>
                                    </p:anim>
                                  </p:childTnLst>
                                </p:cTn>
                              </p:par>
                              <p:par>
                                <p:cTn id="21" presetID="2" presetClass="entr" presetSubtype="4" dur="1000" decel="100000" fill="hold" grpId="0" nodeType="withEffect">
                                  <p:stCondLst>
                                    <p:cond delay="400"/>
                                  </p:stCondLst>
                                  <p:childTnLst>
                                    <p:set>
                                      <p:cBhvr>
                                        <p:cTn id="22" dur="1" fill="hold">
                                          <p:stCondLst>
                                            <p:cond delay="0"/>
                                          </p:stCondLst>
                                        </p:cTn>
                                        <p:tgtEl>
                                          <p:spTgt spid="44"/>
                                        </p:tgtEl>
                                        <p:attrNameLst>
                                          <p:attrName>style.visibility</p:attrName>
                                        </p:attrNameLst>
                                      </p:cBhvr>
                                      <p:to>
                                        <p:strVal val="visible"/>
                                      </p:to>
                                    </p:set>
                                    <p:anim calcmode="lin" valueType="num">
                                      <p:cBhvr additive="base">
                                        <p:cTn id="23" dur="1000" fill="hold"/>
                                        <p:tgtEl>
                                          <p:spTgt spid="44"/>
                                        </p:tgtEl>
                                        <p:attrNameLst>
                                          <p:attrName>ppt_x</p:attrName>
                                        </p:attrNameLst>
                                      </p:cBhvr>
                                      <p:tavLst>
                                        <p:tav tm="0">
                                          <p:val>
                                            <p:strVal val="#ppt_x"/>
                                          </p:val>
                                        </p:tav>
                                        <p:tav tm="100000">
                                          <p:val>
                                            <p:strVal val="#ppt_x"/>
                                          </p:val>
                                        </p:tav>
                                      </p:tavLst>
                                    </p:anim>
                                    <p:anim calcmode="lin" valueType="num">
                                      <p:cBhvr additive="base">
                                        <p:cTn id="24" dur="1000" fill="hold"/>
                                        <p:tgtEl>
                                          <p:spTgt spid="4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animBg="1"/>
      <p:bldP spid="42" grpId="0" animBg="1"/>
      <p:bldP spid="43" grpId="0" animBg="1"/>
      <p:bldP spid="44" grpId="0" animBg="1"/>
      <p:bldP spid="17" grpId="0" animBg="1"/>
    </p:bld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76_Custom Layout">
    <p:spTree>
      <p:nvGrpSpPr>
        <p:cNvPr id="1" name=""/>
        <p:cNvGrpSpPr/>
        <p:nvPr/>
      </p:nvGrpSpPr>
      <p:grpSpPr>
        <a:xfrm>
          <a:off x="0" y="0"/>
          <a:ext cx="0" cy="0"/>
          <a:chOff x="0" y="0"/>
          <a:chExt cx="0" cy="0"/>
        </a:xfrm>
      </p:grpSpPr>
      <p:sp>
        <p:nvSpPr>
          <p:cNvPr id="41" name="Picture Placeholder 15"/>
          <p:cNvSpPr>
            <a:spLocks noGrp="1"/>
          </p:cNvSpPr>
          <p:nvPr>
            <p:ph type="pic" sz="quarter" idx="10" hasCustomPrompt="1"/>
          </p:nvPr>
        </p:nvSpPr>
        <p:spPr>
          <a:xfrm>
            <a:off x="7228910" y="2475212"/>
            <a:ext cx="2820557" cy="3255264"/>
          </a:xfrm>
          <a:prstGeom prst="rect">
            <a:avLst/>
          </a:prstGeom>
          <a:pattFill prst="lgGrid">
            <a:fgClr>
              <a:schemeClr val="bg1"/>
            </a:fgClr>
            <a:bgClr>
              <a:schemeClr val="tx2">
                <a:lumMod val="10000"/>
                <a:lumOff val="90000"/>
              </a:schemeClr>
            </a:bgClr>
          </a:pattFill>
          <a:ln>
            <a:noFill/>
          </a:ln>
          <a:effectLst>
            <a:outerShdw blurRad="546100" dist="495300" dir="8100000" sx="94000" sy="94000" algn="ctr" rotWithShape="0">
              <a:srgbClr val="000000">
                <a:alpha val="40000"/>
              </a:srgbClr>
            </a:outerShdw>
          </a:effectLst>
          <a:scene3d>
            <a:camera prst="isometricTopUp"/>
            <a:lightRig rig="threePt" dir="t"/>
          </a:scene3d>
          <a:sp3d extrusionH="76200"/>
        </p:spPr>
        <p:txBody>
          <a:bodyPr anchor="ctr"/>
          <a:lstStyle>
            <a:lvl1pPr marL="0" indent="0" algn="ctr">
              <a:buNone/>
              <a:defRPr baseline="0"/>
            </a:lvl1pPr>
          </a:lstStyle>
          <a:p>
            <a:r>
              <a:rPr lang="en-US"/>
              <a:t>Drag and drop picture</a:t>
            </a:r>
          </a:p>
        </p:txBody>
      </p:sp>
      <p:sp>
        <p:nvSpPr>
          <p:cNvPr id="42" name="Picture Placeholder 15"/>
          <p:cNvSpPr>
            <a:spLocks noGrp="1"/>
          </p:cNvSpPr>
          <p:nvPr>
            <p:ph type="pic" sz="quarter" idx="11" hasCustomPrompt="1"/>
          </p:nvPr>
        </p:nvSpPr>
        <p:spPr>
          <a:xfrm>
            <a:off x="7228910" y="2113507"/>
            <a:ext cx="2820557" cy="3255264"/>
          </a:xfrm>
          <a:prstGeom prst="rect">
            <a:avLst/>
          </a:prstGeom>
          <a:pattFill prst="lgGrid">
            <a:fgClr>
              <a:schemeClr val="bg1"/>
            </a:fgClr>
            <a:bgClr>
              <a:schemeClr val="tx2">
                <a:lumMod val="10000"/>
                <a:lumOff val="90000"/>
              </a:schemeClr>
            </a:bgClr>
          </a:pattFill>
          <a:ln>
            <a:noFill/>
          </a:ln>
          <a:effectLst>
            <a:outerShdw blurRad="546100" dist="495300" dir="8100000" sx="94000" sy="94000" algn="ctr" rotWithShape="0">
              <a:srgbClr val="000000">
                <a:alpha val="40000"/>
              </a:srgbClr>
            </a:outerShdw>
          </a:effectLst>
          <a:scene3d>
            <a:camera prst="isometricTopUp"/>
            <a:lightRig rig="threePt" dir="t"/>
          </a:scene3d>
          <a:sp3d extrusionH="76200"/>
        </p:spPr>
        <p:txBody>
          <a:bodyPr anchor="ctr"/>
          <a:lstStyle>
            <a:lvl1pPr marL="0" indent="0" algn="ctr">
              <a:buNone/>
              <a:defRPr baseline="0"/>
            </a:lvl1pPr>
          </a:lstStyle>
          <a:p>
            <a:r>
              <a:rPr lang="en-US"/>
              <a:t>Drag and drop picture</a:t>
            </a:r>
          </a:p>
        </p:txBody>
      </p:sp>
      <p:sp>
        <p:nvSpPr>
          <p:cNvPr id="43" name="Picture Placeholder 15"/>
          <p:cNvSpPr>
            <a:spLocks noGrp="1"/>
          </p:cNvSpPr>
          <p:nvPr>
            <p:ph type="pic" sz="quarter" idx="12" hasCustomPrompt="1"/>
          </p:nvPr>
        </p:nvSpPr>
        <p:spPr>
          <a:xfrm>
            <a:off x="7228910" y="1751802"/>
            <a:ext cx="2820557" cy="3255264"/>
          </a:xfrm>
          <a:prstGeom prst="rect">
            <a:avLst/>
          </a:prstGeom>
          <a:pattFill prst="lgGrid">
            <a:fgClr>
              <a:schemeClr val="bg1"/>
            </a:fgClr>
            <a:bgClr>
              <a:schemeClr val="tx2">
                <a:lumMod val="10000"/>
                <a:lumOff val="90000"/>
              </a:schemeClr>
            </a:bgClr>
          </a:pattFill>
          <a:ln>
            <a:noFill/>
          </a:ln>
          <a:effectLst>
            <a:outerShdw blurRad="546100" dist="495300" dir="8100000" sx="94000" sy="94000" algn="ctr" rotWithShape="0">
              <a:srgbClr val="000000">
                <a:alpha val="40000"/>
              </a:srgbClr>
            </a:outerShdw>
          </a:effectLst>
          <a:scene3d>
            <a:camera prst="isometricTopUp"/>
            <a:lightRig rig="threePt" dir="t"/>
          </a:scene3d>
          <a:sp3d extrusionH="76200"/>
        </p:spPr>
        <p:txBody>
          <a:bodyPr anchor="ctr"/>
          <a:lstStyle>
            <a:lvl1pPr marL="0" indent="0" algn="ctr">
              <a:buNone/>
              <a:defRPr baseline="0"/>
            </a:lvl1pPr>
          </a:lstStyle>
          <a:p>
            <a:r>
              <a:rPr lang="en-US"/>
              <a:t>Drag and drop picture</a:t>
            </a:r>
          </a:p>
        </p:txBody>
      </p:sp>
      <p:sp>
        <p:nvSpPr>
          <p:cNvPr id="44" name="Picture Placeholder 15"/>
          <p:cNvSpPr>
            <a:spLocks noGrp="1"/>
          </p:cNvSpPr>
          <p:nvPr>
            <p:ph type="pic" sz="quarter" idx="13" hasCustomPrompt="1"/>
          </p:nvPr>
        </p:nvSpPr>
        <p:spPr>
          <a:xfrm>
            <a:off x="7228910" y="1390097"/>
            <a:ext cx="2820557" cy="3255264"/>
          </a:xfrm>
          <a:prstGeom prst="rect">
            <a:avLst/>
          </a:prstGeom>
          <a:pattFill prst="lgGrid">
            <a:fgClr>
              <a:schemeClr val="bg1"/>
            </a:fgClr>
            <a:bgClr>
              <a:schemeClr val="tx2">
                <a:lumMod val="10000"/>
                <a:lumOff val="90000"/>
              </a:schemeClr>
            </a:bgClr>
          </a:pattFill>
          <a:ln>
            <a:noFill/>
          </a:ln>
          <a:effectLst>
            <a:outerShdw blurRad="546100" dist="495300" dir="8100000" sx="94000" sy="94000" algn="ctr" rotWithShape="0">
              <a:srgbClr val="000000">
                <a:alpha val="40000"/>
              </a:srgbClr>
            </a:outerShdw>
          </a:effectLst>
          <a:scene3d>
            <a:camera prst="isometricTopUp"/>
            <a:lightRig rig="threePt" dir="t"/>
          </a:scene3d>
          <a:sp3d extrusionH="76200"/>
        </p:spPr>
        <p:txBody>
          <a:bodyPr anchor="ctr"/>
          <a:lstStyle>
            <a:lvl1pPr marL="0" indent="0" algn="ctr">
              <a:buNone/>
              <a:defRPr baseline="0"/>
            </a:lvl1pPr>
          </a:lstStyle>
          <a:p>
            <a:r>
              <a:rPr lang="en-US"/>
              <a:t>Drag and drop picture</a:t>
            </a:r>
          </a:p>
        </p:txBody>
      </p:sp>
    </p:spTree>
    <p:extLst>
      <p:ext uri="{BB962C8B-B14F-4D97-AF65-F5344CB8AC3E}">
        <p14:creationId xmlns:p14="http://schemas.microsoft.com/office/powerpoint/2010/main" val="3839873007"/>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10" presetClass="entr" presetSubtype="0" dur="500" fill="hold" grpId="0" nodeType="withEffect">
                                  <p:stCondLst>
                                    <p:cond delay="0"/>
                                  </p:stCondLst>
                                  <p:childTnLst>
                                    <p:set>
                                      <p:cBhvr>
                                        <p:cTn id="6" dur="1" fill="hold">
                                          <p:stCondLst>
                                            <p:cond delay="0"/>
                                          </p:stCondLst>
                                        </p:cTn>
                                        <p:tgtEl>
                                          <p:spTgt spid="41"/>
                                        </p:tgtEl>
                                        <p:attrNameLst>
                                          <p:attrName>style.visibility</p:attrName>
                                        </p:attrNameLst>
                                      </p:cBhvr>
                                      <p:to>
                                        <p:strVal val="visible"/>
                                      </p:to>
                                    </p:set>
                                    <p:animEffect transition="in" filter="fade">
                                      <p:cBhvr>
                                        <p:cTn id="7" dur="500"/>
                                        <p:tgtEl>
                                          <p:spTgt spid="41"/>
                                        </p:tgtEl>
                                      </p:cBhvr>
                                    </p:animEffect>
                                  </p:childTnLst>
                                </p:cTn>
                              </p:par>
                              <p:par>
                                <p:cTn id="8" presetID="42" presetClass="path" presetSubtype="0" dur="1000" decel="100000" fill="hold" grpId="1" nodeType="withEffect">
                                  <p:stCondLst>
                                    <p:cond delay="0"/>
                                  </p:stCondLst>
                                  <p:childTnLst>
                                    <p:animMotion origin="layout" path="M 3.40711E-06 1.85185E-06 L 3.40711E-06 0.08669" pathEditMode="relative" rAng="0" ptsTypes="AA">
                                      <p:cBhvr>
                                        <p:cTn id="9" dur="1000" spd="-100000" fill="hold"/>
                                        <p:tgtEl>
                                          <p:spTgt spid="41"/>
                                        </p:tgtEl>
                                        <p:attrNameLst>
                                          <p:attrName>ppt_x</p:attrName>
                                          <p:attrName>ppt_y</p:attrName>
                                        </p:attrNameLst>
                                      </p:cBhvr>
                                      <p:rCtr x="0" y="4329"/>
                                    </p:animMotion>
                                  </p:childTnLst>
                                </p:cTn>
                              </p:par>
                              <p:par>
                                <p:cTn id="10" presetID="10" presetClass="entr" presetSubtype="0" dur="500" fill="hold" grpId="0" nodeType="withEffect">
                                  <p:stCondLst>
                                    <p:cond delay="500"/>
                                  </p:stCondLst>
                                  <p:childTnLst>
                                    <p:set>
                                      <p:cBhvr>
                                        <p:cTn id="11" dur="1" fill="hold">
                                          <p:stCondLst>
                                            <p:cond delay="0"/>
                                          </p:stCondLst>
                                        </p:cTn>
                                        <p:tgtEl>
                                          <p:spTgt spid="42"/>
                                        </p:tgtEl>
                                        <p:attrNameLst>
                                          <p:attrName>style.visibility</p:attrName>
                                        </p:attrNameLst>
                                      </p:cBhvr>
                                      <p:to>
                                        <p:strVal val="visible"/>
                                      </p:to>
                                    </p:set>
                                    <p:animEffect transition="in" filter="fade">
                                      <p:cBhvr>
                                        <p:cTn id="12" dur="500"/>
                                        <p:tgtEl>
                                          <p:spTgt spid="42"/>
                                        </p:tgtEl>
                                      </p:cBhvr>
                                    </p:animEffect>
                                  </p:childTnLst>
                                </p:cTn>
                              </p:par>
                              <p:par>
                                <p:cTn id="13" presetID="42" presetClass="path" presetSubtype="0" dur="1000" decel="100000" fill="hold" grpId="1" nodeType="withEffect">
                                  <p:stCondLst>
                                    <p:cond delay="500"/>
                                  </p:stCondLst>
                                  <p:childTnLst>
                                    <p:animMotion origin="layout" path="M 3.40711E-06 3.88889E-06 L 3.40711E-06 0.08669" pathEditMode="relative" rAng="0" ptsTypes="AA">
                                      <p:cBhvr>
                                        <p:cTn id="14" dur="1000" spd="-100000" fill="hold"/>
                                        <p:tgtEl>
                                          <p:spTgt spid="42"/>
                                        </p:tgtEl>
                                        <p:attrNameLst>
                                          <p:attrName>ppt_x</p:attrName>
                                          <p:attrName>ppt_y</p:attrName>
                                        </p:attrNameLst>
                                      </p:cBhvr>
                                      <p:rCtr x="0" y="4329"/>
                                    </p:animMotion>
                                  </p:childTnLst>
                                </p:cTn>
                              </p:par>
                              <p:par>
                                <p:cTn id="15" presetID="10" presetClass="entr" presetSubtype="0" dur="500" fill="hold" grpId="0" nodeType="withEffect">
                                  <p:stCondLst>
                                    <p:cond delay="1000"/>
                                  </p:stCondLst>
                                  <p:childTnLst>
                                    <p:set>
                                      <p:cBhvr>
                                        <p:cTn id="16" dur="1" fill="hold">
                                          <p:stCondLst>
                                            <p:cond delay="0"/>
                                          </p:stCondLst>
                                        </p:cTn>
                                        <p:tgtEl>
                                          <p:spTgt spid="43"/>
                                        </p:tgtEl>
                                        <p:attrNameLst>
                                          <p:attrName>style.visibility</p:attrName>
                                        </p:attrNameLst>
                                      </p:cBhvr>
                                      <p:to>
                                        <p:strVal val="visible"/>
                                      </p:to>
                                    </p:set>
                                    <p:animEffect transition="in" filter="fade">
                                      <p:cBhvr>
                                        <p:cTn id="17" dur="500"/>
                                        <p:tgtEl>
                                          <p:spTgt spid="43"/>
                                        </p:tgtEl>
                                      </p:cBhvr>
                                    </p:animEffect>
                                  </p:childTnLst>
                                </p:cTn>
                              </p:par>
                              <p:par>
                                <p:cTn id="18" presetID="42" presetClass="path" presetSubtype="0" dur="1000" decel="100000" fill="hold" grpId="1" nodeType="withEffect">
                                  <p:stCondLst>
                                    <p:cond delay="1000"/>
                                  </p:stCondLst>
                                  <p:childTnLst>
                                    <p:animMotion origin="layout" path="M 3.40711E-06 1.66667E-06 L 3.40711E-06 0.08669" pathEditMode="relative" rAng="0" ptsTypes="AA">
                                      <p:cBhvr>
                                        <p:cTn id="19" dur="1000" spd="-100000" fill="hold"/>
                                        <p:tgtEl>
                                          <p:spTgt spid="43"/>
                                        </p:tgtEl>
                                        <p:attrNameLst>
                                          <p:attrName>ppt_x</p:attrName>
                                          <p:attrName>ppt_y</p:attrName>
                                        </p:attrNameLst>
                                      </p:cBhvr>
                                      <p:rCtr x="0" y="4329"/>
                                    </p:animMotion>
                                  </p:childTnLst>
                                </p:cTn>
                              </p:par>
                              <p:par>
                                <p:cTn id="20" presetID="10" presetClass="entr" presetSubtype="0" dur="500" fill="hold" grpId="0" nodeType="withEffect">
                                  <p:stCondLst>
                                    <p:cond delay="1500"/>
                                  </p:stCondLst>
                                  <p:childTnLst>
                                    <p:set>
                                      <p:cBhvr>
                                        <p:cTn id="21" dur="1" fill="hold">
                                          <p:stCondLst>
                                            <p:cond delay="0"/>
                                          </p:stCondLst>
                                        </p:cTn>
                                        <p:tgtEl>
                                          <p:spTgt spid="44"/>
                                        </p:tgtEl>
                                        <p:attrNameLst>
                                          <p:attrName>style.visibility</p:attrName>
                                        </p:attrNameLst>
                                      </p:cBhvr>
                                      <p:to>
                                        <p:strVal val="visible"/>
                                      </p:to>
                                    </p:set>
                                    <p:animEffect transition="in" filter="fade">
                                      <p:cBhvr>
                                        <p:cTn id="22" dur="500"/>
                                        <p:tgtEl>
                                          <p:spTgt spid="44"/>
                                        </p:tgtEl>
                                      </p:cBhvr>
                                    </p:animEffect>
                                  </p:childTnLst>
                                </p:cTn>
                              </p:par>
                              <p:par>
                                <p:cTn id="23" presetID="42" presetClass="path" presetSubtype="0" dur="1000" decel="100000" fill="hold" grpId="1" nodeType="withEffect">
                                  <p:stCondLst>
                                    <p:cond delay="1500"/>
                                  </p:stCondLst>
                                  <p:childTnLst>
                                    <p:animMotion origin="layout" path="M 3.40711E-06 -5.55556E-07 L 3.40711E-06 0.08669" pathEditMode="relative" rAng="0" ptsTypes="AA">
                                      <p:cBhvr>
                                        <p:cTn id="24" dur="1000" spd="-100000" fill="hold"/>
                                        <p:tgtEl>
                                          <p:spTgt spid="44"/>
                                        </p:tgtEl>
                                        <p:attrNameLst>
                                          <p:attrName>ppt_x</p:attrName>
                                          <p:attrName>ppt_y</p:attrName>
                                        </p:attrNameLst>
                                      </p:cBhvr>
                                      <p:rCtr x="0" y="432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animBg="1"/>
      <p:bldP spid="41" grpId="1" animBg="1"/>
      <p:bldP spid="42" grpId="0" animBg="1"/>
      <p:bldP spid="42" grpId="1" animBg="1"/>
      <p:bldP spid="43" grpId="0" animBg="1"/>
      <p:bldP spid="43" grpId="1" animBg="1"/>
      <p:bldP spid="44" grpId="0" animBg="1"/>
      <p:bldP spid="44" grpId="1" animBg="1"/>
    </p:bld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Picture Placeholder 4">
            <a:extLst>
              <a:ext uri="{FF2B5EF4-FFF2-40B4-BE49-F238E27FC236}">
                <a16:creationId xmlns:a16="http://schemas.microsoft.com/office/drawing/2014/main" id="{CDD5BDAE-070D-466F-9878-EB1BC2848ED8}"/>
              </a:ext>
            </a:extLst>
          </p:cNvPr>
          <p:cNvSpPr>
            <a:spLocks noGrp="1"/>
          </p:cNvSpPr>
          <p:nvPr>
            <p:ph type="pic" sz="quarter" idx="11"/>
          </p:nvPr>
        </p:nvSpPr>
        <p:spPr>
          <a:xfrm>
            <a:off x="812800" y="728662"/>
            <a:ext cx="10566400" cy="5589588"/>
          </a:xfrm>
          <a:custGeom>
            <a:avLst/>
            <a:gdLst>
              <a:gd name="connsiteX0" fmla="*/ 0 w 7829549"/>
              <a:gd name="connsiteY0" fmla="*/ 0 h 7543801"/>
              <a:gd name="connsiteX1" fmla="*/ 7829549 w 7829549"/>
              <a:gd name="connsiteY1" fmla="*/ 0 h 7543801"/>
              <a:gd name="connsiteX2" fmla="*/ 7829549 w 7829549"/>
              <a:gd name="connsiteY2" fmla="*/ 7543801 h 7543801"/>
              <a:gd name="connsiteX3" fmla="*/ 0 w 7829549"/>
              <a:gd name="connsiteY3" fmla="*/ 7543801 h 7543801"/>
            </a:gdLst>
            <a:ahLst/>
            <a:cxnLst>
              <a:cxn ang="0">
                <a:pos x="connsiteX0" y="connsiteY0"/>
              </a:cxn>
              <a:cxn ang="0">
                <a:pos x="connsiteX1" y="connsiteY1"/>
              </a:cxn>
              <a:cxn ang="0">
                <a:pos x="connsiteX2" y="connsiteY2"/>
              </a:cxn>
              <a:cxn ang="0">
                <a:pos x="connsiteX3" y="connsiteY3"/>
              </a:cxn>
            </a:cxnLst>
            <a:rect l="l" t="t" r="r" b="b"/>
            <a:pathLst>
              <a:path w="7829549" h="7543801">
                <a:moveTo>
                  <a:pt x="0" y="0"/>
                </a:moveTo>
                <a:lnTo>
                  <a:pt x="7829549" y="0"/>
                </a:lnTo>
                <a:lnTo>
                  <a:pt x="7829549" y="7543801"/>
                </a:lnTo>
                <a:lnTo>
                  <a:pt x="0" y="7543801"/>
                </a:ln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Tree>
    <p:extLst>
      <p:ext uri="{BB962C8B-B14F-4D97-AF65-F5344CB8AC3E}">
        <p14:creationId xmlns:p14="http://schemas.microsoft.com/office/powerpoint/2010/main" val="3329698301"/>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4" dur="2200" decel="10000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2200" fill="hold"/>
                                        <p:tgtEl>
                                          <p:spTgt spid="2"/>
                                        </p:tgtEl>
                                        <p:attrNameLst>
                                          <p:attrName>ppt_x</p:attrName>
                                        </p:attrNameLst>
                                      </p:cBhvr>
                                      <p:tavLst>
                                        <p:tav tm="0">
                                          <p:val>
                                            <p:strVal val="#ppt_x"/>
                                          </p:val>
                                        </p:tav>
                                        <p:tav tm="100000">
                                          <p:val>
                                            <p:strVal val="#ppt_x"/>
                                          </p:val>
                                        </p:tav>
                                      </p:tavLst>
                                    </p:anim>
                                    <p:anim calcmode="lin" valueType="num">
                                      <p:cBhvr additive="base">
                                        <p:cTn id="8" dur="2200" fill="hold"/>
                                        <p:tgtEl>
                                          <p:spTgt spid="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extLst>
    <p:ext uri="{DCECCB84-F9BA-43D5-87BE-67443E8EF086}">
      <p15:sldGuideLst xmlns:p15="http://schemas.microsoft.com/office/powerpoint/2012/main">
        <p15:guide id="1" orient="horz" pos="4320">
          <p15:clr>
            <a:srgbClr val="FBAE40"/>
          </p15:clr>
        </p15:guide>
        <p15:guide id="2" pos="7681">
          <p15:clr>
            <a:srgbClr val="FBAE40"/>
          </p15:clr>
        </p15:guide>
        <p15:guide id="3" pos="985">
          <p15:clr>
            <a:srgbClr val="FBAE40"/>
          </p15:clr>
        </p15:guide>
        <p15:guide id="4" pos="14377">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8EC47BBF-5081-44C2-A39B-5B7D55A2CAC4}"/>
              </a:ext>
            </a:extLst>
          </p:cNvPr>
          <p:cNvSpPr>
            <a:spLocks noGrp="1"/>
          </p:cNvSpPr>
          <p:nvPr>
            <p:ph type="pic" sz="quarter" idx="11"/>
          </p:nvPr>
        </p:nvSpPr>
        <p:spPr>
          <a:xfrm>
            <a:off x="781741" y="793750"/>
            <a:ext cx="5314258" cy="5524500"/>
          </a:xfrm>
          <a:custGeom>
            <a:avLst/>
            <a:gdLst>
              <a:gd name="connsiteX0" fmla="*/ 0 w 10629899"/>
              <a:gd name="connsiteY0" fmla="*/ 0 h 11049000"/>
              <a:gd name="connsiteX1" fmla="*/ 10629899 w 10629899"/>
              <a:gd name="connsiteY1" fmla="*/ 0 h 11049000"/>
              <a:gd name="connsiteX2" fmla="*/ 10629899 w 10629899"/>
              <a:gd name="connsiteY2" fmla="*/ 11049000 h 11049000"/>
              <a:gd name="connsiteX3" fmla="*/ 0 w 10629899"/>
              <a:gd name="connsiteY3" fmla="*/ 11049000 h 11049000"/>
            </a:gdLst>
            <a:ahLst/>
            <a:cxnLst>
              <a:cxn ang="0">
                <a:pos x="connsiteX0" y="connsiteY0"/>
              </a:cxn>
              <a:cxn ang="0">
                <a:pos x="connsiteX1" y="connsiteY1"/>
              </a:cxn>
              <a:cxn ang="0">
                <a:pos x="connsiteX2" y="connsiteY2"/>
              </a:cxn>
              <a:cxn ang="0">
                <a:pos x="connsiteX3" y="connsiteY3"/>
              </a:cxn>
            </a:cxnLst>
            <a:rect l="l" t="t" r="r" b="b"/>
            <a:pathLst>
              <a:path w="10629899" h="11049000">
                <a:moveTo>
                  <a:pt x="0" y="0"/>
                </a:moveTo>
                <a:lnTo>
                  <a:pt x="10629899" y="0"/>
                </a:lnTo>
                <a:lnTo>
                  <a:pt x="10629899" y="11049000"/>
                </a:lnTo>
                <a:lnTo>
                  <a:pt x="0" y="11049000"/>
                </a:ln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
        <p:nvSpPr>
          <p:cNvPr id="9" name="Picture Placeholder 8">
            <a:extLst>
              <a:ext uri="{FF2B5EF4-FFF2-40B4-BE49-F238E27FC236}">
                <a16:creationId xmlns:a16="http://schemas.microsoft.com/office/drawing/2014/main" id="{D59F983A-E9C3-445F-A7F1-45E2008FDCDD}"/>
              </a:ext>
            </a:extLst>
          </p:cNvPr>
          <p:cNvSpPr>
            <a:spLocks noGrp="1"/>
          </p:cNvSpPr>
          <p:nvPr>
            <p:ph type="pic" sz="quarter" idx="12"/>
          </p:nvPr>
        </p:nvSpPr>
        <p:spPr>
          <a:xfrm>
            <a:off x="6096000" y="3575050"/>
            <a:ext cx="2638804" cy="2743200"/>
          </a:xfrm>
          <a:custGeom>
            <a:avLst/>
            <a:gdLst>
              <a:gd name="connsiteX0" fmla="*/ 0 w 5278295"/>
              <a:gd name="connsiteY0" fmla="*/ 0 h 5486400"/>
              <a:gd name="connsiteX1" fmla="*/ 5278295 w 5278295"/>
              <a:gd name="connsiteY1" fmla="*/ 0 h 5486400"/>
              <a:gd name="connsiteX2" fmla="*/ 5278295 w 5278295"/>
              <a:gd name="connsiteY2" fmla="*/ 5486400 h 5486400"/>
              <a:gd name="connsiteX3" fmla="*/ 0 w 5278295"/>
              <a:gd name="connsiteY3" fmla="*/ 5486400 h 5486400"/>
            </a:gdLst>
            <a:ahLst/>
            <a:cxnLst>
              <a:cxn ang="0">
                <a:pos x="connsiteX0" y="connsiteY0"/>
              </a:cxn>
              <a:cxn ang="0">
                <a:pos x="connsiteX1" y="connsiteY1"/>
              </a:cxn>
              <a:cxn ang="0">
                <a:pos x="connsiteX2" y="connsiteY2"/>
              </a:cxn>
              <a:cxn ang="0">
                <a:pos x="connsiteX3" y="connsiteY3"/>
              </a:cxn>
            </a:cxnLst>
            <a:rect l="l" t="t" r="r" b="b"/>
            <a:pathLst>
              <a:path w="5278295" h="5486400">
                <a:moveTo>
                  <a:pt x="0" y="0"/>
                </a:moveTo>
                <a:lnTo>
                  <a:pt x="5278295" y="0"/>
                </a:lnTo>
                <a:lnTo>
                  <a:pt x="5278295" y="5486400"/>
                </a:lnTo>
                <a:lnTo>
                  <a:pt x="0" y="5486400"/>
                </a:ln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
        <p:nvSpPr>
          <p:cNvPr id="11" name="Picture Placeholder 10">
            <a:extLst>
              <a:ext uri="{FF2B5EF4-FFF2-40B4-BE49-F238E27FC236}">
                <a16:creationId xmlns:a16="http://schemas.microsoft.com/office/drawing/2014/main" id="{BDE4FB34-EA53-468B-BEDD-E3F16B8A7852}"/>
              </a:ext>
            </a:extLst>
          </p:cNvPr>
          <p:cNvSpPr>
            <a:spLocks noGrp="1"/>
          </p:cNvSpPr>
          <p:nvPr>
            <p:ph type="pic" sz="quarter" idx="13"/>
          </p:nvPr>
        </p:nvSpPr>
        <p:spPr>
          <a:xfrm>
            <a:off x="8734803" y="793750"/>
            <a:ext cx="2675454" cy="2781300"/>
          </a:xfrm>
          <a:custGeom>
            <a:avLst/>
            <a:gdLst>
              <a:gd name="connsiteX0" fmla="*/ 0 w 5351604"/>
              <a:gd name="connsiteY0" fmla="*/ 0 h 5562600"/>
              <a:gd name="connsiteX1" fmla="*/ 5351604 w 5351604"/>
              <a:gd name="connsiteY1" fmla="*/ 0 h 5562600"/>
              <a:gd name="connsiteX2" fmla="*/ 5351604 w 5351604"/>
              <a:gd name="connsiteY2" fmla="*/ 5562600 h 5562600"/>
              <a:gd name="connsiteX3" fmla="*/ 0 w 5351604"/>
              <a:gd name="connsiteY3" fmla="*/ 5562600 h 5562600"/>
            </a:gdLst>
            <a:ahLst/>
            <a:cxnLst>
              <a:cxn ang="0">
                <a:pos x="connsiteX0" y="connsiteY0"/>
              </a:cxn>
              <a:cxn ang="0">
                <a:pos x="connsiteX1" y="connsiteY1"/>
              </a:cxn>
              <a:cxn ang="0">
                <a:pos x="connsiteX2" y="connsiteY2"/>
              </a:cxn>
              <a:cxn ang="0">
                <a:pos x="connsiteX3" y="connsiteY3"/>
              </a:cxn>
            </a:cxnLst>
            <a:rect l="l" t="t" r="r" b="b"/>
            <a:pathLst>
              <a:path w="5351604" h="5562600">
                <a:moveTo>
                  <a:pt x="0" y="0"/>
                </a:moveTo>
                <a:lnTo>
                  <a:pt x="5351604" y="0"/>
                </a:lnTo>
                <a:lnTo>
                  <a:pt x="5351604" y="5562600"/>
                </a:lnTo>
                <a:lnTo>
                  <a:pt x="0" y="5562600"/>
                </a:ln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Tree>
    <p:extLst>
      <p:ext uri="{BB962C8B-B14F-4D97-AF65-F5344CB8AC3E}">
        <p14:creationId xmlns:p14="http://schemas.microsoft.com/office/powerpoint/2010/main" val="1292917040"/>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4" dur="2200" decel="10000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2200" fill="hold"/>
                                        <p:tgtEl>
                                          <p:spTgt spid="8"/>
                                        </p:tgtEl>
                                        <p:attrNameLst>
                                          <p:attrName>ppt_x</p:attrName>
                                        </p:attrNameLst>
                                      </p:cBhvr>
                                      <p:tavLst>
                                        <p:tav tm="0">
                                          <p:val>
                                            <p:strVal val="#ppt_x"/>
                                          </p:val>
                                        </p:tav>
                                        <p:tav tm="100000">
                                          <p:val>
                                            <p:strVal val="#ppt_x"/>
                                          </p:val>
                                        </p:tav>
                                      </p:tavLst>
                                    </p:anim>
                                    <p:anim calcmode="lin" valueType="num">
                                      <p:cBhvr additive="base">
                                        <p:cTn id="8" dur="2200" fill="hold"/>
                                        <p:tgtEl>
                                          <p:spTgt spid="8"/>
                                        </p:tgtEl>
                                        <p:attrNameLst>
                                          <p:attrName>ppt_y</p:attrName>
                                        </p:attrNameLst>
                                      </p:cBhvr>
                                      <p:tavLst>
                                        <p:tav tm="0">
                                          <p:val>
                                            <p:strVal val="1+#ppt_h/2"/>
                                          </p:val>
                                        </p:tav>
                                        <p:tav tm="100000">
                                          <p:val>
                                            <p:strVal val="#ppt_y"/>
                                          </p:val>
                                        </p:tav>
                                      </p:tavLst>
                                    </p:anim>
                                  </p:childTnLst>
                                </p:cTn>
                              </p:par>
                              <p:par>
                                <p:cTn id="9" presetID="2" presetClass="entr" presetSubtype="4" dur="2200" decel="100000"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2200" fill="hold"/>
                                        <p:tgtEl>
                                          <p:spTgt spid="9"/>
                                        </p:tgtEl>
                                        <p:attrNameLst>
                                          <p:attrName>ppt_x</p:attrName>
                                        </p:attrNameLst>
                                      </p:cBhvr>
                                      <p:tavLst>
                                        <p:tav tm="0">
                                          <p:val>
                                            <p:strVal val="#ppt_x"/>
                                          </p:val>
                                        </p:tav>
                                        <p:tav tm="100000">
                                          <p:val>
                                            <p:strVal val="#ppt_x"/>
                                          </p:val>
                                        </p:tav>
                                      </p:tavLst>
                                    </p:anim>
                                    <p:anim calcmode="lin" valueType="num">
                                      <p:cBhvr additive="base">
                                        <p:cTn id="12" dur="2200" fill="hold"/>
                                        <p:tgtEl>
                                          <p:spTgt spid="9"/>
                                        </p:tgtEl>
                                        <p:attrNameLst>
                                          <p:attrName>ppt_y</p:attrName>
                                        </p:attrNameLst>
                                      </p:cBhvr>
                                      <p:tavLst>
                                        <p:tav tm="0">
                                          <p:val>
                                            <p:strVal val="1+#ppt_h/2"/>
                                          </p:val>
                                        </p:tav>
                                        <p:tav tm="100000">
                                          <p:val>
                                            <p:strVal val="#ppt_y"/>
                                          </p:val>
                                        </p:tav>
                                      </p:tavLst>
                                    </p:anim>
                                  </p:childTnLst>
                                </p:cTn>
                              </p:par>
                              <p:par>
                                <p:cTn id="13" presetID="2" presetClass="entr" presetSubtype="4" dur="2200" decel="100000" fill="hold" grpId="0" nodeType="withEffect">
                                  <p:stCondLst>
                                    <p:cond delay="0"/>
                                  </p:stCondLst>
                                  <p:childTnLst>
                                    <p:set>
                                      <p:cBhvr>
                                        <p:cTn id="14" dur="1" fill="hold">
                                          <p:stCondLst>
                                            <p:cond delay="0"/>
                                          </p:stCondLst>
                                        </p:cTn>
                                        <p:tgtEl>
                                          <p:spTgt spid="11"/>
                                        </p:tgtEl>
                                        <p:attrNameLst>
                                          <p:attrName>style.visibility</p:attrName>
                                        </p:attrNameLst>
                                      </p:cBhvr>
                                      <p:to>
                                        <p:strVal val="visible"/>
                                      </p:to>
                                    </p:set>
                                    <p:anim calcmode="lin" valueType="num">
                                      <p:cBhvr additive="base">
                                        <p:cTn id="15" dur="2200" fill="hold"/>
                                        <p:tgtEl>
                                          <p:spTgt spid="11"/>
                                        </p:tgtEl>
                                        <p:attrNameLst>
                                          <p:attrName>ppt_x</p:attrName>
                                        </p:attrNameLst>
                                      </p:cBhvr>
                                      <p:tavLst>
                                        <p:tav tm="0">
                                          <p:val>
                                            <p:strVal val="#ppt_x"/>
                                          </p:val>
                                        </p:tav>
                                        <p:tav tm="100000">
                                          <p:val>
                                            <p:strVal val="#ppt_x"/>
                                          </p:val>
                                        </p:tav>
                                      </p:tavLst>
                                    </p:anim>
                                    <p:anim calcmode="lin" valueType="num">
                                      <p:cBhvr additive="base">
                                        <p:cTn id="16" dur="2200" fill="hold"/>
                                        <p:tgtEl>
                                          <p:spTgt spid="1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1" grpId="0" animBg="1"/>
    </p:bld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7_Custom Layout">
    <p:spTree>
      <p:nvGrpSpPr>
        <p:cNvPr id="1" name=""/>
        <p:cNvGrpSpPr/>
        <p:nvPr/>
      </p:nvGrpSpPr>
      <p:grpSpPr>
        <a:xfrm>
          <a:off x="0" y="0"/>
          <a:ext cx="0" cy="0"/>
          <a:chOff x="0" y="0"/>
          <a:chExt cx="0" cy="0"/>
        </a:xfrm>
      </p:grpSpPr>
      <p:sp>
        <p:nvSpPr>
          <p:cNvPr id="2" name="Picture Placeholder 75">
            <a:extLst>
              <a:ext uri="{FF2B5EF4-FFF2-40B4-BE49-F238E27FC236}">
                <a16:creationId xmlns:a16="http://schemas.microsoft.com/office/drawing/2014/main" id="{35C81404-E27E-4F36-A623-E57FC83C04C2}"/>
              </a:ext>
            </a:extLst>
          </p:cNvPr>
          <p:cNvSpPr>
            <a:spLocks noGrp="1"/>
          </p:cNvSpPr>
          <p:nvPr>
            <p:ph type="pic" sz="quarter" idx="24"/>
          </p:nvPr>
        </p:nvSpPr>
        <p:spPr>
          <a:xfrm>
            <a:off x="2960575" y="2512573"/>
            <a:ext cx="3973245" cy="2235242"/>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tx1">
              <a:alpha val="4000"/>
            </a:schemeClr>
          </a:solidFill>
          <a:effectLst>
            <a:outerShdw blurRad="876300" dist="787400" dir="2400000" algn="ctr" rotWithShape="0">
              <a:schemeClr val="tx1">
                <a:alpha val="34000"/>
              </a:schemeClr>
            </a:outerShdw>
          </a:effectLst>
          <a:scene3d>
            <a:camera prst="orthographicFront">
              <a:rot lat="19848000" lon="3234000" rev="17862000"/>
            </a:camera>
            <a:lightRig rig="soft" dir="t"/>
          </a:scene3d>
          <a:sp3d extrusionH="95250" prstMaterial="plastic"/>
        </p:spPr>
        <p:txBody>
          <a:bodyPr wrap="square" anchor="ctr">
            <a:noAutofit/>
          </a:bodyPr>
          <a:lstStyle>
            <a:lvl1pPr algn="ctr">
              <a:defRPr/>
            </a:lvl1pPr>
          </a:lstStyle>
          <a:p>
            <a:endParaRPr lang="en-US"/>
          </a:p>
        </p:txBody>
      </p:sp>
      <p:sp>
        <p:nvSpPr>
          <p:cNvPr id="3" name="Picture Placeholder 75">
            <a:extLst>
              <a:ext uri="{FF2B5EF4-FFF2-40B4-BE49-F238E27FC236}">
                <a16:creationId xmlns:a16="http://schemas.microsoft.com/office/drawing/2014/main" id="{B73DCDD3-849B-48E9-9914-DC8C6C493025}"/>
              </a:ext>
            </a:extLst>
          </p:cNvPr>
          <p:cNvSpPr>
            <a:spLocks noGrp="1"/>
          </p:cNvSpPr>
          <p:nvPr>
            <p:ph type="pic" sz="quarter" idx="25"/>
          </p:nvPr>
        </p:nvSpPr>
        <p:spPr>
          <a:xfrm>
            <a:off x="-177423" y="2845786"/>
            <a:ext cx="3973245" cy="2235242"/>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tx1">
              <a:alpha val="4000"/>
            </a:schemeClr>
          </a:solidFill>
          <a:effectLst>
            <a:outerShdw blurRad="876300" dist="787400" dir="2400000" algn="ctr" rotWithShape="0">
              <a:schemeClr val="tx1">
                <a:alpha val="34000"/>
              </a:schemeClr>
            </a:outerShdw>
          </a:effectLst>
          <a:scene3d>
            <a:camera prst="orthographicFront">
              <a:rot lat="19848000" lon="3234000" rev="17862000"/>
            </a:camera>
            <a:lightRig rig="soft" dir="t"/>
          </a:scene3d>
          <a:sp3d extrusionH="95250" prstMaterial="plastic"/>
        </p:spPr>
        <p:txBody>
          <a:bodyPr wrap="square" anchor="ctr">
            <a:noAutofit/>
          </a:bodyPr>
          <a:lstStyle>
            <a:lvl1pPr algn="ctr">
              <a:defRPr/>
            </a:lvl1pPr>
          </a:lstStyle>
          <a:p>
            <a:endParaRPr lang="en-US"/>
          </a:p>
        </p:txBody>
      </p:sp>
      <p:sp>
        <p:nvSpPr>
          <p:cNvPr id="4" name="Picture Placeholder 75">
            <a:extLst>
              <a:ext uri="{FF2B5EF4-FFF2-40B4-BE49-F238E27FC236}">
                <a16:creationId xmlns:a16="http://schemas.microsoft.com/office/drawing/2014/main" id="{8083A199-38E5-4ACB-BD72-CEC6E71018D7}"/>
              </a:ext>
            </a:extLst>
          </p:cNvPr>
          <p:cNvSpPr>
            <a:spLocks noGrp="1"/>
          </p:cNvSpPr>
          <p:nvPr>
            <p:ph type="pic" sz="quarter" idx="26"/>
          </p:nvPr>
        </p:nvSpPr>
        <p:spPr>
          <a:xfrm>
            <a:off x="2480191" y="4288872"/>
            <a:ext cx="3973245" cy="2235242"/>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tx1">
              <a:alpha val="4000"/>
            </a:schemeClr>
          </a:solidFill>
          <a:effectLst>
            <a:outerShdw blurRad="876300" dist="787400" dir="2400000" algn="ctr" rotWithShape="0">
              <a:schemeClr val="tx1">
                <a:alpha val="34000"/>
              </a:schemeClr>
            </a:outerShdw>
          </a:effectLst>
          <a:scene3d>
            <a:camera prst="orthographicFront">
              <a:rot lat="19848000" lon="3234000" rev="17862000"/>
            </a:camera>
            <a:lightRig rig="soft" dir="t"/>
          </a:scene3d>
          <a:sp3d extrusionH="95250" prstMaterial="plastic"/>
        </p:spPr>
        <p:txBody>
          <a:bodyPr wrap="square" anchor="ctr">
            <a:noAutofit/>
          </a:bodyPr>
          <a:lstStyle>
            <a:lvl1pPr algn="ctr">
              <a:defRPr/>
            </a:lvl1pPr>
          </a:lstStyle>
          <a:p>
            <a:endParaRPr lang="en-US"/>
          </a:p>
        </p:txBody>
      </p:sp>
      <p:sp>
        <p:nvSpPr>
          <p:cNvPr id="7" name="Picture Placeholder 75">
            <a:extLst>
              <a:ext uri="{FF2B5EF4-FFF2-40B4-BE49-F238E27FC236}">
                <a16:creationId xmlns:a16="http://schemas.microsoft.com/office/drawing/2014/main" id="{30F15E57-04C6-4909-ACB4-7ACAA591DE37}"/>
              </a:ext>
            </a:extLst>
          </p:cNvPr>
          <p:cNvSpPr>
            <a:spLocks noGrp="1"/>
          </p:cNvSpPr>
          <p:nvPr>
            <p:ph type="pic" sz="quarter" idx="29"/>
          </p:nvPr>
        </p:nvSpPr>
        <p:spPr>
          <a:xfrm>
            <a:off x="-3446134" y="3087109"/>
            <a:ext cx="3973245" cy="2235242"/>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tx1">
              <a:alpha val="4000"/>
            </a:schemeClr>
          </a:solidFill>
          <a:effectLst>
            <a:outerShdw blurRad="876300" dist="787400" dir="2400000" algn="ctr" rotWithShape="0">
              <a:schemeClr val="tx1">
                <a:alpha val="34000"/>
              </a:schemeClr>
            </a:outerShdw>
          </a:effectLst>
          <a:scene3d>
            <a:camera prst="orthographicFront">
              <a:rot lat="19848000" lon="3234000" rev="17862000"/>
            </a:camera>
            <a:lightRig rig="soft" dir="t"/>
          </a:scene3d>
          <a:sp3d extrusionH="95250" prstMaterial="plastic"/>
        </p:spPr>
        <p:txBody>
          <a:bodyPr wrap="square" anchor="ctr">
            <a:noAutofit/>
          </a:bodyPr>
          <a:lstStyle>
            <a:lvl1pPr algn="ctr">
              <a:defRPr/>
            </a:lvl1pPr>
          </a:lstStyle>
          <a:p>
            <a:endParaRPr lang="en-US"/>
          </a:p>
        </p:txBody>
      </p:sp>
      <p:sp>
        <p:nvSpPr>
          <p:cNvPr id="5" name="Picture Placeholder 75">
            <a:extLst>
              <a:ext uri="{FF2B5EF4-FFF2-40B4-BE49-F238E27FC236}">
                <a16:creationId xmlns:a16="http://schemas.microsoft.com/office/drawing/2014/main" id="{86FBEEA4-D851-4A6C-878E-E42016D4A514}"/>
              </a:ext>
            </a:extLst>
          </p:cNvPr>
          <p:cNvSpPr>
            <a:spLocks noGrp="1"/>
          </p:cNvSpPr>
          <p:nvPr>
            <p:ph type="pic" sz="quarter" idx="27"/>
          </p:nvPr>
        </p:nvSpPr>
        <p:spPr>
          <a:xfrm>
            <a:off x="-805022" y="4557089"/>
            <a:ext cx="3973245" cy="2235242"/>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tx1">
              <a:alpha val="4000"/>
            </a:schemeClr>
          </a:solidFill>
          <a:effectLst>
            <a:outerShdw blurRad="876300" dist="787400" dir="2400000" algn="ctr" rotWithShape="0">
              <a:schemeClr val="tx1">
                <a:alpha val="34000"/>
              </a:schemeClr>
            </a:outerShdw>
          </a:effectLst>
          <a:scene3d>
            <a:camera prst="orthographicFront">
              <a:rot lat="19848000" lon="3234000" rev="17862000"/>
            </a:camera>
            <a:lightRig rig="soft" dir="t"/>
          </a:scene3d>
          <a:sp3d extrusionH="95250" prstMaterial="plastic"/>
        </p:spPr>
        <p:txBody>
          <a:bodyPr wrap="square" anchor="ctr">
            <a:noAutofit/>
          </a:bodyPr>
          <a:lstStyle>
            <a:lvl1pPr algn="ctr">
              <a:defRPr/>
            </a:lvl1pPr>
          </a:lstStyle>
          <a:p>
            <a:endParaRPr lang="en-US"/>
          </a:p>
        </p:txBody>
      </p:sp>
      <p:sp>
        <p:nvSpPr>
          <p:cNvPr id="6" name="Picture Placeholder 75">
            <a:extLst>
              <a:ext uri="{FF2B5EF4-FFF2-40B4-BE49-F238E27FC236}">
                <a16:creationId xmlns:a16="http://schemas.microsoft.com/office/drawing/2014/main" id="{204CD476-3BC2-488C-9229-A7DD254475EA}"/>
              </a:ext>
            </a:extLst>
          </p:cNvPr>
          <p:cNvSpPr>
            <a:spLocks noGrp="1"/>
          </p:cNvSpPr>
          <p:nvPr>
            <p:ph type="pic" sz="quarter" idx="28"/>
          </p:nvPr>
        </p:nvSpPr>
        <p:spPr>
          <a:xfrm>
            <a:off x="1840192" y="5995429"/>
            <a:ext cx="3973245" cy="2235242"/>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tx1">
              <a:alpha val="4000"/>
            </a:schemeClr>
          </a:solidFill>
          <a:effectLst>
            <a:outerShdw blurRad="876300" dist="787400" dir="2400000" algn="ctr" rotWithShape="0">
              <a:schemeClr val="tx1">
                <a:alpha val="34000"/>
              </a:schemeClr>
            </a:outerShdw>
          </a:effectLst>
          <a:scene3d>
            <a:camera prst="orthographicFront">
              <a:rot lat="19848000" lon="3234000" rev="17862000"/>
            </a:camera>
            <a:lightRig rig="soft" dir="t"/>
          </a:scene3d>
          <a:sp3d extrusionH="95250" prstMaterial="plastic"/>
        </p:spPr>
        <p:txBody>
          <a:bodyPr wrap="square" anchor="ctr">
            <a:noAutofit/>
          </a:bodyPr>
          <a:lstStyle>
            <a:lvl1pPr algn="ctr">
              <a:defRPr/>
            </a:lvl1pPr>
          </a:lstStyle>
          <a:p>
            <a:endParaRPr lang="en-US"/>
          </a:p>
        </p:txBody>
      </p:sp>
    </p:spTree>
    <p:extLst>
      <p:ext uri="{BB962C8B-B14F-4D97-AF65-F5344CB8AC3E}">
        <p14:creationId xmlns:p14="http://schemas.microsoft.com/office/powerpoint/2010/main" val="2070227647"/>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12" dur="1500" decel="100000" fill="hold" grpId="0" nodeType="withEffect">
                                  <p:stCondLst>
                                    <p:cond delay="60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500" fill="hold"/>
                                        <p:tgtEl>
                                          <p:spTgt spid="2"/>
                                        </p:tgtEl>
                                        <p:attrNameLst>
                                          <p:attrName>ppt_x</p:attrName>
                                        </p:attrNameLst>
                                      </p:cBhvr>
                                      <p:tavLst>
                                        <p:tav tm="0">
                                          <p:val>
                                            <p:strVal val="0-#ppt_w/2"/>
                                          </p:val>
                                        </p:tav>
                                        <p:tav tm="100000">
                                          <p:val>
                                            <p:strVal val="#ppt_x"/>
                                          </p:val>
                                        </p:tav>
                                      </p:tavLst>
                                    </p:anim>
                                    <p:anim calcmode="lin" valueType="num">
                                      <p:cBhvr additive="base">
                                        <p:cTn id="8" dur="1500" fill="hold"/>
                                        <p:tgtEl>
                                          <p:spTgt spid="2"/>
                                        </p:tgtEl>
                                        <p:attrNameLst>
                                          <p:attrName>ppt_y</p:attrName>
                                        </p:attrNameLst>
                                      </p:cBhvr>
                                      <p:tavLst>
                                        <p:tav tm="0">
                                          <p:val>
                                            <p:strVal val="1+#ppt_h/2"/>
                                          </p:val>
                                        </p:tav>
                                        <p:tav tm="100000">
                                          <p:val>
                                            <p:strVal val="#ppt_y"/>
                                          </p:val>
                                        </p:tav>
                                      </p:tavLst>
                                    </p:anim>
                                  </p:childTnLst>
                                </p:cTn>
                              </p:par>
                              <p:par>
                                <p:cTn id="9" presetID="2" presetClass="entr" presetSubtype="12" dur="1500" decel="100000" fill="hold" grpId="0" nodeType="withEffect">
                                  <p:stCondLst>
                                    <p:cond delay="70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1500" fill="hold"/>
                                        <p:tgtEl>
                                          <p:spTgt spid="3"/>
                                        </p:tgtEl>
                                        <p:attrNameLst>
                                          <p:attrName>ppt_x</p:attrName>
                                        </p:attrNameLst>
                                      </p:cBhvr>
                                      <p:tavLst>
                                        <p:tav tm="0">
                                          <p:val>
                                            <p:strVal val="0-#ppt_w/2"/>
                                          </p:val>
                                        </p:tav>
                                        <p:tav tm="100000">
                                          <p:val>
                                            <p:strVal val="#ppt_x"/>
                                          </p:val>
                                        </p:tav>
                                      </p:tavLst>
                                    </p:anim>
                                    <p:anim calcmode="lin" valueType="num">
                                      <p:cBhvr additive="base">
                                        <p:cTn id="12" dur="1500" fill="hold"/>
                                        <p:tgtEl>
                                          <p:spTgt spid="3"/>
                                        </p:tgtEl>
                                        <p:attrNameLst>
                                          <p:attrName>ppt_y</p:attrName>
                                        </p:attrNameLst>
                                      </p:cBhvr>
                                      <p:tavLst>
                                        <p:tav tm="0">
                                          <p:val>
                                            <p:strVal val="1+#ppt_h/2"/>
                                          </p:val>
                                        </p:tav>
                                        <p:tav tm="100000">
                                          <p:val>
                                            <p:strVal val="#ppt_y"/>
                                          </p:val>
                                        </p:tav>
                                      </p:tavLst>
                                    </p:anim>
                                  </p:childTnLst>
                                </p:cTn>
                              </p:par>
                              <p:par>
                                <p:cTn id="13" presetID="2" presetClass="entr" presetSubtype="12" dur="1500" decel="100000" fill="hold" grpId="0" nodeType="withEffect">
                                  <p:stCondLst>
                                    <p:cond delay="800"/>
                                  </p:stCondLst>
                                  <p:childTnLst>
                                    <p:set>
                                      <p:cBhvr>
                                        <p:cTn id="14" dur="1" fill="hold">
                                          <p:stCondLst>
                                            <p:cond delay="0"/>
                                          </p:stCondLst>
                                        </p:cTn>
                                        <p:tgtEl>
                                          <p:spTgt spid="4"/>
                                        </p:tgtEl>
                                        <p:attrNameLst>
                                          <p:attrName>style.visibility</p:attrName>
                                        </p:attrNameLst>
                                      </p:cBhvr>
                                      <p:to>
                                        <p:strVal val="visible"/>
                                      </p:to>
                                    </p:set>
                                    <p:anim calcmode="lin" valueType="num">
                                      <p:cBhvr additive="base">
                                        <p:cTn id="15" dur="1500" fill="hold"/>
                                        <p:tgtEl>
                                          <p:spTgt spid="4"/>
                                        </p:tgtEl>
                                        <p:attrNameLst>
                                          <p:attrName>ppt_x</p:attrName>
                                        </p:attrNameLst>
                                      </p:cBhvr>
                                      <p:tavLst>
                                        <p:tav tm="0">
                                          <p:val>
                                            <p:strVal val="0-#ppt_w/2"/>
                                          </p:val>
                                        </p:tav>
                                        <p:tav tm="100000">
                                          <p:val>
                                            <p:strVal val="#ppt_x"/>
                                          </p:val>
                                        </p:tav>
                                      </p:tavLst>
                                    </p:anim>
                                    <p:anim calcmode="lin" valueType="num">
                                      <p:cBhvr additive="base">
                                        <p:cTn id="16" dur="1500" fill="hold"/>
                                        <p:tgtEl>
                                          <p:spTgt spid="4"/>
                                        </p:tgtEl>
                                        <p:attrNameLst>
                                          <p:attrName>ppt_y</p:attrName>
                                        </p:attrNameLst>
                                      </p:cBhvr>
                                      <p:tavLst>
                                        <p:tav tm="0">
                                          <p:val>
                                            <p:strVal val="1+#ppt_h/2"/>
                                          </p:val>
                                        </p:tav>
                                        <p:tav tm="100000">
                                          <p:val>
                                            <p:strVal val="#ppt_y"/>
                                          </p:val>
                                        </p:tav>
                                      </p:tavLst>
                                    </p:anim>
                                  </p:childTnLst>
                                </p:cTn>
                              </p:par>
                              <p:par>
                                <p:cTn id="17" presetID="2" presetClass="entr" presetSubtype="12" dur="1500" decel="100000" fill="hold" grpId="0" nodeType="withEffect">
                                  <p:stCondLst>
                                    <p:cond delay="900"/>
                                  </p:stCondLst>
                                  <p:childTnLst>
                                    <p:set>
                                      <p:cBhvr>
                                        <p:cTn id="18" dur="1" fill="hold">
                                          <p:stCondLst>
                                            <p:cond delay="0"/>
                                          </p:stCondLst>
                                        </p:cTn>
                                        <p:tgtEl>
                                          <p:spTgt spid="7"/>
                                        </p:tgtEl>
                                        <p:attrNameLst>
                                          <p:attrName>style.visibility</p:attrName>
                                        </p:attrNameLst>
                                      </p:cBhvr>
                                      <p:to>
                                        <p:strVal val="visible"/>
                                      </p:to>
                                    </p:set>
                                    <p:anim calcmode="lin" valueType="num">
                                      <p:cBhvr additive="base">
                                        <p:cTn id="19" dur="1500" fill="hold"/>
                                        <p:tgtEl>
                                          <p:spTgt spid="7"/>
                                        </p:tgtEl>
                                        <p:attrNameLst>
                                          <p:attrName>ppt_x</p:attrName>
                                        </p:attrNameLst>
                                      </p:cBhvr>
                                      <p:tavLst>
                                        <p:tav tm="0">
                                          <p:val>
                                            <p:strVal val="0-#ppt_w/2"/>
                                          </p:val>
                                        </p:tav>
                                        <p:tav tm="100000">
                                          <p:val>
                                            <p:strVal val="#ppt_x"/>
                                          </p:val>
                                        </p:tav>
                                      </p:tavLst>
                                    </p:anim>
                                    <p:anim calcmode="lin" valueType="num">
                                      <p:cBhvr additive="base">
                                        <p:cTn id="20" dur="1500" fill="hold"/>
                                        <p:tgtEl>
                                          <p:spTgt spid="7"/>
                                        </p:tgtEl>
                                        <p:attrNameLst>
                                          <p:attrName>ppt_y</p:attrName>
                                        </p:attrNameLst>
                                      </p:cBhvr>
                                      <p:tavLst>
                                        <p:tav tm="0">
                                          <p:val>
                                            <p:strVal val="1+#ppt_h/2"/>
                                          </p:val>
                                        </p:tav>
                                        <p:tav tm="100000">
                                          <p:val>
                                            <p:strVal val="#ppt_y"/>
                                          </p:val>
                                        </p:tav>
                                      </p:tavLst>
                                    </p:anim>
                                  </p:childTnLst>
                                </p:cTn>
                              </p:par>
                              <p:par>
                                <p:cTn id="21" presetID="2" presetClass="entr" presetSubtype="12" dur="1500" decel="100000" fill="hold" grpId="0" nodeType="withEffect">
                                  <p:stCondLst>
                                    <p:cond delay="1000"/>
                                  </p:stCondLst>
                                  <p:childTnLst>
                                    <p:set>
                                      <p:cBhvr>
                                        <p:cTn id="22" dur="1" fill="hold">
                                          <p:stCondLst>
                                            <p:cond delay="0"/>
                                          </p:stCondLst>
                                        </p:cTn>
                                        <p:tgtEl>
                                          <p:spTgt spid="5"/>
                                        </p:tgtEl>
                                        <p:attrNameLst>
                                          <p:attrName>style.visibility</p:attrName>
                                        </p:attrNameLst>
                                      </p:cBhvr>
                                      <p:to>
                                        <p:strVal val="visible"/>
                                      </p:to>
                                    </p:set>
                                    <p:anim calcmode="lin" valueType="num">
                                      <p:cBhvr additive="base">
                                        <p:cTn id="23" dur="1500" fill="hold"/>
                                        <p:tgtEl>
                                          <p:spTgt spid="5"/>
                                        </p:tgtEl>
                                        <p:attrNameLst>
                                          <p:attrName>ppt_x</p:attrName>
                                        </p:attrNameLst>
                                      </p:cBhvr>
                                      <p:tavLst>
                                        <p:tav tm="0">
                                          <p:val>
                                            <p:strVal val="0-#ppt_w/2"/>
                                          </p:val>
                                        </p:tav>
                                        <p:tav tm="100000">
                                          <p:val>
                                            <p:strVal val="#ppt_x"/>
                                          </p:val>
                                        </p:tav>
                                      </p:tavLst>
                                    </p:anim>
                                    <p:anim calcmode="lin" valueType="num">
                                      <p:cBhvr additive="base">
                                        <p:cTn id="24" dur="1500" fill="hold"/>
                                        <p:tgtEl>
                                          <p:spTgt spid="5"/>
                                        </p:tgtEl>
                                        <p:attrNameLst>
                                          <p:attrName>ppt_y</p:attrName>
                                        </p:attrNameLst>
                                      </p:cBhvr>
                                      <p:tavLst>
                                        <p:tav tm="0">
                                          <p:val>
                                            <p:strVal val="1+#ppt_h/2"/>
                                          </p:val>
                                        </p:tav>
                                        <p:tav tm="100000">
                                          <p:val>
                                            <p:strVal val="#ppt_y"/>
                                          </p:val>
                                        </p:tav>
                                      </p:tavLst>
                                    </p:anim>
                                  </p:childTnLst>
                                </p:cTn>
                              </p:par>
                              <p:par>
                                <p:cTn id="25" presetID="2" presetClass="entr" presetSubtype="12" dur="1500" decel="100000" fill="hold" grpId="0" nodeType="withEffect">
                                  <p:stCondLst>
                                    <p:cond delay="1100"/>
                                  </p:stCondLst>
                                  <p:childTnLst>
                                    <p:set>
                                      <p:cBhvr>
                                        <p:cTn id="26" dur="1" fill="hold">
                                          <p:stCondLst>
                                            <p:cond delay="0"/>
                                          </p:stCondLst>
                                        </p:cTn>
                                        <p:tgtEl>
                                          <p:spTgt spid="6"/>
                                        </p:tgtEl>
                                        <p:attrNameLst>
                                          <p:attrName>style.visibility</p:attrName>
                                        </p:attrNameLst>
                                      </p:cBhvr>
                                      <p:to>
                                        <p:strVal val="visible"/>
                                      </p:to>
                                    </p:set>
                                    <p:anim calcmode="lin" valueType="num">
                                      <p:cBhvr additive="base">
                                        <p:cTn id="27" dur="1500" fill="hold"/>
                                        <p:tgtEl>
                                          <p:spTgt spid="6"/>
                                        </p:tgtEl>
                                        <p:attrNameLst>
                                          <p:attrName>ppt_x</p:attrName>
                                        </p:attrNameLst>
                                      </p:cBhvr>
                                      <p:tavLst>
                                        <p:tav tm="0">
                                          <p:val>
                                            <p:strVal val="0-#ppt_w/2"/>
                                          </p:val>
                                        </p:tav>
                                        <p:tav tm="100000">
                                          <p:val>
                                            <p:strVal val="#ppt_x"/>
                                          </p:val>
                                        </p:tav>
                                      </p:tavLst>
                                    </p:anim>
                                    <p:anim calcmode="lin" valueType="num">
                                      <p:cBhvr additive="base">
                                        <p:cTn id="28" dur="1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4" grpId="0" animBg="1"/>
      <p:bldP spid="7" grpId="0" animBg="1"/>
      <p:bldP spid="5" grpId="0" animBg="1"/>
      <p:bldP spid="6" grpId="0" animBg="1"/>
    </p:bld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72C1527C-1238-4997-83A0-B93C0C1A119C}"/>
              </a:ext>
            </a:extLst>
          </p:cNvPr>
          <p:cNvSpPr>
            <a:spLocks noGrp="1"/>
          </p:cNvSpPr>
          <p:nvPr>
            <p:ph type="pic" sz="quarter" idx="13"/>
          </p:nvPr>
        </p:nvSpPr>
        <p:spPr>
          <a:xfrm>
            <a:off x="3532136" y="871981"/>
            <a:ext cx="2563864" cy="2595260"/>
          </a:xfrm>
          <a:custGeom>
            <a:avLst/>
            <a:gdLst>
              <a:gd name="connsiteX0" fmla="*/ 0 w 5190519"/>
              <a:gd name="connsiteY0" fmla="*/ 0 h 5190519"/>
              <a:gd name="connsiteX1" fmla="*/ 5190519 w 5190519"/>
              <a:gd name="connsiteY1" fmla="*/ 0 h 5190519"/>
              <a:gd name="connsiteX2" fmla="*/ 5190519 w 5190519"/>
              <a:gd name="connsiteY2" fmla="*/ 5190519 h 5190519"/>
              <a:gd name="connsiteX3" fmla="*/ 0 w 5190519"/>
              <a:gd name="connsiteY3" fmla="*/ 5190519 h 5190519"/>
            </a:gdLst>
            <a:ahLst/>
            <a:cxnLst>
              <a:cxn ang="0">
                <a:pos x="connsiteX0" y="connsiteY0"/>
              </a:cxn>
              <a:cxn ang="0">
                <a:pos x="connsiteX1" y="connsiteY1"/>
              </a:cxn>
              <a:cxn ang="0">
                <a:pos x="connsiteX2" y="connsiteY2"/>
              </a:cxn>
              <a:cxn ang="0">
                <a:pos x="connsiteX3" y="connsiteY3"/>
              </a:cxn>
            </a:cxnLst>
            <a:rect l="l" t="t" r="r" b="b"/>
            <a:pathLst>
              <a:path w="5190519" h="5190519">
                <a:moveTo>
                  <a:pt x="0" y="0"/>
                </a:moveTo>
                <a:lnTo>
                  <a:pt x="5190519" y="0"/>
                </a:lnTo>
                <a:lnTo>
                  <a:pt x="5190519" y="5190519"/>
                </a:lnTo>
                <a:lnTo>
                  <a:pt x="0" y="5190519"/>
                </a:ln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
        <p:nvSpPr>
          <p:cNvPr id="14" name="Picture Placeholder 13">
            <a:extLst>
              <a:ext uri="{FF2B5EF4-FFF2-40B4-BE49-F238E27FC236}">
                <a16:creationId xmlns:a16="http://schemas.microsoft.com/office/drawing/2014/main" id="{F2C28264-6FA4-467B-BDE9-EC8733C2D740}"/>
              </a:ext>
            </a:extLst>
          </p:cNvPr>
          <p:cNvSpPr>
            <a:spLocks noGrp="1"/>
          </p:cNvSpPr>
          <p:nvPr>
            <p:ph type="pic" sz="quarter" idx="14"/>
          </p:nvPr>
        </p:nvSpPr>
        <p:spPr>
          <a:xfrm>
            <a:off x="6251472" y="871980"/>
            <a:ext cx="5127728" cy="5314950"/>
          </a:xfrm>
          <a:custGeom>
            <a:avLst/>
            <a:gdLst>
              <a:gd name="connsiteX0" fmla="*/ 0 w 10381040"/>
              <a:gd name="connsiteY0" fmla="*/ 0 h 10629899"/>
              <a:gd name="connsiteX1" fmla="*/ 10381040 w 10381040"/>
              <a:gd name="connsiteY1" fmla="*/ 0 h 10629899"/>
              <a:gd name="connsiteX2" fmla="*/ 10381040 w 10381040"/>
              <a:gd name="connsiteY2" fmla="*/ 10629899 h 10629899"/>
              <a:gd name="connsiteX3" fmla="*/ 0 w 10381040"/>
              <a:gd name="connsiteY3" fmla="*/ 10629899 h 10629899"/>
            </a:gdLst>
            <a:ahLst/>
            <a:cxnLst>
              <a:cxn ang="0">
                <a:pos x="connsiteX0" y="connsiteY0"/>
              </a:cxn>
              <a:cxn ang="0">
                <a:pos x="connsiteX1" y="connsiteY1"/>
              </a:cxn>
              <a:cxn ang="0">
                <a:pos x="connsiteX2" y="connsiteY2"/>
              </a:cxn>
              <a:cxn ang="0">
                <a:pos x="connsiteX3" y="connsiteY3"/>
              </a:cxn>
            </a:cxnLst>
            <a:rect l="l" t="t" r="r" b="b"/>
            <a:pathLst>
              <a:path w="10381040" h="10629899">
                <a:moveTo>
                  <a:pt x="0" y="0"/>
                </a:moveTo>
                <a:lnTo>
                  <a:pt x="10381040" y="0"/>
                </a:lnTo>
                <a:lnTo>
                  <a:pt x="10381040" y="10629899"/>
                </a:lnTo>
                <a:lnTo>
                  <a:pt x="0" y="10629899"/>
                </a:ln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
        <p:nvSpPr>
          <p:cNvPr id="16" name="Picture Placeholder 15">
            <a:extLst>
              <a:ext uri="{FF2B5EF4-FFF2-40B4-BE49-F238E27FC236}">
                <a16:creationId xmlns:a16="http://schemas.microsoft.com/office/drawing/2014/main" id="{843876E8-A094-40A5-860F-FA8679BF447F}"/>
              </a:ext>
            </a:extLst>
          </p:cNvPr>
          <p:cNvSpPr>
            <a:spLocks noGrp="1"/>
          </p:cNvSpPr>
          <p:nvPr>
            <p:ph type="pic" sz="quarter" idx="15"/>
          </p:nvPr>
        </p:nvSpPr>
        <p:spPr>
          <a:xfrm>
            <a:off x="3532136" y="3591671"/>
            <a:ext cx="2563864" cy="2595260"/>
          </a:xfrm>
          <a:custGeom>
            <a:avLst/>
            <a:gdLst>
              <a:gd name="connsiteX0" fmla="*/ 0 w 5190519"/>
              <a:gd name="connsiteY0" fmla="*/ 0 h 5190519"/>
              <a:gd name="connsiteX1" fmla="*/ 5190519 w 5190519"/>
              <a:gd name="connsiteY1" fmla="*/ 0 h 5190519"/>
              <a:gd name="connsiteX2" fmla="*/ 5190519 w 5190519"/>
              <a:gd name="connsiteY2" fmla="*/ 5190519 h 5190519"/>
              <a:gd name="connsiteX3" fmla="*/ 0 w 5190519"/>
              <a:gd name="connsiteY3" fmla="*/ 5190519 h 5190519"/>
            </a:gdLst>
            <a:ahLst/>
            <a:cxnLst>
              <a:cxn ang="0">
                <a:pos x="connsiteX0" y="connsiteY0"/>
              </a:cxn>
              <a:cxn ang="0">
                <a:pos x="connsiteX1" y="connsiteY1"/>
              </a:cxn>
              <a:cxn ang="0">
                <a:pos x="connsiteX2" y="connsiteY2"/>
              </a:cxn>
              <a:cxn ang="0">
                <a:pos x="connsiteX3" y="connsiteY3"/>
              </a:cxn>
            </a:cxnLst>
            <a:rect l="l" t="t" r="r" b="b"/>
            <a:pathLst>
              <a:path w="5190519" h="5190519">
                <a:moveTo>
                  <a:pt x="0" y="0"/>
                </a:moveTo>
                <a:lnTo>
                  <a:pt x="5190519" y="0"/>
                </a:lnTo>
                <a:lnTo>
                  <a:pt x="5190519" y="5190519"/>
                </a:lnTo>
                <a:lnTo>
                  <a:pt x="0" y="5190519"/>
                </a:ln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
        <p:nvSpPr>
          <p:cNvPr id="17" name="Picture Placeholder 16">
            <a:extLst>
              <a:ext uri="{FF2B5EF4-FFF2-40B4-BE49-F238E27FC236}">
                <a16:creationId xmlns:a16="http://schemas.microsoft.com/office/drawing/2014/main" id="{E87560AE-CEDB-48AC-B2BF-85B52DE0F146}"/>
              </a:ext>
            </a:extLst>
          </p:cNvPr>
          <p:cNvSpPr>
            <a:spLocks noGrp="1"/>
          </p:cNvSpPr>
          <p:nvPr>
            <p:ph type="pic" sz="quarter" idx="16"/>
          </p:nvPr>
        </p:nvSpPr>
        <p:spPr>
          <a:xfrm>
            <a:off x="812800" y="3591671"/>
            <a:ext cx="2563864" cy="2595260"/>
          </a:xfrm>
          <a:custGeom>
            <a:avLst/>
            <a:gdLst>
              <a:gd name="connsiteX0" fmla="*/ 0 w 5190519"/>
              <a:gd name="connsiteY0" fmla="*/ 0 h 5190519"/>
              <a:gd name="connsiteX1" fmla="*/ 5190519 w 5190519"/>
              <a:gd name="connsiteY1" fmla="*/ 0 h 5190519"/>
              <a:gd name="connsiteX2" fmla="*/ 5190519 w 5190519"/>
              <a:gd name="connsiteY2" fmla="*/ 5190519 h 5190519"/>
              <a:gd name="connsiteX3" fmla="*/ 0 w 5190519"/>
              <a:gd name="connsiteY3" fmla="*/ 5190519 h 5190519"/>
            </a:gdLst>
            <a:ahLst/>
            <a:cxnLst>
              <a:cxn ang="0">
                <a:pos x="connsiteX0" y="connsiteY0"/>
              </a:cxn>
              <a:cxn ang="0">
                <a:pos x="connsiteX1" y="connsiteY1"/>
              </a:cxn>
              <a:cxn ang="0">
                <a:pos x="connsiteX2" y="connsiteY2"/>
              </a:cxn>
              <a:cxn ang="0">
                <a:pos x="connsiteX3" y="connsiteY3"/>
              </a:cxn>
            </a:cxnLst>
            <a:rect l="l" t="t" r="r" b="b"/>
            <a:pathLst>
              <a:path w="5190519" h="5190519">
                <a:moveTo>
                  <a:pt x="0" y="0"/>
                </a:moveTo>
                <a:lnTo>
                  <a:pt x="5190519" y="0"/>
                </a:lnTo>
                <a:lnTo>
                  <a:pt x="5190519" y="5190519"/>
                </a:lnTo>
                <a:lnTo>
                  <a:pt x="0" y="5190519"/>
                </a:ln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Tree>
    <p:extLst>
      <p:ext uri="{BB962C8B-B14F-4D97-AF65-F5344CB8AC3E}">
        <p14:creationId xmlns:p14="http://schemas.microsoft.com/office/powerpoint/2010/main" val="676380205"/>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4" dur="2200" decel="10000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2200" fill="hold"/>
                                        <p:tgtEl>
                                          <p:spTgt spid="14"/>
                                        </p:tgtEl>
                                        <p:attrNameLst>
                                          <p:attrName>ppt_x</p:attrName>
                                        </p:attrNameLst>
                                      </p:cBhvr>
                                      <p:tavLst>
                                        <p:tav tm="0">
                                          <p:val>
                                            <p:strVal val="#ppt_x"/>
                                          </p:val>
                                        </p:tav>
                                        <p:tav tm="100000">
                                          <p:val>
                                            <p:strVal val="#ppt_x"/>
                                          </p:val>
                                        </p:tav>
                                      </p:tavLst>
                                    </p:anim>
                                    <p:anim calcmode="lin" valueType="num">
                                      <p:cBhvr additive="base">
                                        <p:cTn id="8" dur="2200" fill="hold"/>
                                        <p:tgtEl>
                                          <p:spTgt spid="14"/>
                                        </p:tgtEl>
                                        <p:attrNameLst>
                                          <p:attrName>ppt_y</p:attrName>
                                        </p:attrNameLst>
                                      </p:cBhvr>
                                      <p:tavLst>
                                        <p:tav tm="0">
                                          <p:val>
                                            <p:strVal val="1+#ppt_h/2"/>
                                          </p:val>
                                        </p:tav>
                                        <p:tav tm="100000">
                                          <p:val>
                                            <p:strVal val="#ppt_y"/>
                                          </p:val>
                                        </p:tav>
                                      </p:tavLst>
                                    </p:anim>
                                  </p:childTnLst>
                                </p:cTn>
                              </p:par>
                              <p:par>
                                <p:cTn id="9" presetID="2" presetClass="entr" presetSubtype="4" dur="2200" decel="100000" fill="hold" grpId="0" nodeType="withEffect">
                                  <p:stCondLst>
                                    <p:cond delay="200"/>
                                  </p:stCondLst>
                                  <p:childTnLst>
                                    <p:set>
                                      <p:cBhvr>
                                        <p:cTn id="10" dur="1" fill="hold">
                                          <p:stCondLst>
                                            <p:cond delay="0"/>
                                          </p:stCondLst>
                                        </p:cTn>
                                        <p:tgtEl>
                                          <p:spTgt spid="15"/>
                                        </p:tgtEl>
                                        <p:attrNameLst>
                                          <p:attrName>style.visibility</p:attrName>
                                        </p:attrNameLst>
                                      </p:cBhvr>
                                      <p:to>
                                        <p:strVal val="visible"/>
                                      </p:to>
                                    </p:set>
                                    <p:anim calcmode="lin" valueType="num">
                                      <p:cBhvr additive="base">
                                        <p:cTn id="11" dur="2200" fill="hold"/>
                                        <p:tgtEl>
                                          <p:spTgt spid="15"/>
                                        </p:tgtEl>
                                        <p:attrNameLst>
                                          <p:attrName>ppt_x</p:attrName>
                                        </p:attrNameLst>
                                      </p:cBhvr>
                                      <p:tavLst>
                                        <p:tav tm="0">
                                          <p:val>
                                            <p:strVal val="#ppt_x"/>
                                          </p:val>
                                        </p:tav>
                                        <p:tav tm="100000">
                                          <p:val>
                                            <p:strVal val="#ppt_x"/>
                                          </p:val>
                                        </p:tav>
                                      </p:tavLst>
                                    </p:anim>
                                    <p:anim calcmode="lin" valueType="num">
                                      <p:cBhvr additive="base">
                                        <p:cTn id="12" dur="2200" fill="hold"/>
                                        <p:tgtEl>
                                          <p:spTgt spid="15"/>
                                        </p:tgtEl>
                                        <p:attrNameLst>
                                          <p:attrName>ppt_y</p:attrName>
                                        </p:attrNameLst>
                                      </p:cBhvr>
                                      <p:tavLst>
                                        <p:tav tm="0">
                                          <p:val>
                                            <p:strVal val="1+#ppt_h/2"/>
                                          </p:val>
                                        </p:tav>
                                        <p:tav tm="100000">
                                          <p:val>
                                            <p:strVal val="#ppt_y"/>
                                          </p:val>
                                        </p:tav>
                                      </p:tavLst>
                                    </p:anim>
                                  </p:childTnLst>
                                </p:cTn>
                              </p:par>
                              <p:par>
                                <p:cTn id="13" presetID="2" presetClass="entr" presetSubtype="4" dur="2200" decel="100000" fill="hold" grpId="0" nodeType="withEffect">
                                  <p:stCondLst>
                                    <p:cond delay="200"/>
                                  </p:stCondLst>
                                  <p:childTnLst>
                                    <p:set>
                                      <p:cBhvr>
                                        <p:cTn id="14" dur="1" fill="hold">
                                          <p:stCondLst>
                                            <p:cond delay="0"/>
                                          </p:stCondLst>
                                        </p:cTn>
                                        <p:tgtEl>
                                          <p:spTgt spid="16"/>
                                        </p:tgtEl>
                                        <p:attrNameLst>
                                          <p:attrName>style.visibility</p:attrName>
                                        </p:attrNameLst>
                                      </p:cBhvr>
                                      <p:to>
                                        <p:strVal val="visible"/>
                                      </p:to>
                                    </p:set>
                                    <p:anim calcmode="lin" valueType="num">
                                      <p:cBhvr additive="base">
                                        <p:cTn id="15" dur="2200" fill="hold"/>
                                        <p:tgtEl>
                                          <p:spTgt spid="16"/>
                                        </p:tgtEl>
                                        <p:attrNameLst>
                                          <p:attrName>ppt_x</p:attrName>
                                        </p:attrNameLst>
                                      </p:cBhvr>
                                      <p:tavLst>
                                        <p:tav tm="0">
                                          <p:val>
                                            <p:strVal val="#ppt_x"/>
                                          </p:val>
                                        </p:tav>
                                        <p:tav tm="100000">
                                          <p:val>
                                            <p:strVal val="#ppt_x"/>
                                          </p:val>
                                        </p:tav>
                                      </p:tavLst>
                                    </p:anim>
                                    <p:anim calcmode="lin" valueType="num">
                                      <p:cBhvr additive="base">
                                        <p:cTn id="16" dur="2200" fill="hold"/>
                                        <p:tgtEl>
                                          <p:spTgt spid="16"/>
                                        </p:tgtEl>
                                        <p:attrNameLst>
                                          <p:attrName>ppt_y</p:attrName>
                                        </p:attrNameLst>
                                      </p:cBhvr>
                                      <p:tavLst>
                                        <p:tav tm="0">
                                          <p:val>
                                            <p:strVal val="1+#ppt_h/2"/>
                                          </p:val>
                                        </p:tav>
                                        <p:tav tm="100000">
                                          <p:val>
                                            <p:strVal val="#ppt_y"/>
                                          </p:val>
                                        </p:tav>
                                      </p:tavLst>
                                    </p:anim>
                                  </p:childTnLst>
                                </p:cTn>
                              </p:par>
                              <p:par>
                                <p:cTn id="17" presetID="2" presetClass="entr" presetSubtype="4" dur="2200" decel="100000" fill="hold" grpId="0" nodeType="withEffect">
                                  <p:stCondLst>
                                    <p:cond delay="400"/>
                                  </p:stCondLst>
                                  <p:childTnLst>
                                    <p:set>
                                      <p:cBhvr>
                                        <p:cTn id="18" dur="1" fill="hold">
                                          <p:stCondLst>
                                            <p:cond delay="0"/>
                                          </p:stCondLst>
                                        </p:cTn>
                                        <p:tgtEl>
                                          <p:spTgt spid="17"/>
                                        </p:tgtEl>
                                        <p:attrNameLst>
                                          <p:attrName>style.visibility</p:attrName>
                                        </p:attrNameLst>
                                      </p:cBhvr>
                                      <p:to>
                                        <p:strVal val="visible"/>
                                      </p:to>
                                    </p:set>
                                    <p:anim calcmode="lin" valueType="num">
                                      <p:cBhvr additive="base">
                                        <p:cTn id="19" dur="2200" fill="hold"/>
                                        <p:tgtEl>
                                          <p:spTgt spid="17"/>
                                        </p:tgtEl>
                                        <p:attrNameLst>
                                          <p:attrName>ppt_x</p:attrName>
                                        </p:attrNameLst>
                                      </p:cBhvr>
                                      <p:tavLst>
                                        <p:tav tm="0">
                                          <p:val>
                                            <p:strVal val="#ppt_x"/>
                                          </p:val>
                                        </p:tav>
                                        <p:tav tm="100000">
                                          <p:val>
                                            <p:strVal val="#ppt_x"/>
                                          </p:val>
                                        </p:tav>
                                      </p:tavLst>
                                    </p:anim>
                                    <p:anim calcmode="lin" valueType="num">
                                      <p:cBhvr additive="base">
                                        <p:cTn id="20" dur="2200" fill="hold"/>
                                        <p:tgtEl>
                                          <p:spTgt spid="1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4" grpId="0" animBg="1"/>
      <p:bldP spid="16" grpId="0" animBg="1"/>
      <p:bldP spid="17" grpId="0" animBg="1"/>
    </p:bld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2" name="Picture Placeholder 4">
            <a:extLst>
              <a:ext uri="{FF2B5EF4-FFF2-40B4-BE49-F238E27FC236}">
                <a16:creationId xmlns:a16="http://schemas.microsoft.com/office/drawing/2014/main" id="{CDD5BDAE-070D-466F-9878-EB1BC2848ED8}"/>
              </a:ext>
            </a:extLst>
          </p:cNvPr>
          <p:cNvSpPr>
            <a:spLocks noGrp="1"/>
          </p:cNvSpPr>
          <p:nvPr>
            <p:ph type="pic" sz="quarter" idx="11"/>
          </p:nvPr>
        </p:nvSpPr>
        <p:spPr>
          <a:xfrm>
            <a:off x="812800" y="728662"/>
            <a:ext cx="10566400" cy="5589587"/>
          </a:xfrm>
          <a:custGeom>
            <a:avLst/>
            <a:gdLst>
              <a:gd name="connsiteX0" fmla="*/ 0 w 7829549"/>
              <a:gd name="connsiteY0" fmla="*/ 0 h 7543801"/>
              <a:gd name="connsiteX1" fmla="*/ 7829549 w 7829549"/>
              <a:gd name="connsiteY1" fmla="*/ 0 h 7543801"/>
              <a:gd name="connsiteX2" fmla="*/ 7829549 w 7829549"/>
              <a:gd name="connsiteY2" fmla="*/ 7543801 h 7543801"/>
              <a:gd name="connsiteX3" fmla="*/ 0 w 7829549"/>
              <a:gd name="connsiteY3" fmla="*/ 7543801 h 7543801"/>
            </a:gdLst>
            <a:ahLst/>
            <a:cxnLst>
              <a:cxn ang="0">
                <a:pos x="connsiteX0" y="connsiteY0"/>
              </a:cxn>
              <a:cxn ang="0">
                <a:pos x="connsiteX1" y="connsiteY1"/>
              </a:cxn>
              <a:cxn ang="0">
                <a:pos x="connsiteX2" y="connsiteY2"/>
              </a:cxn>
              <a:cxn ang="0">
                <a:pos x="connsiteX3" y="connsiteY3"/>
              </a:cxn>
            </a:cxnLst>
            <a:rect l="l" t="t" r="r" b="b"/>
            <a:pathLst>
              <a:path w="7829549" h="7543801">
                <a:moveTo>
                  <a:pt x="0" y="0"/>
                </a:moveTo>
                <a:lnTo>
                  <a:pt x="7829549" y="0"/>
                </a:lnTo>
                <a:lnTo>
                  <a:pt x="7829549" y="7543801"/>
                </a:lnTo>
                <a:lnTo>
                  <a:pt x="0" y="7543801"/>
                </a:ln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Tree>
    <p:extLst>
      <p:ext uri="{BB962C8B-B14F-4D97-AF65-F5344CB8AC3E}">
        <p14:creationId xmlns:p14="http://schemas.microsoft.com/office/powerpoint/2010/main" val="807456032"/>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1" dur="2200" decel="10000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2200" fill="hold"/>
                                        <p:tgtEl>
                                          <p:spTgt spid="2"/>
                                        </p:tgtEl>
                                        <p:attrNameLst>
                                          <p:attrName>ppt_x</p:attrName>
                                        </p:attrNameLst>
                                      </p:cBhvr>
                                      <p:tavLst>
                                        <p:tav tm="0">
                                          <p:val>
                                            <p:strVal val="#ppt_x"/>
                                          </p:val>
                                        </p:tav>
                                        <p:tav tm="100000">
                                          <p:val>
                                            <p:strVal val="#ppt_x"/>
                                          </p:val>
                                        </p:tav>
                                      </p:tavLst>
                                    </p:anim>
                                    <p:anim calcmode="lin" valueType="num">
                                      <p:cBhvr additive="base">
                                        <p:cTn id="8" dur="2200" fill="hold"/>
                                        <p:tgtEl>
                                          <p:spTgt spid="2"/>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extLst>
    <p:ext uri="{DCECCB84-F9BA-43D5-87BE-67443E8EF086}">
      <p15:sldGuideLst xmlns:p15="http://schemas.microsoft.com/office/powerpoint/2012/main">
        <p15:guide id="1" orient="horz" pos="4320">
          <p15:clr>
            <a:srgbClr val="FBAE40"/>
          </p15:clr>
        </p15:guide>
        <p15:guide id="2" pos="7681">
          <p15:clr>
            <a:srgbClr val="FBAE40"/>
          </p15:clr>
        </p15:guide>
        <p15:guide id="3" pos="985">
          <p15:clr>
            <a:srgbClr val="FBAE40"/>
          </p15:clr>
        </p15:guide>
        <p15:guide id="4" pos="14377">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Rectangle: Diagonal Corners Rounded 1">
            <a:extLst>
              <a:ext uri="{FF2B5EF4-FFF2-40B4-BE49-F238E27FC236}">
                <a16:creationId xmlns:a16="http://schemas.microsoft.com/office/drawing/2014/main" id="{11A25E91-8608-EAF1-2D71-B3B814E61509}"/>
              </a:ext>
            </a:extLst>
          </p:cNvPr>
          <p:cNvSpPr/>
          <p:nvPr userDrawn="1"/>
        </p:nvSpPr>
        <p:spPr>
          <a:xfrm>
            <a:off x="812800" y="728662"/>
            <a:ext cx="10566400" cy="5589587"/>
          </a:xfrm>
          <a:prstGeom prst="round2DiagRect">
            <a:avLst>
              <a:gd name="adj1" fmla="val 6783"/>
              <a:gd name="adj2" fmla="val 0"/>
            </a:avLst>
          </a:prstGeom>
          <a:solidFill>
            <a:schemeClr val="accent3">
              <a:lumMod val="40000"/>
              <a:lumOff val="60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6" name="Picture Placeholder 5">
            <a:extLst>
              <a:ext uri="{FF2B5EF4-FFF2-40B4-BE49-F238E27FC236}">
                <a16:creationId xmlns:a16="http://schemas.microsoft.com/office/drawing/2014/main" id="{390A452D-DFE3-48E8-956D-B964AE99D0C7}"/>
              </a:ext>
            </a:extLst>
          </p:cNvPr>
          <p:cNvSpPr>
            <a:spLocks noGrp="1"/>
          </p:cNvSpPr>
          <p:nvPr>
            <p:ph type="pic" sz="quarter" idx="13"/>
          </p:nvPr>
        </p:nvSpPr>
        <p:spPr>
          <a:xfrm>
            <a:off x="1086501" y="1057275"/>
            <a:ext cx="4704737" cy="4705350"/>
          </a:xfrm>
          <a:custGeom>
            <a:avLst/>
            <a:gdLst>
              <a:gd name="connsiteX0" fmla="*/ 0 w 9410700"/>
              <a:gd name="connsiteY0" fmla="*/ 0 h 9410700"/>
              <a:gd name="connsiteX1" fmla="*/ 9410700 w 9410700"/>
              <a:gd name="connsiteY1" fmla="*/ 0 h 9410700"/>
              <a:gd name="connsiteX2" fmla="*/ 9410700 w 9410700"/>
              <a:gd name="connsiteY2" fmla="*/ 9410700 h 9410700"/>
              <a:gd name="connsiteX3" fmla="*/ 0 w 9410700"/>
              <a:gd name="connsiteY3" fmla="*/ 9410700 h 9410700"/>
            </a:gdLst>
            <a:ahLst/>
            <a:cxnLst>
              <a:cxn ang="0">
                <a:pos x="connsiteX0" y="connsiteY0"/>
              </a:cxn>
              <a:cxn ang="0">
                <a:pos x="connsiteX1" y="connsiteY1"/>
              </a:cxn>
              <a:cxn ang="0">
                <a:pos x="connsiteX2" y="connsiteY2"/>
              </a:cxn>
              <a:cxn ang="0">
                <a:pos x="connsiteX3" y="connsiteY3"/>
              </a:cxn>
            </a:cxnLst>
            <a:rect l="l" t="t" r="r" b="b"/>
            <a:pathLst>
              <a:path w="9410700" h="9410700">
                <a:moveTo>
                  <a:pt x="0" y="0"/>
                </a:moveTo>
                <a:lnTo>
                  <a:pt x="9410700" y="0"/>
                </a:lnTo>
                <a:lnTo>
                  <a:pt x="9410700" y="9410700"/>
                </a:lnTo>
                <a:lnTo>
                  <a:pt x="0" y="9410700"/>
                </a:ln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
        <p:nvSpPr>
          <p:cNvPr id="7" name="Picture Placeholder 6">
            <a:extLst>
              <a:ext uri="{FF2B5EF4-FFF2-40B4-BE49-F238E27FC236}">
                <a16:creationId xmlns:a16="http://schemas.microsoft.com/office/drawing/2014/main" id="{11D63369-5C3A-4822-ACB3-46071185D785}"/>
              </a:ext>
            </a:extLst>
          </p:cNvPr>
          <p:cNvSpPr>
            <a:spLocks noGrp="1"/>
          </p:cNvSpPr>
          <p:nvPr>
            <p:ph type="pic" sz="quarter" idx="14"/>
          </p:nvPr>
        </p:nvSpPr>
        <p:spPr>
          <a:xfrm>
            <a:off x="6400759" y="1057275"/>
            <a:ext cx="4704737" cy="4705350"/>
          </a:xfrm>
          <a:custGeom>
            <a:avLst/>
            <a:gdLst>
              <a:gd name="connsiteX0" fmla="*/ 0 w 9410699"/>
              <a:gd name="connsiteY0" fmla="*/ 0 h 9410700"/>
              <a:gd name="connsiteX1" fmla="*/ 9410699 w 9410699"/>
              <a:gd name="connsiteY1" fmla="*/ 0 h 9410700"/>
              <a:gd name="connsiteX2" fmla="*/ 9410699 w 9410699"/>
              <a:gd name="connsiteY2" fmla="*/ 9410700 h 9410700"/>
              <a:gd name="connsiteX3" fmla="*/ 0 w 9410699"/>
              <a:gd name="connsiteY3" fmla="*/ 9410700 h 9410700"/>
            </a:gdLst>
            <a:ahLst/>
            <a:cxnLst>
              <a:cxn ang="0">
                <a:pos x="connsiteX0" y="connsiteY0"/>
              </a:cxn>
              <a:cxn ang="0">
                <a:pos x="connsiteX1" y="connsiteY1"/>
              </a:cxn>
              <a:cxn ang="0">
                <a:pos x="connsiteX2" y="connsiteY2"/>
              </a:cxn>
              <a:cxn ang="0">
                <a:pos x="connsiteX3" y="connsiteY3"/>
              </a:cxn>
            </a:cxnLst>
            <a:rect l="l" t="t" r="r" b="b"/>
            <a:pathLst>
              <a:path w="9410699" h="9410700">
                <a:moveTo>
                  <a:pt x="0" y="0"/>
                </a:moveTo>
                <a:lnTo>
                  <a:pt x="9410699" y="0"/>
                </a:lnTo>
                <a:lnTo>
                  <a:pt x="9410699" y="9410700"/>
                </a:lnTo>
                <a:lnTo>
                  <a:pt x="0" y="9410700"/>
                </a:ln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Tree>
    <p:extLst>
      <p:ext uri="{BB962C8B-B14F-4D97-AF65-F5344CB8AC3E}">
        <p14:creationId xmlns:p14="http://schemas.microsoft.com/office/powerpoint/2010/main" val="2399127615"/>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4" dur="2200"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2200" fill="hold"/>
                                        <p:tgtEl>
                                          <p:spTgt spid="6"/>
                                        </p:tgtEl>
                                        <p:attrNameLst>
                                          <p:attrName>ppt_x</p:attrName>
                                        </p:attrNameLst>
                                      </p:cBhvr>
                                      <p:tavLst>
                                        <p:tav tm="0">
                                          <p:val>
                                            <p:strVal val="#ppt_x"/>
                                          </p:val>
                                        </p:tav>
                                        <p:tav tm="100000">
                                          <p:val>
                                            <p:strVal val="#ppt_x"/>
                                          </p:val>
                                        </p:tav>
                                      </p:tavLst>
                                    </p:anim>
                                    <p:anim calcmode="lin" valueType="num">
                                      <p:cBhvr additive="base">
                                        <p:cTn id="8" dur="2200" fill="hold"/>
                                        <p:tgtEl>
                                          <p:spTgt spid="6"/>
                                        </p:tgtEl>
                                        <p:attrNameLst>
                                          <p:attrName>ppt_y</p:attrName>
                                        </p:attrNameLst>
                                      </p:cBhvr>
                                      <p:tavLst>
                                        <p:tav tm="0">
                                          <p:val>
                                            <p:strVal val="1+#ppt_h/2"/>
                                          </p:val>
                                        </p:tav>
                                        <p:tav tm="100000">
                                          <p:val>
                                            <p:strVal val="#ppt_y"/>
                                          </p:val>
                                        </p:tav>
                                      </p:tavLst>
                                    </p:anim>
                                  </p:childTnLst>
                                </p:cTn>
                              </p:par>
                              <p:par>
                                <p:cTn id="9" presetID="2" presetClass="entr" presetSubtype="1" dur="2200" decel="10000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2200" fill="hold"/>
                                        <p:tgtEl>
                                          <p:spTgt spid="7"/>
                                        </p:tgtEl>
                                        <p:attrNameLst>
                                          <p:attrName>ppt_x</p:attrName>
                                        </p:attrNameLst>
                                      </p:cBhvr>
                                      <p:tavLst>
                                        <p:tav tm="0">
                                          <p:val>
                                            <p:strVal val="#ppt_x"/>
                                          </p:val>
                                        </p:tav>
                                        <p:tav tm="100000">
                                          <p:val>
                                            <p:strVal val="#ppt_x"/>
                                          </p:val>
                                        </p:tav>
                                      </p:tavLst>
                                    </p:anim>
                                    <p:anim calcmode="lin" valueType="num">
                                      <p:cBhvr additive="base">
                                        <p:cTn id="12" dur="2200" fill="hold"/>
                                        <p:tgtEl>
                                          <p:spTgt spid="7"/>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3" name="Rectangle: Diagonal Corners Rounded 2">
            <a:extLst>
              <a:ext uri="{FF2B5EF4-FFF2-40B4-BE49-F238E27FC236}">
                <a16:creationId xmlns:a16="http://schemas.microsoft.com/office/drawing/2014/main" id="{13399DF4-D239-4B46-A59E-3F2D266B8AC5}"/>
              </a:ext>
            </a:extLst>
          </p:cNvPr>
          <p:cNvSpPr/>
          <p:nvPr userDrawn="1"/>
        </p:nvSpPr>
        <p:spPr>
          <a:xfrm>
            <a:off x="812800" y="728662"/>
            <a:ext cx="10566400" cy="5589587"/>
          </a:xfrm>
          <a:prstGeom prst="round2DiagRect">
            <a:avLst>
              <a:gd name="adj1" fmla="val 6783"/>
              <a:gd name="adj2" fmla="val 0"/>
            </a:avLst>
          </a:prstGeom>
          <a:solidFill>
            <a:schemeClr val="accent3">
              <a:lumMod val="40000"/>
              <a:lumOff val="60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2" name="Picture Placeholder 11">
            <a:extLst>
              <a:ext uri="{FF2B5EF4-FFF2-40B4-BE49-F238E27FC236}">
                <a16:creationId xmlns:a16="http://schemas.microsoft.com/office/drawing/2014/main" id="{CBD3B56C-6673-4097-B43C-40AB7C20EEC2}"/>
              </a:ext>
            </a:extLst>
          </p:cNvPr>
          <p:cNvSpPr>
            <a:spLocks noGrp="1"/>
          </p:cNvSpPr>
          <p:nvPr>
            <p:ph type="pic" sz="quarter" idx="13"/>
          </p:nvPr>
        </p:nvSpPr>
        <p:spPr>
          <a:xfrm>
            <a:off x="3457125" y="1193177"/>
            <a:ext cx="2474760" cy="2071688"/>
          </a:xfrm>
          <a:custGeom>
            <a:avLst/>
            <a:gdLst>
              <a:gd name="connsiteX0" fmla="*/ 0 w 4950165"/>
              <a:gd name="connsiteY0" fmla="*/ 0 h 4143375"/>
              <a:gd name="connsiteX1" fmla="*/ 4950165 w 4950165"/>
              <a:gd name="connsiteY1" fmla="*/ 0 h 4143375"/>
              <a:gd name="connsiteX2" fmla="*/ 4950165 w 4950165"/>
              <a:gd name="connsiteY2" fmla="*/ 4143375 h 4143375"/>
              <a:gd name="connsiteX3" fmla="*/ 0 w 4950165"/>
              <a:gd name="connsiteY3" fmla="*/ 4143375 h 4143375"/>
            </a:gdLst>
            <a:ahLst/>
            <a:cxnLst>
              <a:cxn ang="0">
                <a:pos x="connsiteX0" y="connsiteY0"/>
              </a:cxn>
              <a:cxn ang="0">
                <a:pos x="connsiteX1" y="connsiteY1"/>
              </a:cxn>
              <a:cxn ang="0">
                <a:pos x="connsiteX2" y="connsiteY2"/>
              </a:cxn>
              <a:cxn ang="0">
                <a:pos x="connsiteX3" y="connsiteY3"/>
              </a:cxn>
            </a:cxnLst>
            <a:rect l="l" t="t" r="r" b="b"/>
            <a:pathLst>
              <a:path w="4950165" h="4143375">
                <a:moveTo>
                  <a:pt x="0" y="0"/>
                </a:moveTo>
                <a:lnTo>
                  <a:pt x="4950165" y="0"/>
                </a:lnTo>
                <a:lnTo>
                  <a:pt x="4950165" y="4143375"/>
                </a:lnTo>
                <a:lnTo>
                  <a:pt x="0" y="4143375"/>
                </a:lnTo>
                <a:close/>
              </a:path>
            </a:pathLst>
          </a:custGeom>
          <a:pattFill prst="pct60">
            <a:fgClr>
              <a:schemeClr val="bg1"/>
            </a:fgClr>
            <a:bgClr>
              <a:schemeClr val="bg1">
                <a:lumMod val="85000"/>
              </a:schemeClr>
            </a:bgClr>
          </a:pattFill>
          <a:effectLst>
            <a:outerShdw blurRad="660400" dist="190500" dir="5400000" algn="t" rotWithShape="0">
              <a:schemeClr val="accent1">
                <a:alpha val="40000"/>
              </a:schemeClr>
            </a:outerShdw>
          </a:effectLst>
        </p:spPr>
        <p:txBody>
          <a:bodyPr wrap="square" anchor="ctr">
            <a:noAutofit/>
          </a:bodyPr>
          <a:lstStyle>
            <a:lvl1pPr marL="0" indent="0" algn="ctr">
              <a:buFontTx/>
              <a:buNone/>
              <a:defRPr sz="1200"/>
            </a:lvl1pPr>
          </a:lstStyle>
          <a:p>
            <a:endParaRPr lang="en-US"/>
          </a:p>
        </p:txBody>
      </p:sp>
      <p:sp>
        <p:nvSpPr>
          <p:cNvPr id="13" name="Picture Placeholder 12">
            <a:extLst>
              <a:ext uri="{FF2B5EF4-FFF2-40B4-BE49-F238E27FC236}">
                <a16:creationId xmlns:a16="http://schemas.microsoft.com/office/drawing/2014/main" id="{84AD6E42-B8ED-45FE-80BA-270BE28BE3EB}"/>
              </a:ext>
            </a:extLst>
          </p:cNvPr>
          <p:cNvSpPr>
            <a:spLocks noGrp="1"/>
          </p:cNvSpPr>
          <p:nvPr>
            <p:ph type="pic" sz="quarter" idx="14"/>
          </p:nvPr>
        </p:nvSpPr>
        <p:spPr>
          <a:xfrm>
            <a:off x="6260114" y="1193177"/>
            <a:ext cx="2474760" cy="2071688"/>
          </a:xfrm>
          <a:custGeom>
            <a:avLst/>
            <a:gdLst>
              <a:gd name="connsiteX0" fmla="*/ 0 w 4950164"/>
              <a:gd name="connsiteY0" fmla="*/ 0 h 4143375"/>
              <a:gd name="connsiteX1" fmla="*/ 4950164 w 4950164"/>
              <a:gd name="connsiteY1" fmla="*/ 0 h 4143375"/>
              <a:gd name="connsiteX2" fmla="*/ 4950164 w 4950164"/>
              <a:gd name="connsiteY2" fmla="*/ 4143375 h 4143375"/>
              <a:gd name="connsiteX3" fmla="*/ 0 w 4950164"/>
              <a:gd name="connsiteY3" fmla="*/ 4143375 h 4143375"/>
            </a:gdLst>
            <a:ahLst/>
            <a:cxnLst>
              <a:cxn ang="0">
                <a:pos x="connsiteX0" y="connsiteY0"/>
              </a:cxn>
              <a:cxn ang="0">
                <a:pos x="connsiteX1" y="connsiteY1"/>
              </a:cxn>
              <a:cxn ang="0">
                <a:pos x="connsiteX2" y="connsiteY2"/>
              </a:cxn>
              <a:cxn ang="0">
                <a:pos x="connsiteX3" y="connsiteY3"/>
              </a:cxn>
            </a:cxnLst>
            <a:rect l="l" t="t" r="r" b="b"/>
            <a:pathLst>
              <a:path w="4950164" h="4143375">
                <a:moveTo>
                  <a:pt x="0" y="0"/>
                </a:moveTo>
                <a:lnTo>
                  <a:pt x="4950164" y="0"/>
                </a:lnTo>
                <a:lnTo>
                  <a:pt x="4950164" y="4143375"/>
                </a:lnTo>
                <a:lnTo>
                  <a:pt x="0" y="4143375"/>
                </a:lnTo>
                <a:close/>
              </a:path>
            </a:pathLst>
          </a:custGeom>
          <a:pattFill prst="pct60">
            <a:fgClr>
              <a:schemeClr val="bg1"/>
            </a:fgClr>
            <a:bgClr>
              <a:schemeClr val="bg1">
                <a:lumMod val="85000"/>
              </a:schemeClr>
            </a:bgClr>
          </a:pattFill>
          <a:effectLst>
            <a:outerShdw blurRad="660400" dist="190500" dir="5400000" algn="t" rotWithShape="0">
              <a:schemeClr val="accent1">
                <a:alpha val="40000"/>
              </a:schemeClr>
            </a:outerShdw>
          </a:effectLst>
        </p:spPr>
        <p:txBody>
          <a:bodyPr wrap="square" anchor="ctr">
            <a:noAutofit/>
          </a:bodyPr>
          <a:lstStyle>
            <a:lvl1pPr marL="0" indent="0" algn="ctr">
              <a:buFontTx/>
              <a:buNone/>
              <a:defRPr sz="1200"/>
            </a:lvl1pPr>
          </a:lstStyle>
          <a:p>
            <a:endParaRPr lang="en-US"/>
          </a:p>
        </p:txBody>
      </p:sp>
      <p:sp>
        <p:nvSpPr>
          <p:cNvPr id="14" name="Picture Placeholder 13">
            <a:extLst>
              <a:ext uri="{FF2B5EF4-FFF2-40B4-BE49-F238E27FC236}">
                <a16:creationId xmlns:a16="http://schemas.microsoft.com/office/drawing/2014/main" id="{BB2CF020-4972-4FDF-8E27-E1B874D0649C}"/>
              </a:ext>
            </a:extLst>
          </p:cNvPr>
          <p:cNvSpPr>
            <a:spLocks noGrp="1"/>
          </p:cNvSpPr>
          <p:nvPr>
            <p:ph type="pic" sz="quarter" idx="15"/>
          </p:nvPr>
        </p:nvSpPr>
        <p:spPr>
          <a:xfrm>
            <a:off x="3457125" y="3593137"/>
            <a:ext cx="2474760" cy="2071688"/>
          </a:xfrm>
          <a:custGeom>
            <a:avLst/>
            <a:gdLst>
              <a:gd name="connsiteX0" fmla="*/ 0 w 4950165"/>
              <a:gd name="connsiteY0" fmla="*/ 0 h 4143375"/>
              <a:gd name="connsiteX1" fmla="*/ 4950165 w 4950165"/>
              <a:gd name="connsiteY1" fmla="*/ 0 h 4143375"/>
              <a:gd name="connsiteX2" fmla="*/ 4950165 w 4950165"/>
              <a:gd name="connsiteY2" fmla="*/ 4143375 h 4143375"/>
              <a:gd name="connsiteX3" fmla="*/ 0 w 4950165"/>
              <a:gd name="connsiteY3" fmla="*/ 4143375 h 4143375"/>
            </a:gdLst>
            <a:ahLst/>
            <a:cxnLst>
              <a:cxn ang="0">
                <a:pos x="connsiteX0" y="connsiteY0"/>
              </a:cxn>
              <a:cxn ang="0">
                <a:pos x="connsiteX1" y="connsiteY1"/>
              </a:cxn>
              <a:cxn ang="0">
                <a:pos x="connsiteX2" y="connsiteY2"/>
              </a:cxn>
              <a:cxn ang="0">
                <a:pos x="connsiteX3" y="connsiteY3"/>
              </a:cxn>
            </a:cxnLst>
            <a:rect l="l" t="t" r="r" b="b"/>
            <a:pathLst>
              <a:path w="4950165" h="4143375">
                <a:moveTo>
                  <a:pt x="0" y="0"/>
                </a:moveTo>
                <a:lnTo>
                  <a:pt x="4950165" y="0"/>
                </a:lnTo>
                <a:lnTo>
                  <a:pt x="4950165" y="4143375"/>
                </a:lnTo>
                <a:lnTo>
                  <a:pt x="0" y="4143375"/>
                </a:lnTo>
                <a:close/>
              </a:path>
            </a:pathLst>
          </a:custGeom>
          <a:pattFill prst="pct60">
            <a:fgClr>
              <a:schemeClr val="bg1"/>
            </a:fgClr>
            <a:bgClr>
              <a:schemeClr val="bg1">
                <a:lumMod val="85000"/>
              </a:schemeClr>
            </a:bgClr>
          </a:pattFill>
          <a:effectLst>
            <a:outerShdw blurRad="660400" dist="190500" dir="5400000" algn="t" rotWithShape="0">
              <a:schemeClr val="accent1">
                <a:alpha val="40000"/>
              </a:schemeClr>
            </a:outerShdw>
          </a:effectLst>
        </p:spPr>
        <p:txBody>
          <a:bodyPr wrap="square" anchor="ctr">
            <a:noAutofit/>
          </a:bodyPr>
          <a:lstStyle>
            <a:lvl1pPr marL="0" indent="0" algn="ctr">
              <a:buFontTx/>
              <a:buNone/>
              <a:defRPr sz="1200"/>
            </a:lvl1pPr>
          </a:lstStyle>
          <a:p>
            <a:endParaRPr lang="en-US"/>
          </a:p>
        </p:txBody>
      </p:sp>
      <p:sp>
        <p:nvSpPr>
          <p:cNvPr id="15" name="Picture Placeholder 14">
            <a:extLst>
              <a:ext uri="{FF2B5EF4-FFF2-40B4-BE49-F238E27FC236}">
                <a16:creationId xmlns:a16="http://schemas.microsoft.com/office/drawing/2014/main" id="{7DEDE4E0-4295-4EC1-B674-5609175C4D60}"/>
              </a:ext>
            </a:extLst>
          </p:cNvPr>
          <p:cNvSpPr>
            <a:spLocks noGrp="1"/>
          </p:cNvSpPr>
          <p:nvPr>
            <p:ph type="pic" sz="quarter" idx="16"/>
          </p:nvPr>
        </p:nvSpPr>
        <p:spPr>
          <a:xfrm>
            <a:off x="6260114" y="3593137"/>
            <a:ext cx="2474760" cy="2071688"/>
          </a:xfrm>
          <a:custGeom>
            <a:avLst/>
            <a:gdLst>
              <a:gd name="connsiteX0" fmla="*/ 0 w 4950164"/>
              <a:gd name="connsiteY0" fmla="*/ 0 h 4143375"/>
              <a:gd name="connsiteX1" fmla="*/ 4950164 w 4950164"/>
              <a:gd name="connsiteY1" fmla="*/ 0 h 4143375"/>
              <a:gd name="connsiteX2" fmla="*/ 4950164 w 4950164"/>
              <a:gd name="connsiteY2" fmla="*/ 4143375 h 4143375"/>
              <a:gd name="connsiteX3" fmla="*/ 0 w 4950164"/>
              <a:gd name="connsiteY3" fmla="*/ 4143375 h 4143375"/>
            </a:gdLst>
            <a:ahLst/>
            <a:cxnLst>
              <a:cxn ang="0">
                <a:pos x="connsiteX0" y="connsiteY0"/>
              </a:cxn>
              <a:cxn ang="0">
                <a:pos x="connsiteX1" y="connsiteY1"/>
              </a:cxn>
              <a:cxn ang="0">
                <a:pos x="connsiteX2" y="connsiteY2"/>
              </a:cxn>
              <a:cxn ang="0">
                <a:pos x="connsiteX3" y="connsiteY3"/>
              </a:cxn>
            </a:cxnLst>
            <a:rect l="l" t="t" r="r" b="b"/>
            <a:pathLst>
              <a:path w="4950164" h="4143375">
                <a:moveTo>
                  <a:pt x="0" y="0"/>
                </a:moveTo>
                <a:lnTo>
                  <a:pt x="4950164" y="0"/>
                </a:lnTo>
                <a:lnTo>
                  <a:pt x="4950164" y="4143375"/>
                </a:lnTo>
                <a:lnTo>
                  <a:pt x="0" y="4143375"/>
                </a:lnTo>
                <a:close/>
              </a:path>
            </a:pathLst>
          </a:custGeom>
          <a:pattFill prst="pct60">
            <a:fgClr>
              <a:schemeClr val="bg1"/>
            </a:fgClr>
            <a:bgClr>
              <a:schemeClr val="bg1">
                <a:lumMod val="85000"/>
              </a:schemeClr>
            </a:bgClr>
          </a:pattFill>
          <a:effectLst>
            <a:outerShdw blurRad="660400" dist="190500" dir="5400000" algn="t" rotWithShape="0">
              <a:schemeClr val="accent1">
                <a:alpha val="40000"/>
              </a:schemeClr>
            </a:outerShdw>
          </a:effectLst>
        </p:spPr>
        <p:txBody>
          <a:bodyPr wrap="square" anchor="ctr">
            <a:noAutofit/>
          </a:bodyPr>
          <a:lstStyle>
            <a:lvl1pPr marL="0" indent="0" algn="ctr">
              <a:buFontTx/>
              <a:buNone/>
              <a:defRPr sz="1200"/>
            </a:lvl1pPr>
          </a:lstStyle>
          <a:p>
            <a:endParaRPr lang="en-US"/>
          </a:p>
        </p:txBody>
      </p:sp>
    </p:spTree>
    <p:extLst>
      <p:ext uri="{BB962C8B-B14F-4D97-AF65-F5344CB8AC3E}">
        <p14:creationId xmlns:p14="http://schemas.microsoft.com/office/powerpoint/2010/main" val="4245317898"/>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4" dur="2000" decel="100000"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2000" fill="hold"/>
                                        <p:tgtEl>
                                          <p:spTgt spid="12"/>
                                        </p:tgtEl>
                                        <p:attrNameLst>
                                          <p:attrName>ppt_x</p:attrName>
                                        </p:attrNameLst>
                                      </p:cBhvr>
                                      <p:tavLst>
                                        <p:tav tm="0">
                                          <p:val>
                                            <p:strVal val="#ppt_x"/>
                                          </p:val>
                                        </p:tav>
                                        <p:tav tm="100000">
                                          <p:val>
                                            <p:strVal val="#ppt_x"/>
                                          </p:val>
                                        </p:tav>
                                      </p:tavLst>
                                    </p:anim>
                                    <p:anim calcmode="lin" valueType="num">
                                      <p:cBhvr additive="base">
                                        <p:cTn id="8" dur="2000" fill="hold"/>
                                        <p:tgtEl>
                                          <p:spTgt spid="12"/>
                                        </p:tgtEl>
                                        <p:attrNameLst>
                                          <p:attrName>ppt_y</p:attrName>
                                        </p:attrNameLst>
                                      </p:cBhvr>
                                      <p:tavLst>
                                        <p:tav tm="0">
                                          <p:val>
                                            <p:strVal val="1+#ppt_h/2"/>
                                          </p:val>
                                        </p:tav>
                                        <p:tav tm="100000">
                                          <p:val>
                                            <p:strVal val="#ppt_y"/>
                                          </p:val>
                                        </p:tav>
                                      </p:tavLst>
                                    </p:anim>
                                  </p:childTnLst>
                                </p:cTn>
                              </p:par>
                              <p:par>
                                <p:cTn id="9" presetID="2" presetClass="entr" presetSubtype="4" dur="2000" decel="100000" fill="hold" grpId="0" nodeType="withEffect">
                                  <p:stCondLst>
                                    <p:cond delay="100"/>
                                  </p:stCondLst>
                                  <p:childTnLst>
                                    <p:set>
                                      <p:cBhvr>
                                        <p:cTn id="10" dur="1" fill="hold">
                                          <p:stCondLst>
                                            <p:cond delay="0"/>
                                          </p:stCondLst>
                                        </p:cTn>
                                        <p:tgtEl>
                                          <p:spTgt spid="13"/>
                                        </p:tgtEl>
                                        <p:attrNameLst>
                                          <p:attrName>style.visibility</p:attrName>
                                        </p:attrNameLst>
                                      </p:cBhvr>
                                      <p:to>
                                        <p:strVal val="visible"/>
                                      </p:to>
                                    </p:set>
                                    <p:anim calcmode="lin" valueType="num">
                                      <p:cBhvr additive="base">
                                        <p:cTn id="11" dur="2000" fill="hold"/>
                                        <p:tgtEl>
                                          <p:spTgt spid="13"/>
                                        </p:tgtEl>
                                        <p:attrNameLst>
                                          <p:attrName>ppt_x</p:attrName>
                                        </p:attrNameLst>
                                      </p:cBhvr>
                                      <p:tavLst>
                                        <p:tav tm="0">
                                          <p:val>
                                            <p:strVal val="#ppt_x"/>
                                          </p:val>
                                        </p:tav>
                                        <p:tav tm="100000">
                                          <p:val>
                                            <p:strVal val="#ppt_x"/>
                                          </p:val>
                                        </p:tav>
                                      </p:tavLst>
                                    </p:anim>
                                    <p:anim calcmode="lin" valueType="num">
                                      <p:cBhvr additive="base">
                                        <p:cTn id="12" dur="2000" fill="hold"/>
                                        <p:tgtEl>
                                          <p:spTgt spid="13"/>
                                        </p:tgtEl>
                                        <p:attrNameLst>
                                          <p:attrName>ppt_y</p:attrName>
                                        </p:attrNameLst>
                                      </p:cBhvr>
                                      <p:tavLst>
                                        <p:tav tm="0">
                                          <p:val>
                                            <p:strVal val="1+#ppt_h/2"/>
                                          </p:val>
                                        </p:tav>
                                        <p:tav tm="100000">
                                          <p:val>
                                            <p:strVal val="#ppt_y"/>
                                          </p:val>
                                        </p:tav>
                                      </p:tavLst>
                                    </p:anim>
                                  </p:childTnLst>
                                </p:cTn>
                              </p:par>
                              <p:par>
                                <p:cTn id="13" presetID="2" presetClass="entr" presetSubtype="4" dur="2000" decel="100000" fill="hold" grpId="0" nodeType="withEffect">
                                  <p:stCondLst>
                                    <p:cond delay="200"/>
                                  </p:stCondLst>
                                  <p:childTnLst>
                                    <p:set>
                                      <p:cBhvr>
                                        <p:cTn id="14" dur="1" fill="hold">
                                          <p:stCondLst>
                                            <p:cond delay="0"/>
                                          </p:stCondLst>
                                        </p:cTn>
                                        <p:tgtEl>
                                          <p:spTgt spid="14"/>
                                        </p:tgtEl>
                                        <p:attrNameLst>
                                          <p:attrName>style.visibility</p:attrName>
                                        </p:attrNameLst>
                                      </p:cBhvr>
                                      <p:to>
                                        <p:strVal val="visible"/>
                                      </p:to>
                                    </p:set>
                                    <p:anim calcmode="lin" valueType="num">
                                      <p:cBhvr additive="base">
                                        <p:cTn id="15" dur="2000" fill="hold"/>
                                        <p:tgtEl>
                                          <p:spTgt spid="14"/>
                                        </p:tgtEl>
                                        <p:attrNameLst>
                                          <p:attrName>ppt_x</p:attrName>
                                        </p:attrNameLst>
                                      </p:cBhvr>
                                      <p:tavLst>
                                        <p:tav tm="0">
                                          <p:val>
                                            <p:strVal val="#ppt_x"/>
                                          </p:val>
                                        </p:tav>
                                        <p:tav tm="100000">
                                          <p:val>
                                            <p:strVal val="#ppt_x"/>
                                          </p:val>
                                        </p:tav>
                                      </p:tavLst>
                                    </p:anim>
                                    <p:anim calcmode="lin" valueType="num">
                                      <p:cBhvr additive="base">
                                        <p:cTn id="16" dur="2000" fill="hold"/>
                                        <p:tgtEl>
                                          <p:spTgt spid="14"/>
                                        </p:tgtEl>
                                        <p:attrNameLst>
                                          <p:attrName>ppt_y</p:attrName>
                                        </p:attrNameLst>
                                      </p:cBhvr>
                                      <p:tavLst>
                                        <p:tav tm="0">
                                          <p:val>
                                            <p:strVal val="1+#ppt_h/2"/>
                                          </p:val>
                                        </p:tav>
                                        <p:tav tm="100000">
                                          <p:val>
                                            <p:strVal val="#ppt_y"/>
                                          </p:val>
                                        </p:tav>
                                      </p:tavLst>
                                    </p:anim>
                                  </p:childTnLst>
                                </p:cTn>
                              </p:par>
                              <p:par>
                                <p:cTn id="17" presetID="2" presetClass="entr" presetSubtype="4" dur="2000" decel="100000" fill="hold" grpId="0" nodeType="withEffect">
                                  <p:stCondLst>
                                    <p:cond delay="300"/>
                                  </p:stCondLst>
                                  <p:childTnLst>
                                    <p:set>
                                      <p:cBhvr>
                                        <p:cTn id="18" dur="1" fill="hold">
                                          <p:stCondLst>
                                            <p:cond delay="0"/>
                                          </p:stCondLst>
                                        </p:cTn>
                                        <p:tgtEl>
                                          <p:spTgt spid="15"/>
                                        </p:tgtEl>
                                        <p:attrNameLst>
                                          <p:attrName>style.visibility</p:attrName>
                                        </p:attrNameLst>
                                      </p:cBhvr>
                                      <p:to>
                                        <p:strVal val="visible"/>
                                      </p:to>
                                    </p:set>
                                    <p:anim calcmode="lin" valueType="num">
                                      <p:cBhvr additive="base">
                                        <p:cTn id="19" dur="2000" fill="hold"/>
                                        <p:tgtEl>
                                          <p:spTgt spid="15"/>
                                        </p:tgtEl>
                                        <p:attrNameLst>
                                          <p:attrName>ppt_x</p:attrName>
                                        </p:attrNameLst>
                                      </p:cBhvr>
                                      <p:tavLst>
                                        <p:tav tm="0">
                                          <p:val>
                                            <p:strVal val="#ppt_x"/>
                                          </p:val>
                                        </p:tav>
                                        <p:tav tm="100000">
                                          <p:val>
                                            <p:strVal val="#ppt_x"/>
                                          </p:val>
                                        </p:tav>
                                      </p:tavLst>
                                    </p:anim>
                                    <p:anim calcmode="lin" valueType="num">
                                      <p:cBhvr additive="base">
                                        <p:cTn id="20" dur="2000" fill="hold"/>
                                        <p:tgtEl>
                                          <p:spTgt spid="1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14" grpId="0" animBg="1"/>
      <p:bldP spid="15" grpId="0" animBg="1"/>
    </p:bldLst>
  </p:timing>
  <p:extLst>
    <p:ext uri="{DCECCB84-F9BA-43D5-87BE-67443E8EF086}">
      <p15:sldGuideLst xmlns:p15="http://schemas.microsoft.com/office/powerpoint/2012/main">
        <p15:guide id="1" orient="horz" pos="4320">
          <p15:clr>
            <a:srgbClr val="FBAE40"/>
          </p15:clr>
        </p15:guide>
        <p15:guide id="2" pos="7681">
          <p15:clr>
            <a:srgbClr val="FBAE40"/>
          </p15:clr>
        </p15:guide>
        <p15:guide id="3" pos="985">
          <p15:clr>
            <a:srgbClr val="FBAE40"/>
          </p15:clr>
        </p15:guide>
        <p15:guide id="4" pos="14377">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2" name="Rectangle: Diagonal Corners Rounded 1">
            <a:extLst>
              <a:ext uri="{FF2B5EF4-FFF2-40B4-BE49-F238E27FC236}">
                <a16:creationId xmlns:a16="http://schemas.microsoft.com/office/drawing/2014/main" id="{6E595C43-5991-6552-F387-5DE5AFC20901}"/>
              </a:ext>
            </a:extLst>
          </p:cNvPr>
          <p:cNvSpPr/>
          <p:nvPr userDrawn="1"/>
        </p:nvSpPr>
        <p:spPr>
          <a:xfrm>
            <a:off x="812800" y="728662"/>
            <a:ext cx="10566400" cy="5589587"/>
          </a:xfrm>
          <a:prstGeom prst="round2DiagRect">
            <a:avLst>
              <a:gd name="adj1" fmla="val 6783"/>
              <a:gd name="adj2" fmla="val 0"/>
            </a:avLst>
          </a:prstGeom>
          <a:solidFill>
            <a:schemeClr val="accent3">
              <a:lumMod val="40000"/>
              <a:lumOff val="60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1" name="Picture Placeholder 20">
            <a:extLst>
              <a:ext uri="{FF2B5EF4-FFF2-40B4-BE49-F238E27FC236}">
                <a16:creationId xmlns:a16="http://schemas.microsoft.com/office/drawing/2014/main" id="{92263DCA-1DEE-49D2-80CB-CF9032EF06FE}"/>
              </a:ext>
            </a:extLst>
          </p:cNvPr>
          <p:cNvSpPr>
            <a:spLocks noGrp="1"/>
          </p:cNvSpPr>
          <p:nvPr>
            <p:ph type="pic" sz="quarter" idx="13"/>
          </p:nvPr>
        </p:nvSpPr>
        <p:spPr>
          <a:xfrm>
            <a:off x="1514278" y="933450"/>
            <a:ext cx="1438088" cy="1571625"/>
          </a:xfrm>
          <a:custGeom>
            <a:avLst/>
            <a:gdLst>
              <a:gd name="connsiteX0" fmla="*/ 0 w 2876550"/>
              <a:gd name="connsiteY0" fmla="*/ 0 h 3143250"/>
              <a:gd name="connsiteX1" fmla="*/ 2876550 w 2876550"/>
              <a:gd name="connsiteY1" fmla="*/ 0 h 3143250"/>
              <a:gd name="connsiteX2" fmla="*/ 2876550 w 2876550"/>
              <a:gd name="connsiteY2" fmla="*/ 3143250 h 3143250"/>
              <a:gd name="connsiteX3" fmla="*/ 0 w 2876550"/>
              <a:gd name="connsiteY3" fmla="*/ 3143250 h 3143250"/>
            </a:gdLst>
            <a:ahLst/>
            <a:cxnLst>
              <a:cxn ang="0">
                <a:pos x="connsiteX0" y="connsiteY0"/>
              </a:cxn>
              <a:cxn ang="0">
                <a:pos x="connsiteX1" y="connsiteY1"/>
              </a:cxn>
              <a:cxn ang="0">
                <a:pos x="connsiteX2" y="connsiteY2"/>
              </a:cxn>
              <a:cxn ang="0">
                <a:pos x="connsiteX3" y="connsiteY3"/>
              </a:cxn>
            </a:cxnLst>
            <a:rect l="l" t="t" r="r" b="b"/>
            <a:pathLst>
              <a:path w="2876550" h="3143250">
                <a:moveTo>
                  <a:pt x="0" y="0"/>
                </a:moveTo>
                <a:lnTo>
                  <a:pt x="2876550" y="0"/>
                </a:lnTo>
                <a:lnTo>
                  <a:pt x="2876550" y="3143250"/>
                </a:lnTo>
                <a:lnTo>
                  <a:pt x="0" y="3143250"/>
                </a:lnTo>
                <a:close/>
              </a:path>
            </a:pathLst>
          </a:custGeom>
          <a:pattFill prst="pct60">
            <a:fgClr>
              <a:schemeClr val="bg1"/>
            </a:fgClr>
            <a:bgClr>
              <a:schemeClr val="bg1">
                <a:lumMod val="85000"/>
              </a:schemeClr>
            </a:bgClr>
          </a:pattFill>
          <a:effectLst>
            <a:outerShdw blurRad="660400" dist="190500" dir="5400000" algn="t" rotWithShape="0">
              <a:schemeClr val="accent1">
                <a:alpha val="40000"/>
              </a:schemeClr>
            </a:outerShdw>
          </a:effectLst>
        </p:spPr>
        <p:txBody>
          <a:bodyPr wrap="square" anchor="ctr">
            <a:noAutofit/>
          </a:bodyPr>
          <a:lstStyle>
            <a:lvl1pPr marL="0" indent="0" algn="ctr">
              <a:buFontTx/>
              <a:buNone/>
              <a:defRPr sz="1200"/>
            </a:lvl1pPr>
          </a:lstStyle>
          <a:p>
            <a:endParaRPr lang="en-US"/>
          </a:p>
        </p:txBody>
      </p:sp>
      <p:sp>
        <p:nvSpPr>
          <p:cNvPr id="22" name="Picture Placeholder 21">
            <a:extLst>
              <a:ext uri="{FF2B5EF4-FFF2-40B4-BE49-F238E27FC236}">
                <a16:creationId xmlns:a16="http://schemas.microsoft.com/office/drawing/2014/main" id="{743896C4-BC14-436C-ADB0-09DC41D72F17}"/>
              </a:ext>
            </a:extLst>
          </p:cNvPr>
          <p:cNvSpPr>
            <a:spLocks noGrp="1"/>
          </p:cNvSpPr>
          <p:nvPr>
            <p:ph type="pic" sz="quarter" idx="14"/>
          </p:nvPr>
        </p:nvSpPr>
        <p:spPr>
          <a:xfrm>
            <a:off x="4089397" y="933450"/>
            <a:ext cx="1438088" cy="1571625"/>
          </a:xfrm>
          <a:custGeom>
            <a:avLst/>
            <a:gdLst>
              <a:gd name="connsiteX0" fmla="*/ 0 w 2876550"/>
              <a:gd name="connsiteY0" fmla="*/ 0 h 3143250"/>
              <a:gd name="connsiteX1" fmla="*/ 2876550 w 2876550"/>
              <a:gd name="connsiteY1" fmla="*/ 0 h 3143250"/>
              <a:gd name="connsiteX2" fmla="*/ 2876550 w 2876550"/>
              <a:gd name="connsiteY2" fmla="*/ 3143250 h 3143250"/>
              <a:gd name="connsiteX3" fmla="*/ 0 w 2876550"/>
              <a:gd name="connsiteY3" fmla="*/ 3143250 h 3143250"/>
            </a:gdLst>
            <a:ahLst/>
            <a:cxnLst>
              <a:cxn ang="0">
                <a:pos x="connsiteX0" y="connsiteY0"/>
              </a:cxn>
              <a:cxn ang="0">
                <a:pos x="connsiteX1" y="connsiteY1"/>
              </a:cxn>
              <a:cxn ang="0">
                <a:pos x="connsiteX2" y="connsiteY2"/>
              </a:cxn>
              <a:cxn ang="0">
                <a:pos x="connsiteX3" y="connsiteY3"/>
              </a:cxn>
            </a:cxnLst>
            <a:rect l="l" t="t" r="r" b="b"/>
            <a:pathLst>
              <a:path w="2876550" h="3143250">
                <a:moveTo>
                  <a:pt x="0" y="0"/>
                </a:moveTo>
                <a:lnTo>
                  <a:pt x="2876550" y="0"/>
                </a:lnTo>
                <a:lnTo>
                  <a:pt x="2876550" y="3143250"/>
                </a:lnTo>
                <a:lnTo>
                  <a:pt x="0" y="3143250"/>
                </a:lnTo>
                <a:close/>
              </a:path>
            </a:pathLst>
          </a:custGeom>
          <a:pattFill prst="pct60">
            <a:fgClr>
              <a:schemeClr val="bg1"/>
            </a:fgClr>
            <a:bgClr>
              <a:schemeClr val="bg1">
                <a:lumMod val="85000"/>
              </a:schemeClr>
            </a:bgClr>
          </a:pattFill>
          <a:effectLst>
            <a:outerShdw blurRad="660400" dist="190500" dir="5400000" algn="t" rotWithShape="0">
              <a:schemeClr val="accent1">
                <a:alpha val="40000"/>
              </a:schemeClr>
            </a:outerShdw>
          </a:effectLst>
        </p:spPr>
        <p:txBody>
          <a:bodyPr wrap="square" anchor="ctr">
            <a:noAutofit/>
          </a:bodyPr>
          <a:lstStyle>
            <a:lvl1pPr marL="0" indent="0" algn="ctr">
              <a:buFontTx/>
              <a:buNone/>
              <a:defRPr sz="1200"/>
            </a:lvl1pPr>
          </a:lstStyle>
          <a:p>
            <a:endParaRPr lang="en-US"/>
          </a:p>
        </p:txBody>
      </p:sp>
      <p:sp>
        <p:nvSpPr>
          <p:cNvPr id="23" name="Picture Placeholder 22">
            <a:extLst>
              <a:ext uri="{FF2B5EF4-FFF2-40B4-BE49-F238E27FC236}">
                <a16:creationId xmlns:a16="http://schemas.microsoft.com/office/drawing/2014/main" id="{0A1AA56A-4341-4938-9A18-9B4699C88FDC}"/>
              </a:ext>
            </a:extLst>
          </p:cNvPr>
          <p:cNvSpPr>
            <a:spLocks noGrp="1"/>
          </p:cNvSpPr>
          <p:nvPr>
            <p:ph type="pic" sz="quarter" idx="15"/>
          </p:nvPr>
        </p:nvSpPr>
        <p:spPr>
          <a:xfrm>
            <a:off x="6664516" y="933450"/>
            <a:ext cx="1438088" cy="1571625"/>
          </a:xfrm>
          <a:custGeom>
            <a:avLst/>
            <a:gdLst>
              <a:gd name="connsiteX0" fmla="*/ 0 w 2876550"/>
              <a:gd name="connsiteY0" fmla="*/ 0 h 3143250"/>
              <a:gd name="connsiteX1" fmla="*/ 2876550 w 2876550"/>
              <a:gd name="connsiteY1" fmla="*/ 0 h 3143250"/>
              <a:gd name="connsiteX2" fmla="*/ 2876550 w 2876550"/>
              <a:gd name="connsiteY2" fmla="*/ 3143250 h 3143250"/>
              <a:gd name="connsiteX3" fmla="*/ 0 w 2876550"/>
              <a:gd name="connsiteY3" fmla="*/ 3143250 h 3143250"/>
            </a:gdLst>
            <a:ahLst/>
            <a:cxnLst>
              <a:cxn ang="0">
                <a:pos x="connsiteX0" y="connsiteY0"/>
              </a:cxn>
              <a:cxn ang="0">
                <a:pos x="connsiteX1" y="connsiteY1"/>
              </a:cxn>
              <a:cxn ang="0">
                <a:pos x="connsiteX2" y="connsiteY2"/>
              </a:cxn>
              <a:cxn ang="0">
                <a:pos x="connsiteX3" y="connsiteY3"/>
              </a:cxn>
            </a:cxnLst>
            <a:rect l="l" t="t" r="r" b="b"/>
            <a:pathLst>
              <a:path w="2876550" h="3143250">
                <a:moveTo>
                  <a:pt x="0" y="0"/>
                </a:moveTo>
                <a:lnTo>
                  <a:pt x="2876550" y="0"/>
                </a:lnTo>
                <a:lnTo>
                  <a:pt x="2876550" y="3143250"/>
                </a:lnTo>
                <a:lnTo>
                  <a:pt x="0" y="3143250"/>
                </a:lnTo>
                <a:close/>
              </a:path>
            </a:pathLst>
          </a:custGeom>
          <a:pattFill prst="pct60">
            <a:fgClr>
              <a:schemeClr val="bg1"/>
            </a:fgClr>
            <a:bgClr>
              <a:schemeClr val="bg1">
                <a:lumMod val="85000"/>
              </a:schemeClr>
            </a:bgClr>
          </a:pattFill>
          <a:effectLst>
            <a:outerShdw blurRad="660400" dist="190500" dir="5400000" algn="t" rotWithShape="0">
              <a:schemeClr val="accent1">
                <a:alpha val="40000"/>
              </a:schemeClr>
            </a:outerShdw>
          </a:effectLst>
        </p:spPr>
        <p:txBody>
          <a:bodyPr wrap="square" anchor="ctr">
            <a:noAutofit/>
          </a:bodyPr>
          <a:lstStyle>
            <a:lvl1pPr marL="0" indent="0" algn="ctr">
              <a:buFontTx/>
              <a:buNone/>
              <a:defRPr sz="1200"/>
            </a:lvl1pPr>
          </a:lstStyle>
          <a:p>
            <a:endParaRPr lang="en-US"/>
          </a:p>
        </p:txBody>
      </p:sp>
      <p:sp>
        <p:nvSpPr>
          <p:cNvPr id="24" name="Picture Placeholder 23">
            <a:extLst>
              <a:ext uri="{FF2B5EF4-FFF2-40B4-BE49-F238E27FC236}">
                <a16:creationId xmlns:a16="http://schemas.microsoft.com/office/drawing/2014/main" id="{DAF6D4B1-9881-4261-92C1-B717CE6B512B}"/>
              </a:ext>
            </a:extLst>
          </p:cNvPr>
          <p:cNvSpPr>
            <a:spLocks noGrp="1"/>
          </p:cNvSpPr>
          <p:nvPr>
            <p:ph type="pic" sz="quarter" idx="16"/>
          </p:nvPr>
        </p:nvSpPr>
        <p:spPr>
          <a:xfrm>
            <a:off x="9239635" y="933450"/>
            <a:ext cx="1438088" cy="1571625"/>
          </a:xfrm>
          <a:custGeom>
            <a:avLst/>
            <a:gdLst>
              <a:gd name="connsiteX0" fmla="*/ 0 w 2876550"/>
              <a:gd name="connsiteY0" fmla="*/ 0 h 3143250"/>
              <a:gd name="connsiteX1" fmla="*/ 2876550 w 2876550"/>
              <a:gd name="connsiteY1" fmla="*/ 0 h 3143250"/>
              <a:gd name="connsiteX2" fmla="*/ 2876550 w 2876550"/>
              <a:gd name="connsiteY2" fmla="*/ 3143250 h 3143250"/>
              <a:gd name="connsiteX3" fmla="*/ 0 w 2876550"/>
              <a:gd name="connsiteY3" fmla="*/ 3143250 h 3143250"/>
            </a:gdLst>
            <a:ahLst/>
            <a:cxnLst>
              <a:cxn ang="0">
                <a:pos x="connsiteX0" y="connsiteY0"/>
              </a:cxn>
              <a:cxn ang="0">
                <a:pos x="connsiteX1" y="connsiteY1"/>
              </a:cxn>
              <a:cxn ang="0">
                <a:pos x="connsiteX2" y="connsiteY2"/>
              </a:cxn>
              <a:cxn ang="0">
                <a:pos x="connsiteX3" y="connsiteY3"/>
              </a:cxn>
            </a:cxnLst>
            <a:rect l="l" t="t" r="r" b="b"/>
            <a:pathLst>
              <a:path w="2876550" h="3143250">
                <a:moveTo>
                  <a:pt x="0" y="0"/>
                </a:moveTo>
                <a:lnTo>
                  <a:pt x="2876550" y="0"/>
                </a:lnTo>
                <a:lnTo>
                  <a:pt x="2876550" y="3143250"/>
                </a:lnTo>
                <a:lnTo>
                  <a:pt x="0" y="3143250"/>
                </a:lnTo>
                <a:close/>
              </a:path>
            </a:pathLst>
          </a:custGeom>
          <a:pattFill prst="pct60">
            <a:fgClr>
              <a:schemeClr val="bg1"/>
            </a:fgClr>
            <a:bgClr>
              <a:schemeClr val="bg1">
                <a:lumMod val="85000"/>
              </a:schemeClr>
            </a:bgClr>
          </a:pattFill>
          <a:effectLst>
            <a:outerShdw blurRad="660400" dist="190500" dir="5400000" algn="t" rotWithShape="0">
              <a:schemeClr val="accent1">
                <a:alpha val="40000"/>
              </a:schemeClr>
            </a:outerShdw>
          </a:effectLst>
        </p:spPr>
        <p:txBody>
          <a:bodyPr wrap="square" anchor="ctr">
            <a:noAutofit/>
          </a:bodyPr>
          <a:lstStyle>
            <a:lvl1pPr marL="0" indent="0" algn="ctr">
              <a:buFontTx/>
              <a:buNone/>
              <a:defRPr sz="1200"/>
            </a:lvl1pPr>
          </a:lstStyle>
          <a:p>
            <a:endParaRPr lang="en-US"/>
          </a:p>
        </p:txBody>
      </p:sp>
      <p:sp>
        <p:nvSpPr>
          <p:cNvPr id="25" name="Picture Placeholder 24">
            <a:extLst>
              <a:ext uri="{FF2B5EF4-FFF2-40B4-BE49-F238E27FC236}">
                <a16:creationId xmlns:a16="http://schemas.microsoft.com/office/drawing/2014/main" id="{4E6DD8C9-03BB-49E3-A9B8-A0EFEABFBD22}"/>
              </a:ext>
            </a:extLst>
          </p:cNvPr>
          <p:cNvSpPr>
            <a:spLocks noGrp="1"/>
          </p:cNvSpPr>
          <p:nvPr>
            <p:ph type="pic" sz="quarter" idx="17"/>
          </p:nvPr>
        </p:nvSpPr>
        <p:spPr>
          <a:xfrm>
            <a:off x="1514278" y="3714750"/>
            <a:ext cx="1438088" cy="1571625"/>
          </a:xfrm>
          <a:custGeom>
            <a:avLst/>
            <a:gdLst>
              <a:gd name="connsiteX0" fmla="*/ 0 w 2876550"/>
              <a:gd name="connsiteY0" fmla="*/ 0 h 3143250"/>
              <a:gd name="connsiteX1" fmla="*/ 2876550 w 2876550"/>
              <a:gd name="connsiteY1" fmla="*/ 0 h 3143250"/>
              <a:gd name="connsiteX2" fmla="*/ 2876550 w 2876550"/>
              <a:gd name="connsiteY2" fmla="*/ 3143250 h 3143250"/>
              <a:gd name="connsiteX3" fmla="*/ 0 w 2876550"/>
              <a:gd name="connsiteY3" fmla="*/ 3143250 h 3143250"/>
            </a:gdLst>
            <a:ahLst/>
            <a:cxnLst>
              <a:cxn ang="0">
                <a:pos x="connsiteX0" y="connsiteY0"/>
              </a:cxn>
              <a:cxn ang="0">
                <a:pos x="connsiteX1" y="connsiteY1"/>
              </a:cxn>
              <a:cxn ang="0">
                <a:pos x="connsiteX2" y="connsiteY2"/>
              </a:cxn>
              <a:cxn ang="0">
                <a:pos x="connsiteX3" y="connsiteY3"/>
              </a:cxn>
            </a:cxnLst>
            <a:rect l="l" t="t" r="r" b="b"/>
            <a:pathLst>
              <a:path w="2876550" h="3143250">
                <a:moveTo>
                  <a:pt x="0" y="0"/>
                </a:moveTo>
                <a:lnTo>
                  <a:pt x="2876550" y="0"/>
                </a:lnTo>
                <a:lnTo>
                  <a:pt x="2876550" y="3143250"/>
                </a:lnTo>
                <a:lnTo>
                  <a:pt x="0" y="3143250"/>
                </a:lnTo>
                <a:close/>
              </a:path>
            </a:pathLst>
          </a:custGeom>
          <a:pattFill prst="pct60">
            <a:fgClr>
              <a:schemeClr val="bg1"/>
            </a:fgClr>
            <a:bgClr>
              <a:schemeClr val="bg1">
                <a:lumMod val="85000"/>
              </a:schemeClr>
            </a:bgClr>
          </a:pattFill>
          <a:effectLst>
            <a:outerShdw blurRad="660400" dist="190500" dir="5400000" algn="t" rotWithShape="0">
              <a:schemeClr val="accent1">
                <a:alpha val="40000"/>
              </a:schemeClr>
            </a:outerShdw>
          </a:effectLst>
        </p:spPr>
        <p:txBody>
          <a:bodyPr wrap="square" anchor="ctr">
            <a:noAutofit/>
          </a:bodyPr>
          <a:lstStyle>
            <a:lvl1pPr marL="0" indent="0" algn="ctr">
              <a:buFontTx/>
              <a:buNone/>
              <a:defRPr sz="1200"/>
            </a:lvl1pPr>
          </a:lstStyle>
          <a:p>
            <a:endParaRPr lang="en-US"/>
          </a:p>
        </p:txBody>
      </p:sp>
      <p:sp>
        <p:nvSpPr>
          <p:cNvPr id="26" name="Picture Placeholder 25">
            <a:extLst>
              <a:ext uri="{FF2B5EF4-FFF2-40B4-BE49-F238E27FC236}">
                <a16:creationId xmlns:a16="http://schemas.microsoft.com/office/drawing/2014/main" id="{DFAB2594-68AE-46A3-9D9A-148C9A705C00}"/>
              </a:ext>
            </a:extLst>
          </p:cNvPr>
          <p:cNvSpPr>
            <a:spLocks noGrp="1"/>
          </p:cNvSpPr>
          <p:nvPr>
            <p:ph type="pic" sz="quarter" idx="18"/>
          </p:nvPr>
        </p:nvSpPr>
        <p:spPr>
          <a:xfrm>
            <a:off x="4089397" y="3714750"/>
            <a:ext cx="1438088" cy="1571625"/>
          </a:xfrm>
          <a:custGeom>
            <a:avLst/>
            <a:gdLst>
              <a:gd name="connsiteX0" fmla="*/ 0 w 2876550"/>
              <a:gd name="connsiteY0" fmla="*/ 0 h 3143250"/>
              <a:gd name="connsiteX1" fmla="*/ 2876550 w 2876550"/>
              <a:gd name="connsiteY1" fmla="*/ 0 h 3143250"/>
              <a:gd name="connsiteX2" fmla="*/ 2876550 w 2876550"/>
              <a:gd name="connsiteY2" fmla="*/ 3143250 h 3143250"/>
              <a:gd name="connsiteX3" fmla="*/ 0 w 2876550"/>
              <a:gd name="connsiteY3" fmla="*/ 3143250 h 3143250"/>
            </a:gdLst>
            <a:ahLst/>
            <a:cxnLst>
              <a:cxn ang="0">
                <a:pos x="connsiteX0" y="connsiteY0"/>
              </a:cxn>
              <a:cxn ang="0">
                <a:pos x="connsiteX1" y="connsiteY1"/>
              </a:cxn>
              <a:cxn ang="0">
                <a:pos x="connsiteX2" y="connsiteY2"/>
              </a:cxn>
              <a:cxn ang="0">
                <a:pos x="connsiteX3" y="connsiteY3"/>
              </a:cxn>
            </a:cxnLst>
            <a:rect l="l" t="t" r="r" b="b"/>
            <a:pathLst>
              <a:path w="2876550" h="3143250">
                <a:moveTo>
                  <a:pt x="0" y="0"/>
                </a:moveTo>
                <a:lnTo>
                  <a:pt x="2876550" y="0"/>
                </a:lnTo>
                <a:lnTo>
                  <a:pt x="2876550" y="3143250"/>
                </a:lnTo>
                <a:lnTo>
                  <a:pt x="0" y="3143250"/>
                </a:lnTo>
                <a:close/>
              </a:path>
            </a:pathLst>
          </a:custGeom>
          <a:pattFill prst="pct60">
            <a:fgClr>
              <a:schemeClr val="bg1"/>
            </a:fgClr>
            <a:bgClr>
              <a:schemeClr val="bg1">
                <a:lumMod val="85000"/>
              </a:schemeClr>
            </a:bgClr>
          </a:pattFill>
          <a:effectLst>
            <a:outerShdw blurRad="660400" dist="190500" dir="5400000" algn="t" rotWithShape="0">
              <a:schemeClr val="accent1">
                <a:alpha val="40000"/>
              </a:schemeClr>
            </a:outerShdw>
          </a:effectLst>
        </p:spPr>
        <p:txBody>
          <a:bodyPr wrap="square" anchor="ctr">
            <a:noAutofit/>
          </a:bodyPr>
          <a:lstStyle>
            <a:lvl1pPr marL="0" indent="0" algn="ctr">
              <a:buFontTx/>
              <a:buNone/>
              <a:defRPr sz="1200"/>
            </a:lvl1pPr>
          </a:lstStyle>
          <a:p>
            <a:endParaRPr lang="en-US"/>
          </a:p>
        </p:txBody>
      </p:sp>
      <p:sp>
        <p:nvSpPr>
          <p:cNvPr id="27" name="Picture Placeholder 26">
            <a:extLst>
              <a:ext uri="{FF2B5EF4-FFF2-40B4-BE49-F238E27FC236}">
                <a16:creationId xmlns:a16="http://schemas.microsoft.com/office/drawing/2014/main" id="{5DF9FA7A-DB60-4682-8CAB-2AC84C80FAD2}"/>
              </a:ext>
            </a:extLst>
          </p:cNvPr>
          <p:cNvSpPr>
            <a:spLocks noGrp="1"/>
          </p:cNvSpPr>
          <p:nvPr>
            <p:ph type="pic" sz="quarter" idx="19"/>
          </p:nvPr>
        </p:nvSpPr>
        <p:spPr>
          <a:xfrm>
            <a:off x="6664516" y="3714750"/>
            <a:ext cx="1438088" cy="1571625"/>
          </a:xfrm>
          <a:custGeom>
            <a:avLst/>
            <a:gdLst>
              <a:gd name="connsiteX0" fmla="*/ 0 w 2876550"/>
              <a:gd name="connsiteY0" fmla="*/ 0 h 3143250"/>
              <a:gd name="connsiteX1" fmla="*/ 2876550 w 2876550"/>
              <a:gd name="connsiteY1" fmla="*/ 0 h 3143250"/>
              <a:gd name="connsiteX2" fmla="*/ 2876550 w 2876550"/>
              <a:gd name="connsiteY2" fmla="*/ 3143250 h 3143250"/>
              <a:gd name="connsiteX3" fmla="*/ 0 w 2876550"/>
              <a:gd name="connsiteY3" fmla="*/ 3143250 h 3143250"/>
            </a:gdLst>
            <a:ahLst/>
            <a:cxnLst>
              <a:cxn ang="0">
                <a:pos x="connsiteX0" y="connsiteY0"/>
              </a:cxn>
              <a:cxn ang="0">
                <a:pos x="connsiteX1" y="connsiteY1"/>
              </a:cxn>
              <a:cxn ang="0">
                <a:pos x="connsiteX2" y="connsiteY2"/>
              </a:cxn>
              <a:cxn ang="0">
                <a:pos x="connsiteX3" y="connsiteY3"/>
              </a:cxn>
            </a:cxnLst>
            <a:rect l="l" t="t" r="r" b="b"/>
            <a:pathLst>
              <a:path w="2876550" h="3143250">
                <a:moveTo>
                  <a:pt x="0" y="0"/>
                </a:moveTo>
                <a:lnTo>
                  <a:pt x="2876550" y="0"/>
                </a:lnTo>
                <a:lnTo>
                  <a:pt x="2876550" y="3143250"/>
                </a:lnTo>
                <a:lnTo>
                  <a:pt x="0" y="3143250"/>
                </a:lnTo>
                <a:close/>
              </a:path>
            </a:pathLst>
          </a:custGeom>
          <a:pattFill prst="pct60">
            <a:fgClr>
              <a:schemeClr val="bg1"/>
            </a:fgClr>
            <a:bgClr>
              <a:schemeClr val="bg1">
                <a:lumMod val="85000"/>
              </a:schemeClr>
            </a:bgClr>
          </a:pattFill>
          <a:effectLst>
            <a:outerShdw blurRad="660400" dist="190500" dir="5400000" algn="t" rotWithShape="0">
              <a:schemeClr val="accent1">
                <a:alpha val="40000"/>
              </a:schemeClr>
            </a:outerShdw>
          </a:effectLst>
        </p:spPr>
        <p:txBody>
          <a:bodyPr wrap="square" anchor="ctr">
            <a:noAutofit/>
          </a:bodyPr>
          <a:lstStyle>
            <a:lvl1pPr marL="0" indent="0" algn="ctr">
              <a:buFontTx/>
              <a:buNone/>
              <a:defRPr sz="1200"/>
            </a:lvl1pPr>
          </a:lstStyle>
          <a:p>
            <a:endParaRPr lang="en-US"/>
          </a:p>
        </p:txBody>
      </p:sp>
      <p:sp>
        <p:nvSpPr>
          <p:cNvPr id="28" name="Picture Placeholder 27">
            <a:extLst>
              <a:ext uri="{FF2B5EF4-FFF2-40B4-BE49-F238E27FC236}">
                <a16:creationId xmlns:a16="http://schemas.microsoft.com/office/drawing/2014/main" id="{16669351-C444-4EC3-976D-DAFD767ED96C}"/>
              </a:ext>
            </a:extLst>
          </p:cNvPr>
          <p:cNvSpPr>
            <a:spLocks noGrp="1"/>
          </p:cNvSpPr>
          <p:nvPr>
            <p:ph type="pic" sz="quarter" idx="20"/>
          </p:nvPr>
        </p:nvSpPr>
        <p:spPr>
          <a:xfrm>
            <a:off x="9239635" y="3714750"/>
            <a:ext cx="1438088" cy="1571625"/>
          </a:xfrm>
          <a:custGeom>
            <a:avLst/>
            <a:gdLst>
              <a:gd name="connsiteX0" fmla="*/ 0 w 2876550"/>
              <a:gd name="connsiteY0" fmla="*/ 0 h 3143250"/>
              <a:gd name="connsiteX1" fmla="*/ 2876550 w 2876550"/>
              <a:gd name="connsiteY1" fmla="*/ 0 h 3143250"/>
              <a:gd name="connsiteX2" fmla="*/ 2876550 w 2876550"/>
              <a:gd name="connsiteY2" fmla="*/ 3143250 h 3143250"/>
              <a:gd name="connsiteX3" fmla="*/ 0 w 2876550"/>
              <a:gd name="connsiteY3" fmla="*/ 3143250 h 3143250"/>
            </a:gdLst>
            <a:ahLst/>
            <a:cxnLst>
              <a:cxn ang="0">
                <a:pos x="connsiteX0" y="connsiteY0"/>
              </a:cxn>
              <a:cxn ang="0">
                <a:pos x="connsiteX1" y="connsiteY1"/>
              </a:cxn>
              <a:cxn ang="0">
                <a:pos x="connsiteX2" y="connsiteY2"/>
              </a:cxn>
              <a:cxn ang="0">
                <a:pos x="connsiteX3" y="connsiteY3"/>
              </a:cxn>
            </a:cxnLst>
            <a:rect l="l" t="t" r="r" b="b"/>
            <a:pathLst>
              <a:path w="2876550" h="3143250">
                <a:moveTo>
                  <a:pt x="0" y="0"/>
                </a:moveTo>
                <a:lnTo>
                  <a:pt x="2876550" y="0"/>
                </a:lnTo>
                <a:lnTo>
                  <a:pt x="2876550" y="3143250"/>
                </a:lnTo>
                <a:lnTo>
                  <a:pt x="0" y="3143250"/>
                </a:lnTo>
                <a:close/>
              </a:path>
            </a:pathLst>
          </a:custGeom>
          <a:pattFill prst="pct60">
            <a:fgClr>
              <a:schemeClr val="bg1"/>
            </a:fgClr>
            <a:bgClr>
              <a:schemeClr val="bg1">
                <a:lumMod val="85000"/>
              </a:schemeClr>
            </a:bgClr>
          </a:pattFill>
          <a:effectLst>
            <a:outerShdw blurRad="660400" dist="190500" dir="5400000" algn="t" rotWithShape="0">
              <a:schemeClr val="accent1">
                <a:alpha val="40000"/>
              </a:schemeClr>
            </a:outerShdw>
          </a:effectLst>
        </p:spPr>
        <p:txBody>
          <a:bodyPr wrap="square" anchor="ctr">
            <a:noAutofit/>
          </a:bodyPr>
          <a:lstStyle>
            <a:lvl1pPr marL="0" indent="0" algn="ctr">
              <a:buFontTx/>
              <a:buNone/>
              <a:defRPr sz="1200"/>
            </a:lvl1pPr>
          </a:lstStyle>
          <a:p>
            <a:endParaRPr lang="en-US"/>
          </a:p>
        </p:txBody>
      </p:sp>
    </p:spTree>
    <p:extLst>
      <p:ext uri="{BB962C8B-B14F-4D97-AF65-F5344CB8AC3E}">
        <p14:creationId xmlns:p14="http://schemas.microsoft.com/office/powerpoint/2010/main" val="953396779"/>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2" dur="1000" decel="100000" fill="hold" grpId="0" nodeType="withEffect">
                                  <p:stCondLst>
                                    <p:cond delay="0"/>
                                  </p:stCondLst>
                                  <p:childTnLst>
                                    <p:set>
                                      <p:cBhvr>
                                        <p:cTn id="6" dur="1" fill="hold">
                                          <p:stCondLst>
                                            <p:cond delay="0"/>
                                          </p:stCondLst>
                                        </p:cTn>
                                        <p:tgtEl>
                                          <p:spTgt spid="21"/>
                                        </p:tgtEl>
                                        <p:attrNameLst>
                                          <p:attrName>style.visibility</p:attrName>
                                        </p:attrNameLst>
                                      </p:cBhvr>
                                      <p:to>
                                        <p:strVal val="visible"/>
                                      </p:to>
                                    </p:set>
                                    <p:anim calcmode="lin" valueType="num">
                                      <p:cBhvr additive="base">
                                        <p:cTn id="7" dur="1000" fill="hold"/>
                                        <p:tgtEl>
                                          <p:spTgt spid="21"/>
                                        </p:tgtEl>
                                        <p:attrNameLst>
                                          <p:attrName>ppt_x</p:attrName>
                                        </p:attrNameLst>
                                      </p:cBhvr>
                                      <p:tavLst>
                                        <p:tav tm="0">
                                          <p:val>
                                            <p:strVal val="1+#ppt_w/2"/>
                                          </p:val>
                                        </p:tav>
                                        <p:tav tm="100000">
                                          <p:val>
                                            <p:strVal val="#ppt_x"/>
                                          </p:val>
                                        </p:tav>
                                      </p:tavLst>
                                    </p:anim>
                                    <p:anim calcmode="lin" valueType="num">
                                      <p:cBhvr additive="base">
                                        <p:cTn id="8" dur="1000" fill="hold"/>
                                        <p:tgtEl>
                                          <p:spTgt spid="21"/>
                                        </p:tgtEl>
                                        <p:attrNameLst>
                                          <p:attrName>ppt_y</p:attrName>
                                        </p:attrNameLst>
                                      </p:cBhvr>
                                      <p:tavLst>
                                        <p:tav tm="0">
                                          <p:val>
                                            <p:strVal val="#ppt_y"/>
                                          </p:val>
                                        </p:tav>
                                        <p:tav tm="100000">
                                          <p:val>
                                            <p:strVal val="#ppt_y"/>
                                          </p:val>
                                        </p:tav>
                                      </p:tavLst>
                                    </p:anim>
                                  </p:childTnLst>
                                </p:cTn>
                              </p:par>
                              <p:par>
                                <p:cTn id="9" presetID="2" presetClass="entr" presetSubtype="2" dur="1000" decel="100000" fill="hold" grpId="0" nodeType="withEffect">
                                  <p:stCondLst>
                                    <p:cond delay="100"/>
                                  </p:stCondLst>
                                  <p:childTnLst>
                                    <p:set>
                                      <p:cBhvr>
                                        <p:cTn id="10" dur="1" fill="hold">
                                          <p:stCondLst>
                                            <p:cond delay="0"/>
                                          </p:stCondLst>
                                        </p:cTn>
                                        <p:tgtEl>
                                          <p:spTgt spid="22"/>
                                        </p:tgtEl>
                                        <p:attrNameLst>
                                          <p:attrName>style.visibility</p:attrName>
                                        </p:attrNameLst>
                                      </p:cBhvr>
                                      <p:to>
                                        <p:strVal val="visible"/>
                                      </p:to>
                                    </p:set>
                                    <p:anim calcmode="lin" valueType="num">
                                      <p:cBhvr additive="base">
                                        <p:cTn id="11" dur="1000" fill="hold"/>
                                        <p:tgtEl>
                                          <p:spTgt spid="22"/>
                                        </p:tgtEl>
                                        <p:attrNameLst>
                                          <p:attrName>ppt_x</p:attrName>
                                        </p:attrNameLst>
                                      </p:cBhvr>
                                      <p:tavLst>
                                        <p:tav tm="0">
                                          <p:val>
                                            <p:strVal val="1+#ppt_w/2"/>
                                          </p:val>
                                        </p:tav>
                                        <p:tav tm="100000">
                                          <p:val>
                                            <p:strVal val="#ppt_x"/>
                                          </p:val>
                                        </p:tav>
                                      </p:tavLst>
                                    </p:anim>
                                    <p:anim calcmode="lin" valueType="num">
                                      <p:cBhvr additive="base">
                                        <p:cTn id="12" dur="1000" fill="hold"/>
                                        <p:tgtEl>
                                          <p:spTgt spid="22"/>
                                        </p:tgtEl>
                                        <p:attrNameLst>
                                          <p:attrName>ppt_y</p:attrName>
                                        </p:attrNameLst>
                                      </p:cBhvr>
                                      <p:tavLst>
                                        <p:tav tm="0">
                                          <p:val>
                                            <p:strVal val="#ppt_y"/>
                                          </p:val>
                                        </p:tav>
                                        <p:tav tm="100000">
                                          <p:val>
                                            <p:strVal val="#ppt_y"/>
                                          </p:val>
                                        </p:tav>
                                      </p:tavLst>
                                    </p:anim>
                                  </p:childTnLst>
                                </p:cTn>
                              </p:par>
                              <p:par>
                                <p:cTn id="13" presetID="2" presetClass="entr" presetSubtype="2" dur="1000" decel="100000" fill="hold" grpId="0" nodeType="withEffect">
                                  <p:stCondLst>
                                    <p:cond delay="200"/>
                                  </p:stCondLst>
                                  <p:childTnLst>
                                    <p:set>
                                      <p:cBhvr>
                                        <p:cTn id="14" dur="1" fill="hold">
                                          <p:stCondLst>
                                            <p:cond delay="0"/>
                                          </p:stCondLst>
                                        </p:cTn>
                                        <p:tgtEl>
                                          <p:spTgt spid="23"/>
                                        </p:tgtEl>
                                        <p:attrNameLst>
                                          <p:attrName>style.visibility</p:attrName>
                                        </p:attrNameLst>
                                      </p:cBhvr>
                                      <p:to>
                                        <p:strVal val="visible"/>
                                      </p:to>
                                    </p:set>
                                    <p:anim calcmode="lin" valueType="num">
                                      <p:cBhvr additive="base">
                                        <p:cTn id="15" dur="1000" fill="hold"/>
                                        <p:tgtEl>
                                          <p:spTgt spid="23"/>
                                        </p:tgtEl>
                                        <p:attrNameLst>
                                          <p:attrName>ppt_x</p:attrName>
                                        </p:attrNameLst>
                                      </p:cBhvr>
                                      <p:tavLst>
                                        <p:tav tm="0">
                                          <p:val>
                                            <p:strVal val="1+#ppt_w/2"/>
                                          </p:val>
                                        </p:tav>
                                        <p:tav tm="100000">
                                          <p:val>
                                            <p:strVal val="#ppt_x"/>
                                          </p:val>
                                        </p:tav>
                                      </p:tavLst>
                                    </p:anim>
                                    <p:anim calcmode="lin" valueType="num">
                                      <p:cBhvr additive="base">
                                        <p:cTn id="16" dur="1000" fill="hold"/>
                                        <p:tgtEl>
                                          <p:spTgt spid="23"/>
                                        </p:tgtEl>
                                        <p:attrNameLst>
                                          <p:attrName>ppt_y</p:attrName>
                                        </p:attrNameLst>
                                      </p:cBhvr>
                                      <p:tavLst>
                                        <p:tav tm="0">
                                          <p:val>
                                            <p:strVal val="#ppt_y"/>
                                          </p:val>
                                        </p:tav>
                                        <p:tav tm="100000">
                                          <p:val>
                                            <p:strVal val="#ppt_y"/>
                                          </p:val>
                                        </p:tav>
                                      </p:tavLst>
                                    </p:anim>
                                  </p:childTnLst>
                                </p:cTn>
                              </p:par>
                              <p:par>
                                <p:cTn id="17" presetID="2" presetClass="entr" presetSubtype="2" dur="1000" decel="100000" fill="hold" grpId="0" nodeType="withEffect">
                                  <p:stCondLst>
                                    <p:cond delay="300"/>
                                  </p:stCondLst>
                                  <p:childTnLst>
                                    <p:set>
                                      <p:cBhvr>
                                        <p:cTn id="18" dur="1" fill="hold">
                                          <p:stCondLst>
                                            <p:cond delay="0"/>
                                          </p:stCondLst>
                                        </p:cTn>
                                        <p:tgtEl>
                                          <p:spTgt spid="24"/>
                                        </p:tgtEl>
                                        <p:attrNameLst>
                                          <p:attrName>style.visibility</p:attrName>
                                        </p:attrNameLst>
                                      </p:cBhvr>
                                      <p:to>
                                        <p:strVal val="visible"/>
                                      </p:to>
                                    </p:set>
                                    <p:anim calcmode="lin" valueType="num">
                                      <p:cBhvr additive="base">
                                        <p:cTn id="19" dur="1000" fill="hold"/>
                                        <p:tgtEl>
                                          <p:spTgt spid="24"/>
                                        </p:tgtEl>
                                        <p:attrNameLst>
                                          <p:attrName>ppt_x</p:attrName>
                                        </p:attrNameLst>
                                      </p:cBhvr>
                                      <p:tavLst>
                                        <p:tav tm="0">
                                          <p:val>
                                            <p:strVal val="1+#ppt_w/2"/>
                                          </p:val>
                                        </p:tav>
                                        <p:tav tm="100000">
                                          <p:val>
                                            <p:strVal val="#ppt_x"/>
                                          </p:val>
                                        </p:tav>
                                      </p:tavLst>
                                    </p:anim>
                                    <p:anim calcmode="lin" valueType="num">
                                      <p:cBhvr additive="base">
                                        <p:cTn id="20" dur="1000" fill="hold"/>
                                        <p:tgtEl>
                                          <p:spTgt spid="24"/>
                                        </p:tgtEl>
                                        <p:attrNameLst>
                                          <p:attrName>ppt_y</p:attrName>
                                        </p:attrNameLst>
                                      </p:cBhvr>
                                      <p:tavLst>
                                        <p:tav tm="0">
                                          <p:val>
                                            <p:strVal val="#ppt_y"/>
                                          </p:val>
                                        </p:tav>
                                        <p:tav tm="100000">
                                          <p:val>
                                            <p:strVal val="#ppt_y"/>
                                          </p:val>
                                        </p:tav>
                                      </p:tavLst>
                                    </p:anim>
                                  </p:childTnLst>
                                </p:cTn>
                              </p:par>
                              <p:par>
                                <p:cTn id="21" presetID="2" presetClass="entr" presetSubtype="8" dur="1000" decel="100000" fill="hold" grpId="0" nodeType="withEffect">
                                  <p:stCondLst>
                                    <p:cond delay="400"/>
                                  </p:stCondLst>
                                  <p:childTnLst>
                                    <p:set>
                                      <p:cBhvr>
                                        <p:cTn id="22" dur="1" fill="hold">
                                          <p:stCondLst>
                                            <p:cond delay="0"/>
                                          </p:stCondLst>
                                        </p:cTn>
                                        <p:tgtEl>
                                          <p:spTgt spid="28"/>
                                        </p:tgtEl>
                                        <p:attrNameLst>
                                          <p:attrName>style.visibility</p:attrName>
                                        </p:attrNameLst>
                                      </p:cBhvr>
                                      <p:to>
                                        <p:strVal val="visible"/>
                                      </p:to>
                                    </p:set>
                                    <p:anim calcmode="lin" valueType="num">
                                      <p:cBhvr additive="base">
                                        <p:cTn id="23" dur="1000" fill="hold"/>
                                        <p:tgtEl>
                                          <p:spTgt spid="28"/>
                                        </p:tgtEl>
                                        <p:attrNameLst>
                                          <p:attrName>ppt_x</p:attrName>
                                        </p:attrNameLst>
                                      </p:cBhvr>
                                      <p:tavLst>
                                        <p:tav tm="0">
                                          <p:val>
                                            <p:strVal val="0-#ppt_w/2"/>
                                          </p:val>
                                        </p:tav>
                                        <p:tav tm="100000">
                                          <p:val>
                                            <p:strVal val="#ppt_x"/>
                                          </p:val>
                                        </p:tav>
                                      </p:tavLst>
                                    </p:anim>
                                    <p:anim calcmode="lin" valueType="num">
                                      <p:cBhvr additive="base">
                                        <p:cTn id="24" dur="1000" fill="hold"/>
                                        <p:tgtEl>
                                          <p:spTgt spid="28"/>
                                        </p:tgtEl>
                                        <p:attrNameLst>
                                          <p:attrName>ppt_y</p:attrName>
                                        </p:attrNameLst>
                                      </p:cBhvr>
                                      <p:tavLst>
                                        <p:tav tm="0">
                                          <p:val>
                                            <p:strVal val="#ppt_y"/>
                                          </p:val>
                                        </p:tav>
                                        <p:tav tm="100000">
                                          <p:val>
                                            <p:strVal val="#ppt_y"/>
                                          </p:val>
                                        </p:tav>
                                      </p:tavLst>
                                    </p:anim>
                                  </p:childTnLst>
                                </p:cTn>
                              </p:par>
                              <p:par>
                                <p:cTn id="25" presetID="2" presetClass="entr" presetSubtype="8" dur="1000" decel="100000" fill="hold" grpId="0" nodeType="withEffect">
                                  <p:stCondLst>
                                    <p:cond delay="500"/>
                                  </p:stCondLst>
                                  <p:childTnLst>
                                    <p:set>
                                      <p:cBhvr>
                                        <p:cTn id="26" dur="1" fill="hold">
                                          <p:stCondLst>
                                            <p:cond delay="0"/>
                                          </p:stCondLst>
                                        </p:cTn>
                                        <p:tgtEl>
                                          <p:spTgt spid="27"/>
                                        </p:tgtEl>
                                        <p:attrNameLst>
                                          <p:attrName>style.visibility</p:attrName>
                                        </p:attrNameLst>
                                      </p:cBhvr>
                                      <p:to>
                                        <p:strVal val="visible"/>
                                      </p:to>
                                    </p:set>
                                    <p:anim calcmode="lin" valueType="num">
                                      <p:cBhvr additive="base">
                                        <p:cTn id="27" dur="1000" fill="hold"/>
                                        <p:tgtEl>
                                          <p:spTgt spid="27"/>
                                        </p:tgtEl>
                                        <p:attrNameLst>
                                          <p:attrName>ppt_x</p:attrName>
                                        </p:attrNameLst>
                                      </p:cBhvr>
                                      <p:tavLst>
                                        <p:tav tm="0">
                                          <p:val>
                                            <p:strVal val="0-#ppt_w/2"/>
                                          </p:val>
                                        </p:tav>
                                        <p:tav tm="100000">
                                          <p:val>
                                            <p:strVal val="#ppt_x"/>
                                          </p:val>
                                        </p:tav>
                                      </p:tavLst>
                                    </p:anim>
                                    <p:anim calcmode="lin" valueType="num">
                                      <p:cBhvr additive="base">
                                        <p:cTn id="28" dur="1000" fill="hold"/>
                                        <p:tgtEl>
                                          <p:spTgt spid="27"/>
                                        </p:tgtEl>
                                        <p:attrNameLst>
                                          <p:attrName>ppt_y</p:attrName>
                                        </p:attrNameLst>
                                      </p:cBhvr>
                                      <p:tavLst>
                                        <p:tav tm="0">
                                          <p:val>
                                            <p:strVal val="#ppt_y"/>
                                          </p:val>
                                        </p:tav>
                                        <p:tav tm="100000">
                                          <p:val>
                                            <p:strVal val="#ppt_y"/>
                                          </p:val>
                                        </p:tav>
                                      </p:tavLst>
                                    </p:anim>
                                  </p:childTnLst>
                                </p:cTn>
                              </p:par>
                              <p:par>
                                <p:cTn id="29" presetID="2" presetClass="entr" presetSubtype="8" dur="1000" decel="100000" fill="hold" grpId="0" nodeType="withEffect">
                                  <p:stCondLst>
                                    <p:cond delay="600"/>
                                  </p:stCondLst>
                                  <p:childTnLst>
                                    <p:set>
                                      <p:cBhvr>
                                        <p:cTn id="30" dur="1" fill="hold">
                                          <p:stCondLst>
                                            <p:cond delay="0"/>
                                          </p:stCondLst>
                                        </p:cTn>
                                        <p:tgtEl>
                                          <p:spTgt spid="26"/>
                                        </p:tgtEl>
                                        <p:attrNameLst>
                                          <p:attrName>style.visibility</p:attrName>
                                        </p:attrNameLst>
                                      </p:cBhvr>
                                      <p:to>
                                        <p:strVal val="visible"/>
                                      </p:to>
                                    </p:set>
                                    <p:anim calcmode="lin" valueType="num">
                                      <p:cBhvr additive="base">
                                        <p:cTn id="31" dur="1000" fill="hold"/>
                                        <p:tgtEl>
                                          <p:spTgt spid="26"/>
                                        </p:tgtEl>
                                        <p:attrNameLst>
                                          <p:attrName>ppt_x</p:attrName>
                                        </p:attrNameLst>
                                      </p:cBhvr>
                                      <p:tavLst>
                                        <p:tav tm="0">
                                          <p:val>
                                            <p:strVal val="0-#ppt_w/2"/>
                                          </p:val>
                                        </p:tav>
                                        <p:tav tm="100000">
                                          <p:val>
                                            <p:strVal val="#ppt_x"/>
                                          </p:val>
                                        </p:tav>
                                      </p:tavLst>
                                    </p:anim>
                                    <p:anim calcmode="lin" valueType="num">
                                      <p:cBhvr additive="base">
                                        <p:cTn id="32" dur="1000" fill="hold"/>
                                        <p:tgtEl>
                                          <p:spTgt spid="26"/>
                                        </p:tgtEl>
                                        <p:attrNameLst>
                                          <p:attrName>ppt_y</p:attrName>
                                        </p:attrNameLst>
                                      </p:cBhvr>
                                      <p:tavLst>
                                        <p:tav tm="0">
                                          <p:val>
                                            <p:strVal val="#ppt_y"/>
                                          </p:val>
                                        </p:tav>
                                        <p:tav tm="100000">
                                          <p:val>
                                            <p:strVal val="#ppt_y"/>
                                          </p:val>
                                        </p:tav>
                                      </p:tavLst>
                                    </p:anim>
                                  </p:childTnLst>
                                </p:cTn>
                              </p:par>
                              <p:par>
                                <p:cTn id="33" presetID="2" presetClass="entr" presetSubtype="8" dur="1000" decel="100000" fill="hold" grpId="0" nodeType="withEffect">
                                  <p:stCondLst>
                                    <p:cond delay="700"/>
                                  </p:stCondLst>
                                  <p:childTnLst>
                                    <p:set>
                                      <p:cBhvr>
                                        <p:cTn id="34" dur="1" fill="hold">
                                          <p:stCondLst>
                                            <p:cond delay="0"/>
                                          </p:stCondLst>
                                        </p:cTn>
                                        <p:tgtEl>
                                          <p:spTgt spid="25"/>
                                        </p:tgtEl>
                                        <p:attrNameLst>
                                          <p:attrName>style.visibility</p:attrName>
                                        </p:attrNameLst>
                                      </p:cBhvr>
                                      <p:to>
                                        <p:strVal val="visible"/>
                                      </p:to>
                                    </p:set>
                                    <p:anim calcmode="lin" valueType="num">
                                      <p:cBhvr additive="base">
                                        <p:cTn id="35" dur="1000" fill="hold"/>
                                        <p:tgtEl>
                                          <p:spTgt spid="25"/>
                                        </p:tgtEl>
                                        <p:attrNameLst>
                                          <p:attrName>ppt_x</p:attrName>
                                        </p:attrNameLst>
                                      </p:cBhvr>
                                      <p:tavLst>
                                        <p:tav tm="0">
                                          <p:val>
                                            <p:strVal val="0-#ppt_w/2"/>
                                          </p:val>
                                        </p:tav>
                                        <p:tav tm="100000">
                                          <p:val>
                                            <p:strVal val="#ppt_x"/>
                                          </p:val>
                                        </p:tav>
                                      </p:tavLst>
                                    </p:anim>
                                    <p:anim calcmode="lin" valueType="num">
                                      <p:cBhvr additive="base">
                                        <p:cTn id="36" dur="1000" fill="hold"/>
                                        <p:tgtEl>
                                          <p:spTgt spid="2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2" grpId="0" animBg="1"/>
      <p:bldP spid="23" grpId="0" animBg="1"/>
      <p:bldP spid="24" grpId="0" animBg="1"/>
      <p:bldP spid="25" grpId="0" animBg="1"/>
      <p:bldP spid="26" grpId="0" animBg="1"/>
      <p:bldP spid="27" grpId="0" animBg="1"/>
      <p:bldP spid="28" grpId="0" animBg="1"/>
    </p:bldLst>
  </p:timing>
  <p:extLst>
    <p:ext uri="{DCECCB84-F9BA-43D5-87BE-67443E8EF086}">
      <p15:sldGuideLst xmlns:p15="http://schemas.microsoft.com/office/powerpoint/2012/main">
        <p15:guide id="1" orient="horz" pos="4320">
          <p15:clr>
            <a:srgbClr val="FBAE40"/>
          </p15:clr>
        </p15:guide>
        <p15:guide id="2" pos="7681">
          <p15:clr>
            <a:srgbClr val="FBAE40"/>
          </p15:clr>
        </p15:guide>
        <p15:guide id="3" pos="985">
          <p15:clr>
            <a:srgbClr val="FBAE40"/>
          </p15:clr>
        </p15:guide>
        <p15:guide id="4" pos="14377">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0B984625-FC00-409A-89CA-74509D2E04EF}"/>
              </a:ext>
            </a:extLst>
          </p:cNvPr>
          <p:cNvSpPr>
            <a:spLocks noGrp="1"/>
          </p:cNvSpPr>
          <p:nvPr>
            <p:ph type="pic" sz="quarter" idx="13"/>
          </p:nvPr>
        </p:nvSpPr>
        <p:spPr>
          <a:xfrm>
            <a:off x="822325" y="3591529"/>
            <a:ext cx="2594922" cy="2595260"/>
          </a:xfrm>
          <a:custGeom>
            <a:avLst/>
            <a:gdLst>
              <a:gd name="connsiteX0" fmla="*/ 0 w 5190519"/>
              <a:gd name="connsiteY0" fmla="*/ 0 h 5190519"/>
              <a:gd name="connsiteX1" fmla="*/ 5190519 w 5190519"/>
              <a:gd name="connsiteY1" fmla="*/ 0 h 5190519"/>
              <a:gd name="connsiteX2" fmla="*/ 5190519 w 5190519"/>
              <a:gd name="connsiteY2" fmla="*/ 5190519 h 5190519"/>
              <a:gd name="connsiteX3" fmla="*/ 0 w 5190519"/>
              <a:gd name="connsiteY3" fmla="*/ 5190519 h 5190519"/>
            </a:gdLst>
            <a:ahLst/>
            <a:cxnLst>
              <a:cxn ang="0">
                <a:pos x="connsiteX0" y="connsiteY0"/>
              </a:cxn>
              <a:cxn ang="0">
                <a:pos x="connsiteX1" y="connsiteY1"/>
              </a:cxn>
              <a:cxn ang="0">
                <a:pos x="connsiteX2" y="connsiteY2"/>
              </a:cxn>
              <a:cxn ang="0">
                <a:pos x="connsiteX3" y="connsiteY3"/>
              </a:cxn>
            </a:cxnLst>
            <a:rect l="l" t="t" r="r" b="b"/>
            <a:pathLst>
              <a:path w="5190519" h="5190519">
                <a:moveTo>
                  <a:pt x="0" y="0"/>
                </a:moveTo>
                <a:lnTo>
                  <a:pt x="5190519" y="0"/>
                </a:lnTo>
                <a:lnTo>
                  <a:pt x="5190519" y="5190519"/>
                </a:lnTo>
                <a:lnTo>
                  <a:pt x="0" y="5190519"/>
                </a:ln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
        <p:nvSpPr>
          <p:cNvPr id="10" name="Picture Placeholder 9">
            <a:extLst>
              <a:ext uri="{FF2B5EF4-FFF2-40B4-BE49-F238E27FC236}">
                <a16:creationId xmlns:a16="http://schemas.microsoft.com/office/drawing/2014/main" id="{A8A64EF6-6AAD-4A8E-A2BA-D31872C0F165}"/>
              </a:ext>
            </a:extLst>
          </p:cNvPr>
          <p:cNvSpPr>
            <a:spLocks noGrp="1"/>
          </p:cNvSpPr>
          <p:nvPr>
            <p:ph type="pic" sz="quarter" idx="14"/>
          </p:nvPr>
        </p:nvSpPr>
        <p:spPr>
          <a:xfrm>
            <a:off x="822325" y="871840"/>
            <a:ext cx="2594922" cy="2595260"/>
          </a:xfrm>
          <a:custGeom>
            <a:avLst/>
            <a:gdLst>
              <a:gd name="connsiteX0" fmla="*/ 0 w 5190519"/>
              <a:gd name="connsiteY0" fmla="*/ 0 h 5190519"/>
              <a:gd name="connsiteX1" fmla="*/ 5190519 w 5190519"/>
              <a:gd name="connsiteY1" fmla="*/ 0 h 5190519"/>
              <a:gd name="connsiteX2" fmla="*/ 5190519 w 5190519"/>
              <a:gd name="connsiteY2" fmla="*/ 5190519 h 5190519"/>
              <a:gd name="connsiteX3" fmla="*/ 0 w 5190519"/>
              <a:gd name="connsiteY3" fmla="*/ 5190519 h 5190519"/>
            </a:gdLst>
            <a:ahLst/>
            <a:cxnLst>
              <a:cxn ang="0">
                <a:pos x="connsiteX0" y="connsiteY0"/>
              </a:cxn>
              <a:cxn ang="0">
                <a:pos x="connsiteX1" y="connsiteY1"/>
              </a:cxn>
              <a:cxn ang="0">
                <a:pos x="connsiteX2" y="connsiteY2"/>
              </a:cxn>
              <a:cxn ang="0">
                <a:pos x="connsiteX3" y="connsiteY3"/>
              </a:cxn>
            </a:cxnLst>
            <a:rect l="l" t="t" r="r" b="b"/>
            <a:pathLst>
              <a:path w="5190519" h="5190519">
                <a:moveTo>
                  <a:pt x="0" y="0"/>
                </a:moveTo>
                <a:lnTo>
                  <a:pt x="5190519" y="0"/>
                </a:lnTo>
                <a:lnTo>
                  <a:pt x="5190519" y="5190519"/>
                </a:lnTo>
                <a:lnTo>
                  <a:pt x="0" y="5190519"/>
                </a:ln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
        <p:nvSpPr>
          <p:cNvPr id="8" name="Picture Placeholder 7">
            <a:extLst>
              <a:ext uri="{FF2B5EF4-FFF2-40B4-BE49-F238E27FC236}">
                <a16:creationId xmlns:a16="http://schemas.microsoft.com/office/drawing/2014/main" id="{CB58EF59-6144-4377-881E-7F3DA3CB9356}"/>
              </a:ext>
            </a:extLst>
          </p:cNvPr>
          <p:cNvSpPr>
            <a:spLocks noGrp="1"/>
          </p:cNvSpPr>
          <p:nvPr>
            <p:ph type="pic" sz="quarter" idx="15"/>
          </p:nvPr>
        </p:nvSpPr>
        <p:spPr>
          <a:xfrm>
            <a:off x="6210887" y="871538"/>
            <a:ext cx="5171855" cy="5305426"/>
          </a:xfrm>
          <a:custGeom>
            <a:avLst/>
            <a:gdLst>
              <a:gd name="connsiteX0" fmla="*/ 0 w 10345056"/>
              <a:gd name="connsiteY0" fmla="*/ 0 h 10610851"/>
              <a:gd name="connsiteX1" fmla="*/ 10345056 w 10345056"/>
              <a:gd name="connsiteY1" fmla="*/ 0 h 10610851"/>
              <a:gd name="connsiteX2" fmla="*/ 10345056 w 10345056"/>
              <a:gd name="connsiteY2" fmla="*/ 10610851 h 10610851"/>
              <a:gd name="connsiteX3" fmla="*/ 0 w 10345056"/>
              <a:gd name="connsiteY3" fmla="*/ 10610851 h 10610851"/>
            </a:gdLst>
            <a:ahLst/>
            <a:cxnLst>
              <a:cxn ang="0">
                <a:pos x="connsiteX0" y="connsiteY0"/>
              </a:cxn>
              <a:cxn ang="0">
                <a:pos x="connsiteX1" y="connsiteY1"/>
              </a:cxn>
              <a:cxn ang="0">
                <a:pos x="connsiteX2" y="connsiteY2"/>
              </a:cxn>
              <a:cxn ang="0">
                <a:pos x="connsiteX3" y="connsiteY3"/>
              </a:cxn>
            </a:cxnLst>
            <a:rect l="l" t="t" r="r" b="b"/>
            <a:pathLst>
              <a:path w="10345056" h="10610851">
                <a:moveTo>
                  <a:pt x="0" y="0"/>
                </a:moveTo>
                <a:lnTo>
                  <a:pt x="10345056" y="0"/>
                </a:lnTo>
                <a:lnTo>
                  <a:pt x="10345056" y="10610851"/>
                </a:lnTo>
                <a:lnTo>
                  <a:pt x="0" y="10610851"/>
                </a:ln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Tree>
    <p:extLst>
      <p:ext uri="{BB962C8B-B14F-4D97-AF65-F5344CB8AC3E}">
        <p14:creationId xmlns:p14="http://schemas.microsoft.com/office/powerpoint/2010/main" val="4220068944"/>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4" dur="2000" decel="10000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2000" fill="hold"/>
                                        <p:tgtEl>
                                          <p:spTgt spid="8"/>
                                        </p:tgtEl>
                                        <p:attrNameLst>
                                          <p:attrName>ppt_x</p:attrName>
                                        </p:attrNameLst>
                                      </p:cBhvr>
                                      <p:tavLst>
                                        <p:tav tm="0">
                                          <p:val>
                                            <p:strVal val="#ppt_x"/>
                                          </p:val>
                                        </p:tav>
                                        <p:tav tm="100000">
                                          <p:val>
                                            <p:strVal val="#ppt_x"/>
                                          </p:val>
                                        </p:tav>
                                      </p:tavLst>
                                    </p:anim>
                                    <p:anim calcmode="lin" valueType="num">
                                      <p:cBhvr additive="base">
                                        <p:cTn id="8" dur="2000" fill="hold"/>
                                        <p:tgtEl>
                                          <p:spTgt spid="8"/>
                                        </p:tgtEl>
                                        <p:attrNameLst>
                                          <p:attrName>ppt_y</p:attrName>
                                        </p:attrNameLst>
                                      </p:cBhvr>
                                      <p:tavLst>
                                        <p:tav tm="0">
                                          <p:val>
                                            <p:strVal val="1+#ppt_h/2"/>
                                          </p:val>
                                        </p:tav>
                                        <p:tav tm="100000">
                                          <p:val>
                                            <p:strVal val="#ppt_y"/>
                                          </p:val>
                                        </p:tav>
                                      </p:tavLst>
                                    </p:anim>
                                  </p:childTnLst>
                                </p:cTn>
                              </p:par>
                              <p:par>
                                <p:cTn id="9" presetID="2" presetClass="entr" presetSubtype="4" dur="2000" decel="100000" fill="hold" grpId="0" nodeType="withEffect">
                                  <p:stCondLst>
                                    <p:cond delay="20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2000" fill="hold"/>
                                        <p:tgtEl>
                                          <p:spTgt spid="10"/>
                                        </p:tgtEl>
                                        <p:attrNameLst>
                                          <p:attrName>ppt_x</p:attrName>
                                        </p:attrNameLst>
                                      </p:cBhvr>
                                      <p:tavLst>
                                        <p:tav tm="0">
                                          <p:val>
                                            <p:strVal val="#ppt_x"/>
                                          </p:val>
                                        </p:tav>
                                        <p:tav tm="100000">
                                          <p:val>
                                            <p:strVal val="#ppt_x"/>
                                          </p:val>
                                        </p:tav>
                                      </p:tavLst>
                                    </p:anim>
                                    <p:anim calcmode="lin" valueType="num">
                                      <p:cBhvr additive="base">
                                        <p:cTn id="12" dur="2000" fill="hold"/>
                                        <p:tgtEl>
                                          <p:spTgt spid="10"/>
                                        </p:tgtEl>
                                        <p:attrNameLst>
                                          <p:attrName>ppt_y</p:attrName>
                                        </p:attrNameLst>
                                      </p:cBhvr>
                                      <p:tavLst>
                                        <p:tav tm="0">
                                          <p:val>
                                            <p:strVal val="1+#ppt_h/2"/>
                                          </p:val>
                                        </p:tav>
                                        <p:tav tm="100000">
                                          <p:val>
                                            <p:strVal val="#ppt_y"/>
                                          </p:val>
                                        </p:tav>
                                      </p:tavLst>
                                    </p:anim>
                                  </p:childTnLst>
                                </p:cTn>
                              </p:par>
                              <p:par>
                                <p:cTn id="13" presetID="2" presetClass="entr" presetSubtype="4" dur="2000" decel="100000" fill="hold" grpId="0" nodeType="withEffect">
                                  <p:stCondLst>
                                    <p:cond delay="400"/>
                                  </p:stCondLst>
                                  <p:childTnLst>
                                    <p:set>
                                      <p:cBhvr>
                                        <p:cTn id="14" dur="1" fill="hold">
                                          <p:stCondLst>
                                            <p:cond delay="0"/>
                                          </p:stCondLst>
                                        </p:cTn>
                                        <p:tgtEl>
                                          <p:spTgt spid="9"/>
                                        </p:tgtEl>
                                        <p:attrNameLst>
                                          <p:attrName>style.visibility</p:attrName>
                                        </p:attrNameLst>
                                      </p:cBhvr>
                                      <p:to>
                                        <p:strVal val="visible"/>
                                      </p:to>
                                    </p:set>
                                    <p:anim calcmode="lin" valueType="num">
                                      <p:cBhvr additive="base">
                                        <p:cTn id="15" dur="2000" fill="hold"/>
                                        <p:tgtEl>
                                          <p:spTgt spid="9"/>
                                        </p:tgtEl>
                                        <p:attrNameLst>
                                          <p:attrName>ppt_x</p:attrName>
                                        </p:attrNameLst>
                                      </p:cBhvr>
                                      <p:tavLst>
                                        <p:tav tm="0">
                                          <p:val>
                                            <p:strVal val="#ppt_x"/>
                                          </p:val>
                                        </p:tav>
                                        <p:tav tm="100000">
                                          <p:val>
                                            <p:strVal val="#ppt_x"/>
                                          </p:val>
                                        </p:tav>
                                      </p:tavLst>
                                    </p:anim>
                                    <p:anim calcmode="lin" valueType="num">
                                      <p:cBhvr additive="base">
                                        <p:cTn id="16" dur="20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8" grpId="0" animBg="1"/>
    </p:bld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893E20B-4C8A-4F59-B087-3A11D128B2F1}"/>
              </a:ext>
            </a:extLst>
          </p:cNvPr>
          <p:cNvSpPr>
            <a:spLocks noGrp="1"/>
          </p:cNvSpPr>
          <p:nvPr>
            <p:ph type="pic" sz="quarter" idx="14"/>
          </p:nvPr>
        </p:nvSpPr>
        <p:spPr>
          <a:xfrm>
            <a:off x="4767126" y="2160248"/>
            <a:ext cx="2659907" cy="2539669"/>
          </a:xfrm>
          <a:custGeom>
            <a:avLst/>
            <a:gdLst>
              <a:gd name="connsiteX0" fmla="*/ 272846 w 5320506"/>
              <a:gd name="connsiteY0" fmla="*/ 0 h 5079337"/>
              <a:gd name="connsiteX1" fmla="*/ 5047660 w 5320506"/>
              <a:gd name="connsiteY1" fmla="*/ 0 h 5079337"/>
              <a:gd name="connsiteX2" fmla="*/ 5320506 w 5320506"/>
              <a:gd name="connsiteY2" fmla="*/ 272716 h 5079337"/>
              <a:gd name="connsiteX3" fmla="*/ 5320506 w 5320506"/>
              <a:gd name="connsiteY3" fmla="*/ 4806621 h 5079337"/>
              <a:gd name="connsiteX4" fmla="*/ 5047660 w 5320506"/>
              <a:gd name="connsiteY4" fmla="*/ 5079337 h 5079337"/>
              <a:gd name="connsiteX5" fmla="*/ 272846 w 5320506"/>
              <a:gd name="connsiteY5" fmla="*/ 5079337 h 5079337"/>
              <a:gd name="connsiteX6" fmla="*/ 0 w 5320506"/>
              <a:gd name="connsiteY6" fmla="*/ 4806621 h 5079337"/>
              <a:gd name="connsiteX7" fmla="*/ 0 w 5320506"/>
              <a:gd name="connsiteY7" fmla="*/ 272716 h 5079337"/>
              <a:gd name="connsiteX8" fmla="*/ 272846 w 5320506"/>
              <a:gd name="connsiteY8" fmla="*/ 0 h 5079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20506" h="5079337">
                <a:moveTo>
                  <a:pt x="272846" y="0"/>
                </a:moveTo>
                <a:cubicBezTo>
                  <a:pt x="5047660" y="0"/>
                  <a:pt x="5047660" y="0"/>
                  <a:pt x="5047660" y="0"/>
                </a:cubicBezTo>
                <a:cubicBezTo>
                  <a:pt x="5197725" y="0"/>
                  <a:pt x="5320506" y="122722"/>
                  <a:pt x="5320506" y="272716"/>
                </a:cubicBezTo>
                <a:cubicBezTo>
                  <a:pt x="5320506" y="4806621"/>
                  <a:pt x="5320506" y="4806621"/>
                  <a:pt x="5320506" y="4806621"/>
                </a:cubicBezTo>
                <a:cubicBezTo>
                  <a:pt x="5320506" y="4956615"/>
                  <a:pt x="5197725" y="5079337"/>
                  <a:pt x="5047660" y="5079337"/>
                </a:cubicBezTo>
                <a:cubicBezTo>
                  <a:pt x="272846" y="5079337"/>
                  <a:pt x="272846" y="5079337"/>
                  <a:pt x="272846" y="5079337"/>
                </a:cubicBezTo>
                <a:cubicBezTo>
                  <a:pt x="122781" y="5079337"/>
                  <a:pt x="0" y="4956615"/>
                  <a:pt x="0" y="4806621"/>
                </a:cubicBezTo>
                <a:cubicBezTo>
                  <a:pt x="0" y="272716"/>
                  <a:pt x="0" y="272716"/>
                  <a:pt x="0" y="272716"/>
                </a:cubicBezTo>
                <a:cubicBezTo>
                  <a:pt x="0" y="122722"/>
                  <a:pt x="122781" y="0"/>
                  <a:pt x="272846" y="0"/>
                </a:cubicBezTo>
                <a:close/>
              </a:path>
            </a:pathLst>
          </a:custGeom>
          <a:pattFill prst="pct60">
            <a:fgClr>
              <a:schemeClr val="bg1"/>
            </a:fgClr>
            <a:bgClr>
              <a:schemeClr val="bg1">
                <a:lumMod val="85000"/>
              </a:schemeClr>
            </a:bgClr>
          </a:pattFill>
          <a:effectLst>
            <a:outerShdw blurRad="723900" dist="228600" dir="8100000" algn="tr" rotWithShape="0">
              <a:schemeClr val="accent1">
                <a:alpha val="40000"/>
              </a:schemeClr>
            </a:outerShdw>
          </a:effectLst>
        </p:spPr>
        <p:txBody>
          <a:bodyPr wrap="square" anchor="ctr">
            <a:noAutofit/>
          </a:bodyPr>
          <a:lstStyle>
            <a:lvl1pPr marL="0" indent="0" algn="ctr">
              <a:buFontTx/>
              <a:buNone/>
              <a:defRPr sz="1200"/>
            </a:lvl1pPr>
          </a:lstStyle>
          <a:p>
            <a:endParaRPr lang="en-US"/>
          </a:p>
        </p:txBody>
      </p:sp>
    </p:spTree>
    <p:extLst>
      <p:ext uri="{BB962C8B-B14F-4D97-AF65-F5344CB8AC3E}">
        <p14:creationId xmlns:p14="http://schemas.microsoft.com/office/powerpoint/2010/main" val="3086073208"/>
      </p:ext>
    </p:extLst>
  </p:cSld>
  <p:clrMapOvr>
    <a:masterClrMapping/>
  </p:clrMapOvr>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2" name="Picture Placeholder 7">
            <a:extLst>
              <a:ext uri="{FF2B5EF4-FFF2-40B4-BE49-F238E27FC236}">
                <a16:creationId xmlns:a16="http://schemas.microsoft.com/office/drawing/2014/main" id="{2025C71F-F630-406C-A334-0B61D0F62D84}"/>
              </a:ext>
            </a:extLst>
          </p:cNvPr>
          <p:cNvSpPr>
            <a:spLocks noGrp="1"/>
          </p:cNvSpPr>
          <p:nvPr>
            <p:ph type="pic" sz="quarter" idx="15"/>
          </p:nvPr>
        </p:nvSpPr>
        <p:spPr>
          <a:xfrm>
            <a:off x="6096000" y="0"/>
            <a:ext cx="5314259" cy="6858000"/>
          </a:xfrm>
          <a:custGeom>
            <a:avLst/>
            <a:gdLst>
              <a:gd name="connsiteX0" fmla="*/ 0 w 10345056"/>
              <a:gd name="connsiteY0" fmla="*/ 0 h 10610851"/>
              <a:gd name="connsiteX1" fmla="*/ 10345056 w 10345056"/>
              <a:gd name="connsiteY1" fmla="*/ 0 h 10610851"/>
              <a:gd name="connsiteX2" fmla="*/ 10345056 w 10345056"/>
              <a:gd name="connsiteY2" fmla="*/ 10610851 h 10610851"/>
              <a:gd name="connsiteX3" fmla="*/ 0 w 10345056"/>
              <a:gd name="connsiteY3" fmla="*/ 10610851 h 10610851"/>
            </a:gdLst>
            <a:ahLst/>
            <a:cxnLst>
              <a:cxn ang="0">
                <a:pos x="connsiteX0" y="connsiteY0"/>
              </a:cxn>
              <a:cxn ang="0">
                <a:pos x="connsiteX1" y="connsiteY1"/>
              </a:cxn>
              <a:cxn ang="0">
                <a:pos x="connsiteX2" y="connsiteY2"/>
              </a:cxn>
              <a:cxn ang="0">
                <a:pos x="connsiteX3" y="connsiteY3"/>
              </a:cxn>
            </a:cxnLst>
            <a:rect l="l" t="t" r="r" b="b"/>
            <a:pathLst>
              <a:path w="10345056" h="10610851">
                <a:moveTo>
                  <a:pt x="0" y="0"/>
                </a:moveTo>
                <a:lnTo>
                  <a:pt x="10345056" y="0"/>
                </a:lnTo>
                <a:lnTo>
                  <a:pt x="10345056" y="10610851"/>
                </a:lnTo>
                <a:lnTo>
                  <a:pt x="0" y="10610851"/>
                </a:ln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Tree>
    <p:extLst>
      <p:ext uri="{BB962C8B-B14F-4D97-AF65-F5344CB8AC3E}">
        <p14:creationId xmlns:p14="http://schemas.microsoft.com/office/powerpoint/2010/main" val="211650793"/>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2" dur="2000" decel="10000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2000" fill="hold"/>
                                        <p:tgtEl>
                                          <p:spTgt spid="2"/>
                                        </p:tgtEl>
                                        <p:attrNameLst>
                                          <p:attrName>ppt_x</p:attrName>
                                        </p:attrNameLst>
                                      </p:cBhvr>
                                      <p:tavLst>
                                        <p:tav tm="0">
                                          <p:val>
                                            <p:strVal val="1+#ppt_w/2"/>
                                          </p:val>
                                        </p:tav>
                                        <p:tav tm="100000">
                                          <p:val>
                                            <p:strVal val="#ppt_x"/>
                                          </p:val>
                                        </p:tav>
                                      </p:tavLst>
                                    </p:anim>
                                    <p:anim calcmode="lin" valueType="num">
                                      <p:cBhvr additive="base">
                                        <p:cTn id="8" dur="200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AE7DC9F4-9F6B-497B-AAC3-9E8DE27E9050}"/>
              </a:ext>
            </a:extLst>
          </p:cNvPr>
          <p:cNvSpPr>
            <a:spLocks noGrp="1"/>
          </p:cNvSpPr>
          <p:nvPr>
            <p:ph type="pic" sz="quarter" idx="13"/>
          </p:nvPr>
        </p:nvSpPr>
        <p:spPr>
          <a:xfrm>
            <a:off x="2233376" y="3216359"/>
            <a:ext cx="940720" cy="940842"/>
          </a:xfrm>
          <a:custGeom>
            <a:avLst/>
            <a:gdLst>
              <a:gd name="connsiteX0" fmla="*/ 940842 w 1881684"/>
              <a:gd name="connsiteY0" fmla="*/ 0 h 1881684"/>
              <a:gd name="connsiteX1" fmla="*/ 1881684 w 1881684"/>
              <a:gd name="connsiteY1" fmla="*/ 940842 h 1881684"/>
              <a:gd name="connsiteX2" fmla="*/ 940842 w 1881684"/>
              <a:gd name="connsiteY2" fmla="*/ 1881684 h 1881684"/>
              <a:gd name="connsiteX3" fmla="*/ 0 w 1881684"/>
              <a:gd name="connsiteY3" fmla="*/ 940842 h 1881684"/>
              <a:gd name="connsiteX4" fmla="*/ 940842 w 1881684"/>
              <a:gd name="connsiteY4" fmla="*/ 0 h 18816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1683" h="1881683">
                <a:moveTo>
                  <a:pt x="940842" y="0"/>
                </a:moveTo>
                <a:cubicBezTo>
                  <a:pt x="1460455" y="0"/>
                  <a:pt x="1881684" y="421229"/>
                  <a:pt x="1881684" y="940842"/>
                </a:cubicBezTo>
                <a:cubicBezTo>
                  <a:pt x="1881684" y="1460455"/>
                  <a:pt x="1460455" y="1881684"/>
                  <a:pt x="940842" y="1881684"/>
                </a:cubicBezTo>
                <a:cubicBezTo>
                  <a:pt x="421229" y="1881684"/>
                  <a:pt x="0" y="1460455"/>
                  <a:pt x="0" y="940842"/>
                </a:cubicBezTo>
                <a:cubicBezTo>
                  <a:pt x="0" y="421229"/>
                  <a:pt x="421229" y="0"/>
                  <a:pt x="940842" y="0"/>
                </a:cubicBez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
        <p:nvSpPr>
          <p:cNvPr id="15" name="Picture Placeholder 14">
            <a:extLst>
              <a:ext uri="{FF2B5EF4-FFF2-40B4-BE49-F238E27FC236}">
                <a16:creationId xmlns:a16="http://schemas.microsoft.com/office/drawing/2014/main" id="{32995364-51BD-4985-8454-19E8A6AB8079}"/>
              </a:ext>
            </a:extLst>
          </p:cNvPr>
          <p:cNvSpPr>
            <a:spLocks noGrp="1"/>
          </p:cNvSpPr>
          <p:nvPr>
            <p:ph type="pic" sz="quarter" idx="14"/>
          </p:nvPr>
        </p:nvSpPr>
        <p:spPr>
          <a:xfrm>
            <a:off x="3917742" y="2708357"/>
            <a:ext cx="940720" cy="940842"/>
          </a:xfrm>
          <a:custGeom>
            <a:avLst/>
            <a:gdLst>
              <a:gd name="connsiteX0" fmla="*/ 940842 w 1881684"/>
              <a:gd name="connsiteY0" fmla="*/ 0 h 1881684"/>
              <a:gd name="connsiteX1" fmla="*/ 1881684 w 1881684"/>
              <a:gd name="connsiteY1" fmla="*/ 940842 h 1881684"/>
              <a:gd name="connsiteX2" fmla="*/ 940842 w 1881684"/>
              <a:gd name="connsiteY2" fmla="*/ 1881684 h 1881684"/>
              <a:gd name="connsiteX3" fmla="*/ 0 w 1881684"/>
              <a:gd name="connsiteY3" fmla="*/ 940842 h 1881684"/>
              <a:gd name="connsiteX4" fmla="*/ 940842 w 1881684"/>
              <a:gd name="connsiteY4" fmla="*/ 0 h 18816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1683" h="1881683">
                <a:moveTo>
                  <a:pt x="940842" y="0"/>
                </a:moveTo>
                <a:cubicBezTo>
                  <a:pt x="1460455" y="0"/>
                  <a:pt x="1881684" y="421229"/>
                  <a:pt x="1881684" y="940842"/>
                </a:cubicBezTo>
                <a:cubicBezTo>
                  <a:pt x="1881684" y="1460455"/>
                  <a:pt x="1460455" y="1881684"/>
                  <a:pt x="940842" y="1881684"/>
                </a:cubicBezTo>
                <a:cubicBezTo>
                  <a:pt x="421229" y="1881684"/>
                  <a:pt x="0" y="1460455"/>
                  <a:pt x="0" y="940842"/>
                </a:cubicBezTo>
                <a:cubicBezTo>
                  <a:pt x="0" y="421229"/>
                  <a:pt x="421229" y="0"/>
                  <a:pt x="940842" y="0"/>
                </a:cubicBez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
        <p:nvSpPr>
          <p:cNvPr id="16" name="Picture Placeholder 15">
            <a:extLst>
              <a:ext uri="{FF2B5EF4-FFF2-40B4-BE49-F238E27FC236}">
                <a16:creationId xmlns:a16="http://schemas.microsoft.com/office/drawing/2014/main" id="{07915F63-D1C5-4E30-8D74-897BEDC3A77E}"/>
              </a:ext>
            </a:extLst>
          </p:cNvPr>
          <p:cNvSpPr>
            <a:spLocks noGrp="1"/>
          </p:cNvSpPr>
          <p:nvPr>
            <p:ph type="pic" sz="quarter" idx="15"/>
          </p:nvPr>
        </p:nvSpPr>
        <p:spPr>
          <a:xfrm>
            <a:off x="5637379" y="3216359"/>
            <a:ext cx="940720" cy="940842"/>
          </a:xfrm>
          <a:custGeom>
            <a:avLst/>
            <a:gdLst>
              <a:gd name="connsiteX0" fmla="*/ 940842 w 1881684"/>
              <a:gd name="connsiteY0" fmla="*/ 0 h 1881684"/>
              <a:gd name="connsiteX1" fmla="*/ 1881684 w 1881684"/>
              <a:gd name="connsiteY1" fmla="*/ 940842 h 1881684"/>
              <a:gd name="connsiteX2" fmla="*/ 940842 w 1881684"/>
              <a:gd name="connsiteY2" fmla="*/ 1881684 h 1881684"/>
              <a:gd name="connsiteX3" fmla="*/ 0 w 1881684"/>
              <a:gd name="connsiteY3" fmla="*/ 940842 h 1881684"/>
              <a:gd name="connsiteX4" fmla="*/ 940842 w 1881684"/>
              <a:gd name="connsiteY4" fmla="*/ 0 h 18816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1683" h="1881683">
                <a:moveTo>
                  <a:pt x="940842" y="0"/>
                </a:moveTo>
                <a:cubicBezTo>
                  <a:pt x="1460455" y="0"/>
                  <a:pt x="1881684" y="421229"/>
                  <a:pt x="1881684" y="940842"/>
                </a:cubicBezTo>
                <a:cubicBezTo>
                  <a:pt x="1881684" y="1460455"/>
                  <a:pt x="1460455" y="1881684"/>
                  <a:pt x="940842" y="1881684"/>
                </a:cubicBezTo>
                <a:cubicBezTo>
                  <a:pt x="421229" y="1881684"/>
                  <a:pt x="0" y="1460455"/>
                  <a:pt x="0" y="940842"/>
                </a:cubicBezTo>
                <a:cubicBezTo>
                  <a:pt x="0" y="421229"/>
                  <a:pt x="421229" y="0"/>
                  <a:pt x="940842" y="0"/>
                </a:cubicBez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
        <p:nvSpPr>
          <p:cNvPr id="17" name="Picture Placeholder 16">
            <a:extLst>
              <a:ext uri="{FF2B5EF4-FFF2-40B4-BE49-F238E27FC236}">
                <a16:creationId xmlns:a16="http://schemas.microsoft.com/office/drawing/2014/main" id="{8039340C-5876-416E-AF2A-C528D6F8B7D0}"/>
              </a:ext>
            </a:extLst>
          </p:cNvPr>
          <p:cNvSpPr>
            <a:spLocks noGrp="1"/>
          </p:cNvSpPr>
          <p:nvPr>
            <p:ph type="pic" sz="quarter" idx="16"/>
          </p:nvPr>
        </p:nvSpPr>
        <p:spPr>
          <a:xfrm>
            <a:off x="7321745" y="2708357"/>
            <a:ext cx="940720" cy="940842"/>
          </a:xfrm>
          <a:custGeom>
            <a:avLst/>
            <a:gdLst>
              <a:gd name="connsiteX0" fmla="*/ 940842 w 1881684"/>
              <a:gd name="connsiteY0" fmla="*/ 0 h 1881684"/>
              <a:gd name="connsiteX1" fmla="*/ 1881684 w 1881684"/>
              <a:gd name="connsiteY1" fmla="*/ 940842 h 1881684"/>
              <a:gd name="connsiteX2" fmla="*/ 940842 w 1881684"/>
              <a:gd name="connsiteY2" fmla="*/ 1881684 h 1881684"/>
              <a:gd name="connsiteX3" fmla="*/ 0 w 1881684"/>
              <a:gd name="connsiteY3" fmla="*/ 940842 h 1881684"/>
              <a:gd name="connsiteX4" fmla="*/ 940842 w 1881684"/>
              <a:gd name="connsiteY4" fmla="*/ 0 h 18816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1683" h="1881683">
                <a:moveTo>
                  <a:pt x="940842" y="0"/>
                </a:moveTo>
                <a:cubicBezTo>
                  <a:pt x="1460455" y="0"/>
                  <a:pt x="1881684" y="421229"/>
                  <a:pt x="1881684" y="940842"/>
                </a:cubicBezTo>
                <a:cubicBezTo>
                  <a:pt x="1881684" y="1460455"/>
                  <a:pt x="1460455" y="1881684"/>
                  <a:pt x="940842" y="1881684"/>
                </a:cubicBezTo>
                <a:cubicBezTo>
                  <a:pt x="421229" y="1881684"/>
                  <a:pt x="0" y="1460455"/>
                  <a:pt x="0" y="940842"/>
                </a:cubicBezTo>
                <a:cubicBezTo>
                  <a:pt x="0" y="421229"/>
                  <a:pt x="421229" y="0"/>
                  <a:pt x="940842" y="0"/>
                </a:cubicBez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
        <p:nvSpPr>
          <p:cNvPr id="18" name="Picture Placeholder 17">
            <a:extLst>
              <a:ext uri="{FF2B5EF4-FFF2-40B4-BE49-F238E27FC236}">
                <a16:creationId xmlns:a16="http://schemas.microsoft.com/office/drawing/2014/main" id="{D02425C2-6AD1-470A-9A0D-69A86B1DDF45}"/>
              </a:ext>
            </a:extLst>
          </p:cNvPr>
          <p:cNvSpPr>
            <a:spLocks noGrp="1"/>
          </p:cNvSpPr>
          <p:nvPr>
            <p:ph type="pic" sz="quarter" idx="17"/>
          </p:nvPr>
        </p:nvSpPr>
        <p:spPr>
          <a:xfrm>
            <a:off x="9031322" y="3216359"/>
            <a:ext cx="940720" cy="940842"/>
          </a:xfrm>
          <a:custGeom>
            <a:avLst/>
            <a:gdLst>
              <a:gd name="connsiteX0" fmla="*/ 940842 w 1881684"/>
              <a:gd name="connsiteY0" fmla="*/ 0 h 1881684"/>
              <a:gd name="connsiteX1" fmla="*/ 1881684 w 1881684"/>
              <a:gd name="connsiteY1" fmla="*/ 940842 h 1881684"/>
              <a:gd name="connsiteX2" fmla="*/ 940842 w 1881684"/>
              <a:gd name="connsiteY2" fmla="*/ 1881684 h 1881684"/>
              <a:gd name="connsiteX3" fmla="*/ 0 w 1881684"/>
              <a:gd name="connsiteY3" fmla="*/ 940842 h 1881684"/>
              <a:gd name="connsiteX4" fmla="*/ 940842 w 1881684"/>
              <a:gd name="connsiteY4" fmla="*/ 0 h 18816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1683" h="1881683">
                <a:moveTo>
                  <a:pt x="940842" y="0"/>
                </a:moveTo>
                <a:cubicBezTo>
                  <a:pt x="1460454" y="0"/>
                  <a:pt x="1881684" y="421229"/>
                  <a:pt x="1881684" y="940842"/>
                </a:cubicBezTo>
                <a:cubicBezTo>
                  <a:pt x="1881684" y="1460455"/>
                  <a:pt x="1460454" y="1881684"/>
                  <a:pt x="940842" y="1881684"/>
                </a:cubicBezTo>
                <a:cubicBezTo>
                  <a:pt x="421230" y="1881684"/>
                  <a:pt x="0" y="1460455"/>
                  <a:pt x="0" y="940842"/>
                </a:cubicBezTo>
                <a:cubicBezTo>
                  <a:pt x="0" y="421229"/>
                  <a:pt x="421230" y="0"/>
                  <a:pt x="940842" y="0"/>
                </a:cubicBez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Tree>
    <p:extLst>
      <p:ext uri="{BB962C8B-B14F-4D97-AF65-F5344CB8AC3E}">
        <p14:creationId xmlns:p14="http://schemas.microsoft.com/office/powerpoint/2010/main" val="3220353563"/>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1" dur="1500" decel="100000" fill="hold" grpId="0" nodeType="withEffect">
                                  <p:stCondLst>
                                    <p:cond delay="50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1500" fill="hold"/>
                                        <p:tgtEl>
                                          <p:spTgt spid="14"/>
                                        </p:tgtEl>
                                        <p:attrNameLst>
                                          <p:attrName>ppt_x</p:attrName>
                                        </p:attrNameLst>
                                      </p:cBhvr>
                                      <p:tavLst>
                                        <p:tav tm="0">
                                          <p:val>
                                            <p:strVal val="#ppt_x"/>
                                          </p:val>
                                        </p:tav>
                                        <p:tav tm="100000">
                                          <p:val>
                                            <p:strVal val="#ppt_x"/>
                                          </p:val>
                                        </p:tav>
                                      </p:tavLst>
                                    </p:anim>
                                    <p:anim calcmode="lin" valueType="num">
                                      <p:cBhvr additive="base">
                                        <p:cTn id="8" dur="1500" fill="hold"/>
                                        <p:tgtEl>
                                          <p:spTgt spid="14"/>
                                        </p:tgtEl>
                                        <p:attrNameLst>
                                          <p:attrName>ppt_y</p:attrName>
                                        </p:attrNameLst>
                                      </p:cBhvr>
                                      <p:tavLst>
                                        <p:tav tm="0">
                                          <p:val>
                                            <p:strVal val="0-#ppt_h/2"/>
                                          </p:val>
                                        </p:tav>
                                        <p:tav tm="100000">
                                          <p:val>
                                            <p:strVal val="#ppt_y"/>
                                          </p:val>
                                        </p:tav>
                                      </p:tavLst>
                                    </p:anim>
                                  </p:childTnLst>
                                </p:cTn>
                              </p:par>
                              <p:par>
                                <p:cTn id="9" presetID="2" presetClass="entr" presetSubtype="4" dur="1500" decel="100000" fill="hold" grpId="0" nodeType="withEffect">
                                  <p:stCondLst>
                                    <p:cond delay="800"/>
                                  </p:stCondLst>
                                  <p:childTnLst>
                                    <p:set>
                                      <p:cBhvr>
                                        <p:cTn id="10" dur="1" fill="hold">
                                          <p:stCondLst>
                                            <p:cond delay="0"/>
                                          </p:stCondLst>
                                        </p:cTn>
                                        <p:tgtEl>
                                          <p:spTgt spid="15"/>
                                        </p:tgtEl>
                                        <p:attrNameLst>
                                          <p:attrName>style.visibility</p:attrName>
                                        </p:attrNameLst>
                                      </p:cBhvr>
                                      <p:to>
                                        <p:strVal val="visible"/>
                                      </p:to>
                                    </p:set>
                                    <p:anim calcmode="lin" valueType="num">
                                      <p:cBhvr additive="base">
                                        <p:cTn id="11" dur="1500" fill="hold"/>
                                        <p:tgtEl>
                                          <p:spTgt spid="15"/>
                                        </p:tgtEl>
                                        <p:attrNameLst>
                                          <p:attrName>ppt_x</p:attrName>
                                        </p:attrNameLst>
                                      </p:cBhvr>
                                      <p:tavLst>
                                        <p:tav tm="0">
                                          <p:val>
                                            <p:strVal val="#ppt_x"/>
                                          </p:val>
                                        </p:tav>
                                        <p:tav tm="100000">
                                          <p:val>
                                            <p:strVal val="#ppt_x"/>
                                          </p:val>
                                        </p:tav>
                                      </p:tavLst>
                                    </p:anim>
                                    <p:anim calcmode="lin" valueType="num">
                                      <p:cBhvr additive="base">
                                        <p:cTn id="12" dur="1500" fill="hold"/>
                                        <p:tgtEl>
                                          <p:spTgt spid="15"/>
                                        </p:tgtEl>
                                        <p:attrNameLst>
                                          <p:attrName>ppt_y</p:attrName>
                                        </p:attrNameLst>
                                      </p:cBhvr>
                                      <p:tavLst>
                                        <p:tav tm="0">
                                          <p:val>
                                            <p:strVal val="1+#ppt_h/2"/>
                                          </p:val>
                                        </p:tav>
                                        <p:tav tm="100000">
                                          <p:val>
                                            <p:strVal val="#ppt_y"/>
                                          </p:val>
                                        </p:tav>
                                      </p:tavLst>
                                    </p:anim>
                                  </p:childTnLst>
                                </p:cTn>
                              </p:par>
                              <p:par>
                                <p:cTn id="13" presetID="2" presetClass="entr" presetSubtype="1" dur="1500" decel="100000" fill="hold" grpId="0" nodeType="withEffect">
                                  <p:stCondLst>
                                    <p:cond delay="1100"/>
                                  </p:stCondLst>
                                  <p:childTnLst>
                                    <p:set>
                                      <p:cBhvr>
                                        <p:cTn id="14" dur="1" fill="hold">
                                          <p:stCondLst>
                                            <p:cond delay="0"/>
                                          </p:stCondLst>
                                        </p:cTn>
                                        <p:tgtEl>
                                          <p:spTgt spid="16"/>
                                        </p:tgtEl>
                                        <p:attrNameLst>
                                          <p:attrName>style.visibility</p:attrName>
                                        </p:attrNameLst>
                                      </p:cBhvr>
                                      <p:to>
                                        <p:strVal val="visible"/>
                                      </p:to>
                                    </p:set>
                                    <p:anim calcmode="lin" valueType="num">
                                      <p:cBhvr additive="base">
                                        <p:cTn id="15" dur="1500" fill="hold"/>
                                        <p:tgtEl>
                                          <p:spTgt spid="16"/>
                                        </p:tgtEl>
                                        <p:attrNameLst>
                                          <p:attrName>ppt_x</p:attrName>
                                        </p:attrNameLst>
                                      </p:cBhvr>
                                      <p:tavLst>
                                        <p:tav tm="0">
                                          <p:val>
                                            <p:strVal val="#ppt_x"/>
                                          </p:val>
                                        </p:tav>
                                        <p:tav tm="100000">
                                          <p:val>
                                            <p:strVal val="#ppt_x"/>
                                          </p:val>
                                        </p:tav>
                                      </p:tavLst>
                                    </p:anim>
                                    <p:anim calcmode="lin" valueType="num">
                                      <p:cBhvr additive="base">
                                        <p:cTn id="16" dur="1500" fill="hold"/>
                                        <p:tgtEl>
                                          <p:spTgt spid="16"/>
                                        </p:tgtEl>
                                        <p:attrNameLst>
                                          <p:attrName>ppt_y</p:attrName>
                                        </p:attrNameLst>
                                      </p:cBhvr>
                                      <p:tavLst>
                                        <p:tav tm="0">
                                          <p:val>
                                            <p:strVal val="0-#ppt_h/2"/>
                                          </p:val>
                                        </p:tav>
                                        <p:tav tm="100000">
                                          <p:val>
                                            <p:strVal val="#ppt_y"/>
                                          </p:val>
                                        </p:tav>
                                      </p:tavLst>
                                    </p:anim>
                                  </p:childTnLst>
                                </p:cTn>
                              </p:par>
                              <p:par>
                                <p:cTn id="17" presetID="2" presetClass="entr" presetSubtype="4" dur="1500" decel="100000" fill="hold" grpId="0" nodeType="withEffect">
                                  <p:stCondLst>
                                    <p:cond delay="1400"/>
                                  </p:stCondLst>
                                  <p:childTnLst>
                                    <p:set>
                                      <p:cBhvr>
                                        <p:cTn id="18" dur="1" fill="hold">
                                          <p:stCondLst>
                                            <p:cond delay="0"/>
                                          </p:stCondLst>
                                        </p:cTn>
                                        <p:tgtEl>
                                          <p:spTgt spid="17"/>
                                        </p:tgtEl>
                                        <p:attrNameLst>
                                          <p:attrName>style.visibility</p:attrName>
                                        </p:attrNameLst>
                                      </p:cBhvr>
                                      <p:to>
                                        <p:strVal val="visible"/>
                                      </p:to>
                                    </p:set>
                                    <p:anim calcmode="lin" valueType="num">
                                      <p:cBhvr additive="base">
                                        <p:cTn id="19" dur="1500" fill="hold"/>
                                        <p:tgtEl>
                                          <p:spTgt spid="17"/>
                                        </p:tgtEl>
                                        <p:attrNameLst>
                                          <p:attrName>ppt_x</p:attrName>
                                        </p:attrNameLst>
                                      </p:cBhvr>
                                      <p:tavLst>
                                        <p:tav tm="0">
                                          <p:val>
                                            <p:strVal val="#ppt_x"/>
                                          </p:val>
                                        </p:tav>
                                        <p:tav tm="100000">
                                          <p:val>
                                            <p:strVal val="#ppt_x"/>
                                          </p:val>
                                        </p:tav>
                                      </p:tavLst>
                                    </p:anim>
                                    <p:anim calcmode="lin" valueType="num">
                                      <p:cBhvr additive="base">
                                        <p:cTn id="20" dur="1500" fill="hold"/>
                                        <p:tgtEl>
                                          <p:spTgt spid="17"/>
                                        </p:tgtEl>
                                        <p:attrNameLst>
                                          <p:attrName>ppt_y</p:attrName>
                                        </p:attrNameLst>
                                      </p:cBhvr>
                                      <p:tavLst>
                                        <p:tav tm="0">
                                          <p:val>
                                            <p:strVal val="1+#ppt_h/2"/>
                                          </p:val>
                                        </p:tav>
                                        <p:tav tm="100000">
                                          <p:val>
                                            <p:strVal val="#ppt_y"/>
                                          </p:val>
                                        </p:tav>
                                      </p:tavLst>
                                    </p:anim>
                                  </p:childTnLst>
                                </p:cTn>
                              </p:par>
                              <p:par>
                                <p:cTn id="21" presetID="2" presetClass="entr" presetSubtype="1" dur="1500" decel="100000" fill="hold" grpId="0" nodeType="withEffect">
                                  <p:stCondLst>
                                    <p:cond delay="1700"/>
                                  </p:stCondLst>
                                  <p:childTnLst>
                                    <p:set>
                                      <p:cBhvr>
                                        <p:cTn id="22" dur="1" fill="hold">
                                          <p:stCondLst>
                                            <p:cond delay="0"/>
                                          </p:stCondLst>
                                        </p:cTn>
                                        <p:tgtEl>
                                          <p:spTgt spid="18"/>
                                        </p:tgtEl>
                                        <p:attrNameLst>
                                          <p:attrName>style.visibility</p:attrName>
                                        </p:attrNameLst>
                                      </p:cBhvr>
                                      <p:to>
                                        <p:strVal val="visible"/>
                                      </p:to>
                                    </p:set>
                                    <p:anim calcmode="lin" valueType="num">
                                      <p:cBhvr additive="base">
                                        <p:cTn id="23" dur="1500" fill="hold"/>
                                        <p:tgtEl>
                                          <p:spTgt spid="18"/>
                                        </p:tgtEl>
                                        <p:attrNameLst>
                                          <p:attrName>ppt_x</p:attrName>
                                        </p:attrNameLst>
                                      </p:cBhvr>
                                      <p:tavLst>
                                        <p:tav tm="0">
                                          <p:val>
                                            <p:strVal val="#ppt_x"/>
                                          </p:val>
                                        </p:tav>
                                        <p:tav tm="100000">
                                          <p:val>
                                            <p:strVal val="#ppt_x"/>
                                          </p:val>
                                        </p:tav>
                                      </p:tavLst>
                                    </p:anim>
                                    <p:anim calcmode="lin" valueType="num">
                                      <p:cBhvr additive="base">
                                        <p:cTn id="24" dur="1500" fill="hold"/>
                                        <p:tgtEl>
                                          <p:spTgt spid="18"/>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animBg="1"/>
      <p:bldP spid="16" grpId="0" animBg="1"/>
      <p:bldP spid="17" grpId="0" animBg="1"/>
      <p:bldP spid="18" grpId="0" animBg="1"/>
    </p:bld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D891C536-C71D-43CE-BF4D-B9B329D1B407}"/>
              </a:ext>
            </a:extLst>
          </p:cNvPr>
          <p:cNvSpPr>
            <a:spLocks noGrp="1"/>
          </p:cNvSpPr>
          <p:nvPr>
            <p:ph type="pic" sz="quarter" idx="15"/>
          </p:nvPr>
        </p:nvSpPr>
        <p:spPr>
          <a:xfrm>
            <a:off x="1147470" y="2745873"/>
            <a:ext cx="955706" cy="955830"/>
          </a:xfrm>
          <a:custGeom>
            <a:avLst/>
            <a:gdLst>
              <a:gd name="connsiteX0" fmla="*/ 955830 w 1911660"/>
              <a:gd name="connsiteY0" fmla="*/ 0 h 1911660"/>
              <a:gd name="connsiteX1" fmla="*/ 1911660 w 1911660"/>
              <a:gd name="connsiteY1" fmla="*/ 955830 h 1911660"/>
              <a:gd name="connsiteX2" fmla="*/ 955830 w 1911660"/>
              <a:gd name="connsiteY2" fmla="*/ 1911660 h 1911660"/>
              <a:gd name="connsiteX3" fmla="*/ 0 w 1911660"/>
              <a:gd name="connsiteY3" fmla="*/ 955830 h 1911660"/>
              <a:gd name="connsiteX4" fmla="*/ 955830 w 1911660"/>
              <a:gd name="connsiteY4" fmla="*/ 0 h 19116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1659" h="1911659">
                <a:moveTo>
                  <a:pt x="955830" y="0"/>
                </a:moveTo>
                <a:cubicBezTo>
                  <a:pt x="1483720" y="0"/>
                  <a:pt x="1911660" y="427940"/>
                  <a:pt x="1911660" y="955830"/>
                </a:cubicBezTo>
                <a:cubicBezTo>
                  <a:pt x="1911660" y="1483720"/>
                  <a:pt x="1483720" y="1911660"/>
                  <a:pt x="955830" y="1911660"/>
                </a:cubicBezTo>
                <a:cubicBezTo>
                  <a:pt x="427940" y="1911660"/>
                  <a:pt x="0" y="1483720"/>
                  <a:pt x="0" y="955830"/>
                </a:cubicBezTo>
                <a:cubicBezTo>
                  <a:pt x="0" y="427940"/>
                  <a:pt x="427940" y="0"/>
                  <a:pt x="955830" y="0"/>
                </a:cubicBez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
        <p:nvSpPr>
          <p:cNvPr id="14" name="Picture Placeholder 13">
            <a:extLst>
              <a:ext uri="{FF2B5EF4-FFF2-40B4-BE49-F238E27FC236}">
                <a16:creationId xmlns:a16="http://schemas.microsoft.com/office/drawing/2014/main" id="{6EB235DB-2D95-4CB0-8307-58A1C6583880}"/>
              </a:ext>
            </a:extLst>
          </p:cNvPr>
          <p:cNvSpPr>
            <a:spLocks noGrp="1"/>
          </p:cNvSpPr>
          <p:nvPr>
            <p:ph type="pic" sz="quarter" idx="16"/>
          </p:nvPr>
        </p:nvSpPr>
        <p:spPr>
          <a:xfrm>
            <a:off x="3382809" y="2745873"/>
            <a:ext cx="955706" cy="955830"/>
          </a:xfrm>
          <a:custGeom>
            <a:avLst/>
            <a:gdLst>
              <a:gd name="connsiteX0" fmla="*/ 955830 w 1911660"/>
              <a:gd name="connsiteY0" fmla="*/ 0 h 1911660"/>
              <a:gd name="connsiteX1" fmla="*/ 1911660 w 1911660"/>
              <a:gd name="connsiteY1" fmla="*/ 955830 h 1911660"/>
              <a:gd name="connsiteX2" fmla="*/ 955830 w 1911660"/>
              <a:gd name="connsiteY2" fmla="*/ 1911660 h 1911660"/>
              <a:gd name="connsiteX3" fmla="*/ 0 w 1911660"/>
              <a:gd name="connsiteY3" fmla="*/ 955830 h 1911660"/>
              <a:gd name="connsiteX4" fmla="*/ 955830 w 1911660"/>
              <a:gd name="connsiteY4" fmla="*/ 0 h 19116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1659" h="1911659">
                <a:moveTo>
                  <a:pt x="955830" y="0"/>
                </a:moveTo>
                <a:cubicBezTo>
                  <a:pt x="1483720" y="0"/>
                  <a:pt x="1911660" y="427940"/>
                  <a:pt x="1911660" y="955830"/>
                </a:cubicBezTo>
                <a:cubicBezTo>
                  <a:pt x="1911660" y="1483720"/>
                  <a:pt x="1483720" y="1911660"/>
                  <a:pt x="955830" y="1911660"/>
                </a:cubicBezTo>
                <a:cubicBezTo>
                  <a:pt x="427940" y="1911660"/>
                  <a:pt x="0" y="1483720"/>
                  <a:pt x="0" y="955830"/>
                </a:cubicBezTo>
                <a:cubicBezTo>
                  <a:pt x="0" y="427940"/>
                  <a:pt x="427940" y="0"/>
                  <a:pt x="955830" y="0"/>
                </a:cubicBez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
        <p:nvSpPr>
          <p:cNvPr id="15" name="Picture Placeholder 14">
            <a:extLst>
              <a:ext uri="{FF2B5EF4-FFF2-40B4-BE49-F238E27FC236}">
                <a16:creationId xmlns:a16="http://schemas.microsoft.com/office/drawing/2014/main" id="{D228DFF4-14CD-4364-BC23-932EEA85A154}"/>
              </a:ext>
            </a:extLst>
          </p:cNvPr>
          <p:cNvSpPr>
            <a:spLocks noGrp="1"/>
          </p:cNvSpPr>
          <p:nvPr>
            <p:ph type="pic" sz="quarter" idx="17"/>
          </p:nvPr>
        </p:nvSpPr>
        <p:spPr>
          <a:xfrm>
            <a:off x="5618147" y="2745873"/>
            <a:ext cx="955706" cy="955830"/>
          </a:xfrm>
          <a:custGeom>
            <a:avLst/>
            <a:gdLst>
              <a:gd name="connsiteX0" fmla="*/ 955830 w 1911660"/>
              <a:gd name="connsiteY0" fmla="*/ 0 h 1911660"/>
              <a:gd name="connsiteX1" fmla="*/ 1911660 w 1911660"/>
              <a:gd name="connsiteY1" fmla="*/ 955830 h 1911660"/>
              <a:gd name="connsiteX2" fmla="*/ 955830 w 1911660"/>
              <a:gd name="connsiteY2" fmla="*/ 1911660 h 1911660"/>
              <a:gd name="connsiteX3" fmla="*/ 0 w 1911660"/>
              <a:gd name="connsiteY3" fmla="*/ 955830 h 1911660"/>
              <a:gd name="connsiteX4" fmla="*/ 955830 w 1911660"/>
              <a:gd name="connsiteY4" fmla="*/ 0 h 19116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1659" h="1911659">
                <a:moveTo>
                  <a:pt x="955830" y="0"/>
                </a:moveTo>
                <a:cubicBezTo>
                  <a:pt x="1483720" y="0"/>
                  <a:pt x="1911660" y="427940"/>
                  <a:pt x="1911660" y="955830"/>
                </a:cubicBezTo>
                <a:cubicBezTo>
                  <a:pt x="1911660" y="1483720"/>
                  <a:pt x="1483720" y="1911660"/>
                  <a:pt x="955830" y="1911660"/>
                </a:cubicBezTo>
                <a:cubicBezTo>
                  <a:pt x="427940" y="1911660"/>
                  <a:pt x="0" y="1483720"/>
                  <a:pt x="0" y="955830"/>
                </a:cubicBezTo>
                <a:cubicBezTo>
                  <a:pt x="0" y="427940"/>
                  <a:pt x="427940" y="0"/>
                  <a:pt x="955830" y="0"/>
                </a:cubicBez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
        <p:nvSpPr>
          <p:cNvPr id="16" name="Picture Placeholder 15">
            <a:extLst>
              <a:ext uri="{FF2B5EF4-FFF2-40B4-BE49-F238E27FC236}">
                <a16:creationId xmlns:a16="http://schemas.microsoft.com/office/drawing/2014/main" id="{005DBB6D-5C8B-4551-88AB-55D90B681B26}"/>
              </a:ext>
            </a:extLst>
          </p:cNvPr>
          <p:cNvSpPr>
            <a:spLocks noGrp="1"/>
          </p:cNvSpPr>
          <p:nvPr>
            <p:ph type="pic" sz="quarter" idx="18"/>
          </p:nvPr>
        </p:nvSpPr>
        <p:spPr>
          <a:xfrm>
            <a:off x="7853486" y="2745873"/>
            <a:ext cx="955705" cy="955830"/>
          </a:xfrm>
          <a:custGeom>
            <a:avLst/>
            <a:gdLst>
              <a:gd name="connsiteX0" fmla="*/ 955830 w 1911659"/>
              <a:gd name="connsiteY0" fmla="*/ 0 h 1911660"/>
              <a:gd name="connsiteX1" fmla="*/ 1911659 w 1911659"/>
              <a:gd name="connsiteY1" fmla="*/ 955830 h 1911660"/>
              <a:gd name="connsiteX2" fmla="*/ 955830 w 1911659"/>
              <a:gd name="connsiteY2" fmla="*/ 1911660 h 1911660"/>
              <a:gd name="connsiteX3" fmla="*/ 0 w 1911659"/>
              <a:gd name="connsiteY3" fmla="*/ 955830 h 1911660"/>
              <a:gd name="connsiteX4" fmla="*/ 955830 w 1911659"/>
              <a:gd name="connsiteY4" fmla="*/ 0 h 19116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1659" h="1911659">
                <a:moveTo>
                  <a:pt x="955830" y="0"/>
                </a:moveTo>
                <a:cubicBezTo>
                  <a:pt x="1483719" y="0"/>
                  <a:pt x="1911659" y="427940"/>
                  <a:pt x="1911659" y="955830"/>
                </a:cubicBezTo>
                <a:cubicBezTo>
                  <a:pt x="1911659" y="1483720"/>
                  <a:pt x="1483719" y="1911660"/>
                  <a:pt x="955830" y="1911660"/>
                </a:cubicBezTo>
                <a:cubicBezTo>
                  <a:pt x="427940" y="1911660"/>
                  <a:pt x="0" y="1483720"/>
                  <a:pt x="0" y="955830"/>
                </a:cubicBezTo>
                <a:cubicBezTo>
                  <a:pt x="0" y="427940"/>
                  <a:pt x="427940" y="0"/>
                  <a:pt x="955830" y="0"/>
                </a:cubicBez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
        <p:nvSpPr>
          <p:cNvPr id="17" name="Picture Placeholder 16">
            <a:extLst>
              <a:ext uri="{FF2B5EF4-FFF2-40B4-BE49-F238E27FC236}">
                <a16:creationId xmlns:a16="http://schemas.microsoft.com/office/drawing/2014/main" id="{2403ED0C-CEF4-4ED5-9432-B1D0EFE4B495}"/>
              </a:ext>
            </a:extLst>
          </p:cNvPr>
          <p:cNvSpPr>
            <a:spLocks noGrp="1"/>
          </p:cNvSpPr>
          <p:nvPr>
            <p:ph type="pic" sz="quarter" idx="19"/>
          </p:nvPr>
        </p:nvSpPr>
        <p:spPr>
          <a:xfrm>
            <a:off x="10088824" y="2745873"/>
            <a:ext cx="955706" cy="955830"/>
          </a:xfrm>
          <a:custGeom>
            <a:avLst/>
            <a:gdLst>
              <a:gd name="connsiteX0" fmla="*/ 955828 w 1911660"/>
              <a:gd name="connsiteY0" fmla="*/ 0 h 1911660"/>
              <a:gd name="connsiteX1" fmla="*/ 1911660 w 1911660"/>
              <a:gd name="connsiteY1" fmla="*/ 955830 h 1911660"/>
              <a:gd name="connsiteX2" fmla="*/ 955828 w 1911660"/>
              <a:gd name="connsiteY2" fmla="*/ 1911660 h 1911660"/>
              <a:gd name="connsiteX3" fmla="*/ 0 w 1911660"/>
              <a:gd name="connsiteY3" fmla="*/ 955830 h 1911660"/>
              <a:gd name="connsiteX4" fmla="*/ 955828 w 1911660"/>
              <a:gd name="connsiteY4" fmla="*/ 0 h 19116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1659" h="1911659">
                <a:moveTo>
                  <a:pt x="955828" y="0"/>
                </a:moveTo>
                <a:cubicBezTo>
                  <a:pt x="1483720" y="0"/>
                  <a:pt x="1911660" y="427940"/>
                  <a:pt x="1911660" y="955830"/>
                </a:cubicBezTo>
                <a:cubicBezTo>
                  <a:pt x="1911660" y="1483720"/>
                  <a:pt x="1483720" y="1911660"/>
                  <a:pt x="955828" y="1911660"/>
                </a:cubicBezTo>
                <a:cubicBezTo>
                  <a:pt x="427940" y="1911660"/>
                  <a:pt x="0" y="1483720"/>
                  <a:pt x="0" y="955830"/>
                </a:cubicBezTo>
                <a:cubicBezTo>
                  <a:pt x="0" y="427940"/>
                  <a:pt x="427940" y="0"/>
                  <a:pt x="955828" y="0"/>
                </a:cubicBez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Tree>
    <p:extLst>
      <p:ext uri="{BB962C8B-B14F-4D97-AF65-F5344CB8AC3E}">
        <p14:creationId xmlns:p14="http://schemas.microsoft.com/office/powerpoint/2010/main" val="927937062"/>
      </p:ext>
    </p:extLst>
  </p:cSld>
  <p:clrMapOvr>
    <a:masterClrMapping/>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WELCOME SLIDE">
    <p:spTree>
      <p:nvGrpSpPr>
        <p:cNvPr id="1" name=""/>
        <p:cNvGrpSpPr/>
        <p:nvPr/>
      </p:nvGrpSpPr>
      <p:grpSpPr>
        <a:xfrm>
          <a:off x="0" y="0"/>
          <a:ext cx="0" cy="0"/>
          <a:chOff x="0" y="0"/>
          <a:chExt cx="0" cy="0"/>
        </a:xfrm>
      </p:grpSpPr>
      <p:sp>
        <p:nvSpPr>
          <p:cNvPr id="33" name="Rechteck 32">
            <a:extLst>
              <a:ext uri="{FF2B5EF4-FFF2-40B4-BE49-F238E27FC236}">
                <a16:creationId xmlns:a16="http://schemas.microsoft.com/office/drawing/2014/main" id="{95791B20-6611-4BC3-9643-F8853AFBD8B7}"/>
              </a:ext>
            </a:extLst>
          </p:cNvPr>
          <p:cNvSpPr/>
          <p:nvPr userDrawn="1"/>
        </p:nvSpPr>
        <p:spPr>
          <a:xfrm>
            <a:off x="0" y="0"/>
            <a:ext cx="5772243" cy="990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4" name="Bildplatzhalter 63">
            <a:extLst>
              <a:ext uri="{FF2B5EF4-FFF2-40B4-BE49-F238E27FC236}">
                <a16:creationId xmlns:a16="http://schemas.microsoft.com/office/drawing/2014/main" id="{27D8A489-906F-4514-8E3F-C8B31E0E5A05}"/>
              </a:ext>
            </a:extLst>
          </p:cNvPr>
          <p:cNvSpPr>
            <a:spLocks noGrp="1"/>
          </p:cNvSpPr>
          <p:nvPr>
            <p:ph type="pic" sz="quarter" idx="10"/>
          </p:nvPr>
        </p:nvSpPr>
        <p:spPr>
          <a:xfrm>
            <a:off x="0" y="0"/>
            <a:ext cx="12191999" cy="6858000"/>
          </a:xfrm>
          <a:custGeom>
            <a:avLst/>
            <a:gdLst>
              <a:gd name="connsiteX0" fmla="*/ 5788920 w 12191999"/>
              <a:gd name="connsiteY0" fmla="*/ 3246099 h 6858000"/>
              <a:gd name="connsiteX1" fmla="*/ 5801118 w 12191999"/>
              <a:gd name="connsiteY1" fmla="*/ 3246099 h 6858000"/>
              <a:gd name="connsiteX2" fmla="*/ 5820770 w 12191999"/>
              <a:gd name="connsiteY2" fmla="*/ 3254231 h 6858000"/>
              <a:gd name="connsiteX3" fmla="*/ 5827546 w 12191999"/>
              <a:gd name="connsiteY3" fmla="*/ 3277949 h 6858000"/>
              <a:gd name="connsiteX4" fmla="*/ 5827546 w 12191999"/>
              <a:gd name="connsiteY4" fmla="*/ 3283370 h 6858000"/>
              <a:gd name="connsiteX5" fmla="*/ 5820092 w 12191999"/>
              <a:gd name="connsiteY5" fmla="*/ 3307089 h 6858000"/>
              <a:gd name="connsiteX6" fmla="*/ 5799762 w 12191999"/>
              <a:gd name="connsiteY6" fmla="*/ 3315220 h 6858000"/>
              <a:gd name="connsiteX7" fmla="*/ 5788920 w 12191999"/>
              <a:gd name="connsiteY7" fmla="*/ 3315220 h 6858000"/>
              <a:gd name="connsiteX8" fmla="*/ 5303038 w 12191999"/>
              <a:gd name="connsiteY8" fmla="*/ 3246099 h 6858000"/>
              <a:gd name="connsiteX9" fmla="*/ 5315236 w 12191999"/>
              <a:gd name="connsiteY9" fmla="*/ 3246099 h 6858000"/>
              <a:gd name="connsiteX10" fmla="*/ 5334888 w 12191999"/>
              <a:gd name="connsiteY10" fmla="*/ 3254231 h 6858000"/>
              <a:gd name="connsiteX11" fmla="*/ 5341664 w 12191999"/>
              <a:gd name="connsiteY11" fmla="*/ 3277949 h 6858000"/>
              <a:gd name="connsiteX12" fmla="*/ 5341664 w 12191999"/>
              <a:gd name="connsiteY12" fmla="*/ 3283370 h 6858000"/>
              <a:gd name="connsiteX13" fmla="*/ 5334210 w 12191999"/>
              <a:gd name="connsiteY13" fmla="*/ 3307089 h 6858000"/>
              <a:gd name="connsiteX14" fmla="*/ 5313880 w 12191999"/>
              <a:gd name="connsiteY14" fmla="*/ 3315220 h 6858000"/>
              <a:gd name="connsiteX15" fmla="*/ 5303038 w 12191999"/>
              <a:gd name="connsiteY15" fmla="*/ 3315220 h 6858000"/>
              <a:gd name="connsiteX16" fmla="*/ 4985215 w 12191999"/>
              <a:gd name="connsiteY16" fmla="*/ 3246099 h 6858000"/>
              <a:gd name="connsiteX17" fmla="*/ 5002835 w 12191999"/>
              <a:gd name="connsiteY17" fmla="*/ 3246099 h 6858000"/>
              <a:gd name="connsiteX18" fmla="*/ 5015710 w 12191999"/>
              <a:gd name="connsiteY18" fmla="*/ 3250165 h 6858000"/>
              <a:gd name="connsiteX19" fmla="*/ 5019776 w 12191999"/>
              <a:gd name="connsiteY19" fmla="*/ 3262363 h 6858000"/>
              <a:gd name="connsiteX20" fmla="*/ 5015033 w 12191999"/>
              <a:gd name="connsiteY20" fmla="*/ 3273883 h 6858000"/>
              <a:gd name="connsiteX21" fmla="*/ 5002157 w 12191999"/>
              <a:gd name="connsiteY21" fmla="*/ 3277949 h 6858000"/>
              <a:gd name="connsiteX22" fmla="*/ 4985215 w 12191999"/>
              <a:gd name="connsiteY22" fmla="*/ 3277949 h 6858000"/>
              <a:gd name="connsiteX23" fmla="*/ 6397458 w 12191999"/>
              <a:gd name="connsiteY23" fmla="*/ 3245421 h 6858000"/>
              <a:gd name="connsiteX24" fmla="*/ 6414400 w 12191999"/>
              <a:gd name="connsiteY24" fmla="*/ 3253553 h 6858000"/>
              <a:gd name="connsiteX25" fmla="*/ 6420499 w 12191999"/>
              <a:gd name="connsiteY25" fmla="*/ 3277949 h 6858000"/>
              <a:gd name="connsiteX26" fmla="*/ 6420499 w 12191999"/>
              <a:gd name="connsiteY26" fmla="*/ 3283370 h 6858000"/>
              <a:gd name="connsiteX27" fmla="*/ 6414400 w 12191999"/>
              <a:gd name="connsiteY27" fmla="*/ 3307766 h 6858000"/>
              <a:gd name="connsiteX28" fmla="*/ 6397458 w 12191999"/>
              <a:gd name="connsiteY28" fmla="*/ 3315898 h 6858000"/>
              <a:gd name="connsiteX29" fmla="*/ 6380517 w 12191999"/>
              <a:gd name="connsiteY29" fmla="*/ 3307088 h 6858000"/>
              <a:gd name="connsiteX30" fmla="*/ 6374418 w 12191999"/>
              <a:gd name="connsiteY30" fmla="*/ 3282692 h 6858000"/>
              <a:gd name="connsiteX31" fmla="*/ 6374418 w 12191999"/>
              <a:gd name="connsiteY31" fmla="*/ 3277271 h 6858000"/>
              <a:gd name="connsiteX32" fmla="*/ 6380517 w 12191999"/>
              <a:gd name="connsiteY32" fmla="*/ 3253553 h 6858000"/>
              <a:gd name="connsiteX33" fmla="*/ 6397458 w 12191999"/>
              <a:gd name="connsiteY33" fmla="*/ 3245421 h 6858000"/>
              <a:gd name="connsiteX34" fmla="*/ 4831387 w 12191999"/>
              <a:gd name="connsiteY34" fmla="*/ 3245421 h 6858000"/>
              <a:gd name="connsiteX35" fmla="*/ 4848329 w 12191999"/>
              <a:gd name="connsiteY35" fmla="*/ 3253553 h 6858000"/>
              <a:gd name="connsiteX36" fmla="*/ 4854428 w 12191999"/>
              <a:gd name="connsiteY36" fmla="*/ 3277949 h 6858000"/>
              <a:gd name="connsiteX37" fmla="*/ 4854428 w 12191999"/>
              <a:gd name="connsiteY37" fmla="*/ 3283370 h 6858000"/>
              <a:gd name="connsiteX38" fmla="*/ 4848329 w 12191999"/>
              <a:gd name="connsiteY38" fmla="*/ 3307766 h 6858000"/>
              <a:gd name="connsiteX39" fmla="*/ 4831387 w 12191999"/>
              <a:gd name="connsiteY39" fmla="*/ 3315898 h 6858000"/>
              <a:gd name="connsiteX40" fmla="*/ 4814446 w 12191999"/>
              <a:gd name="connsiteY40" fmla="*/ 3307088 h 6858000"/>
              <a:gd name="connsiteX41" fmla="*/ 4808347 w 12191999"/>
              <a:gd name="connsiteY41" fmla="*/ 3282692 h 6858000"/>
              <a:gd name="connsiteX42" fmla="*/ 4808347 w 12191999"/>
              <a:gd name="connsiteY42" fmla="*/ 3277271 h 6858000"/>
              <a:gd name="connsiteX43" fmla="*/ 4814446 w 12191999"/>
              <a:gd name="connsiteY43" fmla="*/ 3253553 h 6858000"/>
              <a:gd name="connsiteX44" fmla="*/ 4831387 w 12191999"/>
              <a:gd name="connsiteY44" fmla="*/ 3245421 h 6858000"/>
              <a:gd name="connsiteX45" fmla="*/ 6211780 w 12191999"/>
              <a:gd name="connsiteY45" fmla="*/ 3233223 h 6858000"/>
              <a:gd name="connsiteX46" fmla="*/ 6211780 w 12191999"/>
              <a:gd name="connsiteY46" fmla="*/ 3328773 h 6858000"/>
              <a:gd name="connsiteX47" fmla="*/ 6272092 w 12191999"/>
              <a:gd name="connsiteY47" fmla="*/ 3328773 h 6858000"/>
              <a:gd name="connsiteX48" fmla="*/ 6272092 w 12191999"/>
              <a:gd name="connsiteY48" fmla="*/ 3315220 h 6858000"/>
              <a:gd name="connsiteX49" fmla="*/ 6228721 w 12191999"/>
              <a:gd name="connsiteY49" fmla="*/ 3315220 h 6858000"/>
              <a:gd name="connsiteX50" fmla="*/ 6228721 w 12191999"/>
              <a:gd name="connsiteY50" fmla="*/ 3233223 h 6858000"/>
              <a:gd name="connsiteX51" fmla="*/ 5132947 w 12191999"/>
              <a:gd name="connsiteY51" fmla="*/ 3233223 h 6858000"/>
              <a:gd name="connsiteX52" fmla="*/ 5132947 w 12191999"/>
              <a:gd name="connsiteY52" fmla="*/ 3328773 h 6858000"/>
              <a:gd name="connsiteX53" fmla="*/ 5193258 w 12191999"/>
              <a:gd name="connsiteY53" fmla="*/ 3328773 h 6858000"/>
              <a:gd name="connsiteX54" fmla="*/ 5193258 w 12191999"/>
              <a:gd name="connsiteY54" fmla="*/ 3315220 h 6858000"/>
              <a:gd name="connsiteX55" fmla="*/ 5149888 w 12191999"/>
              <a:gd name="connsiteY55" fmla="*/ 3315220 h 6858000"/>
              <a:gd name="connsiteX56" fmla="*/ 5149888 w 12191999"/>
              <a:gd name="connsiteY56" fmla="*/ 3233223 h 6858000"/>
              <a:gd name="connsiteX57" fmla="*/ 7150338 w 12191999"/>
              <a:gd name="connsiteY57" fmla="*/ 3232546 h 6858000"/>
              <a:gd name="connsiteX58" fmla="*/ 7150338 w 12191999"/>
              <a:gd name="connsiteY58" fmla="*/ 3328096 h 6858000"/>
              <a:gd name="connsiteX59" fmla="*/ 7166602 w 12191999"/>
              <a:gd name="connsiteY59" fmla="*/ 3328096 h 6858000"/>
              <a:gd name="connsiteX60" fmla="*/ 7166602 w 12191999"/>
              <a:gd name="connsiteY60" fmla="*/ 3232546 h 6858000"/>
              <a:gd name="connsiteX61" fmla="*/ 6980246 w 12191999"/>
              <a:gd name="connsiteY61" fmla="*/ 3232546 h 6858000"/>
              <a:gd name="connsiteX62" fmla="*/ 6980246 w 12191999"/>
              <a:gd name="connsiteY62" fmla="*/ 3246099 h 6858000"/>
              <a:gd name="connsiteX63" fmla="*/ 7010063 w 12191999"/>
              <a:gd name="connsiteY63" fmla="*/ 3246099 h 6858000"/>
              <a:gd name="connsiteX64" fmla="*/ 7010063 w 12191999"/>
              <a:gd name="connsiteY64" fmla="*/ 3328096 h 6858000"/>
              <a:gd name="connsiteX65" fmla="*/ 7026327 w 12191999"/>
              <a:gd name="connsiteY65" fmla="*/ 3328096 h 6858000"/>
              <a:gd name="connsiteX66" fmla="*/ 7026327 w 12191999"/>
              <a:gd name="connsiteY66" fmla="*/ 3246099 h 6858000"/>
              <a:gd name="connsiteX67" fmla="*/ 7056144 w 12191999"/>
              <a:gd name="connsiteY67" fmla="*/ 3246099 h 6858000"/>
              <a:gd name="connsiteX68" fmla="*/ 7056144 w 12191999"/>
              <a:gd name="connsiteY68" fmla="*/ 3232546 h 6858000"/>
              <a:gd name="connsiteX69" fmla="*/ 6707827 w 12191999"/>
              <a:gd name="connsiteY69" fmla="*/ 3232546 h 6858000"/>
              <a:gd name="connsiteX70" fmla="*/ 6707827 w 12191999"/>
              <a:gd name="connsiteY70" fmla="*/ 3328096 h 6858000"/>
              <a:gd name="connsiteX71" fmla="*/ 6724091 w 12191999"/>
              <a:gd name="connsiteY71" fmla="*/ 3328096 h 6858000"/>
              <a:gd name="connsiteX72" fmla="*/ 6724091 w 12191999"/>
              <a:gd name="connsiteY72" fmla="*/ 3232546 h 6858000"/>
              <a:gd name="connsiteX73" fmla="*/ 5941394 w 12191999"/>
              <a:gd name="connsiteY73" fmla="*/ 3232546 h 6858000"/>
              <a:gd name="connsiteX74" fmla="*/ 5941394 w 12191999"/>
              <a:gd name="connsiteY74" fmla="*/ 3328096 h 6858000"/>
              <a:gd name="connsiteX75" fmla="*/ 6003739 w 12191999"/>
              <a:gd name="connsiteY75" fmla="*/ 3328096 h 6858000"/>
              <a:gd name="connsiteX76" fmla="*/ 6003739 w 12191999"/>
              <a:gd name="connsiteY76" fmla="*/ 3314543 h 6858000"/>
              <a:gd name="connsiteX77" fmla="*/ 5957658 w 12191999"/>
              <a:gd name="connsiteY77" fmla="*/ 3314543 h 6858000"/>
              <a:gd name="connsiteX78" fmla="*/ 5957658 w 12191999"/>
              <a:gd name="connsiteY78" fmla="*/ 3285403 h 6858000"/>
              <a:gd name="connsiteX79" fmla="*/ 5996962 w 12191999"/>
              <a:gd name="connsiteY79" fmla="*/ 3285403 h 6858000"/>
              <a:gd name="connsiteX80" fmla="*/ 5997640 w 12191999"/>
              <a:gd name="connsiteY80" fmla="*/ 3285403 h 6858000"/>
              <a:gd name="connsiteX81" fmla="*/ 5997640 w 12191999"/>
              <a:gd name="connsiteY81" fmla="*/ 3272528 h 6858000"/>
              <a:gd name="connsiteX82" fmla="*/ 5958335 w 12191999"/>
              <a:gd name="connsiteY82" fmla="*/ 3272528 h 6858000"/>
              <a:gd name="connsiteX83" fmla="*/ 5958335 w 12191999"/>
              <a:gd name="connsiteY83" fmla="*/ 3246099 h 6858000"/>
              <a:gd name="connsiteX84" fmla="*/ 6003739 w 12191999"/>
              <a:gd name="connsiteY84" fmla="*/ 3246099 h 6858000"/>
              <a:gd name="connsiteX85" fmla="*/ 6003739 w 12191999"/>
              <a:gd name="connsiteY85" fmla="*/ 3232546 h 6858000"/>
              <a:gd name="connsiteX86" fmla="*/ 5772657 w 12191999"/>
              <a:gd name="connsiteY86" fmla="*/ 3232546 h 6858000"/>
              <a:gd name="connsiteX87" fmla="*/ 5772657 w 12191999"/>
              <a:gd name="connsiteY87" fmla="*/ 3327418 h 6858000"/>
              <a:gd name="connsiteX88" fmla="*/ 5799762 w 12191999"/>
              <a:gd name="connsiteY88" fmla="*/ 3327418 h 6858000"/>
              <a:gd name="connsiteX89" fmla="*/ 5822804 w 12191999"/>
              <a:gd name="connsiteY89" fmla="*/ 3321997 h 6858000"/>
              <a:gd name="connsiteX90" fmla="*/ 5838389 w 12191999"/>
              <a:gd name="connsiteY90" fmla="*/ 3306411 h 6858000"/>
              <a:gd name="connsiteX91" fmla="*/ 5843810 w 12191999"/>
              <a:gd name="connsiteY91" fmla="*/ 3282693 h 6858000"/>
              <a:gd name="connsiteX92" fmla="*/ 5843810 w 12191999"/>
              <a:gd name="connsiteY92" fmla="*/ 3277949 h 6858000"/>
              <a:gd name="connsiteX93" fmla="*/ 5838389 w 12191999"/>
              <a:gd name="connsiteY93" fmla="*/ 3254231 h 6858000"/>
              <a:gd name="connsiteX94" fmla="*/ 5823480 w 12191999"/>
              <a:gd name="connsiteY94" fmla="*/ 3237967 h 6858000"/>
              <a:gd name="connsiteX95" fmla="*/ 5801118 w 12191999"/>
              <a:gd name="connsiteY95" fmla="*/ 3232546 h 6858000"/>
              <a:gd name="connsiteX96" fmla="*/ 5655421 w 12191999"/>
              <a:gd name="connsiteY96" fmla="*/ 3232546 h 6858000"/>
              <a:gd name="connsiteX97" fmla="*/ 5655421 w 12191999"/>
              <a:gd name="connsiteY97" fmla="*/ 3328096 h 6858000"/>
              <a:gd name="connsiteX98" fmla="*/ 5671685 w 12191999"/>
              <a:gd name="connsiteY98" fmla="*/ 3328096 h 6858000"/>
              <a:gd name="connsiteX99" fmla="*/ 5671685 w 12191999"/>
              <a:gd name="connsiteY99" fmla="*/ 3232546 h 6858000"/>
              <a:gd name="connsiteX100" fmla="*/ 5448058 w 12191999"/>
              <a:gd name="connsiteY100" fmla="*/ 3232546 h 6858000"/>
              <a:gd name="connsiteX101" fmla="*/ 5470420 w 12191999"/>
              <a:gd name="connsiteY101" fmla="*/ 3328096 h 6858000"/>
              <a:gd name="connsiteX102" fmla="*/ 5486685 w 12191999"/>
              <a:gd name="connsiteY102" fmla="*/ 3328096 h 6858000"/>
              <a:gd name="connsiteX103" fmla="*/ 5504980 w 12191999"/>
              <a:gd name="connsiteY103" fmla="*/ 3258297 h 6858000"/>
              <a:gd name="connsiteX104" fmla="*/ 5523277 w 12191999"/>
              <a:gd name="connsiteY104" fmla="*/ 3328096 h 6858000"/>
              <a:gd name="connsiteX105" fmla="*/ 5538863 w 12191999"/>
              <a:gd name="connsiteY105" fmla="*/ 3328096 h 6858000"/>
              <a:gd name="connsiteX106" fmla="*/ 5561226 w 12191999"/>
              <a:gd name="connsiteY106" fmla="*/ 3232546 h 6858000"/>
              <a:gd name="connsiteX107" fmla="*/ 5544962 w 12191999"/>
              <a:gd name="connsiteY107" fmla="*/ 3232546 h 6858000"/>
              <a:gd name="connsiteX108" fmla="*/ 5530055 w 12191999"/>
              <a:gd name="connsiteY108" fmla="*/ 3304378 h 6858000"/>
              <a:gd name="connsiteX109" fmla="*/ 5511757 w 12191999"/>
              <a:gd name="connsiteY109" fmla="*/ 3232546 h 6858000"/>
              <a:gd name="connsiteX110" fmla="*/ 5497527 w 12191999"/>
              <a:gd name="connsiteY110" fmla="*/ 3232546 h 6858000"/>
              <a:gd name="connsiteX111" fmla="*/ 5479229 w 12191999"/>
              <a:gd name="connsiteY111" fmla="*/ 3304378 h 6858000"/>
              <a:gd name="connsiteX112" fmla="*/ 5464321 w 12191999"/>
              <a:gd name="connsiteY112" fmla="*/ 3232546 h 6858000"/>
              <a:gd name="connsiteX113" fmla="*/ 5286775 w 12191999"/>
              <a:gd name="connsiteY113" fmla="*/ 3232546 h 6858000"/>
              <a:gd name="connsiteX114" fmla="*/ 5286775 w 12191999"/>
              <a:gd name="connsiteY114" fmla="*/ 3327418 h 6858000"/>
              <a:gd name="connsiteX115" fmla="*/ 5313880 w 12191999"/>
              <a:gd name="connsiteY115" fmla="*/ 3327418 h 6858000"/>
              <a:gd name="connsiteX116" fmla="*/ 5336922 w 12191999"/>
              <a:gd name="connsiteY116" fmla="*/ 3321997 h 6858000"/>
              <a:gd name="connsiteX117" fmla="*/ 5352507 w 12191999"/>
              <a:gd name="connsiteY117" fmla="*/ 3306411 h 6858000"/>
              <a:gd name="connsiteX118" fmla="*/ 5357928 w 12191999"/>
              <a:gd name="connsiteY118" fmla="*/ 3282693 h 6858000"/>
              <a:gd name="connsiteX119" fmla="*/ 5357928 w 12191999"/>
              <a:gd name="connsiteY119" fmla="*/ 3277949 h 6858000"/>
              <a:gd name="connsiteX120" fmla="*/ 5352507 w 12191999"/>
              <a:gd name="connsiteY120" fmla="*/ 3254231 h 6858000"/>
              <a:gd name="connsiteX121" fmla="*/ 5337598 w 12191999"/>
              <a:gd name="connsiteY121" fmla="*/ 3237967 h 6858000"/>
              <a:gd name="connsiteX122" fmla="*/ 5315236 w 12191999"/>
              <a:gd name="connsiteY122" fmla="*/ 3232546 h 6858000"/>
              <a:gd name="connsiteX123" fmla="*/ 4968274 w 12191999"/>
              <a:gd name="connsiteY123" fmla="*/ 3232546 h 6858000"/>
              <a:gd name="connsiteX124" fmla="*/ 4968274 w 12191999"/>
              <a:gd name="connsiteY124" fmla="*/ 3328096 h 6858000"/>
              <a:gd name="connsiteX125" fmla="*/ 4985215 w 12191999"/>
              <a:gd name="connsiteY125" fmla="*/ 3328096 h 6858000"/>
              <a:gd name="connsiteX126" fmla="*/ 4985215 w 12191999"/>
              <a:gd name="connsiteY126" fmla="*/ 3291502 h 6858000"/>
              <a:gd name="connsiteX127" fmla="*/ 5003512 w 12191999"/>
              <a:gd name="connsiteY127" fmla="*/ 3291502 h 6858000"/>
              <a:gd name="connsiteX128" fmla="*/ 5023164 w 12191999"/>
              <a:gd name="connsiteY128" fmla="*/ 3328774 h 6858000"/>
              <a:gd name="connsiteX129" fmla="*/ 5040784 w 12191999"/>
              <a:gd name="connsiteY129" fmla="*/ 3328774 h 6858000"/>
              <a:gd name="connsiteX130" fmla="*/ 5040784 w 12191999"/>
              <a:gd name="connsiteY130" fmla="*/ 3328096 h 6858000"/>
              <a:gd name="connsiteX131" fmla="*/ 5019098 w 12191999"/>
              <a:gd name="connsiteY131" fmla="*/ 3288114 h 6858000"/>
              <a:gd name="connsiteX132" fmla="*/ 5031974 w 12191999"/>
              <a:gd name="connsiteY132" fmla="*/ 3277949 h 6858000"/>
              <a:gd name="connsiteX133" fmla="*/ 5036718 w 12191999"/>
              <a:gd name="connsiteY133" fmla="*/ 3261685 h 6858000"/>
              <a:gd name="connsiteX134" fmla="*/ 5027908 w 12191999"/>
              <a:gd name="connsiteY134" fmla="*/ 3240000 h 6858000"/>
              <a:gd name="connsiteX135" fmla="*/ 5002157 w 12191999"/>
              <a:gd name="connsiteY135" fmla="*/ 3232546 h 6858000"/>
              <a:gd name="connsiteX136" fmla="*/ 4589463 w 12191999"/>
              <a:gd name="connsiteY136" fmla="*/ 3232546 h 6858000"/>
              <a:gd name="connsiteX137" fmla="*/ 4611826 w 12191999"/>
              <a:gd name="connsiteY137" fmla="*/ 3328096 h 6858000"/>
              <a:gd name="connsiteX138" fmla="*/ 4627412 w 12191999"/>
              <a:gd name="connsiteY138" fmla="*/ 3328096 h 6858000"/>
              <a:gd name="connsiteX139" fmla="*/ 4645709 w 12191999"/>
              <a:gd name="connsiteY139" fmla="*/ 3258297 h 6858000"/>
              <a:gd name="connsiteX140" fmla="*/ 4664006 w 12191999"/>
              <a:gd name="connsiteY140" fmla="*/ 3328096 h 6858000"/>
              <a:gd name="connsiteX141" fmla="*/ 4679592 w 12191999"/>
              <a:gd name="connsiteY141" fmla="*/ 3328096 h 6858000"/>
              <a:gd name="connsiteX142" fmla="*/ 4701955 w 12191999"/>
              <a:gd name="connsiteY142" fmla="*/ 3232546 h 6858000"/>
              <a:gd name="connsiteX143" fmla="*/ 4685692 w 12191999"/>
              <a:gd name="connsiteY143" fmla="*/ 3232546 h 6858000"/>
              <a:gd name="connsiteX144" fmla="*/ 4670782 w 12191999"/>
              <a:gd name="connsiteY144" fmla="*/ 3304378 h 6858000"/>
              <a:gd name="connsiteX145" fmla="*/ 4653164 w 12191999"/>
              <a:gd name="connsiteY145" fmla="*/ 3232546 h 6858000"/>
              <a:gd name="connsiteX146" fmla="*/ 4638932 w 12191999"/>
              <a:gd name="connsiteY146" fmla="*/ 3232546 h 6858000"/>
              <a:gd name="connsiteX147" fmla="*/ 4620635 w 12191999"/>
              <a:gd name="connsiteY147" fmla="*/ 3304378 h 6858000"/>
              <a:gd name="connsiteX148" fmla="*/ 4605727 w 12191999"/>
              <a:gd name="connsiteY148" fmla="*/ 3232546 h 6858000"/>
              <a:gd name="connsiteX149" fmla="*/ 7468161 w 12191999"/>
              <a:gd name="connsiteY149" fmla="*/ 3231868 h 6858000"/>
              <a:gd name="connsiteX150" fmla="*/ 7443766 w 12191999"/>
              <a:gd name="connsiteY150" fmla="*/ 3239322 h 6858000"/>
              <a:gd name="connsiteX151" fmla="*/ 7434278 w 12191999"/>
              <a:gd name="connsiteY151" fmla="*/ 3258297 h 6858000"/>
              <a:gd name="connsiteX152" fmla="*/ 7447154 w 12191999"/>
              <a:gd name="connsiteY152" fmla="*/ 3279982 h 6858000"/>
              <a:gd name="connsiteX153" fmla="*/ 7465451 w 12191999"/>
              <a:gd name="connsiteY153" fmla="*/ 3287436 h 6858000"/>
              <a:gd name="connsiteX154" fmla="*/ 7481714 w 12191999"/>
              <a:gd name="connsiteY154" fmla="*/ 3294213 h 6858000"/>
              <a:gd name="connsiteX155" fmla="*/ 7486458 w 12191999"/>
              <a:gd name="connsiteY155" fmla="*/ 3303700 h 6858000"/>
              <a:gd name="connsiteX156" fmla="*/ 7481714 w 12191999"/>
              <a:gd name="connsiteY156" fmla="*/ 3312509 h 6858000"/>
              <a:gd name="connsiteX157" fmla="*/ 7468839 w 12191999"/>
              <a:gd name="connsiteY157" fmla="*/ 3315898 h 6858000"/>
              <a:gd name="connsiteX158" fmla="*/ 7453253 w 12191999"/>
              <a:gd name="connsiteY158" fmla="*/ 3311154 h 6858000"/>
              <a:gd name="connsiteX159" fmla="*/ 7447831 w 12191999"/>
              <a:gd name="connsiteY159" fmla="*/ 3298279 h 6858000"/>
              <a:gd name="connsiteX160" fmla="*/ 7430890 w 12191999"/>
              <a:gd name="connsiteY160" fmla="*/ 3298279 h 6858000"/>
              <a:gd name="connsiteX161" fmla="*/ 7435634 w 12191999"/>
              <a:gd name="connsiteY161" fmla="*/ 3313865 h 6858000"/>
              <a:gd name="connsiteX162" fmla="*/ 7449187 w 12191999"/>
              <a:gd name="connsiteY162" fmla="*/ 3324707 h 6858000"/>
              <a:gd name="connsiteX163" fmla="*/ 7468161 w 12191999"/>
              <a:gd name="connsiteY163" fmla="*/ 3328773 h 6858000"/>
              <a:gd name="connsiteX164" fmla="*/ 7493235 w 12191999"/>
              <a:gd name="connsiteY164" fmla="*/ 3321997 h 6858000"/>
              <a:gd name="connsiteX165" fmla="*/ 7502722 w 12191999"/>
              <a:gd name="connsiteY165" fmla="*/ 3303022 h 6858000"/>
              <a:gd name="connsiteX166" fmla="*/ 7499334 w 12191999"/>
              <a:gd name="connsiteY166" fmla="*/ 3290147 h 6858000"/>
              <a:gd name="connsiteX167" fmla="*/ 7489169 w 12191999"/>
              <a:gd name="connsiteY167" fmla="*/ 3280659 h 6858000"/>
              <a:gd name="connsiteX168" fmla="*/ 7471550 w 12191999"/>
              <a:gd name="connsiteY168" fmla="*/ 3273205 h 6858000"/>
              <a:gd name="connsiteX169" fmla="*/ 7455286 w 12191999"/>
              <a:gd name="connsiteY169" fmla="*/ 3266429 h 6858000"/>
              <a:gd name="connsiteX170" fmla="*/ 7450542 w 12191999"/>
              <a:gd name="connsiteY170" fmla="*/ 3257619 h 6858000"/>
              <a:gd name="connsiteX171" fmla="*/ 7455286 w 12191999"/>
              <a:gd name="connsiteY171" fmla="*/ 3248132 h 6858000"/>
              <a:gd name="connsiteX172" fmla="*/ 7468161 w 12191999"/>
              <a:gd name="connsiteY172" fmla="*/ 3244744 h 6858000"/>
              <a:gd name="connsiteX173" fmla="*/ 7481714 w 12191999"/>
              <a:gd name="connsiteY173" fmla="*/ 3248809 h 6858000"/>
              <a:gd name="connsiteX174" fmla="*/ 7486458 w 12191999"/>
              <a:gd name="connsiteY174" fmla="*/ 3260330 h 6858000"/>
              <a:gd name="connsiteX175" fmla="*/ 7502722 w 12191999"/>
              <a:gd name="connsiteY175" fmla="*/ 3260330 h 6858000"/>
              <a:gd name="connsiteX176" fmla="*/ 7497978 w 12191999"/>
              <a:gd name="connsiteY176" fmla="*/ 3245421 h 6858000"/>
              <a:gd name="connsiteX177" fmla="*/ 7485780 w 12191999"/>
              <a:gd name="connsiteY177" fmla="*/ 3235256 h 6858000"/>
              <a:gd name="connsiteX178" fmla="*/ 7468161 w 12191999"/>
              <a:gd name="connsiteY178" fmla="*/ 3231868 h 6858000"/>
              <a:gd name="connsiteX179" fmla="*/ 7303489 w 12191999"/>
              <a:gd name="connsiteY179" fmla="*/ 3231868 h 6858000"/>
              <a:gd name="connsiteX180" fmla="*/ 7282482 w 12191999"/>
              <a:gd name="connsiteY180" fmla="*/ 3237289 h 6858000"/>
              <a:gd name="connsiteX181" fmla="*/ 7268928 w 12191999"/>
              <a:gd name="connsiteY181" fmla="*/ 3252875 h 6858000"/>
              <a:gd name="connsiteX182" fmla="*/ 7264185 w 12191999"/>
              <a:gd name="connsiteY182" fmla="*/ 3276594 h 6858000"/>
              <a:gd name="connsiteX183" fmla="*/ 7264185 w 12191999"/>
              <a:gd name="connsiteY183" fmla="*/ 3285403 h 6858000"/>
              <a:gd name="connsiteX184" fmla="*/ 7268928 w 12191999"/>
              <a:gd name="connsiteY184" fmla="*/ 3308444 h 6858000"/>
              <a:gd name="connsiteX185" fmla="*/ 7282482 w 12191999"/>
              <a:gd name="connsiteY185" fmla="*/ 3324030 h 6858000"/>
              <a:gd name="connsiteX186" fmla="*/ 7302811 w 12191999"/>
              <a:gd name="connsiteY186" fmla="*/ 3329451 h 6858000"/>
              <a:gd name="connsiteX187" fmla="*/ 7329240 w 12191999"/>
              <a:gd name="connsiteY187" fmla="*/ 3320641 h 6858000"/>
              <a:gd name="connsiteX188" fmla="*/ 7340102 w 12191999"/>
              <a:gd name="connsiteY188" fmla="*/ 3298279 h 6858000"/>
              <a:gd name="connsiteX189" fmla="*/ 7340760 w 12191999"/>
              <a:gd name="connsiteY189" fmla="*/ 3298279 h 6858000"/>
              <a:gd name="connsiteX190" fmla="*/ 7340760 w 12191999"/>
              <a:gd name="connsiteY190" fmla="*/ 3296923 h 6858000"/>
              <a:gd name="connsiteX191" fmla="*/ 7340102 w 12191999"/>
              <a:gd name="connsiteY191" fmla="*/ 3298279 h 6858000"/>
              <a:gd name="connsiteX192" fmla="*/ 7323819 w 12191999"/>
              <a:gd name="connsiteY192" fmla="*/ 3298279 h 6858000"/>
              <a:gd name="connsiteX193" fmla="*/ 7317720 w 12191999"/>
              <a:gd name="connsiteY193" fmla="*/ 3313187 h 6858000"/>
              <a:gd name="connsiteX194" fmla="*/ 7302811 w 12191999"/>
              <a:gd name="connsiteY194" fmla="*/ 3317253 h 6858000"/>
              <a:gd name="connsiteX195" fmla="*/ 7286548 w 12191999"/>
              <a:gd name="connsiteY195" fmla="*/ 3309121 h 6858000"/>
              <a:gd name="connsiteX196" fmla="*/ 7281126 w 12191999"/>
              <a:gd name="connsiteY196" fmla="*/ 3285403 h 6858000"/>
              <a:gd name="connsiteX197" fmla="*/ 7281126 w 12191999"/>
              <a:gd name="connsiteY197" fmla="*/ 3276594 h 6858000"/>
              <a:gd name="connsiteX198" fmla="*/ 7287225 w 12191999"/>
              <a:gd name="connsiteY198" fmla="*/ 3253553 h 6858000"/>
              <a:gd name="connsiteX199" fmla="*/ 7304167 w 12191999"/>
              <a:gd name="connsiteY199" fmla="*/ 3245421 h 6858000"/>
              <a:gd name="connsiteX200" fmla="*/ 7318398 w 12191999"/>
              <a:gd name="connsiteY200" fmla="*/ 3250165 h 6858000"/>
              <a:gd name="connsiteX201" fmla="*/ 7324497 w 12191999"/>
              <a:gd name="connsiteY201" fmla="*/ 3265073 h 6858000"/>
              <a:gd name="connsiteX202" fmla="*/ 7340760 w 12191999"/>
              <a:gd name="connsiteY202" fmla="*/ 3265073 h 6858000"/>
              <a:gd name="connsiteX203" fmla="*/ 7329240 w 12191999"/>
              <a:gd name="connsiteY203" fmla="*/ 3240678 h 6858000"/>
              <a:gd name="connsiteX204" fmla="*/ 7303489 w 12191999"/>
              <a:gd name="connsiteY204" fmla="*/ 3231868 h 6858000"/>
              <a:gd name="connsiteX205" fmla="*/ 6856912 w 12191999"/>
              <a:gd name="connsiteY205" fmla="*/ 3231868 h 6858000"/>
              <a:gd name="connsiteX206" fmla="*/ 6832516 w 12191999"/>
              <a:gd name="connsiteY206" fmla="*/ 3239322 h 6858000"/>
              <a:gd name="connsiteX207" fmla="*/ 6823029 w 12191999"/>
              <a:gd name="connsiteY207" fmla="*/ 3258297 h 6858000"/>
              <a:gd name="connsiteX208" fmla="*/ 6835905 w 12191999"/>
              <a:gd name="connsiteY208" fmla="*/ 3279982 h 6858000"/>
              <a:gd name="connsiteX209" fmla="*/ 6854202 w 12191999"/>
              <a:gd name="connsiteY209" fmla="*/ 3287436 h 6858000"/>
              <a:gd name="connsiteX210" fmla="*/ 6870465 w 12191999"/>
              <a:gd name="connsiteY210" fmla="*/ 3294213 h 6858000"/>
              <a:gd name="connsiteX211" fmla="*/ 6875209 w 12191999"/>
              <a:gd name="connsiteY211" fmla="*/ 3303700 h 6858000"/>
              <a:gd name="connsiteX212" fmla="*/ 6870465 w 12191999"/>
              <a:gd name="connsiteY212" fmla="*/ 3312509 h 6858000"/>
              <a:gd name="connsiteX213" fmla="*/ 6857590 w 12191999"/>
              <a:gd name="connsiteY213" fmla="*/ 3315898 h 6858000"/>
              <a:gd name="connsiteX214" fmla="*/ 6842004 w 12191999"/>
              <a:gd name="connsiteY214" fmla="*/ 3311154 h 6858000"/>
              <a:gd name="connsiteX215" fmla="*/ 6836582 w 12191999"/>
              <a:gd name="connsiteY215" fmla="*/ 3298279 h 6858000"/>
              <a:gd name="connsiteX216" fmla="*/ 6819641 w 12191999"/>
              <a:gd name="connsiteY216" fmla="*/ 3298279 h 6858000"/>
              <a:gd name="connsiteX217" fmla="*/ 6824384 w 12191999"/>
              <a:gd name="connsiteY217" fmla="*/ 3313865 h 6858000"/>
              <a:gd name="connsiteX218" fmla="*/ 6837938 w 12191999"/>
              <a:gd name="connsiteY218" fmla="*/ 3324707 h 6858000"/>
              <a:gd name="connsiteX219" fmla="*/ 6856912 w 12191999"/>
              <a:gd name="connsiteY219" fmla="*/ 3328773 h 6858000"/>
              <a:gd name="connsiteX220" fmla="*/ 6881986 w 12191999"/>
              <a:gd name="connsiteY220" fmla="*/ 3321997 h 6858000"/>
              <a:gd name="connsiteX221" fmla="*/ 6891473 w 12191999"/>
              <a:gd name="connsiteY221" fmla="*/ 3303022 h 6858000"/>
              <a:gd name="connsiteX222" fmla="*/ 6888085 w 12191999"/>
              <a:gd name="connsiteY222" fmla="*/ 3290147 h 6858000"/>
              <a:gd name="connsiteX223" fmla="*/ 6877920 w 12191999"/>
              <a:gd name="connsiteY223" fmla="*/ 3280659 h 6858000"/>
              <a:gd name="connsiteX224" fmla="*/ 6860301 w 12191999"/>
              <a:gd name="connsiteY224" fmla="*/ 3273205 h 6858000"/>
              <a:gd name="connsiteX225" fmla="*/ 6844037 w 12191999"/>
              <a:gd name="connsiteY225" fmla="*/ 3266429 h 6858000"/>
              <a:gd name="connsiteX226" fmla="*/ 6839293 w 12191999"/>
              <a:gd name="connsiteY226" fmla="*/ 3257619 h 6858000"/>
              <a:gd name="connsiteX227" fmla="*/ 6844037 w 12191999"/>
              <a:gd name="connsiteY227" fmla="*/ 3248132 h 6858000"/>
              <a:gd name="connsiteX228" fmla="*/ 6856912 w 12191999"/>
              <a:gd name="connsiteY228" fmla="*/ 3244744 h 6858000"/>
              <a:gd name="connsiteX229" fmla="*/ 6870465 w 12191999"/>
              <a:gd name="connsiteY229" fmla="*/ 3248809 h 6858000"/>
              <a:gd name="connsiteX230" fmla="*/ 6875209 w 12191999"/>
              <a:gd name="connsiteY230" fmla="*/ 3260330 h 6858000"/>
              <a:gd name="connsiteX231" fmla="*/ 6891473 w 12191999"/>
              <a:gd name="connsiteY231" fmla="*/ 3260330 h 6858000"/>
              <a:gd name="connsiteX232" fmla="*/ 6886729 w 12191999"/>
              <a:gd name="connsiteY232" fmla="*/ 3245421 h 6858000"/>
              <a:gd name="connsiteX233" fmla="*/ 6874531 w 12191999"/>
              <a:gd name="connsiteY233" fmla="*/ 3235256 h 6858000"/>
              <a:gd name="connsiteX234" fmla="*/ 6856912 w 12191999"/>
              <a:gd name="connsiteY234" fmla="*/ 3231868 h 6858000"/>
              <a:gd name="connsiteX235" fmla="*/ 6398136 w 12191999"/>
              <a:gd name="connsiteY235" fmla="*/ 3231868 h 6858000"/>
              <a:gd name="connsiteX236" fmla="*/ 6377128 w 12191999"/>
              <a:gd name="connsiteY236" fmla="*/ 3237289 h 6858000"/>
              <a:gd name="connsiteX237" fmla="*/ 6362898 w 12191999"/>
              <a:gd name="connsiteY237" fmla="*/ 3253553 h 6858000"/>
              <a:gd name="connsiteX238" fmla="*/ 6358154 w 12191999"/>
              <a:gd name="connsiteY238" fmla="*/ 3277949 h 6858000"/>
              <a:gd name="connsiteX239" fmla="*/ 6358154 w 12191999"/>
              <a:gd name="connsiteY239" fmla="*/ 3283370 h 6858000"/>
              <a:gd name="connsiteX240" fmla="*/ 6362898 w 12191999"/>
              <a:gd name="connsiteY240" fmla="*/ 3307766 h 6858000"/>
              <a:gd name="connsiteX241" fmla="*/ 6377128 w 12191999"/>
              <a:gd name="connsiteY241" fmla="*/ 3324030 h 6858000"/>
              <a:gd name="connsiteX242" fmla="*/ 6398136 w 12191999"/>
              <a:gd name="connsiteY242" fmla="*/ 3329451 h 6858000"/>
              <a:gd name="connsiteX243" fmla="*/ 6419143 w 12191999"/>
              <a:gd name="connsiteY243" fmla="*/ 3324030 h 6858000"/>
              <a:gd name="connsiteX244" fmla="*/ 6432697 w 12191999"/>
              <a:gd name="connsiteY244" fmla="*/ 3307766 h 6858000"/>
              <a:gd name="connsiteX245" fmla="*/ 6437440 w 12191999"/>
              <a:gd name="connsiteY245" fmla="*/ 3283370 h 6858000"/>
              <a:gd name="connsiteX246" fmla="*/ 6438118 w 12191999"/>
              <a:gd name="connsiteY246" fmla="*/ 3283370 h 6858000"/>
              <a:gd name="connsiteX247" fmla="*/ 6438118 w 12191999"/>
              <a:gd name="connsiteY247" fmla="*/ 3277949 h 6858000"/>
              <a:gd name="connsiteX248" fmla="*/ 6433374 w 12191999"/>
              <a:gd name="connsiteY248" fmla="*/ 3253553 h 6858000"/>
              <a:gd name="connsiteX249" fmla="*/ 6419143 w 12191999"/>
              <a:gd name="connsiteY249" fmla="*/ 3237289 h 6858000"/>
              <a:gd name="connsiteX250" fmla="*/ 6398136 w 12191999"/>
              <a:gd name="connsiteY250" fmla="*/ 3231868 h 6858000"/>
              <a:gd name="connsiteX251" fmla="*/ 4832065 w 12191999"/>
              <a:gd name="connsiteY251" fmla="*/ 3231868 h 6858000"/>
              <a:gd name="connsiteX252" fmla="*/ 4811057 w 12191999"/>
              <a:gd name="connsiteY252" fmla="*/ 3237289 h 6858000"/>
              <a:gd name="connsiteX253" fmla="*/ 4796828 w 12191999"/>
              <a:gd name="connsiteY253" fmla="*/ 3253553 h 6858000"/>
              <a:gd name="connsiteX254" fmla="*/ 4792083 w 12191999"/>
              <a:gd name="connsiteY254" fmla="*/ 3277949 h 6858000"/>
              <a:gd name="connsiteX255" fmla="*/ 4792083 w 12191999"/>
              <a:gd name="connsiteY255" fmla="*/ 3283370 h 6858000"/>
              <a:gd name="connsiteX256" fmla="*/ 4796828 w 12191999"/>
              <a:gd name="connsiteY256" fmla="*/ 3307766 h 6858000"/>
              <a:gd name="connsiteX257" fmla="*/ 4811057 w 12191999"/>
              <a:gd name="connsiteY257" fmla="*/ 3324030 h 6858000"/>
              <a:gd name="connsiteX258" fmla="*/ 4832065 w 12191999"/>
              <a:gd name="connsiteY258" fmla="*/ 3329451 h 6858000"/>
              <a:gd name="connsiteX259" fmla="*/ 4853072 w 12191999"/>
              <a:gd name="connsiteY259" fmla="*/ 3324030 h 6858000"/>
              <a:gd name="connsiteX260" fmla="*/ 4866626 w 12191999"/>
              <a:gd name="connsiteY260" fmla="*/ 3307766 h 6858000"/>
              <a:gd name="connsiteX261" fmla="*/ 4871369 w 12191999"/>
              <a:gd name="connsiteY261" fmla="*/ 3283370 h 6858000"/>
              <a:gd name="connsiteX262" fmla="*/ 4872047 w 12191999"/>
              <a:gd name="connsiteY262" fmla="*/ 3283370 h 6858000"/>
              <a:gd name="connsiteX263" fmla="*/ 4872047 w 12191999"/>
              <a:gd name="connsiteY263" fmla="*/ 3277949 h 6858000"/>
              <a:gd name="connsiteX264" fmla="*/ 4867303 w 12191999"/>
              <a:gd name="connsiteY264" fmla="*/ 3253553 h 6858000"/>
              <a:gd name="connsiteX265" fmla="*/ 4853072 w 12191999"/>
              <a:gd name="connsiteY265" fmla="*/ 3237289 h 6858000"/>
              <a:gd name="connsiteX266" fmla="*/ 4832065 w 12191999"/>
              <a:gd name="connsiteY266" fmla="*/ 3231868 h 6858000"/>
              <a:gd name="connsiteX267" fmla="*/ 6570939 w 12191999"/>
              <a:gd name="connsiteY267" fmla="*/ 3231190 h 6858000"/>
              <a:gd name="connsiteX268" fmla="*/ 6541800 w 12191999"/>
              <a:gd name="connsiteY268" fmla="*/ 3243388 h 6858000"/>
              <a:gd name="connsiteX269" fmla="*/ 6531635 w 12191999"/>
              <a:gd name="connsiteY269" fmla="*/ 3277271 h 6858000"/>
              <a:gd name="connsiteX270" fmla="*/ 6531635 w 12191999"/>
              <a:gd name="connsiteY270" fmla="*/ 3284725 h 6858000"/>
              <a:gd name="connsiteX271" fmla="*/ 6537056 w 12191999"/>
              <a:gd name="connsiteY271" fmla="*/ 3308443 h 6858000"/>
              <a:gd name="connsiteX272" fmla="*/ 6551287 w 12191999"/>
              <a:gd name="connsiteY272" fmla="*/ 3324029 h 6858000"/>
              <a:gd name="connsiteX273" fmla="*/ 6572295 w 12191999"/>
              <a:gd name="connsiteY273" fmla="*/ 3329451 h 6858000"/>
              <a:gd name="connsiteX274" fmla="*/ 6593302 w 12191999"/>
              <a:gd name="connsiteY274" fmla="*/ 3326062 h 6858000"/>
              <a:gd name="connsiteX275" fmla="*/ 6607533 w 12191999"/>
              <a:gd name="connsiteY275" fmla="*/ 3315897 h 6858000"/>
              <a:gd name="connsiteX276" fmla="*/ 6607533 w 12191999"/>
              <a:gd name="connsiteY276" fmla="*/ 3279304 h 6858000"/>
              <a:gd name="connsiteX277" fmla="*/ 6571617 w 12191999"/>
              <a:gd name="connsiteY277" fmla="*/ 3279304 h 6858000"/>
              <a:gd name="connsiteX278" fmla="*/ 6571617 w 12191999"/>
              <a:gd name="connsiteY278" fmla="*/ 3292179 h 6858000"/>
              <a:gd name="connsiteX279" fmla="*/ 6591269 w 12191999"/>
              <a:gd name="connsiteY279" fmla="*/ 3292179 h 6858000"/>
              <a:gd name="connsiteX280" fmla="*/ 6591269 w 12191999"/>
              <a:gd name="connsiteY280" fmla="*/ 3311154 h 6858000"/>
              <a:gd name="connsiteX281" fmla="*/ 6572972 w 12191999"/>
              <a:gd name="connsiteY281" fmla="*/ 3317253 h 6858000"/>
              <a:gd name="connsiteX282" fmla="*/ 6554675 w 12191999"/>
              <a:gd name="connsiteY282" fmla="*/ 3308443 h 6858000"/>
              <a:gd name="connsiteX283" fmla="*/ 6547899 w 12191999"/>
              <a:gd name="connsiteY283" fmla="*/ 3284725 h 6858000"/>
              <a:gd name="connsiteX284" fmla="*/ 6547899 w 12191999"/>
              <a:gd name="connsiteY284" fmla="*/ 3277271 h 6858000"/>
              <a:gd name="connsiteX285" fmla="*/ 6553998 w 12191999"/>
              <a:gd name="connsiteY285" fmla="*/ 3253553 h 6858000"/>
              <a:gd name="connsiteX286" fmla="*/ 6570939 w 12191999"/>
              <a:gd name="connsiteY286" fmla="*/ 3245421 h 6858000"/>
              <a:gd name="connsiteX287" fmla="*/ 6591269 w 12191999"/>
              <a:gd name="connsiteY287" fmla="*/ 3262362 h 6858000"/>
              <a:gd name="connsiteX288" fmla="*/ 6607533 w 12191999"/>
              <a:gd name="connsiteY288" fmla="*/ 3262362 h 6858000"/>
              <a:gd name="connsiteX289" fmla="*/ 6596013 w 12191999"/>
              <a:gd name="connsiteY289" fmla="*/ 3239322 h 6858000"/>
              <a:gd name="connsiteX290" fmla="*/ 6570939 w 12191999"/>
              <a:gd name="connsiteY290" fmla="*/ 3231190 h 6858000"/>
              <a:gd name="connsiteX291" fmla="*/ 6488943 w 12191999"/>
              <a:gd name="connsiteY291" fmla="*/ 3019083 h 6858000"/>
              <a:gd name="connsiteX292" fmla="*/ 6550610 w 12191999"/>
              <a:gd name="connsiteY292" fmla="*/ 3019083 h 6858000"/>
              <a:gd name="connsiteX293" fmla="*/ 6550610 w 12191999"/>
              <a:gd name="connsiteY293" fmla="*/ 3076006 h 6858000"/>
              <a:gd name="connsiteX294" fmla="*/ 6488943 w 12191999"/>
              <a:gd name="connsiteY294" fmla="*/ 3076006 h 6858000"/>
              <a:gd name="connsiteX295" fmla="*/ 6476745 w 12191999"/>
              <a:gd name="connsiteY295" fmla="*/ 3063808 h 6858000"/>
              <a:gd name="connsiteX296" fmla="*/ 6476745 w 12191999"/>
              <a:gd name="connsiteY296" fmla="*/ 3031281 h 6858000"/>
              <a:gd name="connsiteX297" fmla="*/ 6488943 w 12191999"/>
              <a:gd name="connsiteY297" fmla="*/ 3019083 h 6858000"/>
              <a:gd name="connsiteX298" fmla="*/ 5127526 w 12191999"/>
              <a:gd name="connsiteY298" fmla="*/ 2880163 h 6858000"/>
              <a:gd name="connsiteX299" fmla="*/ 5176316 w 12191999"/>
              <a:gd name="connsiteY299" fmla="*/ 2880163 h 6858000"/>
              <a:gd name="connsiteX300" fmla="*/ 5188515 w 12191999"/>
              <a:gd name="connsiteY300" fmla="*/ 2892361 h 6858000"/>
              <a:gd name="connsiteX301" fmla="*/ 5188515 w 12191999"/>
              <a:gd name="connsiteY301" fmla="*/ 2937764 h 6858000"/>
              <a:gd name="connsiteX302" fmla="*/ 5115327 w 12191999"/>
              <a:gd name="connsiteY302" fmla="*/ 2937764 h 6858000"/>
              <a:gd name="connsiteX303" fmla="*/ 5115327 w 12191999"/>
              <a:gd name="connsiteY303" fmla="*/ 2892361 h 6858000"/>
              <a:gd name="connsiteX304" fmla="*/ 5127526 w 12191999"/>
              <a:gd name="connsiteY304" fmla="*/ 2880163 h 6858000"/>
              <a:gd name="connsiteX305" fmla="*/ 7131364 w 12191999"/>
              <a:gd name="connsiteY305" fmla="*/ 2798166 h 6858000"/>
              <a:gd name="connsiteX306" fmla="*/ 7131364 w 12191999"/>
              <a:gd name="connsiteY306" fmla="*/ 3158003 h 6858000"/>
              <a:gd name="connsiteX307" fmla="*/ 7262152 w 12191999"/>
              <a:gd name="connsiteY307" fmla="*/ 3158003 h 6858000"/>
              <a:gd name="connsiteX308" fmla="*/ 7262830 w 12191999"/>
              <a:gd name="connsiteY308" fmla="*/ 2879485 h 6858000"/>
              <a:gd name="connsiteX309" fmla="*/ 7291292 w 12191999"/>
              <a:gd name="connsiteY309" fmla="*/ 2879485 h 6858000"/>
              <a:gd name="connsiteX310" fmla="*/ 7310944 w 12191999"/>
              <a:gd name="connsiteY310" fmla="*/ 2904558 h 6858000"/>
              <a:gd name="connsiteX311" fmla="*/ 7369223 w 12191999"/>
              <a:gd name="connsiteY311" fmla="*/ 3158003 h 6858000"/>
              <a:gd name="connsiteX312" fmla="*/ 7503399 w 12191999"/>
              <a:gd name="connsiteY312" fmla="*/ 3158003 h 6858000"/>
              <a:gd name="connsiteX313" fmla="*/ 7429534 w 12191999"/>
              <a:gd name="connsiteY313" fmla="*/ 2838826 h 6858000"/>
              <a:gd name="connsiteX314" fmla="*/ 7377354 w 12191999"/>
              <a:gd name="connsiteY314" fmla="*/ 2798166 h 6858000"/>
              <a:gd name="connsiteX315" fmla="*/ 7131364 w 12191999"/>
              <a:gd name="connsiteY315" fmla="*/ 2798166 h 6858000"/>
              <a:gd name="connsiteX316" fmla="*/ 6736966 w 12191999"/>
              <a:gd name="connsiteY316" fmla="*/ 2798166 h 6858000"/>
              <a:gd name="connsiteX317" fmla="*/ 6736966 w 12191999"/>
              <a:gd name="connsiteY317" fmla="*/ 3158003 h 6858000"/>
              <a:gd name="connsiteX318" fmla="*/ 6867754 w 12191999"/>
              <a:gd name="connsiteY318" fmla="*/ 3158003 h 6858000"/>
              <a:gd name="connsiteX319" fmla="*/ 6868432 w 12191999"/>
              <a:gd name="connsiteY319" fmla="*/ 3158003 h 6858000"/>
              <a:gd name="connsiteX320" fmla="*/ 6868432 w 12191999"/>
              <a:gd name="connsiteY320" fmla="*/ 2879485 h 6858000"/>
              <a:gd name="connsiteX321" fmla="*/ 6896894 w 12191999"/>
              <a:gd name="connsiteY321" fmla="*/ 2879485 h 6858000"/>
              <a:gd name="connsiteX322" fmla="*/ 6916546 w 12191999"/>
              <a:gd name="connsiteY322" fmla="*/ 2904558 h 6858000"/>
              <a:gd name="connsiteX323" fmla="*/ 6974825 w 12191999"/>
              <a:gd name="connsiteY323" fmla="*/ 3158003 h 6858000"/>
              <a:gd name="connsiteX324" fmla="*/ 7109001 w 12191999"/>
              <a:gd name="connsiteY324" fmla="*/ 3158003 h 6858000"/>
              <a:gd name="connsiteX325" fmla="*/ 7035136 w 12191999"/>
              <a:gd name="connsiteY325" fmla="*/ 2838826 h 6858000"/>
              <a:gd name="connsiteX326" fmla="*/ 6982957 w 12191999"/>
              <a:gd name="connsiteY326" fmla="*/ 2798166 h 6858000"/>
              <a:gd name="connsiteX327" fmla="*/ 6736966 w 12191999"/>
              <a:gd name="connsiteY327" fmla="*/ 2798166 h 6858000"/>
              <a:gd name="connsiteX328" fmla="*/ 6387294 w 12191999"/>
              <a:gd name="connsiteY328" fmla="*/ 2798166 h 6858000"/>
              <a:gd name="connsiteX329" fmla="*/ 6346634 w 12191999"/>
              <a:gd name="connsiteY329" fmla="*/ 2838826 h 6858000"/>
              <a:gd name="connsiteX330" fmla="*/ 6346634 w 12191999"/>
              <a:gd name="connsiteY330" fmla="*/ 2880840 h 6858000"/>
              <a:gd name="connsiteX331" fmla="*/ 6539090 w 12191999"/>
              <a:gd name="connsiteY331" fmla="*/ 2880840 h 6858000"/>
              <a:gd name="connsiteX332" fmla="*/ 6551287 w 12191999"/>
              <a:gd name="connsiteY332" fmla="*/ 2893038 h 6858000"/>
              <a:gd name="connsiteX333" fmla="*/ 6551287 w 12191999"/>
              <a:gd name="connsiteY333" fmla="*/ 2937764 h 6858000"/>
              <a:gd name="connsiteX334" fmla="*/ 6387294 w 12191999"/>
              <a:gd name="connsiteY334" fmla="*/ 2937764 h 6858000"/>
              <a:gd name="connsiteX335" fmla="*/ 6346634 w 12191999"/>
              <a:gd name="connsiteY335" fmla="*/ 2978423 h 6858000"/>
              <a:gd name="connsiteX336" fmla="*/ 6346634 w 12191999"/>
              <a:gd name="connsiteY336" fmla="*/ 3117343 h 6858000"/>
              <a:gd name="connsiteX337" fmla="*/ 6387294 w 12191999"/>
              <a:gd name="connsiteY337" fmla="*/ 3158003 h 6858000"/>
              <a:gd name="connsiteX338" fmla="*/ 6681398 w 12191999"/>
              <a:gd name="connsiteY338" fmla="*/ 3158003 h 6858000"/>
              <a:gd name="connsiteX339" fmla="*/ 6681398 w 12191999"/>
              <a:gd name="connsiteY339" fmla="*/ 2838826 h 6858000"/>
              <a:gd name="connsiteX340" fmla="*/ 6640738 w 12191999"/>
              <a:gd name="connsiteY340" fmla="*/ 2798166 h 6858000"/>
              <a:gd name="connsiteX341" fmla="*/ 5746228 w 12191999"/>
              <a:gd name="connsiteY341" fmla="*/ 2798166 h 6858000"/>
              <a:gd name="connsiteX342" fmla="*/ 5746228 w 12191999"/>
              <a:gd name="connsiteY342" fmla="*/ 3158003 h 6858000"/>
              <a:gd name="connsiteX343" fmla="*/ 5877016 w 12191999"/>
              <a:gd name="connsiteY343" fmla="*/ 3158003 h 6858000"/>
              <a:gd name="connsiteX344" fmla="*/ 5877016 w 12191999"/>
              <a:gd name="connsiteY344" fmla="*/ 2880163 h 6858000"/>
              <a:gd name="connsiteX345" fmla="*/ 5950881 w 12191999"/>
              <a:gd name="connsiteY345" fmla="*/ 2880163 h 6858000"/>
              <a:gd name="connsiteX346" fmla="*/ 5951559 w 12191999"/>
              <a:gd name="connsiteY346" fmla="*/ 3158003 h 6858000"/>
              <a:gd name="connsiteX347" fmla="*/ 6082347 w 12191999"/>
              <a:gd name="connsiteY347" fmla="*/ 3158003 h 6858000"/>
              <a:gd name="connsiteX348" fmla="*/ 6082347 w 12191999"/>
              <a:gd name="connsiteY348" fmla="*/ 2880163 h 6858000"/>
              <a:gd name="connsiteX349" fmla="*/ 6110809 w 12191999"/>
              <a:gd name="connsiteY349" fmla="*/ 2880163 h 6858000"/>
              <a:gd name="connsiteX350" fmla="*/ 6130461 w 12191999"/>
              <a:gd name="connsiteY350" fmla="*/ 2905236 h 6858000"/>
              <a:gd name="connsiteX351" fmla="*/ 6188062 w 12191999"/>
              <a:gd name="connsiteY351" fmla="*/ 3158003 h 6858000"/>
              <a:gd name="connsiteX352" fmla="*/ 6322239 w 12191999"/>
              <a:gd name="connsiteY352" fmla="*/ 3158003 h 6858000"/>
              <a:gd name="connsiteX353" fmla="*/ 6248374 w 12191999"/>
              <a:gd name="connsiteY353" fmla="*/ 2838826 h 6858000"/>
              <a:gd name="connsiteX354" fmla="*/ 6196194 w 12191999"/>
              <a:gd name="connsiteY354" fmla="*/ 2798166 h 6858000"/>
              <a:gd name="connsiteX355" fmla="*/ 5746228 w 12191999"/>
              <a:gd name="connsiteY355" fmla="*/ 2798166 h 6858000"/>
              <a:gd name="connsiteX356" fmla="*/ 5025876 w 12191999"/>
              <a:gd name="connsiteY356" fmla="*/ 2798166 h 6858000"/>
              <a:gd name="connsiteX357" fmla="*/ 4985216 w 12191999"/>
              <a:gd name="connsiteY357" fmla="*/ 2838826 h 6858000"/>
              <a:gd name="connsiteX358" fmla="*/ 4985216 w 12191999"/>
              <a:gd name="connsiteY358" fmla="*/ 3117343 h 6858000"/>
              <a:gd name="connsiteX359" fmla="*/ 5025876 w 12191999"/>
              <a:gd name="connsiteY359" fmla="*/ 3158003 h 6858000"/>
              <a:gd name="connsiteX360" fmla="*/ 5279320 w 12191999"/>
              <a:gd name="connsiteY360" fmla="*/ 3158003 h 6858000"/>
              <a:gd name="connsiteX361" fmla="*/ 5319981 w 12191999"/>
              <a:gd name="connsiteY361" fmla="*/ 3117343 h 6858000"/>
              <a:gd name="connsiteX362" fmla="*/ 5319981 w 12191999"/>
              <a:gd name="connsiteY362" fmla="*/ 3076684 h 6858000"/>
              <a:gd name="connsiteX363" fmla="*/ 5127526 w 12191999"/>
              <a:gd name="connsiteY363" fmla="*/ 3076684 h 6858000"/>
              <a:gd name="connsiteX364" fmla="*/ 5115327 w 12191999"/>
              <a:gd name="connsiteY364" fmla="*/ 3064486 h 6858000"/>
              <a:gd name="connsiteX365" fmla="*/ 5115327 w 12191999"/>
              <a:gd name="connsiteY365" fmla="*/ 3019761 h 6858000"/>
              <a:gd name="connsiteX366" fmla="*/ 5319981 w 12191999"/>
              <a:gd name="connsiteY366" fmla="*/ 3019761 h 6858000"/>
              <a:gd name="connsiteX367" fmla="*/ 5319981 w 12191999"/>
              <a:gd name="connsiteY367" fmla="*/ 2838826 h 6858000"/>
              <a:gd name="connsiteX368" fmla="*/ 5279320 w 12191999"/>
              <a:gd name="connsiteY368" fmla="*/ 2798166 h 6858000"/>
              <a:gd name="connsiteX369" fmla="*/ 5561227 w 12191999"/>
              <a:gd name="connsiteY369" fmla="*/ 2651114 h 6858000"/>
              <a:gd name="connsiteX370" fmla="*/ 5560549 w 12191999"/>
              <a:gd name="connsiteY370" fmla="*/ 3158003 h 6858000"/>
              <a:gd name="connsiteX371" fmla="*/ 5692015 w 12191999"/>
              <a:gd name="connsiteY371" fmla="*/ 3158003 h 6858000"/>
              <a:gd name="connsiteX372" fmla="*/ 5692015 w 12191999"/>
              <a:gd name="connsiteY372" fmla="*/ 2651114 h 6858000"/>
              <a:gd name="connsiteX373" fmla="*/ 5374870 w 12191999"/>
              <a:gd name="connsiteY373" fmla="*/ 2651114 h 6858000"/>
              <a:gd name="connsiteX374" fmla="*/ 5374870 w 12191999"/>
              <a:gd name="connsiteY374" fmla="*/ 3158003 h 6858000"/>
              <a:gd name="connsiteX375" fmla="*/ 5505658 w 12191999"/>
              <a:gd name="connsiteY375" fmla="*/ 3158003 h 6858000"/>
              <a:gd name="connsiteX376" fmla="*/ 5505658 w 12191999"/>
              <a:gd name="connsiteY376" fmla="*/ 2651114 h 6858000"/>
              <a:gd name="connsiteX377" fmla="*/ 4589463 w 12191999"/>
              <a:gd name="connsiteY377" fmla="*/ 2650436 h 6858000"/>
              <a:gd name="connsiteX378" fmla="*/ 4589463 w 12191999"/>
              <a:gd name="connsiteY378" fmla="*/ 3158003 h 6858000"/>
              <a:gd name="connsiteX379" fmla="*/ 4720251 w 12191999"/>
              <a:gd name="connsiteY379" fmla="*/ 3158003 h 6858000"/>
              <a:gd name="connsiteX380" fmla="*/ 4720929 w 12191999"/>
              <a:gd name="connsiteY380" fmla="*/ 2878807 h 6858000"/>
              <a:gd name="connsiteX381" fmla="*/ 4749391 w 12191999"/>
              <a:gd name="connsiteY381" fmla="*/ 2878807 h 6858000"/>
              <a:gd name="connsiteX382" fmla="*/ 4769043 w 12191999"/>
              <a:gd name="connsiteY382" fmla="*/ 2903881 h 6858000"/>
              <a:gd name="connsiteX383" fmla="*/ 4827322 w 12191999"/>
              <a:gd name="connsiteY383" fmla="*/ 3157325 h 6858000"/>
              <a:gd name="connsiteX384" fmla="*/ 4961498 w 12191999"/>
              <a:gd name="connsiteY384" fmla="*/ 3157325 h 6858000"/>
              <a:gd name="connsiteX385" fmla="*/ 4887633 w 12191999"/>
              <a:gd name="connsiteY385" fmla="*/ 2838148 h 6858000"/>
              <a:gd name="connsiteX386" fmla="*/ 4835453 w 12191999"/>
              <a:gd name="connsiteY386" fmla="*/ 2797488 h 6858000"/>
              <a:gd name="connsiteX387" fmla="*/ 4720929 w 12191999"/>
              <a:gd name="connsiteY387" fmla="*/ 2797488 h 6858000"/>
              <a:gd name="connsiteX388" fmla="*/ 4720251 w 12191999"/>
              <a:gd name="connsiteY388" fmla="*/ 2650436 h 6858000"/>
              <a:gd name="connsiteX389" fmla="*/ 7537283 w 12191999"/>
              <a:gd name="connsiteY389" fmla="*/ 2567085 h 6858000"/>
              <a:gd name="connsiteX390" fmla="*/ 7647741 w 12191999"/>
              <a:gd name="connsiteY390" fmla="*/ 2678221 h 6858000"/>
              <a:gd name="connsiteX391" fmla="*/ 7535927 w 12191999"/>
              <a:gd name="connsiteY391" fmla="*/ 2790712 h 6858000"/>
              <a:gd name="connsiteX392" fmla="*/ 7480359 w 12191999"/>
              <a:gd name="connsiteY392" fmla="*/ 2775804 h 6858000"/>
              <a:gd name="connsiteX393" fmla="*/ 7502722 w 12191999"/>
              <a:gd name="connsiteY393" fmla="*/ 2773093 h 6858000"/>
              <a:gd name="connsiteX394" fmla="*/ 7524407 w 12191999"/>
              <a:gd name="connsiteY394" fmla="*/ 2765639 h 6858000"/>
              <a:gd name="connsiteX395" fmla="*/ 7550836 w 12191999"/>
              <a:gd name="connsiteY395" fmla="*/ 2748020 h 6858000"/>
              <a:gd name="connsiteX396" fmla="*/ 7569810 w 12191999"/>
              <a:gd name="connsiteY396" fmla="*/ 2731078 h 6858000"/>
              <a:gd name="connsiteX397" fmla="*/ 7592851 w 12191999"/>
              <a:gd name="connsiteY397" fmla="*/ 2718203 h 6858000"/>
              <a:gd name="connsiteX398" fmla="*/ 7601660 w 12191999"/>
              <a:gd name="connsiteY398" fmla="*/ 2716170 h 6858000"/>
              <a:gd name="connsiteX399" fmla="*/ 7617924 w 12191999"/>
              <a:gd name="connsiteY399" fmla="*/ 2712104 h 6858000"/>
              <a:gd name="connsiteX400" fmla="*/ 7630122 w 12191999"/>
              <a:gd name="connsiteY400" fmla="*/ 2708716 h 6858000"/>
              <a:gd name="connsiteX401" fmla="*/ 7631477 w 12191999"/>
              <a:gd name="connsiteY401" fmla="*/ 2707360 h 6858000"/>
              <a:gd name="connsiteX402" fmla="*/ 7629444 w 12191999"/>
              <a:gd name="connsiteY402" fmla="*/ 2706005 h 6858000"/>
              <a:gd name="connsiteX403" fmla="*/ 7613858 w 12191999"/>
              <a:gd name="connsiteY403" fmla="*/ 2700584 h 6858000"/>
              <a:gd name="connsiteX404" fmla="*/ 7603693 w 12191999"/>
              <a:gd name="connsiteY404" fmla="*/ 2700584 h 6858000"/>
              <a:gd name="connsiteX405" fmla="*/ 7590140 w 12191999"/>
              <a:gd name="connsiteY405" fmla="*/ 2708038 h 6858000"/>
              <a:gd name="connsiteX406" fmla="*/ 7568455 w 12191999"/>
              <a:gd name="connsiteY406" fmla="*/ 2720913 h 6858000"/>
              <a:gd name="connsiteX407" fmla="*/ 7550836 w 12191999"/>
              <a:gd name="connsiteY407" fmla="*/ 2725657 h 6858000"/>
              <a:gd name="connsiteX408" fmla="*/ 7546092 w 12191999"/>
              <a:gd name="connsiteY408" fmla="*/ 2725657 h 6858000"/>
              <a:gd name="connsiteX409" fmla="*/ 7560323 w 12191999"/>
              <a:gd name="connsiteY409" fmla="*/ 2714137 h 6858000"/>
              <a:gd name="connsiteX410" fmla="*/ 7569810 w 12191999"/>
              <a:gd name="connsiteY410" fmla="*/ 2702617 h 6858000"/>
              <a:gd name="connsiteX411" fmla="*/ 7586752 w 12191999"/>
              <a:gd name="connsiteY411" fmla="*/ 2690419 h 6858000"/>
              <a:gd name="connsiteX412" fmla="*/ 7600983 w 12191999"/>
              <a:gd name="connsiteY412" fmla="*/ 2682287 h 6858000"/>
              <a:gd name="connsiteX413" fmla="*/ 7609792 w 12191999"/>
              <a:gd name="connsiteY413" fmla="*/ 2678899 h 6858000"/>
              <a:gd name="connsiteX414" fmla="*/ 7615891 w 12191999"/>
              <a:gd name="connsiteY414" fmla="*/ 2678221 h 6858000"/>
              <a:gd name="connsiteX415" fmla="*/ 7632833 w 12191999"/>
              <a:gd name="connsiteY415" fmla="*/ 2672122 h 6858000"/>
              <a:gd name="connsiteX416" fmla="*/ 7640287 w 12191999"/>
              <a:gd name="connsiteY416" fmla="*/ 2670089 h 6858000"/>
              <a:gd name="connsiteX417" fmla="*/ 7640964 w 12191999"/>
              <a:gd name="connsiteY417" fmla="*/ 2668734 h 6858000"/>
              <a:gd name="connsiteX418" fmla="*/ 7640287 w 12191999"/>
              <a:gd name="connsiteY418" fmla="*/ 2668056 h 6858000"/>
              <a:gd name="connsiteX419" fmla="*/ 7621312 w 12191999"/>
              <a:gd name="connsiteY419" fmla="*/ 2663312 h 6858000"/>
              <a:gd name="connsiteX420" fmla="*/ 7605726 w 12191999"/>
              <a:gd name="connsiteY420" fmla="*/ 2665345 h 6858000"/>
              <a:gd name="connsiteX421" fmla="*/ 7592173 w 12191999"/>
              <a:gd name="connsiteY421" fmla="*/ 2675510 h 6858000"/>
              <a:gd name="connsiteX422" fmla="*/ 7588107 w 12191999"/>
              <a:gd name="connsiteY422" fmla="*/ 2678221 h 6858000"/>
              <a:gd name="connsiteX423" fmla="*/ 7570488 w 12191999"/>
              <a:gd name="connsiteY423" fmla="*/ 2687031 h 6858000"/>
              <a:gd name="connsiteX424" fmla="*/ 7552191 w 12191999"/>
              <a:gd name="connsiteY424" fmla="*/ 2689741 h 6858000"/>
              <a:gd name="connsiteX425" fmla="*/ 7546770 w 12191999"/>
              <a:gd name="connsiteY425" fmla="*/ 2686353 h 6858000"/>
              <a:gd name="connsiteX426" fmla="*/ 7544737 w 12191999"/>
              <a:gd name="connsiteY426" fmla="*/ 2678221 h 6858000"/>
              <a:gd name="connsiteX427" fmla="*/ 7544059 w 12191999"/>
              <a:gd name="connsiteY427" fmla="*/ 2672800 h 6858000"/>
              <a:gd name="connsiteX428" fmla="*/ 7544737 w 12191999"/>
              <a:gd name="connsiteY428" fmla="*/ 2657214 h 6858000"/>
              <a:gd name="connsiteX429" fmla="*/ 7546092 w 12191999"/>
              <a:gd name="connsiteY429" fmla="*/ 2642983 h 6858000"/>
              <a:gd name="connsiteX430" fmla="*/ 7526440 w 12191999"/>
              <a:gd name="connsiteY430" fmla="*/ 2623331 h 6858000"/>
              <a:gd name="connsiteX431" fmla="*/ 7493235 w 12191999"/>
              <a:gd name="connsiteY431" fmla="*/ 2584704 h 6858000"/>
              <a:gd name="connsiteX432" fmla="*/ 7491202 w 12191999"/>
              <a:gd name="connsiteY432" fmla="*/ 2581316 h 6858000"/>
              <a:gd name="connsiteX433" fmla="*/ 7489169 w 12191999"/>
              <a:gd name="connsiteY433" fmla="*/ 2582671 h 6858000"/>
              <a:gd name="connsiteX434" fmla="*/ 7483070 w 12191999"/>
              <a:gd name="connsiteY434" fmla="*/ 2608422 h 6858000"/>
              <a:gd name="connsiteX435" fmla="*/ 7495945 w 12191999"/>
              <a:gd name="connsiteY435" fmla="*/ 2633495 h 6858000"/>
              <a:gd name="connsiteX436" fmla="*/ 7505433 w 12191999"/>
              <a:gd name="connsiteY436" fmla="*/ 2647049 h 6858000"/>
              <a:gd name="connsiteX437" fmla="*/ 7507466 w 12191999"/>
              <a:gd name="connsiteY437" fmla="*/ 2659924 h 6858000"/>
              <a:gd name="connsiteX438" fmla="*/ 7497301 w 12191999"/>
              <a:gd name="connsiteY438" fmla="*/ 2652470 h 6858000"/>
              <a:gd name="connsiteX439" fmla="*/ 7487136 w 12191999"/>
              <a:gd name="connsiteY439" fmla="*/ 2645016 h 6858000"/>
              <a:gd name="connsiteX440" fmla="*/ 7466128 w 12191999"/>
              <a:gd name="connsiteY440" fmla="*/ 2626719 h 6858000"/>
              <a:gd name="connsiteX441" fmla="*/ 7464773 w 12191999"/>
              <a:gd name="connsiteY441" fmla="*/ 2626719 h 6858000"/>
              <a:gd name="connsiteX442" fmla="*/ 7463418 w 12191999"/>
              <a:gd name="connsiteY442" fmla="*/ 2629429 h 6858000"/>
              <a:gd name="connsiteX443" fmla="*/ 7467484 w 12191999"/>
              <a:gd name="connsiteY443" fmla="*/ 2661957 h 6858000"/>
              <a:gd name="connsiteX444" fmla="*/ 7480359 w 12191999"/>
              <a:gd name="connsiteY444" fmla="*/ 2676866 h 6858000"/>
              <a:gd name="connsiteX445" fmla="*/ 7489846 w 12191999"/>
              <a:gd name="connsiteY445" fmla="*/ 2685675 h 6858000"/>
              <a:gd name="connsiteX446" fmla="*/ 7496623 w 12191999"/>
              <a:gd name="connsiteY446" fmla="*/ 2695840 h 6858000"/>
              <a:gd name="connsiteX447" fmla="*/ 7493912 w 12191999"/>
              <a:gd name="connsiteY447" fmla="*/ 2708716 h 6858000"/>
              <a:gd name="connsiteX448" fmla="*/ 7487814 w 12191999"/>
              <a:gd name="connsiteY448" fmla="*/ 2717525 h 6858000"/>
              <a:gd name="connsiteX449" fmla="*/ 7472905 w 12191999"/>
              <a:gd name="connsiteY449" fmla="*/ 2718880 h 6858000"/>
              <a:gd name="connsiteX450" fmla="*/ 7466128 w 12191999"/>
              <a:gd name="connsiteY450" fmla="*/ 2724979 h 6858000"/>
              <a:gd name="connsiteX451" fmla="*/ 7462740 w 12191999"/>
              <a:gd name="connsiteY451" fmla="*/ 2735822 h 6858000"/>
              <a:gd name="connsiteX452" fmla="*/ 7466806 w 12191999"/>
              <a:gd name="connsiteY452" fmla="*/ 2746665 h 6858000"/>
              <a:gd name="connsiteX453" fmla="*/ 7469517 w 12191999"/>
              <a:gd name="connsiteY453" fmla="*/ 2748697 h 6858000"/>
              <a:gd name="connsiteX454" fmla="*/ 7475616 w 12191999"/>
              <a:gd name="connsiteY454" fmla="*/ 2745987 h 6858000"/>
              <a:gd name="connsiteX455" fmla="*/ 7499334 w 12191999"/>
              <a:gd name="connsiteY455" fmla="*/ 2732434 h 6858000"/>
              <a:gd name="connsiteX456" fmla="*/ 7487136 w 12191999"/>
              <a:gd name="connsiteY456" fmla="*/ 2743954 h 6858000"/>
              <a:gd name="connsiteX457" fmla="*/ 7460029 w 12191999"/>
              <a:gd name="connsiteY457" fmla="*/ 2755474 h 6858000"/>
              <a:gd name="connsiteX458" fmla="*/ 7455963 w 12191999"/>
              <a:gd name="connsiteY458" fmla="*/ 2754119 h 6858000"/>
              <a:gd name="connsiteX459" fmla="*/ 7426146 w 12191999"/>
              <a:gd name="connsiteY459" fmla="*/ 2678221 h 6858000"/>
              <a:gd name="connsiteX460" fmla="*/ 7537283 w 12191999"/>
              <a:gd name="connsiteY460" fmla="*/ 2567085 h 6858000"/>
              <a:gd name="connsiteX461" fmla="*/ 7535927 w 12191999"/>
              <a:gd name="connsiteY461" fmla="*/ 2552854 h 6858000"/>
              <a:gd name="connsiteX462" fmla="*/ 7409205 w 12191999"/>
              <a:gd name="connsiteY462" fmla="*/ 2679576 h 6858000"/>
              <a:gd name="connsiteX463" fmla="*/ 7535927 w 12191999"/>
              <a:gd name="connsiteY463" fmla="*/ 2806299 h 6858000"/>
              <a:gd name="connsiteX464" fmla="*/ 7662650 w 12191999"/>
              <a:gd name="connsiteY464" fmla="*/ 2679576 h 6858000"/>
              <a:gd name="connsiteX465" fmla="*/ 7535927 w 12191999"/>
              <a:gd name="connsiteY465" fmla="*/ 2552854 h 6858000"/>
              <a:gd name="connsiteX466" fmla="*/ 0 w 12191999"/>
              <a:gd name="connsiteY466" fmla="*/ 0 h 6858000"/>
              <a:gd name="connsiteX467" fmla="*/ 12191999 w 12191999"/>
              <a:gd name="connsiteY467" fmla="*/ 0 h 6858000"/>
              <a:gd name="connsiteX468" fmla="*/ 12191999 w 12191999"/>
              <a:gd name="connsiteY468" fmla="*/ 6858000 h 6858000"/>
              <a:gd name="connsiteX469" fmla="*/ 0 w 12191999"/>
              <a:gd name="connsiteY46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Lst>
            <a:rect l="l" t="t" r="r" b="b"/>
            <a:pathLst>
              <a:path w="12191999" h="6858000">
                <a:moveTo>
                  <a:pt x="5788920" y="3246099"/>
                </a:moveTo>
                <a:lnTo>
                  <a:pt x="5801118" y="3246099"/>
                </a:lnTo>
                <a:cubicBezTo>
                  <a:pt x="5809927" y="3246099"/>
                  <a:pt x="5816026" y="3248810"/>
                  <a:pt x="5820770" y="3254231"/>
                </a:cubicBezTo>
                <a:cubicBezTo>
                  <a:pt x="5825513" y="3259652"/>
                  <a:pt x="5827546" y="3267784"/>
                  <a:pt x="5827546" y="3277949"/>
                </a:cubicBezTo>
                <a:lnTo>
                  <a:pt x="5827546" y="3283370"/>
                </a:lnTo>
                <a:cubicBezTo>
                  <a:pt x="5826869" y="3293535"/>
                  <a:pt x="5824836" y="3301667"/>
                  <a:pt x="5820092" y="3307089"/>
                </a:cubicBezTo>
                <a:cubicBezTo>
                  <a:pt x="5815348" y="3312510"/>
                  <a:pt x="5808572" y="3315220"/>
                  <a:pt x="5799762" y="3315220"/>
                </a:cubicBezTo>
                <a:lnTo>
                  <a:pt x="5788920" y="3315220"/>
                </a:lnTo>
                <a:close/>
                <a:moveTo>
                  <a:pt x="5303038" y="3246099"/>
                </a:moveTo>
                <a:lnTo>
                  <a:pt x="5315236" y="3246099"/>
                </a:lnTo>
                <a:cubicBezTo>
                  <a:pt x="5324045" y="3246099"/>
                  <a:pt x="5330144" y="3248810"/>
                  <a:pt x="5334888" y="3254231"/>
                </a:cubicBezTo>
                <a:cubicBezTo>
                  <a:pt x="5339631" y="3259652"/>
                  <a:pt x="5341664" y="3267784"/>
                  <a:pt x="5341664" y="3277949"/>
                </a:cubicBezTo>
                <a:lnTo>
                  <a:pt x="5341664" y="3283370"/>
                </a:lnTo>
                <a:cubicBezTo>
                  <a:pt x="5340987" y="3293535"/>
                  <a:pt x="5338954" y="3301667"/>
                  <a:pt x="5334210" y="3307089"/>
                </a:cubicBezTo>
                <a:cubicBezTo>
                  <a:pt x="5329467" y="3312510"/>
                  <a:pt x="5322690" y="3315220"/>
                  <a:pt x="5313880" y="3315220"/>
                </a:cubicBezTo>
                <a:lnTo>
                  <a:pt x="5303038" y="3315220"/>
                </a:lnTo>
                <a:close/>
                <a:moveTo>
                  <a:pt x="4985215" y="3246099"/>
                </a:moveTo>
                <a:lnTo>
                  <a:pt x="5002835" y="3246099"/>
                </a:lnTo>
                <a:cubicBezTo>
                  <a:pt x="5008256" y="3246099"/>
                  <a:pt x="5013000" y="3246777"/>
                  <a:pt x="5015710" y="3250165"/>
                </a:cubicBezTo>
                <a:cubicBezTo>
                  <a:pt x="5018421" y="3253553"/>
                  <a:pt x="5019776" y="3256942"/>
                  <a:pt x="5019776" y="3262363"/>
                </a:cubicBezTo>
                <a:cubicBezTo>
                  <a:pt x="5019776" y="3267107"/>
                  <a:pt x="5018421" y="3271173"/>
                  <a:pt x="5015033" y="3273883"/>
                </a:cubicBezTo>
                <a:cubicBezTo>
                  <a:pt x="5012322" y="3276594"/>
                  <a:pt x="5007578" y="3277949"/>
                  <a:pt x="5002157" y="3277949"/>
                </a:cubicBezTo>
                <a:lnTo>
                  <a:pt x="4985215" y="3277949"/>
                </a:lnTo>
                <a:close/>
                <a:moveTo>
                  <a:pt x="6397458" y="3245421"/>
                </a:moveTo>
                <a:cubicBezTo>
                  <a:pt x="6404912" y="3245421"/>
                  <a:pt x="6410334" y="3248132"/>
                  <a:pt x="6414400" y="3253553"/>
                </a:cubicBezTo>
                <a:cubicBezTo>
                  <a:pt x="6418466" y="3258974"/>
                  <a:pt x="6420499" y="3267106"/>
                  <a:pt x="6420499" y="3277949"/>
                </a:cubicBezTo>
                <a:lnTo>
                  <a:pt x="6420499" y="3283370"/>
                </a:lnTo>
                <a:cubicBezTo>
                  <a:pt x="6420499" y="3294213"/>
                  <a:pt x="6418466" y="3302345"/>
                  <a:pt x="6414400" y="3307766"/>
                </a:cubicBezTo>
                <a:cubicBezTo>
                  <a:pt x="6410334" y="3313187"/>
                  <a:pt x="6404912" y="3315898"/>
                  <a:pt x="6397458" y="3315898"/>
                </a:cubicBezTo>
                <a:cubicBezTo>
                  <a:pt x="6390004" y="3315898"/>
                  <a:pt x="6384583" y="3312509"/>
                  <a:pt x="6380517" y="3307088"/>
                </a:cubicBezTo>
                <a:cubicBezTo>
                  <a:pt x="6376451" y="3300989"/>
                  <a:pt x="6374418" y="3293535"/>
                  <a:pt x="6374418" y="3282692"/>
                </a:cubicBezTo>
                <a:lnTo>
                  <a:pt x="6374418" y="3277271"/>
                </a:lnTo>
                <a:cubicBezTo>
                  <a:pt x="6374418" y="3267106"/>
                  <a:pt x="6376451" y="3258974"/>
                  <a:pt x="6380517" y="3253553"/>
                </a:cubicBezTo>
                <a:cubicBezTo>
                  <a:pt x="6384583" y="3248132"/>
                  <a:pt x="6390004" y="3245421"/>
                  <a:pt x="6397458" y="3245421"/>
                </a:cubicBezTo>
                <a:close/>
                <a:moveTo>
                  <a:pt x="4831387" y="3245421"/>
                </a:moveTo>
                <a:cubicBezTo>
                  <a:pt x="4838842" y="3245421"/>
                  <a:pt x="4844263" y="3248132"/>
                  <a:pt x="4848329" y="3253553"/>
                </a:cubicBezTo>
                <a:cubicBezTo>
                  <a:pt x="4852395" y="3258974"/>
                  <a:pt x="4854428" y="3267106"/>
                  <a:pt x="4854428" y="3277949"/>
                </a:cubicBezTo>
                <a:lnTo>
                  <a:pt x="4854428" y="3283370"/>
                </a:lnTo>
                <a:cubicBezTo>
                  <a:pt x="4854428" y="3294213"/>
                  <a:pt x="4852395" y="3302345"/>
                  <a:pt x="4848329" y="3307766"/>
                </a:cubicBezTo>
                <a:cubicBezTo>
                  <a:pt x="4844263" y="3313187"/>
                  <a:pt x="4838842" y="3315898"/>
                  <a:pt x="4831387" y="3315898"/>
                </a:cubicBezTo>
                <a:cubicBezTo>
                  <a:pt x="4823933" y="3315898"/>
                  <a:pt x="4818512" y="3312509"/>
                  <a:pt x="4814446" y="3307088"/>
                </a:cubicBezTo>
                <a:cubicBezTo>
                  <a:pt x="4810380" y="3300989"/>
                  <a:pt x="4808347" y="3293535"/>
                  <a:pt x="4808347" y="3282692"/>
                </a:cubicBezTo>
                <a:lnTo>
                  <a:pt x="4808347" y="3277271"/>
                </a:lnTo>
                <a:cubicBezTo>
                  <a:pt x="4808347" y="3267106"/>
                  <a:pt x="4810380" y="3258974"/>
                  <a:pt x="4814446" y="3253553"/>
                </a:cubicBezTo>
                <a:cubicBezTo>
                  <a:pt x="4818512" y="3248132"/>
                  <a:pt x="4823933" y="3245421"/>
                  <a:pt x="4831387" y="3245421"/>
                </a:cubicBezTo>
                <a:close/>
                <a:moveTo>
                  <a:pt x="6211780" y="3233223"/>
                </a:moveTo>
                <a:lnTo>
                  <a:pt x="6211780" y="3328773"/>
                </a:lnTo>
                <a:lnTo>
                  <a:pt x="6272092" y="3328773"/>
                </a:lnTo>
                <a:lnTo>
                  <a:pt x="6272092" y="3315220"/>
                </a:lnTo>
                <a:lnTo>
                  <a:pt x="6228721" y="3315220"/>
                </a:lnTo>
                <a:lnTo>
                  <a:pt x="6228721" y="3233223"/>
                </a:lnTo>
                <a:close/>
                <a:moveTo>
                  <a:pt x="5132947" y="3233223"/>
                </a:moveTo>
                <a:lnTo>
                  <a:pt x="5132947" y="3328773"/>
                </a:lnTo>
                <a:lnTo>
                  <a:pt x="5193258" y="3328773"/>
                </a:lnTo>
                <a:lnTo>
                  <a:pt x="5193258" y="3315220"/>
                </a:lnTo>
                <a:lnTo>
                  <a:pt x="5149888" y="3315220"/>
                </a:lnTo>
                <a:lnTo>
                  <a:pt x="5149888" y="3233223"/>
                </a:lnTo>
                <a:close/>
                <a:moveTo>
                  <a:pt x="7150338" y="3232546"/>
                </a:moveTo>
                <a:lnTo>
                  <a:pt x="7150338" y="3328096"/>
                </a:lnTo>
                <a:lnTo>
                  <a:pt x="7166602" y="3328096"/>
                </a:lnTo>
                <a:lnTo>
                  <a:pt x="7166602" y="3232546"/>
                </a:lnTo>
                <a:close/>
                <a:moveTo>
                  <a:pt x="6980246" y="3232546"/>
                </a:moveTo>
                <a:lnTo>
                  <a:pt x="6980246" y="3246099"/>
                </a:lnTo>
                <a:lnTo>
                  <a:pt x="7010063" y="3246099"/>
                </a:lnTo>
                <a:lnTo>
                  <a:pt x="7010063" y="3328096"/>
                </a:lnTo>
                <a:lnTo>
                  <a:pt x="7026327" y="3328096"/>
                </a:lnTo>
                <a:lnTo>
                  <a:pt x="7026327" y="3246099"/>
                </a:lnTo>
                <a:lnTo>
                  <a:pt x="7056144" y="3246099"/>
                </a:lnTo>
                <a:lnTo>
                  <a:pt x="7056144" y="3232546"/>
                </a:lnTo>
                <a:close/>
                <a:moveTo>
                  <a:pt x="6707827" y="3232546"/>
                </a:moveTo>
                <a:lnTo>
                  <a:pt x="6707827" y="3328096"/>
                </a:lnTo>
                <a:lnTo>
                  <a:pt x="6724091" y="3328096"/>
                </a:lnTo>
                <a:lnTo>
                  <a:pt x="6724091" y="3232546"/>
                </a:lnTo>
                <a:close/>
                <a:moveTo>
                  <a:pt x="5941394" y="3232546"/>
                </a:moveTo>
                <a:lnTo>
                  <a:pt x="5941394" y="3328096"/>
                </a:lnTo>
                <a:lnTo>
                  <a:pt x="6003739" y="3328096"/>
                </a:lnTo>
                <a:lnTo>
                  <a:pt x="6003739" y="3314543"/>
                </a:lnTo>
                <a:lnTo>
                  <a:pt x="5957658" y="3314543"/>
                </a:lnTo>
                <a:lnTo>
                  <a:pt x="5957658" y="3285403"/>
                </a:lnTo>
                <a:lnTo>
                  <a:pt x="5996962" y="3285403"/>
                </a:lnTo>
                <a:lnTo>
                  <a:pt x="5997640" y="3285403"/>
                </a:lnTo>
                <a:lnTo>
                  <a:pt x="5997640" y="3272528"/>
                </a:lnTo>
                <a:lnTo>
                  <a:pt x="5958335" y="3272528"/>
                </a:lnTo>
                <a:lnTo>
                  <a:pt x="5958335" y="3246099"/>
                </a:lnTo>
                <a:lnTo>
                  <a:pt x="6003739" y="3246099"/>
                </a:lnTo>
                <a:lnTo>
                  <a:pt x="6003739" y="3232546"/>
                </a:lnTo>
                <a:close/>
                <a:moveTo>
                  <a:pt x="5772657" y="3232546"/>
                </a:moveTo>
                <a:lnTo>
                  <a:pt x="5772657" y="3327418"/>
                </a:lnTo>
                <a:lnTo>
                  <a:pt x="5799762" y="3327418"/>
                </a:lnTo>
                <a:cubicBezTo>
                  <a:pt x="5808572" y="3327418"/>
                  <a:pt x="5816026" y="3325385"/>
                  <a:pt x="5822804" y="3321997"/>
                </a:cubicBezTo>
                <a:cubicBezTo>
                  <a:pt x="5829579" y="3318609"/>
                  <a:pt x="5835001" y="3313187"/>
                  <a:pt x="5838389" y="3306411"/>
                </a:cubicBezTo>
                <a:cubicBezTo>
                  <a:pt x="5841777" y="3299634"/>
                  <a:pt x="5843810" y="3291502"/>
                  <a:pt x="5843810" y="3282693"/>
                </a:cubicBezTo>
                <a:lnTo>
                  <a:pt x="5843810" y="3277949"/>
                </a:lnTo>
                <a:cubicBezTo>
                  <a:pt x="5843810" y="3269140"/>
                  <a:pt x="5841777" y="3261008"/>
                  <a:pt x="5838389" y="3254231"/>
                </a:cubicBezTo>
                <a:cubicBezTo>
                  <a:pt x="5835001" y="3246777"/>
                  <a:pt x="5830257" y="3242033"/>
                  <a:pt x="5823480" y="3237967"/>
                </a:cubicBezTo>
                <a:cubicBezTo>
                  <a:pt x="5817381" y="3234579"/>
                  <a:pt x="5809250" y="3232546"/>
                  <a:pt x="5801118" y="3232546"/>
                </a:cubicBezTo>
                <a:close/>
                <a:moveTo>
                  <a:pt x="5655421" y="3232546"/>
                </a:moveTo>
                <a:lnTo>
                  <a:pt x="5655421" y="3328096"/>
                </a:lnTo>
                <a:lnTo>
                  <a:pt x="5671685" y="3328096"/>
                </a:lnTo>
                <a:lnTo>
                  <a:pt x="5671685" y="3232546"/>
                </a:lnTo>
                <a:close/>
                <a:moveTo>
                  <a:pt x="5448058" y="3232546"/>
                </a:moveTo>
                <a:lnTo>
                  <a:pt x="5470420" y="3328096"/>
                </a:lnTo>
                <a:lnTo>
                  <a:pt x="5486685" y="3328096"/>
                </a:lnTo>
                <a:lnTo>
                  <a:pt x="5504980" y="3258297"/>
                </a:lnTo>
                <a:lnTo>
                  <a:pt x="5523277" y="3328096"/>
                </a:lnTo>
                <a:lnTo>
                  <a:pt x="5538863" y="3328096"/>
                </a:lnTo>
                <a:lnTo>
                  <a:pt x="5561226" y="3232546"/>
                </a:lnTo>
                <a:lnTo>
                  <a:pt x="5544962" y="3232546"/>
                </a:lnTo>
                <a:lnTo>
                  <a:pt x="5530055" y="3304378"/>
                </a:lnTo>
                <a:lnTo>
                  <a:pt x="5511757" y="3232546"/>
                </a:lnTo>
                <a:lnTo>
                  <a:pt x="5497527" y="3232546"/>
                </a:lnTo>
                <a:lnTo>
                  <a:pt x="5479229" y="3304378"/>
                </a:lnTo>
                <a:lnTo>
                  <a:pt x="5464321" y="3232546"/>
                </a:lnTo>
                <a:close/>
                <a:moveTo>
                  <a:pt x="5286775" y="3232546"/>
                </a:moveTo>
                <a:lnTo>
                  <a:pt x="5286775" y="3327418"/>
                </a:lnTo>
                <a:lnTo>
                  <a:pt x="5313880" y="3327418"/>
                </a:lnTo>
                <a:cubicBezTo>
                  <a:pt x="5322690" y="3327418"/>
                  <a:pt x="5330144" y="3325385"/>
                  <a:pt x="5336922" y="3321997"/>
                </a:cubicBezTo>
                <a:cubicBezTo>
                  <a:pt x="5343697" y="3318609"/>
                  <a:pt x="5349119" y="3313187"/>
                  <a:pt x="5352507" y="3306411"/>
                </a:cubicBezTo>
                <a:cubicBezTo>
                  <a:pt x="5355895" y="3299634"/>
                  <a:pt x="5357928" y="3291502"/>
                  <a:pt x="5357928" y="3282693"/>
                </a:cubicBezTo>
                <a:lnTo>
                  <a:pt x="5357928" y="3277949"/>
                </a:lnTo>
                <a:cubicBezTo>
                  <a:pt x="5357928" y="3269140"/>
                  <a:pt x="5355895" y="3261008"/>
                  <a:pt x="5352507" y="3254231"/>
                </a:cubicBezTo>
                <a:cubicBezTo>
                  <a:pt x="5349119" y="3246777"/>
                  <a:pt x="5344375" y="3242033"/>
                  <a:pt x="5337598" y="3237967"/>
                </a:cubicBezTo>
                <a:cubicBezTo>
                  <a:pt x="5331501" y="3234579"/>
                  <a:pt x="5323368" y="3232546"/>
                  <a:pt x="5315236" y="3232546"/>
                </a:cubicBezTo>
                <a:close/>
                <a:moveTo>
                  <a:pt x="4968274" y="3232546"/>
                </a:moveTo>
                <a:lnTo>
                  <a:pt x="4968274" y="3328096"/>
                </a:lnTo>
                <a:lnTo>
                  <a:pt x="4985215" y="3328096"/>
                </a:lnTo>
                <a:lnTo>
                  <a:pt x="4985215" y="3291502"/>
                </a:lnTo>
                <a:lnTo>
                  <a:pt x="5003512" y="3291502"/>
                </a:lnTo>
                <a:lnTo>
                  <a:pt x="5023164" y="3328774"/>
                </a:lnTo>
                <a:lnTo>
                  <a:pt x="5040784" y="3328774"/>
                </a:lnTo>
                <a:lnTo>
                  <a:pt x="5040784" y="3328096"/>
                </a:lnTo>
                <a:lnTo>
                  <a:pt x="5019098" y="3288114"/>
                </a:lnTo>
                <a:cubicBezTo>
                  <a:pt x="5024520" y="3285403"/>
                  <a:pt x="5028586" y="3282015"/>
                  <a:pt x="5031974" y="3277949"/>
                </a:cubicBezTo>
                <a:cubicBezTo>
                  <a:pt x="5035362" y="3273206"/>
                  <a:pt x="5036718" y="3267784"/>
                  <a:pt x="5036718" y="3261685"/>
                </a:cubicBezTo>
                <a:cubicBezTo>
                  <a:pt x="5036718" y="3252198"/>
                  <a:pt x="5034007" y="3244744"/>
                  <a:pt x="5027908" y="3240000"/>
                </a:cubicBezTo>
                <a:cubicBezTo>
                  <a:pt x="5021809" y="3235257"/>
                  <a:pt x="5013000" y="3232546"/>
                  <a:pt x="5002157" y="3232546"/>
                </a:cubicBezTo>
                <a:close/>
                <a:moveTo>
                  <a:pt x="4589463" y="3232546"/>
                </a:moveTo>
                <a:lnTo>
                  <a:pt x="4611826" y="3328096"/>
                </a:lnTo>
                <a:lnTo>
                  <a:pt x="4627412" y="3328096"/>
                </a:lnTo>
                <a:lnTo>
                  <a:pt x="4645709" y="3258297"/>
                </a:lnTo>
                <a:lnTo>
                  <a:pt x="4664006" y="3328096"/>
                </a:lnTo>
                <a:lnTo>
                  <a:pt x="4679592" y="3328096"/>
                </a:lnTo>
                <a:lnTo>
                  <a:pt x="4701955" y="3232546"/>
                </a:lnTo>
                <a:lnTo>
                  <a:pt x="4685692" y="3232546"/>
                </a:lnTo>
                <a:lnTo>
                  <a:pt x="4670782" y="3304378"/>
                </a:lnTo>
                <a:lnTo>
                  <a:pt x="4653164" y="3232546"/>
                </a:lnTo>
                <a:lnTo>
                  <a:pt x="4638932" y="3232546"/>
                </a:lnTo>
                <a:lnTo>
                  <a:pt x="4620635" y="3304378"/>
                </a:lnTo>
                <a:lnTo>
                  <a:pt x="4605727" y="3232546"/>
                </a:lnTo>
                <a:close/>
                <a:moveTo>
                  <a:pt x="7468161" y="3231868"/>
                </a:moveTo>
                <a:cubicBezTo>
                  <a:pt x="7457996" y="3231868"/>
                  <a:pt x="7449865" y="3234579"/>
                  <a:pt x="7443766" y="3239322"/>
                </a:cubicBezTo>
                <a:cubicBezTo>
                  <a:pt x="7437667" y="3244066"/>
                  <a:pt x="7434278" y="3250842"/>
                  <a:pt x="7434278" y="3258297"/>
                </a:cubicBezTo>
                <a:cubicBezTo>
                  <a:pt x="7434278" y="3267106"/>
                  <a:pt x="7438344" y="3274561"/>
                  <a:pt x="7447154" y="3279982"/>
                </a:cubicBezTo>
                <a:cubicBezTo>
                  <a:pt x="7451897" y="3282692"/>
                  <a:pt x="7457996" y="3285403"/>
                  <a:pt x="7465451" y="3287436"/>
                </a:cubicBezTo>
                <a:cubicBezTo>
                  <a:pt x="7473583" y="3289469"/>
                  <a:pt x="7479004" y="3292180"/>
                  <a:pt x="7481714" y="3294213"/>
                </a:cubicBezTo>
                <a:cubicBezTo>
                  <a:pt x="7485103" y="3296246"/>
                  <a:pt x="7486458" y="3299634"/>
                  <a:pt x="7486458" y="3303700"/>
                </a:cubicBezTo>
                <a:cubicBezTo>
                  <a:pt x="7486458" y="3307766"/>
                  <a:pt x="7485103" y="3310477"/>
                  <a:pt x="7481714" y="3312509"/>
                </a:cubicBezTo>
                <a:cubicBezTo>
                  <a:pt x="7479004" y="3314542"/>
                  <a:pt x="7474938" y="3315898"/>
                  <a:pt x="7468839" y="3315898"/>
                </a:cubicBezTo>
                <a:cubicBezTo>
                  <a:pt x="7462062" y="3315898"/>
                  <a:pt x="7456641" y="3313865"/>
                  <a:pt x="7453253" y="3311154"/>
                </a:cubicBezTo>
                <a:cubicBezTo>
                  <a:pt x="7449865" y="3307766"/>
                  <a:pt x="7447831" y="3303700"/>
                  <a:pt x="7447831" y="3298279"/>
                </a:cubicBezTo>
                <a:lnTo>
                  <a:pt x="7430890" y="3298279"/>
                </a:lnTo>
                <a:cubicBezTo>
                  <a:pt x="7430890" y="3304378"/>
                  <a:pt x="7432245" y="3309121"/>
                  <a:pt x="7435634" y="3313865"/>
                </a:cubicBezTo>
                <a:cubicBezTo>
                  <a:pt x="7439022" y="3318608"/>
                  <a:pt x="7443766" y="3321997"/>
                  <a:pt x="7449187" y="3324707"/>
                </a:cubicBezTo>
                <a:cubicBezTo>
                  <a:pt x="7454608" y="3327418"/>
                  <a:pt x="7461385" y="3328773"/>
                  <a:pt x="7468161" y="3328773"/>
                </a:cubicBezTo>
                <a:cubicBezTo>
                  <a:pt x="7479004" y="3328773"/>
                  <a:pt x="7487136" y="3326740"/>
                  <a:pt x="7493235" y="3321997"/>
                </a:cubicBezTo>
                <a:cubicBezTo>
                  <a:pt x="7500011" y="3317253"/>
                  <a:pt x="7502722" y="3311154"/>
                  <a:pt x="7502722" y="3303022"/>
                </a:cubicBezTo>
                <a:cubicBezTo>
                  <a:pt x="7502722" y="3298279"/>
                  <a:pt x="7501367" y="3293535"/>
                  <a:pt x="7499334" y="3290147"/>
                </a:cubicBezTo>
                <a:cubicBezTo>
                  <a:pt x="7497301" y="3286758"/>
                  <a:pt x="7493912" y="3283370"/>
                  <a:pt x="7489169" y="3280659"/>
                </a:cubicBezTo>
                <a:cubicBezTo>
                  <a:pt x="7485103" y="3277949"/>
                  <a:pt x="7479004" y="3275238"/>
                  <a:pt x="7471550" y="3273205"/>
                </a:cubicBezTo>
                <a:cubicBezTo>
                  <a:pt x="7464095" y="3271172"/>
                  <a:pt x="7458674" y="3268462"/>
                  <a:pt x="7455286" y="3266429"/>
                </a:cubicBezTo>
                <a:cubicBezTo>
                  <a:pt x="7451897" y="3263718"/>
                  <a:pt x="7450542" y="3261007"/>
                  <a:pt x="7450542" y="3257619"/>
                </a:cubicBezTo>
                <a:cubicBezTo>
                  <a:pt x="7450542" y="3253553"/>
                  <a:pt x="7452575" y="3250165"/>
                  <a:pt x="7455286" y="3248132"/>
                </a:cubicBezTo>
                <a:cubicBezTo>
                  <a:pt x="7458674" y="3246099"/>
                  <a:pt x="7462740" y="3244744"/>
                  <a:pt x="7468161" y="3244744"/>
                </a:cubicBezTo>
                <a:cubicBezTo>
                  <a:pt x="7474260" y="3244744"/>
                  <a:pt x="7478326" y="3246099"/>
                  <a:pt x="7481714" y="3248809"/>
                </a:cubicBezTo>
                <a:cubicBezTo>
                  <a:pt x="7485103" y="3251520"/>
                  <a:pt x="7486458" y="3255586"/>
                  <a:pt x="7486458" y="3260330"/>
                </a:cubicBezTo>
                <a:lnTo>
                  <a:pt x="7502722" y="3260330"/>
                </a:lnTo>
                <a:cubicBezTo>
                  <a:pt x="7502722" y="3254908"/>
                  <a:pt x="7500689" y="3250165"/>
                  <a:pt x="7497978" y="3245421"/>
                </a:cubicBezTo>
                <a:cubicBezTo>
                  <a:pt x="7495268" y="3241355"/>
                  <a:pt x="7491202" y="3237967"/>
                  <a:pt x="7485780" y="3235256"/>
                </a:cubicBezTo>
                <a:cubicBezTo>
                  <a:pt x="7481037" y="3233223"/>
                  <a:pt x="7474938" y="3231868"/>
                  <a:pt x="7468161" y="3231868"/>
                </a:cubicBezTo>
                <a:close/>
                <a:moveTo>
                  <a:pt x="7303489" y="3231868"/>
                </a:moveTo>
                <a:cubicBezTo>
                  <a:pt x="7295357" y="3231868"/>
                  <a:pt x="7288581" y="3233901"/>
                  <a:pt x="7282482" y="3237289"/>
                </a:cubicBezTo>
                <a:cubicBezTo>
                  <a:pt x="7276383" y="3240678"/>
                  <a:pt x="7272317" y="3246099"/>
                  <a:pt x="7268928" y="3252875"/>
                </a:cubicBezTo>
                <a:cubicBezTo>
                  <a:pt x="7265540" y="3259652"/>
                  <a:pt x="7264185" y="3267784"/>
                  <a:pt x="7264185" y="3276594"/>
                </a:cubicBezTo>
                <a:lnTo>
                  <a:pt x="7264185" y="3285403"/>
                </a:lnTo>
                <a:cubicBezTo>
                  <a:pt x="7264185" y="3294213"/>
                  <a:pt x="7265540" y="3301667"/>
                  <a:pt x="7268928" y="3308444"/>
                </a:cubicBezTo>
                <a:cubicBezTo>
                  <a:pt x="7272317" y="3315220"/>
                  <a:pt x="7276383" y="3320641"/>
                  <a:pt x="7282482" y="3324030"/>
                </a:cubicBezTo>
                <a:cubicBezTo>
                  <a:pt x="7288581" y="3327418"/>
                  <a:pt x="7295357" y="3329451"/>
                  <a:pt x="7302811" y="3329451"/>
                </a:cubicBezTo>
                <a:cubicBezTo>
                  <a:pt x="7313654" y="3329451"/>
                  <a:pt x="7322464" y="3326063"/>
                  <a:pt x="7329240" y="3320641"/>
                </a:cubicBezTo>
                <a:lnTo>
                  <a:pt x="7340102" y="3298279"/>
                </a:lnTo>
                <a:lnTo>
                  <a:pt x="7340760" y="3298279"/>
                </a:lnTo>
                <a:lnTo>
                  <a:pt x="7340760" y="3296923"/>
                </a:lnTo>
                <a:lnTo>
                  <a:pt x="7340102" y="3298279"/>
                </a:lnTo>
                <a:lnTo>
                  <a:pt x="7323819" y="3298279"/>
                </a:lnTo>
                <a:cubicBezTo>
                  <a:pt x="7323141" y="3305055"/>
                  <a:pt x="7321108" y="3310477"/>
                  <a:pt x="7317720" y="3313187"/>
                </a:cubicBezTo>
                <a:cubicBezTo>
                  <a:pt x="7314332" y="3315898"/>
                  <a:pt x="7309588" y="3317253"/>
                  <a:pt x="7302811" y="3317253"/>
                </a:cubicBezTo>
                <a:cubicBezTo>
                  <a:pt x="7295357" y="3317253"/>
                  <a:pt x="7289936" y="3314542"/>
                  <a:pt x="7286548" y="3309121"/>
                </a:cubicBezTo>
                <a:cubicBezTo>
                  <a:pt x="7283159" y="3303700"/>
                  <a:pt x="7281126" y="3295568"/>
                  <a:pt x="7281126" y="3285403"/>
                </a:cubicBezTo>
                <a:lnTo>
                  <a:pt x="7281126" y="3276594"/>
                </a:lnTo>
                <a:cubicBezTo>
                  <a:pt x="7281126" y="3266429"/>
                  <a:pt x="7283159" y="3258974"/>
                  <a:pt x="7287225" y="3253553"/>
                </a:cubicBezTo>
                <a:cubicBezTo>
                  <a:pt x="7291291" y="3248132"/>
                  <a:pt x="7296713" y="3245421"/>
                  <a:pt x="7304167" y="3245421"/>
                </a:cubicBezTo>
                <a:cubicBezTo>
                  <a:pt x="7310266" y="3245421"/>
                  <a:pt x="7315009" y="3247454"/>
                  <a:pt x="7318398" y="3250165"/>
                </a:cubicBezTo>
                <a:cubicBezTo>
                  <a:pt x="7321786" y="3253553"/>
                  <a:pt x="7323819" y="3258297"/>
                  <a:pt x="7324497" y="3265073"/>
                </a:cubicBezTo>
                <a:lnTo>
                  <a:pt x="7340760" y="3265073"/>
                </a:lnTo>
                <a:cubicBezTo>
                  <a:pt x="7339405" y="3254231"/>
                  <a:pt x="7335339" y="3246099"/>
                  <a:pt x="7329240" y="3240678"/>
                </a:cubicBezTo>
                <a:cubicBezTo>
                  <a:pt x="7322464" y="3234579"/>
                  <a:pt x="7314332" y="3231868"/>
                  <a:pt x="7303489" y="3231868"/>
                </a:cubicBezTo>
                <a:close/>
                <a:moveTo>
                  <a:pt x="6856912" y="3231868"/>
                </a:moveTo>
                <a:cubicBezTo>
                  <a:pt x="6846747" y="3231868"/>
                  <a:pt x="6838615" y="3234579"/>
                  <a:pt x="6832516" y="3239322"/>
                </a:cubicBezTo>
                <a:cubicBezTo>
                  <a:pt x="6826418" y="3244066"/>
                  <a:pt x="6823029" y="3250842"/>
                  <a:pt x="6823029" y="3258297"/>
                </a:cubicBezTo>
                <a:cubicBezTo>
                  <a:pt x="6823029" y="3267106"/>
                  <a:pt x="6827095" y="3274561"/>
                  <a:pt x="6835905" y="3279982"/>
                </a:cubicBezTo>
                <a:cubicBezTo>
                  <a:pt x="6840648" y="3282692"/>
                  <a:pt x="6846747" y="3285403"/>
                  <a:pt x="6854202" y="3287436"/>
                </a:cubicBezTo>
                <a:cubicBezTo>
                  <a:pt x="6862333" y="3289469"/>
                  <a:pt x="6867755" y="3292180"/>
                  <a:pt x="6870465" y="3294213"/>
                </a:cubicBezTo>
                <a:cubicBezTo>
                  <a:pt x="6873854" y="3296246"/>
                  <a:pt x="6875209" y="3299634"/>
                  <a:pt x="6875209" y="3303700"/>
                </a:cubicBezTo>
                <a:cubicBezTo>
                  <a:pt x="6875209" y="3307766"/>
                  <a:pt x="6873854" y="3310477"/>
                  <a:pt x="6870465" y="3312509"/>
                </a:cubicBezTo>
                <a:cubicBezTo>
                  <a:pt x="6867755" y="3314542"/>
                  <a:pt x="6863689" y="3315898"/>
                  <a:pt x="6857590" y="3315898"/>
                </a:cubicBezTo>
                <a:cubicBezTo>
                  <a:pt x="6850813" y="3315898"/>
                  <a:pt x="6845392" y="3313865"/>
                  <a:pt x="6842004" y="3311154"/>
                </a:cubicBezTo>
                <a:cubicBezTo>
                  <a:pt x="6838615" y="3307766"/>
                  <a:pt x="6836582" y="3303700"/>
                  <a:pt x="6836582" y="3298279"/>
                </a:cubicBezTo>
                <a:lnTo>
                  <a:pt x="6819641" y="3298279"/>
                </a:lnTo>
                <a:cubicBezTo>
                  <a:pt x="6819641" y="3304378"/>
                  <a:pt x="6820996" y="3309121"/>
                  <a:pt x="6824384" y="3313865"/>
                </a:cubicBezTo>
                <a:cubicBezTo>
                  <a:pt x="6827773" y="3318608"/>
                  <a:pt x="6832516" y="3321997"/>
                  <a:pt x="6837938" y="3324707"/>
                </a:cubicBezTo>
                <a:cubicBezTo>
                  <a:pt x="6843359" y="3327418"/>
                  <a:pt x="6850136" y="3328773"/>
                  <a:pt x="6856912" y="3328773"/>
                </a:cubicBezTo>
                <a:cubicBezTo>
                  <a:pt x="6867755" y="3328773"/>
                  <a:pt x="6875887" y="3326740"/>
                  <a:pt x="6881986" y="3321997"/>
                </a:cubicBezTo>
                <a:cubicBezTo>
                  <a:pt x="6888762" y="3317253"/>
                  <a:pt x="6891473" y="3311154"/>
                  <a:pt x="6891473" y="3303022"/>
                </a:cubicBezTo>
                <a:cubicBezTo>
                  <a:pt x="6891473" y="3298279"/>
                  <a:pt x="6890118" y="3293535"/>
                  <a:pt x="6888085" y="3290147"/>
                </a:cubicBezTo>
                <a:cubicBezTo>
                  <a:pt x="6886052" y="3286758"/>
                  <a:pt x="6882663" y="3283370"/>
                  <a:pt x="6877920" y="3280659"/>
                </a:cubicBezTo>
                <a:cubicBezTo>
                  <a:pt x="6873854" y="3277949"/>
                  <a:pt x="6867755" y="3275238"/>
                  <a:pt x="6860301" y="3273205"/>
                </a:cubicBezTo>
                <a:cubicBezTo>
                  <a:pt x="6852846" y="3271172"/>
                  <a:pt x="6847425" y="3268462"/>
                  <a:pt x="6844037" y="3266429"/>
                </a:cubicBezTo>
                <a:cubicBezTo>
                  <a:pt x="6840648" y="3263718"/>
                  <a:pt x="6839293" y="3261007"/>
                  <a:pt x="6839293" y="3257619"/>
                </a:cubicBezTo>
                <a:cubicBezTo>
                  <a:pt x="6839293" y="3253553"/>
                  <a:pt x="6841326" y="3250165"/>
                  <a:pt x="6844037" y="3248132"/>
                </a:cubicBezTo>
                <a:cubicBezTo>
                  <a:pt x="6847425" y="3246099"/>
                  <a:pt x="6851491" y="3244744"/>
                  <a:pt x="6856912" y="3244744"/>
                </a:cubicBezTo>
                <a:cubicBezTo>
                  <a:pt x="6863011" y="3244744"/>
                  <a:pt x="6867077" y="3246099"/>
                  <a:pt x="6870465" y="3248809"/>
                </a:cubicBezTo>
                <a:cubicBezTo>
                  <a:pt x="6873854" y="3251520"/>
                  <a:pt x="6875209" y="3255586"/>
                  <a:pt x="6875209" y="3260330"/>
                </a:cubicBezTo>
                <a:lnTo>
                  <a:pt x="6891473" y="3260330"/>
                </a:lnTo>
                <a:cubicBezTo>
                  <a:pt x="6891473" y="3254908"/>
                  <a:pt x="6889440" y="3250165"/>
                  <a:pt x="6886729" y="3245421"/>
                </a:cubicBezTo>
                <a:cubicBezTo>
                  <a:pt x="6884019" y="3241355"/>
                  <a:pt x="6879953" y="3237967"/>
                  <a:pt x="6874531" y="3235256"/>
                </a:cubicBezTo>
                <a:cubicBezTo>
                  <a:pt x="6869788" y="3233223"/>
                  <a:pt x="6863689" y="3231868"/>
                  <a:pt x="6856912" y="3231868"/>
                </a:cubicBezTo>
                <a:close/>
                <a:moveTo>
                  <a:pt x="6398136" y="3231868"/>
                </a:moveTo>
                <a:cubicBezTo>
                  <a:pt x="6390004" y="3231868"/>
                  <a:pt x="6383227" y="3233223"/>
                  <a:pt x="6377128" y="3237289"/>
                </a:cubicBezTo>
                <a:cubicBezTo>
                  <a:pt x="6371029" y="3240678"/>
                  <a:pt x="6366286" y="3246099"/>
                  <a:pt x="6362898" y="3253553"/>
                </a:cubicBezTo>
                <a:cubicBezTo>
                  <a:pt x="6359509" y="3260330"/>
                  <a:pt x="6358154" y="3268462"/>
                  <a:pt x="6358154" y="3277949"/>
                </a:cubicBezTo>
                <a:lnTo>
                  <a:pt x="6358154" y="3283370"/>
                </a:lnTo>
                <a:cubicBezTo>
                  <a:pt x="6358154" y="3292857"/>
                  <a:pt x="6359509" y="3300989"/>
                  <a:pt x="6362898" y="3307766"/>
                </a:cubicBezTo>
                <a:cubicBezTo>
                  <a:pt x="6366286" y="3314542"/>
                  <a:pt x="6371029" y="3319964"/>
                  <a:pt x="6377128" y="3324030"/>
                </a:cubicBezTo>
                <a:cubicBezTo>
                  <a:pt x="6383227" y="3327418"/>
                  <a:pt x="6390682" y="3329451"/>
                  <a:pt x="6398136" y="3329451"/>
                </a:cubicBezTo>
                <a:cubicBezTo>
                  <a:pt x="6406268" y="3329451"/>
                  <a:pt x="6413044" y="3328096"/>
                  <a:pt x="6419143" y="3324030"/>
                </a:cubicBezTo>
                <a:cubicBezTo>
                  <a:pt x="6424565" y="3319964"/>
                  <a:pt x="6429308" y="3314542"/>
                  <a:pt x="6432697" y="3307766"/>
                </a:cubicBezTo>
                <a:cubicBezTo>
                  <a:pt x="6436085" y="3300989"/>
                  <a:pt x="6437440" y="3292857"/>
                  <a:pt x="6437440" y="3283370"/>
                </a:cubicBezTo>
                <a:lnTo>
                  <a:pt x="6438118" y="3283370"/>
                </a:lnTo>
                <a:lnTo>
                  <a:pt x="6438118" y="3277949"/>
                </a:lnTo>
                <a:cubicBezTo>
                  <a:pt x="6438118" y="3268462"/>
                  <a:pt x="6436763" y="3260330"/>
                  <a:pt x="6433374" y="3253553"/>
                </a:cubicBezTo>
                <a:cubicBezTo>
                  <a:pt x="6429986" y="3246099"/>
                  <a:pt x="6425242" y="3241355"/>
                  <a:pt x="6419143" y="3237289"/>
                </a:cubicBezTo>
                <a:cubicBezTo>
                  <a:pt x="6413044" y="3233901"/>
                  <a:pt x="6405590" y="3231868"/>
                  <a:pt x="6398136" y="3231868"/>
                </a:cubicBezTo>
                <a:close/>
                <a:moveTo>
                  <a:pt x="4832065" y="3231868"/>
                </a:moveTo>
                <a:cubicBezTo>
                  <a:pt x="4823933" y="3231868"/>
                  <a:pt x="4817156" y="3233223"/>
                  <a:pt x="4811057" y="3237289"/>
                </a:cubicBezTo>
                <a:cubicBezTo>
                  <a:pt x="4804959" y="3240678"/>
                  <a:pt x="4800215" y="3246099"/>
                  <a:pt x="4796828" y="3253553"/>
                </a:cubicBezTo>
                <a:cubicBezTo>
                  <a:pt x="4793438" y="3260330"/>
                  <a:pt x="4792083" y="3268462"/>
                  <a:pt x="4792083" y="3277949"/>
                </a:cubicBezTo>
                <a:lnTo>
                  <a:pt x="4792083" y="3283370"/>
                </a:lnTo>
                <a:cubicBezTo>
                  <a:pt x="4792083" y="3292857"/>
                  <a:pt x="4793438" y="3300989"/>
                  <a:pt x="4796828" y="3307766"/>
                </a:cubicBezTo>
                <a:cubicBezTo>
                  <a:pt x="4800215" y="3314542"/>
                  <a:pt x="4804959" y="3319964"/>
                  <a:pt x="4811057" y="3324030"/>
                </a:cubicBezTo>
                <a:cubicBezTo>
                  <a:pt x="4817156" y="3327418"/>
                  <a:pt x="4824611" y="3329451"/>
                  <a:pt x="4832065" y="3329451"/>
                </a:cubicBezTo>
                <a:cubicBezTo>
                  <a:pt x="4840198" y="3329451"/>
                  <a:pt x="4846973" y="3328096"/>
                  <a:pt x="4853072" y="3324030"/>
                </a:cubicBezTo>
                <a:cubicBezTo>
                  <a:pt x="4858494" y="3319964"/>
                  <a:pt x="4863237" y="3314542"/>
                  <a:pt x="4866626" y="3307766"/>
                </a:cubicBezTo>
                <a:cubicBezTo>
                  <a:pt x="4870014" y="3300989"/>
                  <a:pt x="4871369" y="3292857"/>
                  <a:pt x="4871369" y="3283370"/>
                </a:cubicBezTo>
                <a:lnTo>
                  <a:pt x="4872047" y="3283370"/>
                </a:lnTo>
                <a:lnTo>
                  <a:pt x="4872047" y="3277949"/>
                </a:lnTo>
                <a:cubicBezTo>
                  <a:pt x="4872047" y="3268462"/>
                  <a:pt x="4870692" y="3260330"/>
                  <a:pt x="4867303" y="3253553"/>
                </a:cubicBezTo>
                <a:cubicBezTo>
                  <a:pt x="4863915" y="3246099"/>
                  <a:pt x="4859171" y="3241355"/>
                  <a:pt x="4853072" y="3237289"/>
                </a:cubicBezTo>
                <a:cubicBezTo>
                  <a:pt x="4846973" y="3233901"/>
                  <a:pt x="4839519" y="3231868"/>
                  <a:pt x="4832065" y="3231868"/>
                </a:cubicBezTo>
                <a:close/>
                <a:moveTo>
                  <a:pt x="6570939" y="3231190"/>
                </a:moveTo>
                <a:cubicBezTo>
                  <a:pt x="6558064" y="3231190"/>
                  <a:pt x="6548576" y="3235256"/>
                  <a:pt x="6541800" y="3243388"/>
                </a:cubicBezTo>
                <a:cubicBezTo>
                  <a:pt x="6535023" y="3251520"/>
                  <a:pt x="6531635" y="3263040"/>
                  <a:pt x="6531635" y="3277271"/>
                </a:cubicBezTo>
                <a:lnTo>
                  <a:pt x="6531635" y="3284725"/>
                </a:lnTo>
                <a:cubicBezTo>
                  <a:pt x="6531635" y="3293535"/>
                  <a:pt x="6533668" y="3301667"/>
                  <a:pt x="6537056" y="3308443"/>
                </a:cubicBezTo>
                <a:cubicBezTo>
                  <a:pt x="6540444" y="3315220"/>
                  <a:pt x="6545188" y="3320641"/>
                  <a:pt x="6551287" y="3324029"/>
                </a:cubicBezTo>
                <a:cubicBezTo>
                  <a:pt x="6557386" y="3327418"/>
                  <a:pt x="6564163" y="3329451"/>
                  <a:pt x="6572295" y="3329451"/>
                </a:cubicBezTo>
                <a:cubicBezTo>
                  <a:pt x="6580426" y="3329451"/>
                  <a:pt x="6587203" y="3328095"/>
                  <a:pt x="6593302" y="3326062"/>
                </a:cubicBezTo>
                <a:cubicBezTo>
                  <a:pt x="6599401" y="3324029"/>
                  <a:pt x="6604144" y="3320641"/>
                  <a:pt x="6607533" y="3315897"/>
                </a:cubicBezTo>
                <a:lnTo>
                  <a:pt x="6607533" y="3279304"/>
                </a:lnTo>
                <a:lnTo>
                  <a:pt x="6571617" y="3279304"/>
                </a:lnTo>
                <a:lnTo>
                  <a:pt x="6571617" y="3292179"/>
                </a:lnTo>
                <a:lnTo>
                  <a:pt x="6591269" y="3292179"/>
                </a:lnTo>
                <a:lnTo>
                  <a:pt x="6591269" y="3311154"/>
                </a:lnTo>
                <a:cubicBezTo>
                  <a:pt x="6587203" y="3315220"/>
                  <a:pt x="6581782" y="3317253"/>
                  <a:pt x="6572972" y="3317253"/>
                </a:cubicBezTo>
                <a:cubicBezTo>
                  <a:pt x="6564840" y="3317253"/>
                  <a:pt x="6558741" y="3313864"/>
                  <a:pt x="6554675" y="3308443"/>
                </a:cubicBezTo>
                <a:cubicBezTo>
                  <a:pt x="6549932" y="3303022"/>
                  <a:pt x="6547899" y="3294890"/>
                  <a:pt x="6547899" y="3284725"/>
                </a:cubicBezTo>
                <a:lnTo>
                  <a:pt x="6547899" y="3277271"/>
                </a:lnTo>
                <a:cubicBezTo>
                  <a:pt x="6547899" y="3267106"/>
                  <a:pt x="6549932" y="3258974"/>
                  <a:pt x="6553998" y="3253553"/>
                </a:cubicBezTo>
                <a:cubicBezTo>
                  <a:pt x="6558064" y="3248131"/>
                  <a:pt x="6563485" y="3245421"/>
                  <a:pt x="6570939" y="3245421"/>
                </a:cubicBezTo>
                <a:cubicBezTo>
                  <a:pt x="6582459" y="3245421"/>
                  <a:pt x="6589236" y="3250842"/>
                  <a:pt x="6591269" y="3262362"/>
                </a:cubicBezTo>
                <a:lnTo>
                  <a:pt x="6607533" y="3262362"/>
                </a:lnTo>
                <a:cubicBezTo>
                  <a:pt x="6606178" y="3252197"/>
                  <a:pt x="6602112" y="3244743"/>
                  <a:pt x="6596013" y="3239322"/>
                </a:cubicBezTo>
                <a:cubicBezTo>
                  <a:pt x="6589914" y="3233901"/>
                  <a:pt x="6581782" y="3231190"/>
                  <a:pt x="6570939" y="3231190"/>
                </a:cubicBezTo>
                <a:close/>
                <a:moveTo>
                  <a:pt x="6488943" y="3019083"/>
                </a:moveTo>
                <a:lnTo>
                  <a:pt x="6550610" y="3019083"/>
                </a:lnTo>
                <a:lnTo>
                  <a:pt x="6550610" y="3076006"/>
                </a:lnTo>
                <a:lnTo>
                  <a:pt x="6488943" y="3076006"/>
                </a:lnTo>
                <a:cubicBezTo>
                  <a:pt x="6482166" y="3076006"/>
                  <a:pt x="6476745" y="3070585"/>
                  <a:pt x="6476745" y="3063808"/>
                </a:cubicBezTo>
                <a:lnTo>
                  <a:pt x="6476745" y="3031281"/>
                </a:lnTo>
                <a:cubicBezTo>
                  <a:pt x="6476745" y="3024504"/>
                  <a:pt x="6482166" y="3019083"/>
                  <a:pt x="6488943" y="3019083"/>
                </a:cubicBezTo>
                <a:close/>
                <a:moveTo>
                  <a:pt x="5127526" y="2880163"/>
                </a:moveTo>
                <a:lnTo>
                  <a:pt x="5176316" y="2880163"/>
                </a:lnTo>
                <a:cubicBezTo>
                  <a:pt x="5183094" y="2880163"/>
                  <a:pt x="5188515" y="2885584"/>
                  <a:pt x="5188515" y="2892361"/>
                </a:cubicBezTo>
                <a:lnTo>
                  <a:pt x="5188515" y="2937764"/>
                </a:lnTo>
                <a:lnTo>
                  <a:pt x="5115327" y="2937764"/>
                </a:lnTo>
                <a:lnTo>
                  <a:pt x="5115327" y="2892361"/>
                </a:lnTo>
                <a:cubicBezTo>
                  <a:pt x="5115327" y="2885584"/>
                  <a:pt x="5120748" y="2880163"/>
                  <a:pt x="5127526" y="2880163"/>
                </a:cubicBezTo>
                <a:close/>
                <a:moveTo>
                  <a:pt x="7131364" y="2798166"/>
                </a:moveTo>
                <a:lnTo>
                  <a:pt x="7131364" y="3158003"/>
                </a:lnTo>
                <a:lnTo>
                  <a:pt x="7262152" y="3158003"/>
                </a:lnTo>
                <a:lnTo>
                  <a:pt x="7262830" y="2879485"/>
                </a:lnTo>
                <a:cubicBezTo>
                  <a:pt x="7262830" y="2879485"/>
                  <a:pt x="7291292" y="2879485"/>
                  <a:pt x="7291292" y="2879485"/>
                </a:cubicBezTo>
                <a:cubicBezTo>
                  <a:pt x="7302134" y="2879485"/>
                  <a:pt x="7305522" y="2881518"/>
                  <a:pt x="7310944" y="2904558"/>
                </a:cubicBezTo>
                <a:lnTo>
                  <a:pt x="7369223" y="3158003"/>
                </a:lnTo>
                <a:lnTo>
                  <a:pt x="7503399" y="3158003"/>
                </a:lnTo>
                <a:cubicBezTo>
                  <a:pt x="7503399" y="3158003"/>
                  <a:pt x="7435633" y="2867287"/>
                  <a:pt x="7429534" y="2838826"/>
                </a:cubicBezTo>
                <a:cubicBezTo>
                  <a:pt x="7423435" y="2811042"/>
                  <a:pt x="7399717" y="2798166"/>
                  <a:pt x="7377354" y="2798166"/>
                </a:cubicBezTo>
                <a:cubicBezTo>
                  <a:pt x="7360413" y="2798166"/>
                  <a:pt x="7131364" y="2798166"/>
                  <a:pt x="7131364" y="2798166"/>
                </a:cubicBezTo>
                <a:close/>
                <a:moveTo>
                  <a:pt x="6736966" y="2798166"/>
                </a:moveTo>
                <a:lnTo>
                  <a:pt x="6736966" y="3158003"/>
                </a:lnTo>
                <a:lnTo>
                  <a:pt x="6867754" y="3158003"/>
                </a:lnTo>
                <a:lnTo>
                  <a:pt x="6868432" y="3158003"/>
                </a:lnTo>
                <a:lnTo>
                  <a:pt x="6868432" y="2879485"/>
                </a:lnTo>
                <a:cubicBezTo>
                  <a:pt x="6868432" y="2879485"/>
                  <a:pt x="6896894" y="2879485"/>
                  <a:pt x="6896894" y="2879485"/>
                </a:cubicBezTo>
                <a:cubicBezTo>
                  <a:pt x="6907736" y="2879485"/>
                  <a:pt x="6911125" y="2881518"/>
                  <a:pt x="6916546" y="2904558"/>
                </a:cubicBezTo>
                <a:lnTo>
                  <a:pt x="6974825" y="3158003"/>
                </a:lnTo>
                <a:lnTo>
                  <a:pt x="7109001" y="3158003"/>
                </a:lnTo>
                <a:cubicBezTo>
                  <a:pt x="7109001" y="3158003"/>
                  <a:pt x="7041235" y="2867287"/>
                  <a:pt x="7035136" y="2838826"/>
                </a:cubicBezTo>
                <a:cubicBezTo>
                  <a:pt x="7029037" y="2811042"/>
                  <a:pt x="7005319" y="2798166"/>
                  <a:pt x="6982957" y="2798166"/>
                </a:cubicBezTo>
                <a:cubicBezTo>
                  <a:pt x="6966015" y="2798166"/>
                  <a:pt x="6736966" y="2798166"/>
                  <a:pt x="6736966" y="2798166"/>
                </a:cubicBezTo>
                <a:close/>
                <a:moveTo>
                  <a:pt x="6387294" y="2798166"/>
                </a:moveTo>
                <a:cubicBezTo>
                  <a:pt x="6364931" y="2798166"/>
                  <a:pt x="6346634" y="2816463"/>
                  <a:pt x="6346634" y="2838826"/>
                </a:cubicBezTo>
                <a:lnTo>
                  <a:pt x="6346634" y="2880840"/>
                </a:lnTo>
                <a:lnTo>
                  <a:pt x="6539090" y="2880840"/>
                </a:lnTo>
                <a:cubicBezTo>
                  <a:pt x="6545866" y="2880840"/>
                  <a:pt x="6551287" y="2886262"/>
                  <a:pt x="6551287" y="2893038"/>
                </a:cubicBezTo>
                <a:lnTo>
                  <a:pt x="6551287" y="2937764"/>
                </a:lnTo>
                <a:lnTo>
                  <a:pt x="6387294" y="2937764"/>
                </a:lnTo>
                <a:cubicBezTo>
                  <a:pt x="6364931" y="2937764"/>
                  <a:pt x="6346634" y="2956061"/>
                  <a:pt x="6346634" y="2978423"/>
                </a:cubicBezTo>
                <a:lnTo>
                  <a:pt x="6346634" y="3117343"/>
                </a:lnTo>
                <a:cubicBezTo>
                  <a:pt x="6346634" y="3139706"/>
                  <a:pt x="6364931" y="3158003"/>
                  <a:pt x="6387294" y="3158003"/>
                </a:cubicBezTo>
                <a:lnTo>
                  <a:pt x="6681398" y="3158003"/>
                </a:lnTo>
                <a:lnTo>
                  <a:pt x="6681398" y="2838826"/>
                </a:lnTo>
                <a:cubicBezTo>
                  <a:pt x="6681398" y="2816463"/>
                  <a:pt x="6663101" y="2798166"/>
                  <a:pt x="6640738" y="2798166"/>
                </a:cubicBezTo>
                <a:close/>
                <a:moveTo>
                  <a:pt x="5746228" y="2798166"/>
                </a:moveTo>
                <a:lnTo>
                  <a:pt x="5746228" y="3158003"/>
                </a:lnTo>
                <a:lnTo>
                  <a:pt x="5877016" y="3158003"/>
                </a:lnTo>
                <a:lnTo>
                  <a:pt x="5877016" y="2880163"/>
                </a:lnTo>
                <a:lnTo>
                  <a:pt x="5950881" y="2880163"/>
                </a:lnTo>
                <a:lnTo>
                  <a:pt x="5951559" y="3158003"/>
                </a:lnTo>
                <a:lnTo>
                  <a:pt x="6082347" y="3158003"/>
                </a:lnTo>
                <a:lnTo>
                  <a:pt x="6082347" y="2880163"/>
                </a:lnTo>
                <a:cubicBezTo>
                  <a:pt x="6082347" y="2880163"/>
                  <a:pt x="6110809" y="2880163"/>
                  <a:pt x="6110809" y="2880163"/>
                </a:cubicBezTo>
                <a:cubicBezTo>
                  <a:pt x="6121652" y="2880163"/>
                  <a:pt x="6125040" y="2882196"/>
                  <a:pt x="6130461" y="2905236"/>
                </a:cubicBezTo>
                <a:lnTo>
                  <a:pt x="6188062" y="3158003"/>
                </a:lnTo>
                <a:lnTo>
                  <a:pt x="6322239" y="3158003"/>
                </a:lnTo>
                <a:cubicBezTo>
                  <a:pt x="6322239" y="3158003"/>
                  <a:pt x="6254473" y="2867287"/>
                  <a:pt x="6248374" y="2838826"/>
                </a:cubicBezTo>
                <a:cubicBezTo>
                  <a:pt x="6242275" y="2811042"/>
                  <a:pt x="6218557" y="2798166"/>
                  <a:pt x="6196194" y="2798166"/>
                </a:cubicBezTo>
                <a:cubicBezTo>
                  <a:pt x="6179253" y="2798166"/>
                  <a:pt x="5746228" y="2798166"/>
                  <a:pt x="5746228" y="2798166"/>
                </a:cubicBezTo>
                <a:close/>
                <a:moveTo>
                  <a:pt x="5025876" y="2798166"/>
                </a:moveTo>
                <a:cubicBezTo>
                  <a:pt x="5003513" y="2798166"/>
                  <a:pt x="4985216" y="2816463"/>
                  <a:pt x="4985216" y="2838826"/>
                </a:cubicBezTo>
                <a:lnTo>
                  <a:pt x="4985216" y="3117343"/>
                </a:lnTo>
                <a:cubicBezTo>
                  <a:pt x="4985216" y="3139706"/>
                  <a:pt x="5003513" y="3158003"/>
                  <a:pt x="5025876" y="3158003"/>
                </a:cubicBezTo>
                <a:lnTo>
                  <a:pt x="5279320" y="3158003"/>
                </a:lnTo>
                <a:cubicBezTo>
                  <a:pt x="5301683" y="3158003"/>
                  <a:pt x="5319981" y="3139706"/>
                  <a:pt x="5319981" y="3117343"/>
                </a:cubicBezTo>
                <a:lnTo>
                  <a:pt x="5319981" y="3076684"/>
                </a:lnTo>
                <a:lnTo>
                  <a:pt x="5127526" y="3076684"/>
                </a:lnTo>
                <a:cubicBezTo>
                  <a:pt x="5120748" y="3076684"/>
                  <a:pt x="5115327" y="3071263"/>
                  <a:pt x="5115327" y="3064486"/>
                </a:cubicBezTo>
                <a:lnTo>
                  <a:pt x="5115327" y="3019761"/>
                </a:lnTo>
                <a:lnTo>
                  <a:pt x="5319981" y="3019761"/>
                </a:lnTo>
                <a:lnTo>
                  <a:pt x="5319981" y="2838826"/>
                </a:lnTo>
                <a:cubicBezTo>
                  <a:pt x="5319981" y="2816463"/>
                  <a:pt x="5301683" y="2798166"/>
                  <a:pt x="5279320" y="2798166"/>
                </a:cubicBezTo>
                <a:close/>
                <a:moveTo>
                  <a:pt x="5561227" y="2651114"/>
                </a:moveTo>
                <a:lnTo>
                  <a:pt x="5560549" y="3158003"/>
                </a:lnTo>
                <a:lnTo>
                  <a:pt x="5692015" y="3158003"/>
                </a:lnTo>
                <a:lnTo>
                  <a:pt x="5692015" y="2651114"/>
                </a:lnTo>
                <a:close/>
                <a:moveTo>
                  <a:pt x="5374870" y="2651114"/>
                </a:moveTo>
                <a:lnTo>
                  <a:pt x="5374870" y="3158003"/>
                </a:lnTo>
                <a:lnTo>
                  <a:pt x="5505658" y="3158003"/>
                </a:lnTo>
                <a:lnTo>
                  <a:pt x="5505658" y="2651114"/>
                </a:lnTo>
                <a:close/>
                <a:moveTo>
                  <a:pt x="4589463" y="2650436"/>
                </a:moveTo>
                <a:lnTo>
                  <a:pt x="4589463" y="3158003"/>
                </a:lnTo>
                <a:lnTo>
                  <a:pt x="4720251" y="3158003"/>
                </a:lnTo>
                <a:lnTo>
                  <a:pt x="4720929" y="2878807"/>
                </a:lnTo>
                <a:cubicBezTo>
                  <a:pt x="4720929" y="2878807"/>
                  <a:pt x="4749391" y="2878807"/>
                  <a:pt x="4749391" y="2878807"/>
                </a:cubicBezTo>
                <a:cubicBezTo>
                  <a:pt x="4760233" y="2878807"/>
                  <a:pt x="4763622" y="2880840"/>
                  <a:pt x="4769043" y="2903881"/>
                </a:cubicBezTo>
                <a:lnTo>
                  <a:pt x="4827322" y="3157325"/>
                </a:lnTo>
                <a:lnTo>
                  <a:pt x="4961498" y="3157325"/>
                </a:lnTo>
                <a:cubicBezTo>
                  <a:pt x="4961498" y="3157325"/>
                  <a:pt x="4893732" y="2866609"/>
                  <a:pt x="4887633" y="2838148"/>
                </a:cubicBezTo>
                <a:cubicBezTo>
                  <a:pt x="4881534" y="2810364"/>
                  <a:pt x="4857816" y="2797488"/>
                  <a:pt x="4835453" y="2797488"/>
                </a:cubicBezTo>
                <a:cubicBezTo>
                  <a:pt x="4831388" y="2797488"/>
                  <a:pt x="4720929" y="2797488"/>
                  <a:pt x="4720929" y="2797488"/>
                </a:cubicBezTo>
                <a:lnTo>
                  <a:pt x="4720251" y="2650436"/>
                </a:lnTo>
                <a:close/>
                <a:moveTo>
                  <a:pt x="7537283" y="2567085"/>
                </a:moveTo>
                <a:cubicBezTo>
                  <a:pt x="7598272" y="2567085"/>
                  <a:pt x="7647741" y="2616554"/>
                  <a:pt x="7647741" y="2678221"/>
                </a:cubicBezTo>
                <a:cubicBezTo>
                  <a:pt x="7646386" y="2739210"/>
                  <a:pt x="7596239" y="2790712"/>
                  <a:pt x="7535927" y="2790712"/>
                </a:cubicBezTo>
                <a:cubicBezTo>
                  <a:pt x="7515597" y="2790712"/>
                  <a:pt x="7496623" y="2785291"/>
                  <a:pt x="7480359" y="2775804"/>
                </a:cubicBezTo>
                <a:cubicBezTo>
                  <a:pt x="7487136" y="2775804"/>
                  <a:pt x="7495945" y="2774449"/>
                  <a:pt x="7502722" y="2773093"/>
                </a:cubicBezTo>
                <a:cubicBezTo>
                  <a:pt x="7510176" y="2771738"/>
                  <a:pt x="7517631" y="2769027"/>
                  <a:pt x="7524407" y="2765639"/>
                </a:cubicBezTo>
                <a:cubicBezTo>
                  <a:pt x="7533894" y="2761573"/>
                  <a:pt x="7543382" y="2756829"/>
                  <a:pt x="7550836" y="2748020"/>
                </a:cubicBezTo>
                <a:cubicBezTo>
                  <a:pt x="7556257" y="2741921"/>
                  <a:pt x="7563034" y="2735144"/>
                  <a:pt x="7569810" y="2731078"/>
                </a:cubicBezTo>
                <a:cubicBezTo>
                  <a:pt x="7577265" y="2726335"/>
                  <a:pt x="7584719" y="2721591"/>
                  <a:pt x="7592851" y="2718203"/>
                </a:cubicBezTo>
                <a:cubicBezTo>
                  <a:pt x="7595561" y="2716848"/>
                  <a:pt x="7598950" y="2716170"/>
                  <a:pt x="7601660" y="2716170"/>
                </a:cubicBezTo>
                <a:cubicBezTo>
                  <a:pt x="7607082" y="2716170"/>
                  <a:pt x="7612503" y="2714137"/>
                  <a:pt x="7617924" y="2712104"/>
                </a:cubicBezTo>
                <a:cubicBezTo>
                  <a:pt x="7621990" y="2710749"/>
                  <a:pt x="7626056" y="2709393"/>
                  <a:pt x="7630122" y="2708716"/>
                </a:cubicBezTo>
                <a:cubicBezTo>
                  <a:pt x="7630800" y="2708716"/>
                  <a:pt x="7631477" y="2708716"/>
                  <a:pt x="7631477" y="2707360"/>
                </a:cubicBezTo>
                <a:cubicBezTo>
                  <a:pt x="7631477" y="2706005"/>
                  <a:pt x="7630122" y="2706683"/>
                  <a:pt x="7629444" y="2706005"/>
                </a:cubicBezTo>
                <a:cubicBezTo>
                  <a:pt x="7624023" y="2704650"/>
                  <a:pt x="7618602" y="2702617"/>
                  <a:pt x="7613858" y="2700584"/>
                </a:cubicBezTo>
                <a:cubicBezTo>
                  <a:pt x="7610470" y="2699906"/>
                  <a:pt x="7607082" y="2699228"/>
                  <a:pt x="7603693" y="2700584"/>
                </a:cubicBezTo>
                <a:cubicBezTo>
                  <a:pt x="7598272" y="2701939"/>
                  <a:pt x="7594206" y="2704650"/>
                  <a:pt x="7590140" y="2708038"/>
                </a:cubicBezTo>
                <a:cubicBezTo>
                  <a:pt x="7583363" y="2713459"/>
                  <a:pt x="7575909" y="2718203"/>
                  <a:pt x="7568455" y="2720913"/>
                </a:cubicBezTo>
                <a:cubicBezTo>
                  <a:pt x="7563034" y="2723624"/>
                  <a:pt x="7556935" y="2724979"/>
                  <a:pt x="7550836" y="2725657"/>
                </a:cubicBezTo>
                <a:cubicBezTo>
                  <a:pt x="7549480" y="2725657"/>
                  <a:pt x="7547448" y="2726335"/>
                  <a:pt x="7546092" y="2725657"/>
                </a:cubicBezTo>
                <a:cubicBezTo>
                  <a:pt x="7550836" y="2722269"/>
                  <a:pt x="7556257" y="2719558"/>
                  <a:pt x="7560323" y="2714137"/>
                </a:cubicBezTo>
                <a:cubicBezTo>
                  <a:pt x="7563711" y="2710071"/>
                  <a:pt x="7566422" y="2706005"/>
                  <a:pt x="7569810" y="2702617"/>
                </a:cubicBezTo>
                <a:cubicBezTo>
                  <a:pt x="7575232" y="2697873"/>
                  <a:pt x="7580653" y="2693807"/>
                  <a:pt x="7586752" y="2690419"/>
                </a:cubicBezTo>
                <a:lnTo>
                  <a:pt x="7600983" y="2682287"/>
                </a:lnTo>
                <a:cubicBezTo>
                  <a:pt x="7603693" y="2680932"/>
                  <a:pt x="7607082" y="2679576"/>
                  <a:pt x="7609792" y="2678899"/>
                </a:cubicBezTo>
                <a:cubicBezTo>
                  <a:pt x="7611825" y="2678221"/>
                  <a:pt x="7613858" y="2678221"/>
                  <a:pt x="7615891" y="2678221"/>
                </a:cubicBezTo>
                <a:cubicBezTo>
                  <a:pt x="7621312" y="2678221"/>
                  <a:pt x="7627411" y="2674155"/>
                  <a:pt x="7632833" y="2672122"/>
                </a:cubicBezTo>
                <a:cubicBezTo>
                  <a:pt x="7635543" y="2671444"/>
                  <a:pt x="7638254" y="2671444"/>
                  <a:pt x="7640287" y="2670089"/>
                </a:cubicBezTo>
                <a:cubicBezTo>
                  <a:pt x="7640964" y="2670089"/>
                  <a:pt x="7640964" y="2669411"/>
                  <a:pt x="7640964" y="2668734"/>
                </a:cubicBezTo>
                <a:lnTo>
                  <a:pt x="7640287" y="2668056"/>
                </a:lnTo>
                <a:cubicBezTo>
                  <a:pt x="7633510" y="2667378"/>
                  <a:pt x="7628089" y="2665345"/>
                  <a:pt x="7621312" y="2663312"/>
                </a:cubicBezTo>
                <a:cubicBezTo>
                  <a:pt x="7615891" y="2662635"/>
                  <a:pt x="7610470" y="2662635"/>
                  <a:pt x="7605726" y="2665345"/>
                </a:cubicBezTo>
                <a:cubicBezTo>
                  <a:pt x="7600983" y="2668734"/>
                  <a:pt x="7596917" y="2672122"/>
                  <a:pt x="7592173" y="2675510"/>
                </a:cubicBezTo>
                <a:cubicBezTo>
                  <a:pt x="7590818" y="2676188"/>
                  <a:pt x="7589463" y="2677543"/>
                  <a:pt x="7588107" y="2678221"/>
                </a:cubicBezTo>
                <a:cubicBezTo>
                  <a:pt x="7582686" y="2681609"/>
                  <a:pt x="7576587" y="2684998"/>
                  <a:pt x="7570488" y="2687031"/>
                </a:cubicBezTo>
                <a:cubicBezTo>
                  <a:pt x="7564389" y="2689063"/>
                  <a:pt x="7558290" y="2689741"/>
                  <a:pt x="7552191" y="2689741"/>
                </a:cubicBezTo>
                <a:cubicBezTo>
                  <a:pt x="7550158" y="2689741"/>
                  <a:pt x="7548125" y="2688386"/>
                  <a:pt x="7546770" y="2686353"/>
                </a:cubicBezTo>
                <a:cubicBezTo>
                  <a:pt x="7545415" y="2683642"/>
                  <a:pt x="7544737" y="2680932"/>
                  <a:pt x="7544737" y="2678221"/>
                </a:cubicBezTo>
                <a:cubicBezTo>
                  <a:pt x="7544737" y="2676188"/>
                  <a:pt x="7544737" y="2674833"/>
                  <a:pt x="7544059" y="2672800"/>
                </a:cubicBezTo>
                <a:cubicBezTo>
                  <a:pt x="7544059" y="2668056"/>
                  <a:pt x="7543382" y="2661957"/>
                  <a:pt x="7544737" y="2657214"/>
                </a:cubicBezTo>
                <a:cubicBezTo>
                  <a:pt x="7545415" y="2652470"/>
                  <a:pt x="7546770" y="2647726"/>
                  <a:pt x="7546092" y="2642983"/>
                </a:cubicBezTo>
                <a:cubicBezTo>
                  <a:pt x="7544737" y="2638917"/>
                  <a:pt x="7539316" y="2634173"/>
                  <a:pt x="7526440" y="2623331"/>
                </a:cubicBezTo>
                <a:cubicBezTo>
                  <a:pt x="7513565" y="2611810"/>
                  <a:pt x="7500011" y="2596902"/>
                  <a:pt x="7493235" y="2584704"/>
                </a:cubicBezTo>
                <a:cubicBezTo>
                  <a:pt x="7492557" y="2583349"/>
                  <a:pt x="7491879" y="2581993"/>
                  <a:pt x="7491202" y="2581316"/>
                </a:cubicBezTo>
                <a:cubicBezTo>
                  <a:pt x="7489846" y="2581316"/>
                  <a:pt x="7489846" y="2581993"/>
                  <a:pt x="7489169" y="2582671"/>
                </a:cubicBezTo>
                <a:cubicBezTo>
                  <a:pt x="7483748" y="2590125"/>
                  <a:pt x="7481714" y="2598935"/>
                  <a:pt x="7483070" y="2608422"/>
                </a:cubicBezTo>
                <a:cubicBezTo>
                  <a:pt x="7485103" y="2617909"/>
                  <a:pt x="7489169" y="2626041"/>
                  <a:pt x="7495945" y="2633495"/>
                </a:cubicBezTo>
                <a:cubicBezTo>
                  <a:pt x="7499334" y="2637561"/>
                  <a:pt x="7503400" y="2642983"/>
                  <a:pt x="7505433" y="2647049"/>
                </a:cubicBezTo>
                <a:cubicBezTo>
                  <a:pt x="7507466" y="2651115"/>
                  <a:pt x="7508143" y="2655181"/>
                  <a:pt x="7507466" y="2659924"/>
                </a:cubicBezTo>
                <a:lnTo>
                  <a:pt x="7497301" y="2652470"/>
                </a:lnTo>
                <a:cubicBezTo>
                  <a:pt x="7497301" y="2652470"/>
                  <a:pt x="7493235" y="2649759"/>
                  <a:pt x="7487136" y="2645016"/>
                </a:cubicBezTo>
                <a:cubicBezTo>
                  <a:pt x="7481714" y="2640950"/>
                  <a:pt x="7475616" y="2637561"/>
                  <a:pt x="7466128" y="2626719"/>
                </a:cubicBezTo>
                <a:cubicBezTo>
                  <a:pt x="7466128" y="2626041"/>
                  <a:pt x="7465451" y="2626041"/>
                  <a:pt x="7464773" y="2626719"/>
                </a:cubicBezTo>
                <a:cubicBezTo>
                  <a:pt x="7464095" y="2627397"/>
                  <a:pt x="7464095" y="2628074"/>
                  <a:pt x="7463418" y="2629429"/>
                </a:cubicBezTo>
                <a:cubicBezTo>
                  <a:pt x="7462062" y="2640272"/>
                  <a:pt x="7461385" y="2653148"/>
                  <a:pt x="7467484" y="2661957"/>
                </a:cubicBezTo>
                <a:cubicBezTo>
                  <a:pt x="7470872" y="2667378"/>
                  <a:pt x="7475616" y="2672122"/>
                  <a:pt x="7480359" y="2676866"/>
                </a:cubicBezTo>
                <a:cubicBezTo>
                  <a:pt x="7483748" y="2679576"/>
                  <a:pt x="7486458" y="2682965"/>
                  <a:pt x="7489846" y="2685675"/>
                </a:cubicBezTo>
                <a:cubicBezTo>
                  <a:pt x="7493235" y="2688386"/>
                  <a:pt x="7496623" y="2691774"/>
                  <a:pt x="7496623" y="2695840"/>
                </a:cubicBezTo>
                <a:cubicBezTo>
                  <a:pt x="7497301" y="2700584"/>
                  <a:pt x="7495268" y="2704650"/>
                  <a:pt x="7493912" y="2708716"/>
                </a:cubicBezTo>
                <a:cubicBezTo>
                  <a:pt x="7491879" y="2712104"/>
                  <a:pt x="7490524" y="2715492"/>
                  <a:pt x="7487814" y="2717525"/>
                </a:cubicBezTo>
                <a:cubicBezTo>
                  <a:pt x="7483748" y="2720236"/>
                  <a:pt x="7477649" y="2718203"/>
                  <a:pt x="7472905" y="2718880"/>
                </a:cubicBezTo>
                <a:cubicBezTo>
                  <a:pt x="7469517" y="2718880"/>
                  <a:pt x="7467484" y="2722269"/>
                  <a:pt x="7466128" y="2724979"/>
                </a:cubicBezTo>
                <a:cubicBezTo>
                  <a:pt x="7464095" y="2728368"/>
                  <a:pt x="7462062" y="2731756"/>
                  <a:pt x="7462740" y="2735822"/>
                </a:cubicBezTo>
                <a:cubicBezTo>
                  <a:pt x="7463418" y="2740566"/>
                  <a:pt x="7465451" y="2744632"/>
                  <a:pt x="7466806" y="2746665"/>
                </a:cubicBezTo>
                <a:cubicBezTo>
                  <a:pt x="7467484" y="2747342"/>
                  <a:pt x="7468161" y="2748697"/>
                  <a:pt x="7469517" y="2748697"/>
                </a:cubicBezTo>
                <a:cubicBezTo>
                  <a:pt x="7471550" y="2748020"/>
                  <a:pt x="7473583" y="2747342"/>
                  <a:pt x="7475616" y="2745987"/>
                </a:cubicBezTo>
                <a:cubicBezTo>
                  <a:pt x="7485103" y="2737855"/>
                  <a:pt x="7489169" y="2735144"/>
                  <a:pt x="7499334" y="2732434"/>
                </a:cubicBezTo>
                <a:cubicBezTo>
                  <a:pt x="7493235" y="2735144"/>
                  <a:pt x="7488491" y="2741921"/>
                  <a:pt x="7487136" y="2743954"/>
                </a:cubicBezTo>
                <a:cubicBezTo>
                  <a:pt x="7479004" y="2753441"/>
                  <a:pt x="7471550" y="2757507"/>
                  <a:pt x="7460029" y="2755474"/>
                </a:cubicBezTo>
                <a:cubicBezTo>
                  <a:pt x="7457319" y="2754796"/>
                  <a:pt x="7455963" y="2754119"/>
                  <a:pt x="7455963" y="2754119"/>
                </a:cubicBezTo>
                <a:cubicBezTo>
                  <a:pt x="7445121" y="2742599"/>
                  <a:pt x="7426146" y="2716170"/>
                  <a:pt x="7426146" y="2678221"/>
                </a:cubicBezTo>
                <a:cubicBezTo>
                  <a:pt x="7426146" y="2617232"/>
                  <a:pt x="7475616" y="2567085"/>
                  <a:pt x="7537283" y="2567085"/>
                </a:cubicBezTo>
                <a:close/>
                <a:moveTo>
                  <a:pt x="7535927" y="2552854"/>
                </a:moveTo>
                <a:cubicBezTo>
                  <a:pt x="7466128" y="2552854"/>
                  <a:pt x="7409205" y="2609777"/>
                  <a:pt x="7409205" y="2679576"/>
                </a:cubicBezTo>
                <a:cubicBezTo>
                  <a:pt x="7409205" y="2749375"/>
                  <a:pt x="7466128" y="2806299"/>
                  <a:pt x="7535927" y="2806299"/>
                </a:cubicBezTo>
                <a:cubicBezTo>
                  <a:pt x="7605726" y="2806299"/>
                  <a:pt x="7662650" y="2749375"/>
                  <a:pt x="7662650" y="2679576"/>
                </a:cubicBezTo>
                <a:cubicBezTo>
                  <a:pt x="7662650" y="2609777"/>
                  <a:pt x="7605726" y="2552854"/>
                  <a:pt x="7535927" y="2552854"/>
                </a:cubicBezTo>
                <a:close/>
                <a:moveTo>
                  <a:pt x="0" y="0"/>
                </a:moveTo>
                <a:lnTo>
                  <a:pt x="12191999" y="0"/>
                </a:lnTo>
                <a:lnTo>
                  <a:pt x="12191999" y="6858000"/>
                </a:lnTo>
                <a:lnTo>
                  <a:pt x="0" y="6858000"/>
                </a:lnTo>
                <a:close/>
              </a:path>
            </a:pathLst>
          </a:custGeom>
          <a:blipFill>
            <a:blip r:embed="rId2"/>
            <a:stretch>
              <a:fillRect/>
            </a:stretch>
          </a:blipFill>
        </p:spPr>
        <p:txBody>
          <a:bodyPr wrap="square">
            <a:noAutofit/>
          </a:bodyPr>
          <a:lstStyle>
            <a:lvl1pPr marL="285750" indent="-285750" algn="ctr">
              <a:buFontTx/>
              <a:buBlip>
                <a:blip r:embed="rId3"/>
              </a:buBlip>
              <a:defRPr>
                <a:solidFill>
                  <a:schemeClr val="bg1"/>
                </a:solidFill>
              </a:defRPr>
            </a:lvl1pPr>
          </a:lstStyle>
          <a:p>
            <a:endParaRPr lang="en-US"/>
          </a:p>
          <a:p>
            <a:endParaRPr lang="en-US"/>
          </a:p>
          <a:p>
            <a:r>
              <a:rPr lang="en-US"/>
              <a:t>Fill image placeholder and make the image 30% darker!</a:t>
            </a:r>
            <a:endParaRPr lang="de-DE"/>
          </a:p>
        </p:txBody>
      </p:sp>
      <p:sp>
        <p:nvSpPr>
          <p:cNvPr id="65" name="Titel 1">
            <a:extLst>
              <a:ext uri="{FF2B5EF4-FFF2-40B4-BE49-F238E27FC236}">
                <a16:creationId xmlns:a16="http://schemas.microsoft.com/office/drawing/2014/main" id="{E49B6C10-9696-4A20-A390-BBF8A02CA45E}"/>
              </a:ext>
            </a:extLst>
          </p:cNvPr>
          <p:cNvSpPr>
            <a:spLocks noGrp="1"/>
          </p:cNvSpPr>
          <p:nvPr>
            <p:ph type="title" hasCustomPrompt="1"/>
          </p:nvPr>
        </p:nvSpPr>
        <p:spPr>
          <a:xfrm>
            <a:off x="815952" y="3728788"/>
            <a:ext cx="10560096" cy="1148012"/>
          </a:xfrm>
        </p:spPr>
        <p:txBody>
          <a:bodyPr anchor="t">
            <a:normAutofit/>
          </a:bodyPr>
          <a:lstStyle>
            <a:lvl1pPr algn="ctr">
              <a:lnSpc>
                <a:spcPct val="100000"/>
              </a:lnSpc>
              <a:defRPr sz="3600">
                <a:solidFill>
                  <a:schemeClr val="bg1"/>
                </a:solidFill>
              </a:defRPr>
            </a:lvl1pPr>
          </a:lstStyle>
          <a:p>
            <a:r>
              <a:rPr lang="de-DE"/>
              <a:t>Headline</a:t>
            </a:r>
          </a:p>
        </p:txBody>
      </p:sp>
      <p:grpSp>
        <p:nvGrpSpPr>
          <p:cNvPr id="3" name="Grafik 1">
            <a:extLst>
              <a:ext uri="{FF2B5EF4-FFF2-40B4-BE49-F238E27FC236}">
                <a16:creationId xmlns:a16="http://schemas.microsoft.com/office/drawing/2014/main" id="{E72B9C0B-F869-48CB-84AA-6132E62EFC1D}"/>
              </a:ext>
            </a:extLst>
          </p:cNvPr>
          <p:cNvGrpSpPr/>
          <p:nvPr/>
        </p:nvGrpSpPr>
        <p:grpSpPr>
          <a:xfrm>
            <a:off x="4588770" y="2552700"/>
            <a:ext cx="3077435" cy="777671"/>
            <a:chOff x="4591049" y="2550319"/>
            <a:chExt cx="3068013" cy="775290"/>
          </a:xfrm>
          <a:solidFill>
            <a:schemeClr val="accent1"/>
          </a:solidFill>
        </p:grpSpPr>
        <p:grpSp>
          <p:nvGrpSpPr>
            <p:cNvPr id="4" name="Grafik 1">
              <a:extLst>
                <a:ext uri="{FF2B5EF4-FFF2-40B4-BE49-F238E27FC236}">
                  <a16:creationId xmlns:a16="http://schemas.microsoft.com/office/drawing/2014/main" id="{E72B9C0B-F869-48CB-84AA-6132E62EFC1D}"/>
                </a:ext>
              </a:extLst>
            </p:cNvPr>
            <p:cNvGrpSpPr/>
            <p:nvPr/>
          </p:nvGrpSpPr>
          <p:grpSpPr>
            <a:xfrm>
              <a:off x="4591049" y="2647737"/>
              <a:ext cx="2909031" cy="506712"/>
              <a:chOff x="4591049" y="2647737"/>
              <a:chExt cx="2909031" cy="506712"/>
            </a:xfrm>
            <a:solidFill>
              <a:srgbClr val="E42313"/>
            </a:solidFill>
          </p:grpSpPr>
          <p:sp>
            <p:nvSpPr>
              <p:cNvPr id="5" name="Freihandform: Form 4">
                <a:extLst>
                  <a:ext uri="{FF2B5EF4-FFF2-40B4-BE49-F238E27FC236}">
                    <a16:creationId xmlns:a16="http://schemas.microsoft.com/office/drawing/2014/main" id="{58083A5F-77D4-479C-8508-64182CD83B35}"/>
                  </a:ext>
                </a:extLst>
              </p:cNvPr>
              <p:cNvSpPr/>
              <p:nvPr/>
            </p:nvSpPr>
            <p:spPr>
              <a:xfrm>
                <a:off x="4591049" y="2647737"/>
                <a:ext cx="371408" cy="506712"/>
              </a:xfrm>
              <a:custGeom>
                <a:avLst/>
                <a:gdLst>
                  <a:gd name="connsiteX0" fmla="*/ 130568 w 371408"/>
                  <a:gd name="connsiteY0" fmla="*/ 506713 h 506712"/>
                  <a:gd name="connsiteX1" fmla="*/ 0 w 371408"/>
                  <a:gd name="connsiteY1" fmla="*/ 506713 h 506712"/>
                  <a:gd name="connsiteX2" fmla="*/ 0 w 371408"/>
                  <a:gd name="connsiteY2" fmla="*/ 0 h 506712"/>
                  <a:gd name="connsiteX3" fmla="*/ 130568 w 371408"/>
                  <a:gd name="connsiteY3" fmla="*/ 0 h 506712"/>
                  <a:gd name="connsiteX4" fmla="*/ 131245 w 371408"/>
                  <a:gd name="connsiteY4" fmla="*/ 146805 h 506712"/>
                  <a:gd name="connsiteX5" fmla="*/ 245576 w 371408"/>
                  <a:gd name="connsiteY5" fmla="*/ 146805 h 506712"/>
                  <a:gd name="connsiteX6" fmla="*/ 297668 w 371408"/>
                  <a:gd name="connsiteY6" fmla="*/ 187396 h 506712"/>
                  <a:gd name="connsiteX7" fmla="*/ 371409 w 371408"/>
                  <a:gd name="connsiteY7" fmla="*/ 506036 h 506712"/>
                  <a:gd name="connsiteX8" fmla="*/ 237458 w 371408"/>
                  <a:gd name="connsiteY8" fmla="*/ 506036 h 506712"/>
                  <a:gd name="connsiteX9" fmla="*/ 179278 w 371408"/>
                  <a:gd name="connsiteY9" fmla="*/ 253018 h 506712"/>
                  <a:gd name="connsiteX10" fmla="*/ 159658 w 371408"/>
                  <a:gd name="connsiteY10" fmla="*/ 227987 h 506712"/>
                  <a:gd name="connsiteX11" fmla="*/ 131245 w 371408"/>
                  <a:gd name="connsiteY11" fmla="*/ 227987 h 506712"/>
                  <a:gd name="connsiteX12" fmla="*/ 130568 w 371408"/>
                  <a:gd name="connsiteY12" fmla="*/ 506713 h 506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1408" h="506712">
                    <a:moveTo>
                      <a:pt x="130568" y="506713"/>
                    </a:moveTo>
                    <a:lnTo>
                      <a:pt x="0" y="506713"/>
                    </a:lnTo>
                    <a:lnTo>
                      <a:pt x="0" y="0"/>
                    </a:lnTo>
                    <a:lnTo>
                      <a:pt x="130568" y="0"/>
                    </a:lnTo>
                    <a:lnTo>
                      <a:pt x="131245" y="146805"/>
                    </a:lnTo>
                    <a:cubicBezTo>
                      <a:pt x="131245" y="146805"/>
                      <a:pt x="241517" y="146805"/>
                      <a:pt x="245576" y="146805"/>
                    </a:cubicBezTo>
                    <a:cubicBezTo>
                      <a:pt x="267902" y="146805"/>
                      <a:pt x="291580" y="159659"/>
                      <a:pt x="297668" y="187396"/>
                    </a:cubicBezTo>
                    <a:cubicBezTo>
                      <a:pt x="303757" y="215810"/>
                      <a:pt x="371409" y="506036"/>
                      <a:pt x="371409" y="506036"/>
                    </a:cubicBezTo>
                    <a:lnTo>
                      <a:pt x="237458" y="506036"/>
                    </a:lnTo>
                    <a:lnTo>
                      <a:pt x="179278" y="253018"/>
                    </a:lnTo>
                    <a:cubicBezTo>
                      <a:pt x="173865" y="230017"/>
                      <a:pt x="170483" y="227987"/>
                      <a:pt x="159658" y="227987"/>
                    </a:cubicBezTo>
                    <a:cubicBezTo>
                      <a:pt x="159658" y="227987"/>
                      <a:pt x="131245" y="227987"/>
                      <a:pt x="131245" y="227987"/>
                    </a:cubicBezTo>
                    <a:lnTo>
                      <a:pt x="130568" y="506713"/>
                    </a:lnTo>
                    <a:close/>
                  </a:path>
                </a:pathLst>
              </a:custGeom>
              <a:solidFill>
                <a:srgbClr val="E42313"/>
              </a:solidFill>
              <a:ln w="6756" cap="flat">
                <a:noFill/>
                <a:prstDash val="solid"/>
                <a:miter/>
              </a:ln>
            </p:spPr>
            <p:txBody>
              <a:bodyPr rtlCol="0" anchor="ctr"/>
              <a:lstStyle/>
              <a:p>
                <a:endParaRPr lang="de-DE"/>
              </a:p>
            </p:txBody>
          </p:sp>
          <p:sp>
            <p:nvSpPr>
              <p:cNvPr id="6" name="Freihandform: Form 5">
                <a:extLst>
                  <a:ext uri="{FF2B5EF4-FFF2-40B4-BE49-F238E27FC236}">
                    <a16:creationId xmlns:a16="http://schemas.microsoft.com/office/drawing/2014/main" id="{579284D4-7742-420B-AEF0-593FD613EBDC}"/>
                  </a:ext>
                </a:extLst>
              </p:cNvPr>
              <p:cNvSpPr/>
              <p:nvPr/>
            </p:nvSpPr>
            <p:spPr>
              <a:xfrm>
                <a:off x="4986136" y="2795218"/>
                <a:ext cx="334200" cy="359231"/>
              </a:xfrm>
              <a:custGeom>
                <a:avLst/>
                <a:gdLst>
                  <a:gd name="connsiteX0" fmla="*/ 129892 w 334200"/>
                  <a:gd name="connsiteY0" fmla="*/ 139363 h 359231"/>
                  <a:gd name="connsiteX1" fmla="*/ 129892 w 334200"/>
                  <a:gd name="connsiteY1" fmla="*/ 94036 h 359231"/>
                  <a:gd name="connsiteX2" fmla="*/ 142069 w 334200"/>
                  <a:gd name="connsiteY2" fmla="*/ 81859 h 359231"/>
                  <a:gd name="connsiteX3" fmla="*/ 190778 w 334200"/>
                  <a:gd name="connsiteY3" fmla="*/ 81859 h 359231"/>
                  <a:gd name="connsiteX4" fmla="*/ 202956 w 334200"/>
                  <a:gd name="connsiteY4" fmla="*/ 94036 h 359231"/>
                  <a:gd name="connsiteX5" fmla="*/ 202956 w 334200"/>
                  <a:gd name="connsiteY5" fmla="*/ 139363 h 359231"/>
                  <a:gd name="connsiteX6" fmla="*/ 129892 w 334200"/>
                  <a:gd name="connsiteY6" fmla="*/ 139363 h 359231"/>
                  <a:gd name="connsiteX7" fmla="*/ 334200 w 334200"/>
                  <a:gd name="connsiteY7" fmla="*/ 40591 h 359231"/>
                  <a:gd name="connsiteX8" fmla="*/ 293609 w 334200"/>
                  <a:gd name="connsiteY8" fmla="*/ 0 h 359231"/>
                  <a:gd name="connsiteX9" fmla="*/ 40591 w 334200"/>
                  <a:gd name="connsiteY9" fmla="*/ 0 h 359231"/>
                  <a:gd name="connsiteX10" fmla="*/ 0 w 334200"/>
                  <a:gd name="connsiteY10" fmla="*/ 40591 h 359231"/>
                  <a:gd name="connsiteX11" fmla="*/ 0 w 334200"/>
                  <a:gd name="connsiteY11" fmla="*/ 318641 h 359231"/>
                  <a:gd name="connsiteX12" fmla="*/ 40591 w 334200"/>
                  <a:gd name="connsiteY12" fmla="*/ 359232 h 359231"/>
                  <a:gd name="connsiteX13" fmla="*/ 293609 w 334200"/>
                  <a:gd name="connsiteY13" fmla="*/ 359232 h 359231"/>
                  <a:gd name="connsiteX14" fmla="*/ 334200 w 334200"/>
                  <a:gd name="connsiteY14" fmla="*/ 318641 h 359231"/>
                  <a:gd name="connsiteX15" fmla="*/ 334200 w 334200"/>
                  <a:gd name="connsiteY15" fmla="*/ 278049 h 359231"/>
                  <a:gd name="connsiteX16" fmla="*/ 142069 w 334200"/>
                  <a:gd name="connsiteY16" fmla="*/ 278049 h 359231"/>
                  <a:gd name="connsiteX17" fmla="*/ 129892 w 334200"/>
                  <a:gd name="connsiteY17" fmla="*/ 265872 h 359231"/>
                  <a:gd name="connsiteX18" fmla="*/ 129892 w 334200"/>
                  <a:gd name="connsiteY18" fmla="*/ 221222 h 359231"/>
                  <a:gd name="connsiteX19" fmla="*/ 334200 w 334200"/>
                  <a:gd name="connsiteY19" fmla="*/ 221222 h 359231"/>
                  <a:gd name="connsiteX20" fmla="*/ 334200 w 334200"/>
                  <a:gd name="connsiteY20" fmla="*/ 40591 h 3592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34200" h="359231">
                    <a:moveTo>
                      <a:pt x="129892" y="139363"/>
                    </a:moveTo>
                    <a:lnTo>
                      <a:pt x="129892" y="94036"/>
                    </a:lnTo>
                    <a:cubicBezTo>
                      <a:pt x="129892" y="87271"/>
                      <a:pt x="135304" y="81859"/>
                      <a:pt x="142069" y="81859"/>
                    </a:cubicBezTo>
                    <a:lnTo>
                      <a:pt x="190778" y="81859"/>
                    </a:lnTo>
                    <a:cubicBezTo>
                      <a:pt x="197544" y="81859"/>
                      <a:pt x="202956" y="87271"/>
                      <a:pt x="202956" y="94036"/>
                    </a:cubicBezTo>
                    <a:lnTo>
                      <a:pt x="202956" y="139363"/>
                    </a:lnTo>
                    <a:lnTo>
                      <a:pt x="129892" y="139363"/>
                    </a:lnTo>
                    <a:close/>
                    <a:moveTo>
                      <a:pt x="334200" y="40591"/>
                    </a:moveTo>
                    <a:cubicBezTo>
                      <a:pt x="334200" y="18266"/>
                      <a:pt x="315934" y="0"/>
                      <a:pt x="293609" y="0"/>
                    </a:cubicBezTo>
                    <a:lnTo>
                      <a:pt x="40591" y="0"/>
                    </a:lnTo>
                    <a:cubicBezTo>
                      <a:pt x="18266" y="0"/>
                      <a:pt x="0" y="18266"/>
                      <a:pt x="0" y="40591"/>
                    </a:cubicBezTo>
                    <a:lnTo>
                      <a:pt x="0" y="318641"/>
                    </a:lnTo>
                    <a:cubicBezTo>
                      <a:pt x="0" y="340966"/>
                      <a:pt x="18266" y="359232"/>
                      <a:pt x="40591" y="359232"/>
                    </a:cubicBezTo>
                    <a:lnTo>
                      <a:pt x="293609" y="359232"/>
                    </a:lnTo>
                    <a:cubicBezTo>
                      <a:pt x="315934" y="359232"/>
                      <a:pt x="334200" y="340966"/>
                      <a:pt x="334200" y="318641"/>
                    </a:cubicBezTo>
                    <a:lnTo>
                      <a:pt x="334200" y="278049"/>
                    </a:lnTo>
                    <a:lnTo>
                      <a:pt x="142069" y="278049"/>
                    </a:lnTo>
                    <a:cubicBezTo>
                      <a:pt x="135304" y="278049"/>
                      <a:pt x="129892" y="272637"/>
                      <a:pt x="129892" y="265872"/>
                    </a:cubicBezTo>
                    <a:lnTo>
                      <a:pt x="129892" y="221222"/>
                    </a:lnTo>
                    <a:lnTo>
                      <a:pt x="334200" y="221222"/>
                    </a:lnTo>
                    <a:lnTo>
                      <a:pt x="334200" y="40591"/>
                    </a:lnTo>
                    <a:close/>
                  </a:path>
                </a:pathLst>
              </a:custGeom>
              <a:solidFill>
                <a:srgbClr val="E42313"/>
              </a:solidFill>
              <a:ln w="6756" cap="flat">
                <a:noFill/>
                <a:prstDash val="solid"/>
                <a:miter/>
              </a:ln>
            </p:spPr>
            <p:txBody>
              <a:bodyPr rtlCol="0" anchor="ctr"/>
              <a:lstStyle/>
              <a:p>
                <a:endParaRPr lang="de-DE"/>
              </a:p>
            </p:txBody>
          </p:sp>
          <p:sp>
            <p:nvSpPr>
              <p:cNvPr id="7" name="Freihandform: Form 6">
                <a:extLst>
                  <a:ext uri="{FF2B5EF4-FFF2-40B4-BE49-F238E27FC236}">
                    <a16:creationId xmlns:a16="http://schemas.microsoft.com/office/drawing/2014/main" id="{2C1D9E28-FAB9-4CC4-89E4-6856ADF02602}"/>
                  </a:ext>
                </a:extLst>
              </p:cNvPr>
              <p:cNvSpPr/>
              <p:nvPr/>
            </p:nvSpPr>
            <p:spPr>
              <a:xfrm>
                <a:off x="5375134" y="2648414"/>
                <a:ext cx="130568" cy="506036"/>
              </a:xfrm>
              <a:custGeom>
                <a:avLst/>
                <a:gdLst>
                  <a:gd name="connsiteX0" fmla="*/ 130568 w 130568"/>
                  <a:gd name="connsiteY0" fmla="*/ 506036 h 506036"/>
                  <a:gd name="connsiteX1" fmla="*/ 0 w 130568"/>
                  <a:gd name="connsiteY1" fmla="*/ 506036 h 506036"/>
                  <a:gd name="connsiteX2" fmla="*/ 0 w 130568"/>
                  <a:gd name="connsiteY2" fmla="*/ 0 h 506036"/>
                  <a:gd name="connsiteX3" fmla="*/ 130568 w 130568"/>
                  <a:gd name="connsiteY3" fmla="*/ 0 h 506036"/>
                </a:gdLst>
                <a:ahLst/>
                <a:cxnLst>
                  <a:cxn ang="0">
                    <a:pos x="connsiteX0" y="connsiteY0"/>
                  </a:cxn>
                  <a:cxn ang="0">
                    <a:pos x="connsiteX1" y="connsiteY1"/>
                  </a:cxn>
                  <a:cxn ang="0">
                    <a:pos x="connsiteX2" y="connsiteY2"/>
                  </a:cxn>
                  <a:cxn ang="0">
                    <a:pos x="connsiteX3" y="connsiteY3"/>
                  </a:cxn>
                </a:cxnLst>
                <a:rect l="l" t="t" r="r" b="b"/>
                <a:pathLst>
                  <a:path w="130568" h="506035">
                    <a:moveTo>
                      <a:pt x="130568" y="506036"/>
                    </a:moveTo>
                    <a:lnTo>
                      <a:pt x="0" y="506036"/>
                    </a:lnTo>
                    <a:lnTo>
                      <a:pt x="0" y="0"/>
                    </a:lnTo>
                    <a:lnTo>
                      <a:pt x="130568" y="0"/>
                    </a:lnTo>
                    <a:close/>
                  </a:path>
                </a:pathLst>
              </a:custGeom>
              <a:solidFill>
                <a:srgbClr val="E42313"/>
              </a:solidFill>
              <a:ln w="6756" cap="flat">
                <a:noFill/>
                <a:prstDash val="solid"/>
                <a:miter/>
              </a:ln>
            </p:spPr>
            <p:txBody>
              <a:bodyPr rtlCol="0" anchor="ctr"/>
              <a:lstStyle/>
              <a:p>
                <a:endParaRPr lang="de-DE"/>
              </a:p>
            </p:txBody>
          </p:sp>
          <p:sp>
            <p:nvSpPr>
              <p:cNvPr id="8" name="Freihandform: Form 7">
                <a:extLst>
                  <a:ext uri="{FF2B5EF4-FFF2-40B4-BE49-F238E27FC236}">
                    <a16:creationId xmlns:a16="http://schemas.microsoft.com/office/drawing/2014/main" id="{B1111EF9-F8B0-41DB-A38B-C294A1CD9955}"/>
                  </a:ext>
                </a:extLst>
              </p:cNvPr>
              <p:cNvSpPr/>
              <p:nvPr/>
            </p:nvSpPr>
            <p:spPr>
              <a:xfrm>
                <a:off x="5560500" y="2648414"/>
                <a:ext cx="131244" cy="506036"/>
              </a:xfrm>
              <a:custGeom>
                <a:avLst/>
                <a:gdLst>
                  <a:gd name="connsiteX0" fmla="*/ 131245 w 131244"/>
                  <a:gd name="connsiteY0" fmla="*/ 506036 h 506036"/>
                  <a:gd name="connsiteX1" fmla="*/ 0 w 131244"/>
                  <a:gd name="connsiteY1" fmla="*/ 506036 h 506036"/>
                  <a:gd name="connsiteX2" fmla="*/ 676 w 131244"/>
                  <a:gd name="connsiteY2" fmla="*/ 0 h 506036"/>
                  <a:gd name="connsiteX3" fmla="*/ 131245 w 131244"/>
                  <a:gd name="connsiteY3" fmla="*/ 0 h 506036"/>
                </a:gdLst>
                <a:ahLst/>
                <a:cxnLst>
                  <a:cxn ang="0">
                    <a:pos x="connsiteX0" y="connsiteY0"/>
                  </a:cxn>
                  <a:cxn ang="0">
                    <a:pos x="connsiteX1" y="connsiteY1"/>
                  </a:cxn>
                  <a:cxn ang="0">
                    <a:pos x="connsiteX2" y="connsiteY2"/>
                  </a:cxn>
                  <a:cxn ang="0">
                    <a:pos x="connsiteX3" y="connsiteY3"/>
                  </a:cxn>
                </a:cxnLst>
                <a:rect l="l" t="t" r="r" b="b"/>
                <a:pathLst>
                  <a:path w="131244" h="506035">
                    <a:moveTo>
                      <a:pt x="131245" y="506036"/>
                    </a:moveTo>
                    <a:lnTo>
                      <a:pt x="0" y="506036"/>
                    </a:lnTo>
                    <a:lnTo>
                      <a:pt x="676" y="0"/>
                    </a:lnTo>
                    <a:lnTo>
                      <a:pt x="131245" y="0"/>
                    </a:lnTo>
                    <a:close/>
                  </a:path>
                </a:pathLst>
              </a:custGeom>
              <a:solidFill>
                <a:srgbClr val="E42313"/>
              </a:solidFill>
              <a:ln w="6756" cap="flat">
                <a:noFill/>
                <a:prstDash val="solid"/>
                <a:miter/>
              </a:ln>
            </p:spPr>
            <p:txBody>
              <a:bodyPr rtlCol="0" anchor="ctr"/>
              <a:lstStyle/>
              <a:p>
                <a:endParaRPr lang="de-DE"/>
              </a:p>
            </p:txBody>
          </p:sp>
          <p:sp>
            <p:nvSpPr>
              <p:cNvPr id="9" name="Freihandform: Form 8">
                <a:extLst>
                  <a:ext uri="{FF2B5EF4-FFF2-40B4-BE49-F238E27FC236}">
                    <a16:creationId xmlns:a16="http://schemas.microsoft.com/office/drawing/2014/main" id="{026DEAB6-643A-4744-AA87-D92715142968}"/>
                  </a:ext>
                </a:extLst>
              </p:cNvPr>
              <p:cNvSpPr/>
              <p:nvPr/>
            </p:nvSpPr>
            <p:spPr>
              <a:xfrm>
                <a:off x="5745866" y="2795218"/>
                <a:ext cx="575041" cy="359231"/>
              </a:xfrm>
              <a:custGeom>
                <a:avLst/>
                <a:gdLst>
                  <a:gd name="connsiteX0" fmla="*/ 335553 w 575041"/>
                  <a:gd name="connsiteY0" fmla="*/ 359232 h 359231"/>
                  <a:gd name="connsiteX1" fmla="*/ 204985 w 575041"/>
                  <a:gd name="connsiteY1" fmla="*/ 359232 h 359231"/>
                  <a:gd name="connsiteX2" fmla="*/ 204309 w 575041"/>
                  <a:gd name="connsiteY2" fmla="*/ 81859 h 359231"/>
                  <a:gd name="connsiteX3" fmla="*/ 130568 w 575041"/>
                  <a:gd name="connsiteY3" fmla="*/ 81859 h 359231"/>
                  <a:gd name="connsiteX4" fmla="*/ 130568 w 575041"/>
                  <a:gd name="connsiteY4" fmla="*/ 359232 h 359231"/>
                  <a:gd name="connsiteX5" fmla="*/ 0 w 575041"/>
                  <a:gd name="connsiteY5" fmla="*/ 359232 h 359231"/>
                  <a:gd name="connsiteX6" fmla="*/ 0 w 575041"/>
                  <a:gd name="connsiteY6" fmla="*/ 0 h 359231"/>
                  <a:gd name="connsiteX7" fmla="*/ 449209 w 575041"/>
                  <a:gd name="connsiteY7" fmla="*/ 0 h 359231"/>
                  <a:gd name="connsiteX8" fmla="*/ 501301 w 575041"/>
                  <a:gd name="connsiteY8" fmla="*/ 40591 h 359231"/>
                  <a:gd name="connsiteX9" fmla="*/ 575041 w 575041"/>
                  <a:gd name="connsiteY9" fmla="*/ 359232 h 359231"/>
                  <a:gd name="connsiteX10" fmla="*/ 441090 w 575041"/>
                  <a:gd name="connsiteY10" fmla="*/ 359232 h 359231"/>
                  <a:gd name="connsiteX11" fmla="*/ 383586 w 575041"/>
                  <a:gd name="connsiteY11" fmla="*/ 106890 h 359231"/>
                  <a:gd name="connsiteX12" fmla="*/ 363967 w 575041"/>
                  <a:gd name="connsiteY12" fmla="*/ 81859 h 359231"/>
                  <a:gd name="connsiteX13" fmla="*/ 335553 w 575041"/>
                  <a:gd name="connsiteY13" fmla="*/ 81859 h 359231"/>
                  <a:gd name="connsiteX14" fmla="*/ 335553 w 575041"/>
                  <a:gd name="connsiteY14" fmla="*/ 359232 h 3592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5041" h="359231">
                    <a:moveTo>
                      <a:pt x="335553" y="359232"/>
                    </a:moveTo>
                    <a:lnTo>
                      <a:pt x="204985" y="359232"/>
                    </a:lnTo>
                    <a:lnTo>
                      <a:pt x="204309" y="81859"/>
                    </a:lnTo>
                    <a:lnTo>
                      <a:pt x="130568" y="81859"/>
                    </a:lnTo>
                    <a:lnTo>
                      <a:pt x="130568" y="359232"/>
                    </a:lnTo>
                    <a:lnTo>
                      <a:pt x="0" y="359232"/>
                    </a:lnTo>
                    <a:lnTo>
                      <a:pt x="0" y="0"/>
                    </a:lnTo>
                    <a:cubicBezTo>
                      <a:pt x="0" y="0"/>
                      <a:pt x="432296" y="0"/>
                      <a:pt x="449209" y="0"/>
                    </a:cubicBezTo>
                    <a:cubicBezTo>
                      <a:pt x="471534" y="0"/>
                      <a:pt x="495212" y="12854"/>
                      <a:pt x="501301" y="40591"/>
                    </a:cubicBezTo>
                    <a:cubicBezTo>
                      <a:pt x="507389" y="69005"/>
                      <a:pt x="575041" y="359232"/>
                      <a:pt x="575041" y="359232"/>
                    </a:cubicBezTo>
                    <a:lnTo>
                      <a:pt x="441090" y="359232"/>
                    </a:lnTo>
                    <a:lnTo>
                      <a:pt x="383586" y="106890"/>
                    </a:lnTo>
                    <a:cubicBezTo>
                      <a:pt x="378174" y="83888"/>
                      <a:pt x="374792" y="81859"/>
                      <a:pt x="363967" y="81859"/>
                    </a:cubicBezTo>
                    <a:cubicBezTo>
                      <a:pt x="363967" y="81859"/>
                      <a:pt x="335553" y="81859"/>
                      <a:pt x="335553" y="81859"/>
                    </a:cubicBezTo>
                    <a:lnTo>
                      <a:pt x="335553" y="359232"/>
                    </a:lnTo>
                    <a:close/>
                  </a:path>
                </a:pathLst>
              </a:custGeom>
              <a:solidFill>
                <a:srgbClr val="E42313"/>
              </a:solidFill>
              <a:ln w="6756" cap="flat">
                <a:noFill/>
                <a:prstDash val="solid"/>
                <a:miter/>
              </a:ln>
            </p:spPr>
            <p:txBody>
              <a:bodyPr rtlCol="0" anchor="ctr"/>
              <a:lstStyle/>
              <a:p>
                <a:endParaRPr lang="de-DE"/>
              </a:p>
            </p:txBody>
          </p:sp>
          <p:sp>
            <p:nvSpPr>
              <p:cNvPr id="10" name="Freihandform: Form 9">
                <a:extLst>
                  <a:ext uri="{FF2B5EF4-FFF2-40B4-BE49-F238E27FC236}">
                    <a16:creationId xmlns:a16="http://schemas.microsoft.com/office/drawing/2014/main" id="{137E4C79-C1AE-4EB2-900E-ABAED0229BFA}"/>
                  </a:ext>
                </a:extLst>
              </p:cNvPr>
              <p:cNvSpPr/>
              <p:nvPr/>
            </p:nvSpPr>
            <p:spPr>
              <a:xfrm>
                <a:off x="6345262" y="2795218"/>
                <a:ext cx="334200" cy="359231"/>
              </a:xfrm>
              <a:custGeom>
                <a:avLst/>
                <a:gdLst>
                  <a:gd name="connsiteX0" fmla="*/ 0 w 334200"/>
                  <a:gd name="connsiteY0" fmla="*/ 40591 h 359231"/>
                  <a:gd name="connsiteX1" fmla="*/ 40591 w 334200"/>
                  <a:gd name="connsiteY1" fmla="*/ 0 h 359231"/>
                  <a:gd name="connsiteX2" fmla="*/ 293609 w 334200"/>
                  <a:gd name="connsiteY2" fmla="*/ 0 h 359231"/>
                  <a:gd name="connsiteX3" fmla="*/ 334201 w 334200"/>
                  <a:gd name="connsiteY3" fmla="*/ 40591 h 359231"/>
                  <a:gd name="connsiteX4" fmla="*/ 334201 w 334200"/>
                  <a:gd name="connsiteY4" fmla="*/ 359232 h 359231"/>
                  <a:gd name="connsiteX5" fmla="*/ 40591 w 334200"/>
                  <a:gd name="connsiteY5" fmla="*/ 359232 h 359231"/>
                  <a:gd name="connsiteX6" fmla="*/ 0 w 334200"/>
                  <a:gd name="connsiteY6" fmla="*/ 318641 h 359231"/>
                  <a:gd name="connsiteX7" fmla="*/ 0 w 334200"/>
                  <a:gd name="connsiteY7" fmla="*/ 179954 h 359231"/>
                  <a:gd name="connsiteX8" fmla="*/ 40591 w 334200"/>
                  <a:gd name="connsiteY8" fmla="*/ 139363 h 359231"/>
                  <a:gd name="connsiteX9" fmla="*/ 204309 w 334200"/>
                  <a:gd name="connsiteY9" fmla="*/ 139363 h 359231"/>
                  <a:gd name="connsiteX10" fmla="*/ 204309 w 334200"/>
                  <a:gd name="connsiteY10" fmla="*/ 94713 h 359231"/>
                  <a:gd name="connsiteX11" fmla="*/ 192132 w 334200"/>
                  <a:gd name="connsiteY11" fmla="*/ 82535 h 359231"/>
                  <a:gd name="connsiteX12" fmla="*/ 0 w 334200"/>
                  <a:gd name="connsiteY12" fmla="*/ 82535 h 359231"/>
                  <a:gd name="connsiteX13" fmla="*/ 0 w 334200"/>
                  <a:gd name="connsiteY13" fmla="*/ 40591 h 359231"/>
                  <a:gd name="connsiteX14" fmla="*/ 203632 w 334200"/>
                  <a:gd name="connsiteY14" fmla="*/ 220545 h 359231"/>
                  <a:gd name="connsiteX15" fmla="*/ 142069 w 334200"/>
                  <a:gd name="connsiteY15" fmla="*/ 220545 h 359231"/>
                  <a:gd name="connsiteX16" fmla="*/ 129892 w 334200"/>
                  <a:gd name="connsiteY16" fmla="*/ 232723 h 359231"/>
                  <a:gd name="connsiteX17" fmla="*/ 129892 w 334200"/>
                  <a:gd name="connsiteY17" fmla="*/ 265196 h 359231"/>
                  <a:gd name="connsiteX18" fmla="*/ 142069 w 334200"/>
                  <a:gd name="connsiteY18" fmla="*/ 277373 h 359231"/>
                  <a:gd name="connsiteX19" fmla="*/ 203632 w 334200"/>
                  <a:gd name="connsiteY19" fmla="*/ 277373 h 359231"/>
                  <a:gd name="connsiteX20" fmla="*/ 203632 w 334200"/>
                  <a:gd name="connsiteY20" fmla="*/ 220545 h 3592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34200" h="359231">
                    <a:moveTo>
                      <a:pt x="0" y="40591"/>
                    </a:moveTo>
                    <a:cubicBezTo>
                      <a:pt x="0" y="18266"/>
                      <a:pt x="18266" y="0"/>
                      <a:pt x="40591" y="0"/>
                    </a:cubicBezTo>
                    <a:lnTo>
                      <a:pt x="293609" y="0"/>
                    </a:lnTo>
                    <a:cubicBezTo>
                      <a:pt x="315934" y="0"/>
                      <a:pt x="334201" y="18266"/>
                      <a:pt x="334201" y="40591"/>
                    </a:cubicBezTo>
                    <a:lnTo>
                      <a:pt x="334201" y="359232"/>
                    </a:lnTo>
                    <a:lnTo>
                      <a:pt x="40591" y="359232"/>
                    </a:lnTo>
                    <a:cubicBezTo>
                      <a:pt x="18266" y="359232"/>
                      <a:pt x="0" y="340966"/>
                      <a:pt x="0" y="318641"/>
                    </a:cubicBezTo>
                    <a:lnTo>
                      <a:pt x="0" y="179954"/>
                    </a:lnTo>
                    <a:cubicBezTo>
                      <a:pt x="0" y="157629"/>
                      <a:pt x="18266" y="139363"/>
                      <a:pt x="40591" y="139363"/>
                    </a:cubicBezTo>
                    <a:lnTo>
                      <a:pt x="204309" y="139363"/>
                    </a:lnTo>
                    <a:lnTo>
                      <a:pt x="204309" y="94713"/>
                    </a:lnTo>
                    <a:cubicBezTo>
                      <a:pt x="204309" y="87947"/>
                      <a:pt x="198897" y="82535"/>
                      <a:pt x="192132" y="82535"/>
                    </a:cubicBezTo>
                    <a:lnTo>
                      <a:pt x="0" y="82535"/>
                    </a:lnTo>
                    <a:lnTo>
                      <a:pt x="0" y="40591"/>
                    </a:lnTo>
                    <a:close/>
                    <a:moveTo>
                      <a:pt x="203632" y="220545"/>
                    </a:moveTo>
                    <a:lnTo>
                      <a:pt x="142069" y="220545"/>
                    </a:lnTo>
                    <a:cubicBezTo>
                      <a:pt x="135304" y="220545"/>
                      <a:pt x="129892" y="225957"/>
                      <a:pt x="129892" y="232723"/>
                    </a:cubicBezTo>
                    <a:lnTo>
                      <a:pt x="129892" y="265196"/>
                    </a:lnTo>
                    <a:cubicBezTo>
                      <a:pt x="129892" y="271961"/>
                      <a:pt x="135304" y="277373"/>
                      <a:pt x="142069" y="277373"/>
                    </a:cubicBezTo>
                    <a:lnTo>
                      <a:pt x="203632" y="277373"/>
                    </a:lnTo>
                    <a:lnTo>
                      <a:pt x="203632" y="220545"/>
                    </a:lnTo>
                    <a:close/>
                  </a:path>
                </a:pathLst>
              </a:custGeom>
              <a:solidFill>
                <a:srgbClr val="E42313"/>
              </a:solidFill>
              <a:ln w="6756" cap="flat">
                <a:noFill/>
                <a:prstDash val="solid"/>
                <a:miter/>
              </a:ln>
            </p:spPr>
            <p:txBody>
              <a:bodyPr rtlCol="0" anchor="ctr"/>
              <a:lstStyle/>
              <a:p>
                <a:endParaRPr lang="de-DE"/>
              </a:p>
            </p:txBody>
          </p:sp>
          <p:sp>
            <p:nvSpPr>
              <p:cNvPr id="11" name="Freihandform: Form 10">
                <a:extLst>
                  <a:ext uri="{FF2B5EF4-FFF2-40B4-BE49-F238E27FC236}">
                    <a16:creationId xmlns:a16="http://schemas.microsoft.com/office/drawing/2014/main" id="{553C28DD-4771-494C-8B79-F72570976330}"/>
                  </a:ext>
                </a:extLst>
              </p:cNvPr>
              <p:cNvSpPr/>
              <p:nvPr/>
            </p:nvSpPr>
            <p:spPr>
              <a:xfrm>
                <a:off x="6734937" y="2795218"/>
                <a:ext cx="371408" cy="359231"/>
              </a:xfrm>
              <a:custGeom>
                <a:avLst/>
                <a:gdLst>
                  <a:gd name="connsiteX0" fmla="*/ 130568 w 371408"/>
                  <a:gd name="connsiteY0" fmla="*/ 359232 h 359231"/>
                  <a:gd name="connsiteX1" fmla="*/ 0 w 371408"/>
                  <a:gd name="connsiteY1" fmla="*/ 359232 h 359231"/>
                  <a:gd name="connsiteX2" fmla="*/ 0 w 371408"/>
                  <a:gd name="connsiteY2" fmla="*/ 0 h 359231"/>
                  <a:gd name="connsiteX3" fmla="*/ 245577 w 371408"/>
                  <a:gd name="connsiteY3" fmla="*/ 0 h 359231"/>
                  <a:gd name="connsiteX4" fmla="*/ 297668 w 371408"/>
                  <a:gd name="connsiteY4" fmla="*/ 40591 h 359231"/>
                  <a:gd name="connsiteX5" fmla="*/ 371409 w 371408"/>
                  <a:gd name="connsiteY5" fmla="*/ 359232 h 359231"/>
                  <a:gd name="connsiteX6" fmla="*/ 237458 w 371408"/>
                  <a:gd name="connsiteY6" fmla="*/ 359232 h 359231"/>
                  <a:gd name="connsiteX7" fmla="*/ 179278 w 371408"/>
                  <a:gd name="connsiteY7" fmla="*/ 106214 h 359231"/>
                  <a:gd name="connsiteX8" fmla="*/ 159659 w 371408"/>
                  <a:gd name="connsiteY8" fmla="*/ 81182 h 359231"/>
                  <a:gd name="connsiteX9" fmla="*/ 131245 w 371408"/>
                  <a:gd name="connsiteY9" fmla="*/ 81182 h 359231"/>
                  <a:gd name="connsiteX10" fmla="*/ 131245 w 371408"/>
                  <a:gd name="connsiteY10" fmla="*/ 359232 h 3592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71408" h="359231">
                    <a:moveTo>
                      <a:pt x="130568" y="359232"/>
                    </a:moveTo>
                    <a:lnTo>
                      <a:pt x="0" y="359232"/>
                    </a:lnTo>
                    <a:lnTo>
                      <a:pt x="0" y="0"/>
                    </a:lnTo>
                    <a:cubicBezTo>
                      <a:pt x="0" y="0"/>
                      <a:pt x="228664" y="0"/>
                      <a:pt x="245577" y="0"/>
                    </a:cubicBezTo>
                    <a:cubicBezTo>
                      <a:pt x="267902" y="0"/>
                      <a:pt x="291580" y="12854"/>
                      <a:pt x="297668" y="40591"/>
                    </a:cubicBezTo>
                    <a:cubicBezTo>
                      <a:pt x="303757" y="69005"/>
                      <a:pt x="371409" y="359232"/>
                      <a:pt x="371409" y="359232"/>
                    </a:cubicBezTo>
                    <a:lnTo>
                      <a:pt x="237458" y="359232"/>
                    </a:lnTo>
                    <a:lnTo>
                      <a:pt x="179278" y="106214"/>
                    </a:lnTo>
                    <a:cubicBezTo>
                      <a:pt x="173865" y="83212"/>
                      <a:pt x="170483" y="81182"/>
                      <a:pt x="159659" y="81182"/>
                    </a:cubicBezTo>
                    <a:cubicBezTo>
                      <a:pt x="159659" y="81182"/>
                      <a:pt x="131245" y="81182"/>
                      <a:pt x="131245" y="81182"/>
                    </a:cubicBezTo>
                    <a:lnTo>
                      <a:pt x="131245" y="359232"/>
                    </a:lnTo>
                    <a:close/>
                  </a:path>
                </a:pathLst>
              </a:custGeom>
              <a:solidFill>
                <a:srgbClr val="E42313"/>
              </a:solidFill>
              <a:ln w="6756" cap="flat">
                <a:noFill/>
                <a:prstDash val="solid"/>
                <a:miter/>
              </a:ln>
            </p:spPr>
            <p:txBody>
              <a:bodyPr rtlCol="0" anchor="ctr"/>
              <a:lstStyle/>
              <a:p>
                <a:endParaRPr lang="de-DE"/>
              </a:p>
            </p:txBody>
          </p:sp>
          <p:sp>
            <p:nvSpPr>
              <p:cNvPr id="12" name="Freihandform: Form 11">
                <a:extLst>
                  <a:ext uri="{FF2B5EF4-FFF2-40B4-BE49-F238E27FC236}">
                    <a16:creationId xmlns:a16="http://schemas.microsoft.com/office/drawing/2014/main" id="{F0A37EDF-F005-4EAF-A322-521F22B924A6}"/>
                  </a:ext>
                </a:extLst>
              </p:cNvPr>
              <p:cNvSpPr/>
              <p:nvPr/>
            </p:nvSpPr>
            <p:spPr>
              <a:xfrm>
                <a:off x="7128671" y="2795218"/>
                <a:ext cx="371408" cy="359231"/>
              </a:xfrm>
              <a:custGeom>
                <a:avLst/>
                <a:gdLst>
                  <a:gd name="connsiteX0" fmla="*/ 130568 w 371408"/>
                  <a:gd name="connsiteY0" fmla="*/ 359232 h 359231"/>
                  <a:gd name="connsiteX1" fmla="*/ 0 w 371408"/>
                  <a:gd name="connsiteY1" fmla="*/ 359232 h 359231"/>
                  <a:gd name="connsiteX2" fmla="*/ 0 w 371408"/>
                  <a:gd name="connsiteY2" fmla="*/ 0 h 359231"/>
                  <a:gd name="connsiteX3" fmla="*/ 245576 w 371408"/>
                  <a:gd name="connsiteY3" fmla="*/ 0 h 359231"/>
                  <a:gd name="connsiteX4" fmla="*/ 297668 w 371408"/>
                  <a:gd name="connsiteY4" fmla="*/ 40591 h 359231"/>
                  <a:gd name="connsiteX5" fmla="*/ 371409 w 371408"/>
                  <a:gd name="connsiteY5" fmla="*/ 359232 h 359231"/>
                  <a:gd name="connsiteX6" fmla="*/ 237458 w 371408"/>
                  <a:gd name="connsiteY6" fmla="*/ 359232 h 359231"/>
                  <a:gd name="connsiteX7" fmla="*/ 179278 w 371408"/>
                  <a:gd name="connsiteY7" fmla="*/ 106214 h 359231"/>
                  <a:gd name="connsiteX8" fmla="*/ 159659 w 371408"/>
                  <a:gd name="connsiteY8" fmla="*/ 81182 h 359231"/>
                  <a:gd name="connsiteX9" fmla="*/ 131245 w 371408"/>
                  <a:gd name="connsiteY9" fmla="*/ 81182 h 359231"/>
                  <a:gd name="connsiteX10" fmla="*/ 130568 w 371408"/>
                  <a:gd name="connsiteY10" fmla="*/ 359232 h 3592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71408" h="359231">
                    <a:moveTo>
                      <a:pt x="130568" y="359232"/>
                    </a:moveTo>
                    <a:lnTo>
                      <a:pt x="0" y="359232"/>
                    </a:lnTo>
                    <a:lnTo>
                      <a:pt x="0" y="0"/>
                    </a:lnTo>
                    <a:cubicBezTo>
                      <a:pt x="0" y="0"/>
                      <a:pt x="228663" y="0"/>
                      <a:pt x="245576" y="0"/>
                    </a:cubicBezTo>
                    <a:cubicBezTo>
                      <a:pt x="267902" y="0"/>
                      <a:pt x="291580" y="12854"/>
                      <a:pt x="297668" y="40591"/>
                    </a:cubicBezTo>
                    <a:cubicBezTo>
                      <a:pt x="303757" y="69005"/>
                      <a:pt x="371409" y="359232"/>
                      <a:pt x="371409" y="359232"/>
                    </a:cubicBezTo>
                    <a:lnTo>
                      <a:pt x="237458" y="359232"/>
                    </a:lnTo>
                    <a:lnTo>
                      <a:pt x="179278" y="106214"/>
                    </a:lnTo>
                    <a:cubicBezTo>
                      <a:pt x="173865" y="83212"/>
                      <a:pt x="170483" y="81182"/>
                      <a:pt x="159659" y="81182"/>
                    </a:cubicBezTo>
                    <a:cubicBezTo>
                      <a:pt x="159659" y="81182"/>
                      <a:pt x="131245" y="81182"/>
                      <a:pt x="131245" y="81182"/>
                    </a:cubicBezTo>
                    <a:lnTo>
                      <a:pt x="130568" y="359232"/>
                    </a:lnTo>
                    <a:close/>
                  </a:path>
                </a:pathLst>
              </a:custGeom>
              <a:solidFill>
                <a:srgbClr val="E42313"/>
              </a:solidFill>
              <a:ln w="6756" cap="flat">
                <a:noFill/>
                <a:prstDash val="solid"/>
                <a:miter/>
              </a:ln>
            </p:spPr>
            <p:txBody>
              <a:bodyPr rtlCol="0" anchor="ctr"/>
              <a:lstStyle/>
              <a:p>
                <a:endParaRPr lang="de-DE"/>
              </a:p>
            </p:txBody>
          </p:sp>
        </p:grpSp>
        <p:grpSp>
          <p:nvGrpSpPr>
            <p:cNvPr id="13" name="Grafik 1">
              <a:extLst>
                <a:ext uri="{FF2B5EF4-FFF2-40B4-BE49-F238E27FC236}">
                  <a16:creationId xmlns:a16="http://schemas.microsoft.com/office/drawing/2014/main" id="{E72B9C0B-F869-48CB-84AA-6132E62EFC1D}"/>
                </a:ext>
              </a:extLst>
            </p:cNvPr>
            <p:cNvGrpSpPr/>
            <p:nvPr/>
          </p:nvGrpSpPr>
          <p:grpSpPr>
            <a:xfrm>
              <a:off x="4591049" y="3227514"/>
              <a:ext cx="2908354" cy="98095"/>
              <a:chOff x="4591049" y="3227514"/>
              <a:chExt cx="2908354" cy="98095"/>
            </a:xfrm>
            <a:solidFill>
              <a:srgbClr val="004A99"/>
            </a:solidFill>
          </p:grpSpPr>
          <p:sp>
            <p:nvSpPr>
              <p:cNvPr id="14" name="Freihandform: Form 13">
                <a:extLst>
                  <a:ext uri="{FF2B5EF4-FFF2-40B4-BE49-F238E27FC236}">
                    <a16:creationId xmlns:a16="http://schemas.microsoft.com/office/drawing/2014/main" id="{343F8408-BC72-40CC-A7BC-F2E8825533AD}"/>
                  </a:ext>
                </a:extLst>
              </p:cNvPr>
              <p:cNvSpPr/>
              <p:nvPr/>
            </p:nvSpPr>
            <p:spPr>
              <a:xfrm>
                <a:off x="4591049" y="3228867"/>
                <a:ext cx="112302" cy="95389"/>
              </a:xfrm>
              <a:custGeom>
                <a:avLst/>
                <a:gdLst>
                  <a:gd name="connsiteX0" fmla="*/ 81182 w 112302"/>
                  <a:gd name="connsiteY0" fmla="*/ 71711 h 95389"/>
                  <a:gd name="connsiteX1" fmla="*/ 96066 w 112302"/>
                  <a:gd name="connsiteY1" fmla="*/ 0 h 95389"/>
                  <a:gd name="connsiteX2" fmla="*/ 112302 w 112302"/>
                  <a:gd name="connsiteY2" fmla="*/ 0 h 95389"/>
                  <a:gd name="connsiteX3" fmla="*/ 89977 w 112302"/>
                  <a:gd name="connsiteY3" fmla="*/ 95389 h 95389"/>
                  <a:gd name="connsiteX4" fmla="*/ 74417 w 112302"/>
                  <a:gd name="connsiteY4" fmla="*/ 95389 h 95389"/>
                  <a:gd name="connsiteX5" fmla="*/ 56151 w 112302"/>
                  <a:gd name="connsiteY5" fmla="*/ 25708 h 95389"/>
                  <a:gd name="connsiteX6" fmla="*/ 37885 w 112302"/>
                  <a:gd name="connsiteY6" fmla="*/ 95389 h 95389"/>
                  <a:gd name="connsiteX7" fmla="*/ 22325 w 112302"/>
                  <a:gd name="connsiteY7" fmla="*/ 95389 h 95389"/>
                  <a:gd name="connsiteX8" fmla="*/ 0 w 112302"/>
                  <a:gd name="connsiteY8" fmla="*/ 0 h 95389"/>
                  <a:gd name="connsiteX9" fmla="*/ 16236 w 112302"/>
                  <a:gd name="connsiteY9" fmla="*/ 0 h 95389"/>
                  <a:gd name="connsiteX10" fmla="*/ 31120 w 112302"/>
                  <a:gd name="connsiteY10" fmla="*/ 71711 h 95389"/>
                  <a:gd name="connsiteX11" fmla="*/ 49386 w 112302"/>
                  <a:gd name="connsiteY11" fmla="*/ 0 h 95389"/>
                  <a:gd name="connsiteX12" fmla="*/ 63593 w 112302"/>
                  <a:gd name="connsiteY12" fmla="*/ 0 h 95389"/>
                  <a:gd name="connsiteX13" fmla="*/ 81182 w 112302"/>
                  <a:gd name="connsiteY13" fmla="*/ 71711 h 95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2302" h="95389">
                    <a:moveTo>
                      <a:pt x="81182" y="71711"/>
                    </a:moveTo>
                    <a:lnTo>
                      <a:pt x="96066" y="0"/>
                    </a:lnTo>
                    <a:lnTo>
                      <a:pt x="112302" y="0"/>
                    </a:lnTo>
                    <a:lnTo>
                      <a:pt x="89977" y="95389"/>
                    </a:lnTo>
                    <a:lnTo>
                      <a:pt x="74417" y="95389"/>
                    </a:lnTo>
                    <a:lnTo>
                      <a:pt x="56151" y="25708"/>
                    </a:lnTo>
                    <a:lnTo>
                      <a:pt x="37885" y="95389"/>
                    </a:lnTo>
                    <a:lnTo>
                      <a:pt x="22325" y="95389"/>
                    </a:lnTo>
                    <a:lnTo>
                      <a:pt x="0" y="0"/>
                    </a:lnTo>
                    <a:lnTo>
                      <a:pt x="16236" y="0"/>
                    </a:lnTo>
                    <a:lnTo>
                      <a:pt x="31120" y="71711"/>
                    </a:lnTo>
                    <a:lnTo>
                      <a:pt x="49386" y="0"/>
                    </a:lnTo>
                    <a:lnTo>
                      <a:pt x="63593" y="0"/>
                    </a:lnTo>
                    <a:lnTo>
                      <a:pt x="81182" y="71711"/>
                    </a:lnTo>
                    <a:close/>
                  </a:path>
                </a:pathLst>
              </a:custGeom>
              <a:solidFill>
                <a:srgbClr val="004A99"/>
              </a:solidFill>
              <a:ln w="6756" cap="flat">
                <a:noFill/>
                <a:prstDash val="solid"/>
                <a:miter/>
              </a:ln>
            </p:spPr>
            <p:txBody>
              <a:bodyPr rtlCol="0" anchor="ctr"/>
              <a:lstStyle/>
              <a:p>
                <a:endParaRPr lang="de-DE"/>
              </a:p>
            </p:txBody>
          </p:sp>
          <p:sp>
            <p:nvSpPr>
              <p:cNvPr id="15" name="Freihandform: Form 14">
                <a:extLst>
                  <a:ext uri="{FF2B5EF4-FFF2-40B4-BE49-F238E27FC236}">
                    <a16:creationId xmlns:a16="http://schemas.microsoft.com/office/drawing/2014/main" id="{7A388A9B-D78F-4A1B-8E62-90E301794707}"/>
                  </a:ext>
                </a:extLst>
              </p:cNvPr>
              <p:cNvSpPr/>
              <p:nvPr/>
            </p:nvSpPr>
            <p:spPr>
              <a:xfrm>
                <a:off x="4793328" y="3228191"/>
                <a:ext cx="79829" cy="97418"/>
              </a:xfrm>
              <a:custGeom>
                <a:avLst/>
                <a:gdLst>
                  <a:gd name="connsiteX0" fmla="*/ 79153 w 79829"/>
                  <a:gd name="connsiteY0" fmla="*/ 51415 h 97418"/>
                  <a:gd name="connsiteX1" fmla="*/ 74417 w 79829"/>
                  <a:gd name="connsiteY1" fmla="*/ 75770 h 97418"/>
                  <a:gd name="connsiteX2" fmla="*/ 60887 w 79829"/>
                  <a:gd name="connsiteY2" fmla="*/ 92007 h 97418"/>
                  <a:gd name="connsiteX3" fmla="*/ 39915 w 79829"/>
                  <a:gd name="connsiteY3" fmla="*/ 97419 h 97418"/>
                  <a:gd name="connsiteX4" fmla="*/ 18943 w 79829"/>
                  <a:gd name="connsiteY4" fmla="*/ 92007 h 97418"/>
                  <a:gd name="connsiteX5" fmla="*/ 4736 w 79829"/>
                  <a:gd name="connsiteY5" fmla="*/ 75770 h 97418"/>
                  <a:gd name="connsiteX6" fmla="*/ 0 w 79829"/>
                  <a:gd name="connsiteY6" fmla="*/ 51415 h 97418"/>
                  <a:gd name="connsiteX7" fmla="*/ 0 w 79829"/>
                  <a:gd name="connsiteY7" fmla="*/ 46003 h 97418"/>
                  <a:gd name="connsiteX8" fmla="*/ 4736 w 79829"/>
                  <a:gd name="connsiteY8" fmla="*/ 21649 h 97418"/>
                  <a:gd name="connsiteX9" fmla="*/ 18943 w 79829"/>
                  <a:gd name="connsiteY9" fmla="*/ 5412 h 97418"/>
                  <a:gd name="connsiteX10" fmla="*/ 39915 w 79829"/>
                  <a:gd name="connsiteY10" fmla="*/ 0 h 97418"/>
                  <a:gd name="connsiteX11" fmla="*/ 60887 w 79829"/>
                  <a:gd name="connsiteY11" fmla="*/ 5412 h 97418"/>
                  <a:gd name="connsiteX12" fmla="*/ 75094 w 79829"/>
                  <a:gd name="connsiteY12" fmla="*/ 21649 h 97418"/>
                  <a:gd name="connsiteX13" fmla="*/ 79829 w 79829"/>
                  <a:gd name="connsiteY13" fmla="*/ 46003 h 97418"/>
                  <a:gd name="connsiteX14" fmla="*/ 79829 w 79829"/>
                  <a:gd name="connsiteY14" fmla="*/ 51415 h 97418"/>
                  <a:gd name="connsiteX15" fmla="*/ 62240 w 79829"/>
                  <a:gd name="connsiteY15" fmla="*/ 46003 h 97418"/>
                  <a:gd name="connsiteX16" fmla="*/ 56151 w 79829"/>
                  <a:gd name="connsiteY16" fmla="*/ 21649 h 97418"/>
                  <a:gd name="connsiteX17" fmla="*/ 39238 w 79829"/>
                  <a:gd name="connsiteY17" fmla="*/ 13530 h 97418"/>
                  <a:gd name="connsiteX18" fmla="*/ 22325 w 79829"/>
                  <a:gd name="connsiteY18" fmla="*/ 21649 h 97418"/>
                  <a:gd name="connsiteX19" fmla="*/ 16236 w 79829"/>
                  <a:gd name="connsiteY19" fmla="*/ 45327 h 97418"/>
                  <a:gd name="connsiteX20" fmla="*/ 16236 w 79829"/>
                  <a:gd name="connsiteY20" fmla="*/ 50739 h 97418"/>
                  <a:gd name="connsiteX21" fmla="*/ 22325 w 79829"/>
                  <a:gd name="connsiteY21" fmla="*/ 75094 h 97418"/>
                  <a:gd name="connsiteX22" fmla="*/ 39238 w 79829"/>
                  <a:gd name="connsiteY22" fmla="*/ 83888 h 97418"/>
                  <a:gd name="connsiteX23" fmla="*/ 56151 w 79829"/>
                  <a:gd name="connsiteY23" fmla="*/ 75770 h 97418"/>
                  <a:gd name="connsiteX24" fmla="*/ 62240 w 79829"/>
                  <a:gd name="connsiteY24" fmla="*/ 51415 h 97418"/>
                  <a:gd name="connsiteX25" fmla="*/ 62240 w 79829"/>
                  <a:gd name="connsiteY25" fmla="*/ 46003 h 97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79829" h="97418">
                    <a:moveTo>
                      <a:pt x="79153" y="51415"/>
                    </a:moveTo>
                    <a:cubicBezTo>
                      <a:pt x="79153" y="60887"/>
                      <a:pt x="77800" y="69005"/>
                      <a:pt x="74417" y="75770"/>
                    </a:cubicBezTo>
                    <a:cubicBezTo>
                      <a:pt x="71035" y="82535"/>
                      <a:pt x="66299" y="87947"/>
                      <a:pt x="60887" y="92007"/>
                    </a:cubicBezTo>
                    <a:cubicBezTo>
                      <a:pt x="54798" y="96066"/>
                      <a:pt x="48033" y="97419"/>
                      <a:pt x="39915" y="97419"/>
                    </a:cubicBezTo>
                    <a:cubicBezTo>
                      <a:pt x="32473" y="97419"/>
                      <a:pt x="25031" y="95389"/>
                      <a:pt x="18943" y="92007"/>
                    </a:cubicBezTo>
                    <a:cubicBezTo>
                      <a:pt x="12854" y="87947"/>
                      <a:pt x="8118" y="82535"/>
                      <a:pt x="4736" y="75770"/>
                    </a:cubicBezTo>
                    <a:cubicBezTo>
                      <a:pt x="1353" y="69005"/>
                      <a:pt x="0" y="60887"/>
                      <a:pt x="0" y="51415"/>
                    </a:cubicBezTo>
                    <a:lnTo>
                      <a:pt x="0" y="46003"/>
                    </a:lnTo>
                    <a:cubicBezTo>
                      <a:pt x="0" y="36532"/>
                      <a:pt x="1353" y="28414"/>
                      <a:pt x="4736" y="21649"/>
                    </a:cubicBezTo>
                    <a:cubicBezTo>
                      <a:pt x="8118" y="14207"/>
                      <a:pt x="12854" y="8795"/>
                      <a:pt x="18943" y="5412"/>
                    </a:cubicBezTo>
                    <a:cubicBezTo>
                      <a:pt x="25031" y="1353"/>
                      <a:pt x="31796" y="0"/>
                      <a:pt x="39915" y="0"/>
                    </a:cubicBezTo>
                    <a:cubicBezTo>
                      <a:pt x="47356" y="0"/>
                      <a:pt x="54798" y="2030"/>
                      <a:pt x="60887" y="5412"/>
                    </a:cubicBezTo>
                    <a:cubicBezTo>
                      <a:pt x="66975" y="9471"/>
                      <a:pt x="71711" y="14207"/>
                      <a:pt x="75094" y="21649"/>
                    </a:cubicBezTo>
                    <a:cubicBezTo>
                      <a:pt x="78476" y="28414"/>
                      <a:pt x="79829" y="36532"/>
                      <a:pt x="79829" y="46003"/>
                    </a:cubicBezTo>
                    <a:lnTo>
                      <a:pt x="79829" y="51415"/>
                    </a:lnTo>
                    <a:close/>
                    <a:moveTo>
                      <a:pt x="62240" y="46003"/>
                    </a:moveTo>
                    <a:cubicBezTo>
                      <a:pt x="62240" y="35179"/>
                      <a:pt x="60210" y="27061"/>
                      <a:pt x="56151" y="21649"/>
                    </a:cubicBezTo>
                    <a:cubicBezTo>
                      <a:pt x="52092" y="16236"/>
                      <a:pt x="46680" y="13530"/>
                      <a:pt x="39238" y="13530"/>
                    </a:cubicBezTo>
                    <a:cubicBezTo>
                      <a:pt x="31796" y="13530"/>
                      <a:pt x="26384" y="16236"/>
                      <a:pt x="22325" y="21649"/>
                    </a:cubicBezTo>
                    <a:cubicBezTo>
                      <a:pt x="18266" y="27061"/>
                      <a:pt x="16236" y="35179"/>
                      <a:pt x="16236" y="45327"/>
                    </a:cubicBezTo>
                    <a:lnTo>
                      <a:pt x="16236" y="50739"/>
                    </a:lnTo>
                    <a:cubicBezTo>
                      <a:pt x="16236" y="61563"/>
                      <a:pt x="18266" y="69005"/>
                      <a:pt x="22325" y="75094"/>
                    </a:cubicBezTo>
                    <a:cubicBezTo>
                      <a:pt x="26384" y="80506"/>
                      <a:pt x="31796" y="83888"/>
                      <a:pt x="39238" y="83888"/>
                    </a:cubicBezTo>
                    <a:cubicBezTo>
                      <a:pt x="46680" y="83888"/>
                      <a:pt x="52092" y="81182"/>
                      <a:pt x="56151" y="75770"/>
                    </a:cubicBezTo>
                    <a:cubicBezTo>
                      <a:pt x="60210" y="70358"/>
                      <a:pt x="62240" y="62240"/>
                      <a:pt x="62240" y="51415"/>
                    </a:cubicBezTo>
                    <a:lnTo>
                      <a:pt x="62240" y="46003"/>
                    </a:lnTo>
                    <a:close/>
                  </a:path>
                </a:pathLst>
              </a:custGeom>
              <a:solidFill>
                <a:srgbClr val="004A99"/>
              </a:solidFill>
              <a:ln w="6756" cap="flat">
                <a:noFill/>
                <a:prstDash val="solid"/>
                <a:miter/>
              </a:ln>
            </p:spPr>
            <p:txBody>
              <a:bodyPr rtlCol="0" anchor="ctr"/>
              <a:lstStyle/>
              <a:p>
                <a:endParaRPr lang="de-DE"/>
              </a:p>
            </p:txBody>
          </p:sp>
          <p:sp>
            <p:nvSpPr>
              <p:cNvPr id="16" name="Freihandform: Form 15">
                <a:extLst>
                  <a:ext uri="{FF2B5EF4-FFF2-40B4-BE49-F238E27FC236}">
                    <a16:creationId xmlns:a16="http://schemas.microsoft.com/office/drawing/2014/main" id="{509569AE-9E67-46F9-883D-90CB7FD78A9A}"/>
                  </a:ext>
                </a:extLst>
              </p:cNvPr>
              <p:cNvSpPr/>
              <p:nvPr/>
            </p:nvSpPr>
            <p:spPr>
              <a:xfrm>
                <a:off x="4969223" y="3228867"/>
                <a:ext cx="72387" cy="96065"/>
              </a:xfrm>
              <a:custGeom>
                <a:avLst/>
                <a:gdLst>
                  <a:gd name="connsiteX0" fmla="*/ 35179 w 72387"/>
                  <a:gd name="connsiteY0" fmla="*/ 58857 h 96065"/>
                  <a:gd name="connsiteX1" fmla="*/ 16913 w 72387"/>
                  <a:gd name="connsiteY1" fmla="*/ 58857 h 96065"/>
                  <a:gd name="connsiteX2" fmla="*/ 16913 w 72387"/>
                  <a:gd name="connsiteY2" fmla="*/ 95389 h 96065"/>
                  <a:gd name="connsiteX3" fmla="*/ 0 w 72387"/>
                  <a:gd name="connsiteY3" fmla="*/ 95389 h 96065"/>
                  <a:gd name="connsiteX4" fmla="*/ 0 w 72387"/>
                  <a:gd name="connsiteY4" fmla="*/ 0 h 96065"/>
                  <a:gd name="connsiteX5" fmla="*/ 33826 w 72387"/>
                  <a:gd name="connsiteY5" fmla="*/ 0 h 96065"/>
                  <a:gd name="connsiteX6" fmla="*/ 59534 w 72387"/>
                  <a:gd name="connsiteY6" fmla="*/ 7442 h 96065"/>
                  <a:gd name="connsiteX7" fmla="*/ 68328 w 72387"/>
                  <a:gd name="connsiteY7" fmla="*/ 29090 h 96065"/>
                  <a:gd name="connsiteX8" fmla="*/ 63593 w 72387"/>
                  <a:gd name="connsiteY8" fmla="*/ 45327 h 96065"/>
                  <a:gd name="connsiteX9" fmla="*/ 50739 w 72387"/>
                  <a:gd name="connsiteY9" fmla="*/ 55475 h 96065"/>
                  <a:gd name="connsiteX10" fmla="*/ 72388 w 72387"/>
                  <a:gd name="connsiteY10" fmla="*/ 95389 h 96065"/>
                  <a:gd name="connsiteX11" fmla="*/ 72388 w 72387"/>
                  <a:gd name="connsiteY11" fmla="*/ 96066 h 96065"/>
                  <a:gd name="connsiteX12" fmla="*/ 54798 w 72387"/>
                  <a:gd name="connsiteY12" fmla="*/ 96066 h 96065"/>
                  <a:gd name="connsiteX13" fmla="*/ 35179 w 72387"/>
                  <a:gd name="connsiteY13" fmla="*/ 58857 h 96065"/>
                  <a:gd name="connsiteX14" fmla="*/ 16913 w 72387"/>
                  <a:gd name="connsiteY14" fmla="*/ 45327 h 96065"/>
                  <a:gd name="connsiteX15" fmla="*/ 33826 w 72387"/>
                  <a:gd name="connsiteY15" fmla="*/ 45327 h 96065"/>
                  <a:gd name="connsiteX16" fmla="*/ 46680 w 72387"/>
                  <a:gd name="connsiteY16" fmla="*/ 41268 h 96065"/>
                  <a:gd name="connsiteX17" fmla="*/ 51415 w 72387"/>
                  <a:gd name="connsiteY17" fmla="*/ 29767 h 96065"/>
                  <a:gd name="connsiteX18" fmla="*/ 47356 w 72387"/>
                  <a:gd name="connsiteY18" fmla="*/ 17589 h 96065"/>
                  <a:gd name="connsiteX19" fmla="*/ 34502 w 72387"/>
                  <a:gd name="connsiteY19" fmla="*/ 13530 h 96065"/>
                  <a:gd name="connsiteX20" fmla="*/ 16913 w 72387"/>
                  <a:gd name="connsiteY20" fmla="*/ 13530 h 96065"/>
                  <a:gd name="connsiteX21" fmla="*/ 16913 w 72387"/>
                  <a:gd name="connsiteY21" fmla="*/ 45327 h 96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2387" h="96065">
                    <a:moveTo>
                      <a:pt x="35179" y="58857"/>
                    </a:moveTo>
                    <a:lnTo>
                      <a:pt x="16913" y="58857"/>
                    </a:lnTo>
                    <a:lnTo>
                      <a:pt x="16913" y="95389"/>
                    </a:lnTo>
                    <a:lnTo>
                      <a:pt x="0" y="95389"/>
                    </a:lnTo>
                    <a:lnTo>
                      <a:pt x="0" y="0"/>
                    </a:lnTo>
                    <a:lnTo>
                      <a:pt x="33826" y="0"/>
                    </a:lnTo>
                    <a:cubicBezTo>
                      <a:pt x="44650" y="0"/>
                      <a:pt x="53445" y="2706"/>
                      <a:pt x="59534" y="7442"/>
                    </a:cubicBezTo>
                    <a:cubicBezTo>
                      <a:pt x="65622" y="12177"/>
                      <a:pt x="68328" y="19619"/>
                      <a:pt x="68328" y="29090"/>
                    </a:cubicBezTo>
                    <a:cubicBezTo>
                      <a:pt x="68328" y="35179"/>
                      <a:pt x="66975" y="40591"/>
                      <a:pt x="63593" y="45327"/>
                    </a:cubicBezTo>
                    <a:cubicBezTo>
                      <a:pt x="60210" y="49386"/>
                      <a:pt x="56151" y="52768"/>
                      <a:pt x="50739" y="55475"/>
                    </a:cubicBezTo>
                    <a:lnTo>
                      <a:pt x="72388" y="95389"/>
                    </a:lnTo>
                    <a:lnTo>
                      <a:pt x="72388" y="96066"/>
                    </a:lnTo>
                    <a:lnTo>
                      <a:pt x="54798" y="96066"/>
                    </a:lnTo>
                    <a:lnTo>
                      <a:pt x="35179" y="58857"/>
                    </a:lnTo>
                    <a:close/>
                    <a:moveTo>
                      <a:pt x="16913" y="45327"/>
                    </a:moveTo>
                    <a:lnTo>
                      <a:pt x="33826" y="45327"/>
                    </a:lnTo>
                    <a:cubicBezTo>
                      <a:pt x="39238" y="45327"/>
                      <a:pt x="43974" y="43974"/>
                      <a:pt x="46680" y="41268"/>
                    </a:cubicBezTo>
                    <a:cubicBezTo>
                      <a:pt x="50062" y="38562"/>
                      <a:pt x="51415" y="34502"/>
                      <a:pt x="51415" y="29767"/>
                    </a:cubicBezTo>
                    <a:cubicBezTo>
                      <a:pt x="51415" y="24355"/>
                      <a:pt x="50062" y="20972"/>
                      <a:pt x="47356" y="17589"/>
                    </a:cubicBezTo>
                    <a:cubicBezTo>
                      <a:pt x="44650" y="14207"/>
                      <a:pt x="39915" y="13530"/>
                      <a:pt x="34502" y="13530"/>
                    </a:cubicBezTo>
                    <a:lnTo>
                      <a:pt x="16913" y="13530"/>
                    </a:lnTo>
                    <a:lnTo>
                      <a:pt x="16913" y="45327"/>
                    </a:lnTo>
                    <a:close/>
                  </a:path>
                </a:pathLst>
              </a:custGeom>
              <a:solidFill>
                <a:srgbClr val="004A99"/>
              </a:solidFill>
              <a:ln w="6756" cap="flat">
                <a:noFill/>
                <a:prstDash val="solid"/>
                <a:miter/>
              </a:ln>
            </p:spPr>
            <p:txBody>
              <a:bodyPr rtlCol="0" anchor="ctr"/>
              <a:lstStyle/>
              <a:p>
                <a:endParaRPr lang="de-DE"/>
              </a:p>
            </p:txBody>
          </p:sp>
          <p:sp>
            <p:nvSpPr>
              <p:cNvPr id="17" name="Freihandform: Form 16">
                <a:extLst>
                  <a:ext uri="{FF2B5EF4-FFF2-40B4-BE49-F238E27FC236}">
                    <a16:creationId xmlns:a16="http://schemas.microsoft.com/office/drawing/2014/main" id="{44E13A90-B692-434D-980B-6C31734AFFDB}"/>
                  </a:ext>
                </a:extLst>
              </p:cNvPr>
              <p:cNvSpPr/>
              <p:nvPr/>
            </p:nvSpPr>
            <p:spPr>
              <a:xfrm>
                <a:off x="5133617" y="3229544"/>
                <a:ext cx="60210" cy="95389"/>
              </a:xfrm>
              <a:custGeom>
                <a:avLst/>
                <a:gdLst>
                  <a:gd name="connsiteX0" fmla="*/ 16913 w 60210"/>
                  <a:gd name="connsiteY0" fmla="*/ 81859 h 95389"/>
                  <a:gd name="connsiteX1" fmla="*/ 60210 w 60210"/>
                  <a:gd name="connsiteY1" fmla="*/ 81859 h 95389"/>
                  <a:gd name="connsiteX2" fmla="*/ 60210 w 60210"/>
                  <a:gd name="connsiteY2" fmla="*/ 95389 h 95389"/>
                  <a:gd name="connsiteX3" fmla="*/ 0 w 60210"/>
                  <a:gd name="connsiteY3" fmla="*/ 95389 h 95389"/>
                  <a:gd name="connsiteX4" fmla="*/ 0 w 60210"/>
                  <a:gd name="connsiteY4" fmla="*/ 0 h 95389"/>
                  <a:gd name="connsiteX5" fmla="*/ 16913 w 60210"/>
                  <a:gd name="connsiteY5" fmla="*/ 0 h 95389"/>
                  <a:gd name="connsiteX6" fmla="*/ 16913 w 60210"/>
                  <a:gd name="connsiteY6" fmla="*/ 81859 h 95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210" h="95389">
                    <a:moveTo>
                      <a:pt x="16913" y="81859"/>
                    </a:moveTo>
                    <a:lnTo>
                      <a:pt x="60210" y="81859"/>
                    </a:lnTo>
                    <a:lnTo>
                      <a:pt x="60210" y="95389"/>
                    </a:lnTo>
                    <a:lnTo>
                      <a:pt x="0" y="95389"/>
                    </a:lnTo>
                    <a:lnTo>
                      <a:pt x="0" y="0"/>
                    </a:lnTo>
                    <a:lnTo>
                      <a:pt x="16913" y="0"/>
                    </a:lnTo>
                    <a:lnTo>
                      <a:pt x="16913" y="81859"/>
                    </a:lnTo>
                    <a:close/>
                  </a:path>
                </a:pathLst>
              </a:custGeom>
              <a:solidFill>
                <a:srgbClr val="004A99"/>
              </a:solidFill>
              <a:ln w="6756" cap="flat">
                <a:noFill/>
                <a:prstDash val="solid"/>
                <a:miter/>
              </a:ln>
            </p:spPr>
            <p:txBody>
              <a:bodyPr rtlCol="0" anchor="ctr"/>
              <a:lstStyle/>
              <a:p>
                <a:endParaRPr lang="de-DE"/>
              </a:p>
            </p:txBody>
          </p:sp>
          <p:sp>
            <p:nvSpPr>
              <p:cNvPr id="18" name="Freihandform: Form 17">
                <a:extLst>
                  <a:ext uri="{FF2B5EF4-FFF2-40B4-BE49-F238E27FC236}">
                    <a16:creationId xmlns:a16="http://schemas.microsoft.com/office/drawing/2014/main" id="{6E57E184-3ED3-4E2B-809C-62EEA18CB7A6}"/>
                  </a:ext>
                </a:extLst>
              </p:cNvPr>
              <p:cNvSpPr/>
              <p:nvPr/>
            </p:nvSpPr>
            <p:spPr>
              <a:xfrm>
                <a:off x="5287187" y="3228867"/>
                <a:ext cx="71034" cy="95389"/>
              </a:xfrm>
              <a:custGeom>
                <a:avLst/>
                <a:gdLst>
                  <a:gd name="connsiteX0" fmla="*/ 0 w 71034"/>
                  <a:gd name="connsiteY0" fmla="*/ 95389 h 95389"/>
                  <a:gd name="connsiteX1" fmla="*/ 0 w 71034"/>
                  <a:gd name="connsiteY1" fmla="*/ 0 h 95389"/>
                  <a:gd name="connsiteX2" fmla="*/ 28414 w 71034"/>
                  <a:gd name="connsiteY2" fmla="*/ 0 h 95389"/>
                  <a:gd name="connsiteX3" fmla="*/ 50739 w 71034"/>
                  <a:gd name="connsiteY3" fmla="*/ 5412 h 95389"/>
                  <a:gd name="connsiteX4" fmla="*/ 65622 w 71034"/>
                  <a:gd name="connsiteY4" fmla="*/ 21649 h 95389"/>
                  <a:gd name="connsiteX5" fmla="*/ 71034 w 71034"/>
                  <a:gd name="connsiteY5" fmla="*/ 45327 h 95389"/>
                  <a:gd name="connsiteX6" fmla="*/ 71034 w 71034"/>
                  <a:gd name="connsiteY6" fmla="*/ 50062 h 95389"/>
                  <a:gd name="connsiteX7" fmla="*/ 65622 w 71034"/>
                  <a:gd name="connsiteY7" fmla="*/ 73741 h 95389"/>
                  <a:gd name="connsiteX8" fmla="*/ 50062 w 71034"/>
                  <a:gd name="connsiteY8" fmla="*/ 89301 h 95389"/>
                  <a:gd name="connsiteX9" fmla="*/ 27061 w 71034"/>
                  <a:gd name="connsiteY9" fmla="*/ 94713 h 95389"/>
                  <a:gd name="connsiteX10" fmla="*/ 0 w 71034"/>
                  <a:gd name="connsiteY10" fmla="*/ 94713 h 95389"/>
                  <a:gd name="connsiteX11" fmla="*/ 16236 w 71034"/>
                  <a:gd name="connsiteY11" fmla="*/ 13530 h 95389"/>
                  <a:gd name="connsiteX12" fmla="*/ 16236 w 71034"/>
                  <a:gd name="connsiteY12" fmla="*/ 82535 h 95389"/>
                  <a:gd name="connsiteX13" fmla="*/ 27061 w 71034"/>
                  <a:gd name="connsiteY13" fmla="*/ 82535 h 95389"/>
                  <a:gd name="connsiteX14" fmla="*/ 47356 w 71034"/>
                  <a:gd name="connsiteY14" fmla="*/ 74417 h 95389"/>
                  <a:gd name="connsiteX15" fmla="*/ 54798 w 71034"/>
                  <a:gd name="connsiteY15" fmla="*/ 50739 h 95389"/>
                  <a:gd name="connsiteX16" fmla="*/ 54798 w 71034"/>
                  <a:gd name="connsiteY16" fmla="*/ 45327 h 95389"/>
                  <a:gd name="connsiteX17" fmla="*/ 48033 w 71034"/>
                  <a:gd name="connsiteY17" fmla="*/ 21649 h 95389"/>
                  <a:gd name="connsiteX18" fmla="*/ 28414 w 71034"/>
                  <a:gd name="connsiteY18" fmla="*/ 13530 h 95389"/>
                  <a:gd name="connsiteX19" fmla="*/ 16236 w 71034"/>
                  <a:gd name="connsiteY19" fmla="*/ 13530 h 95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1034" h="95389">
                    <a:moveTo>
                      <a:pt x="0" y="95389"/>
                    </a:moveTo>
                    <a:lnTo>
                      <a:pt x="0" y="0"/>
                    </a:lnTo>
                    <a:lnTo>
                      <a:pt x="28414" y="0"/>
                    </a:lnTo>
                    <a:cubicBezTo>
                      <a:pt x="36532" y="0"/>
                      <a:pt x="44650" y="2030"/>
                      <a:pt x="50739" y="5412"/>
                    </a:cubicBezTo>
                    <a:cubicBezTo>
                      <a:pt x="57504" y="9471"/>
                      <a:pt x="62240" y="14207"/>
                      <a:pt x="65622" y="21649"/>
                    </a:cubicBezTo>
                    <a:cubicBezTo>
                      <a:pt x="69005" y="28414"/>
                      <a:pt x="71034" y="36532"/>
                      <a:pt x="71034" y="45327"/>
                    </a:cubicBezTo>
                    <a:lnTo>
                      <a:pt x="71034" y="50062"/>
                    </a:lnTo>
                    <a:cubicBezTo>
                      <a:pt x="71034" y="58857"/>
                      <a:pt x="69005" y="66975"/>
                      <a:pt x="65622" y="73741"/>
                    </a:cubicBezTo>
                    <a:cubicBezTo>
                      <a:pt x="62240" y="80506"/>
                      <a:pt x="56828" y="85918"/>
                      <a:pt x="50062" y="89301"/>
                    </a:cubicBezTo>
                    <a:cubicBezTo>
                      <a:pt x="43297" y="92683"/>
                      <a:pt x="35855" y="94713"/>
                      <a:pt x="27061" y="94713"/>
                    </a:cubicBezTo>
                    <a:lnTo>
                      <a:pt x="0" y="94713"/>
                    </a:lnTo>
                    <a:close/>
                    <a:moveTo>
                      <a:pt x="16236" y="13530"/>
                    </a:moveTo>
                    <a:lnTo>
                      <a:pt x="16236" y="82535"/>
                    </a:lnTo>
                    <a:lnTo>
                      <a:pt x="27061" y="82535"/>
                    </a:lnTo>
                    <a:cubicBezTo>
                      <a:pt x="35855" y="82535"/>
                      <a:pt x="42621" y="79829"/>
                      <a:pt x="47356" y="74417"/>
                    </a:cubicBezTo>
                    <a:cubicBezTo>
                      <a:pt x="52092" y="69005"/>
                      <a:pt x="54122" y="60887"/>
                      <a:pt x="54798" y="50739"/>
                    </a:cubicBezTo>
                    <a:lnTo>
                      <a:pt x="54798" y="45327"/>
                    </a:lnTo>
                    <a:cubicBezTo>
                      <a:pt x="54798" y="35179"/>
                      <a:pt x="52768" y="27061"/>
                      <a:pt x="48033" y="21649"/>
                    </a:cubicBezTo>
                    <a:cubicBezTo>
                      <a:pt x="43297" y="16236"/>
                      <a:pt x="37209" y="13530"/>
                      <a:pt x="28414" y="13530"/>
                    </a:cubicBezTo>
                    <a:lnTo>
                      <a:pt x="16236" y="13530"/>
                    </a:lnTo>
                    <a:close/>
                  </a:path>
                </a:pathLst>
              </a:custGeom>
              <a:solidFill>
                <a:srgbClr val="004A99"/>
              </a:solidFill>
              <a:ln w="6756" cap="flat">
                <a:noFill/>
                <a:prstDash val="solid"/>
                <a:miter/>
              </a:ln>
            </p:spPr>
            <p:txBody>
              <a:bodyPr rtlCol="0" anchor="ctr"/>
              <a:lstStyle/>
              <a:p>
                <a:endParaRPr lang="de-DE"/>
              </a:p>
            </p:txBody>
          </p:sp>
          <p:sp>
            <p:nvSpPr>
              <p:cNvPr id="19" name="Freihandform: Form 18">
                <a:extLst>
                  <a:ext uri="{FF2B5EF4-FFF2-40B4-BE49-F238E27FC236}">
                    <a16:creationId xmlns:a16="http://schemas.microsoft.com/office/drawing/2014/main" id="{37F12070-7049-454F-B3DF-8F630B280409}"/>
                  </a:ext>
                </a:extLst>
              </p:cNvPr>
              <p:cNvSpPr/>
              <p:nvPr/>
            </p:nvSpPr>
            <p:spPr>
              <a:xfrm>
                <a:off x="5448198" y="3228867"/>
                <a:ext cx="112978" cy="95389"/>
              </a:xfrm>
              <a:custGeom>
                <a:avLst/>
                <a:gdLst>
                  <a:gd name="connsiteX0" fmla="*/ 81859 w 112978"/>
                  <a:gd name="connsiteY0" fmla="*/ 71711 h 95389"/>
                  <a:gd name="connsiteX1" fmla="*/ 96742 w 112978"/>
                  <a:gd name="connsiteY1" fmla="*/ 0 h 95389"/>
                  <a:gd name="connsiteX2" fmla="*/ 112979 w 112978"/>
                  <a:gd name="connsiteY2" fmla="*/ 0 h 95389"/>
                  <a:gd name="connsiteX3" fmla="*/ 90654 w 112978"/>
                  <a:gd name="connsiteY3" fmla="*/ 95389 h 95389"/>
                  <a:gd name="connsiteX4" fmla="*/ 75094 w 112978"/>
                  <a:gd name="connsiteY4" fmla="*/ 95389 h 95389"/>
                  <a:gd name="connsiteX5" fmla="*/ 56828 w 112978"/>
                  <a:gd name="connsiteY5" fmla="*/ 25708 h 95389"/>
                  <a:gd name="connsiteX6" fmla="*/ 38562 w 112978"/>
                  <a:gd name="connsiteY6" fmla="*/ 95389 h 95389"/>
                  <a:gd name="connsiteX7" fmla="*/ 22325 w 112978"/>
                  <a:gd name="connsiteY7" fmla="*/ 95389 h 95389"/>
                  <a:gd name="connsiteX8" fmla="*/ 0 w 112978"/>
                  <a:gd name="connsiteY8" fmla="*/ 0 h 95389"/>
                  <a:gd name="connsiteX9" fmla="*/ 16237 w 112978"/>
                  <a:gd name="connsiteY9" fmla="*/ 0 h 95389"/>
                  <a:gd name="connsiteX10" fmla="*/ 31120 w 112978"/>
                  <a:gd name="connsiteY10" fmla="*/ 71711 h 95389"/>
                  <a:gd name="connsiteX11" fmla="*/ 49386 w 112978"/>
                  <a:gd name="connsiteY11" fmla="*/ 0 h 95389"/>
                  <a:gd name="connsiteX12" fmla="*/ 63593 w 112978"/>
                  <a:gd name="connsiteY12" fmla="*/ 0 h 95389"/>
                  <a:gd name="connsiteX13" fmla="*/ 81859 w 112978"/>
                  <a:gd name="connsiteY13" fmla="*/ 71711 h 95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2977" h="95389">
                    <a:moveTo>
                      <a:pt x="81859" y="71711"/>
                    </a:moveTo>
                    <a:lnTo>
                      <a:pt x="96742" y="0"/>
                    </a:lnTo>
                    <a:lnTo>
                      <a:pt x="112979" y="0"/>
                    </a:lnTo>
                    <a:lnTo>
                      <a:pt x="90654" y="95389"/>
                    </a:lnTo>
                    <a:lnTo>
                      <a:pt x="75094" y="95389"/>
                    </a:lnTo>
                    <a:lnTo>
                      <a:pt x="56828" y="25708"/>
                    </a:lnTo>
                    <a:lnTo>
                      <a:pt x="38562" y="95389"/>
                    </a:lnTo>
                    <a:lnTo>
                      <a:pt x="22325" y="95389"/>
                    </a:lnTo>
                    <a:lnTo>
                      <a:pt x="0" y="0"/>
                    </a:lnTo>
                    <a:lnTo>
                      <a:pt x="16237" y="0"/>
                    </a:lnTo>
                    <a:lnTo>
                      <a:pt x="31120" y="71711"/>
                    </a:lnTo>
                    <a:lnTo>
                      <a:pt x="49386" y="0"/>
                    </a:lnTo>
                    <a:lnTo>
                      <a:pt x="63593" y="0"/>
                    </a:lnTo>
                    <a:lnTo>
                      <a:pt x="81859" y="71711"/>
                    </a:lnTo>
                    <a:close/>
                  </a:path>
                </a:pathLst>
              </a:custGeom>
              <a:solidFill>
                <a:srgbClr val="004A99"/>
              </a:solidFill>
              <a:ln w="6756" cap="flat">
                <a:noFill/>
                <a:prstDash val="solid"/>
                <a:miter/>
              </a:ln>
            </p:spPr>
            <p:txBody>
              <a:bodyPr rtlCol="0" anchor="ctr"/>
              <a:lstStyle/>
              <a:p>
                <a:endParaRPr lang="de-DE"/>
              </a:p>
            </p:txBody>
          </p:sp>
          <p:sp>
            <p:nvSpPr>
              <p:cNvPr id="20" name="Freihandform: Form 19">
                <a:extLst>
                  <a:ext uri="{FF2B5EF4-FFF2-40B4-BE49-F238E27FC236}">
                    <a16:creationId xmlns:a16="http://schemas.microsoft.com/office/drawing/2014/main" id="{2338123D-D495-423F-8F95-A09D0183CFAF}"/>
                  </a:ext>
                </a:extLst>
              </p:cNvPr>
              <p:cNvSpPr/>
              <p:nvPr/>
            </p:nvSpPr>
            <p:spPr>
              <a:xfrm>
                <a:off x="5655213" y="3228867"/>
                <a:ext cx="16236" cy="95389"/>
              </a:xfrm>
              <a:custGeom>
                <a:avLst/>
                <a:gdLst>
                  <a:gd name="connsiteX0" fmla="*/ 16236 w 16236"/>
                  <a:gd name="connsiteY0" fmla="*/ 95389 h 95389"/>
                  <a:gd name="connsiteX1" fmla="*/ 0 w 16236"/>
                  <a:gd name="connsiteY1" fmla="*/ 95389 h 95389"/>
                  <a:gd name="connsiteX2" fmla="*/ 0 w 16236"/>
                  <a:gd name="connsiteY2" fmla="*/ 0 h 95389"/>
                  <a:gd name="connsiteX3" fmla="*/ 16236 w 16236"/>
                  <a:gd name="connsiteY3" fmla="*/ 0 h 95389"/>
                  <a:gd name="connsiteX4" fmla="*/ 16236 w 16236"/>
                  <a:gd name="connsiteY4" fmla="*/ 95389 h 953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36" h="95389">
                    <a:moveTo>
                      <a:pt x="16236" y="95389"/>
                    </a:moveTo>
                    <a:lnTo>
                      <a:pt x="0" y="95389"/>
                    </a:lnTo>
                    <a:lnTo>
                      <a:pt x="0" y="0"/>
                    </a:lnTo>
                    <a:lnTo>
                      <a:pt x="16236" y="0"/>
                    </a:lnTo>
                    <a:lnTo>
                      <a:pt x="16236" y="95389"/>
                    </a:lnTo>
                    <a:close/>
                  </a:path>
                </a:pathLst>
              </a:custGeom>
              <a:solidFill>
                <a:srgbClr val="004A99"/>
              </a:solidFill>
              <a:ln w="6756" cap="flat">
                <a:noFill/>
                <a:prstDash val="solid"/>
                <a:miter/>
              </a:ln>
            </p:spPr>
            <p:txBody>
              <a:bodyPr rtlCol="0" anchor="ctr"/>
              <a:lstStyle/>
              <a:p>
                <a:endParaRPr lang="de-DE"/>
              </a:p>
            </p:txBody>
          </p:sp>
          <p:sp>
            <p:nvSpPr>
              <p:cNvPr id="21" name="Freihandform: Form 20">
                <a:extLst>
                  <a:ext uri="{FF2B5EF4-FFF2-40B4-BE49-F238E27FC236}">
                    <a16:creationId xmlns:a16="http://schemas.microsoft.com/office/drawing/2014/main" id="{2D35AB38-CA29-427B-B916-02403D33A6E5}"/>
                  </a:ext>
                </a:extLst>
              </p:cNvPr>
              <p:cNvSpPr/>
              <p:nvPr/>
            </p:nvSpPr>
            <p:spPr>
              <a:xfrm>
                <a:off x="5772251" y="3228867"/>
                <a:ext cx="71034" cy="95389"/>
              </a:xfrm>
              <a:custGeom>
                <a:avLst/>
                <a:gdLst>
                  <a:gd name="connsiteX0" fmla="*/ 0 w 71034"/>
                  <a:gd name="connsiteY0" fmla="*/ 95389 h 95389"/>
                  <a:gd name="connsiteX1" fmla="*/ 0 w 71034"/>
                  <a:gd name="connsiteY1" fmla="*/ 0 h 95389"/>
                  <a:gd name="connsiteX2" fmla="*/ 28414 w 71034"/>
                  <a:gd name="connsiteY2" fmla="*/ 0 h 95389"/>
                  <a:gd name="connsiteX3" fmla="*/ 50739 w 71034"/>
                  <a:gd name="connsiteY3" fmla="*/ 5412 h 95389"/>
                  <a:gd name="connsiteX4" fmla="*/ 65622 w 71034"/>
                  <a:gd name="connsiteY4" fmla="*/ 21649 h 95389"/>
                  <a:gd name="connsiteX5" fmla="*/ 71034 w 71034"/>
                  <a:gd name="connsiteY5" fmla="*/ 45327 h 95389"/>
                  <a:gd name="connsiteX6" fmla="*/ 71034 w 71034"/>
                  <a:gd name="connsiteY6" fmla="*/ 50062 h 95389"/>
                  <a:gd name="connsiteX7" fmla="*/ 65622 w 71034"/>
                  <a:gd name="connsiteY7" fmla="*/ 73741 h 95389"/>
                  <a:gd name="connsiteX8" fmla="*/ 50062 w 71034"/>
                  <a:gd name="connsiteY8" fmla="*/ 89301 h 95389"/>
                  <a:gd name="connsiteX9" fmla="*/ 27061 w 71034"/>
                  <a:gd name="connsiteY9" fmla="*/ 94713 h 95389"/>
                  <a:gd name="connsiteX10" fmla="*/ 0 w 71034"/>
                  <a:gd name="connsiteY10" fmla="*/ 94713 h 95389"/>
                  <a:gd name="connsiteX11" fmla="*/ 16236 w 71034"/>
                  <a:gd name="connsiteY11" fmla="*/ 13530 h 95389"/>
                  <a:gd name="connsiteX12" fmla="*/ 16236 w 71034"/>
                  <a:gd name="connsiteY12" fmla="*/ 82535 h 95389"/>
                  <a:gd name="connsiteX13" fmla="*/ 27061 w 71034"/>
                  <a:gd name="connsiteY13" fmla="*/ 82535 h 95389"/>
                  <a:gd name="connsiteX14" fmla="*/ 47356 w 71034"/>
                  <a:gd name="connsiteY14" fmla="*/ 74417 h 95389"/>
                  <a:gd name="connsiteX15" fmla="*/ 54798 w 71034"/>
                  <a:gd name="connsiteY15" fmla="*/ 50739 h 95389"/>
                  <a:gd name="connsiteX16" fmla="*/ 54798 w 71034"/>
                  <a:gd name="connsiteY16" fmla="*/ 45327 h 95389"/>
                  <a:gd name="connsiteX17" fmla="*/ 48033 w 71034"/>
                  <a:gd name="connsiteY17" fmla="*/ 21649 h 95389"/>
                  <a:gd name="connsiteX18" fmla="*/ 28414 w 71034"/>
                  <a:gd name="connsiteY18" fmla="*/ 13530 h 95389"/>
                  <a:gd name="connsiteX19" fmla="*/ 16236 w 71034"/>
                  <a:gd name="connsiteY19" fmla="*/ 13530 h 95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1034" h="95389">
                    <a:moveTo>
                      <a:pt x="0" y="95389"/>
                    </a:moveTo>
                    <a:lnTo>
                      <a:pt x="0" y="0"/>
                    </a:lnTo>
                    <a:lnTo>
                      <a:pt x="28414" y="0"/>
                    </a:lnTo>
                    <a:cubicBezTo>
                      <a:pt x="36532" y="0"/>
                      <a:pt x="44650" y="2030"/>
                      <a:pt x="50739" y="5412"/>
                    </a:cubicBezTo>
                    <a:cubicBezTo>
                      <a:pt x="57504" y="9471"/>
                      <a:pt x="62240" y="14207"/>
                      <a:pt x="65622" y="21649"/>
                    </a:cubicBezTo>
                    <a:cubicBezTo>
                      <a:pt x="69005" y="28414"/>
                      <a:pt x="71034" y="36532"/>
                      <a:pt x="71034" y="45327"/>
                    </a:cubicBezTo>
                    <a:lnTo>
                      <a:pt x="71034" y="50062"/>
                    </a:lnTo>
                    <a:cubicBezTo>
                      <a:pt x="71034" y="58857"/>
                      <a:pt x="69005" y="66975"/>
                      <a:pt x="65622" y="73741"/>
                    </a:cubicBezTo>
                    <a:cubicBezTo>
                      <a:pt x="62240" y="80506"/>
                      <a:pt x="56828" y="85918"/>
                      <a:pt x="50062" y="89301"/>
                    </a:cubicBezTo>
                    <a:cubicBezTo>
                      <a:pt x="43297" y="92683"/>
                      <a:pt x="35855" y="94713"/>
                      <a:pt x="27061" y="94713"/>
                    </a:cubicBezTo>
                    <a:lnTo>
                      <a:pt x="0" y="94713"/>
                    </a:lnTo>
                    <a:close/>
                    <a:moveTo>
                      <a:pt x="16236" y="13530"/>
                    </a:moveTo>
                    <a:lnTo>
                      <a:pt x="16236" y="82535"/>
                    </a:lnTo>
                    <a:lnTo>
                      <a:pt x="27061" y="82535"/>
                    </a:lnTo>
                    <a:cubicBezTo>
                      <a:pt x="35855" y="82535"/>
                      <a:pt x="42621" y="79829"/>
                      <a:pt x="47356" y="74417"/>
                    </a:cubicBezTo>
                    <a:cubicBezTo>
                      <a:pt x="52092" y="69005"/>
                      <a:pt x="54122" y="60887"/>
                      <a:pt x="54798" y="50739"/>
                    </a:cubicBezTo>
                    <a:lnTo>
                      <a:pt x="54798" y="45327"/>
                    </a:lnTo>
                    <a:cubicBezTo>
                      <a:pt x="54798" y="35179"/>
                      <a:pt x="52768" y="27061"/>
                      <a:pt x="48033" y="21649"/>
                    </a:cubicBezTo>
                    <a:cubicBezTo>
                      <a:pt x="43297" y="16236"/>
                      <a:pt x="37209" y="13530"/>
                      <a:pt x="28414" y="13530"/>
                    </a:cubicBezTo>
                    <a:lnTo>
                      <a:pt x="16236" y="13530"/>
                    </a:lnTo>
                    <a:close/>
                  </a:path>
                </a:pathLst>
              </a:custGeom>
              <a:solidFill>
                <a:srgbClr val="004A99"/>
              </a:solidFill>
              <a:ln w="6756" cap="flat">
                <a:noFill/>
                <a:prstDash val="solid"/>
                <a:miter/>
              </a:ln>
            </p:spPr>
            <p:txBody>
              <a:bodyPr rtlCol="0" anchor="ctr"/>
              <a:lstStyle/>
              <a:p>
                <a:endParaRPr lang="de-DE"/>
              </a:p>
            </p:txBody>
          </p:sp>
          <p:sp>
            <p:nvSpPr>
              <p:cNvPr id="22" name="Freihandform: Form 21">
                <a:extLst>
                  <a:ext uri="{FF2B5EF4-FFF2-40B4-BE49-F238E27FC236}">
                    <a16:creationId xmlns:a16="http://schemas.microsoft.com/office/drawing/2014/main" id="{0B93FAB7-9A61-4F3B-96F3-91C389ED4B16}"/>
                  </a:ext>
                </a:extLst>
              </p:cNvPr>
              <p:cNvSpPr/>
              <p:nvPr/>
            </p:nvSpPr>
            <p:spPr>
              <a:xfrm>
                <a:off x="5940704" y="3228867"/>
                <a:ext cx="62239" cy="95389"/>
              </a:xfrm>
              <a:custGeom>
                <a:avLst/>
                <a:gdLst>
                  <a:gd name="connsiteX0" fmla="*/ 55475 w 62239"/>
                  <a:gd name="connsiteY0" fmla="*/ 52768 h 95389"/>
                  <a:gd name="connsiteX1" fmla="*/ 16236 w 62239"/>
                  <a:gd name="connsiteY1" fmla="*/ 52768 h 95389"/>
                  <a:gd name="connsiteX2" fmla="*/ 16236 w 62239"/>
                  <a:gd name="connsiteY2" fmla="*/ 81859 h 95389"/>
                  <a:gd name="connsiteX3" fmla="*/ 62240 w 62239"/>
                  <a:gd name="connsiteY3" fmla="*/ 81859 h 95389"/>
                  <a:gd name="connsiteX4" fmla="*/ 62240 w 62239"/>
                  <a:gd name="connsiteY4" fmla="*/ 95389 h 95389"/>
                  <a:gd name="connsiteX5" fmla="*/ 0 w 62239"/>
                  <a:gd name="connsiteY5" fmla="*/ 95389 h 95389"/>
                  <a:gd name="connsiteX6" fmla="*/ 0 w 62239"/>
                  <a:gd name="connsiteY6" fmla="*/ 0 h 95389"/>
                  <a:gd name="connsiteX7" fmla="*/ 62240 w 62239"/>
                  <a:gd name="connsiteY7" fmla="*/ 0 h 95389"/>
                  <a:gd name="connsiteX8" fmla="*/ 62240 w 62239"/>
                  <a:gd name="connsiteY8" fmla="*/ 13530 h 95389"/>
                  <a:gd name="connsiteX9" fmla="*/ 16913 w 62239"/>
                  <a:gd name="connsiteY9" fmla="*/ 13530 h 95389"/>
                  <a:gd name="connsiteX10" fmla="*/ 16913 w 62239"/>
                  <a:gd name="connsiteY10" fmla="*/ 39915 h 95389"/>
                  <a:gd name="connsiteX11" fmla="*/ 56151 w 62239"/>
                  <a:gd name="connsiteY11" fmla="*/ 39915 h 95389"/>
                  <a:gd name="connsiteX12" fmla="*/ 56151 w 62239"/>
                  <a:gd name="connsiteY12" fmla="*/ 52768 h 95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2238" h="95389">
                    <a:moveTo>
                      <a:pt x="55475" y="52768"/>
                    </a:moveTo>
                    <a:lnTo>
                      <a:pt x="16236" y="52768"/>
                    </a:lnTo>
                    <a:lnTo>
                      <a:pt x="16236" y="81859"/>
                    </a:lnTo>
                    <a:lnTo>
                      <a:pt x="62240" y="81859"/>
                    </a:lnTo>
                    <a:lnTo>
                      <a:pt x="62240" y="95389"/>
                    </a:lnTo>
                    <a:lnTo>
                      <a:pt x="0" y="95389"/>
                    </a:lnTo>
                    <a:lnTo>
                      <a:pt x="0" y="0"/>
                    </a:lnTo>
                    <a:lnTo>
                      <a:pt x="62240" y="0"/>
                    </a:lnTo>
                    <a:lnTo>
                      <a:pt x="62240" y="13530"/>
                    </a:lnTo>
                    <a:lnTo>
                      <a:pt x="16913" y="13530"/>
                    </a:lnTo>
                    <a:lnTo>
                      <a:pt x="16913" y="39915"/>
                    </a:lnTo>
                    <a:lnTo>
                      <a:pt x="56151" y="39915"/>
                    </a:lnTo>
                    <a:lnTo>
                      <a:pt x="56151" y="52768"/>
                    </a:lnTo>
                    <a:close/>
                  </a:path>
                </a:pathLst>
              </a:custGeom>
              <a:solidFill>
                <a:srgbClr val="004A99"/>
              </a:solidFill>
              <a:ln w="6756" cap="flat">
                <a:noFill/>
                <a:prstDash val="solid"/>
                <a:miter/>
              </a:ln>
            </p:spPr>
            <p:txBody>
              <a:bodyPr rtlCol="0" anchor="ctr"/>
              <a:lstStyle/>
              <a:p>
                <a:endParaRPr lang="de-DE"/>
              </a:p>
            </p:txBody>
          </p:sp>
          <p:sp>
            <p:nvSpPr>
              <p:cNvPr id="23" name="Freihandform: Form 22">
                <a:extLst>
                  <a:ext uri="{FF2B5EF4-FFF2-40B4-BE49-F238E27FC236}">
                    <a16:creationId xmlns:a16="http://schemas.microsoft.com/office/drawing/2014/main" id="{C3F59078-7F42-461C-9332-17B2B5F1ACD7}"/>
                  </a:ext>
                </a:extLst>
              </p:cNvPr>
              <p:cNvSpPr/>
              <p:nvPr/>
            </p:nvSpPr>
            <p:spPr>
              <a:xfrm>
                <a:off x="6210635" y="3229544"/>
                <a:ext cx="60210" cy="95389"/>
              </a:xfrm>
              <a:custGeom>
                <a:avLst/>
                <a:gdLst>
                  <a:gd name="connsiteX0" fmla="*/ 16913 w 60210"/>
                  <a:gd name="connsiteY0" fmla="*/ 81859 h 95389"/>
                  <a:gd name="connsiteX1" fmla="*/ 60210 w 60210"/>
                  <a:gd name="connsiteY1" fmla="*/ 81859 h 95389"/>
                  <a:gd name="connsiteX2" fmla="*/ 60210 w 60210"/>
                  <a:gd name="connsiteY2" fmla="*/ 95389 h 95389"/>
                  <a:gd name="connsiteX3" fmla="*/ 0 w 60210"/>
                  <a:gd name="connsiteY3" fmla="*/ 95389 h 95389"/>
                  <a:gd name="connsiteX4" fmla="*/ 0 w 60210"/>
                  <a:gd name="connsiteY4" fmla="*/ 0 h 95389"/>
                  <a:gd name="connsiteX5" fmla="*/ 16913 w 60210"/>
                  <a:gd name="connsiteY5" fmla="*/ 0 h 95389"/>
                  <a:gd name="connsiteX6" fmla="*/ 16913 w 60210"/>
                  <a:gd name="connsiteY6" fmla="*/ 81859 h 95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210" h="95389">
                    <a:moveTo>
                      <a:pt x="16913" y="81859"/>
                    </a:moveTo>
                    <a:lnTo>
                      <a:pt x="60210" y="81859"/>
                    </a:lnTo>
                    <a:lnTo>
                      <a:pt x="60210" y="95389"/>
                    </a:lnTo>
                    <a:lnTo>
                      <a:pt x="0" y="95389"/>
                    </a:lnTo>
                    <a:lnTo>
                      <a:pt x="0" y="0"/>
                    </a:lnTo>
                    <a:lnTo>
                      <a:pt x="16913" y="0"/>
                    </a:lnTo>
                    <a:lnTo>
                      <a:pt x="16913" y="81859"/>
                    </a:lnTo>
                    <a:close/>
                  </a:path>
                </a:pathLst>
              </a:custGeom>
              <a:solidFill>
                <a:srgbClr val="004A99"/>
              </a:solidFill>
              <a:ln w="6756" cap="flat">
                <a:noFill/>
                <a:prstDash val="solid"/>
                <a:miter/>
              </a:ln>
            </p:spPr>
            <p:txBody>
              <a:bodyPr rtlCol="0" anchor="ctr"/>
              <a:lstStyle/>
              <a:p>
                <a:endParaRPr lang="de-DE"/>
              </a:p>
            </p:txBody>
          </p:sp>
          <p:sp>
            <p:nvSpPr>
              <p:cNvPr id="24" name="Freihandform: Form 23">
                <a:extLst>
                  <a:ext uri="{FF2B5EF4-FFF2-40B4-BE49-F238E27FC236}">
                    <a16:creationId xmlns:a16="http://schemas.microsoft.com/office/drawing/2014/main" id="{8EB320AE-D1BC-45DD-B518-090EC46EA751}"/>
                  </a:ext>
                </a:extLst>
              </p:cNvPr>
              <p:cNvSpPr/>
              <p:nvPr/>
            </p:nvSpPr>
            <p:spPr>
              <a:xfrm>
                <a:off x="6356763" y="3228191"/>
                <a:ext cx="79829" cy="97418"/>
              </a:xfrm>
              <a:custGeom>
                <a:avLst/>
                <a:gdLst>
                  <a:gd name="connsiteX0" fmla="*/ 79153 w 79829"/>
                  <a:gd name="connsiteY0" fmla="*/ 51415 h 97418"/>
                  <a:gd name="connsiteX1" fmla="*/ 74417 w 79829"/>
                  <a:gd name="connsiteY1" fmla="*/ 75770 h 97418"/>
                  <a:gd name="connsiteX2" fmla="*/ 60887 w 79829"/>
                  <a:gd name="connsiteY2" fmla="*/ 92007 h 97418"/>
                  <a:gd name="connsiteX3" fmla="*/ 39915 w 79829"/>
                  <a:gd name="connsiteY3" fmla="*/ 97419 h 97418"/>
                  <a:gd name="connsiteX4" fmla="*/ 18942 w 79829"/>
                  <a:gd name="connsiteY4" fmla="*/ 92007 h 97418"/>
                  <a:gd name="connsiteX5" fmla="*/ 4736 w 79829"/>
                  <a:gd name="connsiteY5" fmla="*/ 75770 h 97418"/>
                  <a:gd name="connsiteX6" fmla="*/ 0 w 79829"/>
                  <a:gd name="connsiteY6" fmla="*/ 51415 h 97418"/>
                  <a:gd name="connsiteX7" fmla="*/ 0 w 79829"/>
                  <a:gd name="connsiteY7" fmla="*/ 46003 h 97418"/>
                  <a:gd name="connsiteX8" fmla="*/ 4736 w 79829"/>
                  <a:gd name="connsiteY8" fmla="*/ 21649 h 97418"/>
                  <a:gd name="connsiteX9" fmla="*/ 18942 w 79829"/>
                  <a:gd name="connsiteY9" fmla="*/ 5412 h 97418"/>
                  <a:gd name="connsiteX10" fmla="*/ 39915 w 79829"/>
                  <a:gd name="connsiteY10" fmla="*/ 0 h 97418"/>
                  <a:gd name="connsiteX11" fmla="*/ 60887 w 79829"/>
                  <a:gd name="connsiteY11" fmla="*/ 5412 h 97418"/>
                  <a:gd name="connsiteX12" fmla="*/ 75094 w 79829"/>
                  <a:gd name="connsiteY12" fmla="*/ 21649 h 97418"/>
                  <a:gd name="connsiteX13" fmla="*/ 79829 w 79829"/>
                  <a:gd name="connsiteY13" fmla="*/ 46003 h 97418"/>
                  <a:gd name="connsiteX14" fmla="*/ 79829 w 79829"/>
                  <a:gd name="connsiteY14" fmla="*/ 51415 h 97418"/>
                  <a:gd name="connsiteX15" fmla="*/ 62240 w 79829"/>
                  <a:gd name="connsiteY15" fmla="*/ 46003 h 97418"/>
                  <a:gd name="connsiteX16" fmla="*/ 56151 w 79829"/>
                  <a:gd name="connsiteY16" fmla="*/ 21649 h 97418"/>
                  <a:gd name="connsiteX17" fmla="*/ 39238 w 79829"/>
                  <a:gd name="connsiteY17" fmla="*/ 13530 h 97418"/>
                  <a:gd name="connsiteX18" fmla="*/ 22325 w 79829"/>
                  <a:gd name="connsiteY18" fmla="*/ 21649 h 97418"/>
                  <a:gd name="connsiteX19" fmla="*/ 16236 w 79829"/>
                  <a:gd name="connsiteY19" fmla="*/ 45327 h 97418"/>
                  <a:gd name="connsiteX20" fmla="*/ 16236 w 79829"/>
                  <a:gd name="connsiteY20" fmla="*/ 50739 h 97418"/>
                  <a:gd name="connsiteX21" fmla="*/ 22325 w 79829"/>
                  <a:gd name="connsiteY21" fmla="*/ 75094 h 97418"/>
                  <a:gd name="connsiteX22" fmla="*/ 39238 w 79829"/>
                  <a:gd name="connsiteY22" fmla="*/ 83888 h 97418"/>
                  <a:gd name="connsiteX23" fmla="*/ 56151 w 79829"/>
                  <a:gd name="connsiteY23" fmla="*/ 75770 h 97418"/>
                  <a:gd name="connsiteX24" fmla="*/ 62240 w 79829"/>
                  <a:gd name="connsiteY24" fmla="*/ 51415 h 97418"/>
                  <a:gd name="connsiteX25" fmla="*/ 62240 w 79829"/>
                  <a:gd name="connsiteY25" fmla="*/ 46003 h 97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79829" h="97418">
                    <a:moveTo>
                      <a:pt x="79153" y="51415"/>
                    </a:moveTo>
                    <a:cubicBezTo>
                      <a:pt x="79153" y="60887"/>
                      <a:pt x="77800" y="69005"/>
                      <a:pt x="74417" y="75770"/>
                    </a:cubicBezTo>
                    <a:cubicBezTo>
                      <a:pt x="71034" y="82535"/>
                      <a:pt x="66299" y="87947"/>
                      <a:pt x="60887" y="92007"/>
                    </a:cubicBezTo>
                    <a:cubicBezTo>
                      <a:pt x="54798" y="96066"/>
                      <a:pt x="48033" y="97419"/>
                      <a:pt x="39915" y="97419"/>
                    </a:cubicBezTo>
                    <a:cubicBezTo>
                      <a:pt x="32473" y="97419"/>
                      <a:pt x="25031" y="95389"/>
                      <a:pt x="18942" y="92007"/>
                    </a:cubicBezTo>
                    <a:cubicBezTo>
                      <a:pt x="12854" y="87947"/>
                      <a:pt x="8118" y="82535"/>
                      <a:pt x="4736" y="75770"/>
                    </a:cubicBezTo>
                    <a:cubicBezTo>
                      <a:pt x="1353" y="69005"/>
                      <a:pt x="0" y="60887"/>
                      <a:pt x="0" y="51415"/>
                    </a:cubicBezTo>
                    <a:lnTo>
                      <a:pt x="0" y="46003"/>
                    </a:lnTo>
                    <a:cubicBezTo>
                      <a:pt x="0" y="36532"/>
                      <a:pt x="1353" y="28414"/>
                      <a:pt x="4736" y="21649"/>
                    </a:cubicBezTo>
                    <a:cubicBezTo>
                      <a:pt x="8118" y="14207"/>
                      <a:pt x="12854" y="8795"/>
                      <a:pt x="18942" y="5412"/>
                    </a:cubicBezTo>
                    <a:cubicBezTo>
                      <a:pt x="25031" y="1353"/>
                      <a:pt x="31796" y="0"/>
                      <a:pt x="39915" y="0"/>
                    </a:cubicBezTo>
                    <a:cubicBezTo>
                      <a:pt x="47356" y="0"/>
                      <a:pt x="54798" y="2030"/>
                      <a:pt x="60887" y="5412"/>
                    </a:cubicBezTo>
                    <a:cubicBezTo>
                      <a:pt x="66975" y="9471"/>
                      <a:pt x="71711" y="14207"/>
                      <a:pt x="75094" y="21649"/>
                    </a:cubicBezTo>
                    <a:cubicBezTo>
                      <a:pt x="78476" y="28414"/>
                      <a:pt x="79829" y="36532"/>
                      <a:pt x="79829" y="46003"/>
                    </a:cubicBezTo>
                    <a:lnTo>
                      <a:pt x="79829" y="51415"/>
                    </a:lnTo>
                    <a:close/>
                    <a:moveTo>
                      <a:pt x="62240" y="46003"/>
                    </a:moveTo>
                    <a:cubicBezTo>
                      <a:pt x="62240" y="35179"/>
                      <a:pt x="60210" y="27061"/>
                      <a:pt x="56151" y="21649"/>
                    </a:cubicBezTo>
                    <a:cubicBezTo>
                      <a:pt x="52092" y="16236"/>
                      <a:pt x="46680" y="13530"/>
                      <a:pt x="39238" y="13530"/>
                    </a:cubicBezTo>
                    <a:cubicBezTo>
                      <a:pt x="31796" y="13530"/>
                      <a:pt x="26384" y="16236"/>
                      <a:pt x="22325" y="21649"/>
                    </a:cubicBezTo>
                    <a:cubicBezTo>
                      <a:pt x="18266" y="27061"/>
                      <a:pt x="16236" y="35179"/>
                      <a:pt x="16236" y="45327"/>
                    </a:cubicBezTo>
                    <a:lnTo>
                      <a:pt x="16236" y="50739"/>
                    </a:lnTo>
                    <a:cubicBezTo>
                      <a:pt x="16236" y="61563"/>
                      <a:pt x="18266" y="69005"/>
                      <a:pt x="22325" y="75094"/>
                    </a:cubicBezTo>
                    <a:cubicBezTo>
                      <a:pt x="26384" y="80506"/>
                      <a:pt x="31796" y="83888"/>
                      <a:pt x="39238" y="83888"/>
                    </a:cubicBezTo>
                    <a:cubicBezTo>
                      <a:pt x="46680" y="83888"/>
                      <a:pt x="52092" y="81182"/>
                      <a:pt x="56151" y="75770"/>
                    </a:cubicBezTo>
                    <a:cubicBezTo>
                      <a:pt x="60210" y="70358"/>
                      <a:pt x="62240" y="62240"/>
                      <a:pt x="62240" y="51415"/>
                    </a:cubicBezTo>
                    <a:lnTo>
                      <a:pt x="62240" y="46003"/>
                    </a:lnTo>
                    <a:close/>
                  </a:path>
                </a:pathLst>
              </a:custGeom>
              <a:solidFill>
                <a:srgbClr val="004A99"/>
              </a:solidFill>
              <a:ln w="6756" cap="flat">
                <a:noFill/>
                <a:prstDash val="solid"/>
                <a:miter/>
              </a:ln>
            </p:spPr>
            <p:txBody>
              <a:bodyPr rtlCol="0" anchor="ctr"/>
              <a:lstStyle/>
              <a:p>
                <a:endParaRPr lang="de-DE"/>
              </a:p>
            </p:txBody>
          </p:sp>
          <p:sp>
            <p:nvSpPr>
              <p:cNvPr id="25" name="Freihandform: Form 24">
                <a:extLst>
                  <a:ext uri="{FF2B5EF4-FFF2-40B4-BE49-F238E27FC236}">
                    <a16:creationId xmlns:a16="http://schemas.microsoft.com/office/drawing/2014/main" id="{A0FBCC5B-BA7C-47F3-96C4-EAB9A5269DE9}"/>
                  </a:ext>
                </a:extLst>
              </p:cNvPr>
              <p:cNvSpPr/>
              <p:nvPr/>
            </p:nvSpPr>
            <p:spPr>
              <a:xfrm>
                <a:off x="6529952" y="3227514"/>
                <a:ext cx="75769" cy="98095"/>
              </a:xfrm>
              <a:custGeom>
                <a:avLst/>
                <a:gdLst>
                  <a:gd name="connsiteX0" fmla="*/ 75770 w 75769"/>
                  <a:gd name="connsiteY0" fmla="*/ 84565 h 98095"/>
                  <a:gd name="connsiteX1" fmla="*/ 61563 w 75769"/>
                  <a:gd name="connsiteY1" fmla="*/ 94713 h 98095"/>
                  <a:gd name="connsiteX2" fmla="*/ 40591 w 75769"/>
                  <a:gd name="connsiteY2" fmla="*/ 98095 h 98095"/>
                  <a:gd name="connsiteX3" fmla="*/ 19619 w 75769"/>
                  <a:gd name="connsiteY3" fmla="*/ 92683 h 98095"/>
                  <a:gd name="connsiteX4" fmla="*/ 5412 w 75769"/>
                  <a:gd name="connsiteY4" fmla="*/ 77123 h 98095"/>
                  <a:gd name="connsiteX5" fmla="*/ 0 w 75769"/>
                  <a:gd name="connsiteY5" fmla="*/ 53445 h 98095"/>
                  <a:gd name="connsiteX6" fmla="*/ 0 w 75769"/>
                  <a:gd name="connsiteY6" fmla="*/ 46003 h 98095"/>
                  <a:gd name="connsiteX7" fmla="*/ 10148 w 75769"/>
                  <a:gd name="connsiteY7" fmla="*/ 12177 h 98095"/>
                  <a:gd name="connsiteX8" fmla="*/ 39238 w 75769"/>
                  <a:gd name="connsiteY8" fmla="*/ 0 h 98095"/>
                  <a:gd name="connsiteX9" fmla="*/ 64269 w 75769"/>
                  <a:gd name="connsiteY9" fmla="*/ 8118 h 98095"/>
                  <a:gd name="connsiteX10" fmla="*/ 75770 w 75769"/>
                  <a:gd name="connsiteY10" fmla="*/ 31120 h 98095"/>
                  <a:gd name="connsiteX11" fmla="*/ 59534 w 75769"/>
                  <a:gd name="connsiteY11" fmla="*/ 31120 h 98095"/>
                  <a:gd name="connsiteX12" fmla="*/ 39238 w 75769"/>
                  <a:gd name="connsiteY12" fmla="*/ 14207 h 98095"/>
                  <a:gd name="connsiteX13" fmla="*/ 22325 w 75769"/>
                  <a:gd name="connsiteY13" fmla="*/ 22325 h 98095"/>
                  <a:gd name="connsiteX14" fmla="*/ 16236 w 75769"/>
                  <a:gd name="connsiteY14" fmla="*/ 46003 h 98095"/>
                  <a:gd name="connsiteX15" fmla="*/ 16236 w 75769"/>
                  <a:gd name="connsiteY15" fmla="*/ 53445 h 98095"/>
                  <a:gd name="connsiteX16" fmla="*/ 23002 w 75769"/>
                  <a:gd name="connsiteY16" fmla="*/ 77123 h 98095"/>
                  <a:gd name="connsiteX17" fmla="*/ 41268 w 75769"/>
                  <a:gd name="connsiteY17" fmla="*/ 85918 h 98095"/>
                  <a:gd name="connsiteX18" fmla="*/ 59534 w 75769"/>
                  <a:gd name="connsiteY18" fmla="*/ 79829 h 98095"/>
                  <a:gd name="connsiteX19" fmla="*/ 59534 w 75769"/>
                  <a:gd name="connsiteY19" fmla="*/ 60887 h 98095"/>
                  <a:gd name="connsiteX20" fmla="*/ 39915 w 75769"/>
                  <a:gd name="connsiteY20" fmla="*/ 60887 h 98095"/>
                  <a:gd name="connsiteX21" fmla="*/ 39915 w 75769"/>
                  <a:gd name="connsiteY21" fmla="*/ 48033 h 98095"/>
                  <a:gd name="connsiteX22" fmla="*/ 75770 w 75769"/>
                  <a:gd name="connsiteY22" fmla="*/ 48033 h 98095"/>
                  <a:gd name="connsiteX23" fmla="*/ 75770 w 75769"/>
                  <a:gd name="connsiteY23" fmla="*/ 84565 h 98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5769" h="98095">
                    <a:moveTo>
                      <a:pt x="75770" y="84565"/>
                    </a:moveTo>
                    <a:cubicBezTo>
                      <a:pt x="72387" y="89301"/>
                      <a:pt x="67652" y="92683"/>
                      <a:pt x="61563" y="94713"/>
                    </a:cubicBezTo>
                    <a:cubicBezTo>
                      <a:pt x="55474" y="96742"/>
                      <a:pt x="48709" y="98095"/>
                      <a:pt x="40591" y="98095"/>
                    </a:cubicBezTo>
                    <a:cubicBezTo>
                      <a:pt x="32473" y="98095"/>
                      <a:pt x="25708" y="96066"/>
                      <a:pt x="19619" y="92683"/>
                    </a:cubicBezTo>
                    <a:cubicBezTo>
                      <a:pt x="13530" y="89301"/>
                      <a:pt x="8795" y="83888"/>
                      <a:pt x="5412" y="77123"/>
                    </a:cubicBezTo>
                    <a:cubicBezTo>
                      <a:pt x="2029" y="70358"/>
                      <a:pt x="0" y="62240"/>
                      <a:pt x="0" y="53445"/>
                    </a:cubicBezTo>
                    <a:lnTo>
                      <a:pt x="0" y="46003"/>
                    </a:lnTo>
                    <a:cubicBezTo>
                      <a:pt x="0" y="31796"/>
                      <a:pt x="3383" y="20296"/>
                      <a:pt x="10148" y="12177"/>
                    </a:cubicBezTo>
                    <a:cubicBezTo>
                      <a:pt x="16913" y="4059"/>
                      <a:pt x="26384" y="0"/>
                      <a:pt x="39238" y="0"/>
                    </a:cubicBezTo>
                    <a:cubicBezTo>
                      <a:pt x="50062" y="0"/>
                      <a:pt x="58181" y="2706"/>
                      <a:pt x="64269" y="8118"/>
                    </a:cubicBezTo>
                    <a:cubicBezTo>
                      <a:pt x="70358" y="13530"/>
                      <a:pt x="74417" y="20972"/>
                      <a:pt x="75770" y="31120"/>
                    </a:cubicBezTo>
                    <a:lnTo>
                      <a:pt x="59534" y="31120"/>
                    </a:lnTo>
                    <a:cubicBezTo>
                      <a:pt x="57504" y="19619"/>
                      <a:pt x="50739" y="14207"/>
                      <a:pt x="39238" y="14207"/>
                    </a:cubicBezTo>
                    <a:cubicBezTo>
                      <a:pt x="31796" y="14207"/>
                      <a:pt x="26384" y="16913"/>
                      <a:pt x="22325" y="22325"/>
                    </a:cubicBezTo>
                    <a:cubicBezTo>
                      <a:pt x="18266" y="27737"/>
                      <a:pt x="16236" y="35856"/>
                      <a:pt x="16236" y="46003"/>
                    </a:cubicBezTo>
                    <a:lnTo>
                      <a:pt x="16236" y="53445"/>
                    </a:lnTo>
                    <a:cubicBezTo>
                      <a:pt x="16236" y="63593"/>
                      <a:pt x="18266" y="71711"/>
                      <a:pt x="23002" y="77123"/>
                    </a:cubicBezTo>
                    <a:cubicBezTo>
                      <a:pt x="27061" y="82535"/>
                      <a:pt x="33149" y="85918"/>
                      <a:pt x="41268" y="85918"/>
                    </a:cubicBezTo>
                    <a:cubicBezTo>
                      <a:pt x="50062" y="85918"/>
                      <a:pt x="55474" y="83888"/>
                      <a:pt x="59534" y="79829"/>
                    </a:cubicBezTo>
                    <a:lnTo>
                      <a:pt x="59534" y="60887"/>
                    </a:lnTo>
                    <a:lnTo>
                      <a:pt x="39915" y="60887"/>
                    </a:lnTo>
                    <a:lnTo>
                      <a:pt x="39915" y="48033"/>
                    </a:lnTo>
                    <a:lnTo>
                      <a:pt x="75770" y="48033"/>
                    </a:lnTo>
                    <a:lnTo>
                      <a:pt x="75770" y="84565"/>
                    </a:lnTo>
                    <a:close/>
                  </a:path>
                </a:pathLst>
              </a:custGeom>
              <a:solidFill>
                <a:srgbClr val="004A99"/>
              </a:solidFill>
              <a:ln w="6756" cap="flat">
                <a:noFill/>
                <a:prstDash val="solid"/>
                <a:miter/>
              </a:ln>
            </p:spPr>
            <p:txBody>
              <a:bodyPr rtlCol="0" anchor="ctr"/>
              <a:lstStyle/>
              <a:p>
                <a:endParaRPr lang="de-DE"/>
              </a:p>
            </p:txBody>
          </p:sp>
          <p:sp>
            <p:nvSpPr>
              <p:cNvPr id="26" name="Freihandform: Form 25">
                <a:extLst>
                  <a:ext uri="{FF2B5EF4-FFF2-40B4-BE49-F238E27FC236}">
                    <a16:creationId xmlns:a16="http://schemas.microsoft.com/office/drawing/2014/main" id="{06DD5BB8-27C8-431D-89D4-34D0451FEAA1}"/>
                  </a:ext>
                </a:extLst>
              </p:cNvPr>
              <p:cNvSpPr/>
              <p:nvPr/>
            </p:nvSpPr>
            <p:spPr>
              <a:xfrm>
                <a:off x="6705847" y="3228867"/>
                <a:ext cx="16236" cy="95389"/>
              </a:xfrm>
              <a:custGeom>
                <a:avLst/>
                <a:gdLst>
                  <a:gd name="connsiteX0" fmla="*/ 16236 w 16236"/>
                  <a:gd name="connsiteY0" fmla="*/ 95389 h 95389"/>
                  <a:gd name="connsiteX1" fmla="*/ 0 w 16236"/>
                  <a:gd name="connsiteY1" fmla="*/ 95389 h 95389"/>
                  <a:gd name="connsiteX2" fmla="*/ 0 w 16236"/>
                  <a:gd name="connsiteY2" fmla="*/ 0 h 95389"/>
                  <a:gd name="connsiteX3" fmla="*/ 16236 w 16236"/>
                  <a:gd name="connsiteY3" fmla="*/ 0 h 95389"/>
                  <a:gd name="connsiteX4" fmla="*/ 16236 w 16236"/>
                  <a:gd name="connsiteY4" fmla="*/ 95389 h 953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36" h="95389">
                    <a:moveTo>
                      <a:pt x="16236" y="95389"/>
                    </a:moveTo>
                    <a:lnTo>
                      <a:pt x="0" y="95389"/>
                    </a:lnTo>
                    <a:lnTo>
                      <a:pt x="0" y="0"/>
                    </a:lnTo>
                    <a:lnTo>
                      <a:pt x="16236" y="0"/>
                    </a:lnTo>
                    <a:lnTo>
                      <a:pt x="16236" y="95389"/>
                    </a:lnTo>
                    <a:close/>
                  </a:path>
                </a:pathLst>
              </a:custGeom>
              <a:solidFill>
                <a:srgbClr val="004A99"/>
              </a:solidFill>
              <a:ln w="6756" cap="flat">
                <a:noFill/>
                <a:prstDash val="solid"/>
                <a:miter/>
              </a:ln>
            </p:spPr>
            <p:txBody>
              <a:bodyPr rtlCol="0" anchor="ctr"/>
              <a:lstStyle/>
              <a:p>
                <a:endParaRPr lang="de-DE"/>
              </a:p>
            </p:txBody>
          </p:sp>
          <p:sp>
            <p:nvSpPr>
              <p:cNvPr id="27" name="Freihandform: Form 26">
                <a:extLst>
                  <a:ext uri="{FF2B5EF4-FFF2-40B4-BE49-F238E27FC236}">
                    <a16:creationId xmlns:a16="http://schemas.microsoft.com/office/drawing/2014/main" id="{53D7A65E-6CBB-4998-87DD-7F285993709B}"/>
                  </a:ext>
                </a:extLst>
              </p:cNvPr>
              <p:cNvSpPr/>
              <p:nvPr/>
            </p:nvSpPr>
            <p:spPr>
              <a:xfrm>
                <a:off x="6817472" y="3228191"/>
                <a:ext cx="71711" cy="96742"/>
              </a:xfrm>
              <a:custGeom>
                <a:avLst/>
                <a:gdLst>
                  <a:gd name="connsiteX0" fmla="*/ 55474 w 71711"/>
                  <a:gd name="connsiteY0" fmla="*/ 71711 h 96742"/>
                  <a:gd name="connsiteX1" fmla="*/ 50739 w 71711"/>
                  <a:gd name="connsiteY1" fmla="*/ 62240 h 96742"/>
                  <a:gd name="connsiteX2" fmla="*/ 34503 w 71711"/>
                  <a:gd name="connsiteY2" fmla="*/ 55475 h 96742"/>
                  <a:gd name="connsiteX3" fmla="*/ 16236 w 71711"/>
                  <a:gd name="connsiteY3" fmla="*/ 48033 h 96742"/>
                  <a:gd name="connsiteX4" fmla="*/ 3383 w 71711"/>
                  <a:gd name="connsiteY4" fmla="*/ 26384 h 96742"/>
                  <a:gd name="connsiteX5" fmla="*/ 12854 w 71711"/>
                  <a:gd name="connsiteY5" fmla="*/ 7442 h 96742"/>
                  <a:gd name="connsiteX6" fmla="*/ 37209 w 71711"/>
                  <a:gd name="connsiteY6" fmla="*/ 0 h 96742"/>
                  <a:gd name="connsiteX7" fmla="*/ 54798 w 71711"/>
                  <a:gd name="connsiteY7" fmla="*/ 3383 h 96742"/>
                  <a:gd name="connsiteX8" fmla="*/ 66975 w 71711"/>
                  <a:gd name="connsiteY8" fmla="*/ 13530 h 96742"/>
                  <a:gd name="connsiteX9" fmla="*/ 71711 w 71711"/>
                  <a:gd name="connsiteY9" fmla="*/ 28414 h 96742"/>
                  <a:gd name="connsiteX10" fmla="*/ 55474 w 71711"/>
                  <a:gd name="connsiteY10" fmla="*/ 28414 h 96742"/>
                  <a:gd name="connsiteX11" fmla="*/ 50739 w 71711"/>
                  <a:gd name="connsiteY11" fmla="*/ 16913 h 96742"/>
                  <a:gd name="connsiteX12" fmla="*/ 37209 w 71711"/>
                  <a:gd name="connsiteY12" fmla="*/ 12854 h 96742"/>
                  <a:gd name="connsiteX13" fmla="*/ 24355 w 71711"/>
                  <a:gd name="connsiteY13" fmla="*/ 16236 h 96742"/>
                  <a:gd name="connsiteX14" fmla="*/ 19619 w 71711"/>
                  <a:gd name="connsiteY14" fmla="*/ 25708 h 96742"/>
                  <a:gd name="connsiteX15" fmla="*/ 24355 w 71711"/>
                  <a:gd name="connsiteY15" fmla="*/ 34503 h 96742"/>
                  <a:gd name="connsiteX16" fmla="*/ 40591 w 71711"/>
                  <a:gd name="connsiteY16" fmla="*/ 41268 h 96742"/>
                  <a:gd name="connsiteX17" fmla="*/ 58181 w 71711"/>
                  <a:gd name="connsiteY17" fmla="*/ 48709 h 96742"/>
                  <a:gd name="connsiteX18" fmla="*/ 68328 w 71711"/>
                  <a:gd name="connsiteY18" fmla="*/ 58181 h 96742"/>
                  <a:gd name="connsiteX19" fmla="*/ 71711 w 71711"/>
                  <a:gd name="connsiteY19" fmla="*/ 71035 h 96742"/>
                  <a:gd name="connsiteX20" fmla="*/ 62240 w 71711"/>
                  <a:gd name="connsiteY20" fmla="*/ 89977 h 96742"/>
                  <a:gd name="connsiteX21" fmla="*/ 37209 w 71711"/>
                  <a:gd name="connsiteY21" fmla="*/ 96742 h 96742"/>
                  <a:gd name="connsiteX22" fmla="*/ 18266 w 71711"/>
                  <a:gd name="connsiteY22" fmla="*/ 92683 h 96742"/>
                  <a:gd name="connsiteX23" fmla="*/ 4736 w 71711"/>
                  <a:gd name="connsiteY23" fmla="*/ 81859 h 96742"/>
                  <a:gd name="connsiteX24" fmla="*/ 0 w 71711"/>
                  <a:gd name="connsiteY24" fmla="*/ 66299 h 96742"/>
                  <a:gd name="connsiteX25" fmla="*/ 16913 w 71711"/>
                  <a:gd name="connsiteY25" fmla="*/ 66299 h 96742"/>
                  <a:gd name="connsiteX26" fmla="*/ 22325 w 71711"/>
                  <a:gd name="connsiteY26" fmla="*/ 79153 h 96742"/>
                  <a:gd name="connsiteX27" fmla="*/ 37885 w 71711"/>
                  <a:gd name="connsiteY27" fmla="*/ 83888 h 96742"/>
                  <a:gd name="connsiteX28" fmla="*/ 50739 w 71711"/>
                  <a:gd name="connsiteY28" fmla="*/ 80506 h 96742"/>
                  <a:gd name="connsiteX29" fmla="*/ 55474 w 71711"/>
                  <a:gd name="connsiteY29" fmla="*/ 71711 h 96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1711" h="96742">
                    <a:moveTo>
                      <a:pt x="55474" y="71711"/>
                    </a:moveTo>
                    <a:cubicBezTo>
                      <a:pt x="55474" y="67652"/>
                      <a:pt x="54122" y="64269"/>
                      <a:pt x="50739" y="62240"/>
                    </a:cubicBezTo>
                    <a:cubicBezTo>
                      <a:pt x="48033" y="60210"/>
                      <a:pt x="42621" y="57504"/>
                      <a:pt x="34503" y="55475"/>
                    </a:cubicBezTo>
                    <a:cubicBezTo>
                      <a:pt x="27061" y="53445"/>
                      <a:pt x="20972" y="50739"/>
                      <a:pt x="16236" y="48033"/>
                    </a:cubicBezTo>
                    <a:cubicBezTo>
                      <a:pt x="7442" y="42621"/>
                      <a:pt x="3383" y="35179"/>
                      <a:pt x="3383" y="26384"/>
                    </a:cubicBezTo>
                    <a:cubicBezTo>
                      <a:pt x="3383" y="18943"/>
                      <a:pt x="6765" y="12177"/>
                      <a:pt x="12854" y="7442"/>
                    </a:cubicBezTo>
                    <a:cubicBezTo>
                      <a:pt x="18942" y="2706"/>
                      <a:pt x="27061" y="0"/>
                      <a:pt x="37209" y="0"/>
                    </a:cubicBezTo>
                    <a:cubicBezTo>
                      <a:pt x="43974" y="0"/>
                      <a:pt x="50062" y="1353"/>
                      <a:pt x="54798" y="3383"/>
                    </a:cubicBezTo>
                    <a:cubicBezTo>
                      <a:pt x="60210" y="6089"/>
                      <a:pt x="64269" y="9471"/>
                      <a:pt x="66975" y="13530"/>
                    </a:cubicBezTo>
                    <a:cubicBezTo>
                      <a:pt x="69681" y="18266"/>
                      <a:pt x="71711" y="23002"/>
                      <a:pt x="71711" y="28414"/>
                    </a:cubicBezTo>
                    <a:lnTo>
                      <a:pt x="55474" y="28414"/>
                    </a:lnTo>
                    <a:cubicBezTo>
                      <a:pt x="55474" y="23678"/>
                      <a:pt x="54122" y="19619"/>
                      <a:pt x="50739" y="16913"/>
                    </a:cubicBezTo>
                    <a:cubicBezTo>
                      <a:pt x="47356" y="14207"/>
                      <a:pt x="43297" y="12854"/>
                      <a:pt x="37209" y="12854"/>
                    </a:cubicBezTo>
                    <a:cubicBezTo>
                      <a:pt x="31796" y="12854"/>
                      <a:pt x="27737" y="14207"/>
                      <a:pt x="24355" y="16236"/>
                    </a:cubicBezTo>
                    <a:cubicBezTo>
                      <a:pt x="21648" y="18266"/>
                      <a:pt x="19619" y="21649"/>
                      <a:pt x="19619" y="25708"/>
                    </a:cubicBezTo>
                    <a:cubicBezTo>
                      <a:pt x="19619" y="29090"/>
                      <a:pt x="20972" y="31796"/>
                      <a:pt x="24355" y="34503"/>
                    </a:cubicBezTo>
                    <a:cubicBezTo>
                      <a:pt x="27737" y="36532"/>
                      <a:pt x="33149" y="39238"/>
                      <a:pt x="40591" y="41268"/>
                    </a:cubicBezTo>
                    <a:cubicBezTo>
                      <a:pt x="48033" y="43297"/>
                      <a:pt x="54122" y="46003"/>
                      <a:pt x="58181" y="48709"/>
                    </a:cubicBezTo>
                    <a:cubicBezTo>
                      <a:pt x="62916" y="51415"/>
                      <a:pt x="66299" y="54798"/>
                      <a:pt x="68328" y="58181"/>
                    </a:cubicBezTo>
                    <a:cubicBezTo>
                      <a:pt x="70358" y="61563"/>
                      <a:pt x="71711" y="66299"/>
                      <a:pt x="71711" y="71035"/>
                    </a:cubicBezTo>
                    <a:cubicBezTo>
                      <a:pt x="71711" y="79153"/>
                      <a:pt x="69005" y="85241"/>
                      <a:pt x="62240" y="89977"/>
                    </a:cubicBezTo>
                    <a:cubicBezTo>
                      <a:pt x="56151" y="94713"/>
                      <a:pt x="48033" y="96742"/>
                      <a:pt x="37209" y="96742"/>
                    </a:cubicBezTo>
                    <a:cubicBezTo>
                      <a:pt x="30443" y="96742"/>
                      <a:pt x="23678" y="95389"/>
                      <a:pt x="18266" y="92683"/>
                    </a:cubicBezTo>
                    <a:cubicBezTo>
                      <a:pt x="12854" y="89977"/>
                      <a:pt x="8118" y="86594"/>
                      <a:pt x="4736" y="81859"/>
                    </a:cubicBezTo>
                    <a:cubicBezTo>
                      <a:pt x="1353" y="77123"/>
                      <a:pt x="0" y="72388"/>
                      <a:pt x="0" y="66299"/>
                    </a:cubicBezTo>
                    <a:lnTo>
                      <a:pt x="16913" y="66299"/>
                    </a:lnTo>
                    <a:cubicBezTo>
                      <a:pt x="16913" y="71711"/>
                      <a:pt x="18942" y="75770"/>
                      <a:pt x="22325" y="79153"/>
                    </a:cubicBezTo>
                    <a:cubicBezTo>
                      <a:pt x="25708" y="81859"/>
                      <a:pt x="31120" y="83888"/>
                      <a:pt x="37885" y="83888"/>
                    </a:cubicBezTo>
                    <a:cubicBezTo>
                      <a:pt x="43974" y="83888"/>
                      <a:pt x="48033" y="82535"/>
                      <a:pt x="50739" y="80506"/>
                    </a:cubicBezTo>
                    <a:cubicBezTo>
                      <a:pt x="54122" y="78476"/>
                      <a:pt x="55474" y="75770"/>
                      <a:pt x="55474" y="71711"/>
                    </a:cubicBezTo>
                    <a:close/>
                  </a:path>
                </a:pathLst>
              </a:custGeom>
              <a:solidFill>
                <a:srgbClr val="004A99"/>
              </a:solidFill>
              <a:ln w="6756" cap="flat">
                <a:noFill/>
                <a:prstDash val="solid"/>
                <a:miter/>
              </a:ln>
            </p:spPr>
            <p:txBody>
              <a:bodyPr rtlCol="0" anchor="ctr"/>
              <a:lstStyle/>
              <a:p>
                <a:endParaRPr lang="de-DE"/>
              </a:p>
            </p:txBody>
          </p:sp>
          <p:sp>
            <p:nvSpPr>
              <p:cNvPr id="28" name="Freihandform: Form 27">
                <a:extLst>
                  <a:ext uri="{FF2B5EF4-FFF2-40B4-BE49-F238E27FC236}">
                    <a16:creationId xmlns:a16="http://schemas.microsoft.com/office/drawing/2014/main" id="{57F4C5C4-093E-44EF-9042-2DFC9868FA2E}"/>
                  </a:ext>
                </a:extLst>
              </p:cNvPr>
              <p:cNvSpPr/>
              <p:nvPr/>
            </p:nvSpPr>
            <p:spPr>
              <a:xfrm>
                <a:off x="6977807" y="3228867"/>
                <a:ext cx="75770" cy="95389"/>
              </a:xfrm>
              <a:custGeom>
                <a:avLst/>
                <a:gdLst>
                  <a:gd name="connsiteX0" fmla="*/ 75770 w 75770"/>
                  <a:gd name="connsiteY0" fmla="*/ 13530 h 95389"/>
                  <a:gd name="connsiteX1" fmla="*/ 46003 w 75770"/>
                  <a:gd name="connsiteY1" fmla="*/ 13530 h 95389"/>
                  <a:gd name="connsiteX2" fmla="*/ 46003 w 75770"/>
                  <a:gd name="connsiteY2" fmla="*/ 95389 h 95389"/>
                  <a:gd name="connsiteX3" fmla="*/ 29767 w 75770"/>
                  <a:gd name="connsiteY3" fmla="*/ 95389 h 95389"/>
                  <a:gd name="connsiteX4" fmla="*/ 29767 w 75770"/>
                  <a:gd name="connsiteY4" fmla="*/ 13530 h 95389"/>
                  <a:gd name="connsiteX5" fmla="*/ 0 w 75770"/>
                  <a:gd name="connsiteY5" fmla="*/ 13530 h 95389"/>
                  <a:gd name="connsiteX6" fmla="*/ 0 w 75770"/>
                  <a:gd name="connsiteY6" fmla="*/ 0 h 95389"/>
                  <a:gd name="connsiteX7" fmla="*/ 75770 w 75770"/>
                  <a:gd name="connsiteY7" fmla="*/ 0 h 95389"/>
                  <a:gd name="connsiteX8" fmla="*/ 75770 w 75770"/>
                  <a:gd name="connsiteY8" fmla="*/ 13530 h 95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770" h="95389">
                    <a:moveTo>
                      <a:pt x="75770" y="13530"/>
                    </a:moveTo>
                    <a:lnTo>
                      <a:pt x="46003" y="13530"/>
                    </a:lnTo>
                    <a:lnTo>
                      <a:pt x="46003" y="95389"/>
                    </a:lnTo>
                    <a:lnTo>
                      <a:pt x="29767" y="95389"/>
                    </a:lnTo>
                    <a:lnTo>
                      <a:pt x="29767" y="13530"/>
                    </a:lnTo>
                    <a:lnTo>
                      <a:pt x="0" y="13530"/>
                    </a:lnTo>
                    <a:lnTo>
                      <a:pt x="0" y="0"/>
                    </a:lnTo>
                    <a:lnTo>
                      <a:pt x="75770" y="0"/>
                    </a:lnTo>
                    <a:lnTo>
                      <a:pt x="75770" y="13530"/>
                    </a:lnTo>
                    <a:close/>
                  </a:path>
                </a:pathLst>
              </a:custGeom>
              <a:solidFill>
                <a:srgbClr val="004A99"/>
              </a:solidFill>
              <a:ln w="6756" cap="flat">
                <a:noFill/>
                <a:prstDash val="solid"/>
                <a:miter/>
              </a:ln>
            </p:spPr>
            <p:txBody>
              <a:bodyPr rtlCol="0" anchor="ctr"/>
              <a:lstStyle/>
              <a:p>
                <a:endParaRPr lang="de-DE"/>
              </a:p>
            </p:txBody>
          </p:sp>
          <p:sp>
            <p:nvSpPr>
              <p:cNvPr id="29" name="Freihandform: Form 28">
                <a:extLst>
                  <a:ext uri="{FF2B5EF4-FFF2-40B4-BE49-F238E27FC236}">
                    <a16:creationId xmlns:a16="http://schemas.microsoft.com/office/drawing/2014/main" id="{3AF4947B-CC88-4605-8C34-08AB1307A907}"/>
                  </a:ext>
                </a:extLst>
              </p:cNvPr>
              <p:cNvSpPr/>
              <p:nvPr/>
            </p:nvSpPr>
            <p:spPr>
              <a:xfrm>
                <a:off x="7147614" y="3228867"/>
                <a:ext cx="16236" cy="95389"/>
              </a:xfrm>
              <a:custGeom>
                <a:avLst/>
                <a:gdLst>
                  <a:gd name="connsiteX0" fmla="*/ 16236 w 16236"/>
                  <a:gd name="connsiteY0" fmla="*/ 95389 h 95389"/>
                  <a:gd name="connsiteX1" fmla="*/ 0 w 16236"/>
                  <a:gd name="connsiteY1" fmla="*/ 95389 h 95389"/>
                  <a:gd name="connsiteX2" fmla="*/ 0 w 16236"/>
                  <a:gd name="connsiteY2" fmla="*/ 0 h 95389"/>
                  <a:gd name="connsiteX3" fmla="*/ 16236 w 16236"/>
                  <a:gd name="connsiteY3" fmla="*/ 0 h 95389"/>
                  <a:gd name="connsiteX4" fmla="*/ 16236 w 16236"/>
                  <a:gd name="connsiteY4" fmla="*/ 95389 h 953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36" h="95389">
                    <a:moveTo>
                      <a:pt x="16236" y="95389"/>
                    </a:moveTo>
                    <a:lnTo>
                      <a:pt x="0" y="95389"/>
                    </a:lnTo>
                    <a:lnTo>
                      <a:pt x="0" y="0"/>
                    </a:lnTo>
                    <a:lnTo>
                      <a:pt x="16236" y="0"/>
                    </a:lnTo>
                    <a:lnTo>
                      <a:pt x="16236" y="95389"/>
                    </a:lnTo>
                    <a:close/>
                  </a:path>
                </a:pathLst>
              </a:custGeom>
              <a:solidFill>
                <a:srgbClr val="004A99"/>
              </a:solidFill>
              <a:ln w="6756" cap="flat">
                <a:noFill/>
                <a:prstDash val="solid"/>
                <a:miter/>
              </a:ln>
            </p:spPr>
            <p:txBody>
              <a:bodyPr rtlCol="0" anchor="ctr"/>
              <a:lstStyle/>
              <a:p>
                <a:endParaRPr lang="de-DE"/>
              </a:p>
            </p:txBody>
          </p:sp>
          <p:sp>
            <p:nvSpPr>
              <p:cNvPr id="30" name="Freihandform: Form 29">
                <a:extLst>
                  <a:ext uri="{FF2B5EF4-FFF2-40B4-BE49-F238E27FC236}">
                    <a16:creationId xmlns:a16="http://schemas.microsoft.com/office/drawing/2014/main" id="{4CDD3972-8235-4199-A92B-882076855A26}"/>
                  </a:ext>
                </a:extLst>
              </p:cNvPr>
              <p:cNvSpPr/>
              <p:nvPr/>
            </p:nvSpPr>
            <p:spPr>
              <a:xfrm>
                <a:off x="7261269" y="3228191"/>
                <a:ext cx="76446" cy="97418"/>
              </a:xfrm>
              <a:custGeom>
                <a:avLst/>
                <a:gdLst>
                  <a:gd name="connsiteX0" fmla="*/ 76447 w 76446"/>
                  <a:gd name="connsiteY0" fmla="*/ 64946 h 97418"/>
                  <a:gd name="connsiteX1" fmla="*/ 64946 w 76446"/>
                  <a:gd name="connsiteY1" fmla="*/ 88624 h 97418"/>
                  <a:gd name="connsiteX2" fmla="*/ 38561 w 76446"/>
                  <a:gd name="connsiteY2" fmla="*/ 97419 h 97418"/>
                  <a:gd name="connsiteX3" fmla="*/ 18266 w 76446"/>
                  <a:gd name="connsiteY3" fmla="*/ 92007 h 97418"/>
                  <a:gd name="connsiteX4" fmla="*/ 4736 w 76446"/>
                  <a:gd name="connsiteY4" fmla="*/ 76447 h 97418"/>
                  <a:gd name="connsiteX5" fmla="*/ 0 w 76446"/>
                  <a:gd name="connsiteY5" fmla="*/ 53445 h 97418"/>
                  <a:gd name="connsiteX6" fmla="*/ 0 w 76446"/>
                  <a:gd name="connsiteY6" fmla="*/ 44650 h 97418"/>
                  <a:gd name="connsiteX7" fmla="*/ 4736 w 76446"/>
                  <a:gd name="connsiteY7" fmla="*/ 20972 h 97418"/>
                  <a:gd name="connsiteX8" fmla="*/ 18266 w 76446"/>
                  <a:gd name="connsiteY8" fmla="*/ 5412 h 97418"/>
                  <a:gd name="connsiteX9" fmla="*/ 39238 w 76446"/>
                  <a:gd name="connsiteY9" fmla="*/ 0 h 97418"/>
                  <a:gd name="connsiteX10" fmla="*/ 64946 w 76446"/>
                  <a:gd name="connsiteY10" fmla="*/ 8795 h 97418"/>
                  <a:gd name="connsiteX11" fmla="*/ 76447 w 76446"/>
                  <a:gd name="connsiteY11" fmla="*/ 33149 h 97418"/>
                  <a:gd name="connsiteX12" fmla="*/ 60210 w 76446"/>
                  <a:gd name="connsiteY12" fmla="*/ 33149 h 97418"/>
                  <a:gd name="connsiteX13" fmla="*/ 54122 w 76446"/>
                  <a:gd name="connsiteY13" fmla="*/ 18266 h 97418"/>
                  <a:gd name="connsiteX14" fmla="*/ 39915 w 76446"/>
                  <a:gd name="connsiteY14" fmla="*/ 13530 h 97418"/>
                  <a:gd name="connsiteX15" fmla="*/ 23002 w 76446"/>
                  <a:gd name="connsiteY15" fmla="*/ 21649 h 97418"/>
                  <a:gd name="connsiteX16" fmla="*/ 16913 w 76446"/>
                  <a:gd name="connsiteY16" fmla="*/ 44650 h 97418"/>
                  <a:gd name="connsiteX17" fmla="*/ 16913 w 76446"/>
                  <a:gd name="connsiteY17" fmla="*/ 53445 h 97418"/>
                  <a:gd name="connsiteX18" fmla="*/ 22325 w 76446"/>
                  <a:gd name="connsiteY18" fmla="*/ 77123 h 97418"/>
                  <a:gd name="connsiteX19" fmla="*/ 38561 w 76446"/>
                  <a:gd name="connsiteY19" fmla="*/ 85241 h 97418"/>
                  <a:gd name="connsiteX20" fmla="*/ 53445 w 76446"/>
                  <a:gd name="connsiteY20" fmla="*/ 81182 h 97418"/>
                  <a:gd name="connsiteX21" fmla="*/ 59534 w 76446"/>
                  <a:gd name="connsiteY21" fmla="*/ 66299 h 97418"/>
                  <a:gd name="connsiteX22" fmla="*/ 76447 w 76446"/>
                  <a:gd name="connsiteY22" fmla="*/ 66299 h 97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6446" h="97418">
                    <a:moveTo>
                      <a:pt x="76447" y="64946"/>
                    </a:moveTo>
                    <a:cubicBezTo>
                      <a:pt x="75770" y="75094"/>
                      <a:pt x="71711" y="83212"/>
                      <a:pt x="64946" y="88624"/>
                    </a:cubicBezTo>
                    <a:cubicBezTo>
                      <a:pt x="58180" y="94036"/>
                      <a:pt x="49386" y="97419"/>
                      <a:pt x="38561" y="97419"/>
                    </a:cubicBezTo>
                    <a:cubicBezTo>
                      <a:pt x="31120" y="97419"/>
                      <a:pt x="24355" y="95389"/>
                      <a:pt x="18266" y="92007"/>
                    </a:cubicBezTo>
                    <a:cubicBezTo>
                      <a:pt x="12177" y="88624"/>
                      <a:pt x="8118" y="83212"/>
                      <a:pt x="4736" y="76447"/>
                    </a:cubicBezTo>
                    <a:cubicBezTo>
                      <a:pt x="1353" y="69681"/>
                      <a:pt x="0" y="62240"/>
                      <a:pt x="0" y="53445"/>
                    </a:cubicBezTo>
                    <a:lnTo>
                      <a:pt x="0" y="44650"/>
                    </a:lnTo>
                    <a:cubicBezTo>
                      <a:pt x="0" y="35856"/>
                      <a:pt x="1353" y="27737"/>
                      <a:pt x="4736" y="20972"/>
                    </a:cubicBezTo>
                    <a:cubicBezTo>
                      <a:pt x="8118" y="14207"/>
                      <a:pt x="12177" y="8795"/>
                      <a:pt x="18266" y="5412"/>
                    </a:cubicBezTo>
                    <a:cubicBezTo>
                      <a:pt x="24355" y="2030"/>
                      <a:pt x="31120" y="0"/>
                      <a:pt x="39238" y="0"/>
                    </a:cubicBezTo>
                    <a:cubicBezTo>
                      <a:pt x="50062" y="0"/>
                      <a:pt x="58180" y="2706"/>
                      <a:pt x="64946" y="8795"/>
                    </a:cubicBezTo>
                    <a:cubicBezTo>
                      <a:pt x="71034" y="14207"/>
                      <a:pt x="75093" y="22325"/>
                      <a:pt x="76447" y="33149"/>
                    </a:cubicBezTo>
                    <a:lnTo>
                      <a:pt x="60210" y="33149"/>
                    </a:lnTo>
                    <a:cubicBezTo>
                      <a:pt x="59534" y="26384"/>
                      <a:pt x="57504" y="21649"/>
                      <a:pt x="54122" y="18266"/>
                    </a:cubicBezTo>
                    <a:cubicBezTo>
                      <a:pt x="50739" y="15560"/>
                      <a:pt x="46003" y="13530"/>
                      <a:pt x="39915" y="13530"/>
                    </a:cubicBezTo>
                    <a:cubicBezTo>
                      <a:pt x="32473" y="13530"/>
                      <a:pt x="27061" y="16236"/>
                      <a:pt x="23002" y="21649"/>
                    </a:cubicBezTo>
                    <a:cubicBezTo>
                      <a:pt x="18942" y="27061"/>
                      <a:pt x="16913" y="34503"/>
                      <a:pt x="16913" y="44650"/>
                    </a:cubicBezTo>
                    <a:lnTo>
                      <a:pt x="16913" y="53445"/>
                    </a:lnTo>
                    <a:cubicBezTo>
                      <a:pt x="16913" y="63593"/>
                      <a:pt x="18942" y="71711"/>
                      <a:pt x="22325" y="77123"/>
                    </a:cubicBezTo>
                    <a:cubicBezTo>
                      <a:pt x="25708" y="82535"/>
                      <a:pt x="31120" y="85241"/>
                      <a:pt x="38561" y="85241"/>
                    </a:cubicBezTo>
                    <a:cubicBezTo>
                      <a:pt x="45327" y="85241"/>
                      <a:pt x="50062" y="83888"/>
                      <a:pt x="53445" y="81182"/>
                    </a:cubicBezTo>
                    <a:cubicBezTo>
                      <a:pt x="56828" y="78476"/>
                      <a:pt x="58857" y="73064"/>
                      <a:pt x="59534" y="66299"/>
                    </a:cubicBezTo>
                    <a:lnTo>
                      <a:pt x="76447" y="66299"/>
                    </a:lnTo>
                    <a:close/>
                  </a:path>
                </a:pathLst>
              </a:custGeom>
              <a:solidFill>
                <a:srgbClr val="004A99"/>
              </a:solidFill>
              <a:ln w="6756" cap="flat">
                <a:noFill/>
                <a:prstDash val="solid"/>
                <a:miter/>
              </a:ln>
            </p:spPr>
            <p:txBody>
              <a:bodyPr rtlCol="0" anchor="ctr"/>
              <a:lstStyle/>
              <a:p>
                <a:endParaRPr lang="de-DE"/>
              </a:p>
            </p:txBody>
          </p:sp>
          <p:sp>
            <p:nvSpPr>
              <p:cNvPr id="31" name="Freihandform: Form 30">
                <a:extLst>
                  <a:ext uri="{FF2B5EF4-FFF2-40B4-BE49-F238E27FC236}">
                    <a16:creationId xmlns:a16="http://schemas.microsoft.com/office/drawing/2014/main" id="{3C708605-FEAB-4084-9334-AD8BAB1B2ECE}"/>
                  </a:ext>
                </a:extLst>
              </p:cNvPr>
              <p:cNvSpPr/>
              <p:nvPr/>
            </p:nvSpPr>
            <p:spPr>
              <a:xfrm>
                <a:off x="7427692" y="3228191"/>
                <a:ext cx="71711" cy="96742"/>
              </a:xfrm>
              <a:custGeom>
                <a:avLst/>
                <a:gdLst>
                  <a:gd name="connsiteX0" fmla="*/ 55475 w 71711"/>
                  <a:gd name="connsiteY0" fmla="*/ 71711 h 96742"/>
                  <a:gd name="connsiteX1" fmla="*/ 50739 w 71711"/>
                  <a:gd name="connsiteY1" fmla="*/ 62240 h 96742"/>
                  <a:gd name="connsiteX2" fmla="*/ 34503 w 71711"/>
                  <a:gd name="connsiteY2" fmla="*/ 55475 h 96742"/>
                  <a:gd name="connsiteX3" fmla="*/ 16237 w 71711"/>
                  <a:gd name="connsiteY3" fmla="*/ 48033 h 96742"/>
                  <a:gd name="connsiteX4" fmla="*/ 3383 w 71711"/>
                  <a:gd name="connsiteY4" fmla="*/ 26384 h 96742"/>
                  <a:gd name="connsiteX5" fmla="*/ 12854 w 71711"/>
                  <a:gd name="connsiteY5" fmla="*/ 7442 h 96742"/>
                  <a:gd name="connsiteX6" fmla="*/ 37209 w 71711"/>
                  <a:gd name="connsiteY6" fmla="*/ 0 h 96742"/>
                  <a:gd name="connsiteX7" fmla="*/ 54798 w 71711"/>
                  <a:gd name="connsiteY7" fmla="*/ 3383 h 96742"/>
                  <a:gd name="connsiteX8" fmla="*/ 66976 w 71711"/>
                  <a:gd name="connsiteY8" fmla="*/ 13530 h 96742"/>
                  <a:gd name="connsiteX9" fmla="*/ 71711 w 71711"/>
                  <a:gd name="connsiteY9" fmla="*/ 28414 h 96742"/>
                  <a:gd name="connsiteX10" fmla="*/ 55475 w 71711"/>
                  <a:gd name="connsiteY10" fmla="*/ 28414 h 96742"/>
                  <a:gd name="connsiteX11" fmla="*/ 50739 w 71711"/>
                  <a:gd name="connsiteY11" fmla="*/ 16913 h 96742"/>
                  <a:gd name="connsiteX12" fmla="*/ 37209 w 71711"/>
                  <a:gd name="connsiteY12" fmla="*/ 12854 h 96742"/>
                  <a:gd name="connsiteX13" fmla="*/ 24355 w 71711"/>
                  <a:gd name="connsiteY13" fmla="*/ 16236 h 96742"/>
                  <a:gd name="connsiteX14" fmla="*/ 19619 w 71711"/>
                  <a:gd name="connsiteY14" fmla="*/ 25708 h 96742"/>
                  <a:gd name="connsiteX15" fmla="*/ 24355 w 71711"/>
                  <a:gd name="connsiteY15" fmla="*/ 34503 h 96742"/>
                  <a:gd name="connsiteX16" fmla="*/ 40591 w 71711"/>
                  <a:gd name="connsiteY16" fmla="*/ 41268 h 96742"/>
                  <a:gd name="connsiteX17" fmla="*/ 58181 w 71711"/>
                  <a:gd name="connsiteY17" fmla="*/ 48709 h 96742"/>
                  <a:gd name="connsiteX18" fmla="*/ 68328 w 71711"/>
                  <a:gd name="connsiteY18" fmla="*/ 58181 h 96742"/>
                  <a:gd name="connsiteX19" fmla="*/ 71711 w 71711"/>
                  <a:gd name="connsiteY19" fmla="*/ 71035 h 96742"/>
                  <a:gd name="connsiteX20" fmla="*/ 62240 w 71711"/>
                  <a:gd name="connsiteY20" fmla="*/ 89977 h 96742"/>
                  <a:gd name="connsiteX21" fmla="*/ 37209 w 71711"/>
                  <a:gd name="connsiteY21" fmla="*/ 96742 h 96742"/>
                  <a:gd name="connsiteX22" fmla="*/ 18266 w 71711"/>
                  <a:gd name="connsiteY22" fmla="*/ 92683 h 96742"/>
                  <a:gd name="connsiteX23" fmla="*/ 4736 w 71711"/>
                  <a:gd name="connsiteY23" fmla="*/ 81859 h 96742"/>
                  <a:gd name="connsiteX24" fmla="*/ 0 w 71711"/>
                  <a:gd name="connsiteY24" fmla="*/ 66299 h 96742"/>
                  <a:gd name="connsiteX25" fmla="*/ 16913 w 71711"/>
                  <a:gd name="connsiteY25" fmla="*/ 66299 h 96742"/>
                  <a:gd name="connsiteX26" fmla="*/ 22325 w 71711"/>
                  <a:gd name="connsiteY26" fmla="*/ 79153 h 96742"/>
                  <a:gd name="connsiteX27" fmla="*/ 37885 w 71711"/>
                  <a:gd name="connsiteY27" fmla="*/ 83888 h 96742"/>
                  <a:gd name="connsiteX28" fmla="*/ 50739 w 71711"/>
                  <a:gd name="connsiteY28" fmla="*/ 80506 h 96742"/>
                  <a:gd name="connsiteX29" fmla="*/ 55475 w 71711"/>
                  <a:gd name="connsiteY29" fmla="*/ 71711 h 96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1711" h="96742">
                    <a:moveTo>
                      <a:pt x="55475" y="71711"/>
                    </a:moveTo>
                    <a:cubicBezTo>
                      <a:pt x="55475" y="67652"/>
                      <a:pt x="54122" y="64269"/>
                      <a:pt x="50739" y="62240"/>
                    </a:cubicBezTo>
                    <a:cubicBezTo>
                      <a:pt x="48033" y="60210"/>
                      <a:pt x="42621" y="57504"/>
                      <a:pt x="34503" y="55475"/>
                    </a:cubicBezTo>
                    <a:cubicBezTo>
                      <a:pt x="27061" y="53445"/>
                      <a:pt x="20972" y="50739"/>
                      <a:pt x="16237" y="48033"/>
                    </a:cubicBezTo>
                    <a:cubicBezTo>
                      <a:pt x="7442" y="42621"/>
                      <a:pt x="3383" y="35179"/>
                      <a:pt x="3383" y="26384"/>
                    </a:cubicBezTo>
                    <a:cubicBezTo>
                      <a:pt x="3383" y="18943"/>
                      <a:pt x="6765" y="12177"/>
                      <a:pt x="12854" y="7442"/>
                    </a:cubicBezTo>
                    <a:cubicBezTo>
                      <a:pt x="18943" y="2706"/>
                      <a:pt x="27061" y="0"/>
                      <a:pt x="37209" y="0"/>
                    </a:cubicBezTo>
                    <a:cubicBezTo>
                      <a:pt x="43974" y="0"/>
                      <a:pt x="50063" y="1353"/>
                      <a:pt x="54798" y="3383"/>
                    </a:cubicBezTo>
                    <a:cubicBezTo>
                      <a:pt x="60210" y="6089"/>
                      <a:pt x="64269" y="9471"/>
                      <a:pt x="66976" y="13530"/>
                    </a:cubicBezTo>
                    <a:cubicBezTo>
                      <a:pt x="69682" y="18266"/>
                      <a:pt x="71711" y="23002"/>
                      <a:pt x="71711" y="28414"/>
                    </a:cubicBezTo>
                    <a:lnTo>
                      <a:pt x="55475" y="28414"/>
                    </a:lnTo>
                    <a:cubicBezTo>
                      <a:pt x="55475" y="23678"/>
                      <a:pt x="54122" y="19619"/>
                      <a:pt x="50739" y="16913"/>
                    </a:cubicBezTo>
                    <a:cubicBezTo>
                      <a:pt x="47356" y="14207"/>
                      <a:pt x="43297" y="12854"/>
                      <a:pt x="37209" y="12854"/>
                    </a:cubicBezTo>
                    <a:cubicBezTo>
                      <a:pt x="31796" y="12854"/>
                      <a:pt x="27737" y="14207"/>
                      <a:pt x="24355" y="16236"/>
                    </a:cubicBezTo>
                    <a:cubicBezTo>
                      <a:pt x="21649" y="18266"/>
                      <a:pt x="19619" y="21649"/>
                      <a:pt x="19619" y="25708"/>
                    </a:cubicBezTo>
                    <a:cubicBezTo>
                      <a:pt x="19619" y="29090"/>
                      <a:pt x="20972" y="31796"/>
                      <a:pt x="24355" y="34503"/>
                    </a:cubicBezTo>
                    <a:cubicBezTo>
                      <a:pt x="27737" y="36532"/>
                      <a:pt x="33150" y="39238"/>
                      <a:pt x="40591" y="41268"/>
                    </a:cubicBezTo>
                    <a:cubicBezTo>
                      <a:pt x="48033" y="43297"/>
                      <a:pt x="54122" y="46003"/>
                      <a:pt x="58181" y="48709"/>
                    </a:cubicBezTo>
                    <a:cubicBezTo>
                      <a:pt x="62916" y="51415"/>
                      <a:pt x="66299" y="54798"/>
                      <a:pt x="68328" y="58181"/>
                    </a:cubicBezTo>
                    <a:cubicBezTo>
                      <a:pt x="70358" y="61563"/>
                      <a:pt x="71711" y="66299"/>
                      <a:pt x="71711" y="71035"/>
                    </a:cubicBezTo>
                    <a:cubicBezTo>
                      <a:pt x="71711" y="79153"/>
                      <a:pt x="69005" y="85241"/>
                      <a:pt x="62240" y="89977"/>
                    </a:cubicBezTo>
                    <a:cubicBezTo>
                      <a:pt x="56151" y="94713"/>
                      <a:pt x="48033" y="96742"/>
                      <a:pt x="37209" y="96742"/>
                    </a:cubicBezTo>
                    <a:cubicBezTo>
                      <a:pt x="30443" y="96742"/>
                      <a:pt x="23678" y="95389"/>
                      <a:pt x="18266" y="92683"/>
                    </a:cubicBezTo>
                    <a:cubicBezTo>
                      <a:pt x="12854" y="89977"/>
                      <a:pt x="8118" y="86594"/>
                      <a:pt x="4736" y="81859"/>
                    </a:cubicBezTo>
                    <a:cubicBezTo>
                      <a:pt x="1353" y="77123"/>
                      <a:pt x="0" y="72388"/>
                      <a:pt x="0" y="66299"/>
                    </a:cubicBezTo>
                    <a:lnTo>
                      <a:pt x="16913" y="66299"/>
                    </a:lnTo>
                    <a:cubicBezTo>
                      <a:pt x="16913" y="71711"/>
                      <a:pt x="18943" y="75770"/>
                      <a:pt x="22325" y="79153"/>
                    </a:cubicBezTo>
                    <a:cubicBezTo>
                      <a:pt x="25708" y="81859"/>
                      <a:pt x="31120" y="83888"/>
                      <a:pt x="37885" y="83888"/>
                    </a:cubicBezTo>
                    <a:cubicBezTo>
                      <a:pt x="43974" y="83888"/>
                      <a:pt x="48033" y="82535"/>
                      <a:pt x="50739" y="80506"/>
                    </a:cubicBezTo>
                    <a:cubicBezTo>
                      <a:pt x="54122" y="78476"/>
                      <a:pt x="55475" y="75770"/>
                      <a:pt x="55475" y="71711"/>
                    </a:cubicBezTo>
                    <a:close/>
                  </a:path>
                </a:pathLst>
              </a:custGeom>
              <a:solidFill>
                <a:srgbClr val="004A99"/>
              </a:solidFill>
              <a:ln w="6756" cap="flat">
                <a:noFill/>
                <a:prstDash val="solid"/>
                <a:miter/>
              </a:ln>
            </p:spPr>
            <p:txBody>
              <a:bodyPr rtlCol="0" anchor="ctr"/>
              <a:lstStyle/>
              <a:p>
                <a:endParaRPr lang="de-DE"/>
              </a:p>
            </p:txBody>
          </p:sp>
        </p:grpSp>
        <p:sp>
          <p:nvSpPr>
            <p:cNvPr id="32" name="Freihandform: Form 31">
              <a:extLst>
                <a:ext uri="{FF2B5EF4-FFF2-40B4-BE49-F238E27FC236}">
                  <a16:creationId xmlns:a16="http://schemas.microsoft.com/office/drawing/2014/main" id="{E23EDC2F-FF0E-4BB9-B227-857CBF2307F9}"/>
                </a:ext>
              </a:extLst>
            </p:cNvPr>
            <p:cNvSpPr/>
            <p:nvPr/>
          </p:nvSpPr>
          <p:spPr>
            <a:xfrm>
              <a:off x="7406044" y="2550319"/>
              <a:ext cx="253018" cy="253018"/>
            </a:xfrm>
            <a:custGeom>
              <a:avLst/>
              <a:gdLst>
                <a:gd name="connsiteX0" fmla="*/ 126509 w 253018"/>
                <a:gd name="connsiteY0" fmla="*/ 0 h 253018"/>
                <a:gd name="connsiteX1" fmla="*/ 0 w 253018"/>
                <a:gd name="connsiteY1" fmla="*/ 126509 h 253018"/>
                <a:gd name="connsiteX2" fmla="*/ 126509 w 253018"/>
                <a:gd name="connsiteY2" fmla="*/ 253018 h 253018"/>
                <a:gd name="connsiteX3" fmla="*/ 253018 w 253018"/>
                <a:gd name="connsiteY3" fmla="*/ 126509 h 253018"/>
                <a:gd name="connsiteX4" fmla="*/ 126509 w 253018"/>
                <a:gd name="connsiteY4" fmla="*/ 0 h 253018"/>
                <a:gd name="connsiteX5" fmla="*/ 126509 w 253018"/>
                <a:gd name="connsiteY5" fmla="*/ 237458 h 253018"/>
                <a:gd name="connsiteX6" fmla="*/ 71034 w 253018"/>
                <a:gd name="connsiteY6" fmla="*/ 222575 h 253018"/>
                <a:gd name="connsiteX7" fmla="*/ 93360 w 253018"/>
                <a:gd name="connsiteY7" fmla="*/ 219869 h 253018"/>
                <a:gd name="connsiteX8" fmla="*/ 115008 w 253018"/>
                <a:gd name="connsiteY8" fmla="*/ 212427 h 253018"/>
                <a:gd name="connsiteX9" fmla="*/ 141392 w 253018"/>
                <a:gd name="connsiteY9" fmla="*/ 194838 h 253018"/>
                <a:gd name="connsiteX10" fmla="*/ 160335 w 253018"/>
                <a:gd name="connsiteY10" fmla="*/ 177925 h 253018"/>
                <a:gd name="connsiteX11" fmla="*/ 183337 w 253018"/>
                <a:gd name="connsiteY11" fmla="*/ 165071 h 253018"/>
                <a:gd name="connsiteX12" fmla="*/ 192131 w 253018"/>
                <a:gd name="connsiteY12" fmla="*/ 163041 h 253018"/>
                <a:gd name="connsiteX13" fmla="*/ 208368 w 253018"/>
                <a:gd name="connsiteY13" fmla="*/ 158982 h 253018"/>
                <a:gd name="connsiteX14" fmla="*/ 220545 w 253018"/>
                <a:gd name="connsiteY14" fmla="*/ 155599 h 253018"/>
                <a:gd name="connsiteX15" fmla="*/ 221898 w 253018"/>
                <a:gd name="connsiteY15" fmla="*/ 154246 h 253018"/>
                <a:gd name="connsiteX16" fmla="*/ 219869 w 253018"/>
                <a:gd name="connsiteY16" fmla="*/ 152893 h 253018"/>
                <a:gd name="connsiteX17" fmla="*/ 204309 w 253018"/>
                <a:gd name="connsiteY17" fmla="*/ 147481 h 253018"/>
                <a:gd name="connsiteX18" fmla="*/ 194161 w 253018"/>
                <a:gd name="connsiteY18" fmla="*/ 147481 h 253018"/>
                <a:gd name="connsiteX19" fmla="*/ 180630 w 253018"/>
                <a:gd name="connsiteY19" fmla="*/ 154923 h 253018"/>
                <a:gd name="connsiteX20" fmla="*/ 158982 w 253018"/>
                <a:gd name="connsiteY20" fmla="*/ 167777 h 253018"/>
                <a:gd name="connsiteX21" fmla="*/ 141392 w 253018"/>
                <a:gd name="connsiteY21" fmla="*/ 172512 h 253018"/>
                <a:gd name="connsiteX22" fmla="*/ 136657 w 253018"/>
                <a:gd name="connsiteY22" fmla="*/ 172512 h 253018"/>
                <a:gd name="connsiteX23" fmla="*/ 150864 w 253018"/>
                <a:gd name="connsiteY23" fmla="*/ 161012 h 253018"/>
                <a:gd name="connsiteX24" fmla="*/ 160335 w 253018"/>
                <a:gd name="connsiteY24" fmla="*/ 149511 h 253018"/>
                <a:gd name="connsiteX25" fmla="*/ 177248 w 253018"/>
                <a:gd name="connsiteY25" fmla="*/ 137333 h 253018"/>
                <a:gd name="connsiteX26" fmla="*/ 191455 w 253018"/>
                <a:gd name="connsiteY26" fmla="*/ 129215 h 253018"/>
                <a:gd name="connsiteX27" fmla="*/ 200250 w 253018"/>
                <a:gd name="connsiteY27" fmla="*/ 125833 h 253018"/>
                <a:gd name="connsiteX28" fmla="*/ 206338 w 253018"/>
                <a:gd name="connsiteY28" fmla="*/ 125156 h 253018"/>
                <a:gd name="connsiteX29" fmla="*/ 223251 w 253018"/>
                <a:gd name="connsiteY29" fmla="*/ 119067 h 253018"/>
                <a:gd name="connsiteX30" fmla="*/ 230693 w 253018"/>
                <a:gd name="connsiteY30" fmla="*/ 117038 h 253018"/>
                <a:gd name="connsiteX31" fmla="*/ 231369 w 253018"/>
                <a:gd name="connsiteY31" fmla="*/ 115685 h 253018"/>
                <a:gd name="connsiteX32" fmla="*/ 230693 w 253018"/>
                <a:gd name="connsiteY32" fmla="*/ 115008 h 253018"/>
                <a:gd name="connsiteX33" fmla="*/ 211750 w 253018"/>
                <a:gd name="connsiteY33" fmla="*/ 110273 h 253018"/>
                <a:gd name="connsiteX34" fmla="*/ 196191 w 253018"/>
                <a:gd name="connsiteY34" fmla="*/ 112302 h 253018"/>
                <a:gd name="connsiteX35" fmla="*/ 182660 w 253018"/>
                <a:gd name="connsiteY35" fmla="*/ 122450 h 253018"/>
                <a:gd name="connsiteX36" fmla="*/ 178601 w 253018"/>
                <a:gd name="connsiteY36" fmla="*/ 125156 h 253018"/>
                <a:gd name="connsiteX37" fmla="*/ 161011 w 253018"/>
                <a:gd name="connsiteY37" fmla="*/ 133951 h 253018"/>
                <a:gd name="connsiteX38" fmla="*/ 142746 w 253018"/>
                <a:gd name="connsiteY38" fmla="*/ 136657 h 253018"/>
                <a:gd name="connsiteX39" fmla="*/ 137333 w 253018"/>
                <a:gd name="connsiteY39" fmla="*/ 133274 h 253018"/>
                <a:gd name="connsiteX40" fmla="*/ 135304 w 253018"/>
                <a:gd name="connsiteY40" fmla="*/ 125156 h 253018"/>
                <a:gd name="connsiteX41" fmla="*/ 134627 w 253018"/>
                <a:gd name="connsiteY41" fmla="*/ 119744 h 253018"/>
                <a:gd name="connsiteX42" fmla="*/ 135304 w 253018"/>
                <a:gd name="connsiteY42" fmla="*/ 104184 h 253018"/>
                <a:gd name="connsiteX43" fmla="*/ 136657 w 253018"/>
                <a:gd name="connsiteY43" fmla="*/ 89977 h 253018"/>
                <a:gd name="connsiteX44" fmla="*/ 117038 w 253018"/>
                <a:gd name="connsiteY44" fmla="*/ 70358 h 253018"/>
                <a:gd name="connsiteX45" fmla="*/ 83888 w 253018"/>
                <a:gd name="connsiteY45" fmla="*/ 31796 h 253018"/>
                <a:gd name="connsiteX46" fmla="*/ 81859 w 253018"/>
                <a:gd name="connsiteY46" fmla="*/ 28414 h 253018"/>
                <a:gd name="connsiteX47" fmla="*/ 79829 w 253018"/>
                <a:gd name="connsiteY47" fmla="*/ 29767 h 253018"/>
                <a:gd name="connsiteX48" fmla="*/ 73741 w 253018"/>
                <a:gd name="connsiteY48" fmla="*/ 55475 h 253018"/>
                <a:gd name="connsiteX49" fmla="*/ 86594 w 253018"/>
                <a:gd name="connsiteY49" fmla="*/ 80506 h 253018"/>
                <a:gd name="connsiteX50" fmla="*/ 96066 w 253018"/>
                <a:gd name="connsiteY50" fmla="*/ 94036 h 253018"/>
                <a:gd name="connsiteX51" fmla="*/ 98095 w 253018"/>
                <a:gd name="connsiteY51" fmla="*/ 106890 h 253018"/>
                <a:gd name="connsiteX52" fmla="*/ 87947 w 253018"/>
                <a:gd name="connsiteY52" fmla="*/ 99448 h 253018"/>
                <a:gd name="connsiteX53" fmla="*/ 77800 w 253018"/>
                <a:gd name="connsiteY53" fmla="*/ 92007 h 253018"/>
                <a:gd name="connsiteX54" fmla="*/ 56828 w 253018"/>
                <a:gd name="connsiteY54" fmla="*/ 73741 h 253018"/>
                <a:gd name="connsiteX55" fmla="*/ 55474 w 253018"/>
                <a:gd name="connsiteY55" fmla="*/ 73741 h 253018"/>
                <a:gd name="connsiteX56" fmla="*/ 54122 w 253018"/>
                <a:gd name="connsiteY56" fmla="*/ 76447 h 253018"/>
                <a:gd name="connsiteX57" fmla="*/ 58181 w 253018"/>
                <a:gd name="connsiteY57" fmla="*/ 108920 h 253018"/>
                <a:gd name="connsiteX58" fmla="*/ 71034 w 253018"/>
                <a:gd name="connsiteY58" fmla="*/ 123803 h 253018"/>
                <a:gd name="connsiteX59" fmla="*/ 80506 w 253018"/>
                <a:gd name="connsiteY59" fmla="*/ 132598 h 253018"/>
                <a:gd name="connsiteX60" fmla="*/ 87271 w 253018"/>
                <a:gd name="connsiteY60" fmla="*/ 142746 h 253018"/>
                <a:gd name="connsiteX61" fmla="*/ 84565 w 253018"/>
                <a:gd name="connsiteY61" fmla="*/ 155599 h 253018"/>
                <a:gd name="connsiteX62" fmla="*/ 78476 w 253018"/>
                <a:gd name="connsiteY62" fmla="*/ 164394 h 253018"/>
                <a:gd name="connsiteX63" fmla="*/ 63593 w 253018"/>
                <a:gd name="connsiteY63" fmla="*/ 165747 h 253018"/>
                <a:gd name="connsiteX64" fmla="*/ 56828 w 253018"/>
                <a:gd name="connsiteY64" fmla="*/ 171836 h 253018"/>
                <a:gd name="connsiteX65" fmla="*/ 53445 w 253018"/>
                <a:gd name="connsiteY65" fmla="*/ 182660 h 253018"/>
                <a:gd name="connsiteX66" fmla="*/ 57504 w 253018"/>
                <a:gd name="connsiteY66" fmla="*/ 193484 h 253018"/>
                <a:gd name="connsiteX67" fmla="*/ 60210 w 253018"/>
                <a:gd name="connsiteY67" fmla="*/ 195514 h 253018"/>
                <a:gd name="connsiteX68" fmla="*/ 66299 w 253018"/>
                <a:gd name="connsiteY68" fmla="*/ 192808 h 253018"/>
                <a:gd name="connsiteX69" fmla="*/ 89977 w 253018"/>
                <a:gd name="connsiteY69" fmla="*/ 179278 h 253018"/>
                <a:gd name="connsiteX70" fmla="*/ 77800 w 253018"/>
                <a:gd name="connsiteY70" fmla="*/ 190778 h 253018"/>
                <a:gd name="connsiteX71" fmla="*/ 50739 w 253018"/>
                <a:gd name="connsiteY71" fmla="*/ 202279 h 253018"/>
                <a:gd name="connsiteX72" fmla="*/ 46680 w 253018"/>
                <a:gd name="connsiteY72" fmla="*/ 200926 h 253018"/>
                <a:gd name="connsiteX73" fmla="*/ 16913 w 253018"/>
                <a:gd name="connsiteY73" fmla="*/ 125156 h 253018"/>
                <a:gd name="connsiteX74" fmla="*/ 127862 w 253018"/>
                <a:gd name="connsiteY74" fmla="*/ 14207 h 253018"/>
                <a:gd name="connsiteX75" fmla="*/ 238135 w 253018"/>
                <a:gd name="connsiteY75" fmla="*/ 125156 h 253018"/>
                <a:gd name="connsiteX76" fmla="*/ 126509 w 253018"/>
                <a:gd name="connsiteY76" fmla="*/ 237458 h 25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253017" h="253017">
                  <a:moveTo>
                    <a:pt x="126509" y="0"/>
                  </a:moveTo>
                  <a:cubicBezTo>
                    <a:pt x="56828" y="0"/>
                    <a:pt x="0" y="56828"/>
                    <a:pt x="0" y="126509"/>
                  </a:cubicBezTo>
                  <a:cubicBezTo>
                    <a:pt x="0" y="196191"/>
                    <a:pt x="56828" y="253018"/>
                    <a:pt x="126509" y="253018"/>
                  </a:cubicBezTo>
                  <a:cubicBezTo>
                    <a:pt x="196191" y="253018"/>
                    <a:pt x="253018" y="196191"/>
                    <a:pt x="253018" y="126509"/>
                  </a:cubicBezTo>
                  <a:cubicBezTo>
                    <a:pt x="253018" y="56828"/>
                    <a:pt x="196191" y="0"/>
                    <a:pt x="126509" y="0"/>
                  </a:cubicBezTo>
                  <a:close/>
                  <a:moveTo>
                    <a:pt x="126509" y="237458"/>
                  </a:moveTo>
                  <a:cubicBezTo>
                    <a:pt x="106213" y="237458"/>
                    <a:pt x="87271" y="232046"/>
                    <a:pt x="71034" y="222575"/>
                  </a:cubicBezTo>
                  <a:cubicBezTo>
                    <a:pt x="77800" y="222575"/>
                    <a:pt x="86594" y="221222"/>
                    <a:pt x="93360" y="219869"/>
                  </a:cubicBezTo>
                  <a:cubicBezTo>
                    <a:pt x="100801" y="218516"/>
                    <a:pt x="108243" y="215810"/>
                    <a:pt x="115008" y="212427"/>
                  </a:cubicBezTo>
                  <a:cubicBezTo>
                    <a:pt x="124479" y="208368"/>
                    <a:pt x="133951" y="203632"/>
                    <a:pt x="141392" y="194838"/>
                  </a:cubicBezTo>
                  <a:cubicBezTo>
                    <a:pt x="146804" y="188749"/>
                    <a:pt x="153570" y="181984"/>
                    <a:pt x="160335" y="177925"/>
                  </a:cubicBezTo>
                  <a:cubicBezTo>
                    <a:pt x="167777" y="173189"/>
                    <a:pt x="175218" y="168453"/>
                    <a:pt x="183337" y="165071"/>
                  </a:cubicBezTo>
                  <a:cubicBezTo>
                    <a:pt x="186043" y="163718"/>
                    <a:pt x="189425" y="163041"/>
                    <a:pt x="192131" y="163041"/>
                  </a:cubicBezTo>
                  <a:cubicBezTo>
                    <a:pt x="197543" y="163041"/>
                    <a:pt x="202956" y="161012"/>
                    <a:pt x="208368" y="158982"/>
                  </a:cubicBezTo>
                  <a:cubicBezTo>
                    <a:pt x="212427" y="157629"/>
                    <a:pt x="216486" y="156276"/>
                    <a:pt x="220545" y="155599"/>
                  </a:cubicBezTo>
                  <a:cubicBezTo>
                    <a:pt x="221222" y="155599"/>
                    <a:pt x="221898" y="155599"/>
                    <a:pt x="221898" y="154246"/>
                  </a:cubicBezTo>
                  <a:cubicBezTo>
                    <a:pt x="221898" y="152893"/>
                    <a:pt x="220545" y="153570"/>
                    <a:pt x="219869" y="152893"/>
                  </a:cubicBezTo>
                  <a:cubicBezTo>
                    <a:pt x="214456" y="151540"/>
                    <a:pt x="209044" y="149511"/>
                    <a:pt x="204309" y="147481"/>
                  </a:cubicBezTo>
                  <a:cubicBezTo>
                    <a:pt x="200926" y="146805"/>
                    <a:pt x="197543" y="146128"/>
                    <a:pt x="194161" y="147481"/>
                  </a:cubicBezTo>
                  <a:cubicBezTo>
                    <a:pt x="188749" y="148834"/>
                    <a:pt x="184690" y="151540"/>
                    <a:pt x="180630" y="154923"/>
                  </a:cubicBezTo>
                  <a:cubicBezTo>
                    <a:pt x="173865" y="160335"/>
                    <a:pt x="166424" y="165071"/>
                    <a:pt x="158982" y="167777"/>
                  </a:cubicBezTo>
                  <a:cubicBezTo>
                    <a:pt x="153570" y="170483"/>
                    <a:pt x="147481" y="171836"/>
                    <a:pt x="141392" y="172512"/>
                  </a:cubicBezTo>
                  <a:cubicBezTo>
                    <a:pt x="140039" y="172512"/>
                    <a:pt x="138010" y="173189"/>
                    <a:pt x="136657" y="172512"/>
                  </a:cubicBezTo>
                  <a:cubicBezTo>
                    <a:pt x="141392" y="169130"/>
                    <a:pt x="146804" y="166424"/>
                    <a:pt x="150864" y="161012"/>
                  </a:cubicBezTo>
                  <a:cubicBezTo>
                    <a:pt x="154246" y="156952"/>
                    <a:pt x="156952" y="152893"/>
                    <a:pt x="160335" y="149511"/>
                  </a:cubicBezTo>
                  <a:cubicBezTo>
                    <a:pt x="165747" y="144775"/>
                    <a:pt x="171159" y="140716"/>
                    <a:pt x="177248" y="137333"/>
                  </a:cubicBezTo>
                  <a:lnTo>
                    <a:pt x="191455" y="129215"/>
                  </a:lnTo>
                  <a:cubicBezTo>
                    <a:pt x="194161" y="127862"/>
                    <a:pt x="197543" y="126509"/>
                    <a:pt x="200250" y="125833"/>
                  </a:cubicBezTo>
                  <a:cubicBezTo>
                    <a:pt x="202279" y="125156"/>
                    <a:pt x="204309" y="125156"/>
                    <a:pt x="206338" y="125156"/>
                  </a:cubicBezTo>
                  <a:cubicBezTo>
                    <a:pt x="211750" y="125156"/>
                    <a:pt x="217839" y="121097"/>
                    <a:pt x="223251" y="119067"/>
                  </a:cubicBezTo>
                  <a:cubicBezTo>
                    <a:pt x="225957" y="118391"/>
                    <a:pt x="228663" y="118391"/>
                    <a:pt x="230693" y="117038"/>
                  </a:cubicBezTo>
                  <a:cubicBezTo>
                    <a:pt x="231369" y="117038"/>
                    <a:pt x="231369" y="116361"/>
                    <a:pt x="231369" y="115685"/>
                  </a:cubicBezTo>
                  <a:lnTo>
                    <a:pt x="230693" y="115008"/>
                  </a:lnTo>
                  <a:cubicBezTo>
                    <a:pt x="223928" y="114332"/>
                    <a:pt x="218516" y="112302"/>
                    <a:pt x="211750" y="110273"/>
                  </a:cubicBezTo>
                  <a:cubicBezTo>
                    <a:pt x="206338" y="109596"/>
                    <a:pt x="200926" y="109596"/>
                    <a:pt x="196191" y="112302"/>
                  </a:cubicBezTo>
                  <a:cubicBezTo>
                    <a:pt x="191455" y="115685"/>
                    <a:pt x="187396" y="119067"/>
                    <a:pt x="182660" y="122450"/>
                  </a:cubicBezTo>
                  <a:cubicBezTo>
                    <a:pt x="181307" y="123126"/>
                    <a:pt x="179954" y="124480"/>
                    <a:pt x="178601" y="125156"/>
                  </a:cubicBezTo>
                  <a:cubicBezTo>
                    <a:pt x="173189" y="128539"/>
                    <a:pt x="167100" y="131921"/>
                    <a:pt x="161011" y="133951"/>
                  </a:cubicBezTo>
                  <a:cubicBezTo>
                    <a:pt x="154923" y="135980"/>
                    <a:pt x="148834" y="136657"/>
                    <a:pt x="142746" y="136657"/>
                  </a:cubicBezTo>
                  <a:cubicBezTo>
                    <a:pt x="140716" y="136657"/>
                    <a:pt x="138686" y="135304"/>
                    <a:pt x="137333" y="133274"/>
                  </a:cubicBezTo>
                  <a:cubicBezTo>
                    <a:pt x="135980" y="130568"/>
                    <a:pt x="135304" y="127862"/>
                    <a:pt x="135304" y="125156"/>
                  </a:cubicBezTo>
                  <a:cubicBezTo>
                    <a:pt x="135304" y="123126"/>
                    <a:pt x="135304" y="121773"/>
                    <a:pt x="134627" y="119744"/>
                  </a:cubicBezTo>
                  <a:cubicBezTo>
                    <a:pt x="134627" y="115008"/>
                    <a:pt x="133951" y="108920"/>
                    <a:pt x="135304" y="104184"/>
                  </a:cubicBezTo>
                  <a:cubicBezTo>
                    <a:pt x="135980" y="99448"/>
                    <a:pt x="137333" y="94713"/>
                    <a:pt x="136657" y="89977"/>
                  </a:cubicBezTo>
                  <a:cubicBezTo>
                    <a:pt x="135304" y="85918"/>
                    <a:pt x="129892" y="81182"/>
                    <a:pt x="117038" y="70358"/>
                  </a:cubicBezTo>
                  <a:cubicBezTo>
                    <a:pt x="104184" y="58857"/>
                    <a:pt x="90654" y="43974"/>
                    <a:pt x="83888" y="31796"/>
                  </a:cubicBezTo>
                  <a:cubicBezTo>
                    <a:pt x="83212" y="30443"/>
                    <a:pt x="82535" y="29090"/>
                    <a:pt x="81859" y="28414"/>
                  </a:cubicBezTo>
                  <a:cubicBezTo>
                    <a:pt x="80506" y="28414"/>
                    <a:pt x="80506" y="29090"/>
                    <a:pt x="79829" y="29767"/>
                  </a:cubicBezTo>
                  <a:cubicBezTo>
                    <a:pt x="74417" y="37209"/>
                    <a:pt x="72387" y="46003"/>
                    <a:pt x="73741" y="55475"/>
                  </a:cubicBezTo>
                  <a:cubicBezTo>
                    <a:pt x="75770" y="64946"/>
                    <a:pt x="79829" y="73064"/>
                    <a:pt x="86594" y="80506"/>
                  </a:cubicBezTo>
                  <a:cubicBezTo>
                    <a:pt x="89977" y="84565"/>
                    <a:pt x="94036" y="89977"/>
                    <a:pt x="96066" y="94036"/>
                  </a:cubicBezTo>
                  <a:cubicBezTo>
                    <a:pt x="98095" y="98095"/>
                    <a:pt x="98772" y="102154"/>
                    <a:pt x="98095" y="106890"/>
                  </a:cubicBezTo>
                  <a:lnTo>
                    <a:pt x="87947" y="99448"/>
                  </a:lnTo>
                  <a:cubicBezTo>
                    <a:pt x="87947" y="99448"/>
                    <a:pt x="83888" y="96742"/>
                    <a:pt x="77800" y="92007"/>
                  </a:cubicBezTo>
                  <a:cubicBezTo>
                    <a:pt x="72387" y="87947"/>
                    <a:pt x="66299" y="84565"/>
                    <a:pt x="56828" y="73741"/>
                  </a:cubicBezTo>
                  <a:cubicBezTo>
                    <a:pt x="56828" y="73064"/>
                    <a:pt x="56151" y="73064"/>
                    <a:pt x="55474" y="73741"/>
                  </a:cubicBezTo>
                  <a:cubicBezTo>
                    <a:pt x="54798" y="74417"/>
                    <a:pt x="54798" y="75094"/>
                    <a:pt x="54122" y="76447"/>
                  </a:cubicBezTo>
                  <a:cubicBezTo>
                    <a:pt x="52768" y="87271"/>
                    <a:pt x="52092" y="100125"/>
                    <a:pt x="58181" y="108920"/>
                  </a:cubicBezTo>
                  <a:cubicBezTo>
                    <a:pt x="61563" y="114332"/>
                    <a:pt x="66299" y="119067"/>
                    <a:pt x="71034" y="123803"/>
                  </a:cubicBezTo>
                  <a:cubicBezTo>
                    <a:pt x="74417" y="126509"/>
                    <a:pt x="77123" y="129892"/>
                    <a:pt x="80506" y="132598"/>
                  </a:cubicBezTo>
                  <a:cubicBezTo>
                    <a:pt x="83888" y="135304"/>
                    <a:pt x="87271" y="138686"/>
                    <a:pt x="87271" y="142746"/>
                  </a:cubicBezTo>
                  <a:cubicBezTo>
                    <a:pt x="87947" y="147481"/>
                    <a:pt x="85918" y="151540"/>
                    <a:pt x="84565" y="155599"/>
                  </a:cubicBezTo>
                  <a:cubicBezTo>
                    <a:pt x="82535" y="158982"/>
                    <a:pt x="81182" y="162365"/>
                    <a:pt x="78476" y="164394"/>
                  </a:cubicBezTo>
                  <a:cubicBezTo>
                    <a:pt x="74417" y="167100"/>
                    <a:pt x="68328" y="165071"/>
                    <a:pt x="63593" y="165747"/>
                  </a:cubicBezTo>
                  <a:cubicBezTo>
                    <a:pt x="60210" y="165747"/>
                    <a:pt x="58181" y="169130"/>
                    <a:pt x="56828" y="171836"/>
                  </a:cubicBezTo>
                  <a:cubicBezTo>
                    <a:pt x="54798" y="175218"/>
                    <a:pt x="52768" y="178601"/>
                    <a:pt x="53445" y="182660"/>
                  </a:cubicBezTo>
                  <a:cubicBezTo>
                    <a:pt x="54122" y="187396"/>
                    <a:pt x="56151" y="191455"/>
                    <a:pt x="57504" y="193484"/>
                  </a:cubicBezTo>
                  <a:cubicBezTo>
                    <a:pt x="58181" y="194161"/>
                    <a:pt x="58857" y="195514"/>
                    <a:pt x="60210" y="195514"/>
                  </a:cubicBezTo>
                  <a:cubicBezTo>
                    <a:pt x="62240" y="194838"/>
                    <a:pt x="64269" y="194161"/>
                    <a:pt x="66299" y="192808"/>
                  </a:cubicBezTo>
                  <a:cubicBezTo>
                    <a:pt x="75770" y="184690"/>
                    <a:pt x="79829" y="181984"/>
                    <a:pt x="89977" y="179278"/>
                  </a:cubicBezTo>
                  <a:cubicBezTo>
                    <a:pt x="83888" y="181984"/>
                    <a:pt x="79153" y="188749"/>
                    <a:pt x="77800" y="190778"/>
                  </a:cubicBezTo>
                  <a:cubicBezTo>
                    <a:pt x="69681" y="200250"/>
                    <a:pt x="62240" y="204309"/>
                    <a:pt x="50739" y="202279"/>
                  </a:cubicBezTo>
                  <a:cubicBezTo>
                    <a:pt x="48033" y="201603"/>
                    <a:pt x="46680" y="200926"/>
                    <a:pt x="46680" y="200926"/>
                  </a:cubicBezTo>
                  <a:cubicBezTo>
                    <a:pt x="35855" y="189425"/>
                    <a:pt x="16913" y="163041"/>
                    <a:pt x="16913" y="125156"/>
                  </a:cubicBezTo>
                  <a:cubicBezTo>
                    <a:pt x="16913" y="64269"/>
                    <a:pt x="66299" y="14207"/>
                    <a:pt x="127862" y="14207"/>
                  </a:cubicBezTo>
                  <a:cubicBezTo>
                    <a:pt x="188749" y="14207"/>
                    <a:pt x="238135" y="63593"/>
                    <a:pt x="238135" y="125156"/>
                  </a:cubicBezTo>
                  <a:cubicBezTo>
                    <a:pt x="236782" y="186043"/>
                    <a:pt x="186719" y="237458"/>
                    <a:pt x="126509" y="237458"/>
                  </a:cubicBezTo>
                  <a:close/>
                </a:path>
              </a:pathLst>
            </a:custGeom>
            <a:solidFill>
              <a:srgbClr val="004A99"/>
            </a:solidFill>
            <a:ln w="6756" cap="flat">
              <a:noFill/>
              <a:prstDash val="solid"/>
              <a:miter/>
            </a:ln>
          </p:spPr>
          <p:txBody>
            <a:bodyPr rtlCol="0" anchor="ctr"/>
            <a:lstStyle/>
            <a:p>
              <a:endParaRPr lang="de-DE"/>
            </a:p>
          </p:txBody>
        </p:sp>
      </p:grpSp>
    </p:spTree>
    <p:extLst>
      <p:ext uri="{BB962C8B-B14F-4D97-AF65-F5344CB8AC3E}">
        <p14:creationId xmlns:p14="http://schemas.microsoft.com/office/powerpoint/2010/main" val="499476938"/>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p:stCondLst>
                              <p:cond delay="0"/>
                            </p:stCondLst>
                            <p:childTnLst>
                              <p:par>
                                <p:cTn id="5" presetID="10" presetClass="exit" presetSubtype="0" dur="1000" fill="hold" nodeType="clickEffect">
                                  <p:stCondLst>
                                    <p:cond delay="0"/>
                                  </p:stCondLst>
                                  <p:childTnLst>
                                    <p:animEffect transition="out" filter="fade">
                                      <p:cBhvr>
                                        <p:cTn id="6" dur="1000"/>
                                        <p:tgtEl>
                                          <p:spTgt spid="3"/>
                                        </p:tgtEl>
                                      </p:cBhvr>
                                    </p:animEffect>
                                    <p:set>
                                      <p:cBhvr>
                                        <p:cTn id="7" dur="1" fill="hold">
                                          <p:stCondLst>
                                            <p:cond delay="999"/>
                                          </p:stCondLst>
                                        </p:cTn>
                                        <p:tgtEl>
                                          <p:spTgt spid="3"/>
                                        </p:tgtEl>
                                        <p:attrNameLst>
                                          <p:attrName>style.visibility</p:attrName>
                                        </p:attrNameLst>
                                      </p:cBhvr>
                                      <p:to>
                                        <p:strVal val="hidden"/>
                                      </p:to>
                                    </p:set>
                                  </p:childTnLst>
                                </p:cTn>
                              </p:par>
                            </p:childTnLst>
                          </p:cTn>
                        </p:par>
                        <p:par>
                          <p:cTn id="8" fill="hold" nodeType="afterGroup">
                            <p:stCondLst>
                              <p:cond delay="1000"/>
                            </p:stCondLst>
                            <p:childTnLst>
                              <p:par>
                                <p:cTn id="9" presetID="10" presetClass="entr" presetSubtype="0" dur="1000" fill="hold" grpId="0" nodeType="afterEffect">
                                  <p:stCondLst>
                                    <p:cond delay="0"/>
                                  </p:stCondLst>
                                  <p:childTnLst>
                                    <p:set>
                                      <p:cBhvr>
                                        <p:cTn id="10" dur="1" fill="hold">
                                          <p:stCondLst>
                                            <p:cond delay="0"/>
                                          </p:stCondLst>
                                        </p:cTn>
                                        <p:tgtEl>
                                          <p:spTgt spid="64"/>
                                        </p:tgtEl>
                                        <p:attrNameLst>
                                          <p:attrName>style.visibility</p:attrName>
                                        </p:attrNameLst>
                                      </p:cBhvr>
                                      <p:to>
                                        <p:strVal val="visible"/>
                                      </p:to>
                                    </p:set>
                                    <p:animEffect transition="in" filter="fade">
                                      <p:cBhvr>
                                        <p:cTn id="11" dur="1000"/>
                                        <p:tgtEl>
                                          <p:spTgt spid="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animBg="1"/>
    </p:bld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ED8B4229-4B33-4A0A-AF4B-FF49C5161567}"/>
              </a:ext>
            </a:extLst>
          </p:cNvPr>
          <p:cNvSpPr>
            <a:spLocks noGrp="1"/>
          </p:cNvSpPr>
          <p:nvPr>
            <p:ph type="pic" sz="quarter" idx="13"/>
          </p:nvPr>
        </p:nvSpPr>
        <p:spPr>
          <a:xfrm>
            <a:off x="6096000" y="647700"/>
            <a:ext cx="6096000" cy="5524500"/>
          </a:xfrm>
          <a:custGeom>
            <a:avLst/>
            <a:gdLst>
              <a:gd name="connsiteX0" fmla="*/ 2264824 w 12193588"/>
              <a:gd name="connsiteY0" fmla="*/ 0 h 11049000"/>
              <a:gd name="connsiteX1" fmla="*/ 12193588 w 12193588"/>
              <a:gd name="connsiteY1" fmla="*/ 0 h 11049000"/>
              <a:gd name="connsiteX2" fmla="*/ 12193588 w 12193588"/>
              <a:gd name="connsiteY2" fmla="*/ 11049000 h 11049000"/>
              <a:gd name="connsiteX3" fmla="*/ 2264824 w 12193588"/>
              <a:gd name="connsiteY3" fmla="*/ 11049000 h 11049000"/>
              <a:gd name="connsiteX4" fmla="*/ 0 w 12193588"/>
              <a:gd name="connsiteY4" fmla="*/ 5524500 h 11049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3588" h="11049000">
                <a:moveTo>
                  <a:pt x="2264824" y="0"/>
                </a:moveTo>
                <a:lnTo>
                  <a:pt x="12193588" y="0"/>
                </a:lnTo>
                <a:lnTo>
                  <a:pt x="12193588" y="11049000"/>
                </a:lnTo>
                <a:lnTo>
                  <a:pt x="2264824" y="11049000"/>
                </a:lnTo>
                <a:lnTo>
                  <a:pt x="0" y="5524500"/>
                </a:lnTo>
                <a:close/>
              </a:path>
            </a:pathLst>
          </a:custGeom>
          <a:pattFill prst="pct60">
            <a:fgClr>
              <a:schemeClr val="bg1"/>
            </a:fgClr>
            <a:bgClr>
              <a:schemeClr val="bg1">
                <a:lumMod val="85000"/>
              </a:schemeClr>
            </a:bgClr>
          </a:pattFill>
          <a:effectLst>
            <a:outerShdw blurRad="711200" dist="863600" dir="10800000" sx="94000" sy="94000" algn="r" rotWithShape="0">
              <a:schemeClr val="accent1">
                <a:lumMod val="50000"/>
                <a:alpha val="63000"/>
              </a:schemeClr>
            </a:outerShdw>
          </a:effectLst>
        </p:spPr>
        <p:txBody>
          <a:bodyPr wrap="square" anchor="ctr">
            <a:noAutofit/>
          </a:bodyPr>
          <a:lstStyle>
            <a:lvl1pPr marL="0" indent="0" algn="ctr">
              <a:buFontTx/>
              <a:buNone/>
              <a:defRPr sz="1200"/>
            </a:lvl1pPr>
          </a:lstStyle>
          <a:p>
            <a:endParaRPr lang="en-US"/>
          </a:p>
        </p:txBody>
      </p:sp>
    </p:spTree>
    <p:extLst>
      <p:ext uri="{BB962C8B-B14F-4D97-AF65-F5344CB8AC3E}">
        <p14:creationId xmlns:p14="http://schemas.microsoft.com/office/powerpoint/2010/main" val="2899683836"/>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2" dur="1300" decel="100000"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1300" fill="hold"/>
                                        <p:tgtEl>
                                          <p:spTgt spid="12"/>
                                        </p:tgtEl>
                                        <p:attrNameLst>
                                          <p:attrName>ppt_x</p:attrName>
                                        </p:attrNameLst>
                                      </p:cBhvr>
                                      <p:tavLst>
                                        <p:tav tm="0">
                                          <p:val>
                                            <p:strVal val="1+#ppt_w/2"/>
                                          </p:val>
                                        </p:tav>
                                        <p:tav tm="100000">
                                          <p:val>
                                            <p:strVal val="#ppt_x"/>
                                          </p:val>
                                        </p:tav>
                                      </p:tavLst>
                                    </p:anim>
                                    <p:anim calcmode="lin" valueType="num">
                                      <p:cBhvr additive="base">
                                        <p:cTn id="8" dur="130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13_Custom Layout">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A1483D13-6DD3-40B5-B94A-22A72B88E395}"/>
              </a:ext>
            </a:extLst>
          </p:cNvPr>
          <p:cNvSpPr>
            <a:spLocks noGrp="1"/>
          </p:cNvSpPr>
          <p:nvPr>
            <p:ph type="pic" sz="quarter" idx="15"/>
          </p:nvPr>
        </p:nvSpPr>
        <p:spPr>
          <a:xfrm>
            <a:off x="1538960" y="3617088"/>
            <a:ext cx="1281061" cy="1542737"/>
          </a:xfrm>
          <a:custGeom>
            <a:avLst/>
            <a:gdLst>
              <a:gd name="connsiteX0" fmla="*/ 0 w 2562456"/>
              <a:gd name="connsiteY0" fmla="*/ 0 h 3085473"/>
              <a:gd name="connsiteX1" fmla="*/ 2562456 w 2562456"/>
              <a:gd name="connsiteY1" fmla="*/ 0 h 3085473"/>
              <a:gd name="connsiteX2" fmla="*/ 2562456 w 2562456"/>
              <a:gd name="connsiteY2" fmla="*/ 3085473 h 3085473"/>
              <a:gd name="connsiteX3" fmla="*/ 0 w 2562456"/>
              <a:gd name="connsiteY3" fmla="*/ 3085473 h 3085473"/>
            </a:gdLst>
            <a:ahLst/>
            <a:cxnLst>
              <a:cxn ang="0">
                <a:pos x="connsiteX0" y="connsiteY0"/>
              </a:cxn>
              <a:cxn ang="0">
                <a:pos x="connsiteX1" y="connsiteY1"/>
              </a:cxn>
              <a:cxn ang="0">
                <a:pos x="connsiteX2" y="connsiteY2"/>
              </a:cxn>
              <a:cxn ang="0">
                <a:pos x="connsiteX3" y="connsiteY3"/>
              </a:cxn>
            </a:cxnLst>
            <a:rect l="l" t="t" r="r" b="b"/>
            <a:pathLst>
              <a:path w="2562456" h="3085473">
                <a:moveTo>
                  <a:pt x="0" y="0"/>
                </a:moveTo>
                <a:lnTo>
                  <a:pt x="2562456" y="0"/>
                </a:lnTo>
                <a:lnTo>
                  <a:pt x="2562456" y="3085473"/>
                </a:lnTo>
                <a:lnTo>
                  <a:pt x="0" y="3085473"/>
                </a:ln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
        <p:nvSpPr>
          <p:cNvPr id="11" name="Picture Placeholder 10">
            <a:extLst>
              <a:ext uri="{FF2B5EF4-FFF2-40B4-BE49-F238E27FC236}">
                <a16:creationId xmlns:a16="http://schemas.microsoft.com/office/drawing/2014/main" id="{C223C6C0-40B2-4B91-8B1C-E3376A7BC535}"/>
              </a:ext>
            </a:extLst>
          </p:cNvPr>
          <p:cNvSpPr>
            <a:spLocks noGrp="1"/>
          </p:cNvSpPr>
          <p:nvPr>
            <p:ph type="pic" sz="quarter" idx="16"/>
          </p:nvPr>
        </p:nvSpPr>
        <p:spPr>
          <a:xfrm>
            <a:off x="5949199" y="503585"/>
            <a:ext cx="1869580" cy="1855686"/>
          </a:xfrm>
          <a:custGeom>
            <a:avLst/>
            <a:gdLst>
              <a:gd name="connsiteX0" fmla="*/ 0 w 3739647"/>
              <a:gd name="connsiteY0" fmla="*/ 0 h 3711371"/>
              <a:gd name="connsiteX1" fmla="*/ 3739647 w 3739647"/>
              <a:gd name="connsiteY1" fmla="*/ 0 h 3711371"/>
              <a:gd name="connsiteX2" fmla="*/ 3739647 w 3739647"/>
              <a:gd name="connsiteY2" fmla="*/ 3711371 h 3711371"/>
              <a:gd name="connsiteX3" fmla="*/ 0 w 3739647"/>
              <a:gd name="connsiteY3" fmla="*/ 3711371 h 3711371"/>
            </a:gdLst>
            <a:ahLst/>
            <a:cxnLst>
              <a:cxn ang="0">
                <a:pos x="connsiteX0" y="connsiteY0"/>
              </a:cxn>
              <a:cxn ang="0">
                <a:pos x="connsiteX1" y="connsiteY1"/>
              </a:cxn>
              <a:cxn ang="0">
                <a:pos x="connsiteX2" y="connsiteY2"/>
              </a:cxn>
              <a:cxn ang="0">
                <a:pos x="connsiteX3" y="connsiteY3"/>
              </a:cxn>
            </a:cxnLst>
            <a:rect l="l" t="t" r="r" b="b"/>
            <a:pathLst>
              <a:path w="3739647" h="3711371">
                <a:moveTo>
                  <a:pt x="0" y="0"/>
                </a:moveTo>
                <a:lnTo>
                  <a:pt x="3739647" y="0"/>
                </a:lnTo>
                <a:lnTo>
                  <a:pt x="3739647" y="3711371"/>
                </a:lnTo>
                <a:lnTo>
                  <a:pt x="0" y="3711371"/>
                </a:ln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
        <p:nvSpPr>
          <p:cNvPr id="12" name="Picture Placeholder 11">
            <a:extLst>
              <a:ext uri="{FF2B5EF4-FFF2-40B4-BE49-F238E27FC236}">
                <a16:creationId xmlns:a16="http://schemas.microsoft.com/office/drawing/2014/main" id="{D0AAA611-0D8A-4CBD-84B9-375447BB51AB}"/>
              </a:ext>
            </a:extLst>
          </p:cNvPr>
          <p:cNvSpPr>
            <a:spLocks noGrp="1"/>
          </p:cNvSpPr>
          <p:nvPr>
            <p:ph type="pic" sz="quarter" idx="17"/>
          </p:nvPr>
        </p:nvSpPr>
        <p:spPr>
          <a:xfrm>
            <a:off x="5570055" y="4461938"/>
            <a:ext cx="1869580" cy="1084781"/>
          </a:xfrm>
          <a:custGeom>
            <a:avLst/>
            <a:gdLst>
              <a:gd name="connsiteX0" fmla="*/ 0 w 3739647"/>
              <a:gd name="connsiteY0" fmla="*/ 0 h 2169562"/>
              <a:gd name="connsiteX1" fmla="*/ 3739647 w 3739647"/>
              <a:gd name="connsiteY1" fmla="*/ 0 h 2169562"/>
              <a:gd name="connsiteX2" fmla="*/ 3739647 w 3739647"/>
              <a:gd name="connsiteY2" fmla="*/ 2169562 h 2169562"/>
              <a:gd name="connsiteX3" fmla="*/ 0 w 3739647"/>
              <a:gd name="connsiteY3" fmla="*/ 2169562 h 2169562"/>
            </a:gdLst>
            <a:ahLst/>
            <a:cxnLst>
              <a:cxn ang="0">
                <a:pos x="connsiteX0" y="connsiteY0"/>
              </a:cxn>
              <a:cxn ang="0">
                <a:pos x="connsiteX1" y="connsiteY1"/>
              </a:cxn>
              <a:cxn ang="0">
                <a:pos x="connsiteX2" y="connsiteY2"/>
              </a:cxn>
              <a:cxn ang="0">
                <a:pos x="connsiteX3" y="connsiteY3"/>
              </a:cxn>
            </a:cxnLst>
            <a:rect l="l" t="t" r="r" b="b"/>
            <a:pathLst>
              <a:path w="3739647" h="2169562">
                <a:moveTo>
                  <a:pt x="0" y="0"/>
                </a:moveTo>
                <a:lnTo>
                  <a:pt x="3739647" y="0"/>
                </a:lnTo>
                <a:lnTo>
                  <a:pt x="3739647" y="2169562"/>
                </a:lnTo>
                <a:lnTo>
                  <a:pt x="0" y="2169562"/>
                </a:ln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
        <p:nvSpPr>
          <p:cNvPr id="13" name="Picture Placeholder 12">
            <a:extLst>
              <a:ext uri="{FF2B5EF4-FFF2-40B4-BE49-F238E27FC236}">
                <a16:creationId xmlns:a16="http://schemas.microsoft.com/office/drawing/2014/main" id="{9EE5DA75-D57A-445B-800D-4D886BEE4E5A}"/>
              </a:ext>
            </a:extLst>
          </p:cNvPr>
          <p:cNvSpPr>
            <a:spLocks noGrp="1"/>
          </p:cNvSpPr>
          <p:nvPr>
            <p:ph type="pic" sz="quarter" idx="18"/>
          </p:nvPr>
        </p:nvSpPr>
        <p:spPr>
          <a:xfrm>
            <a:off x="8314024" y="3731007"/>
            <a:ext cx="1231893" cy="1205416"/>
          </a:xfrm>
          <a:custGeom>
            <a:avLst/>
            <a:gdLst>
              <a:gd name="connsiteX0" fmla="*/ 0 w 2464106"/>
              <a:gd name="connsiteY0" fmla="*/ 0 h 2410831"/>
              <a:gd name="connsiteX1" fmla="*/ 2464106 w 2464106"/>
              <a:gd name="connsiteY1" fmla="*/ 0 h 2410831"/>
              <a:gd name="connsiteX2" fmla="*/ 2464106 w 2464106"/>
              <a:gd name="connsiteY2" fmla="*/ 2410831 h 2410831"/>
              <a:gd name="connsiteX3" fmla="*/ 0 w 2464106"/>
              <a:gd name="connsiteY3" fmla="*/ 2410831 h 2410831"/>
            </a:gdLst>
            <a:ahLst/>
            <a:cxnLst>
              <a:cxn ang="0">
                <a:pos x="connsiteX0" y="connsiteY0"/>
              </a:cxn>
              <a:cxn ang="0">
                <a:pos x="connsiteX1" y="connsiteY1"/>
              </a:cxn>
              <a:cxn ang="0">
                <a:pos x="connsiteX2" y="connsiteY2"/>
              </a:cxn>
              <a:cxn ang="0">
                <a:pos x="connsiteX3" y="connsiteY3"/>
              </a:cxn>
            </a:cxnLst>
            <a:rect l="l" t="t" r="r" b="b"/>
            <a:pathLst>
              <a:path w="2464106" h="2410831">
                <a:moveTo>
                  <a:pt x="0" y="0"/>
                </a:moveTo>
                <a:lnTo>
                  <a:pt x="2464106" y="0"/>
                </a:lnTo>
                <a:lnTo>
                  <a:pt x="2464106" y="2410831"/>
                </a:lnTo>
                <a:lnTo>
                  <a:pt x="0" y="2410831"/>
                </a:ln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Tree>
    <p:extLst>
      <p:ext uri="{BB962C8B-B14F-4D97-AF65-F5344CB8AC3E}">
        <p14:creationId xmlns:p14="http://schemas.microsoft.com/office/powerpoint/2010/main" val="2214570157"/>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10" presetClass="entr" presetSubtype="0" dur="30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300"/>
                                        <p:tgtEl>
                                          <p:spTgt spid="10"/>
                                        </p:tgtEl>
                                      </p:cBhvr>
                                    </p:animEffect>
                                  </p:childTnLst>
                                </p:cTn>
                              </p:par>
                              <p:par>
                                <p:cTn id="8" presetID="10" presetClass="entr" presetSubtype="0" dur="300" fill="hold" grpId="0" nodeType="withEffect">
                                  <p:stCondLst>
                                    <p:cond delay="30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300"/>
                                        <p:tgtEl>
                                          <p:spTgt spid="12"/>
                                        </p:tgtEl>
                                      </p:cBhvr>
                                    </p:animEffect>
                                  </p:childTnLst>
                                </p:cTn>
                              </p:par>
                              <p:par>
                                <p:cTn id="11" presetID="10" presetClass="entr" presetSubtype="0" dur="300" fill="hold" grpId="0" nodeType="withEffect">
                                  <p:stCondLst>
                                    <p:cond delay="600"/>
                                  </p:stCondLst>
                                  <p:childTnLst>
                                    <p:set>
                                      <p:cBhvr>
                                        <p:cTn id="12" dur="1" fill="hold">
                                          <p:stCondLst>
                                            <p:cond delay="0"/>
                                          </p:stCondLst>
                                        </p:cTn>
                                        <p:tgtEl>
                                          <p:spTgt spid="11"/>
                                        </p:tgtEl>
                                        <p:attrNameLst>
                                          <p:attrName>style.visibility</p:attrName>
                                        </p:attrNameLst>
                                      </p:cBhvr>
                                      <p:to>
                                        <p:strVal val="visible"/>
                                      </p:to>
                                    </p:set>
                                    <p:animEffect transition="in" filter="fade">
                                      <p:cBhvr>
                                        <p:cTn id="13" dur="300"/>
                                        <p:tgtEl>
                                          <p:spTgt spid="11"/>
                                        </p:tgtEl>
                                      </p:cBhvr>
                                    </p:animEffect>
                                  </p:childTnLst>
                                </p:cTn>
                              </p:par>
                              <p:par>
                                <p:cTn id="14" presetID="10" presetClass="entr" presetSubtype="0" dur="300" fill="hold" grpId="0" nodeType="withEffect">
                                  <p:stCondLst>
                                    <p:cond delay="900"/>
                                  </p:stCondLst>
                                  <p:childTnLst>
                                    <p:set>
                                      <p:cBhvr>
                                        <p:cTn id="15" dur="1" fill="hold">
                                          <p:stCondLst>
                                            <p:cond delay="0"/>
                                          </p:stCondLst>
                                        </p:cTn>
                                        <p:tgtEl>
                                          <p:spTgt spid="13"/>
                                        </p:tgtEl>
                                        <p:attrNameLst>
                                          <p:attrName>style.visibility</p:attrName>
                                        </p:attrNameLst>
                                      </p:cBhvr>
                                      <p:to>
                                        <p:strVal val="visible"/>
                                      </p:to>
                                    </p:set>
                                    <p:animEffect transition="in" filter="fade">
                                      <p:cBhvr>
                                        <p:cTn id="16" dur="3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3" grpId="0" animBg="1"/>
    </p:bld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Picture Placeholder 7">
            <a:extLst>
              <a:ext uri="{FF2B5EF4-FFF2-40B4-BE49-F238E27FC236}">
                <a16:creationId xmlns:a16="http://schemas.microsoft.com/office/drawing/2014/main" id="{9BE362C5-03AE-447C-8B47-3D5F40463679}"/>
              </a:ext>
            </a:extLst>
          </p:cNvPr>
          <p:cNvSpPr>
            <a:spLocks noGrp="1"/>
          </p:cNvSpPr>
          <p:nvPr>
            <p:ph type="pic" sz="quarter" idx="15"/>
          </p:nvPr>
        </p:nvSpPr>
        <p:spPr>
          <a:xfrm>
            <a:off x="0" y="0"/>
            <a:ext cx="12192000" cy="6858000"/>
          </a:xfrm>
          <a:custGeom>
            <a:avLst/>
            <a:gdLst>
              <a:gd name="connsiteX0" fmla="*/ 0 w 10345056"/>
              <a:gd name="connsiteY0" fmla="*/ 0 h 10610851"/>
              <a:gd name="connsiteX1" fmla="*/ 10345056 w 10345056"/>
              <a:gd name="connsiteY1" fmla="*/ 0 h 10610851"/>
              <a:gd name="connsiteX2" fmla="*/ 10345056 w 10345056"/>
              <a:gd name="connsiteY2" fmla="*/ 10610851 h 10610851"/>
              <a:gd name="connsiteX3" fmla="*/ 0 w 10345056"/>
              <a:gd name="connsiteY3" fmla="*/ 10610851 h 10610851"/>
            </a:gdLst>
            <a:ahLst/>
            <a:cxnLst>
              <a:cxn ang="0">
                <a:pos x="connsiteX0" y="connsiteY0"/>
              </a:cxn>
              <a:cxn ang="0">
                <a:pos x="connsiteX1" y="connsiteY1"/>
              </a:cxn>
              <a:cxn ang="0">
                <a:pos x="connsiteX2" y="connsiteY2"/>
              </a:cxn>
              <a:cxn ang="0">
                <a:pos x="connsiteX3" y="connsiteY3"/>
              </a:cxn>
            </a:cxnLst>
            <a:rect l="l" t="t" r="r" b="b"/>
            <a:pathLst>
              <a:path w="10345056" h="10610851">
                <a:moveTo>
                  <a:pt x="0" y="0"/>
                </a:moveTo>
                <a:lnTo>
                  <a:pt x="10345056" y="0"/>
                </a:lnTo>
                <a:lnTo>
                  <a:pt x="10345056" y="10610851"/>
                </a:lnTo>
                <a:lnTo>
                  <a:pt x="0" y="10610851"/>
                </a:lnTo>
                <a:close/>
              </a:path>
            </a:pathLst>
          </a:custGeom>
          <a:blipFill dpi="0" rotWithShape="1">
            <a:blip r:embed="rId2"/>
            <a:stretch>
              <a:fillRect/>
            </a:stretch>
          </a:blipFill>
          <a:effectLst/>
        </p:spPr>
        <p:txBody>
          <a:bodyPr wrap="square" anchor="ctr">
            <a:noAutofit/>
          </a:bodyPr>
          <a:lstStyle>
            <a:lvl1pPr marL="0" indent="0" algn="ctr">
              <a:buFontTx/>
              <a:buNone/>
              <a:defRPr sz="1200"/>
            </a:lvl1pPr>
          </a:lstStyle>
          <a:p>
            <a:endParaRPr lang="en-US"/>
          </a:p>
        </p:txBody>
      </p:sp>
    </p:spTree>
    <p:extLst>
      <p:ext uri="{BB962C8B-B14F-4D97-AF65-F5344CB8AC3E}">
        <p14:creationId xmlns:p14="http://schemas.microsoft.com/office/powerpoint/2010/main" val="2922198875"/>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4" dur="2000" decel="10000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2000" fill="hold"/>
                                        <p:tgtEl>
                                          <p:spTgt spid="2"/>
                                        </p:tgtEl>
                                        <p:attrNameLst>
                                          <p:attrName>ppt_x</p:attrName>
                                        </p:attrNameLst>
                                      </p:cBhvr>
                                      <p:tavLst>
                                        <p:tav tm="0">
                                          <p:val>
                                            <p:strVal val="#ppt_x"/>
                                          </p:val>
                                        </p:tav>
                                        <p:tav tm="100000">
                                          <p:val>
                                            <p:strVal val="#ppt_x"/>
                                          </p:val>
                                        </p:tav>
                                      </p:tavLst>
                                    </p:anim>
                                    <p:anim calcmode="lin" valueType="num">
                                      <p:cBhvr additive="base">
                                        <p:cTn id="8" dur="2000" fill="hold"/>
                                        <p:tgtEl>
                                          <p:spTgt spid="2"/>
                                        </p:tgtEl>
                                        <p:attrNameLst>
                                          <p:attrName>ppt_y</p:attrName>
                                        </p:attrNameLst>
                                      </p:cBhvr>
                                      <p:tavLst>
                                        <p:tav tm="0">
                                          <p:val>
                                            <p:strVal val="1+#ppt_h/2"/>
                                          </p:val>
                                        </p:tav>
                                        <p:tav tm="100000">
                                          <p:val>
                                            <p:strVal val="#ppt_y"/>
                                          </p:val>
                                        </p:tav>
                                      </p:tavLst>
                                    </p:anim>
                                  </p:childTnLst>
                                </p:cTn>
                              </p:par>
                              <p:par>
                                <p:cTn id="9" presetID="6" presetClass="emph" presetSubtype="0" dur="500" accel="100000" fill="hold" grpId="1" nodeType="withEffect">
                                  <p:stCondLst>
                                    <p:cond delay="2000"/>
                                  </p:stCondLst>
                                  <p:childTnLst>
                                    <p:animScale>
                                      <p:cBhvr>
                                        <p:cTn id="10" dur="500" fill="hold"/>
                                        <p:tgtEl>
                                          <p:spTgt spid="2"/>
                                        </p:tgtEl>
                                      </p:cBhvr>
                                      <p:by x="90000" y="9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2" name="Picture Placeholder 75">
            <a:extLst>
              <a:ext uri="{FF2B5EF4-FFF2-40B4-BE49-F238E27FC236}">
                <a16:creationId xmlns:a16="http://schemas.microsoft.com/office/drawing/2014/main" id="{35C81404-E27E-4F36-A623-E57FC83C04C2}"/>
              </a:ext>
            </a:extLst>
          </p:cNvPr>
          <p:cNvSpPr>
            <a:spLocks noGrp="1"/>
          </p:cNvSpPr>
          <p:nvPr>
            <p:ph type="pic" sz="quarter" idx="24"/>
          </p:nvPr>
        </p:nvSpPr>
        <p:spPr>
          <a:xfrm>
            <a:off x="2960575" y="2512573"/>
            <a:ext cx="3973245" cy="2235242"/>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tx1">
              <a:alpha val="4000"/>
            </a:schemeClr>
          </a:solidFill>
          <a:effectLst>
            <a:outerShdw blurRad="876300" dist="787400" dir="2400000" algn="ctr" rotWithShape="0">
              <a:schemeClr val="tx1">
                <a:alpha val="34000"/>
              </a:schemeClr>
            </a:outerShdw>
          </a:effectLst>
          <a:scene3d>
            <a:camera prst="orthographicFront">
              <a:rot lat="19848000" lon="3234000" rev="17862000"/>
            </a:camera>
            <a:lightRig rig="soft" dir="t"/>
          </a:scene3d>
          <a:sp3d extrusionH="95250" prstMaterial="plastic"/>
        </p:spPr>
        <p:txBody>
          <a:bodyPr wrap="square" anchor="ctr">
            <a:noAutofit/>
          </a:bodyPr>
          <a:lstStyle>
            <a:lvl1pPr algn="ctr">
              <a:defRPr/>
            </a:lvl1pPr>
          </a:lstStyle>
          <a:p>
            <a:endParaRPr lang="en-US"/>
          </a:p>
        </p:txBody>
      </p:sp>
      <p:sp>
        <p:nvSpPr>
          <p:cNvPr id="3" name="Picture Placeholder 75">
            <a:extLst>
              <a:ext uri="{FF2B5EF4-FFF2-40B4-BE49-F238E27FC236}">
                <a16:creationId xmlns:a16="http://schemas.microsoft.com/office/drawing/2014/main" id="{B73DCDD3-849B-48E9-9914-DC8C6C493025}"/>
              </a:ext>
            </a:extLst>
          </p:cNvPr>
          <p:cNvSpPr>
            <a:spLocks noGrp="1"/>
          </p:cNvSpPr>
          <p:nvPr>
            <p:ph type="pic" sz="quarter" idx="25"/>
          </p:nvPr>
        </p:nvSpPr>
        <p:spPr>
          <a:xfrm>
            <a:off x="-177423" y="2845786"/>
            <a:ext cx="3973245" cy="2235242"/>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tx1">
              <a:alpha val="4000"/>
            </a:schemeClr>
          </a:solidFill>
          <a:effectLst>
            <a:outerShdw blurRad="876300" dist="787400" dir="2400000" algn="ctr" rotWithShape="0">
              <a:schemeClr val="tx1">
                <a:alpha val="34000"/>
              </a:schemeClr>
            </a:outerShdw>
          </a:effectLst>
          <a:scene3d>
            <a:camera prst="orthographicFront">
              <a:rot lat="19848000" lon="3234000" rev="17862000"/>
            </a:camera>
            <a:lightRig rig="soft" dir="t"/>
          </a:scene3d>
          <a:sp3d extrusionH="95250" prstMaterial="plastic"/>
        </p:spPr>
        <p:txBody>
          <a:bodyPr wrap="square" anchor="ctr">
            <a:noAutofit/>
          </a:bodyPr>
          <a:lstStyle>
            <a:lvl1pPr algn="ctr">
              <a:defRPr/>
            </a:lvl1pPr>
          </a:lstStyle>
          <a:p>
            <a:endParaRPr lang="en-US"/>
          </a:p>
        </p:txBody>
      </p:sp>
      <p:sp>
        <p:nvSpPr>
          <p:cNvPr id="4" name="Picture Placeholder 75">
            <a:extLst>
              <a:ext uri="{FF2B5EF4-FFF2-40B4-BE49-F238E27FC236}">
                <a16:creationId xmlns:a16="http://schemas.microsoft.com/office/drawing/2014/main" id="{8083A199-38E5-4ACB-BD72-CEC6E71018D7}"/>
              </a:ext>
            </a:extLst>
          </p:cNvPr>
          <p:cNvSpPr>
            <a:spLocks noGrp="1"/>
          </p:cNvSpPr>
          <p:nvPr>
            <p:ph type="pic" sz="quarter" idx="26"/>
          </p:nvPr>
        </p:nvSpPr>
        <p:spPr>
          <a:xfrm>
            <a:off x="2480191" y="4288872"/>
            <a:ext cx="3973245" cy="2235242"/>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tx1">
              <a:alpha val="4000"/>
            </a:schemeClr>
          </a:solidFill>
          <a:effectLst>
            <a:outerShdw blurRad="876300" dist="787400" dir="2400000" algn="ctr" rotWithShape="0">
              <a:schemeClr val="tx1">
                <a:alpha val="34000"/>
              </a:schemeClr>
            </a:outerShdw>
          </a:effectLst>
          <a:scene3d>
            <a:camera prst="orthographicFront">
              <a:rot lat="19848000" lon="3234000" rev="17862000"/>
            </a:camera>
            <a:lightRig rig="soft" dir="t"/>
          </a:scene3d>
          <a:sp3d extrusionH="95250" prstMaterial="plastic"/>
        </p:spPr>
        <p:txBody>
          <a:bodyPr wrap="square" anchor="ctr">
            <a:noAutofit/>
          </a:bodyPr>
          <a:lstStyle>
            <a:lvl1pPr algn="ctr">
              <a:defRPr/>
            </a:lvl1pPr>
          </a:lstStyle>
          <a:p>
            <a:endParaRPr lang="en-US"/>
          </a:p>
        </p:txBody>
      </p:sp>
      <p:sp>
        <p:nvSpPr>
          <p:cNvPr id="7" name="Picture Placeholder 75">
            <a:extLst>
              <a:ext uri="{FF2B5EF4-FFF2-40B4-BE49-F238E27FC236}">
                <a16:creationId xmlns:a16="http://schemas.microsoft.com/office/drawing/2014/main" id="{30F15E57-04C6-4909-ACB4-7ACAA591DE37}"/>
              </a:ext>
            </a:extLst>
          </p:cNvPr>
          <p:cNvSpPr>
            <a:spLocks noGrp="1"/>
          </p:cNvSpPr>
          <p:nvPr>
            <p:ph type="pic" sz="quarter" idx="29"/>
          </p:nvPr>
        </p:nvSpPr>
        <p:spPr>
          <a:xfrm>
            <a:off x="-3446134" y="3087109"/>
            <a:ext cx="3973245" cy="2235242"/>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tx1">
              <a:alpha val="4000"/>
            </a:schemeClr>
          </a:solidFill>
          <a:effectLst>
            <a:outerShdw blurRad="876300" dist="787400" dir="2400000" algn="ctr" rotWithShape="0">
              <a:schemeClr val="tx1">
                <a:alpha val="34000"/>
              </a:schemeClr>
            </a:outerShdw>
          </a:effectLst>
          <a:scene3d>
            <a:camera prst="orthographicFront">
              <a:rot lat="19848000" lon="3234000" rev="17862000"/>
            </a:camera>
            <a:lightRig rig="soft" dir="t"/>
          </a:scene3d>
          <a:sp3d extrusionH="95250" prstMaterial="plastic"/>
        </p:spPr>
        <p:txBody>
          <a:bodyPr wrap="square" anchor="ctr">
            <a:noAutofit/>
          </a:bodyPr>
          <a:lstStyle>
            <a:lvl1pPr algn="ctr">
              <a:defRPr/>
            </a:lvl1pPr>
          </a:lstStyle>
          <a:p>
            <a:endParaRPr lang="en-US"/>
          </a:p>
        </p:txBody>
      </p:sp>
      <p:sp>
        <p:nvSpPr>
          <p:cNvPr id="5" name="Picture Placeholder 75">
            <a:extLst>
              <a:ext uri="{FF2B5EF4-FFF2-40B4-BE49-F238E27FC236}">
                <a16:creationId xmlns:a16="http://schemas.microsoft.com/office/drawing/2014/main" id="{86FBEEA4-D851-4A6C-878E-E42016D4A514}"/>
              </a:ext>
            </a:extLst>
          </p:cNvPr>
          <p:cNvSpPr>
            <a:spLocks noGrp="1"/>
          </p:cNvSpPr>
          <p:nvPr>
            <p:ph type="pic" sz="quarter" idx="27"/>
          </p:nvPr>
        </p:nvSpPr>
        <p:spPr>
          <a:xfrm>
            <a:off x="-805022" y="4557089"/>
            <a:ext cx="3973245" cy="2235242"/>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tx1">
              <a:alpha val="4000"/>
            </a:schemeClr>
          </a:solidFill>
          <a:effectLst>
            <a:outerShdw blurRad="876300" dist="787400" dir="2400000" algn="ctr" rotWithShape="0">
              <a:schemeClr val="tx1">
                <a:alpha val="34000"/>
              </a:schemeClr>
            </a:outerShdw>
          </a:effectLst>
          <a:scene3d>
            <a:camera prst="orthographicFront">
              <a:rot lat="19848000" lon="3234000" rev="17862000"/>
            </a:camera>
            <a:lightRig rig="soft" dir="t"/>
          </a:scene3d>
          <a:sp3d extrusionH="95250" prstMaterial="plastic"/>
        </p:spPr>
        <p:txBody>
          <a:bodyPr wrap="square" anchor="ctr">
            <a:noAutofit/>
          </a:bodyPr>
          <a:lstStyle>
            <a:lvl1pPr algn="ctr">
              <a:defRPr/>
            </a:lvl1pPr>
          </a:lstStyle>
          <a:p>
            <a:endParaRPr lang="en-US"/>
          </a:p>
        </p:txBody>
      </p:sp>
      <p:sp>
        <p:nvSpPr>
          <p:cNvPr id="6" name="Picture Placeholder 75">
            <a:extLst>
              <a:ext uri="{FF2B5EF4-FFF2-40B4-BE49-F238E27FC236}">
                <a16:creationId xmlns:a16="http://schemas.microsoft.com/office/drawing/2014/main" id="{204CD476-3BC2-488C-9229-A7DD254475EA}"/>
              </a:ext>
            </a:extLst>
          </p:cNvPr>
          <p:cNvSpPr>
            <a:spLocks noGrp="1"/>
          </p:cNvSpPr>
          <p:nvPr>
            <p:ph type="pic" sz="quarter" idx="28"/>
          </p:nvPr>
        </p:nvSpPr>
        <p:spPr>
          <a:xfrm>
            <a:off x="1840192" y="5995429"/>
            <a:ext cx="3973245" cy="2235242"/>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tx1">
              <a:alpha val="4000"/>
            </a:schemeClr>
          </a:solidFill>
          <a:effectLst>
            <a:outerShdw blurRad="876300" dist="787400" dir="2400000" algn="ctr" rotWithShape="0">
              <a:schemeClr val="tx1">
                <a:alpha val="34000"/>
              </a:schemeClr>
            </a:outerShdw>
          </a:effectLst>
          <a:scene3d>
            <a:camera prst="orthographicFront">
              <a:rot lat="19848000" lon="3234000" rev="17862000"/>
            </a:camera>
            <a:lightRig rig="soft" dir="t"/>
          </a:scene3d>
          <a:sp3d extrusionH="95250" prstMaterial="plastic"/>
        </p:spPr>
        <p:txBody>
          <a:bodyPr wrap="square" anchor="ctr">
            <a:noAutofit/>
          </a:bodyPr>
          <a:lstStyle>
            <a:lvl1pPr algn="ctr">
              <a:defRPr/>
            </a:lvl1pPr>
          </a:lstStyle>
          <a:p>
            <a:endParaRPr lang="en-US"/>
          </a:p>
        </p:txBody>
      </p:sp>
    </p:spTree>
    <p:extLst>
      <p:ext uri="{BB962C8B-B14F-4D97-AF65-F5344CB8AC3E}">
        <p14:creationId xmlns:p14="http://schemas.microsoft.com/office/powerpoint/2010/main" val="2153194117"/>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12" dur="1500" decel="100000" fill="hold" grpId="0" nodeType="withEffect">
                                  <p:stCondLst>
                                    <p:cond delay="60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500" fill="hold"/>
                                        <p:tgtEl>
                                          <p:spTgt spid="2"/>
                                        </p:tgtEl>
                                        <p:attrNameLst>
                                          <p:attrName>ppt_x</p:attrName>
                                        </p:attrNameLst>
                                      </p:cBhvr>
                                      <p:tavLst>
                                        <p:tav tm="0">
                                          <p:val>
                                            <p:strVal val="0-#ppt_w/2"/>
                                          </p:val>
                                        </p:tav>
                                        <p:tav tm="100000">
                                          <p:val>
                                            <p:strVal val="#ppt_x"/>
                                          </p:val>
                                        </p:tav>
                                      </p:tavLst>
                                    </p:anim>
                                    <p:anim calcmode="lin" valueType="num">
                                      <p:cBhvr additive="base">
                                        <p:cTn id="8" dur="1500" fill="hold"/>
                                        <p:tgtEl>
                                          <p:spTgt spid="2"/>
                                        </p:tgtEl>
                                        <p:attrNameLst>
                                          <p:attrName>ppt_y</p:attrName>
                                        </p:attrNameLst>
                                      </p:cBhvr>
                                      <p:tavLst>
                                        <p:tav tm="0">
                                          <p:val>
                                            <p:strVal val="1+#ppt_h/2"/>
                                          </p:val>
                                        </p:tav>
                                        <p:tav tm="100000">
                                          <p:val>
                                            <p:strVal val="#ppt_y"/>
                                          </p:val>
                                        </p:tav>
                                      </p:tavLst>
                                    </p:anim>
                                  </p:childTnLst>
                                </p:cTn>
                              </p:par>
                              <p:par>
                                <p:cTn id="9" presetID="2" presetClass="entr" presetSubtype="12" dur="1500" decel="100000" fill="hold" grpId="0" nodeType="withEffect">
                                  <p:stCondLst>
                                    <p:cond delay="70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1500" fill="hold"/>
                                        <p:tgtEl>
                                          <p:spTgt spid="3"/>
                                        </p:tgtEl>
                                        <p:attrNameLst>
                                          <p:attrName>ppt_x</p:attrName>
                                        </p:attrNameLst>
                                      </p:cBhvr>
                                      <p:tavLst>
                                        <p:tav tm="0">
                                          <p:val>
                                            <p:strVal val="0-#ppt_w/2"/>
                                          </p:val>
                                        </p:tav>
                                        <p:tav tm="100000">
                                          <p:val>
                                            <p:strVal val="#ppt_x"/>
                                          </p:val>
                                        </p:tav>
                                      </p:tavLst>
                                    </p:anim>
                                    <p:anim calcmode="lin" valueType="num">
                                      <p:cBhvr additive="base">
                                        <p:cTn id="12" dur="1500" fill="hold"/>
                                        <p:tgtEl>
                                          <p:spTgt spid="3"/>
                                        </p:tgtEl>
                                        <p:attrNameLst>
                                          <p:attrName>ppt_y</p:attrName>
                                        </p:attrNameLst>
                                      </p:cBhvr>
                                      <p:tavLst>
                                        <p:tav tm="0">
                                          <p:val>
                                            <p:strVal val="1+#ppt_h/2"/>
                                          </p:val>
                                        </p:tav>
                                        <p:tav tm="100000">
                                          <p:val>
                                            <p:strVal val="#ppt_y"/>
                                          </p:val>
                                        </p:tav>
                                      </p:tavLst>
                                    </p:anim>
                                  </p:childTnLst>
                                </p:cTn>
                              </p:par>
                              <p:par>
                                <p:cTn id="13" presetID="2" presetClass="entr" presetSubtype="12" dur="1500" decel="100000" fill="hold" grpId="0" nodeType="withEffect">
                                  <p:stCondLst>
                                    <p:cond delay="800"/>
                                  </p:stCondLst>
                                  <p:childTnLst>
                                    <p:set>
                                      <p:cBhvr>
                                        <p:cTn id="14" dur="1" fill="hold">
                                          <p:stCondLst>
                                            <p:cond delay="0"/>
                                          </p:stCondLst>
                                        </p:cTn>
                                        <p:tgtEl>
                                          <p:spTgt spid="4"/>
                                        </p:tgtEl>
                                        <p:attrNameLst>
                                          <p:attrName>style.visibility</p:attrName>
                                        </p:attrNameLst>
                                      </p:cBhvr>
                                      <p:to>
                                        <p:strVal val="visible"/>
                                      </p:to>
                                    </p:set>
                                    <p:anim calcmode="lin" valueType="num">
                                      <p:cBhvr additive="base">
                                        <p:cTn id="15" dur="1500" fill="hold"/>
                                        <p:tgtEl>
                                          <p:spTgt spid="4"/>
                                        </p:tgtEl>
                                        <p:attrNameLst>
                                          <p:attrName>ppt_x</p:attrName>
                                        </p:attrNameLst>
                                      </p:cBhvr>
                                      <p:tavLst>
                                        <p:tav tm="0">
                                          <p:val>
                                            <p:strVal val="0-#ppt_w/2"/>
                                          </p:val>
                                        </p:tav>
                                        <p:tav tm="100000">
                                          <p:val>
                                            <p:strVal val="#ppt_x"/>
                                          </p:val>
                                        </p:tav>
                                      </p:tavLst>
                                    </p:anim>
                                    <p:anim calcmode="lin" valueType="num">
                                      <p:cBhvr additive="base">
                                        <p:cTn id="16" dur="1500" fill="hold"/>
                                        <p:tgtEl>
                                          <p:spTgt spid="4"/>
                                        </p:tgtEl>
                                        <p:attrNameLst>
                                          <p:attrName>ppt_y</p:attrName>
                                        </p:attrNameLst>
                                      </p:cBhvr>
                                      <p:tavLst>
                                        <p:tav tm="0">
                                          <p:val>
                                            <p:strVal val="1+#ppt_h/2"/>
                                          </p:val>
                                        </p:tav>
                                        <p:tav tm="100000">
                                          <p:val>
                                            <p:strVal val="#ppt_y"/>
                                          </p:val>
                                        </p:tav>
                                      </p:tavLst>
                                    </p:anim>
                                  </p:childTnLst>
                                </p:cTn>
                              </p:par>
                              <p:par>
                                <p:cTn id="17" presetID="2" presetClass="entr" presetSubtype="12" dur="1500" decel="100000" fill="hold" grpId="0" nodeType="withEffect">
                                  <p:stCondLst>
                                    <p:cond delay="900"/>
                                  </p:stCondLst>
                                  <p:childTnLst>
                                    <p:set>
                                      <p:cBhvr>
                                        <p:cTn id="18" dur="1" fill="hold">
                                          <p:stCondLst>
                                            <p:cond delay="0"/>
                                          </p:stCondLst>
                                        </p:cTn>
                                        <p:tgtEl>
                                          <p:spTgt spid="7"/>
                                        </p:tgtEl>
                                        <p:attrNameLst>
                                          <p:attrName>style.visibility</p:attrName>
                                        </p:attrNameLst>
                                      </p:cBhvr>
                                      <p:to>
                                        <p:strVal val="visible"/>
                                      </p:to>
                                    </p:set>
                                    <p:anim calcmode="lin" valueType="num">
                                      <p:cBhvr additive="base">
                                        <p:cTn id="19" dur="1500" fill="hold"/>
                                        <p:tgtEl>
                                          <p:spTgt spid="7"/>
                                        </p:tgtEl>
                                        <p:attrNameLst>
                                          <p:attrName>ppt_x</p:attrName>
                                        </p:attrNameLst>
                                      </p:cBhvr>
                                      <p:tavLst>
                                        <p:tav tm="0">
                                          <p:val>
                                            <p:strVal val="0-#ppt_w/2"/>
                                          </p:val>
                                        </p:tav>
                                        <p:tav tm="100000">
                                          <p:val>
                                            <p:strVal val="#ppt_x"/>
                                          </p:val>
                                        </p:tav>
                                      </p:tavLst>
                                    </p:anim>
                                    <p:anim calcmode="lin" valueType="num">
                                      <p:cBhvr additive="base">
                                        <p:cTn id="20" dur="1500" fill="hold"/>
                                        <p:tgtEl>
                                          <p:spTgt spid="7"/>
                                        </p:tgtEl>
                                        <p:attrNameLst>
                                          <p:attrName>ppt_y</p:attrName>
                                        </p:attrNameLst>
                                      </p:cBhvr>
                                      <p:tavLst>
                                        <p:tav tm="0">
                                          <p:val>
                                            <p:strVal val="1+#ppt_h/2"/>
                                          </p:val>
                                        </p:tav>
                                        <p:tav tm="100000">
                                          <p:val>
                                            <p:strVal val="#ppt_y"/>
                                          </p:val>
                                        </p:tav>
                                      </p:tavLst>
                                    </p:anim>
                                  </p:childTnLst>
                                </p:cTn>
                              </p:par>
                              <p:par>
                                <p:cTn id="21" presetID="2" presetClass="entr" presetSubtype="12" dur="1500" decel="100000" fill="hold" grpId="0" nodeType="withEffect">
                                  <p:stCondLst>
                                    <p:cond delay="1000"/>
                                  </p:stCondLst>
                                  <p:childTnLst>
                                    <p:set>
                                      <p:cBhvr>
                                        <p:cTn id="22" dur="1" fill="hold">
                                          <p:stCondLst>
                                            <p:cond delay="0"/>
                                          </p:stCondLst>
                                        </p:cTn>
                                        <p:tgtEl>
                                          <p:spTgt spid="5"/>
                                        </p:tgtEl>
                                        <p:attrNameLst>
                                          <p:attrName>style.visibility</p:attrName>
                                        </p:attrNameLst>
                                      </p:cBhvr>
                                      <p:to>
                                        <p:strVal val="visible"/>
                                      </p:to>
                                    </p:set>
                                    <p:anim calcmode="lin" valueType="num">
                                      <p:cBhvr additive="base">
                                        <p:cTn id="23" dur="1500" fill="hold"/>
                                        <p:tgtEl>
                                          <p:spTgt spid="5"/>
                                        </p:tgtEl>
                                        <p:attrNameLst>
                                          <p:attrName>ppt_x</p:attrName>
                                        </p:attrNameLst>
                                      </p:cBhvr>
                                      <p:tavLst>
                                        <p:tav tm="0">
                                          <p:val>
                                            <p:strVal val="0-#ppt_w/2"/>
                                          </p:val>
                                        </p:tav>
                                        <p:tav tm="100000">
                                          <p:val>
                                            <p:strVal val="#ppt_x"/>
                                          </p:val>
                                        </p:tav>
                                      </p:tavLst>
                                    </p:anim>
                                    <p:anim calcmode="lin" valueType="num">
                                      <p:cBhvr additive="base">
                                        <p:cTn id="24" dur="1500" fill="hold"/>
                                        <p:tgtEl>
                                          <p:spTgt spid="5"/>
                                        </p:tgtEl>
                                        <p:attrNameLst>
                                          <p:attrName>ppt_y</p:attrName>
                                        </p:attrNameLst>
                                      </p:cBhvr>
                                      <p:tavLst>
                                        <p:tav tm="0">
                                          <p:val>
                                            <p:strVal val="1+#ppt_h/2"/>
                                          </p:val>
                                        </p:tav>
                                        <p:tav tm="100000">
                                          <p:val>
                                            <p:strVal val="#ppt_y"/>
                                          </p:val>
                                        </p:tav>
                                      </p:tavLst>
                                    </p:anim>
                                  </p:childTnLst>
                                </p:cTn>
                              </p:par>
                              <p:par>
                                <p:cTn id="25" presetID="2" presetClass="entr" presetSubtype="12" dur="1500" decel="100000" fill="hold" grpId="0" nodeType="withEffect">
                                  <p:stCondLst>
                                    <p:cond delay="1100"/>
                                  </p:stCondLst>
                                  <p:childTnLst>
                                    <p:set>
                                      <p:cBhvr>
                                        <p:cTn id="26" dur="1" fill="hold">
                                          <p:stCondLst>
                                            <p:cond delay="0"/>
                                          </p:stCondLst>
                                        </p:cTn>
                                        <p:tgtEl>
                                          <p:spTgt spid="6"/>
                                        </p:tgtEl>
                                        <p:attrNameLst>
                                          <p:attrName>style.visibility</p:attrName>
                                        </p:attrNameLst>
                                      </p:cBhvr>
                                      <p:to>
                                        <p:strVal val="visible"/>
                                      </p:to>
                                    </p:set>
                                    <p:anim calcmode="lin" valueType="num">
                                      <p:cBhvr additive="base">
                                        <p:cTn id="27" dur="1500" fill="hold"/>
                                        <p:tgtEl>
                                          <p:spTgt spid="6"/>
                                        </p:tgtEl>
                                        <p:attrNameLst>
                                          <p:attrName>ppt_x</p:attrName>
                                        </p:attrNameLst>
                                      </p:cBhvr>
                                      <p:tavLst>
                                        <p:tav tm="0">
                                          <p:val>
                                            <p:strVal val="0-#ppt_w/2"/>
                                          </p:val>
                                        </p:tav>
                                        <p:tav tm="100000">
                                          <p:val>
                                            <p:strVal val="#ppt_x"/>
                                          </p:val>
                                        </p:tav>
                                      </p:tavLst>
                                    </p:anim>
                                    <p:anim calcmode="lin" valueType="num">
                                      <p:cBhvr additive="base">
                                        <p:cTn id="28" dur="1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4" grpId="0" animBg="1"/>
      <p:bldP spid="7" grpId="0" animBg="1"/>
      <p:bldP spid="5" grpId="0" animBg="1"/>
      <p:bldP spid="6" grpId="0" animBg="1"/>
    </p:bld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14_Custom Layout">
    <p:spTree>
      <p:nvGrpSpPr>
        <p:cNvPr id="1" name=""/>
        <p:cNvGrpSpPr/>
        <p:nvPr/>
      </p:nvGrpSpPr>
      <p:grpSpPr>
        <a:xfrm>
          <a:off x="0" y="0"/>
          <a:ext cx="0" cy="0"/>
          <a:chOff x="0" y="0"/>
          <a:chExt cx="0" cy="0"/>
        </a:xfrm>
      </p:grpSpPr>
      <p:sp>
        <p:nvSpPr>
          <p:cNvPr id="17" name="Picture Placeholder 75">
            <a:extLst>
              <a:ext uri="{FF2B5EF4-FFF2-40B4-BE49-F238E27FC236}">
                <a16:creationId xmlns:a16="http://schemas.microsoft.com/office/drawing/2014/main" id="{DE1F0CA1-994C-4B15-BD61-C1FC8BE244E3}"/>
              </a:ext>
            </a:extLst>
          </p:cNvPr>
          <p:cNvSpPr>
            <a:spLocks noGrp="1"/>
          </p:cNvSpPr>
          <p:nvPr>
            <p:ph type="pic" sz="quarter" idx="34"/>
          </p:nvPr>
        </p:nvSpPr>
        <p:spPr>
          <a:xfrm>
            <a:off x="5795324" y="-2019910"/>
            <a:ext cx="3973245" cy="2235242"/>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tx1">
              <a:alpha val="4000"/>
            </a:schemeClr>
          </a:solidFill>
          <a:effectLst>
            <a:outerShdw blurRad="876300" dist="787400" dir="2400000" algn="ctr" rotWithShape="0">
              <a:schemeClr val="tx1">
                <a:alpha val="34000"/>
              </a:schemeClr>
            </a:outerShdw>
            <a:reflection blurRad="76200" stA="48000" endPos="98000" dir="5400000" sy="-100000" algn="bl" rotWithShape="0"/>
          </a:effectLst>
          <a:scene3d>
            <a:camera prst="orthographicFront">
              <a:rot lat="19848000" lon="3234000" rev="17862000"/>
            </a:camera>
            <a:lightRig rig="soft" dir="t"/>
          </a:scene3d>
          <a:sp3d extrusionH="95250" prstMaterial="plastic"/>
        </p:spPr>
        <p:txBody>
          <a:bodyPr wrap="square" anchor="ctr">
            <a:noAutofit/>
          </a:bodyPr>
          <a:lstStyle>
            <a:lvl1pPr algn="ctr">
              <a:defRPr sz="1200"/>
            </a:lvl1pPr>
          </a:lstStyle>
          <a:p>
            <a:endParaRPr lang="en-US"/>
          </a:p>
        </p:txBody>
      </p:sp>
      <p:sp>
        <p:nvSpPr>
          <p:cNvPr id="18" name="Picture Placeholder 75">
            <a:extLst>
              <a:ext uri="{FF2B5EF4-FFF2-40B4-BE49-F238E27FC236}">
                <a16:creationId xmlns:a16="http://schemas.microsoft.com/office/drawing/2014/main" id="{CCDC6E92-1B4E-4F2A-BD85-917834D7D1BF}"/>
              </a:ext>
            </a:extLst>
          </p:cNvPr>
          <p:cNvSpPr>
            <a:spLocks noGrp="1"/>
          </p:cNvSpPr>
          <p:nvPr>
            <p:ph type="pic" sz="quarter" idx="35"/>
          </p:nvPr>
        </p:nvSpPr>
        <p:spPr>
          <a:xfrm>
            <a:off x="8398700" y="-594066"/>
            <a:ext cx="3973245" cy="2235242"/>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tx1">
              <a:alpha val="4000"/>
            </a:schemeClr>
          </a:solidFill>
          <a:effectLst>
            <a:outerShdw blurRad="876300" dist="787400" dir="2400000" algn="ctr" rotWithShape="0">
              <a:schemeClr val="tx1">
                <a:alpha val="34000"/>
              </a:schemeClr>
            </a:outerShdw>
            <a:reflection blurRad="76200" stA="48000" endPos="98000" dir="5400000" sy="-100000" algn="bl" rotWithShape="0"/>
          </a:effectLst>
          <a:scene3d>
            <a:camera prst="orthographicFront">
              <a:rot lat="19848000" lon="3234000" rev="17862000"/>
            </a:camera>
            <a:lightRig rig="soft" dir="t"/>
          </a:scene3d>
          <a:sp3d extrusionH="95250" prstMaterial="plastic"/>
        </p:spPr>
        <p:txBody>
          <a:bodyPr wrap="square" anchor="ctr">
            <a:noAutofit/>
          </a:bodyPr>
          <a:lstStyle>
            <a:lvl1pPr algn="ctr">
              <a:defRPr sz="1200"/>
            </a:lvl1pPr>
          </a:lstStyle>
          <a:p>
            <a:endParaRPr lang="en-US"/>
          </a:p>
        </p:txBody>
      </p:sp>
      <p:sp>
        <p:nvSpPr>
          <p:cNvPr id="19" name="Picture Placeholder 75">
            <a:extLst>
              <a:ext uri="{FF2B5EF4-FFF2-40B4-BE49-F238E27FC236}">
                <a16:creationId xmlns:a16="http://schemas.microsoft.com/office/drawing/2014/main" id="{60FE58BF-2882-4922-8BE2-DC5C806999A3}"/>
              </a:ext>
            </a:extLst>
          </p:cNvPr>
          <p:cNvSpPr>
            <a:spLocks noGrp="1"/>
          </p:cNvSpPr>
          <p:nvPr>
            <p:ph type="pic" sz="quarter" idx="36"/>
          </p:nvPr>
        </p:nvSpPr>
        <p:spPr>
          <a:xfrm>
            <a:off x="11002077" y="831779"/>
            <a:ext cx="3973245" cy="2235242"/>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tx1">
              <a:alpha val="4000"/>
            </a:schemeClr>
          </a:solidFill>
          <a:effectLst>
            <a:outerShdw blurRad="876300" dist="787400" dir="2400000" algn="ctr" rotWithShape="0">
              <a:schemeClr val="tx1">
                <a:alpha val="34000"/>
              </a:schemeClr>
            </a:outerShdw>
            <a:reflection blurRad="76200" stA="48000" endPos="98000" dir="5400000" sy="-100000" algn="bl" rotWithShape="0"/>
          </a:effectLst>
          <a:scene3d>
            <a:camera prst="orthographicFront">
              <a:rot lat="19848000" lon="3234000" rev="17862000"/>
            </a:camera>
            <a:lightRig rig="soft" dir="t"/>
          </a:scene3d>
          <a:sp3d extrusionH="95250" prstMaterial="plastic"/>
        </p:spPr>
        <p:txBody>
          <a:bodyPr wrap="square" anchor="ctr">
            <a:noAutofit/>
          </a:bodyPr>
          <a:lstStyle>
            <a:lvl1pPr algn="ctr">
              <a:defRPr sz="1200"/>
            </a:lvl1pPr>
          </a:lstStyle>
          <a:p>
            <a:endParaRPr lang="en-US"/>
          </a:p>
        </p:txBody>
      </p:sp>
      <p:sp>
        <p:nvSpPr>
          <p:cNvPr id="13" name="Picture Placeholder 75">
            <a:extLst>
              <a:ext uri="{FF2B5EF4-FFF2-40B4-BE49-F238E27FC236}">
                <a16:creationId xmlns:a16="http://schemas.microsoft.com/office/drawing/2014/main" id="{DFC0A416-BD43-4889-A746-153B68F952A1}"/>
              </a:ext>
            </a:extLst>
          </p:cNvPr>
          <p:cNvSpPr>
            <a:spLocks noGrp="1"/>
          </p:cNvSpPr>
          <p:nvPr>
            <p:ph type="pic" sz="quarter" idx="30"/>
          </p:nvPr>
        </p:nvSpPr>
        <p:spPr>
          <a:xfrm>
            <a:off x="3092594" y="-1470698"/>
            <a:ext cx="3973245" cy="2235242"/>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tx1">
              <a:alpha val="4000"/>
            </a:schemeClr>
          </a:solidFill>
          <a:effectLst>
            <a:outerShdw blurRad="876300" dist="787400" dir="2400000" algn="ctr" rotWithShape="0">
              <a:schemeClr val="tx1">
                <a:alpha val="34000"/>
              </a:schemeClr>
            </a:outerShdw>
            <a:reflection blurRad="76200" stA="48000" endPos="98000" dir="5400000" sy="-100000" algn="bl" rotWithShape="0"/>
          </a:effectLst>
          <a:scene3d>
            <a:camera prst="orthographicFront">
              <a:rot lat="19848000" lon="3234000" rev="17862000"/>
            </a:camera>
            <a:lightRig rig="soft" dir="t"/>
          </a:scene3d>
          <a:sp3d extrusionH="95250" prstMaterial="plastic"/>
        </p:spPr>
        <p:txBody>
          <a:bodyPr wrap="square" anchor="ctr">
            <a:noAutofit/>
          </a:bodyPr>
          <a:lstStyle>
            <a:lvl1pPr algn="ctr">
              <a:defRPr sz="1200"/>
            </a:lvl1pPr>
          </a:lstStyle>
          <a:p>
            <a:endParaRPr lang="en-US"/>
          </a:p>
        </p:txBody>
      </p:sp>
      <p:sp>
        <p:nvSpPr>
          <p:cNvPr id="14" name="Picture Placeholder 75">
            <a:extLst>
              <a:ext uri="{FF2B5EF4-FFF2-40B4-BE49-F238E27FC236}">
                <a16:creationId xmlns:a16="http://schemas.microsoft.com/office/drawing/2014/main" id="{0B4C680D-3D96-4F02-8FDE-6C344B4EA949}"/>
              </a:ext>
            </a:extLst>
          </p:cNvPr>
          <p:cNvSpPr>
            <a:spLocks noGrp="1"/>
          </p:cNvSpPr>
          <p:nvPr>
            <p:ph type="pic" sz="quarter" idx="31"/>
          </p:nvPr>
        </p:nvSpPr>
        <p:spPr>
          <a:xfrm>
            <a:off x="5695970" y="-44854"/>
            <a:ext cx="3973245" cy="2235242"/>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tx1">
              <a:alpha val="4000"/>
            </a:schemeClr>
          </a:solidFill>
          <a:effectLst>
            <a:outerShdw blurRad="876300" dist="787400" dir="2400000" algn="ctr" rotWithShape="0">
              <a:schemeClr val="tx1">
                <a:alpha val="34000"/>
              </a:schemeClr>
            </a:outerShdw>
            <a:reflection blurRad="76200" stA="48000" endPos="98000" dir="5400000" sy="-100000" algn="bl" rotWithShape="0"/>
          </a:effectLst>
          <a:scene3d>
            <a:camera prst="orthographicFront">
              <a:rot lat="19848000" lon="3234000" rev="17862000"/>
            </a:camera>
            <a:lightRig rig="soft" dir="t"/>
          </a:scene3d>
          <a:sp3d extrusionH="95250" prstMaterial="plastic"/>
        </p:spPr>
        <p:txBody>
          <a:bodyPr wrap="square" anchor="ctr">
            <a:noAutofit/>
          </a:bodyPr>
          <a:lstStyle>
            <a:lvl1pPr algn="ctr">
              <a:defRPr sz="1200"/>
            </a:lvl1pPr>
          </a:lstStyle>
          <a:p>
            <a:endParaRPr lang="en-US"/>
          </a:p>
        </p:txBody>
      </p:sp>
      <p:sp>
        <p:nvSpPr>
          <p:cNvPr id="15" name="Picture Placeholder 75">
            <a:extLst>
              <a:ext uri="{FF2B5EF4-FFF2-40B4-BE49-F238E27FC236}">
                <a16:creationId xmlns:a16="http://schemas.microsoft.com/office/drawing/2014/main" id="{0136ECC1-14F7-404A-BB65-765B022634A5}"/>
              </a:ext>
            </a:extLst>
          </p:cNvPr>
          <p:cNvSpPr>
            <a:spLocks noGrp="1"/>
          </p:cNvSpPr>
          <p:nvPr>
            <p:ph type="pic" sz="quarter" idx="32"/>
          </p:nvPr>
        </p:nvSpPr>
        <p:spPr>
          <a:xfrm>
            <a:off x="8307095" y="1365493"/>
            <a:ext cx="3973245" cy="2235242"/>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tx1">
              <a:alpha val="4000"/>
            </a:schemeClr>
          </a:solidFill>
          <a:effectLst>
            <a:outerShdw blurRad="876300" dist="787400" dir="2400000" algn="ctr" rotWithShape="0">
              <a:schemeClr val="tx1">
                <a:alpha val="34000"/>
              </a:schemeClr>
            </a:outerShdw>
            <a:reflection blurRad="76200" stA="48000" endPos="98000" dir="5400000" sy="-100000" algn="bl" rotWithShape="0"/>
          </a:effectLst>
          <a:scene3d>
            <a:camera prst="orthographicFront">
              <a:rot lat="19848000" lon="3234000" rev="17862000"/>
            </a:camera>
            <a:lightRig rig="soft" dir="t"/>
          </a:scene3d>
          <a:sp3d extrusionH="95250" prstMaterial="plastic"/>
        </p:spPr>
        <p:txBody>
          <a:bodyPr wrap="square" anchor="ctr">
            <a:noAutofit/>
          </a:bodyPr>
          <a:lstStyle>
            <a:lvl1pPr algn="ctr">
              <a:defRPr sz="1200"/>
            </a:lvl1pPr>
          </a:lstStyle>
          <a:p>
            <a:endParaRPr lang="en-US"/>
          </a:p>
        </p:txBody>
      </p:sp>
      <p:sp>
        <p:nvSpPr>
          <p:cNvPr id="16" name="Picture Placeholder 75">
            <a:extLst>
              <a:ext uri="{FF2B5EF4-FFF2-40B4-BE49-F238E27FC236}">
                <a16:creationId xmlns:a16="http://schemas.microsoft.com/office/drawing/2014/main" id="{61F32264-5F7E-4A46-97AB-AABAB86F1EA9}"/>
              </a:ext>
            </a:extLst>
          </p:cNvPr>
          <p:cNvSpPr>
            <a:spLocks noGrp="1"/>
          </p:cNvSpPr>
          <p:nvPr>
            <p:ph type="pic" sz="quarter" idx="33"/>
          </p:nvPr>
        </p:nvSpPr>
        <p:spPr>
          <a:xfrm>
            <a:off x="10911794" y="2784466"/>
            <a:ext cx="3973245" cy="2235242"/>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tx1">
              <a:alpha val="4000"/>
            </a:schemeClr>
          </a:solidFill>
          <a:effectLst>
            <a:outerShdw blurRad="876300" dist="787400" dir="2400000" algn="ctr" rotWithShape="0">
              <a:schemeClr val="tx1">
                <a:alpha val="34000"/>
              </a:schemeClr>
            </a:outerShdw>
            <a:reflection blurRad="76200" stA="48000" endPos="98000" dir="5400000" sy="-100000" algn="bl" rotWithShape="0"/>
          </a:effectLst>
          <a:scene3d>
            <a:camera prst="orthographicFront">
              <a:rot lat="19848000" lon="3234000" rev="17862000"/>
            </a:camera>
            <a:lightRig rig="soft" dir="t"/>
          </a:scene3d>
          <a:sp3d extrusionH="95250" prstMaterial="plastic"/>
        </p:spPr>
        <p:txBody>
          <a:bodyPr wrap="square" anchor="ctr">
            <a:noAutofit/>
          </a:bodyPr>
          <a:lstStyle>
            <a:lvl1pPr algn="ctr">
              <a:defRPr sz="1200"/>
            </a:lvl1pPr>
          </a:lstStyle>
          <a:p>
            <a:endParaRPr lang="en-US"/>
          </a:p>
        </p:txBody>
      </p:sp>
      <p:sp>
        <p:nvSpPr>
          <p:cNvPr id="2" name="Picture Placeholder 75">
            <a:extLst>
              <a:ext uri="{FF2B5EF4-FFF2-40B4-BE49-F238E27FC236}">
                <a16:creationId xmlns:a16="http://schemas.microsoft.com/office/drawing/2014/main" id="{35C81404-E27E-4F36-A623-E57FC83C04C2}"/>
              </a:ext>
            </a:extLst>
          </p:cNvPr>
          <p:cNvSpPr>
            <a:spLocks noGrp="1"/>
          </p:cNvSpPr>
          <p:nvPr>
            <p:ph type="pic" sz="quarter" idx="24"/>
          </p:nvPr>
        </p:nvSpPr>
        <p:spPr>
          <a:xfrm>
            <a:off x="151309" y="-1058251"/>
            <a:ext cx="3973245" cy="2235242"/>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tx1">
              <a:alpha val="4000"/>
            </a:schemeClr>
          </a:solidFill>
          <a:effectLst>
            <a:outerShdw blurRad="876300" dist="787400" dir="2400000" algn="ctr" rotWithShape="0">
              <a:schemeClr val="tx1">
                <a:alpha val="34000"/>
              </a:schemeClr>
            </a:outerShdw>
            <a:reflection blurRad="76200" stA="48000" endPos="98000" dir="5400000" sy="-100000" algn="bl" rotWithShape="0"/>
          </a:effectLst>
          <a:scene3d>
            <a:camera prst="orthographicFront">
              <a:rot lat="19848000" lon="3234000" rev="17862000"/>
            </a:camera>
            <a:lightRig rig="soft" dir="t"/>
          </a:scene3d>
          <a:sp3d extrusionH="95250" prstMaterial="plastic"/>
        </p:spPr>
        <p:txBody>
          <a:bodyPr wrap="square" anchor="ctr">
            <a:noAutofit/>
          </a:bodyPr>
          <a:lstStyle>
            <a:lvl1pPr algn="ctr">
              <a:defRPr sz="1200"/>
            </a:lvl1pPr>
          </a:lstStyle>
          <a:p>
            <a:endParaRPr lang="en-US"/>
          </a:p>
        </p:txBody>
      </p:sp>
      <p:sp>
        <p:nvSpPr>
          <p:cNvPr id="8" name="Picture Placeholder 75">
            <a:extLst>
              <a:ext uri="{FF2B5EF4-FFF2-40B4-BE49-F238E27FC236}">
                <a16:creationId xmlns:a16="http://schemas.microsoft.com/office/drawing/2014/main" id="{65B77482-57E1-46FD-913A-0092573AC5F1}"/>
              </a:ext>
            </a:extLst>
          </p:cNvPr>
          <p:cNvSpPr>
            <a:spLocks noGrp="1"/>
          </p:cNvSpPr>
          <p:nvPr>
            <p:ph type="pic" sz="quarter" idx="25"/>
          </p:nvPr>
        </p:nvSpPr>
        <p:spPr>
          <a:xfrm>
            <a:off x="2754685" y="367594"/>
            <a:ext cx="3973245" cy="2235242"/>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tx1">
              <a:alpha val="4000"/>
            </a:schemeClr>
          </a:solidFill>
          <a:effectLst>
            <a:outerShdw blurRad="876300" dist="787400" dir="2400000" algn="ctr" rotWithShape="0">
              <a:schemeClr val="tx1">
                <a:alpha val="34000"/>
              </a:schemeClr>
            </a:outerShdw>
            <a:reflection blurRad="76200" stA="48000" endPos="98000" dir="5400000" sy="-100000" algn="bl" rotWithShape="0"/>
          </a:effectLst>
          <a:scene3d>
            <a:camera prst="orthographicFront">
              <a:rot lat="19848000" lon="3234000" rev="17862000"/>
            </a:camera>
            <a:lightRig rig="soft" dir="t"/>
          </a:scene3d>
          <a:sp3d extrusionH="95250" prstMaterial="plastic"/>
        </p:spPr>
        <p:txBody>
          <a:bodyPr wrap="square" anchor="ctr">
            <a:noAutofit/>
          </a:bodyPr>
          <a:lstStyle>
            <a:lvl1pPr algn="ctr">
              <a:defRPr sz="1200"/>
            </a:lvl1pPr>
          </a:lstStyle>
          <a:p>
            <a:endParaRPr lang="en-US"/>
          </a:p>
        </p:txBody>
      </p:sp>
      <p:sp>
        <p:nvSpPr>
          <p:cNvPr id="9" name="Picture Placeholder 75">
            <a:extLst>
              <a:ext uri="{FF2B5EF4-FFF2-40B4-BE49-F238E27FC236}">
                <a16:creationId xmlns:a16="http://schemas.microsoft.com/office/drawing/2014/main" id="{B37A391A-9563-4D8D-9F81-AF2A558906BA}"/>
              </a:ext>
            </a:extLst>
          </p:cNvPr>
          <p:cNvSpPr>
            <a:spLocks noGrp="1"/>
          </p:cNvSpPr>
          <p:nvPr>
            <p:ph type="pic" sz="quarter" idx="26"/>
          </p:nvPr>
        </p:nvSpPr>
        <p:spPr>
          <a:xfrm>
            <a:off x="5358062" y="1793439"/>
            <a:ext cx="3973245" cy="2235242"/>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tx1">
              <a:alpha val="4000"/>
            </a:schemeClr>
          </a:solidFill>
          <a:effectLst>
            <a:outerShdw blurRad="876300" dist="787400" dir="2400000" algn="ctr" rotWithShape="0">
              <a:schemeClr val="tx1">
                <a:alpha val="34000"/>
              </a:schemeClr>
            </a:outerShdw>
            <a:reflection blurRad="76200" stA="48000" endPos="98000" dir="5400000" sy="-100000" algn="bl" rotWithShape="0"/>
          </a:effectLst>
          <a:scene3d>
            <a:camera prst="orthographicFront">
              <a:rot lat="19848000" lon="3234000" rev="17862000"/>
            </a:camera>
            <a:lightRig rig="soft" dir="t"/>
          </a:scene3d>
          <a:sp3d extrusionH="95250" prstMaterial="plastic"/>
        </p:spPr>
        <p:txBody>
          <a:bodyPr wrap="square" anchor="ctr">
            <a:noAutofit/>
          </a:bodyPr>
          <a:lstStyle>
            <a:lvl1pPr algn="ctr">
              <a:defRPr sz="1200"/>
            </a:lvl1pPr>
          </a:lstStyle>
          <a:p>
            <a:endParaRPr lang="en-US"/>
          </a:p>
        </p:txBody>
      </p:sp>
      <p:sp>
        <p:nvSpPr>
          <p:cNvPr id="10" name="Picture Placeholder 75">
            <a:extLst>
              <a:ext uri="{FF2B5EF4-FFF2-40B4-BE49-F238E27FC236}">
                <a16:creationId xmlns:a16="http://schemas.microsoft.com/office/drawing/2014/main" id="{905913FF-40D6-422E-AE96-62587D32CE1B}"/>
              </a:ext>
            </a:extLst>
          </p:cNvPr>
          <p:cNvSpPr>
            <a:spLocks noGrp="1"/>
          </p:cNvSpPr>
          <p:nvPr>
            <p:ph type="pic" sz="quarter" idx="27"/>
          </p:nvPr>
        </p:nvSpPr>
        <p:spPr>
          <a:xfrm>
            <a:off x="7969186" y="3203785"/>
            <a:ext cx="3973245" cy="2235242"/>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tx1">
              <a:alpha val="4000"/>
            </a:schemeClr>
          </a:solidFill>
          <a:effectLst>
            <a:outerShdw blurRad="876300" dist="787400" dir="2400000" algn="ctr" rotWithShape="0">
              <a:schemeClr val="tx1">
                <a:alpha val="34000"/>
              </a:schemeClr>
            </a:outerShdw>
            <a:reflection blurRad="76200" stA="48000" endPos="98000" dir="5400000" sy="-100000" algn="bl" rotWithShape="0"/>
          </a:effectLst>
          <a:scene3d>
            <a:camera prst="orthographicFront">
              <a:rot lat="19848000" lon="3234000" rev="17862000"/>
            </a:camera>
            <a:lightRig rig="soft" dir="t"/>
          </a:scene3d>
          <a:sp3d extrusionH="95250" prstMaterial="plastic"/>
        </p:spPr>
        <p:txBody>
          <a:bodyPr wrap="square" anchor="ctr">
            <a:noAutofit/>
          </a:bodyPr>
          <a:lstStyle>
            <a:lvl1pPr algn="ctr">
              <a:defRPr sz="1200"/>
            </a:lvl1pPr>
          </a:lstStyle>
          <a:p>
            <a:endParaRPr lang="en-US"/>
          </a:p>
        </p:txBody>
      </p:sp>
      <p:sp>
        <p:nvSpPr>
          <p:cNvPr id="11" name="Picture Placeholder 75">
            <a:extLst>
              <a:ext uri="{FF2B5EF4-FFF2-40B4-BE49-F238E27FC236}">
                <a16:creationId xmlns:a16="http://schemas.microsoft.com/office/drawing/2014/main" id="{139B3716-743D-4E4C-8E9E-28622348549F}"/>
              </a:ext>
            </a:extLst>
          </p:cNvPr>
          <p:cNvSpPr>
            <a:spLocks noGrp="1"/>
          </p:cNvSpPr>
          <p:nvPr>
            <p:ph type="pic" sz="quarter" idx="28"/>
          </p:nvPr>
        </p:nvSpPr>
        <p:spPr>
          <a:xfrm>
            <a:off x="10573886" y="4622758"/>
            <a:ext cx="3973245" cy="2235242"/>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tx1">
              <a:alpha val="4000"/>
            </a:schemeClr>
          </a:solidFill>
          <a:effectLst>
            <a:outerShdw blurRad="876300" dist="787400" dir="2400000" algn="ctr" rotWithShape="0">
              <a:schemeClr val="tx1">
                <a:alpha val="34000"/>
              </a:schemeClr>
            </a:outerShdw>
            <a:reflection blurRad="76200" stA="48000" endPos="98000" dir="5400000" sy="-100000" algn="bl" rotWithShape="0"/>
          </a:effectLst>
          <a:scene3d>
            <a:camera prst="orthographicFront">
              <a:rot lat="19848000" lon="3234000" rev="17862000"/>
            </a:camera>
            <a:lightRig rig="soft" dir="t"/>
          </a:scene3d>
          <a:sp3d extrusionH="95250" prstMaterial="plastic"/>
        </p:spPr>
        <p:txBody>
          <a:bodyPr wrap="square" anchor="ctr">
            <a:noAutofit/>
          </a:bodyPr>
          <a:lstStyle>
            <a:lvl1pPr algn="ctr">
              <a:defRPr sz="1200"/>
            </a:lvl1pPr>
          </a:lstStyle>
          <a:p>
            <a:endParaRPr lang="en-US"/>
          </a:p>
        </p:txBody>
      </p:sp>
    </p:spTree>
    <p:extLst>
      <p:ext uri="{BB962C8B-B14F-4D97-AF65-F5344CB8AC3E}">
        <p14:creationId xmlns:p14="http://schemas.microsoft.com/office/powerpoint/2010/main" val="2209159006"/>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4" dur="1500" decel="10000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 calcmode="lin" valueType="num">
                                      <p:cBhvr additive="base">
                                        <p:cTn id="7" dur="1500" fill="hold"/>
                                        <p:tgtEl>
                                          <p:spTgt spid="17"/>
                                        </p:tgtEl>
                                        <p:attrNameLst>
                                          <p:attrName>ppt_x</p:attrName>
                                        </p:attrNameLst>
                                      </p:cBhvr>
                                      <p:tavLst>
                                        <p:tav tm="0">
                                          <p:val>
                                            <p:strVal val="#ppt_x"/>
                                          </p:val>
                                        </p:tav>
                                        <p:tav tm="100000">
                                          <p:val>
                                            <p:strVal val="#ppt_x"/>
                                          </p:val>
                                        </p:tav>
                                      </p:tavLst>
                                    </p:anim>
                                    <p:anim calcmode="lin" valueType="num">
                                      <p:cBhvr additive="base">
                                        <p:cTn id="8" dur="1500" fill="hold"/>
                                        <p:tgtEl>
                                          <p:spTgt spid="17"/>
                                        </p:tgtEl>
                                        <p:attrNameLst>
                                          <p:attrName>ppt_y</p:attrName>
                                        </p:attrNameLst>
                                      </p:cBhvr>
                                      <p:tavLst>
                                        <p:tav tm="0">
                                          <p:val>
                                            <p:strVal val="1+#ppt_h/2"/>
                                          </p:val>
                                        </p:tav>
                                        <p:tav tm="100000">
                                          <p:val>
                                            <p:strVal val="#ppt_y"/>
                                          </p:val>
                                        </p:tav>
                                      </p:tavLst>
                                    </p:anim>
                                  </p:childTnLst>
                                </p:cTn>
                              </p:par>
                              <p:par>
                                <p:cTn id="9" presetID="2" presetClass="entr" presetSubtype="4" dur="1500" decel="100000" fill="hold" grpId="0" nodeType="withEffect">
                                  <p:stCondLst>
                                    <p:cond delay="100"/>
                                  </p:stCondLst>
                                  <p:childTnLst>
                                    <p:set>
                                      <p:cBhvr>
                                        <p:cTn id="10" dur="1" fill="hold">
                                          <p:stCondLst>
                                            <p:cond delay="0"/>
                                          </p:stCondLst>
                                        </p:cTn>
                                        <p:tgtEl>
                                          <p:spTgt spid="18"/>
                                        </p:tgtEl>
                                        <p:attrNameLst>
                                          <p:attrName>style.visibility</p:attrName>
                                        </p:attrNameLst>
                                      </p:cBhvr>
                                      <p:to>
                                        <p:strVal val="visible"/>
                                      </p:to>
                                    </p:set>
                                    <p:anim calcmode="lin" valueType="num">
                                      <p:cBhvr additive="base">
                                        <p:cTn id="11" dur="1500" fill="hold"/>
                                        <p:tgtEl>
                                          <p:spTgt spid="18"/>
                                        </p:tgtEl>
                                        <p:attrNameLst>
                                          <p:attrName>ppt_x</p:attrName>
                                        </p:attrNameLst>
                                      </p:cBhvr>
                                      <p:tavLst>
                                        <p:tav tm="0">
                                          <p:val>
                                            <p:strVal val="#ppt_x"/>
                                          </p:val>
                                        </p:tav>
                                        <p:tav tm="100000">
                                          <p:val>
                                            <p:strVal val="#ppt_x"/>
                                          </p:val>
                                        </p:tav>
                                      </p:tavLst>
                                    </p:anim>
                                    <p:anim calcmode="lin" valueType="num">
                                      <p:cBhvr additive="base">
                                        <p:cTn id="12" dur="1500" fill="hold"/>
                                        <p:tgtEl>
                                          <p:spTgt spid="18"/>
                                        </p:tgtEl>
                                        <p:attrNameLst>
                                          <p:attrName>ppt_y</p:attrName>
                                        </p:attrNameLst>
                                      </p:cBhvr>
                                      <p:tavLst>
                                        <p:tav tm="0">
                                          <p:val>
                                            <p:strVal val="1+#ppt_h/2"/>
                                          </p:val>
                                        </p:tav>
                                        <p:tav tm="100000">
                                          <p:val>
                                            <p:strVal val="#ppt_y"/>
                                          </p:val>
                                        </p:tav>
                                      </p:tavLst>
                                    </p:anim>
                                  </p:childTnLst>
                                </p:cTn>
                              </p:par>
                              <p:par>
                                <p:cTn id="13" presetID="2" presetClass="entr" presetSubtype="4" dur="1500" decel="100000" fill="hold" grpId="0" nodeType="withEffect">
                                  <p:stCondLst>
                                    <p:cond delay="200"/>
                                  </p:stCondLst>
                                  <p:childTnLst>
                                    <p:set>
                                      <p:cBhvr>
                                        <p:cTn id="14" dur="1" fill="hold">
                                          <p:stCondLst>
                                            <p:cond delay="0"/>
                                          </p:stCondLst>
                                        </p:cTn>
                                        <p:tgtEl>
                                          <p:spTgt spid="19"/>
                                        </p:tgtEl>
                                        <p:attrNameLst>
                                          <p:attrName>style.visibility</p:attrName>
                                        </p:attrNameLst>
                                      </p:cBhvr>
                                      <p:to>
                                        <p:strVal val="visible"/>
                                      </p:to>
                                    </p:set>
                                    <p:anim calcmode="lin" valueType="num">
                                      <p:cBhvr additive="base">
                                        <p:cTn id="15" dur="1500" fill="hold"/>
                                        <p:tgtEl>
                                          <p:spTgt spid="19"/>
                                        </p:tgtEl>
                                        <p:attrNameLst>
                                          <p:attrName>ppt_x</p:attrName>
                                        </p:attrNameLst>
                                      </p:cBhvr>
                                      <p:tavLst>
                                        <p:tav tm="0">
                                          <p:val>
                                            <p:strVal val="#ppt_x"/>
                                          </p:val>
                                        </p:tav>
                                        <p:tav tm="100000">
                                          <p:val>
                                            <p:strVal val="#ppt_x"/>
                                          </p:val>
                                        </p:tav>
                                      </p:tavLst>
                                    </p:anim>
                                    <p:anim calcmode="lin" valueType="num">
                                      <p:cBhvr additive="base">
                                        <p:cTn id="16" dur="1500" fill="hold"/>
                                        <p:tgtEl>
                                          <p:spTgt spid="19"/>
                                        </p:tgtEl>
                                        <p:attrNameLst>
                                          <p:attrName>ppt_y</p:attrName>
                                        </p:attrNameLst>
                                      </p:cBhvr>
                                      <p:tavLst>
                                        <p:tav tm="0">
                                          <p:val>
                                            <p:strVal val="1+#ppt_h/2"/>
                                          </p:val>
                                        </p:tav>
                                        <p:tav tm="100000">
                                          <p:val>
                                            <p:strVal val="#ppt_y"/>
                                          </p:val>
                                        </p:tav>
                                      </p:tavLst>
                                    </p:anim>
                                  </p:childTnLst>
                                </p:cTn>
                              </p:par>
                              <p:par>
                                <p:cTn id="17" presetID="2" presetClass="entr" presetSubtype="4" dur="1500" decel="100000" fill="hold" grpId="0" nodeType="withEffect">
                                  <p:stCondLst>
                                    <p:cond delay="300"/>
                                  </p:stCondLst>
                                  <p:childTnLst>
                                    <p:set>
                                      <p:cBhvr>
                                        <p:cTn id="18" dur="1" fill="hold">
                                          <p:stCondLst>
                                            <p:cond delay="0"/>
                                          </p:stCondLst>
                                        </p:cTn>
                                        <p:tgtEl>
                                          <p:spTgt spid="13"/>
                                        </p:tgtEl>
                                        <p:attrNameLst>
                                          <p:attrName>style.visibility</p:attrName>
                                        </p:attrNameLst>
                                      </p:cBhvr>
                                      <p:to>
                                        <p:strVal val="visible"/>
                                      </p:to>
                                    </p:set>
                                    <p:anim calcmode="lin" valueType="num">
                                      <p:cBhvr additive="base">
                                        <p:cTn id="19" dur="1500" fill="hold"/>
                                        <p:tgtEl>
                                          <p:spTgt spid="13"/>
                                        </p:tgtEl>
                                        <p:attrNameLst>
                                          <p:attrName>ppt_x</p:attrName>
                                        </p:attrNameLst>
                                      </p:cBhvr>
                                      <p:tavLst>
                                        <p:tav tm="0">
                                          <p:val>
                                            <p:strVal val="#ppt_x"/>
                                          </p:val>
                                        </p:tav>
                                        <p:tav tm="100000">
                                          <p:val>
                                            <p:strVal val="#ppt_x"/>
                                          </p:val>
                                        </p:tav>
                                      </p:tavLst>
                                    </p:anim>
                                    <p:anim calcmode="lin" valueType="num">
                                      <p:cBhvr additive="base">
                                        <p:cTn id="20" dur="1500" fill="hold"/>
                                        <p:tgtEl>
                                          <p:spTgt spid="13"/>
                                        </p:tgtEl>
                                        <p:attrNameLst>
                                          <p:attrName>ppt_y</p:attrName>
                                        </p:attrNameLst>
                                      </p:cBhvr>
                                      <p:tavLst>
                                        <p:tav tm="0">
                                          <p:val>
                                            <p:strVal val="1+#ppt_h/2"/>
                                          </p:val>
                                        </p:tav>
                                        <p:tav tm="100000">
                                          <p:val>
                                            <p:strVal val="#ppt_y"/>
                                          </p:val>
                                        </p:tav>
                                      </p:tavLst>
                                    </p:anim>
                                  </p:childTnLst>
                                </p:cTn>
                              </p:par>
                              <p:par>
                                <p:cTn id="21" presetID="2" presetClass="entr" presetSubtype="4" dur="1500" decel="100000" fill="hold" grpId="0" nodeType="withEffect">
                                  <p:stCondLst>
                                    <p:cond delay="400"/>
                                  </p:stCondLst>
                                  <p:childTnLst>
                                    <p:set>
                                      <p:cBhvr>
                                        <p:cTn id="22" dur="1" fill="hold">
                                          <p:stCondLst>
                                            <p:cond delay="0"/>
                                          </p:stCondLst>
                                        </p:cTn>
                                        <p:tgtEl>
                                          <p:spTgt spid="14"/>
                                        </p:tgtEl>
                                        <p:attrNameLst>
                                          <p:attrName>style.visibility</p:attrName>
                                        </p:attrNameLst>
                                      </p:cBhvr>
                                      <p:to>
                                        <p:strVal val="visible"/>
                                      </p:to>
                                    </p:set>
                                    <p:anim calcmode="lin" valueType="num">
                                      <p:cBhvr additive="base">
                                        <p:cTn id="23" dur="1500" fill="hold"/>
                                        <p:tgtEl>
                                          <p:spTgt spid="14"/>
                                        </p:tgtEl>
                                        <p:attrNameLst>
                                          <p:attrName>ppt_x</p:attrName>
                                        </p:attrNameLst>
                                      </p:cBhvr>
                                      <p:tavLst>
                                        <p:tav tm="0">
                                          <p:val>
                                            <p:strVal val="#ppt_x"/>
                                          </p:val>
                                        </p:tav>
                                        <p:tav tm="100000">
                                          <p:val>
                                            <p:strVal val="#ppt_x"/>
                                          </p:val>
                                        </p:tav>
                                      </p:tavLst>
                                    </p:anim>
                                    <p:anim calcmode="lin" valueType="num">
                                      <p:cBhvr additive="base">
                                        <p:cTn id="24" dur="1500" fill="hold"/>
                                        <p:tgtEl>
                                          <p:spTgt spid="14"/>
                                        </p:tgtEl>
                                        <p:attrNameLst>
                                          <p:attrName>ppt_y</p:attrName>
                                        </p:attrNameLst>
                                      </p:cBhvr>
                                      <p:tavLst>
                                        <p:tav tm="0">
                                          <p:val>
                                            <p:strVal val="1+#ppt_h/2"/>
                                          </p:val>
                                        </p:tav>
                                        <p:tav tm="100000">
                                          <p:val>
                                            <p:strVal val="#ppt_y"/>
                                          </p:val>
                                        </p:tav>
                                      </p:tavLst>
                                    </p:anim>
                                  </p:childTnLst>
                                </p:cTn>
                              </p:par>
                              <p:par>
                                <p:cTn id="25" presetID="2" presetClass="entr" presetSubtype="4" dur="1500" decel="100000" fill="hold" grpId="0" nodeType="withEffect">
                                  <p:stCondLst>
                                    <p:cond delay="500"/>
                                  </p:stCondLst>
                                  <p:childTnLst>
                                    <p:set>
                                      <p:cBhvr>
                                        <p:cTn id="26" dur="1" fill="hold">
                                          <p:stCondLst>
                                            <p:cond delay="0"/>
                                          </p:stCondLst>
                                        </p:cTn>
                                        <p:tgtEl>
                                          <p:spTgt spid="15"/>
                                        </p:tgtEl>
                                        <p:attrNameLst>
                                          <p:attrName>style.visibility</p:attrName>
                                        </p:attrNameLst>
                                      </p:cBhvr>
                                      <p:to>
                                        <p:strVal val="visible"/>
                                      </p:to>
                                    </p:set>
                                    <p:anim calcmode="lin" valueType="num">
                                      <p:cBhvr additive="base">
                                        <p:cTn id="27" dur="1500" fill="hold"/>
                                        <p:tgtEl>
                                          <p:spTgt spid="15"/>
                                        </p:tgtEl>
                                        <p:attrNameLst>
                                          <p:attrName>ppt_x</p:attrName>
                                        </p:attrNameLst>
                                      </p:cBhvr>
                                      <p:tavLst>
                                        <p:tav tm="0">
                                          <p:val>
                                            <p:strVal val="#ppt_x"/>
                                          </p:val>
                                        </p:tav>
                                        <p:tav tm="100000">
                                          <p:val>
                                            <p:strVal val="#ppt_x"/>
                                          </p:val>
                                        </p:tav>
                                      </p:tavLst>
                                    </p:anim>
                                    <p:anim calcmode="lin" valueType="num">
                                      <p:cBhvr additive="base">
                                        <p:cTn id="28" dur="1500" fill="hold"/>
                                        <p:tgtEl>
                                          <p:spTgt spid="15"/>
                                        </p:tgtEl>
                                        <p:attrNameLst>
                                          <p:attrName>ppt_y</p:attrName>
                                        </p:attrNameLst>
                                      </p:cBhvr>
                                      <p:tavLst>
                                        <p:tav tm="0">
                                          <p:val>
                                            <p:strVal val="1+#ppt_h/2"/>
                                          </p:val>
                                        </p:tav>
                                        <p:tav tm="100000">
                                          <p:val>
                                            <p:strVal val="#ppt_y"/>
                                          </p:val>
                                        </p:tav>
                                      </p:tavLst>
                                    </p:anim>
                                  </p:childTnLst>
                                </p:cTn>
                              </p:par>
                              <p:par>
                                <p:cTn id="29" presetID="2" presetClass="entr" presetSubtype="4" dur="1500" decel="100000" fill="hold" grpId="0" nodeType="withEffect">
                                  <p:stCondLst>
                                    <p:cond delay="600"/>
                                  </p:stCondLst>
                                  <p:childTnLst>
                                    <p:set>
                                      <p:cBhvr>
                                        <p:cTn id="30" dur="1" fill="hold">
                                          <p:stCondLst>
                                            <p:cond delay="0"/>
                                          </p:stCondLst>
                                        </p:cTn>
                                        <p:tgtEl>
                                          <p:spTgt spid="16"/>
                                        </p:tgtEl>
                                        <p:attrNameLst>
                                          <p:attrName>style.visibility</p:attrName>
                                        </p:attrNameLst>
                                      </p:cBhvr>
                                      <p:to>
                                        <p:strVal val="visible"/>
                                      </p:to>
                                    </p:set>
                                    <p:anim calcmode="lin" valueType="num">
                                      <p:cBhvr additive="base">
                                        <p:cTn id="31" dur="1500" fill="hold"/>
                                        <p:tgtEl>
                                          <p:spTgt spid="16"/>
                                        </p:tgtEl>
                                        <p:attrNameLst>
                                          <p:attrName>ppt_x</p:attrName>
                                        </p:attrNameLst>
                                      </p:cBhvr>
                                      <p:tavLst>
                                        <p:tav tm="0">
                                          <p:val>
                                            <p:strVal val="#ppt_x"/>
                                          </p:val>
                                        </p:tav>
                                        <p:tav tm="100000">
                                          <p:val>
                                            <p:strVal val="#ppt_x"/>
                                          </p:val>
                                        </p:tav>
                                      </p:tavLst>
                                    </p:anim>
                                    <p:anim calcmode="lin" valueType="num">
                                      <p:cBhvr additive="base">
                                        <p:cTn id="32" dur="1500" fill="hold"/>
                                        <p:tgtEl>
                                          <p:spTgt spid="16"/>
                                        </p:tgtEl>
                                        <p:attrNameLst>
                                          <p:attrName>ppt_y</p:attrName>
                                        </p:attrNameLst>
                                      </p:cBhvr>
                                      <p:tavLst>
                                        <p:tav tm="0">
                                          <p:val>
                                            <p:strVal val="1+#ppt_h/2"/>
                                          </p:val>
                                        </p:tav>
                                        <p:tav tm="100000">
                                          <p:val>
                                            <p:strVal val="#ppt_y"/>
                                          </p:val>
                                        </p:tav>
                                      </p:tavLst>
                                    </p:anim>
                                  </p:childTnLst>
                                </p:cTn>
                              </p:par>
                              <p:par>
                                <p:cTn id="33" presetID="2" presetClass="entr" presetSubtype="4" dur="1500" decel="100000" fill="hold" grpId="0" nodeType="withEffect">
                                  <p:stCondLst>
                                    <p:cond delay="700"/>
                                  </p:stCondLst>
                                  <p:childTnLst>
                                    <p:set>
                                      <p:cBhvr>
                                        <p:cTn id="34" dur="1" fill="hold">
                                          <p:stCondLst>
                                            <p:cond delay="0"/>
                                          </p:stCondLst>
                                        </p:cTn>
                                        <p:tgtEl>
                                          <p:spTgt spid="2"/>
                                        </p:tgtEl>
                                        <p:attrNameLst>
                                          <p:attrName>style.visibility</p:attrName>
                                        </p:attrNameLst>
                                      </p:cBhvr>
                                      <p:to>
                                        <p:strVal val="visible"/>
                                      </p:to>
                                    </p:set>
                                    <p:anim calcmode="lin" valueType="num">
                                      <p:cBhvr additive="base">
                                        <p:cTn id="35" dur="1500" fill="hold"/>
                                        <p:tgtEl>
                                          <p:spTgt spid="2"/>
                                        </p:tgtEl>
                                        <p:attrNameLst>
                                          <p:attrName>ppt_x</p:attrName>
                                        </p:attrNameLst>
                                      </p:cBhvr>
                                      <p:tavLst>
                                        <p:tav tm="0">
                                          <p:val>
                                            <p:strVal val="#ppt_x"/>
                                          </p:val>
                                        </p:tav>
                                        <p:tav tm="100000">
                                          <p:val>
                                            <p:strVal val="#ppt_x"/>
                                          </p:val>
                                        </p:tav>
                                      </p:tavLst>
                                    </p:anim>
                                    <p:anim calcmode="lin" valueType="num">
                                      <p:cBhvr additive="base">
                                        <p:cTn id="36" dur="1500" fill="hold"/>
                                        <p:tgtEl>
                                          <p:spTgt spid="2"/>
                                        </p:tgtEl>
                                        <p:attrNameLst>
                                          <p:attrName>ppt_y</p:attrName>
                                        </p:attrNameLst>
                                      </p:cBhvr>
                                      <p:tavLst>
                                        <p:tav tm="0">
                                          <p:val>
                                            <p:strVal val="1+#ppt_h/2"/>
                                          </p:val>
                                        </p:tav>
                                        <p:tav tm="100000">
                                          <p:val>
                                            <p:strVal val="#ppt_y"/>
                                          </p:val>
                                        </p:tav>
                                      </p:tavLst>
                                    </p:anim>
                                  </p:childTnLst>
                                </p:cTn>
                              </p:par>
                              <p:par>
                                <p:cTn id="37" presetID="2" presetClass="entr" presetSubtype="4" dur="1500" decel="100000" fill="hold" grpId="0" nodeType="withEffect">
                                  <p:stCondLst>
                                    <p:cond delay="800"/>
                                  </p:stCondLst>
                                  <p:childTnLst>
                                    <p:set>
                                      <p:cBhvr>
                                        <p:cTn id="38" dur="1" fill="hold">
                                          <p:stCondLst>
                                            <p:cond delay="0"/>
                                          </p:stCondLst>
                                        </p:cTn>
                                        <p:tgtEl>
                                          <p:spTgt spid="8"/>
                                        </p:tgtEl>
                                        <p:attrNameLst>
                                          <p:attrName>style.visibility</p:attrName>
                                        </p:attrNameLst>
                                      </p:cBhvr>
                                      <p:to>
                                        <p:strVal val="visible"/>
                                      </p:to>
                                    </p:set>
                                    <p:anim calcmode="lin" valueType="num">
                                      <p:cBhvr additive="base">
                                        <p:cTn id="39" dur="1500" fill="hold"/>
                                        <p:tgtEl>
                                          <p:spTgt spid="8"/>
                                        </p:tgtEl>
                                        <p:attrNameLst>
                                          <p:attrName>ppt_x</p:attrName>
                                        </p:attrNameLst>
                                      </p:cBhvr>
                                      <p:tavLst>
                                        <p:tav tm="0">
                                          <p:val>
                                            <p:strVal val="#ppt_x"/>
                                          </p:val>
                                        </p:tav>
                                        <p:tav tm="100000">
                                          <p:val>
                                            <p:strVal val="#ppt_x"/>
                                          </p:val>
                                        </p:tav>
                                      </p:tavLst>
                                    </p:anim>
                                    <p:anim calcmode="lin" valueType="num">
                                      <p:cBhvr additive="base">
                                        <p:cTn id="40" dur="1500" fill="hold"/>
                                        <p:tgtEl>
                                          <p:spTgt spid="8"/>
                                        </p:tgtEl>
                                        <p:attrNameLst>
                                          <p:attrName>ppt_y</p:attrName>
                                        </p:attrNameLst>
                                      </p:cBhvr>
                                      <p:tavLst>
                                        <p:tav tm="0">
                                          <p:val>
                                            <p:strVal val="1+#ppt_h/2"/>
                                          </p:val>
                                        </p:tav>
                                        <p:tav tm="100000">
                                          <p:val>
                                            <p:strVal val="#ppt_y"/>
                                          </p:val>
                                        </p:tav>
                                      </p:tavLst>
                                    </p:anim>
                                  </p:childTnLst>
                                </p:cTn>
                              </p:par>
                              <p:par>
                                <p:cTn id="41" presetID="2" presetClass="entr" presetSubtype="4" dur="1500" decel="100000" fill="hold" grpId="0" nodeType="withEffect">
                                  <p:stCondLst>
                                    <p:cond delay="900"/>
                                  </p:stCondLst>
                                  <p:childTnLst>
                                    <p:set>
                                      <p:cBhvr>
                                        <p:cTn id="42" dur="1" fill="hold">
                                          <p:stCondLst>
                                            <p:cond delay="0"/>
                                          </p:stCondLst>
                                        </p:cTn>
                                        <p:tgtEl>
                                          <p:spTgt spid="9"/>
                                        </p:tgtEl>
                                        <p:attrNameLst>
                                          <p:attrName>style.visibility</p:attrName>
                                        </p:attrNameLst>
                                      </p:cBhvr>
                                      <p:to>
                                        <p:strVal val="visible"/>
                                      </p:to>
                                    </p:set>
                                    <p:anim calcmode="lin" valueType="num">
                                      <p:cBhvr additive="base">
                                        <p:cTn id="43" dur="1500" fill="hold"/>
                                        <p:tgtEl>
                                          <p:spTgt spid="9"/>
                                        </p:tgtEl>
                                        <p:attrNameLst>
                                          <p:attrName>ppt_x</p:attrName>
                                        </p:attrNameLst>
                                      </p:cBhvr>
                                      <p:tavLst>
                                        <p:tav tm="0">
                                          <p:val>
                                            <p:strVal val="#ppt_x"/>
                                          </p:val>
                                        </p:tav>
                                        <p:tav tm="100000">
                                          <p:val>
                                            <p:strVal val="#ppt_x"/>
                                          </p:val>
                                        </p:tav>
                                      </p:tavLst>
                                    </p:anim>
                                    <p:anim calcmode="lin" valueType="num">
                                      <p:cBhvr additive="base">
                                        <p:cTn id="44" dur="1500" fill="hold"/>
                                        <p:tgtEl>
                                          <p:spTgt spid="9"/>
                                        </p:tgtEl>
                                        <p:attrNameLst>
                                          <p:attrName>ppt_y</p:attrName>
                                        </p:attrNameLst>
                                      </p:cBhvr>
                                      <p:tavLst>
                                        <p:tav tm="0">
                                          <p:val>
                                            <p:strVal val="1+#ppt_h/2"/>
                                          </p:val>
                                        </p:tav>
                                        <p:tav tm="100000">
                                          <p:val>
                                            <p:strVal val="#ppt_y"/>
                                          </p:val>
                                        </p:tav>
                                      </p:tavLst>
                                    </p:anim>
                                  </p:childTnLst>
                                </p:cTn>
                              </p:par>
                              <p:par>
                                <p:cTn id="45" presetID="2" presetClass="entr" presetSubtype="4" dur="1500" decel="100000" fill="hold" grpId="0" nodeType="withEffect">
                                  <p:stCondLst>
                                    <p:cond delay="1000"/>
                                  </p:stCondLst>
                                  <p:childTnLst>
                                    <p:set>
                                      <p:cBhvr>
                                        <p:cTn id="46" dur="1" fill="hold">
                                          <p:stCondLst>
                                            <p:cond delay="0"/>
                                          </p:stCondLst>
                                        </p:cTn>
                                        <p:tgtEl>
                                          <p:spTgt spid="10"/>
                                        </p:tgtEl>
                                        <p:attrNameLst>
                                          <p:attrName>style.visibility</p:attrName>
                                        </p:attrNameLst>
                                      </p:cBhvr>
                                      <p:to>
                                        <p:strVal val="visible"/>
                                      </p:to>
                                    </p:set>
                                    <p:anim calcmode="lin" valueType="num">
                                      <p:cBhvr additive="base">
                                        <p:cTn id="47" dur="1500" fill="hold"/>
                                        <p:tgtEl>
                                          <p:spTgt spid="10"/>
                                        </p:tgtEl>
                                        <p:attrNameLst>
                                          <p:attrName>ppt_x</p:attrName>
                                        </p:attrNameLst>
                                      </p:cBhvr>
                                      <p:tavLst>
                                        <p:tav tm="0">
                                          <p:val>
                                            <p:strVal val="#ppt_x"/>
                                          </p:val>
                                        </p:tav>
                                        <p:tav tm="100000">
                                          <p:val>
                                            <p:strVal val="#ppt_x"/>
                                          </p:val>
                                        </p:tav>
                                      </p:tavLst>
                                    </p:anim>
                                    <p:anim calcmode="lin" valueType="num">
                                      <p:cBhvr additive="base">
                                        <p:cTn id="48" dur="1500" fill="hold"/>
                                        <p:tgtEl>
                                          <p:spTgt spid="10"/>
                                        </p:tgtEl>
                                        <p:attrNameLst>
                                          <p:attrName>ppt_y</p:attrName>
                                        </p:attrNameLst>
                                      </p:cBhvr>
                                      <p:tavLst>
                                        <p:tav tm="0">
                                          <p:val>
                                            <p:strVal val="1+#ppt_h/2"/>
                                          </p:val>
                                        </p:tav>
                                        <p:tav tm="100000">
                                          <p:val>
                                            <p:strVal val="#ppt_y"/>
                                          </p:val>
                                        </p:tav>
                                      </p:tavLst>
                                    </p:anim>
                                  </p:childTnLst>
                                </p:cTn>
                              </p:par>
                              <p:par>
                                <p:cTn id="49" presetID="2" presetClass="entr" presetSubtype="4" dur="1500" decel="100000" fill="hold" grpId="0" nodeType="withEffect">
                                  <p:stCondLst>
                                    <p:cond delay="1100"/>
                                  </p:stCondLst>
                                  <p:childTnLst>
                                    <p:set>
                                      <p:cBhvr>
                                        <p:cTn id="50" dur="1" fill="hold">
                                          <p:stCondLst>
                                            <p:cond delay="0"/>
                                          </p:stCondLst>
                                        </p:cTn>
                                        <p:tgtEl>
                                          <p:spTgt spid="11"/>
                                        </p:tgtEl>
                                        <p:attrNameLst>
                                          <p:attrName>style.visibility</p:attrName>
                                        </p:attrNameLst>
                                      </p:cBhvr>
                                      <p:to>
                                        <p:strVal val="visible"/>
                                      </p:to>
                                    </p:set>
                                    <p:anim calcmode="lin" valueType="num">
                                      <p:cBhvr additive="base">
                                        <p:cTn id="51" dur="1500" fill="hold"/>
                                        <p:tgtEl>
                                          <p:spTgt spid="11"/>
                                        </p:tgtEl>
                                        <p:attrNameLst>
                                          <p:attrName>ppt_x</p:attrName>
                                        </p:attrNameLst>
                                      </p:cBhvr>
                                      <p:tavLst>
                                        <p:tav tm="0">
                                          <p:val>
                                            <p:strVal val="#ppt_x"/>
                                          </p:val>
                                        </p:tav>
                                        <p:tav tm="100000">
                                          <p:val>
                                            <p:strVal val="#ppt_x"/>
                                          </p:val>
                                        </p:tav>
                                      </p:tavLst>
                                    </p:anim>
                                    <p:anim calcmode="lin" valueType="num">
                                      <p:cBhvr additive="base">
                                        <p:cTn id="52" dur="1500" fill="hold"/>
                                        <p:tgtEl>
                                          <p:spTgt spid="1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8" grpId="0" animBg="1"/>
      <p:bldP spid="19" grpId="0" animBg="1"/>
      <p:bldP spid="13" grpId="0" animBg="1"/>
      <p:bldP spid="14" grpId="0" animBg="1"/>
      <p:bldP spid="15" grpId="0" animBg="1"/>
      <p:bldP spid="16" grpId="0" animBg="1"/>
      <p:bldP spid="2" grpId="0" animBg="1"/>
      <p:bldP spid="8" grpId="0" animBg="1"/>
      <p:bldP spid="9" grpId="0" animBg="1"/>
      <p:bldP spid="10" grpId="0" animBg="1"/>
      <p:bldP spid="11" grpId="0" animBg="1"/>
    </p:bld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15_Custom Layout">
    <p:spTree>
      <p:nvGrpSpPr>
        <p:cNvPr id="1" name=""/>
        <p:cNvGrpSpPr/>
        <p:nvPr/>
      </p:nvGrpSpPr>
      <p:grpSpPr>
        <a:xfrm>
          <a:off x="0" y="0"/>
          <a:ext cx="0" cy="0"/>
          <a:chOff x="0" y="0"/>
          <a:chExt cx="0" cy="0"/>
        </a:xfrm>
      </p:grpSpPr>
      <p:sp>
        <p:nvSpPr>
          <p:cNvPr id="48" name="Picture Placeholder 75">
            <a:extLst>
              <a:ext uri="{FF2B5EF4-FFF2-40B4-BE49-F238E27FC236}">
                <a16:creationId xmlns:a16="http://schemas.microsoft.com/office/drawing/2014/main" id="{E663C24A-6D61-4CE5-B812-FEFFD014239B}"/>
              </a:ext>
            </a:extLst>
          </p:cNvPr>
          <p:cNvSpPr>
            <a:spLocks noGrp="1" noChangeAspect="1"/>
          </p:cNvSpPr>
          <p:nvPr>
            <p:ph type="pic" sz="quarter" idx="57"/>
          </p:nvPr>
        </p:nvSpPr>
        <p:spPr>
          <a:xfrm>
            <a:off x="-657118" y="-1490653"/>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49" name="Picture Placeholder 75">
            <a:extLst>
              <a:ext uri="{FF2B5EF4-FFF2-40B4-BE49-F238E27FC236}">
                <a16:creationId xmlns:a16="http://schemas.microsoft.com/office/drawing/2014/main" id="{FC0F3EFD-29EA-4CF3-945D-F2BDFE1089BA}"/>
              </a:ext>
            </a:extLst>
          </p:cNvPr>
          <p:cNvSpPr>
            <a:spLocks noGrp="1" noChangeAspect="1"/>
          </p:cNvSpPr>
          <p:nvPr>
            <p:ph type="pic" sz="quarter" idx="58"/>
          </p:nvPr>
        </p:nvSpPr>
        <p:spPr>
          <a:xfrm>
            <a:off x="-2891069" y="-231196"/>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41" name="Picture Placeholder 75">
            <a:extLst>
              <a:ext uri="{FF2B5EF4-FFF2-40B4-BE49-F238E27FC236}">
                <a16:creationId xmlns:a16="http://schemas.microsoft.com/office/drawing/2014/main" id="{03EDB8AD-F804-43C3-A0D1-C12D7225E290}"/>
              </a:ext>
            </a:extLst>
          </p:cNvPr>
          <p:cNvSpPr>
            <a:spLocks noGrp="1" noChangeAspect="1"/>
          </p:cNvSpPr>
          <p:nvPr>
            <p:ph type="pic" sz="quarter" idx="50"/>
          </p:nvPr>
        </p:nvSpPr>
        <p:spPr>
          <a:xfrm>
            <a:off x="1728774" y="-1139772"/>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42" name="Picture Placeholder 75">
            <a:extLst>
              <a:ext uri="{FF2B5EF4-FFF2-40B4-BE49-F238E27FC236}">
                <a16:creationId xmlns:a16="http://schemas.microsoft.com/office/drawing/2014/main" id="{C5D21686-787F-4D1D-8E80-E2508F394D2B}"/>
              </a:ext>
            </a:extLst>
          </p:cNvPr>
          <p:cNvSpPr>
            <a:spLocks noGrp="1" noChangeAspect="1"/>
          </p:cNvSpPr>
          <p:nvPr>
            <p:ph type="pic" sz="quarter" idx="51"/>
          </p:nvPr>
        </p:nvSpPr>
        <p:spPr>
          <a:xfrm>
            <a:off x="-505177" y="119685"/>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43" name="Picture Placeholder 75">
            <a:extLst>
              <a:ext uri="{FF2B5EF4-FFF2-40B4-BE49-F238E27FC236}">
                <a16:creationId xmlns:a16="http://schemas.microsoft.com/office/drawing/2014/main" id="{A4D6FD94-3DFB-4DD1-A3E1-05F00BC1540C}"/>
              </a:ext>
            </a:extLst>
          </p:cNvPr>
          <p:cNvSpPr>
            <a:spLocks noGrp="1" noChangeAspect="1"/>
          </p:cNvSpPr>
          <p:nvPr>
            <p:ph type="pic" sz="quarter" idx="52"/>
          </p:nvPr>
        </p:nvSpPr>
        <p:spPr>
          <a:xfrm>
            <a:off x="-2739128" y="1379142"/>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28" name="Picture Placeholder 75">
            <a:extLst>
              <a:ext uri="{FF2B5EF4-FFF2-40B4-BE49-F238E27FC236}">
                <a16:creationId xmlns:a16="http://schemas.microsoft.com/office/drawing/2014/main" id="{6CAD025C-A654-4C88-A249-7079110D412A}"/>
              </a:ext>
            </a:extLst>
          </p:cNvPr>
          <p:cNvSpPr>
            <a:spLocks noGrp="1" noChangeAspect="1"/>
          </p:cNvSpPr>
          <p:nvPr>
            <p:ph type="pic" sz="quarter" idx="43"/>
          </p:nvPr>
        </p:nvSpPr>
        <p:spPr>
          <a:xfrm>
            <a:off x="3949279" y="-686603"/>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29" name="Picture Placeholder 75">
            <a:extLst>
              <a:ext uri="{FF2B5EF4-FFF2-40B4-BE49-F238E27FC236}">
                <a16:creationId xmlns:a16="http://schemas.microsoft.com/office/drawing/2014/main" id="{7D2A6AB2-B1B6-4E6E-A516-1624DC823BCE}"/>
              </a:ext>
            </a:extLst>
          </p:cNvPr>
          <p:cNvSpPr>
            <a:spLocks noGrp="1" noChangeAspect="1"/>
          </p:cNvSpPr>
          <p:nvPr>
            <p:ph type="pic" sz="quarter" idx="44"/>
          </p:nvPr>
        </p:nvSpPr>
        <p:spPr>
          <a:xfrm>
            <a:off x="1715328" y="572855"/>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30" name="Picture Placeholder 75">
            <a:extLst>
              <a:ext uri="{FF2B5EF4-FFF2-40B4-BE49-F238E27FC236}">
                <a16:creationId xmlns:a16="http://schemas.microsoft.com/office/drawing/2014/main" id="{9DD0859E-1EE8-4927-8BB2-F5754D3BD7BB}"/>
              </a:ext>
            </a:extLst>
          </p:cNvPr>
          <p:cNvSpPr>
            <a:spLocks noGrp="1" noChangeAspect="1"/>
          </p:cNvSpPr>
          <p:nvPr>
            <p:ph type="pic" sz="quarter" idx="45"/>
          </p:nvPr>
        </p:nvSpPr>
        <p:spPr>
          <a:xfrm>
            <a:off x="-518622" y="1832312"/>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31" name="Picture Placeholder 75">
            <a:extLst>
              <a:ext uri="{FF2B5EF4-FFF2-40B4-BE49-F238E27FC236}">
                <a16:creationId xmlns:a16="http://schemas.microsoft.com/office/drawing/2014/main" id="{F9FC8C08-0383-4EC2-82BB-1133D3D229E0}"/>
              </a:ext>
            </a:extLst>
          </p:cNvPr>
          <p:cNvSpPr>
            <a:spLocks noGrp="1" noChangeAspect="1"/>
          </p:cNvSpPr>
          <p:nvPr>
            <p:ph type="pic" sz="quarter" idx="46"/>
          </p:nvPr>
        </p:nvSpPr>
        <p:spPr>
          <a:xfrm>
            <a:off x="-2752573" y="3091769"/>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16" name="Picture Placeholder 75">
            <a:extLst>
              <a:ext uri="{FF2B5EF4-FFF2-40B4-BE49-F238E27FC236}">
                <a16:creationId xmlns:a16="http://schemas.microsoft.com/office/drawing/2014/main" id="{607EBF97-CA98-44E9-938D-F451E62350C1}"/>
              </a:ext>
            </a:extLst>
          </p:cNvPr>
          <p:cNvSpPr>
            <a:spLocks noGrp="1" noChangeAspect="1"/>
          </p:cNvSpPr>
          <p:nvPr>
            <p:ph type="pic" sz="quarter" idx="37"/>
          </p:nvPr>
        </p:nvSpPr>
        <p:spPr>
          <a:xfrm>
            <a:off x="6942516" y="-686603"/>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17" name="Picture Placeholder 75">
            <a:extLst>
              <a:ext uri="{FF2B5EF4-FFF2-40B4-BE49-F238E27FC236}">
                <a16:creationId xmlns:a16="http://schemas.microsoft.com/office/drawing/2014/main" id="{3D16D7ED-FD8B-4316-A459-2B2FB95393A8}"/>
              </a:ext>
            </a:extLst>
          </p:cNvPr>
          <p:cNvSpPr>
            <a:spLocks noGrp="1" noChangeAspect="1"/>
          </p:cNvSpPr>
          <p:nvPr>
            <p:ph type="pic" sz="quarter" idx="38"/>
          </p:nvPr>
        </p:nvSpPr>
        <p:spPr>
          <a:xfrm>
            <a:off x="4708566" y="572855"/>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18" name="Picture Placeholder 75">
            <a:extLst>
              <a:ext uri="{FF2B5EF4-FFF2-40B4-BE49-F238E27FC236}">
                <a16:creationId xmlns:a16="http://schemas.microsoft.com/office/drawing/2014/main" id="{0CDD9022-DE91-4943-A173-2B143DF81A30}"/>
              </a:ext>
            </a:extLst>
          </p:cNvPr>
          <p:cNvSpPr>
            <a:spLocks noGrp="1" noChangeAspect="1"/>
          </p:cNvSpPr>
          <p:nvPr>
            <p:ph type="pic" sz="quarter" idx="39"/>
          </p:nvPr>
        </p:nvSpPr>
        <p:spPr>
          <a:xfrm>
            <a:off x="2474615" y="1832312"/>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19" name="Picture Placeholder 75">
            <a:extLst>
              <a:ext uri="{FF2B5EF4-FFF2-40B4-BE49-F238E27FC236}">
                <a16:creationId xmlns:a16="http://schemas.microsoft.com/office/drawing/2014/main" id="{ABE95176-571E-450E-92C4-6C81EA4C7A3E}"/>
              </a:ext>
            </a:extLst>
          </p:cNvPr>
          <p:cNvSpPr>
            <a:spLocks noGrp="1" noChangeAspect="1"/>
          </p:cNvSpPr>
          <p:nvPr>
            <p:ph type="pic" sz="quarter" idx="40"/>
          </p:nvPr>
        </p:nvSpPr>
        <p:spPr>
          <a:xfrm>
            <a:off x="240664" y="3091769"/>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20" name="Picture Placeholder 75">
            <a:extLst>
              <a:ext uri="{FF2B5EF4-FFF2-40B4-BE49-F238E27FC236}">
                <a16:creationId xmlns:a16="http://schemas.microsoft.com/office/drawing/2014/main" id="{3EFAEF24-F8F9-40CF-94FB-D6695C184868}"/>
              </a:ext>
            </a:extLst>
          </p:cNvPr>
          <p:cNvSpPr>
            <a:spLocks noGrp="1" noChangeAspect="1"/>
          </p:cNvSpPr>
          <p:nvPr>
            <p:ph type="pic" sz="quarter" idx="41"/>
          </p:nvPr>
        </p:nvSpPr>
        <p:spPr>
          <a:xfrm>
            <a:off x="-1993286" y="4351226"/>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2" name="Picture Placeholder 75">
            <a:extLst>
              <a:ext uri="{FF2B5EF4-FFF2-40B4-BE49-F238E27FC236}">
                <a16:creationId xmlns:a16="http://schemas.microsoft.com/office/drawing/2014/main" id="{35C81404-E27E-4F36-A623-E57FC83C04C2}"/>
              </a:ext>
            </a:extLst>
          </p:cNvPr>
          <p:cNvSpPr>
            <a:spLocks noGrp="1" noChangeAspect="1"/>
          </p:cNvSpPr>
          <p:nvPr>
            <p:ph type="pic" sz="quarter" idx="24"/>
          </p:nvPr>
        </p:nvSpPr>
        <p:spPr>
          <a:xfrm>
            <a:off x="9672465" y="-531152"/>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4" name="Picture Placeholder 75">
            <a:extLst>
              <a:ext uri="{FF2B5EF4-FFF2-40B4-BE49-F238E27FC236}">
                <a16:creationId xmlns:a16="http://schemas.microsoft.com/office/drawing/2014/main" id="{FEAB132E-72A8-4AAE-84A4-48B1A95CEE6C}"/>
              </a:ext>
            </a:extLst>
          </p:cNvPr>
          <p:cNvSpPr>
            <a:spLocks noGrp="1" noChangeAspect="1"/>
          </p:cNvSpPr>
          <p:nvPr>
            <p:ph type="pic" sz="quarter" idx="25"/>
          </p:nvPr>
        </p:nvSpPr>
        <p:spPr>
          <a:xfrm>
            <a:off x="7438514" y="728306"/>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5" name="Picture Placeholder 75">
            <a:extLst>
              <a:ext uri="{FF2B5EF4-FFF2-40B4-BE49-F238E27FC236}">
                <a16:creationId xmlns:a16="http://schemas.microsoft.com/office/drawing/2014/main" id="{243FAE32-B9F4-4AE7-AE82-22570A22956A}"/>
              </a:ext>
            </a:extLst>
          </p:cNvPr>
          <p:cNvSpPr>
            <a:spLocks noGrp="1" noChangeAspect="1"/>
          </p:cNvSpPr>
          <p:nvPr>
            <p:ph type="pic" sz="quarter" idx="26"/>
          </p:nvPr>
        </p:nvSpPr>
        <p:spPr>
          <a:xfrm>
            <a:off x="5204564" y="1987763"/>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6" name="Picture Placeholder 75">
            <a:extLst>
              <a:ext uri="{FF2B5EF4-FFF2-40B4-BE49-F238E27FC236}">
                <a16:creationId xmlns:a16="http://schemas.microsoft.com/office/drawing/2014/main" id="{22DB54D1-378A-4542-9D02-E25B5BADC362}"/>
              </a:ext>
            </a:extLst>
          </p:cNvPr>
          <p:cNvSpPr>
            <a:spLocks noGrp="1" noChangeAspect="1"/>
          </p:cNvSpPr>
          <p:nvPr>
            <p:ph type="pic" sz="quarter" idx="27"/>
          </p:nvPr>
        </p:nvSpPr>
        <p:spPr>
          <a:xfrm>
            <a:off x="2970613" y="3247220"/>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7" name="Picture Placeholder 75">
            <a:extLst>
              <a:ext uri="{FF2B5EF4-FFF2-40B4-BE49-F238E27FC236}">
                <a16:creationId xmlns:a16="http://schemas.microsoft.com/office/drawing/2014/main" id="{8FFD3707-289A-4097-A634-5DFE56AC06FE}"/>
              </a:ext>
            </a:extLst>
          </p:cNvPr>
          <p:cNvSpPr>
            <a:spLocks noGrp="1" noChangeAspect="1"/>
          </p:cNvSpPr>
          <p:nvPr>
            <p:ph type="pic" sz="quarter" idx="28"/>
          </p:nvPr>
        </p:nvSpPr>
        <p:spPr>
          <a:xfrm>
            <a:off x="736662" y="4506677"/>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8" name="Picture Placeholder 75">
            <a:extLst>
              <a:ext uri="{FF2B5EF4-FFF2-40B4-BE49-F238E27FC236}">
                <a16:creationId xmlns:a16="http://schemas.microsoft.com/office/drawing/2014/main" id="{54A7639C-C713-48A6-BCBD-272206505DD0}"/>
              </a:ext>
            </a:extLst>
          </p:cNvPr>
          <p:cNvSpPr>
            <a:spLocks noGrp="1" noChangeAspect="1"/>
          </p:cNvSpPr>
          <p:nvPr>
            <p:ph type="pic" sz="quarter" idx="29"/>
          </p:nvPr>
        </p:nvSpPr>
        <p:spPr>
          <a:xfrm>
            <a:off x="-1497288" y="5766134"/>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10" name="Picture Placeholder 75">
            <a:extLst>
              <a:ext uri="{FF2B5EF4-FFF2-40B4-BE49-F238E27FC236}">
                <a16:creationId xmlns:a16="http://schemas.microsoft.com/office/drawing/2014/main" id="{EADC1BA6-7445-4738-896F-F25E3B51C125}"/>
              </a:ext>
            </a:extLst>
          </p:cNvPr>
          <p:cNvSpPr>
            <a:spLocks noGrp="1" noChangeAspect="1"/>
          </p:cNvSpPr>
          <p:nvPr>
            <p:ph type="pic" sz="quarter" idx="31"/>
          </p:nvPr>
        </p:nvSpPr>
        <p:spPr>
          <a:xfrm>
            <a:off x="10280074" y="813692"/>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11" name="Picture Placeholder 75">
            <a:extLst>
              <a:ext uri="{FF2B5EF4-FFF2-40B4-BE49-F238E27FC236}">
                <a16:creationId xmlns:a16="http://schemas.microsoft.com/office/drawing/2014/main" id="{C2B339F4-9FE6-4B11-BADC-2E50B1ADD1F5}"/>
              </a:ext>
            </a:extLst>
          </p:cNvPr>
          <p:cNvSpPr>
            <a:spLocks noGrp="1" noChangeAspect="1"/>
          </p:cNvSpPr>
          <p:nvPr>
            <p:ph type="pic" sz="quarter" idx="32"/>
          </p:nvPr>
        </p:nvSpPr>
        <p:spPr>
          <a:xfrm>
            <a:off x="8046124" y="2073149"/>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12" name="Picture Placeholder 75">
            <a:extLst>
              <a:ext uri="{FF2B5EF4-FFF2-40B4-BE49-F238E27FC236}">
                <a16:creationId xmlns:a16="http://schemas.microsoft.com/office/drawing/2014/main" id="{FFE71006-16E5-457F-9B4E-4C8C74041CF2}"/>
              </a:ext>
            </a:extLst>
          </p:cNvPr>
          <p:cNvSpPr>
            <a:spLocks noGrp="1" noChangeAspect="1"/>
          </p:cNvSpPr>
          <p:nvPr>
            <p:ph type="pic" sz="quarter" idx="33"/>
          </p:nvPr>
        </p:nvSpPr>
        <p:spPr>
          <a:xfrm>
            <a:off x="5812173" y="3332606"/>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13" name="Picture Placeholder 75">
            <a:extLst>
              <a:ext uri="{FF2B5EF4-FFF2-40B4-BE49-F238E27FC236}">
                <a16:creationId xmlns:a16="http://schemas.microsoft.com/office/drawing/2014/main" id="{6DDB9485-9DF7-49C5-ADFC-F845200EBD64}"/>
              </a:ext>
            </a:extLst>
          </p:cNvPr>
          <p:cNvSpPr>
            <a:spLocks noGrp="1" noChangeAspect="1"/>
          </p:cNvSpPr>
          <p:nvPr>
            <p:ph type="pic" sz="quarter" idx="34"/>
          </p:nvPr>
        </p:nvSpPr>
        <p:spPr>
          <a:xfrm>
            <a:off x="3578222" y="4592063"/>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14" name="Picture Placeholder 75">
            <a:extLst>
              <a:ext uri="{FF2B5EF4-FFF2-40B4-BE49-F238E27FC236}">
                <a16:creationId xmlns:a16="http://schemas.microsoft.com/office/drawing/2014/main" id="{C2FEBF29-F3C4-44EB-A394-6B97F83C159B}"/>
              </a:ext>
            </a:extLst>
          </p:cNvPr>
          <p:cNvSpPr>
            <a:spLocks noGrp="1" noChangeAspect="1"/>
          </p:cNvSpPr>
          <p:nvPr>
            <p:ph type="pic" sz="quarter" idx="35"/>
          </p:nvPr>
        </p:nvSpPr>
        <p:spPr>
          <a:xfrm>
            <a:off x="1344272" y="5851520"/>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53" name="Picture Placeholder 75">
            <a:extLst>
              <a:ext uri="{FF2B5EF4-FFF2-40B4-BE49-F238E27FC236}">
                <a16:creationId xmlns:a16="http://schemas.microsoft.com/office/drawing/2014/main" id="{2F015E8F-22EA-4453-8367-140895DC3255}"/>
              </a:ext>
            </a:extLst>
          </p:cNvPr>
          <p:cNvSpPr>
            <a:spLocks noGrp="1" noChangeAspect="1"/>
          </p:cNvSpPr>
          <p:nvPr>
            <p:ph type="pic" sz="quarter" idx="62"/>
          </p:nvPr>
        </p:nvSpPr>
        <p:spPr>
          <a:xfrm>
            <a:off x="10348604" y="2456075"/>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54" name="Picture Placeholder 75">
            <a:extLst>
              <a:ext uri="{FF2B5EF4-FFF2-40B4-BE49-F238E27FC236}">
                <a16:creationId xmlns:a16="http://schemas.microsoft.com/office/drawing/2014/main" id="{38BD2839-9FD8-4A47-8C6C-BA555D30B060}"/>
              </a:ext>
            </a:extLst>
          </p:cNvPr>
          <p:cNvSpPr>
            <a:spLocks noGrp="1" noChangeAspect="1"/>
          </p:cNvSpPr>
          <p:nvPr>
            <p:ph type="pic" sz="quarter" idx="63"/>
          </p:nvPr>
        </p:nvSpPr>
        <p:spPr>
          <a:xfrm>
            <a:off x="8114654" y="3715532"/>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55" name="Picture Placeholder 75">
            <a:extLst>
              <a:ext uri="{FF2B5EF4-FFF2-40B4-BE49-F238E27FC236}">
                <a16:creationId xmlns:a16="http://schemas.microsoft.com/office/drawing/2014/main" id="{36034C35-1CBE-46E5-9904-EDC510CB644A}"/>
              </a:ext>
            </a:extLst>
          </p:cNvPr>
          <p:cNvSpPr>
            <a:spLocks noGrp="1" noChangeAspect="1"/>
          </p:cNvSpPr>
          <p:nvPr>
            <p:ph type="pic" sz="quarter" idx="64"/>
          </p:nvPr>
        </p:nvSpPr>
        <p:spPr>
          <a:xfrm>
            <a:off x="5880703" y="4974989"/>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56" name="Picture Placeholder 75">
            <a:extLst>
              <a:ext uri="{FF2B5EF4-FFF2-40B4-BE49-F238E27FC236}">
                <a16:creationId xmlns:a16="http://schemas.microsoft.com/office/drawing/2014/main" id="{507BEDBC-9F75-40C5-8467-AA2A8746E709}"/>
              </a:ext>
            </a:extLst>
          </p:cNvPr>
          <p:cNvSpPr>
            <a:spLocks noGrp="1" noChangeAspect="1"/>
          </p:cNvSpPr>
          <p:nvPr>
            <p:ph type="pic" sz="quarter" idx="65"/>
          </p:nvPr>
        </p:nvSpPr>
        <p:spPr>
          <a:xfrm>
            <a:off x="3646752" y="6234445"/>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59" name="Picture Placeholder 75">
            <a:extLst>
              <a:ext uri="{FF2B5EF4-FFF2-40B4-BE49-F238E27FC236}">
                <a16:creationId xmlns:a16="http://schemas.microsoft.com/office/drawing/2014/main" id="{AECDF11A-996B-4276-B504-5061846D8626}"/>
              </a:ext>
            </a:extLst>
          </p:cNvPr>
          <p:cNvSpPr>
            <a:spLocks noGrp="1" noChangeAspect="1"/>
          </p:cNvSpPr>
          <p:nvPr>
            <p:ph type="pic" sz="quarter" idx="68"/>
          </p:nvPr>
        </p:nvSpPr>
        <p:spPr>
          <a:xfrm>
            <a:off x="10536718" y="4037823"/>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60" name="Picture Placeholder 75">
            <a:extLst>
              <a:ext uri="{FF2B5EF4-FFF2-40B4-BE49-F238E27FC236}">
                <a16:creationId xmlns:a16="http://schemas.microsoft.com/office/drawing/2014/main" id="{18FFBB60-78C0-41D6-B988-AE90BC50278F}"/>
              </a:ext>
            </a:extLst>
          </p:cNvPr>
          <p:cNvSpPr>
            <a:spLocks noGrp="1" noChangeAspect="1"/>
          </p:cNvSpPr>
          <p:nvPr>
            <p:ph type="pic" sz="quarter" idx="69"/>
          </p:nvPr>
        </p:nvSpPr>
        <p:spPr>
          <a:xfrm>
            <a:off x="8302767" y="5297280"/>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61" name="Picture Placeholder 75">
            <a:extLst>
              <a:ext uri="{FF2B5EF4-FFF2-40B4-BE49-F238E27FC236}">
                <a16:creationId xmlns:a16="http://schemas.microsoft.com/office/drawing/2014/main" id="{157843DF-2840-468E-B1B3-C729FF5281C6}"/>
              </a:ext>
            </a:extLst>
          </p:cNvPr>
          <p:cNvSpPr>
            <a:spLocks noGrp="1" noChangeAspect="1"/>
          </p:cNvSpPr>
          <p:nvPr>
            <p:ph type="pic" sz="quarter" idx="70"/>
          </p:nvPr>
        </p:nvSpPr>
        <p:spPr>
          <a:xfrm>
            <a:off x="6068817" y="6556737"/>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65" name="Picture Placeholder 75">
            <a:extLst>
              <a:ext uri="{FF2B5EF4-FFF2-40B4-BE49-F238E27FC236}">
                <a16:creationId xmlns:a16="http://schemas.microsoft.com/office/drawing/2014/main" id="{8DF2D5D1-AC63-4DDD-BF20-41ACF22FCE4B}"/>
              </a:ext>
            </a:extLst>
          </p:cNvPr>
          <p:cNvSpPr>
            <a:spLocks noGrp="1" noChangeAspect="1"/>
          </p:cNvSpPr>
          <p:nvPr>
            <p:ph type="pic" sz="quarter" idx="74"/>
          </p:nvPr>
        </p:nvSpPr>
        <p:spPr>
          <a:xfrm>
            <a:off x="11051634" y="5464020"/>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66" name="Picture Placeholder 75">
            <a:extLst>
              <a:ext uri="{FF2B5EF4-FFF2-40B4-BE49-F238E27FC236}">
                <a16:creationId xmlns:a16="http://schemas.microsoft.com/office/drawing/2014/main" id="{3932DA6D-A9C7-4444-87EB-1B1FFD57213B}"/>
              </a:ext>
            </a:extLst>
          </p:cNvPr>
          <p:cNvSpPr>
            <a:spLocks noGrp="1" noChangeAspect="1"/>
          </p:cNvSpPr>
          <p:nvPr>
            <p:ph type="pic" sz="quarter" idx="75"/>
          </p:nvPr>
        </p:nvSpPr>
        <p:spPr>
          <a:xfrm>
            <a:off x="8817684" y="6723477"/>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Tree>
    <p:extLst>
      <p:ext uri="{BB962C8B-B14F-4D97-AF65-F5344CB8AC3E}">
        <p14:creationId xmlns:p14="http://schemas.microsoft.com/office/powerpoint/2010/main" val="3881031858"/>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6" dur="3000" decel="100000" fill="hold" grpId="0" nodeType="withEffect">
                                  <p:stCondLst>
                                    <p:cond delay="0"/>
                                  </p:stCondLst>
                                  <p:childTnLst>
                                    <p:set>
                                      <p:cBhvr>
                                        <p:cTn id="6" dur="1" fill="hold">
                                          <p:stCondLst>
                                            <p:cond delay="0"/>
                                          </p:stCondLst>
                                        </p:cTn>
                                        <p:tgtEl>
                                          <p:spTgt spid="48"/>
                                        </p:tgtEl>
                                        <p:attrNameLst>
                                          <p:attrName>style.visibility</p:attrName>
                                        </p:attrNameLst>
                                      </p:cBhvr>
                                      <p:to>
                                        <p:strVal val="visible"/>
                                      </p:to>
                                    </p:set>
                                    <p:anim calcmode="lin" valueType="num">
                                      <p:cBhvr additive="base">
                                        <p:cTn id="7" dur="3000" fill="hold"/>
                                        <p:tgtEl>
                                          <p:spTgt spid="48"/>
                                        </p:tgtEl>
                                        <p:attrNameLst>
                                          <p:attrName>ppt_x</p:attrName>
                                        </p:attrNameLst>
                                      </p:cBhvr>
                                      <p:tavLst>
                                        <p:tav tm="0">
                                          <p:val>
                                            <p:strVal val="1+#ppt_w/2"/>
                                          </p:val>
                                        </p:tav>
                                        <p:tav tm="100000">
                                          <p:val>
                                            <p:strVal val="#ppt_x"/>
                                          </p:val>
                                        </p:tav>
                                      </p:tavLst>
                                    </p:anim>
                                    <p:anim calcmode="lin" valueType="num">
                                      <p:cBhvr additive="base">
                                        <p:cTn id="8" dur="3000" fill="hold"/>
                                        <p:tgtEl>
                                          <p:spTgt spid="48"/>
                                        </p:tgtEl>
                                        <p:attrNameLst>
                                          <p:attrName>ppt_y</p:attrName>
                                        </p:attrNameLst>
                                      </p:cBhvr>
                                      <p:tavLst>
                                        <p:tav tm="0">
                                          <p:val>
                                            <p:strVal val="1+#ppt_h/2"/>
                                          </p:val>
                                        </p:tav>
                                        <p:tav tm="100000">
                                          <p:val>
                                            <p:strVal val="#ppt_y"/>
                                          </p:val>
                                        </p:tav>
                                      </p:tavLst>
                                    </p:anim>
                                  </p:childTnLst>
                                </p:cTn>
                              </p:par>
                              <p:par>
                                <p:cTn id="9" presetID="2" presetClass="entr" presetSubtype="6" dur="3000" decel="100000" fill="hold" grpId="0" nodeType="withEffect">
                                  <p:stCondLst>
                                    <p:cond delay="0"/>
                                  </p:stCondLst>
                                  <p:childTnLst>
                                    <p:set>
                                      <p:cBhvr>
                                        <p:cTn id="10" dur="1" fill="hold">
                                          <p:stCondLst>
                                            <p:cond delay="0"/>
                                          </p:stCondLst>
                                        </p:cTn>
                                        <p:tgtEl>
                                          <p:spTgt spid="49"/>
                                        </p:tgtEl>
                                        <p:attrNameLst>
                                          <p:attrName>style.visibility</p:attrName>
                                        </p:attrNameLst>
                                      </p:cBhvr>
                                      <p:to>
                                        <p:strVal val="visible"/>
                                      </p:to>
                                    </p:set>
                                    <p:anim calcmode="lin" valueType="num">
                                      <p:cBhvr additive="base">
                                        <p:cTn id="11" dur="3000" fill="hold"/>
                                        <p:tgtEl>
                                          <p:spTgt spid="49"/>
                                        </p:tgtEl>
                                        <p:attrNameLst>
                                          <p:attrName>ppt_x</p:attrName>
                                        </p:attrNameLst>
                                      </p:cBhvr>
                                      <p:tavLst>
                                        <p:tav tm="0">
                                          <p:val>
                                            <p:strVal val="1+#ppt_w/2"/>
                                          </p:val>
                                        </p:tav>
                                        <p:tav tm="100000">
                                          <p:val>
                                            <p:strVal val="#ppt_x"/>
                                          </p:val>
                                        </p:tav>
                                      </p:tavLst>
                                    </p:anim>
                                    <p:anim calcmode="lin" valueType="num">
                                      <p:cBhvr additive="base">
                                        <p:cTn id="12" dur="3000" fill="hold"/>
                                        <p:tgtEl>
                                          <p:spTgt spid="49"/>
                                        </p:tgtEl>
                                        <p:attrNameLst>
                                          <p:attrName>ppt_y</p:attrName>
                                        </p:attrNameLst>
                                      </p:cBhvr>
                                      <p:tavLst>
                                        <p:tav tm="0">
                                          <p:val>
                                            <p:strVal val="1+#ppt_h/2"/>
                                          </p:val>
                                        </p:tav>
                                        <p:tav tm="100000">
                                          <p:val>
                                            <p:strVal val="#ppt_y"/>
                                          </p:val>
                                        </p:tav>
                                      </p:tavLst>
                                    </p:anim>
                                  </p:childTnLst>
                                </p:cTn>
                              </p:par>
                              <p:par>
                                <p:cTn id="13" presetID="2" presetClass="entr" presetSubtype="6" dur="3000" decel="100000" fill="hold" grpId="0" nodeType="withEffect">
                                  <p:stCondLst>
                                    <p:cond delay="0"/>
                                  </p:stCondLst>
                                  <p:childTnLst>
                                    <p:set>
                                      <p:cBhvr>
                                        <p:cTn id="14" dur="1" fill="hold">
                                          <p:stCondLst>
                                            <p:cond delay="0"/>
                                          </p:stCondLst>
                                        </p:cTn>
                                        <p:tgtEl>
                                          <p:spTgt spid="43"/>
                                        </p:tgtEl>
                                        <p:attrNameLst>
                                          <p:attrName>style.visibility</p:attrName>
                                        </p:attrNameLst>
                                      </p:cBhvr>
                                      <p:to>
                                        <p:strVal val="visible"/>
                                      </p:to>
                                    </p:set>
                                    <p:anim calcmode="lin" valueType="num">
                                      <p:cBhvr additive="base">
                                        <p:cTn id="15" dur="3000" fill="hold"/>
                                        <p:tgtEl>
                                          <p:spTgt spid="43"/>
                                        </p:tgtEl>
                                        <p:attrNameLst>
                                          <p:attrName>ppt_x</p:attrName>
                                        </p:attrNameLst>
                                      </p:cBhvr>
                                      <p:tavLst>
                                        <p:tav tm="0">
                                          <p:val>
                                            <p:strVal val="1+#ppt_w/2"/>
                                          </p:val>
                                        </p:tav>
                                        <p:tav tm="100000">
                                          <p:val>
                                            <p:strVal val="#ppt_x"/>
                                          </p:val>
                                        </p:tav>
                                      </p:tavLst>
                                    </p:anim>
                                    <p:anim calcmode="lin" valueType="num">
                                      <p:cBhvr additive="base">
                                        <p:cTn id="16" dur="3000" fill="hold"/>
                                        <p:tgtEl>
                                          <p:spTgt spid="43"/>
                                        </p:tgtEl>
                                        <p:attrNameLst>
                                          <p:attrName>ppt_y</p:attrName>
                                        </p:attrNameLst>
                                      </p:cBhvr>
                                      <p:tavLst>
                                        <p:tav tm="0">
                                          <p:val>
                                            <p:strVal val="1+#ppt_h/2"/>
                                          </p:val>
                                        </p:tav>
                                        <p:tav tm="100000">
                                          <p:val>
                                            <p:strVal val="#ppt_y"/>
                                          </p:val>
                                        </p:tav>
                                      </p:tavLst>
                                    </p:anim>
                                  </p:childTnLst>
                                </p:cTn>
                              </p:par>
                              <p:par>
                                <p:cTn id="17" presetID="2" presetClass="entr" presetSubtype="6" dur="3000" decel="100000" fill="hold" grpId="0" nodeType="withEffect">
                                  <p:stCondLst>
                                    <p:cond delay="0"/>
                                  </p:stCondLst>
                                  <p:childTnLst>
                                    <p:set>
                                      <p:cBhvr>
                                        <p:cTn id="18" dur="1" fill="hold">
                                          <p:stCondLst>
                                            <p:cond delay="0"/>
                                          </p:stCondLst>
                                        </p:cTn>
                                        <p:tgtEl>
                                          <p:spTgt spid="42"/>
                                        </p:tgtEl>
                                        <p:attrNameLst>
                                          <p:attrName>style.visibility</p:attrName>
                                        </p:attrNameLst>
                                      </p:cBhvr>
                                      <p:to>
                                        <p:strVal val="visible"/>
                                      </p:to>
                                    </p:set>
                                    <p:anim calcmode="lin" valueType="num">
                                      <p:cBhvr additive="base">
                                        <p:cTn id="19" dur="3000" fill="hold"/>
                                        <p:tgtEl>
                                          <p:spTgt spid="42"/>
                                        </p:tgtEl>
                                        <p:attrNameLst>
                                          <p:attrName>ppt_x</p:attrName>
                                        </p:attrNameLst>
                                      </p:cBhvr>
                                      <p:tavLst>
                                        <p:tav tm="0">
                                          <p:val>
                                            <p:strVal val="1+#ppt_w/2"/>
                                          </p:val>
                                        </p:tav>
                                        <p:tav tm="100000">
                                          <p:val>
                                            <p:strVal val="#ppt_x"/>
                                          </p:val>
                                        </p:tav>
                                      </p:tavLst>
                                    </p:anim>
                                    <p:anim calcmode="lin" valueType="num">
                                      <p:cBhvr additive="base">
                                        <p:cTn id="20" dur="3000" fill="hold"/>
                                        <p:tgtEl>
                                          <p:spTgt spid="42"/>
                                        </p:tgtEl>
                                        <p:attrNameLst>
                                          <p:attrName>ppt_y</p:attrName>
                                        </p:attrNameLst>
                                      </p:cBhvr>
                                      <p:tavLst>
                                        <p:tav tm="0">
                                          <p:val>
                                            <p:strVal val="1+#ppt_h/2"/>
                                          </p:val>
                                        </p:tav>
                                        <p:tav tm="100000">
                                          <p:val>
                                            <p:strVal val="#ppt_y"/>
                                          </p:val>
                                        </p:tav>
                                      </p:tavLst>
                                    </p:anim>
                                  </p:childTnLst>
                                </p:cTn>
                              </p:par>
                              <p:par>
                                <p:cTn id="21" presetID="2" presetClass="entr" presetSubtype="6" dur="3000" decel="100000" fill="hold" grpId="0" nodeType="withEffect">
                                  <p:stCondLst>
                                    <p:cond delay="0"/>
                                  </p:stCondLst>
                                  <p:childTnLst>
                                    <p:set>
                                      <p:cBhvr>
                                        <p:cTn id="22" dur="1" fill="hold">
                                          <p:stCondLst>
                                            <p:cond delay="0"/>
                                          </p:stCondLst>
                                        </p:cTn>
                                        <p:tgtEl>
                                          <p:spTgt spid="41"/>
                                        </p:tgtEl>
                                        <p:attrNameLst>
                                          <p:attrName>style.visibility</p:attrName>
                                        </p:attrNameLst>
                                      </p:cBhvr>
                                      <p:to>
                                        <p:strVal val="visible"/>
                                      </p:to>
                                    </p:set>
                                    <p:anim calcmode="lin" valueType="num">
                                      <p:cBhvr additive="base">
                                        <p:cTn id="23" dur="3000" fill="hold"/>
                                        <p:tgtEl>
                                          <p:spTgt spid="41"/>
                                        </p:tgtEl>
                                        <p:attrNameLst>
                                          <p:attrName>ppt_x</p:attrName>
                                        </p:attrNameLst>
                                      </p:cBhvr>
                                      <p:tavLst>
                                        <p:tav tm="0">
                                          <p:val>
                                            <p:strVal val="1+#ppt_w/2"/>
                                          </p:val>
                                        </p:tav>
                                        <p:tav tm="100000">
                                          <p:val>
                                            <p:strVal val="#ppt_x"/>
                                          </p:val>
                                        </p:tav>
                                      </p:tavLst>
                                    </p:anim>
                                    <p:anim calcmode="lin" valueType="num">
                                      <p:cBhvr additive="base">
                                        <p:cTn id="24" dur="3000" fill="hold"/>
                                        <p:tgtEl>
                                          <p:spTgt spid="41"/>
                                        </p:tgtEl>
                                        <p:attrNameLst>
                                          <p:attrName>ppt_y</p:attrName>
                                        </p:attrNameLst>
                                      </p:cBhvr>
                                      <p:tavLst>
                                        <p:tav tm="0">
                                          <p:val>
                                            <p:strVal val="1+#ppt_h/2"/>
                                          </p:val>
                                        </p:tav>
                                        <p:tav tm="100000">
                                          <p:val>
                                            <p:strVal val="#ppt_y"/>
                                          </p:val>
                                        </p:tav>
                                      </p:tavLst>
                                    </p:anim>
                                  </p:childTnLst>
                                </p:cTn>
                              </p:par>
                              <p:par>
                                <p:cTn id="25" presetID="2" presetClass="entr" presetSubtype="6" dur="3000" decel="100000" fill="hold" grpId="0" nodeType="withEffect">
                                  <p:stCondLst>
                                    <p:cond delay="0"/>
                                  </p:stCondLst>
                                  <p:childTnLst>
                                    <p:set>
                                      <p:cBhvr>
                                        <p:cTn id="26" dur="1" fill="hold">
                                          <p:stCondLst>
                                            <p:cond delay="0"/>
                                          </p:stCondLst>
                                        </p:cTn>
                                        <p:tgtEl>
                                          <p:spTgt spid="31"/>
                                        </p:tgtEl>
                                        <p:attrNameLst>
                                          <p:attrName>style.visibility</p:attrName>
                                        </p:attrNameLst>
                                      </p:cBhvr>
                                      <p:to>
                                        <p:strVal val="visible"/>
                                      </p:to>
                                    </p:set>
                                    <p:anim calcmode="lin" valueType="num">
                                      <p:cBhvr additive="base">
                                        <p:cTn id="27" dur="3000" fill="hold"/>
                                        <p:tgtEl>
                                          <p:spTgt spid="31"/>
                                        </p:tgtEl>
                                        <p:attrNameLst>
                                          <p:attrName>ppt_x</p:attrName>
                                        </p:attrNameLst>
                                      </p:cBhvr>
                                      <p:tavLst>
                                        <p:tav tm="0">
                                          <p:val>
                                            <p:strVal val="1+#ppt_w/2"/>
                                          </p:val>
                                        </p:tav>
                                        <p:tav tm="100000">
                                          <p:val>
                                            <p:strVal val="#ppt_x"/>
                                          </p:val>
                                        </p:tav>
                                      </p:tavLst>
                                    </p:anim>
                                    <p:anim calcmode="lin" valueType="num">
                                      <p:cBhvr additive="base">
                                        <p:cTn id="28" dur="3000" fill="hold"/>
                                        <p:tgtEl>
                                          <p:spTgt spid="31"/>
                                        </p:tgtEl>
                                        <p:attrNameLst>
                                          <p:attrName>ppt_y</p:attrName>
                                        </p:attrNameLst>
                                      </p:cBhvr>
                                      <p:tavLst>
                                        <p:tav tm="0">
                                          <p:val>
                                            <p:strVal val="1+#ppt_h/2"/>
                                          </p:val>
                                        </p:tav>
                                        <p:tav tm="100000">
                                          <p:val>
                                            <p:strVal val="#ppt_y"/>
                                          </p:val>
                                        </p:tav>
                                      </p:tavLst>
                                    </p:anim>
                                  </p:childTnLst>
                                </p:cTn>
                              </p:par>
                              <p:par>
                                <p:cTn id="29" presetID="2" presetClass="entr" presetSubtype="6" dur="3000" decel="100000" fill="hold" grpId="0" nodeType="withEffect">
                                  <p:stCondLst>
                                    <p:cond delay="0"/>
                                  </p:stCondLst>
                                  <p:childTnLst>
                                    <p:set>
                                      <p:cBhvr>
                                        <p:cTn id="30" dur="1" fill="hold">
                                          <p:stCondLst>
                                            <p:cond delay="0"/>
                                          </p:stCondLst>
                                        </p:cTn>
                                        <p:tgtEl>
                                          <p:spTgt spid="30"/>
                                        </p:tgtEl>
                                        <p:attrNameLst>
                                          <p:attrName>style.visibility</p:attrName>
                                        </p:attrNameLst>
                                      </p:cBhvr>
                                      <p:to>
                                        <p:strVal val="visible"/>
                                      </p:to>
                                    </p:set>
                                    <p:anim calcmode="lin" valueType="num">
                                      <p:cBhvr additive="base">
                                        <p:cTn id="31" dur="3000" fill="hold"/>
                                        <p:tgtEl>
                                          <p:spTgt spid="30"/>
                                        </p:tgtEl>
                                        <p:attrNameLst>
                                          <p:attrName>ppt_x</p:attrName>
                                        </p:attrNameLst>
                                      </p:cBhvr>
                                      <p:tavLst>
                                        <p:tav tm="0">
                                          <p:val>
                                            <p:strVal val="1+#ppt_w/2"/>
                                          </p:val>
                                        </p:tav>
                                        <p:tav tm="100000">
                                          <p:val>
                                            <p:strVal val="#ppt_x"/>
                                          </p:val>
                                        </p:tav>
                                      </p:tavLst>
                                    </p:anim>
                                    <p:anim calcmode="lin" valueType="num">
                                      <p:cBhvr additive="base">
                                        <p:cTn id="32" dur="3000" fill="hold"/>
                                        <p:tgtEl>
                                          <p:spTgt spid="30"/>
                                        </p:tgtEl>
                                        <p:attrNameLst>
                                          <p:attrName>ppt_y</p:attrName>
                                        </p:attrNameLst>
                                      </p:cBhvr>
                                      <p:tavLst>
                                        <p:tav tm="0">
                                          <p:val>
                                            <p:strVal val="1+#ppt_h/2"/>
                                          </p:val>
                                        </p:tav>
                                        <p:tav tm="100000">
                                          <p:val>
                                            <p:strVal val="#ppt_y"/>
                                          </p:val>
                                        </p:tav>
                                      </p:tavLst>
                                    </p:anim>
                                  </p:childTnLst>
                                </p:cTn>
                              </p:par>
                              <p:par>
                                <p:cTn id="33" presetID="2" presetClass="entr" presetSubtype="6" dur="3000" decel="100000" fill="hold" grpId="0" nodeType="withEffect">
                                  <p:stCondLst>
                                    <p:cond delay="0"/>
                                  </p:stCondLst>
                                  <p:childTnLst>
                                    <p:set>
                                      <p:cBhvr>
                                        <p:cTn id="34" dur="1" fill="hold">
                                          <p:stCondLst>
                                            <p:cond delay="0"/>
                                          </p:stCondLst>
                                        </p:cTn>
                                        <p:tgtEl>
                                          <p:spTgt spid="29"/>
                                        </p:tgtEl>
                                        <p:attrNameLst>
                                          <p:attrName>style.visibility</p:attrName>
                                        </p:attrNameLst>
                                      </p:cBhvr>
                                      <p:to>
                                        <p:strVal val="visible"/>
                                      </p:to>
                                    </p:set>
                                    <p:anim calcmode="lin" valueType="num">
                                      <p:cBhvr additive="base">
                                        <p:cTn id="35" dur="3000" fill="hold"/>
                                        <p:tgtEl>
                                          <p:spTgt spid="29"/>
                                        </p:tgtEl>
                                        <p:attrNameLst>
                                          <p:attrName>ppt_x</p:attrName>
                                        </p:attrNameLst>
                                      </p:cBhvr>
                                      <p:tavLst>
                                        <p:tav tm="0">
                                          <p:val>
                                            <p:strVal val="1+#ppt_w/2"/>
                                          </p:val>
                                        </p:tav>
                                        <p:tav tm="100000">
                                          <p:val>
                                            <p:strVal val="#ppt_x"/>
                                          </p:val>
                                        </p:tav>
                                      </p:tavLst>
                                    </p:anim>
                                    <p:anim calcmode="lin" valueType="num">
                                      <p:cBhvr additive="base">
                                        <p:cTn id="36" dur="3000" fill="hold"/>
                                        <p:tgtEl>
                                          <p:spTgt spid="29"/>
                                        </p:tgtEl>
                                        <p:attrNameLst>
                                          <p:attrName>ppt_y</p:attrName>
                                        </p:attrNameLst>
                                      </p:cBhvr>
                                      <p:tavLst>
                                        <p:tav tm="0">
                                          <p:val>
                                            <p:strVal val="1+#ppt_h/2"/>
                                          </p:val>
                                        </p:tav>
                                        <p:tav tm="100000">
                                          <p:val>
                                            <p:strVal val="#ppt_y"/>
                                          </p:val>
                                        </p:tav>
                                      </p:tavLst>
                                    </p:anim>
                                  </p:childTnLst>
                                </p:cTn>
                              </p:par>
                              <p:par>
                                <p:cTn id="37" presetID="2" presetClass="entr" presetSubtype="6" dur="3000" decel="100000" fill="hold" grpId="0" nodeType="withEffect">
                                  <p:stCondLst>
                                    <p:cond delay="0"/>
                                  </p:stCondLst>
                                  <p:childTnLst>
                                    <p:set>
                                      <p:cBhvr>
                                        <p:cTn id="38" dur="1" fill="hold">
                                          <p:stCondLst>
                                            <p:cond delay="0"/>
                                          </p:stCondLst>
                                        </p:cTn>
                                        <p:tgtEl>
                                          <p:spTgt spid="28"/>
                                        </p:tgtEl>
                                        <p:attrNameLst>
                                          <p:attrName>style.visibility</p:attrName>
                                        </p:attrNameLst>
                                      </p:cBhvr>
                                      <p:to>
                                        <p:strVal val="visible"/>
                                      </p:to>
                                    </p:set>
                                    <p:anim calcmode="lin" valueType="num">
                                      <p:cBhvr additive="base">
                                        <p:cTn id="39" dur="3000" fill="hold"/>
                                        <p:tgtEl>
                                          <p:spTgt spid="28"/>
                                        </p:tgtEl>
                                        <p:attrNameLst>
                                          <p:attrName>ppt_x</p:attrName>
                                        </p:attrNameLst>
                                      </p:cBhvr>
                                      <p:tavLst>
                                        <p:tav tm="0">
                                          <p:val>
                                            <p:strVal val="1+#ppt_w/2"/>
                                          </p:val>
                                        </p:tav>
                                        <p:tav tm="100000">
                                          <p:val>
                                            <p:strVal val="#ppt_x"/>
                                          </p:val>
                                        </p:tav>
                                      </p:tavLst>
                                    </p:anim>
                                    <p:anim calcmode="lin" valueType="num">
                                      <p:cBhvr additive="base">
                                        <p:cTn id="40" dur="3000" fill="hold"/>
                                        <p:tgtEl>
                                          <p:spTgt spid="28"/>
                                        </p:tgtEl>
                                        <p:attrNameLst>
                                          <p:attrName>ppt_y</p:attrName>
                                        </p:attrNameLst>
                                      </p:cBhvr>
                                      <p:tavLst>
                                        <p:tav tm="0">
                                          <p:val>
                                            <p:strVal val="1+#ppt_h/2"/>
                                          </p:val>
                                        </p:tav>
                                        <p:tav tm="100000">
                                          <p:val>
                                            <p:strVal val="#ppt_y"/>
                                          </p:val>
                                        </p:tav>
                                      </p:tavLst>
                                    </p:anim>
                                  </p:childTnLst>
                                </p:cTn>
                              </p:par>
                              <p:par>
                                <p:cTn id="41" presetID="2" presetClass="entr" presetSubtype="6" dur="3000" decel="100000" fill="hold" grpId="0" nodeType="withEffect">
                                  <p:stCondLst>
                                    <p:cond delay="0"/>
                                  </p:stCondLst>
                                  <p:childTnLst>
                                    <p:set>
                                      <p:cBhvr>
                                        <p:cTn id="42" dur="1" fill="hold">
                                          <p:stCondLst>
                                            <p:cond delay="0"/>
                                          </p:stCondLst>
                                        </p:cTn>
                                        <p:tgtEl>
                                          <p:spTgt spid="20"/>
                                        </p:tgtEl>
                                        <p:attrNameLst>
                                          <p:attrName>style.visibility</p:attrName>
                                        </p:attrNameLst>
                                      </p:cBhvr>
                                      <p:to>
                                        <p:strVal val="visible"/>
                                      </p:to>
                                    </p:set>
                                    <p:anim calcmode="lin" valueType="num">
                                      <p:cBhvr additive="base">
                                        <p:cTn id="43" dur="3000" fill="hold"/>
                                        <p:tgtEl>
                                          <p:spTgt spid="20"/>
                                        </p:tgtEl>
                                        <p:attrNameLst>
                                          <p:attrName>ppt_x</p:attrName>
                                        </p:attrNameLst>
                                      </p:cBhvr>
                                      <p:tavLst>
                                        <p:tav tm="0">
                                          <p:val>
                                            <p:strVal val="1+#ppt_w/2"/>
                                          </p:val>
                                        </p:tav>
                                        <p:tav tm="100000">
                                          <p:val>
                                            <p:strVal val="#ppt_x"/>
                                          </p:val>
                                        </p:tav>
                                      </p:tavLst>
                                    </p:anim>
                                    <p:anim calcmode="lin" valueType="num">
                                      <p:cBhvr additive="base">
                                        <p:cTn id="44" dur="3000" fill="hold"/>
                                        <p:tgtEl>
                                          <p:spTgt spid="20"/>
                                        </p:tgtEl>
                                        <p:attrNameLst>
                                          <p:attrName>ppt_y</p:attrName>
                                        </p:attrNameLst>
                                      </p:cBhvr>
                                      <p:tavLst>
                                        <p:tav tm="0">
                                          <p:val>
                                            <p:strVal val="1+#ppt_h/2"/>
                                          </p:val>
                                        </p:tav>
                                        <p:tav tm="100000">
                                          <p:val>
                                            <p:strVal val="#ppt_y"/>
                                          </p:val>
                                        </p:tav>
                                      </p:tavLst>
                                    </p:anim>
                                  </p:childTnLst>
                                </p:cTn>
                              </p:par>
                              <p:par>
                                <p:cTn id="45" presetID="2" presetClass="entr" presetSubtype="6" dur="3000" decel="100000" fill="hold" grpId="0" nodeType="withEffect">
                                  <p:stCondLst>
                                    <p:cond delay="0"/>
                                  </p:stCondLst>
                                  <p:childTnLst>
                                    <p:set>
                                      <p:cBhvr>
                                        <p:cTn id="46" dur="1" fill="hold">
                                          <p:stCondLst>
                                            <p:cond delay="0"/>
                                          </p:stCondLst>
                                        </p:cTn>
                                        <p:tgtEl>
                                          <p:spTgt spid="19"/>
                                        </p:tgtEl>
                                        <p:attrNameLst>
                                          <p:attrName>style.visibility</p:attrName>
                                        </p:attrNameLst>
                                      </p:cBhvr>
                                      <p:to>
                                        <p:strVal val="visible"/>
                                      </p:to>
                                    </p:set>
                                    <p:anim calcmode="lin" valueType="num">
                                      <p:cBhvr additive="base">
                                        <p:cTn id="47" dur="3000" fill="hold"/>
                                        <p:tgtEl>
                                          <p:spTgt spid="19"/>
                                        </p:tgtEl>
                                        <p:attrNameLst>
                                          <p:attrName>ppt_x</p:attrName>
                                        </p:attrNameLst>
                                      </p:cBhvr>
                                      <p:tavLst>
                                        <p:tav tm="0">
                                          <p:val>
                                            <p:strVal val="1+#ppt_w/2"/>
                                          </p:val>
                                        </p:tav>
                                        <p:tav tm="100000">
                                          <p:val>
                                            <p:strVal val="#ppt_x"/>
                                          </p:val>
                                        </p:tav>
                                      </p:tavLst>
                                    </p:anim>
                                    <p:anim calcmode="lin" valueType="num">
                                      <p:cBhvr additive="base">
                                        <p:cTn id="48" dur="3000" fill="hold"/>
                                        <p:tgtEl>
                                          <p:spTgt spid="19"/>
                                        </p:tgtEl>
                                        <p:attrNameLst>
                                          <p:attrName>ppt_y</p:attrName>
                                        </p:attrNameLst>
                                      </p:cBhvr>
                                      <p:tavLst>
                                        <p:tav tm="0">
                                          <p:val>
                                            <p:strVal val="1+#ppt_h/2"/>
                                          </p:val>
                                        </p:tav>
                                        <p:tav tm="100000">
                                          <p:val>
                                            <p:strVal val="#ppt_y"/>
                                          </p:val>
                                        </p:tav>
                                      </p:tavLst>
                                    </p:anim>
                                  </p:childTnLst>
                                </p:cTn>
                              </p:par>
                              <p:par>
                                <p:cTn id="49" presetID="2" presetClass="entr" presetSubtype="6" dur="3000" decel="100000" fill="hold" grpId="0" nodeType="withEffect">
                                  <p:stCondLst>
                                    <p:cond delay="0"/>
                                  </p:stCondLst>
                                  <p:childTnLst>
                                    <p:set>
                                      <p:cBhvr>
                                        <p:cTn id="50" dur="1" fill="hold">
                                          <p:stCondLst>
                                            <p:cond delay="0"/>
                                          </p:stCondLst>
                                        </p:cTn>
                                        <p:tgtEl>
                                          <p:spTgt spid="18"/>
                                        </p:tgtEl>
                                        <p:attrNameLst>
                                          <p:attrName>style.visibility</p:attrName>
                                        </p:attrNameLst>
                                      </p:cBhvr>
                                      <p:to>
                                        <p:strVal val="visible"/>
                                      </p:to>
                                    </p:set>
                                    <p:anim calcmode="lin" valueType="num">
                                      <p:cBhvr additive="base">
                                        <p:cTn id="51" dur="3000" fill="hold"/>
                                        <p:tgtEl>
                                          <p:spTgt spid="18"/>
                                        </p:tgtEl>
                                        <p:attrNameLst>
                                          <p:attrName>ppt_x</p:attrName>
                                        </p:attrNameLst>
                                      </p:cBhvr>
                                      <p:tavLst>
                                        <p:tav tm="0">
                                          <p:val>
                                            <p:strVal val="1+#ppt_w/2"/>
                                          </p:val>
                                        </p:tav>
                                        <p:tav tm="100000">
                                          <p:val>
                                            <p:strVal val="#ppt_x"/>
                                          </p:val>
                                        </p:tav>
                                      </p:tavLst>
                                    </p:anim>
                                    <p:anim calcmode="lin" valueType="num">
                                      <p:cBhvr additive="base">
                                        <p:cTn id="52" dur="3000" fill="hold"/>
                                        <p:tgtEl>
                                          <p:spTgt spid="18"/>
                                        </p:tgtEl>
                                        <p:attrNameLst>
                                          <p:attrName>ppt_y</p:attrName>
                                        </p:attrNameLst>
                                      </p:cBhvr>
                                      <p:tavLst>
                                        <p:tav tm="0">
                                          <p:val>
                                            <p:strVal val="1+#ppt_h/2"/>
                                          </p:val>
                                        </p:tav>
                                        <p:tav tm="100000">
                                          <p:val>
                                            <p:strVal val="#ppt_y"/>
                                          </p:val>
                                        </p:tav>
                                      </p:tavLst>
                                    </p:anim>
                                  </p:childTnLst>
                                </p:cTn>
                              </p:par>
                              <p:par>
                                <p:cTn id="53" presetID="2" presetClass="entr" presetSubtype="6" dur="3000" decel="100000" fill="hold" grpId="0" nodeType="withEffect">
                                  <p:stCondLst>
                                    <p:cond delay="0"/>
                                  </p:stCondLst>
                                  <p:childTnLst>
                                    <p:set>
                                      <p:cBhvr>
                                        <p:cTn id="54" dur="1" fill="hold">
                                          <p:stCondLst>
                                            <p:cond delay="0"/>
                                          </p:stCondLst>
                                        </p:cTn>
                                        <p:tgtEl>
                                          <p:spTgt spid="17"/>
                                        </p:tgtEl>
                                        <p:attrNameLst>
                                          <p:attrName>style.visibility</p:attrName>
                                        </p:attrNameLst>
                                      </p:cBhvr>
                                      <p:to>
                                        <p:strVal val="visible"/>
                                      </p:to>
                                    </p:set>
                                    <p:anim calcmode="lin" valueType="num">
                                      <p:cBhvr additive="base">
                                        <p:cTn id="55" dur="3000" fill="hold"/>
                                        <p:tgtEl>
                                          <p:spTgt spid="17"/>
                                        </p:tgtEl>
                                        <p:attrNameLst>
                                          <p:attrName>ppt_x</p:attrName>
                                        </p:attrNameLst>
                                      </p:cBhvr>
                                      <p:tavLst>
                                        <p:tav tm="0">
                                          <p:val>
                                            <p:strVal val="1+#ppt_w/2"/>
                                          </p:val>
                                        </p:tav>
                                        <p:tav tm="100000">
                                          <p:val>
                                            <p:strVal val="#ppt_x"/>
                                          </p:val>
                                        </p:tav>
                                      </p:tavLst>
                                    </p:anim>
                                    <p:anim calcmode="lin" valueType="num">
                                      <p:cBhvr additive="base">
                                        <p:cTn id="56" dur="3000" fill="hold"/>
                                        <p:tgtEl>
                                          <p:spTgt spid="17"/>
                                        </p:tgtEl>
                                        <p:attrNameLst>
                                          <p:attrName>ppt_y</p:attrName>
                                        </p:attrNameLst>
                                      </p:cBhvr>
                                      <p:tavLst>
                                        <p:tav tm="0">
                                          <p:val>
                                            <p:strVal val="1+#ppt_h/2"/>
                                          </p:val>
                                        </p:tav>
                                        <p:tav tm="100000">
                                          <p:val>
                                            <p:strVal val="#ppt_y"/>
                                          </p:val>
                                        </p:tav>
                                      </p:tavLst>
                                    </p:anim>
                                  </p:childTnLst>
                                </p:cTn>
                              </p:par>
                              <p:par>
                                <p:cTn id="57" presetID="2" presetClass="entr" presetSubtype="6" dur="3000" decel="100000" fill="hold" grpId="0" nodeType="withEffect">
                                  <p:stCondLst>
                                    <p:cond delay="0"/>
                                  </p:stCondLst>
                                  <p:childTnLst>
                                    <p:set>
                                      <p:cBhvr>
                                        <p:cTn id="58" dur="1" fill="hold">
                                          <p:stCondLst>
                                            <p:cond delay="0"/>
                                          </p:stCondLst>
                                        </p:cTn>
                                        <p:tgtEl>
                                          <p:spTgt spid="16"/>
                                        </p:tgtEl>
                                        <p:attrNameLst>
                                          <p:attrName>style.visibility</p:attrName>
                                        </p:attrNameLst>
                                      </p:cBhvr>
                                      <p:to>
                                        <p:strVal val="visible"/>
                                      </p:to>
                                    </p:set>
                                    <p:anim calcmode="lin" valueType="num">
                                      <p:cBhvr additive="base">
                                        <p:cTn id="59" dur="3000" fill="hold"/>
                                        <p:tgtEl>
                                          <p:spTgt spid="16"/>
                                        </p:tgtEl>
                                        <p:attrNameLst>
                                          <p:attrName>ppt_x</p:attrName>
                                        </p:attrNameLst>
                                      </p:cBhvr>
                                      <p:tavLst>
                                        <p:tav tm="0">
                                          <p:val>
                                            <p:strVal val="1+#ppt_w/2"/>
                                          </p:val>
                                        </p:tav>
                                        <p:tav tm="100000">
                                          <p:val>
                                            <p:strVal val="#ppt_x"/>
                                          </p:val>
                                        </p:tav>
                                      </p:tavLst>
                                    </p:anim>
                                    <p:anim calcmode="lin" valueType="num">
                                      <p:cBhvr additive="base">
                                        <p:cTn id="60" dur="3000" fill="hold"/>
                                        <p:tgtEl>
                                          <p:spTgt spid="16"/>
                                        </p:tgtEl>
                                        <p:attrNameLst>
                                          <p:attrName>ppt_y</p:attrName>
                                        </p:attrNameLst>
                                      </p:cBhvr>
                                      <p:tavLst>
                                        <p:tav tm="0">
                                          <p:val>
                                            <p:strVal val="1+#ppt_h/2"/>
                                          </p:val>
                                        </p:tav>
                                        <p:tav tm="100000">
                                          <p:val>
                                            <p:strVal val="#ppt_y"/>
                                          </p:val>
                                        </p:tav>
                                      </p:tavLst>
                                    </p:anim>
                                  </p:childTnLst>
                                </p:cTn>
                              </p:par>
                              <p:par>
                                <p:cTn id="61" presetID="2" presetClass="entr" presetSubtype="6" dur="3000" decel="100000" fill="hold" grpId="0" nodeType="withEffect">
                                  <p:stCondLst>
                                    <p:cond delay="0"/>
                                  </p:stCondLst>
                                  <p:childTnLst>
                                    <p:set>
                                      <p:cBhvr>
                                        <p:cTn id="62" dur="1" fill="hold">
                                          <p:stCondLst>
                                            <p:cond delay="0"/>
                                          </p:stCondLst>
                                        </p:cTn>
                                        <p:tgtEl>
                                          <p:spTgt spid="8"/>
                                        </p:tgtEl>
                                        <p:attrNameLst>
                                          <p:attrName>style.visibility</p:attrName>
                                        </p:attrNameLst>
                                      </p:cBhvr>
                                      <p:to>
                                        <p:strVal val="visible"/>
                                      </p:to>
                                    </p:set>
                                    <p:anim calcmode="lin" valueType="num">
                                      <p:cBhvr additive="base">
                                        <p:cTn id="63" dur="3000" fill="hold"/>
                                        <p:tgtEl>
                                          <p:spTgt spid="8"/>
                                        </p:tgtEl>
                                        <p:attrNameLst>
                                          <p:attrName>ppt_x</p:attrName>
                                        </p:attrNameLst>
                                      </p:cBhvr>
                                      <p:tavLst>
                                        <p:tav tm="0">
                                          <p:val>
                                            <p:strVal val="1+#ppt_w/2"/>
                                          </p:val>
                                        </p:tav>
                                        <p:tav tm="100000">
                                          <p:val>
                                            <p:strVal val="#ppt_x"/>
                                          </p:val>
                                        </p:tav>
                                      </p:tavLst>
                                    </p:anim>
                                    <p:anim calcmode="lin" valueType="num">
                                      <p:cBhvr additive="base">
                                        <p:cTn id="64" dur="3000" fill="hold"/>
                                        <p:tgtEl>
                                          <p:spTgt spid="8"/>
                                        </p:tgtEl>
                                        <p:attrNameLst>
                                          <p:attrName>ppt_y</p:attrName>
                                        </p:attrNameLst>
                                      </p:cBhvr>
                                      <p:tavLst>
                                        <p:tav tm="0">
                                          <p:val>
                                            <p:strVal val="1+#ppt_h/2"/>
                                          </p:val>
                                        </p:tav>
                                        <p:tav tm="100000">
                                          <p:val>
                                            <p:strVal val="#ppt_y"/>
                                          </p:val>
                                        </p:tav>
                                      </p:tavLst>
                                    </p:anim>
                                  </p:childTnLst>
                                </p:cTn>
                              </p:par>
                              <p:par>
                                <p:cTn id="65" presetID="2" presetClass="entr" presetSubtype="6" dur="3000" decel="100000" fill="hold" grpId="0" nodeType="withEffect">
                                  <p:stCondLst>
                                    <p:cond delay="0"/>
                                  </p:stCondLst>
                                  <p:childTnLst>
                                    <p:set>
                                      <p:cBhvr>
                                        <p:cTn id="66" dur="1" fill="hold">
                                          <p:stCondLst>
                                            <p:cond delay="0"/>
                                          </p:stCondLst>
                                        </p:cTn>
                                        <p:tgtEl>
                                          <p:spTgt spid="7"/>
                                        </p:tgtEl>
                                        <p:attrNameLst>
                                          <p:attrName>style.visibility</p:attrName>
                                        </p:attrNameLst>
                                      </p:cBhvr>
                                      <p:to>
                                        <p:strVal val="visible"/>
                                      </p:to>
                                    </p:set>
                                    <p:anim calcmode="lin" valueType="num">
                                      <p:cBhvr additive="base">
                                        <p:cTn id="67" dur="3000" fill="hold"/>
                                        <p:tgtEl>
                                          <p:spTgt spid="7"/>
                                        </p:tgtEl>
                                        <p:attrNameLst>
                                          <p:attrName>ppt_x</p:attrName>
                                        </p:attrNameLst>
                                      </p:cBhvr>
                                      <p:tavLst>
                                        <p:tav tm="0">
                                          <p:val>
                                            <p:strVal val="1+#ppt_w/2"/>
                                          </p:val>
                                        </p:tav>
                                        <p:tav tm="100000">
                                          <p:val>
                                            <p:strVal val="#ppt_x"/>
                                          </p:val>
                                        </p:tav>
                                      </p:tavLst>
                                    </p:anim>
                                    <p:anim calcmode="lin" valueType="num">
                                      <p:cBhvr additive="base">
                                        <p:cTn id="68" dur="3000" fill="hold"/>
                                        <p:tgtEl>
                                          <p:spTgt spid="7"/>
                                        </p:tgtEl>
                                        <p:attrNameLst>
                                          <p:attrName>ppt_y</p:attrName>
                                        </p:attrNameLst>
                                      </p:cBhvr>
                                      <p:tavLst>
                                        <p:tav tm="0">
                                          <p:val>
                                            <p:strVal val="1+#ppt_h/2"/>
                                          </p:val>
                                        </p:tav>
                                        <p:tav tm="100000">
                                          <p:val>
                                            <p:strVal val="#ppt_y"/>
                                          </p:val>
                                        </p:tav>
                                      </p:tavLst>
                                    </p:anim>
                                  </p:childTnLst>
                                </p:cTn>
                              </p:par>
                              <p:par>
                                <p:cTn id="69" presetID="2" presetClass="entr" presetSubtype="6" dur="3000" decel="100000" fill="hold" grpId="0" nodeType="withEffect">
                                  <p:stCondLst>
                                    <p:cond delay="0"/>
                                  </p:stCondLst>
                                  <p:childTnLst>
                                    <p:set>
                                      <p:cBhvr>
                                        <p:cTn id="70" dur="1" fill="hold">
                                          <p:stCondLst>
                                            <p:cond delay="0"/>
                                          </p:stCondLst>
                                        </p:cTn>
                                        <p:tgtEl>
                                          <p:spTgt spid="6"/>
                                        </p:tgtEl>
                                        <p:attrNameLst>
                                          <p:attrName>style.visibility</p:attrName>
                                        </p:attrNameLst>
                                      </p:cBhvr>
                                      <p:to>
                                        <p:strVal val="visible"/>
                                      </p:to>
                                    </p:set>
                                    <p:anim calcmode="lin" valueType="num">
                                      <p:cBhvr additive="base">
                                        <p:cTn id="71" dur="3000" fill="hold"/>
                                        <p:tgtEl>
                                          <p:spTgt spid="6"/>
                                        </p:tgtEl>
                                        <p:attrNameLst>
                                          <p:attrName>ppt_x</p:attrName>
                                        </p:attrNameLst>
                                      </p:cBhvr>
                                      <p:tavLst>
                                        <p:tav tm="0">
                                          <p:val>
                                            <p:strVal val="1+#ppt_w/2"/>
                                          </p:val>
                                        </p:tav>
                                        <p:tav tm="100000">
                                          <p:val>
                                            <p:strVal val="#ppt_x"/>
                                          </p:val>
                                        </p:tav>
                                      </p:tavLst>
                                    </p:anim>
                                    <p:anim calcmode="lin" valueType="num">
                                      <p:cBhvr additive="base">
                                        <p:cTn id="72" dur="3000" fill="hold"/>
                                        <p:tgtEl>
                                          <p:spTgt spid="6"/>
                                        </p:tgtEl>
                                        <p:attrNameLst>
                                          <p:attrName>ppt_y</p:attrName>
                                        </p:attrNameLst>
                                      </p:cBhvr>
                                      <p:tavLst>
                                        <p:tav tm="0">
                                          <p:val>
                                            <p:strVal val="1+#ppt_h/2"/>
                                          </p:val>
                                        </p:tav>
                                        <p:tav tm="100000">
                                          <p:val>
                                            <p:strVal val="#ppt_y"/>
                                          </p:val>
                                        </p:tav>
                                      </p:tavLst>
                                    </p:anim>
                                  </p:childTnLst>
                                </p:cTn>
                              </p:par>
                              <p:par>
                                <p:cTn id="73" presetID="2" presetClass="entr" presetSubtype="6" dur="3000" decel="100000" fill="hold" grpId="0" nodeType="withEffect">
                                  <p:stCondLst>
                                    <p:cond delay="0"/>
                                  </p:stCondLst>
                                  <p:childTnLst>
                                    <p:set>
                                      <p:cBhvr>
                                        <p:cTn id="74" dur="1" fill="hold">
                                          <p:stCondLst>
                                            <p:cond delay="0"/>
                                          </p:stCondLst>
                                        </p:cTn>
                                        <p:tgtEl>
                                          <p:spTgt spid="5"/>
                                        </p:tgtEl>
                                        <p:attrNameLst>
                                          <p:attrName>style.visibility</p:attrName>
                                        </p:attrNameLst>
                                      </p:cBhvr>
                                      <p:to>
                                        <p:strVal val="visible"/>
                                      </p:to>
                                    </p:set>
                                    <p:anim calcmode="lin" valueType="num">
                                      <p:cBhvr additive="base">
                                        <p:cTn id="75" dur="3000" fill="hold"/>
                                        <p:tgtEl>
                                          <p:spTgt spid="5"/>
                                        </p:tgtEl>
                                        <p:attrNameLst>
                                          <p:attrName>ppt_x</p:attrName>
                                        </p:attrNameLst>
                                      </p:cBhvr>
                                      <p:tavLst>
                                        <p:tav tm="0">
                                          <p:val>
                                            <p:strVal val="1+#ppt_w/2"/>
                                          </p:val>
                                        </p:tav>
                                        <p:tav tm="100000">
                                          <p:val>
                                            <p:strVal val="#ppt_x"/>
                                          </p:val>
                                        </p:tav>
                                      </p:tavLst>
                                    </p:anim>
                                    <p:anim calcmode="lin" valueType="num">
                                      <p:cBhvr additive="base">
                                        <p:cTn id="76" dur="3000" fill="hold"/>
                                        <p:tgtEl>
                                          <p:spTgt spid="5"/>
                                        </p:tgtEl>
                                        <p:attrNameLst>
                                          <p:attrName>ppt_y</p:attrName>
                                        </p:attrNameLst>
                                      </p:cBhvr>
                                      <p:tavLst>
                                        <p:tav tm="0">
                                          <p:val>
                                            <p:strVal val="1+#ppt_h/2"/>
                                          </p:val>
                                        </p:tav>
                                        <p:tav tm="100000">
                                          <p:val>
                                            <p:strVal val="#ppt_y"/>
                                          </p:val>
                                        </p:tav>
                                      </p:tavLst>
                                    </p:anim>
                                  </p:childTnLst>
                                </p:cTn>
                              </p:par>
                              <p:par>
                                <p:cTn id="77" presetID="2" presetClass="entr" presetSubtype="6" dur="3000" decel="100000" fill="hold" grpId="0" nodeType="withEffect">
                                  <p:stCondLst>
                                    <p:cond delay="0"/>
                                  </p:stCondLst>
                                  <p:childTnLst>
                                    <p:set>
                                      <p:cBhvr>
                                        <p:cTn id="78" dur="1" fill="hold">
                                          <p:stCondLst>
                                            <p:cond delay="0"/>
                                          </p:stCondLst>
                                        </p:cTn>
                                        <p:tgtEl>
                                          <p:spTgt spid="4"/>
                                        </p:tgtEl>
                                        <p:attrNameLst>
                                          <p:attrName>style.visibility</p:attrName>
                                        </p:attrNameLst>
                                      </p:cBhvr>
                                      <p:to>
                                        <p:strVal val="visible"/>
                                      </p:to>
                                    </p:set>
                                    <p:anim calcmode="lin" valueType="num">
                                      <p:cBhvr additive="base">
                                        <p:cTn id="79" dur="3000" fill="hold"/>
                                        <p:tgtEl>
                                          <p:spTgt spid="4"/>
                                        </p:tgtEl>
                                        <p:attrNameLst>
                                          <p:attrName>ppt_x</p:attrName>
                                        </p:attrNameLst>
                                      </p:cBhvr>
                                      <p:tavLst>
                                        <p:tav tm="0">
                                          <p:val>
                                            <p:strVal val="1+#ppt_w/2"/>
                                          </p:val>
                                        </p:tav>
                                        <p:tav tm="100000">
                                          <p:val>
                                            <p:strVal val="#ppt_x"/>
                                          </p:val>
                                        </p:tav>
                                      </p:tavLst>
                                    </p:anim>
                                    <p:anim calcmode="lin" valueType="num">
                                      <p:cBhvr additive="base">
                                        <p:cTn id="80" dur="3000" fill="hold"/>
                                        <p:tgtEl>
                                          <p:spTgt spid="4"/>
                                        </p:tgtEl>
                                        <p:attrNameLst>
                                          <p:attrName>ppt_y</p:attrName>
                                        </p:attrNameLst>
                                      </p:cBhvr>
                                      <p:tavLst>
                                        <p:tav tm="0">
                                          <p:val>
                                            <p:strVal val="1+#ppt_h/2"/>
                                          </p:val>
                                        </p:tav>
                                        <p:tav tm="100000">
                                          <p:val>
                                            <p:strVal val="#ppt_y"/>
                                          </p:val>
                                        </p:tav>
                                      </p:tavLst>
                                    </p:anim>
                                  </p:childTnLst>
                                </p:cTn>
                              </p:par>
                              <p:par>
                                <p:cTn id="81" presetID="2" presetClass="entr" presetSubtype="6" dur="3000" decel="100000" fill="hold" grpId="0" nodeType="withEffect">
                                  <p:stCondLst>
                                    <p:cond delay="0"/>
                                  </p:stCondLst>
                                  <p:childTnLst>
                                    <p:set>
                                      <p:cBhvr>
                                        <p:cTn id="82" dur="1" fill="hold">
                                          <p:stCondLst>
                                            <p:cond delay="0"/>
                                          </p:stCondLst>
                                        </p:cTn>
                                        <p:tgtEl>
                                          <p:spTgt spid="2"/>
                                        </p:tgtEl>
                                        <p:attrNameLst>
                                          <p:attrName>style.visibility</p:attrName>
                                        </p:attrNameLst>
                                      </p:cBhvr>
                                      <p:to>
                                        <p:strVal val="visible"/>
                                      </p:to>
                                    </p:set>
                                    <p:anim calcmode="lin" valueType="num">
                                      <p:cBhvr additive="base">
                                        <p:cTn id="83" dur="3000" fill="hold"/>
                                        <p:tgtEl>
                                          <p:spTgt spid="2"/>
                                        </p:tgtEl>
                                        <p:attrNameLst>
                                          <p:attrName>ppt_x</p:attrName>
                                        </p:attrNameLst>
                                      </p:cBhvr>
                                      <p:tavLst>
                                        <p:tav tm="0">
                                          <p:val>
                                            <p:strVal val="1+#ppt_w/2"/>
                                          </p:val>
                                        </p:tav>
                                        <p:tav tm="100000">
                                          <p:val>
                                            <p:strVal val="#ppt_x"/>
                                          </p:val>
                                        </p:tav>
                                      </p:tavLst>
                                    </p:anim>
                                    <p:anim calcmode="lin" valueType="num">
                                      <p:cBhvr additive="base">
                                        <p:cTn id="84" dur="3000" fill="hold"/>
                                        <p:tgtEl>
                                          <p:spTgt spid="2"/>
                                        </p:tgtEl>
                                        <p:attrNameLst>
                                          <p:attrName>ppt_y</p:attrName>
                                        </p:attrNameLst>
                                      </p:cBhvr>
                                      <p:tavLst>
                                        <p:tav tm="0">
                                          <p:val>
                                            <p:strVal val="1+#ppt_h/2"/>
                                          </p:val>
                                        </p:tav>
                                        <p:tav tm="100000">
                                          <p:val>
                                            <p:strVal val="#ppt_y"/>
                                          </p:val>
                                        </p:tav>
                                      </p:tavLst>
                                    </p:anim>
                                  </p:childTnLst>
                                </p:cTn>
                              </p:par>
                              <p:par>
                                <p:cTn id="85" presetID="2" presetClass="entr" presetSubtype="6" dur="3000" decel="100000" fill="hold" grpId="0" nodeType="withEffect">
                                  <p:stCondLst>
                                    <p:cond delay="0"/>
                                  </p:stCondLst>
                                  <p:childTnLst>
                                    <p:set>
                                      <p:cBhvr>
                                        <p:cTn id="86" dur="1" fill="hold">
                                          <p:stCondLst>
                                            <p:cond delay="0"/>
                                          </p:stCondLst>
                                        </p:cTn>
                                        <p:tgtEl>
                                          <p:spTgt spid="14"/>
                                        </p:tgtEl>
                                        <p:attrNameLst>
                                          <p:attrName>style.visibility</p:attrName>
                                        </p:attrNameLst>
                                      </p:cBhvr>
                                      <p:to>
                                        <p:strVal val="visible"/>
                                      </p:to>
                                    </p:set>
                                    <p:anim calcmode="lin" valueType="num">
                                      <p:cBhvr additive="base">
                                        <p:cTn id="87" dur="3000" fill="hold"/>
                                        <p:tgtEl>
                                          <p:spTgt spid="14"/>
                                        </p:tgtEl>
                                        <p:attrNameLst>
                                          <p:attrName>ppt_x</p:attrName>
                                        </p:attrNameLst>
                                      </p:cBhvr>
                                      <p:tavLst>
                                        <p:tav tm="0">
                                          <p:val>
                                            <p:strVal val="1+#ppt_w/2"/>
                                          </p:val>
                                        </p:tav>
                                        <p:tav tm="100000">
                                          <p:val>
                                            <p:strVal val="#ppt_x"/>
                                          </p:val>
                                        </p:tav>
                                      </p:tavLst>
                                    </p:anim>
                                    <p:anim calcmode="lin" valueType="num">
                                      <p:cBhvr additive="base">
                                        <p:cTn id="88" dur="3000" fill="hold"/>
                                        <p:tgtEl>
                                          <p:spTgt spid="14"/>
                                        </p:tgtEl>
                                        <p:attrNameLst>
                                          <p:attrName>ppt_y</p:attrName>
                                        </p:attrNameLst>
                                      </p:cBhvr>
                                      <p:tavLst>
                                        <p:tav tm="0">
                                          <p:val>
                                            <p:strVal val="1+#ppt_h/2"/>
                                          </p:val>
                                        </p:tav>
                                        <p:tav tm="100000">
                                          <p:val>
                                            <p:strVal val="#ppt_y"/>
                                          </p:val>
                                        </p:tav>
                                      </p:tavLst>
                                    </p:anim>
                                  </p:childTnLst>
                                </p:cTn>
                              </p:par>
                              <p:par>
                                <p:cTn id="89" presetID="2" presetClass="entr" presetSubtype="6" dur="3000" decel="100000" fill="hold" grpId="0" nodeType="withEffect">
                                  <p:stCondLst>
                                    <p:cond delay="0"/>
                                  </p:stCondLst>
                                  <p:childTnLst>
                                    <p:set>
                                      <p:cBhvr>
                                        <p:cTn id="90" dur="1" fill="hold">
                                          <p:stCondLst>
                                            <p:cond delay="0"/>
                                          </p:stCondLst>
                                        </p:cTn>
                                        <p:tgtEl>
                                          <p:spTgt spid="13"/>
                                        </p:tgtEl>
                                        <p:attrNameLst>
                                          <p:attrName>style.visibility</p:attrName>
                                        </p:attrNameLst>
                                      </p:cBhvr>
                                      <p:to>
                                        <p:strVal val="visible"/>
                                      </p:to>
                                    </p:set>
                                    <p:anim calcmode="lin" valueType="num">
                                      <p:cBhvr additive="base">
                                        <p:cTn id="91" dur="3000" fill="hold"/>
                                        <p:tgtEl>
                                          <p:spTgt spid="13"/>
                                        </p:tgtEl>
                                        <p:attrNameLst>
                                          <p:attrName>ppt_x</p:attrName>
                                        </p:attrNameLst>
                                      </p:cBhvr>
                                      <p:tavLst>
                                        <p:tav tm="0">
                                          <p:val>
                                            <p:strVal val="1+#ppt_w/2"/>
                                          </p:val>
                                        </p:tav>
                                        <p:tav tm="100000">
                                          <p:val>
                                            <p:strVal val="#ppt_x"/>
                                          </p:val>
                                        </p:tav>
                                      </p:tavLst>
                                    </p:anim>
                                    <p:anim calcmode="lin" valueType="num">
                                      <p:cBhvr additive="base">
                                        <p:cTn id="92" dur="3000" fill="hold"/>
                                        <p:tgtEl>
                                          <p:spTgt spid="13"/>
                                        </p:tgtEl>
                                        <p:attrNameLst>
                                          <p:attrName>ppt_y</p:attrName>
                                        </p:attrNameLst>
                                      </p:cBhvr>
                                      <p:tavLst>
                                        <p:tav tm="0">
                                          <p:val>
                                            <p:strVal val="1+#ppt_h/2"/>
                                          </p:val>
                                        </p:tav>
                                        <p:tav tm="100000">
                                          <p:val>
                                            <p:strVal val="#ppt_y"/>
                                          </p:val>
                                        </p:tav>
                                      </p:tavLst>
                                    </p:anim>
                                  </p:childTnLst>
                                </p:cTn>
                              </p:par>
                              <p:par>
                                <p:cTn id="93" presetID="2" presetClass="entr" presetSubtype="6" dur="3000" decel="100000" fill="hold" grpId="0" nodeType="withEffect">
                                  <p:stCondLst>
                                    <p:cond delay="0"/>
                                  </p:stCondLst>
                                  <p:childTnLst>
                                    <p:set>
                                      <p:cBhvr>
                                        <p:cTn id="94" dur="1" fill="hold">
                                          <p:stCondLst>
                                            <p:cond delay="0"/>
                                          </p:stCondLst>
                                        </p:cTn>
                                        <p:tgtEl>
                                          <p:spTgt spid="12"/>
                                        </p:tgtEl>
                                        <p:attrNameLst>
                                          <p:attrName>style.visibility</p:attrName>
                                        </p:attrNameLst>
                                      </p:cBhvr>
                                      <p:to>
                                        <p:strVal val="visible"/>
                                      </p:to>
                                    </p:set>
                                    <p:anim calcmode="lin" valueType="num">
                                      <p:cBhvr additive="base">
                                        <p:cTn id="95" dur="3000" fill="hold"/>
                                        <p:tgtEl>
                                          <p:spTgt spid="12"/>
                                        </p:tgtEl>
                                        <p:attrNameLst>
                                          <p:attrName>ppt_x</p:attrName>
                                        </p:attrNameLst>
                                      </p:cBhvr>
                                      <p:tavLst>
                                        <p:tav tm="0">
                                          <p:val>
                                            <p:strVal val="1+#ppt_w/2"/>
                                          </p:val>
                                        </p:tav>
                                        <p:tav tm="100000">
                                          <p:val>
                                            <p:strVal val="#ppt_x"/>
                                          </p:val>
                                        </p:tav>
                                      </p:tavLst>
                                    </p:anim>
                                    <p:anim calcmode="lin" valueType="num">
                                      <p:cBhvr additive="base">
                                        <p:cTn id="96" dur="3000" fill="hold"/>
                                        <p:tgtEl>
                                          <p:spTgt spid="12"/>
                                        </p:tgtEl>
                                        <p:attrNameLst>
                                          <p:attrName>ppt_y</p:attrName>
                                        </p:attrNameLst>
                                      </p:cBhvr>
                                      <p:tavLst>
                                        <p:tav tm="0">
                                          <p:val>
                                            <p:strVal val="1+#ppt_h/2"/>
                                          </p:val>
                                        </p:tav>
                                        <p:tav tm="100000">
                                          <p:val>
                                            <p:strVal val="#ppt_y"/>
                                          </p:val>
                                        </p:tav>
                                      </p:tavLst>
                                    </p:anim>
                                  </p:childTnLst>
                                </p:cTn>
                              </p:par>
                              <p:par>
                                <p:cTn id="97" presetID="2" presetClass="entr" presetSubtype="6" dur="3000" decel="100000" fill="hold" grpId="0" nodeType="withEffect">
                                  <p:stCondLst>
                                    <p:cond delay="0"/>
                                  </p:stCondLst>
                                  <p:childTnLst>
                                    <p:set>
                                      <p:cBhvr>
                                        <p:cTn id="98" dur="1" fill="hold">
                                          <p:stCondLst>
                                            <p:cond delay="0"/>
                                          </p:stCondLst>
                                        </p:cTn>
                                        <p:tgtEl>
                                          <p:spTgt spid="11"/>
                                        </p:tgtEl>
                                        <p:attrNameLst>
                                          <p:attrName>style.visibility</p:attrName>
                                        </p:attrNameLst>
                                      </p:cBhvr>
                                      <p:to>
                                        <p:strVal val="visible"/>
                                      </p:to>
                                    </p:set>
                                    <p:anim calcmode="lin" valueType="num">
                                      <p:cBhvr additive="base">
                                        <p:cTn id="99" dur="3000" fill="hold"/>
                                        <p:tgtEl>
                                          <p:spTgt spid="11"/>
                                        </p:tgtEl>
                                        <p:attrNameLst>
                                          <p:attrName>ppt_x</p:attrName>
                                        </p:attrNameLst>
                                      </p:cBhvr>
                                      <p:tavLst>
                                        <p:tav tm="0">
                                          <p:val>
                                            <p:strVal val="1+#ppt_w/2"/>
                                          </p:val>
                                        </p:tav>
                                        <p:tav tm="100000">
                                          <p:val>
                                            <p:strVal val="#ppt_x"/>
                                          </p:val>
                                        </p:tav>
                                      </p:tavLst>
                                    </p:anim>
                                    <p:anim calcmode="lin" valueType="num">
                                      <p:cBhvr additive="base">
                                        <p:cTn id="100" dur="3000" fill="hold"/>
                                        <p:tgtEl>
                                          <p:spTgt spid="11"/>
                                        </p:tgtEl>
                                        <p:attrNameLst>
                                          <p:attrName>ppt_y</p:attrName>
                                        </p:attrNameLst>
                                      </p:cBhvr>
                                      <p:tavLst>
                                        <p:tav tm="0">
                                          <p:val>
                                            <p:strVal val="1+#ppt_h/2"/>
                                          </p:val>
                                        </p:tav>
                                        <p:tav tm="100000">
                                          <p:val>
                                            <p:strVal val="#ppt_y"/>
                                          </p:val>
                                        </p:tav>
                                      </p:tavLst>
                                    </p:anim>
                                  </p:childTnLst>
                                </p:cTn>
                              </p:par>
                              <p:par>
                                <p:cTn id="101" presetID="2" presetClass="entr" presetSubtype="6" dur="3000" decel="100000" fill="hold" grpId="0" nodeType="withEffect">
                                  <p:stCondLst>
                                    <p:cond delay="0"/>
                                  </p:stCondLst>
                                  <p:childTnLst>
                                    <p:set>
                                      <p:cBhvr>
                                        <p:cTn id="102" dur="1" fill="hold">
                                          <p:stCondLst>
                                            <p:cond delay="0"/>
                                          </p:stCondLst>
                                        </p:cTn>
                                        <p:tgtEl>
                                          <p:spTgt spid="10"/>
                                        </p:tgtEl>
                                        <p:attrNameLst>
                                          <p:attrName>style.visibility</p:attrName>
                                        </p:attrNameLst>
                                      </p:cBhvr>
                                      <p:to>
                                        <p:strVal val="visible"/>
                                      </p:to>
                                    </p:set>
                                    <p:anim calcmode="lin" valueType="num">
                                      <p:cBhvr additive="base">
                                        <p:cTn id="103" dur="3000" fill="hold"/>
                                        <p:tgtEl>
                                          <p:spTgt spid="10"/>
                                        </p:tgtEl>
                                        <p:attrNameLst>
                                          <p:attrName>ppt_x</p:attrName>
                                        </p:attrNameLst>
                                      </p:cBhvr>
                                      <p:tavLst>
                                        <p:tav tm="0">
                                          <p:val>
                                            <p:strVal val="1+#ppt_w/2"/>
                                          </p:val>
                                        </p:tav>
                                        <p:tav tm="100000">
                                          <p:val>
                                            <p:strVal val="#ppt_x"/>
                                          </p:val>
                                        </p:tav>
                                      </p:tavLst>
                                    </p:anim>
                                    <p:anim calcmode="lin" valueType="num">
                                      <p:cBhvr additive="base">
                                        <p:cTn id="104" dur="3000" fill="hold"/>
                                        <p:tgtEl>
                                          <p:spTgt spid="10"/>
                                        </p:tgtEl>
                                        <p:attrNameLst>
                                          <p:attrName>ppt_y</p:attrName>
                                        </p:attrNameLst>
                                      </p:cBhvr>
                                      <p:tavLst>
                                        <p:tav tm="0">
                                          <p:val>
                                            <p:strVal val="1+#ppt_h/2"/>
                                          </p:val>
                                        </p:tav>
                                        <p:tav tm="100000">
                                          <p:val>
                                            <p:strVal val="#ppt_y"/>
                                          </p:val>
                                        </p:tav>
                                      </p:tavLst>
                                    </p:anim>
                                  </p:childTnLst>
                                </p:cTn>
                              </p:par>
                              <p:par>
                                <p:cTn id="105" presetID="2" presetClass="entr" presetSubtype="6" dur="3000" decel="100000" fill="hold" grpId="0" nodeType="withEffect">
                                  <p:stCondLst>
                                    <p:cond delay="0"/>
                                  </p:stCondLst>
                                  <p:childTnLst>
                                    <p:set>
                                      <p:cBhvr>
                                        <p:cTn id="106" dur="1" fill="hold">
                                          <p:stCondLst>
                                            <p:cond delay="0"/>
                                          </p:stCondLst>
                                        </p:cTn>
                                        <p:tgtEl>
                                          <p:spTgt spid="56"/>
                                        </p:tgtEl>
                                        <p:attrNameLst>
                                          <p:attrName>style.visibility</p:attrName>
                                        </p:attrNameLst>
                                      </p:cBhvr>
                                      <p:to>
                                        <p:strVal val="visible"/>
                                      </p:to>
                                    </p:set>
                                    <p:anim calcmode="lin" valueType="num">
                                      <p:cBhvr additive="base">
                                        <p:cTn id="107" dur="3000" fill="hold"/>
                                        <p:tgtEl>
                                          <p:spTgt spid="56"/>
                                        </p:tgtEl>
                                        <p:attrNameLst>
                                          <p:attrName>ppt_x</p:attrName>
                                        </p:attrNameLst>
                                      </p:cBhvr>
                                      <p:tavLst>
                                        <p:tav tm="0">
                                          <p:val>
                                            <p:strVal val="1+#ppt_w/2"/>
                                          </p:val>
                                        </p:tav>
                                        <p:tav tm="100000">
                                          <p:val>
                                            <p:strVal val="#ppt_x"/>
                                          </p:val>
                                        </p:tav>
                                      </p:tavLst>
                                    </p:anim>
                                    <p:anim calcmode="lin" valueType="num">
                                      <p:cBhvr additive="base">
                                        <p:cTn id="108" dur="3000" fill="hold"/>
                                        <p:tgtEl>
                                          <p:spTgt spid="56"/>
                                        </p:tgtEl>
                                        <p:attrNameLst>
                                          <p:attrName>ppt_y</p:attrName>
                                        </p:attrNameLst>
                                      </p:cBhvr>
                                      <p:tavLst>
                                        <p:tav tm="0">
                                          <p:val>
                                            <p:strVal val="1+#ppt_h/2"/>
                                          </p:val>
                                        </p:tav>
                                        <p:tav tm="100000">
                                          <p:val>
                                            <p:strVal val="#ppt_y"/>
                                          </p:val>
                                        </p:tav>
                                      </p:tavLst>
                                    </p:anim>
                                  </p:childTnLst>
                                </p:cTn>
                              </p:par>
                              <p:par>
                                <p:cTn id="109" presetID="2" presetClass="entr" presetSubtype="6" dur="3000" decel="100000" fill="hold" grpId="0" nodeType="withEffect">
                                  <p:stCondLst>
                                    <p:cond delay="0"/>
                                  </p:stCondLst>
                                  <p:childTnLst>
                                    <p:set>
                                      <p:cBhvr>
                                        <p:cTn id="110" dur="1" fill="hold">
                                          <p:stCondLst>
                                            <p:cond delay="0"/>
                                          </p:stCondLst>
                                        </p:cTn>
                                        <p:tgtEl>
                                          <p:spTgt spid="55"/>
                                        </p:tgtEl>
                                        <p:attrNameLst>
                                          <p:attrName>style.visibility</p:attrName>
                                        </p:attrNameLst>
                                      </p:cBhvr>
                                      <p:to>
                                        <p:strVal val="visible"/>
                                      </p:to>
                                    </p:set>
                                    <p:anim calcmode="lin" valueType="num">
                                      <p:cBhvr additive="base">
                                        <p:cTn id="111" dur="3000" fill="hold"/>
                                        <p:tgtEl>
                                          <p:spTgt spid="55"/>
                                        </p:tgtEl>
                                        <p:attrNameLst>
                                          <p:attrName>ppt_x</p:attrName>
                                        </p:attrNameLst>
                                      </p:cBhvr>
                                      <p:tavLst>
                                        <p:tav tm="0">
                                          <p:val>
                                            <p:strVal val="1+#ppt_w/2"/>
                                          </p:val>
                                        </p:tav>
                                        <p:tav tm="100000">
                                          <p:val>
                                            <p:strVal val="#ppt_x"/>
                                          </p:val>
                                        </p:tav>
                                      </p:tavLst>
                                    </p:anim>
                                    <p:anim calcmode="lin" valueType="num">
                                      <p:cBhvr additive="base">
                                        <p:cTn id="112" dur="3000" fill="hold"/>
                                        <p:tgtEl>
                                          <p:spTgt spid="55"/>
                                        </p:tgtEl>
                                        <p:attrNameLst>
                                          <p:attrName>ppt_y</p:attrName>
                                        </p:attrNameLst>
                                      </p:cBhvr>
                                      <p:tavLst>
                                        <p:tav tm="0">
                                          <p:val>
                                            <p:strVal val="1+#ppt_h/2"/>
                                          </p:val>
                                        </p:tav>
                                        <p:tav tm="100000">
                                          <p:val>
                                            <p:strVal val="#ppt_y"/>
                                          </p:val>
                                        </p:tav>
                                      </p:tavLst>
                                    </p:anim>
                                  </p:childTnLst>
                                </p:cTn>
                              </p:par>
                              <p:par>
                                <p:cTn id="113" presetID="2" presetClass="entr" presetSubtype="6" dur="3000" decel="100000" fill="hold" grpId="0" nodeType="withEffect">
                                  <p:stCondLst>
                                    <p:cond delay="0"/>
                                  </p:stCondLst>
                                  <p:childTnLst>
                                    <p:set>
                                      <p:cBhvr>
                                        <p:cTn id="114" dur="1" fill="hold">
                                          <p:stCondLst>
                                            <p:cond delay="0"/>
                                          </p:stCondLst>
                                        </p:cTn>
                                        <p:tgtEl>
                                          <p:spTgt spid="54"/>
                                        </p:tgtEl>
                                        <p:attrNameLst>
                                          <p:attrName>style.visibility</p:attrName>
                                        </p:attrNameLst>
                                      </p:cBhvr>
                                      <p:to>
                                        <p:strVal val="visible"/>
                                      </p:to>
                                    </p:set>
                                    <p:anim calcmode="lin" valueType="num">
                                      <p:cBhvr additive="base">
                                        <p:cTn id="115" dur="3000" fill="hold"/>
                                        <p:tgtEl>
                                          <p:spTgt spid="54"/>
                                        </p:tgtEl>
                                        <p:attrNameLst>
                                          <p:attrName>ppt_x</p:attrName>
                                        </p:attrNameLst>
                                      </p:cBhvr>
                                      <p:tavLst>
                                        <p:tav tm="0">
                                          <p:val>
                                            <p:strVal val="1+#ppt_w/2"/>
                                          </p:val>
                                        </p:tav>
                                        <p:tav tm="100000">
                                          <p:val>
                                            <p:strVal val="#ppt_x"/>
                                          </p:val>
                                        </p:tav>
                                      </p:tavLst>
                                    </p:anim>
                                    <p:anim calcmode="lin" valueType="num">
                                      <p:cBhvr additive="base">
                                        <p:cTn id="116" dur="3000" fill="hold"/>
                                        <p:tgtEl>
                                          <p:spTgt spid="54"/>
                                        </p:tgtEl>
                                        <p:attrNameLst>
                                          <p:attrName>ppt_y</p:attrName>
                                        </p:attrNameLst>
                                      </p:cBhvr>
                                      <p:tavLst>
                                        <p:tav tm="0">
                                          <p:val>
                                            <p:strVal val="1+#ppt_h/2"/>
                                          </p:val>
                                        </p:tav>
                                        <p:tav tm="100000">
                                          <p:val>
                                            <p:strVal val="#ppt_y"/>
                                          </p:val>
                                        </p:tav>
                                      </p:tavLst>
                                    </p:anim>
                                  </p:childTnLst>
                                </p:cTn>
                              </p:par>
                              <p:par>
                                <p:cTn id="117" presetID="2" presetClass="entr" presetSubtype="6" dur="3000" decel="100000" fill="hold" grpId="0" nodeType="withEffect">
                                  <p:stCondLst>
                                    <p:cond delay="0"/>
                                  </p:stCondLst>
                                  <p:childTnLst>
                                    <p:set>
                                      <p:cBhvr>
                                        <p:cTn id="118" dur="1" fill="hold">
                                          <p:stCondLst>
                                            <p:cond delay="0"/>
                                          </p:stCondLst>
                                        </p:cTn>
                                        <p:tgtEl>
                                          <p:spTgt spid="53"/>
                                        </p:tgtEl>
                                        <p:attrNameLst>
                                          <p:attrName>style.visibility</p:attrName>
                                        </p:attrNameLst>
                                      </p:cBhvr>
                                      <p:to>
                                        <p:strVal val="visible"/>
                                      </p:to>
                                    </p:set>
                                    <p:anim calcmode="lin" valueType="num">
                                      <p:cBhvr additive="base">
                                        <p:cTn id="119" dur="3000" fill="hold"/>
                                        <p:tgtEl>
                                          <p:spTgt spid="53"/>
                                        </p:tgtEl>
                                        <p:attrNameLst>
                                          <p:attrName>ppt_x</p:attrName>
                                        </p:attrNameLst>
                                      </p:cBhvr>
                                      <p:tavLst>
                                        <p:tav tm="0">
                                          <p:val>
                                            <p:strVal val="1+#ppt_w/2"/>
                                          </p:val>
                                        </p:tav>
                                        <p:tav tm="100000">
                                          <p:val>
                                            <p:strVal val="#ppt_x"/>
                                          </p:val>
                                        </p:tav>
                                      </p:tavLst>
                                    </p:anim>
                                    <p:anim calcmode="lin" valueType="num">
                                      <p:cBhvr additive="base">
                                        <p:cTn id="120" dur="3000" fill="hold"/>
                                        <p:tgtEl>
                                          <p:spTgt spid="53"/>
                                        </p:tgtEl>
                                        <p:attrNameLst>
                                          <p:attrName>ppt_y</p:attrName>
                                        </p:attrNameLst>
                                      </p:cBhvr>
                                      <p:tavLst>
                                        <p:tav tm="0">
                                          <p:val>
                                            <p:strVal val="1+#ppt_h/2"/>
                                          </p:val>
                                        </p:tav>
                                        <p:tav tm="100000">
                                          <p:val>
                                            <p:strVal val="#ppt_y"/>
                                          </p:val>
                                        </p:tav>
                                      </p:tavLst>
                                    </p:anim>
                                  </p:childTnLst>
                                </p:cTn>
                              </p:par>
                              <p:par>
                                <p:cTn id="121" presetID="2" presetClass="entr" presetSubtype="6" dur="3000" decel="100000" fill="hold" grpId="0" nodeType="withEffect">
                                  <p:stCondLst>
                                    <p:cond delay="0"/>
                                  </p:stCondLst>
                                  <p:childTnLst>
                                    <p:set>
                                      <p:cBhvr>
                                        <p:cTn id="122" dur="1" fill="hold">
                                          <p:stCondLst>
                                            <p:cond delay="0"/>
                                          </p:stCondLst>
                                        </p:cTn>
                                        <p:tgtEl>
                                          <p:spTgt spid="61"/>
                                        </p:tgtEl>
                                        <p:attrNameLst>
                                          <p:attrName>style.visibility</p:attrName>
                                        </p:attrNameLst>
                                      </p:cBhvr>
                                      <p:to>
                                        <p:strVal val="visible"/>
                                      </p:to>
                                    </p:set>
                                    <p:anim calcmode="lin" valueType="num">
                                      <p:cBhvr additive="base">
                                        <p:cTn id="123" dur="3000" fill="hold"/>
                                        <p:tgtEl>
                                          <p:spTgt spid="61"/>
                                        </p:tgtEl>
                                        <p:attrNameLst>
                                          <p:attrName>ppt_x</p:attrName>
                                        </p:attrNameLst>
                                      </p:cBhvr>
                                      <p:tavLst>
                                        <p:tav tm="0">
                                          <p:val>
                                            <p:strVal val="1+#ppt_w/2"/>
                                          </p:val>
                                        </p:tav>
                                        <p:tav tm="100000">
                                          <p:val>
                                            <p:strVal val="#ppt_x"/>
                                          </p:val>
                                        </p:tav>
                                      </p:tavLst>
                                    </p:anim>
                                    <p:anim calcmode="lin" valueType="num">
                                      <p:cBhvr additive="base">
                                        <p:cTn id="124" dur="3000" fill="hold"/>
                                        <p:tgtEl>
                                          <p:spTgt spid="61"/>
                                        </p:tgtEl>
                                        <p:attrNameLst>
                                          <p:attrName>ppt_y</p:attrName>
                                        </p:attrNameLst>
                                      </p:cBhvr>
                                      <p:tavLst>
                                        <p:tav tm="0">
                                          <p:val>
                                            <p:strVal val="1+#ppt_h/2"/>
                                          </p:val>
                                        </p:tav>
                                        <p:tav tm="100000">
                                          <p:val>
                                            <p:strVal val="#ppt_y"/>
                                          </p:val>
                                        </p:tav>
                                      </p:tavLst>
                                    </p:anim>
                                  </p:childTnLst>
                                </p:cTn>
                              </p:par>
                              <p:par>
                                <p:cTn id="125" presetID="2" presetClass="entr" presetSubtype="6" dur="3000" decel="100000" fill="hold" grpId="0" nodeType="withEffect">
                                  <p:stCondLst>
                                    <p:cond delay="0"/>
                                  </p:stCondLst>
                                  <p:childTnLst>
                                    <p:set>
                                      <p:cBhvr>
                                        <p:cTn id="126" dur="1" fill="hold">
                                          <p:stCondLst>
                                            <p:cond delay="0"/>
                                          </p:stCondLst>
                                        </p:cTn>
                                        <p:tgtEl>
                                          <p:spTgt spid="60"/>
                                        </p:tgtEl>
                                        <p:attrNameLst>
                                          <p:attrName>style.visibility</p:attrName>
                                        </p:attrNameLst>
                                      </p:cBhvr>
                                      <p:to>
                                        <p:strVal val="visible"/>
                                      </p:to>
                                    </p:set>
                                    <p:anim calcmode="lin" valueType="num">
                                      <p:cBhvr additive="base">
                                        <p:cTn id="127" dur="3000" fill="hold"/>
                                        <p:tgtEl>
                                          <p:spTgt spid="60"/>
                                        </p:tgtEl>
                                        <p:attrNameLst>
                                          <p:attrName>ppt_x</p:attrName>
                                        </p:attrNameLst>
                                      </p:cBhvr>
                                      <p:tavLst>
                                        <p:tav tm="0">
                                          <p:val>
                                            <p:strVal val="1+#ppt_w/2"/>
                                          </p:val>
                                        </p:tav>
                                        <p:tav tm="100000">
                                          <p:val>
                                            <p:strVal val="#ppt_x"/>
                                          </p:val>
                                        </p:tav>
                                      </p:tavLst>
                                    </p:anim>
                                    <p:anim calcmode="lin" valueType="num">
                                      <p:cBhvr additive="base">
                                        <p:cTn id="128" dur="3000" fill="hold"/>
                                        <p:tgtEl>
                                          <p:spTgt spid="60"/>
                                        </p:tgtEl>
                                        <p:attrNameLst>
                                          <p:attrName>ppt_y</p:attrName>
                                        </p:attrNameLst>
                                      </p:cBhvr>
                                      <p:tavLst>
                                        <p:tav tm="0">
                                          <p:val>
                                            <p:strVal val="1+#ppt_h/2"/>
                                          </p:val>
                                        </p:tav>
                                        <p:tav tm="100000">
                                          <p:val>
                                            <p:strVal val="#ppt_y"/>
                                          </p:val>
                                        </p:tav>
                                      </p:tavLst>
                                    </p:anim>
                                  </p:childTnLst>
                                </p:cTn>
                              </p:par>
                              <p:par>
                                <p:cTn id="129" presetID="2" presetClass="entr" presetSubtype="6" dur="3000" decel="100000" fill="hold" grpId="0" nodeType="withEffect">
                                  <p:stCondLst>
                                    <p:cond delay="0"/>
                                  </p:stCondLst>
                                  <p:childTnLst>
                                    <p:set>
                                      <p:cBhvr>
                                        <p:cTn id="130" dur="1" fill="hold">
                                          <p:stCondLst>
                                            <p:cond delay="0"/>
                                          </p:stCondLst>
                                        </p:cTn>
                                        <p:tgtEl>
                                          <p:spTgt spid="59"/>
                                        </p:tgtEl>
                                        <p:attrNameLst>
                                          <p:attrName>style.visibility</p:attrName>
                                        </p:attrNameLst>
                                      </p:cBhvr>
                                      <p:to>
                                        <p:strVal val="visible"/>
                                      </p:to>
                                    </p:set>
                                    <p:anim calcmode="lin" valueType="num">
                                      <p:cBhvr additive="base">
                                        <p:cTn id="131" dur="3000" fill="hold"/>
                                        <p:tgtEl>
                                          <p:spTgt spid="59"/>
                                        </p:tgtEl>
                                        <p:attrNameLst>
                                          <p:attrName>ppt_x</p:attrName>
                                        </p:attrNameLst>
                                      </p:cBhvr>
                                      <p:tavLst>
                                        <p:tav tm="0">
                                          <p:val>
                                            <p:strVal val="1+#ppt_w/2"/>
                                          </p:val>
                                        </p:tav>
                                        <p:tav tm="100000">
                                          <p:val>
                                            <p:strVal val="#ppt_x"/>
                                          </p:val>
                                        </p:tav>
                                      </p:tavLst>
                                    </p:anim>
                                    <p:anim calcmode="lin" valueType="num">
                                      <p:cBhvr additive="base">
                                        <p:cTn id="132" dur="3000" fill="hold"/>
                                        <p:tgtEl>
                                          <p:spTgt spid="59"/>
                                        </p:tgtEl>
                                        <p:attrNameLst>
                                          <p:attrName>ppt_y</p:attrName>
                                        </p:attrNameLst>
                                      </p:cBhvr>
                                      <p:tavLst>
                                        <p:tav tm="0">
                                          <p:val>
                                            <p:strVal val="1+#ppt_h/2"/>
                                          </p:val>
                                        </p:tav>
                                        <p:tav tm="100000">
                                          <p:val>
                                            <p:strVal val="#ppt_y"/>
                                          </p:val>
                                        </p:tav>
                                      </p:tavLst>
                                    </p:anim>
                                  </p:childTnLst>
                                </p:cTn>
                              </p:par>
                              <p:par>
                                <p:cTn id="133" presetID="2" presetClass="entr" presetSubtype="6" dur="3000" decel="100000" fill="hold" grpId="0" nodeType="withEffect">
                                  <p:stCondLst>
                                    <p:cond delay="0"/>
                                  </p:stCondLst>
                                  <p:childTnLst>
                                    <p:set>
                                      <p:cBhvr>
                                        <p:cTn id="134" dur="1" fill="hold">
                                          <p:stCondLst>
                                            <p:cond delay="0"/>
                                          </p:stCondLst>
                                        </p:cTn>
                                        <p:tgtEl>
                                          <p:spTgt spid="66"/>
                                        </p:tgtEl>
                                        <p:attrNameLst>
                                          <p:attrName>style.visibility</p:attrName>
                                        </p:attrNameLst>
                                      </p:cBhvr>
                                      <p:to>
                                        <p:strVal val="visible"/>
                                      </p:to>
                                    </p:set>
                                    <p:anim calcmode="lin" valueType="num">
                                      <p:cBhvr additive="base">
                                        <p:cTn id="135" dur="3000" fill="hold"/>
                                        <p:tgtEl>
                                          <p:spTgt spid="66"/>
                                        </p:tgtEl>
                                        <p:attrNameLst>
                                          <p:attrName>ppt_x</p:attrName>
                                        </p:attrNameLst>
                                      </p:cBhvr>
                                      <p:tavLst>
                                        <p:tav tm="0">
                                          <p:val>
                                            <p:strVal val="1+#ppt_w/2"/>
                                          </p:val>
                                        </p:tav>
                                        <p:tav tm="100000">
                                          <p:val>
                                            <p:strVal val="#ppt_x"/>
                                          </p:val>
                                        </p:tav>
                                      </p:tavLst>
                                    </p:anim>
                                    <p:anim calcmode="lin" valueType="num">
                                      <p:cBhvr additive="base">
                                        <p:cTn id="136" dur="3000" fill="hold"/>
                                        <p:tgtEl>
                                          <p:spTgt spid="66"/>
                                        </p:tgtEl>
                                        <p:attrNameLst>
                                          <p:attrName>ppt_y</p:attrName>
                                        </p:attrNameLst>
                                      </p:cBhvr>
                                      <p:tavLst>
                                        <p:tav tm="0">
                                          <p:val>
                                            <p:strVal val="1+#ppt_h/2"/>
                                          </p:val>
                                        </p:tav>
                                        <p:tav tm="100000">
                                          <p:val>
                                            <p:strVal val="#ppt_y"/>
                                          </p:val>
                                        </p:tav>
                                      </p:tavLst>
                                    </p:anim>
                                  </p:childTnLst>
                                </p:cTn>
                              </p:par>
                              <p:par>
                                <p:cTn id="137" presetID="2" presetClass="entr" presetSubtype="6" dur="3000" decel="100000" fill="hold" grpId="0" nodeType="withEffect">
                                  <p:stCondLst>
                                    <p:cond delay="0"/>
                                  </p:stCondLst>
                                  <p:childTnLst>
                                    <p:set>
                                      <p:cBhvr>
                                        <p:cTn id="138" dur="1" fill="hold">
                                          <p:stCondLst>
                                            <p:cond delay="0"/>
                                          </p:stCondLst>
                                        </p:cTn>
                                        <p:tgtEl>
                                          <p:spTgt spid="65"/>
                                        </p:tgtEl>
                                        <p:attrNameLst>
                                          <p:attrName>style.visibility</p:attrName>
                                        </p:attrNameLst>
                                      </p:cBhvr>
                                      <p:to>
                                        <p:strVal val="visible"/>
                                      </p:to>
                                    </p:set>
                                    <p:anim calcmode="lin" valueType="num">
                                      <p:cBhvr additive="base">
                                        <p:cTn id="139" dur="3000" fill="hold"/>
                                        <p:tgtEl>
                                          <p:spTgt spid="65"/>
                                        </p:tgtEl>
                                        <p:attrNameLst>
                                          <p:attrName>ppt_x</p:attrName>
                                        </p:attrNameLst>
                                      </p:cBhvr>
                                      <p:tavLst>
                                        <p:tav tm="0">
                                          <p:val>
                                            <p:strVal val="1+#ppt_w/2"/>
                                          </p:val>
                                        </p:tav>
                                        <p:tav tm="100000">
                                          <p:val>
                                            <p:strVal val="#ppt_x"/>
                                          </p:val>
                                        </p:tav>
                                      </p:tavLst>
                                    </p:anim>
                                    <p:anim calcmode="lin" valueType="num">
                                      <p:cBhvr additive="base">
                                        <p:cTn id="140" dur="3000" fill="hold"/>
                                        <p:tgtEl>
                                          <p:spTgt spid="6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animBg="1"/>
      <p:bldP spid="49" grpId="0" animBg="1"/>
      <p:bldP spid="41" grpId="0" animBg="1"/>
      <p:bldP spid="42" grpId="0" animBg="1"/>
      <p:bldP spid="43" grpId="0" animBg="1"/>
      <p:bldP spid="28" grpId="0" animBg="1"/>
      <p:bldP spid="29" grpId="0" animBg="1"/>
      <p:bldP spid="30" grpId="0" animBg="1"/>
      <p:bldP spid="31" grpId="0" animBg="1"/>
      <p:bldP spid="16" grpId="0" animBg="1"/>
      <p:bldP spid="17" grpId="0" animBg="1"/>
      <p:bldP spid="18" grpId="0" animBg="1"/>
      <p:bldP spid="19" grpId="0" animBg="1"/>
      <p:bldP spid="20" grpId="0" animBg="1"/>
      <p:bldP spid="2" grpId="0" animBg="1"/>
      <p:bldP spid="4" grpId="0" animBg="1"/>
      <p:bldP spid="5" grpId="0" animBg="1"/>
      <p:bldP spid="6" grpId="0" animBg="1"/>
      <p:bldP spid="7" grpId="0" animBg="1"/>
      <p:bldP spid="8" grpId="0" animBg="1"/>
      <p:bldP spid="10" grpId="0" animBg="1"/>
      <p:bldP spid="11" grpId="0" animBg="1"/>
      <p:bldP spid="12" grpId="0" animBg="1"/>
      <p:bldP spid="13" grpId="0" animBg="1"/>
      <p:bldP spid="14" grpId="0" animBg="1"/>
      <p:bldP spid="53" grpId="0" animBg="1"/>
      <p:bldP spid="54" grpId="0" animBg="1"/>
      <p:bldP spid="55" grpId="0" animBg="1"/>
      <p:bldP spid="56" grpId="0" animBg="1"/>
      <p:bldP spid="59" grpId="0" animBg="1"/>
      <p:bldP spid="60" grpId="0" animBg="1"/>
      <p:bldP spid="61" grpId="0" animBg="1"/>
      <p:bldP spid="65" grpId="0" animBg="1"/>
      <p:bldP spid="66" grpId="0" animBg="1"/>
    </p:bld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16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B13DB9B-D378-4E6B-8FA4-452DF397F209}"/>
              </a:ext>
            </a:extLst>
          </p:cNvPr>
          <p:cNvSpPr>
            <a:spLocks noGrp="1"/>
          </p:cNvSpPr>
          <p:nvPr>
            <p:ph type="pic" sz="quarter" idx="16"/>
          </p:nvPr>
        </p:nvSpPr>
        <p:spPr>
          <a:xfrm>
            <a:off x="6096000" y="-1"/>
            <a:ext cx="5314258" cy="6858000"/>
          </a:xfrm>
          <a:custGeom>
            <a:avLst/>
            <a:gdLst>
              <a:gd name="connsiteX0" fmla="*/ 0 w 10629900"/>
              <a:gd name="connsiteY0" fmla="*/ 0 h 13715999"/>
              <a:gd name="connsiteX1" fmla="*/ 10629900 w 10629900"/>
              <a:gd name="connsiteY1" fmla="*/ 0 h 13715999"/>
              <a:gd name="connsiteX2" fmla="*/ 10629900 w 10629900"/>
              <a:gd name="connsiteY2" fmla="*/ 13715999 h 13715999"/>
              <a:gd name="connsiteX3" fmla="*/ 0 w 10629900"/>
              <a:gd name="connsiteY3" fmla="*/ 13715999 h 13715999"/>
            </a:gdLst>
            <a:ahLst/>
            <a:cxnLst>
              <a:cxn ang="0">
                <a:pos x="connsiteX0" y="connsiteY0"/>
              </a:cxn>
              <a:cxn ang="0">
                <a:pos x="connsiteX1" y="connsiteY1"/>
              </a:cxn>
              <a:cxn ang="0">
                <a:pos x="connsiteX2" y="connsiteY2"/>
              </a:cxn>
              <a:cxn ang="0">
                <a:pos x="connsiteX3" y="connsiteY3"/>
              </a:cxn>
            </a:cxnLst>
            <a:rect l="l" t="t" r="r" b="b"/>
            <a:pathLst>
              <a:path w="10629900" h="13715999">
                <a:moveTo>
                  <a:pt x="0" y="0"/>
                </a:moveTo>
                <a:lnTo>
                  <a:pt x="10629900" y="0"/>
                </a:lnTo>
                <a:lnTo>
                  <a:pt x="10629900" y="13715999"/>
                </a:lnTo>
                <a:lnTo>
                  <a:pt x="0" y="13715999"/>
                </a:ln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Tree>
    <p:extLst>
      <p:ext uri="{BB962C8B-B14F-4D97-AF65-F5344CB8AC3E}">
        <p14:creationId xmlns:p14="http://schemas.microsoft.com/office/powerpoint/2010/main" val="3614039149"/>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1" dur="2000" decel="10000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2000" fill="hold"/>
                                        <p:tgtEl>
                                          <p:spTgt spid="4"/>
                                        </p:tgtEl>
                                        <p:attrNameLst>
                                          <p:attrName>ppt_x</p:attrName>
                                        </p:attrNameLst>
                                      </p:cBhvr>
                                      <p:tavLst>
                                        <p:tav tm="0">
                                          <p:val>
                                            <p:strVal val="#ppt_x"/>
                                          </p:val>
                                        </p:tav>
                                        <p:tav tm="100000">
                                          <p:val>
                                            <p:strVal val="#ppt_x"/>
                                          </p:val>
                                        </p:tav>
                                      </p:tavLst>
                                    </p:anim>
                                    <p:anim calcmode="lin" valueType="num">
                                      <p:cBhvr additive="base">
                                        <p:cTn id="8" dur="2000" fill="hold"/>
                                        <p:tgtEl>
                                          <p:spTgt spid="4"/>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17_Custom Layou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CD2B06C0-CBE8-405B-8A49-1EDA08527EB6}"/>
              </a:ext>
            </a:extLst>
          </p:cNvPr>
          <p:cNvSpPr>
            <a:spLocks noGrp="1"/>
          </p:cNvSpPr>
          <p:nvPr>
            <p:ph type="pic" sz="quarter" idx="16"/>
          </p:nvPr>
        </p:nvSpPr>
        <p:spPr>
          <a:xfrm>
            <a:off x="1566817" y="1035169"/>
            <a:ext cx="3476803" cy="4917057"/>
          </a:xfrm>
          <a:custGeom>
            <a:avLst/>
            <a:gdLst>
              <a:gd name="connsiteX0" fmla="*/ 0 w 10629900"/>
              <a:gd name="connsiteY0" fmla="*/ 0 h 13715999"/>
              <a:gd name="connsiteX1" fmla="*/ 10629900 w 10629900"/>
              <a:gd name="connsiteY1" fmla="*/ 0 h 13715999"/>
              <a:gd name="connsiteX2" fmla="*/ 10629900 w 10629900"/>
              <a:gd name="connsiteY2" fmla="*/ 13715999 h 13715999"/>
              <a:gd name="connsiteX3" fmla="*/ 0 w 10629900"/>
              <a:gd name="connsiteY3" fmla="*/ 13715999 h 13715999"/>
            </a:gdLst>
            <a:ahLst/>
            <a:cxnLst>
              <a:cxn ang="0">
                <a:pos x="connsiteX0" y="connsiteY0"/>
              </a:cxn>
              <a:cxn ang="0">
                <a:pos x="connsiteX1" y="connsiteY1"/>
              </a:cxn>
              <a:cxn ang="0">
                <a:pos x="connsiteX2" y="connsiteY2"/>
              </a:cxn>
              <a:cxn ang="0">
                <a:pos x="connsiteX3" y="connsiteY3"/>
              </a:cxn>
            </a:cxnLst>
            <a:rect l="l" t="t" r="r" b="b"/>
            <a:pathLst>
              <a:path w="10629900" h="13715999">
                <a:moveTo>
                  <a:pt x="0" y="0"/>
                </a:moveTo>
                <a:lnTo>
                  <a:pt x="10629900" y="0"/>
                </a:lnTo>
                <a:lnTo>
                  <a:pt x="10629900" y="13715999"/>
                </a:lnTo>
                <a:lnTo>
                  <a:pt x="0" y="13715999"/>
                </a:ln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Tree>
    <p:extLst>
      <p:ext uri="{BB962C8B-B14F-4D97-AF65-F5344CB8AC3E}">
        <p14:creationId xmlns:p14="http://schemas.microsoft.com/office/powerpoint/2010/main" val="1380431708"/>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1" dur="2000" decel="100000" fill="hold" grpId="0" nodeType="withEffect">
                                  <p:stCondLst>
                                    <p:cond delay="100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2000" fill="hold"/>
                                        <p:tgtEl>
                                          <p:spTgt spid="3"/>
                                        </p:tgtEl>
                                        <p:attrNameLst>
                                          <p:attrName>ppt_x</p:attrName>
                                        </p:attrNameLst>
                                      </p:cBhvr>
                                      <p:tavLst>
                                        <p:tav tm="0">
                                          <p:val>
                                            <p:strVal val="#ppt_x"/>
                                          </p:val>
                                        </p:tav>
                                        <p:tav tm="100000">
                                          <p:val>
                                            <p:strVal val="#ppt_x"/>
                                          </p:val>
                                        </p:tav>
                                      </p:tavLst>
                                    </p:anim>
                                    <p:anim calcmode="lin" valueType="num">
                                      <p:cBhvr additive="base">
                                        <p:cTn id="8" dur="2000" fill="hold"/>
                                        <p:tgtEl>
                                          <p:spTgt spid="3"/>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18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CB2A7E9-3614-483C-A98C-8ECE0BE80B01}"/>
              </a:ext>
            </a:extLst>
          </p:cNvPr>
          <p:cNvSpPr>
            <a:spLocks noGrp="1"/>
          </p:cNvSpPr>
          <p:nvPr>
            <p:ph type="pic" sz="quarter" idx="16"/>
          </p:nvPr>
        </p:nvSpPr>
        <p:spPr>
          <a:xfrm>
            <a:off x="781742" y="647700"/>
            <a:ext cx="10628516" cy="5524500"/>
          </a:xfrm>
          <a:custGeom>
            <a:avLst/>
            <a:gdLst>
              <a:gd name="connsiteX0" fmla="*/ 0 w 21259800"/>
              <a:gd name="connsiteY0" fmla="*/ 0 h 11049000"/>
              <a:gd name="connsiteX1" fmla="*/ 21259800 w 21259800"/>
              <a:gd name="connsiteY1" fmla="*/ 0 h 11049000"/>
              <a:gd name="connsiteX2" fmla="*/ 21259800 w 21259800"/>
              <a:gd name="connsiteY2" fmla="*/ 11049000 h 11049000"/>
              <a:gd name="connsiteX3" fmla="*/ 0 w 21259800"/>
              <a:gd name="connsiteY3" fmla="*/ 11049000 h 11049000"/>
            </a:gdLst>
            <a:ahLst/>
            <a:cxnLst>
              <a:cxn ang="0">
                <a:pos x="connsiteX0" y="connsiteY0"/>
              </a:cxn>
              <a:cxn ang="0">
                <a:pos x="connsiteX1" y="connsiteY1"/>
              </a:cxn>
              <a:cxn ang="0">
                <a:pos x="connsiteX2" y="connsiteY2"/>
              </a:cxn>
              <a:cxn ang="0">
                <a:pos x="connsiteX3" y="connsiteY3"/>
              </a:cxn>
            </a:cxnLst>
            <a:rect l="l" t="t" r="r" b="b"/>
            <a:pathLst>
              <a:path w="21259800" h="11049000">
                <a:moveTo>
                  <a:pt x="0" y="0"/>
                </a:moveTo>
                <a:lnTo>
                  <a:pt x="21259800" y="0"/>
                </a:lnTo>
                <a:lnTo>
                  <a:pt x="21259800" y="11049000"/>
                </a:lnTo>
                <a:lnTo>
                  <a:pt x="0" y="11049000"/>
                </a:ln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Tree>
    <p:extLst>
      <p:ext uri="{BB962C8B-B14F-4D97-AF65-F5344CB8AC3E}">
        <p14:creationId xmlns:p14="http://schemas.microsoft.com/office/powerpoint/2010/main" val="4184180454"/>
      </p:ext>
    </p:extLst>
  </p:cSld>
  <p:clrMapOvr>
    <a:masterClrMapping/>
  </p:clrMapOvr>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9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CB2A7E9-3614-483C-A98C-8ECE0BE80B01}"/>
              </a:ext>
            </a:extLst>
          </p:cNvPr>
          <p:cNvSpPr>
            <a:spLocks noGrp="1"/>
          </p:cNvSpPr>
          <p:nvPr>
            <p:ph type="pic" sz="quarter" idx="16"/>
          </p:nvPr>
        </p:nvSpPr>
        <p:spPr>
          <a:xfrm>
            <a:off x="3616788" y="647700"/>
            <a:ext cx="7793470" cy="5524500"/>
          </a:xfrm>
          <a:custGeom>
            <a:avLst/>
            <a:gdLst>
              <a:gd name="connsiteX0" fmla="*/ 0 w 21259800"/>
              <a:gd name="connsiteY0" fmla="*/ 0 h 11049000"/>
              <a:gd name="connsiteX1" fmla="*/ 21259800 w 21259800"/>
              <a:gd name="connsiteY1" fmla="*/ 0 h 11049000"/>
              <a:gd name="connsiteX2" fmla="*/ 21259800 w 21259800"/>
              <a:gd name="connsiteY2" fmla="*/ 11049000 h 11049000"/>
              <a:gd name="connsiteX3" fmla="*/ 0 w 21259800"/>
              <a:gd name="connsiteY3" fmla="*/ 11049000 h 11049000"/>
            </a:gdLst>
            <a:ahLst/>
            <a:cxnLst>
              <a:cxn ang="0">
                <a:pos x="connsiteX0" y="connsiteY0"/>
              </a:cxn>
              <a:cxn ang="0">
                <a:pos x="connsiteX1" y="connsiteY1"/>
              </a:cxn>
              <a:cxn ang="0">
                <a:pos x="connsiteX2" y="connsiteY2"/>
              </a:cxn>
              <a:cxn ang="0">
                <a:pos x="connsiteX3" y="connsiteY3"/>
              </a:cxn>
            </a:cxnLst>
            <a:rect l="l" t="t" r="r" b="b"/>
            <a:pathLst>
              <a:path w="21259800" h="11049000">
                <a:moveTo>
                  <a:pt x="0" y="0"/>
                </a:moveTo>
                <a:lnTo>
                  <a:pt x="21259800" y="0"/>
                </a:lnTo>
                <a:lnTo>
                  <a:pt x="21259800" y="11049000"/>
                </a:lnTo>
                <a:lnTo>
                  <a:pt x="0" y="11049000"/>
                </a:ln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Tree>
    <p:extLst>
      <p:ext uri="{BB962C8B-B14F-4D97-AF65-F5344CB8AC3E}">
        <p14:creationId xmlns:p14="http://schemas.microsoft.com/office/powerpoint/2010/main" val="1538966208"/>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8" dur="1900" decel="10000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900" fill="hold"/>
                                        <p:tgtEl>
                                          <p:spTgt spid="4"/>
                                        </p:tgtEl>
                                        <p:attrNameLst>
                                          <p:attrName>ppt_x</p:attrName>
                                        </p:attrNameLst>
                                      </p:cBhvr>
                                      <p:tavLst>
                                        <p:tav tm="0">
                                          <p:val>
                                            <p:strVal val="0-#ppt_w/2"/>
                                          </p:val>
                                        </p:tav>
                                        <p:tav tm="100000">
                                          <p:val>
                                            <p:strVal val="#ppt_x"/>
                                          </p:val>
                                        </p:tav>
                                      </p:tavLst>
                                    </p:anim>
                                    <p:anim calcmode="lin" valueType="num">
                                      <p:cBhvr additive="base">
                                        <p:cTn id="8" dur="190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5B327254-466C-4606-8589-BCC72CBDADDF}"/>
              </a:ext>
            </a:extLst>
          </p:cNvPr>
          <p:cNvSpPr>
            <a:spLocks noGrp="1"/>
          </p:cNvSpPr>
          <p:nvPr>
            <p:ph type="sldNum" sz="quarter" idx="10"/>
          </p:nvPr>
        </p:nvSpPr>
        <p:spPr/>
        <p:txBody>
          <a:bodyPr/>
          <a:lstStyle/>
          <a:p>
            <a:fld id="{A04BEB4F-8CE1-4F18-986F-6CE0A0BE9470}" type="slidenum">
              <a:rPr lang="de-DE" smtClean="0"/>
              <a:t>‹#›</a:t>
            </a:fld>
            <a:endParaRPr lang="de-DE"/>
          </a:p>
        </p:txBody>
      </p:sp>
      <p:sp>
        <p:nvSpPr>
          <p:cNvPr id="4" name="Textfeld 3">
            <a:extLst>
              <a:ext uri="{FF2B5EF4-FFF2-40B4-BE49-F238E27FC236}">
                <a16:creationId xmlns:a16="http://schemas.microsoft.com/office/drawing/2014/main" id="{1F1512C8-A5D3-4625-93D0-A51172C5F58F}"/>
              </a:ext>
            </a:extLst>
          </p:cNvPr>
          <p:cNvSpPr txBox="1"/>
          <p:nvPr userDrawn="1"/>
        </p:nvSpPr>
        <p:spPr>
          <a:xfrm>
            <a:off x="815951" y="1076602"/>
            <a:ext cx="2303253" cy="430887"/>
          </a:xfrm>
          <a:prstGeom prst="rect">
            <a:avLst/>
          </a:prstGeom>
          <a:noFill/>
        </p:spPr>
        <p:txBody>
          <a:bodyPr wrap="square" lIns="0" tIns="0" rIns="0" bIns="0" rtlCol="0">
            <a:spAutoFit/>
          </a:bodyPr>
          <a:lstStyle/>
          <a:p>
            <a:pPr algn="l"/>
            <a:r>
              <a:rPr lang="de-DE" sz="2800" kern="1200">
                <a:solidFill>
                  <a:schemeClr val="tx2"/>
                </a:solidFill>
                <a:latin typeface="+mj-lt"/>
                <a:ea typeface="+mj-ea"/>
                <a:cs typeface="+mj-cs"/>
              </a:rPr>
              <a:t>Agenda</a:t>
            </a:r>
          </a:p>
        </p:txBody>
      </p:sp>
      <p:sp>
        <p:nvSpPr>
          <p:cNvPr id="122" name="Freihandform: Form 121">
            <a:extLst>
              <a:ext uri="{FF2B5EF4-FFF2-40B4-BE49-F238E27FC236}">
                <a16:creationId xmlns:a16="http://schemas.microsoft.com/office/drawing/2014/main" id="{BC43029A-5265-4954-A3A5-CD3CB5C7478D}"/>
              </a:ext>
            </a:extLst>
          </p:cNvPr>
          <p:cNvSpPr/>
          <p:nvPr/>
        </p:nvSpPr>
        <p:spPr>
          <a:xfrm>
            <a:off x="11841261" y="4050916"/>
            <a:ext cx="347243" cy="376374"/>
          </a:xfrm>
          <a:custGeom>
            <a:avLst/>
            <a:gdLst>
              <a:gd name="connsiteX0" fmla="*/ 158473 w 347243"/>
              <a:gd name="connsiteY0" fmla="*/ 376375 h 376374"/>
              <a:gd name="connsiteX1" fmla="*/ 0 w 347243"/>
              <a:gd name="connsiteY1" fmla="*/ 376375 h 376374"/>
              <a:gd name="connsiteX2" fmla="*/ 185274 w 347243"/>
              <a:gd name="connsiteY2" fmla="*/ 189935 h 376374"/>
              <a:gd name="connsiteX3" fmla="*/ 0 w 347243"/>
              <a:gd name="connsiteY3" fmla="*/ 0 h 376374"/>
              <a:gd name="connsiteX4" fmla="*/ 161969 w 347243"/>
              <a:gd name="connsiteY4" fmla="*/ 0 h 376374"/>
              <a:gd name="connsiteX5" fmla="*/ 347244 w 347243"/>
              <a:gd name="connsiteY5" fmla="*/ 185274 h 376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7243" h="376374">
                <a:moveTo>
                  <a:pt x="158473" y="376375"/>
                </a:moveTo>
                <a:lnTo>
                  <a:pt x="0" y="376375"/>
                </a:lnTo>
                <a:lnTo>
                  <a:pt x="185274" y="189935"/>
                </a:lnTo>
                <a:lnTo>
                  <a:pt x="0" y="0"/>
                </a:lnTo>
                <a:lnTo>
                  <a:pt x="161969" y="0"/>
                </a:lnTo>
                <a:lnTo>
                  <a:pt x="347244" y="185274"/>
                </a:lnTo>
                <a:close/>
              </a:path>
            </a:pathLst>
          </a:custGeom>
          <a:solidFill>
            <a:srgbClr val="EEF2F5"/>
          </a:solidFill>
          <a:ln w="11643" cap="flat">
            <a:noFill/>
            <a:prstDash val="solid"/>
            <a:miter/>
          </a:ln>
        </p:spPr>
        <p:txBody>
          <a:bodyPr rtlCol="0" anchor="ctr"/>
          <a:lstStyle/>
          <a:p>
            <a:endParaRPr lang="de-DE"/>
          </a:p>
        </p:txBody>
      </p:sp>
      <p:sp>
        <p:nvSpPr>
          <p:cNvPr id="138" name="Freihandform: Form 137">
            <a:extLst>
              <a:ext uri="{FF2B5EF4-FFF2-40B4-BE49-F238E27FC236}">
                <a16:creationId xmlns:a16="http://schemas.microsoft.com/office/drawing/2014/main" id="{5B458F82-191F-4A0B-9761-26D447FE3BDA}"/>
              </a:ext>
            </a:extLst>
          </p:cNvPr>
          <p:cNvSpPr/>
          <p:nvPr/>
        </p:nvSpPr>
        <p:spPr>
          <a:xfrm>
            <a:off x="11841261" y="4405152"/>
            <a:ext cx="347243" cy="377540"/>
          </a:xfrm>
          <a:custGeom>
            <a:avLst/>
            <a:gdLst>
              <a:gd name="connsiteX0" fmla="*/ 158473 w 347243"/>
              <a:gd name="connsiteY0" fmla="*/ 377540 h 377540"/>
              <a:gd name="connsiteX1" fmla="*/ 0 w 347243"/>
              <a:gd name="connsiteY1" fmla="*/ 377540 h 377540"/>
              <a:gd name="connsiteX2" fmla="*/ 185274 w 347243"/>
              <a:gd name="connsiteY2" fmla="*/ 189935 h 377540"/>
              <a:gd name="connsiteX3" fmla="*/ 0 w 347243"/>
              <a:gd name="connsiteY3" fmla="*/ 0 h 377540"/>
              <a:gd name="connsiteX4" fmla="*/ 161969 w 347243"/>
              <a:gd name="connsiteY4" fmla="*/ 0 h 377540"/>
              <a:gd name="connsiteX5" fmla="*/ 347244 w 347243"/>
              <a:gd name="connsiteY5" fmla="*/ 185274 h 377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7243" h="377540">
                <a:moveTo>
                  <a:pt x="158473" y="377540"/>
                </a:moveTo>
                <a:lnTo>
                  <a:pt x="0" y="377540"/>
                </a:lnTo>
                <a:lnTo>
                  <a:pt x="185274" y="189935"/>
                </a:lnTo>
                <a:lnTo>
                  <a:pt x="0" y="0"/>
                </a:lnTo>
                <a:lnTo>
                  <a:pt x="161969" y="0"/>
                </a:lnTo>
                <a:lnTo>
                  <a:pt x="347244" y="185274"/>
                </a:lnTo>
                <a:close/>
              </a:path>
            </a:pathLst>
          </a:custGeom>
          <a:solidFill>
            <a:srgbClr val="EEF2F5"/>
          </a:solidFill>
          <a:ln w="11643" cap="flat">
            <a:noFill/>
            <a:prstDash val="solid"/>
            <a:miter/>
          </a:ln>
        </p:spPr>
        <p:txBody>
          <a:bodyPr rtlCol="0" anchor="ctr"/>
          <a:lstStyle/>
          <a:p>
            <a:endParaRPr lang="de-DE"/>
          </a:p>
        </p:txBody>
      </p:sp>
      <p:sp>
        <p:nvSpPr>
          <p:cNvPr id="105" name="Freihandform: Form 104">
            <a:extLst>
              <a:ext uri="{FF2B5EF4-FFF2-40B4-BE49-F238E27FC236}">
                <a16:creationId xmlns:a16="http://schemas.microsoft.com/office/drawing/2014/main" id="{5C4533A5-54AE-4D76-A4AF-E6486B2E759F}"/>
              </a:ext>
            </a:extLst>
          </p:cNvPr>
          <p:cNvSpPr/>
          <p:nvPr/>
        </p:nvSpPr>
        <p:spPr>
          <a:xfrm>
            <a:off x="11494017" y="3704837"/>
            <a:ext cx="330930" cy="358896"/>
          </a:xfrm>
          <a:custGeom>
            <a:avLst/>
            <a:gdLst>
              <a:gd name="connsiteX0" fmla="*/ 151482 w 330930"/>
              <a:gd name="connsiteY0" fmla="*/ 358896 h 358896"/>
              <a:gd name="connsiteX1" fmla="*/ 0 w 330930"/>
              <a:gd name="connsiteY1" fmla="*/ 358896 h 358896"/>
              <a:gd name="connsiteX2" fmla="*/ 177118 w 330930"/>
              <a:gd name="connsiteY2" fmla="*/ 180613 h 358896"/>
              <a:gd name="connsiteX3" fmla="*/ 0 w 330930"/>
              <a:gd name="connsiteY3" fmla="*/ 0 h 358896"/>
              <a:gd name="connsiteX4" fmla="*/ 154979 w 330930"/>
              <a:gd name="connsiteY4" fmla="*/ 0 h 358896"/>
              <a:gd name="connsiteX5" fmla="*/ 330931 w 330930"/>
              <a:gd name="connsiteY5" fmla="*/ 175953 h 358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930" h="358896">
                <a:moveTo>
                  <a:pt x="151482" y="358896"/>
                </a:moveTo>
                <a:lnTo>
                  <a:pt x="0" y="358896"/>
                </a:lnTo>
                <a:lnTo>
                  <a:pt x="177118" y="180613"/>
                </a:lnTo>
                <a:lnTo>
                  <a:pt x="0" y="0"/>
                </a:lnTo>
                <a:lnTo>
                  <a:pt x="154979" y="0"/>
                </a:lnTo>
                <a:lnTo>
                  <a:pt x="330931" y="175953"/>
                </a:lnTo>
                <a:close/>
              </a:path>
            </a:pathLst>
          </a:custGeom>
          <a:solidFill>
            <a:srgbClr val="EEF2F5"/>
          </a:solidFill>
          <a:ln w="11643" cap="flat">
            <a:noFill/>
            <a:prstDash val="solid"/>
            <a:miter/>
          </a:ln>
        </p:spPr>
        <p:txBody>
          <a:bodyPr rtlCol="0" anchor="ctr"/>
          <a:lstStyle/>
          <a:p>
            <a:endParaRPr lang="de-DE"/>
          </a:p>
        </p:txBody>
      </p:sp>
      <p:sp>
        <p:nvSpPr>
          <p:cNvPr id="121" name="Freihandform: Form 120">
            <a:extLst>
              <a:ext uri="{FF2B5EF4-FFF2-40B4-BE49-F238E27FC236}">
                <a16:creationId xmlns:a16="http://schemas.microsoft.com/office/drawing/2014/main" id="{2C765BDB-0971-4930-98E2-992157EFF29E}"/>
              </a:ext>
            </a:extLst>
          </p:cNvPr>
          <p:cNvSpPr/>
          <p:nvPr/>
        </p:nvSpPr>
        <p:spPr>
          <a:xfrm>
            <a:off x="11494017" y="4059073"/>
            <a:ext cx="330930" cy="360061"/>
          </a:xfrm>
          <a:custGeom>
            <a:avLst/>
            <a:gdLst>
              <a:gd name="connsiteX0" fmla="*/ 151482 w 330930"/>
              <a:gd name="connsiteY0" fmla="*/ 360062 h 360061"/>
              <a:gd name="connsiteX1" fmla="*/ 0 w 330930"/>
              <a:gd name="connsiteY1" fmla="*/ 360062 h 360061"/>
              <a:gd name="connsiteX2" fmla="*/ 177118 w 330930"/>
              <a:gd name="connsiteY2" fmla="*/ 181779 h 360061"/>
              <a:gd name="connsiteX3" fmla="*/ 0 w 330930"/>
              <a:gd name="connsiteY3" fmla="*/ 0 h 360061"/>
              <a:gd name="connsiteX4" fmla="*/ 154979 w 330930"/>
              <a:gd name="connsiteY4" fmla="*/ 0 h 360061"/>
              <a:gd name="connsiteX5" fmla="*/ 330931 w 330930"/>
              <a:gd name="connsiteY5" fmla="*/ 177118 h 360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930" h="360061">
                <a:moveTo>
                  <a:pt x="151482" y="360062"/>
                </a:moveTo>
                <a:lnTo>
                  <a:pt x="0" y="360062"/>
                </a:lnTo>
                <a:lnTo>
                  <a:pt x="177118" y="181779"/>
                </a:lnTo>
                <a:lnTo>
                  <a:pt x="0" y="0"/>
                </a:lnTo>
                <a:lnTo>
                  <a:pt x="154979" y="0"/>
                </a:lnTo>
                <a:lnTo>
                  <a:pt x="330931" y="177118"/>
                </a:lnTo>
                <a:close/>
              </a:path>
            </a:pathLst>
          </a:custGeom>
          <a:solidFill>
            <a:srgbClr val="EEF2F5"/>
          </a:solidFill>
          <a:ln w="11643" cap="flat">
            <a:noFill/>
            <a:prstDash val="solid"/>
            <a:miter/>
          </a:ln>
        </p:spPr>
        <p:txBody>
          <a:bodyPr rtlCol="0" anchor="ctr"/>
          <a:lstStyle/>
          <a:p>
            <a:endParaRPr lang="de-DE"/>
          </a:p>
        </p:txBody>
      </p:sp>
      <p:sp>
        <p:nvSpPr>
          <p:cNvPr id="137" name="Freihandform: Form 136">
            <a:extLst>
              <a:ext uri="{FF2B5EF4-FFF2-40B4-BE49-F238E27FC236}">
                <a16:creationId xmlns:a16="http://schemas.microsoft.com/office/drawing/2014/main" id="{FFF7FEBD-DC05-4243-8288-65567FB9B1FC}"/>
              </a:ext>
            </a:extLst>
          </p:cNvPr>
          <p:cNvSpPr/>
          <p:nvPr/>
        </p:nvSpPr>
        <p:spPr>
          <a:xfrm>
            <a:off x="11494017" y="4414474"/>
            <a:ext cx="330930" cy="358896"/>
          </a:xfrm>
          <a:custGeom>
            <a:avLst/>
            <a:gdLst>
              <a:gd name="connsiteX0" fmla="*/ 151482 w 330930"/>
              <a:gd name="connsiteY0" fmla="*/ 358896 h 358896"/>
              <a:gd name="connsiteX1" fmla="*/ 0 w 330930"/>
              <a:gd name="connsiteY1" fmla="*/ 358896 h 358896"/>
              <a:gd name="connsiteX2" fmla="*/ 177118 w 330930"/>
              <a:gd name="connsiteY2" fmla="*/ 180613 h 358896"/>
              <a:gd name="connsiteX3" fmla="*/ 0 w 330930"/>
              <a:gd name="connsiteY3" fmla="*/ 0 h 358896"/>
              <a:gd name="connsiteX4" fmla="*/ 154979 w 330930"/>
              <a:gd name="connsiteY4" fmla="*/ 0 h 358896"/>
              <a:gd name="connsiteX5" fmla="*/ 330931 w 330930"/>
              <a:gd name="connsiteY5" fmla="*/ 175952 h 358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930" h="358896">
                <a:moveTo>
                  <a:pt x="151482" y="358896"/>
                </a:moveTo>
                <a:lnTo>
                  <a:pt x="0" y="358896"/>
                </a:lnTo>
                <a:lnTo>
                  <a:pt x="177118" y="180613"/>
                </a:lnTo>
                <a:lnTo>
                  <a:pt x="0" y="0"/>
                </a:lnTo>
                <a:lnTo>
                  <a:pt x="154979" y="0"/>
                </a:lnTo>
                <a:lnTo>
                  <a:pt x="330931" y="175952"/>
                </a:lnTo>
                <a:close/>
              </a:path>
            </a:pathLst>
          </a:custGeom>
          <a:solidFill>
            <a:srgbClr val="EEF2F5"/>
          </a:solidFill>
          <a:ln w="11643" cap="flat">
            <a:noFill/>
            <a:prstDash val="solid"/>
            <a:miter/>
          </a:ln>
        </p:spPr>
        <p:txBody>
          <a:bodyPr rtlCol="0" anchor="ctr"/>
          <a:lstStyle/>
          <a:p>
            <a:endParaRPr lang="de-DE"/>
          </a:p>
        </p:txBody>
      </p:sp>
      <p:sp>
        <p:nvSpPr>
          <p:cNvPr id="154" name="Freihandform: Form 153">
            <a:extLst>
              <a:ext uri="{FF2B5EF4-FFF2-40B4-BE49-F238E27FC236}">
                <a16:creationId xmlns:a16="http://schemas.microsoft.com/office/drawing/2014/main" id="{46119847-314D-4401-B853-7CDAC232D928}"/>
              </a:ext>
            </a:extLst>
          </p:cNvPr>
          <p:cNvSpPr/>
          <p:nvPr/>
        </p:nvSpPr>
        <p:spPr>
          <a:xfrm>
            <a:off x="11494017" y="4768709"/>
            <a:ext cx="330930" cy="360061"/>
          </a:xfrm>
          <a:custGeom>
            <a:avLst/>
            <a:gdLst>
              <a:gd name="connsiteX0" fmla="*/ 151482 w 330930"/>
              <a:gd name="connsiteY0" fmla="*/ 360062 h 360061"/>
              <a:gd name="connsiteX1" fmla="*/ 0 w 330930"/>
              <a:gd name="connsiteY1" fmla="*/ 360062 h 360061"/>
              <a:gd name="connsiteX2" fmla="*/ 177118 w 330930"/>
              <a:gd name="connsiteY2" fmla="*/ 181779 h 360061"/>
              <a:gd name="connsiteX3" fmla="*/ 0 w 330930"/>
              <a:gd name="connsiteY3" fmla="*/ 0 h 360061"/>
              <a:gd name="connsiteX4" fmla="*/ 154979 w 330930"/>
              <a:gd name="connsiteY4" fmla="*/ 0 h 360061"/>
              <a:gd name="connsiteX5" fmla="*/ 330931 w 330930"/>
              <a:gd name="connsiteY5" fmla="*/ 177118 h 360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930" h="360061">
                <a:moveTo>
                  <a:pt x="151482" y="360062"/>
                </a:moveTo>
                <a:lnTo>
                  <a:pt x="0" y="360062"/>
                </a:lnTo>
                <a:lnTo>
                  <a:pt x="177118" y="181779"/>
                </a:lnTo>
                <a:lnTo>
                  <a:pt x="0" y="0"/>
                </a:lnTo>
                <a:lnTo>
                  <a:pt x="154979" y="0"/>
                </a:lnTo>
                <a:lnTo>
                  <a:pt x="330931" y="177118"/>
                </a:lnTo>
                <a:close/>
              </a:path>
            </a:pathLst>
          </a:custGeom>
          <a:solidFill>
            <a:srgbClr val="EEF2F5"/>
          </a:solidFill>
          <a:ln w="11643" cap="flat">
            <a:noFill/>
            <a:prstDash val="solid"/>
            <a:miter/>
          </a:ln>
        </p:spPr>
        <p:txBody>
          <a:bodyPr rtlCol="0" anchor="ctr"/>
          <a:lstStyle/>
          <a:p>
            <a:endParaRPr lang="de-DE"/>
          </a:p>
        </p:txBody>
      </p:sp>
      <p:sp>
        <p:nvSpPr>
          <p:cNvPr id="88" name="Freihandform: Form 87">
            <a:extLst>
              <a:ext uri="{FF2B5EF4-FFF2-40B4-BE49-F238E27FC236}">
                <a16:creationId xmlns:a16="http://schemas.microsoft.com/office/drawing/2014/main" id="{021EABD8-89C7-4331-9946-CAAC34E3DC2D}"/>
              </a:ext>
            </a:extLst>
          </p:cNvPr>
          <p:cNvSpPr/>
          <p:nvPr/>
        </p:nvSpPr>
        <p:spPr>
          <a:xfrm>
            <a:off x="11147939" y="3358759"/>
            <a:ext cx="314616" cy="341417"/>
          </a:xfrm>
          <a:custGeom>
            <a:avLst/>
            <a:gdLst>
              <a:gd name="connsiteX0" fmla="*/ 143325 w 314616"/>
              <a:gd name="connsiteY0" fmla="*/ 341418 h 341417"/>
              <a:gd name="connsiteX1" fmla="*/ 0 w 314616"/>
              <a:gd name="connsiteY1" fmla="*/ 341418 h 341417"/>
              <a:gd name="connsiteX2" fmla="*/ 167795 w 314616"/>
              <a:gd name="connsiteY2" fmla="*/ 172457 h 341417"/>
              <a:gd name="connsiteX3" fmla="*/ 0 w 314616"/>
              <a:gd name="connsiteY3" fmla="*/ 0 h 341417"/>
              <a:gd name="connsiteX4" fmla="*/ 146821 w 314616"/>
              <a:gd name="connsiteY4" fmla="*/ 0 h 341417"/>
              <a:gd name="connsiteX5" fmla="*/ 314617 w 314616"/>
              <a:gd name="connsiteY5" fmla="*/ 167796 h 341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4616" h="341417">
                <a:moveTo>
                  <a:pt x="143325" y="341418"/>
                </a:moveTo>
                <a:lnTo>
                  <a:pt x="0" y="341418"/>
                </a:lnTo>
                <a:lnTo>
                  <a:pt x="167795" y="172457"/>
                </a:lnTo>
                <a:lnTo>
                  <a:pt x="0" y="0"/>
                </a:lnTo>
                <a:lnTo>
                  <a:pt x="146821" y="0"/>
                </a:lnTo>
                <a:lnTo>
                  <a:pt x="314617" y="167796"/>
                </a:lnTo>
                <a:close/>
              </a:path>
            </a:pathLst>
          </a:custGeom>
          <a:solidFill>
            <a:srgbClr val="EEF2F5"/>
          </a:solidFill>
          <a:ln w="11643" cap="flat">
            <a:noFill/>
            <a:prstDash val="solid"/>
            <a:miter/>
          </a:ln>
        </p:spPr>
        <p:txBody>
          <a:bodyPr rtlCol="0" anchor="ctr"/>
          <a:lstStyle/>
          <a:p>
            <a:endParaRPr lang="de-DE"/>
          </a:p>
        </p:txBody>
      </p:sp>
      <p:sp>
        <p:nvSpPr>
          <p:cNvPr id="104" name="Freihandform: Form 103">
            <a:extLst>
              <a:ext uri="{FF2B5EF4-FFF2-40B4-BE49-F238E27FC236}">
                <a16:creationId xmlns:a16="http://schemas.microsoft.com/office/drawing/2014/main" id="{2DAD8994-DFB7-4D8A-B3A1-95AEBE830246}"/>
              </a:ext>
            </a:extLst>
          </p:cNvPr>
          <p:cNvSpPr/>
          <p:nvPr/>
        </p:nvSpPr>
        <p:spPr>
          <a:xfrm>
            <a:off x="11147939" y="3714159"/>
            <a:ext cx="314616" cy="340252"/>
          </a:xfrm>
          <a:custGeom>
            <a:avLst/>
            <a:gdLst>
              <a:gd name="connsiteX0" fmla="*/ 143325 w 314616"/>
              <a:gd name="connsiteY0" fmla="*/ 340252 h 340252"/>
              <a:gd name="connsiteX1" fmla="*/ 0 w 314616"/>
              <a:gd name="connsiteY1" fmla="*/ 340252 h 340252"/>
              <a:gd name="connsiteX2" fmla="*/ 167795 w 314616"/>
              <a:gd name="connsiteY2" fmla="*/ 171291 h 340252"/>
              <a:gd name="connsiteX3" fmla="*/ 0 w 314616"/>
              <a:gd name="connsiteY3" fmla="*/ 0 h 340252"/>
              <a:gd name="connsiteX4" fmla="*/ 146821 w 314616"/>
              <a:gd name="connsiteY4" fmla="*/ 0 h 340252"/>
              <a:gd name="connsiteX5" fmla="*/ 314617 w 314616"/>
              <a:gd name="connsiteY5" fmla="*/ 166631 h 340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4616" h="340252">
                <a:moveTo>
                  <a:pt x="143325" y="340252"/>
                </a:moveTo>
                <a:lnTo>
                  <a:pt x="0" y="340252"/>
                </a:lnTo>
                <a:lnTo>
                  <a:pt x="167795" y="171291"/>
                </a:lnTo>
                <a:lnTo>
                  <a:pt x="0" y="0"/>
                </a:lnTo>
                <a:lnTo>
                  <a:pt x="146821" y="0"/>
                </a:lnTo>
                <a:lnTo>
                  <a:pt x="314617" y="166631"/>
                </a:lnTo>
                <a:close/>
              </a:path>
            </a:pathLst>
          </a:custGeom>
          <a:solidFill>
            <a:srgbClr val="EEF2F5"/>
          </a:solidFill>
          <a:ln w="11643" cap="flat">
            <a:noFill/>
            <a:prstDash val="solid"/>
            <a:miter/>
          </a:ln>
        </p:spPr>
        <p:txBody>
          <a:bodyPr rtlCol="0" anchor="ctr"/>
          <a:lstStyle/>
          <a:p>
            <a:endParaRPr lang="de-DE"/>
          </a:p>
        </p:txBody>
      </p:sp>
      <p:sp>
        <p:nvSpPr>
          <p:cNvPr id="120" name="Freihandform: Form 119">
            <a:extLst>
              <a:ext uri="{FF2B5EF4-FFF2-40B4-BE49-F238E27FC236}">
                <a16:creationId xmlns:a16="http://schemas.microsoft.com/office/drawing/2014/main" id="{9CAC8A30-61AB-4046-B8E4-22F4EC6F7681}"/>
              </a:ext>
            </a:extLst>
          </p:cNvPr>
          <p:cNvSpPr/>
          <p:nvPr/>
        </p:nvSpPr>
        <p:spPr>
          <a:xfrm>
            <a:off x="11147939" y="4068395"/>
            <a:ext cx="314616" cy="341417"/>
          </a:xfrm>
          <a:custGeom>
            <a:avLst/>
            <a:gdLst>
              <a:gd name="connsiteX0" fmla="*/ 143325 w 314616"/>
              <a:gd name="connsiteY0" fmla="*/ 341418 h 341417"/>
              <a:gd name="connsiteX1" fmla="*/ 0 w 314616"/>
              <a:gd name="connsiteY1" fmla="*/ 341418 h 341417"/>
              <a:gd name="connsiteX2" fmla="*/ 167795 w 314616"/>
              <a:gd name="connsiteY2" fmla="*/ 172457 h 341417"/>
              <a:gd name="connsiteX3" fmla="*/ 0 w 314616"/>
              <a:gd name="connsiteY3" fmla="*/ 0 h 341417"/>
              <a:gd name="connsiteX4" fmla="*/ 146821 w 314616"/>
              <a:gd name="connsiteY4" fmla="*/ 0 h 341417"/>
              <a:gd name="connsiteX5" fmla="*/ 314617 w 314616"/>
              <a:gd name="connsiteY5" fmla="*/ 167796 h 341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4616" h="341417">
                <a:moveTo>
                  <a:pt x="143325" y="341418"/>
                </a:moveTo>
                <a:lnTo>
                  <a:pt x="0" y="341418"/>
                </a:lnTo>
                <a:lnTo>
                  <a:pt x="167795" y="172457"/>
                </a:lnTo>
                <a:lnTo>
                  <a:pt x="0" y="0"/>
                </a:lnTo>
                <a:lnTo>
                  <a:pt x="146821" y="0"/>
                </a:lnTo>
                <a:lnTo>
                  <a:pt x="314617" y="167796"/>
                </a:lnTo>
                <a:close/>
              </a:path>
            </a:pathLst>
          </a:custGeom>
          <a:solidFill>
            <a:srgbClr val="EEF2F5"/>
          </a:solidFill>
          <a:ln w="11643" cap="flat">
            <a:noFill/>
            <a:prstDash val="solid"/>
            <a:miter/>
          </a:ln>
        </p:spPr>
        <p:txBody>
          <a:bodyPr rtlCol="0" anchor="ctr"/>
          <a:lstStyle/>
          <a:p>
            <a:endParaRPr lang="de-DE"/>
          </a:p>
        </p:txBody>
      </p:sp>
      <p:sp>
        <p:nvSpPr>
          <p:cNvPr id="136" name="Freihandform: Form 135">
            <a:extLst>
              <a:ext uri="{FF2B5EF4-FFF2-40B4-BE49-F238E27FC236}">
                <a16:creationId xmlns:a16="http://schemas.microsoft.com/office/drawing/2014/main" id="{514370C7-4CF6-451C-90DF-3B79CA5A0A59}"/>
              </a:ext>
            </a:extLst>
          </p:cNvPr>
          <p:cNvSpPr/>
          <p:nvPr/>
        </p:nvSpPr>
        <p:spPr>
          <a:xfrm>
            <a:off x="11147939" y="4423796"/>
            <a:ext cx="314616" cy="340252"/>
          </a:xfrm>
          <a:custGeom>
            <a:avLst/>
            <a:gdLst>
              <a:gd name="connsiteX0" fmla="*/ 143325 w 314616"/>
              <a:gd name="connsiteY0" fmla="*/ 340252 h 340252"/>
              <a:gd name="connsiteX1" fmla="*/ 0 w 314616"/>
              <a:gd name="connsiteY1" fmla="*/ 340252 h 340252"/>
              <a:gd name="connsiteX2" fmla="*/ 167795 w 314616"/>
              <a:gd name="connsiteY2" fmla="*/ 171291 h 340252"/>
              <a:gd name="connsiteX3" fmla="*/ 0 w 314616"/>
              <a:gd name="connsiteY3" fmla="*/ 0 h 340252"/>
              <a:gd name="connsiteX4" fmla="*/ 146821 w 314616"/>
              <a:gd name="connsiteY4" fmla="*/ 0 h 340252"/>
              <a:gd name="connsiteX5" fmla="*/ 314617 w 314616"/>
              <a:gd name="connsiteY5" fmla="*/ 167796 h 340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4616" h="340252">
                <a:moveTo>
                  <a:pt x="143325" y="340252"/>
                </a:moveTo>
                <a:lnTo>
                  <a:pt x="0" y="340252"/>
                </a:lnTo>
                <a:lnTo>
                  <a:pt x="167795" y="171291"/>
                </a:lnTo>
                <a:lnTo>
                  <a:pt x="0" y="0"/>
                </a:lnTo>
                <a:lnTo>
                  <a:pt x="146821" y="0"/>
                </a:lnTo>
                <a:lnTo>
                  <a:pt x="314617" y="167796"/>
                </a:lnTo>
                <a:close/>
              </a:path>
            </a:pathLst>
          </a:custGeom>
          <a:solidFill>
            <a:srgbClr val="EEF2F5"/>
          </a:solidFill>
          <a:ln w="11643" cap="flat">
            <a:noFill/>
            <a:prstDash val="solid"/>
            <a:miter/>
          </a:ln>
        </p:spPr>
        <p:txBody>
          <a:bodyPr rtlCol="0" anchor="ctr"/>
          <a:lstStyle/>
          <a:p>
            <a:endParaRPr lang="de-DE"/>
          </a:p>
        </p:txBody>
      </p:sp>
      <p:sp>
        <p:nvSpPr>
          <p:cNvPr id="153" name="Freihandform: Form 152">
            <a:extLst>
              <a:ext uri="{FF2B5EF4-FFF2-40B4-BE49-F238E27FC236}">
                <a16:creationId xmlns:a16="http://schemas.microsoft.com/office/drawing/2014/main" id="{6D62BA37-26ED-4588-AD4A-3F0CC1E972FD}"/>
              </a:ext>
            </a:extLst>
          </p:cNvPr>
          <p:cNvSpPr/>
          <p:nvPr/>
        </p:nvSpPr>
        <p:spPr>
          <a:xfrm>
            <a:off x="11147939" y="4778031"/>
            <a:ext cx="314616" cy="341417"/>
          </a:xfrm>
          <a:custGeom>
            <a:avLst/>
            <a:gdLst>
              <a:gd name="connsiteX0" fmla="*/ 143325 w 314616"/>
              <a:gd name="connsiteY0" fmla="*/ 341418 h 341417"/>
              <a:gd name="connsiteX1" fmla="*/ 0 w 314616"/>
              <a:gd name="connsiteY1" fmla="*/ 341418 h 341417"/>
              <a:gd name="connsiteX2" fmla="*/ 167795 w 314616"/>
              <a:gd name="connsiteY2" fmla="*/ 172457 h 341417"/>
              <a:gd name="connsiteX3" fmla="*/ 0 w 314616"/>
              <a:gd name="connsiteY3" fmla="*/ 0 h 341417"/>
              <a:gd name="connsiteX4" fmla="*/ 146821 w 314616"/>
              <a:gd name="connsiteY4" fmla="*/ 0 h 341417"/>
              <a:gd name="connsiteX5" fmla="*/ 314617 w 314616"/>
              <a:gd name="connsiteY5" fmla="*/ 167796 h 341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4616" h="341417">
                <a:moveTo>
                  <a:pt x="143325" y="341418"/>
                </a:moveTo>
                <a:lnTo>
                  <a:pt x="0" y="341418"/>
                </a:lnTo>
                <a:lnTo>
                  <a:pt x="167795" y="172457"/>
                </a:lnTo>
                <a:lnTo>
                  <a:pt x="0" y="0"/>
                </a:lnTo>
                <a:lnTo>
                  <a:pt x="146821" y="0"/>
                </a:lnTo>
                <a:lnTo>
                  <a:pt x="314617" y="167796"/>
                </a:lnTo>
                <a:close/>
              </a:path>
            </a:pathLst>
          </a:custGeom>
          <a:solidFill>
            <a:srgbClr val="EEF2F5"/>
          </a:solidFill>
          <a:ln w="11643" cap="flat">
            <a:noFill/>
            <a:prstDash val="solid"/>
            <a:miter/>
          </a:ln>
        </p:spPr>
        <p:txBody>
          <a:bodyPr rtlCol="0" anchor="ctr"/>
          <a:lstStyle/>
          <a:p>
            <a:endParaRPr lang="de-DE"/>
          </a:p>
        </p:txBody>
      </p:sp>
      <p:sp>
        <p:nvSpPr>
          <p:cNvPr id="170" name="Freihandform: Form 169">
            <a:extLst>
              <a:ext uri="{FF2B5EF4-FFF2-40B4-BE49-F238E27FC236}">
                <a16:creationId xmlns:a16="http://schemas.microsoft.com/office/drawing/2014/main" id="{6E70AB4A-6E36-4A08-8730-471DDB749A6F}"/>
              </a:ext>
            </a:extLst>
          </p:cNvPr>
          <p:cNvSpPr/>
          <p:nvPr/>
        </p:nvSpPr>
        <p:spPr>
          <a:xfrm>
            <a:off x="11147939" y="5133432"/>
            <a:ext cx="314616" cy="341417"/>
          </a:xfrm>
          <a:custGeom>
            <a:avLst/>
            <a:gdLst>
              <a:gd name="connsiteX0" fmla="*/ 143325 w 314616"/>
              <a:gd name="connsiteY0" fmla="*/ 341418 h 341417"/>
              <a:gd name="connsiteX1" fmla="*/ 0 w 314616"/>
              <a:gd name="connsiteY1" fmla="*/ 341418 h 341417"/>
              <a:gd name="connsiteX2" fmla="*/ 167795 w 314616"/>
              <a:gd name="connsiteY2" fmla="*/ 171292 h 341417"/>
              <a:gd name="connsiteX3" fmla="*/ 0 w 314616"/>
              <a:gd name="connsiteY3" fmla="*/ 0 h 341417"/>
              <a:gd name="connsiteX4" fmla="*/ 146821 w 314616"/>
              <a:gd name="connsiteY4" fmla="*/ 0 h 341417"/>
              <a:gd name="connsiteX5" fmla="*/ 314617 w 314616"/>
              <a:gd name="connsiteY5" fmla="*/ 167796 h 341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4616" h="341417">
                <a:moveTo>
                  <a:pt x="143325" y="341418"/>
                </a:moveTo>
                <a:lnTo>
                  <a:pt x="0" y="341418"/>
                </a:lnTo>
                <a:lnTo>
                  <a:pt x="167795" y="171292"/>
                </a:lnTo>
                <a:lnTo>
                  <a:pt x="0" y="0"/>
                </a:lnTo>
                <a:lnTo>
                  <a:pt x="146821" y="0"/>
                </a:lnTo>
                <a:lnTo>
                  <a:pt x="314617" y="167796"/>
                </a:lnTo>
                <a:close/>
              </a:path>
            </a:pathLst>
          </a:custGeom>
          <a:solidFill>
            <a:srgbClr val="EEF2F5"/>
          </a:solidFill>
          <a:ln w="11643" cap="flat">
            <a:noFill/>
            <a:prstDash val="solid"/>
            <a:miter/>
          </a:ln>
        </p:spPr>
        <p:txBody>
          <a:bodyPr rtlCol="0" anchor="ctr"/>
          <a:lstStyle/>
          <a:p>
            <a:endParaRPr lang="de-DE"/>
          </a:p>
        </p:txBody>
      </p:sp>
      <p:sp>
        <p:nvSpPr>
          <p:cNvPr id="71" name="Freihandform: Form 70">
            <a:extLst>
              <a:ext uri="{FF2B5EF4-FFF2-40B4-BE49-F238E27FC236}">
                <a16:creationId xmlns:a16="http://schemas.microsoft.com/office/drawing/2014/main" id="{EC37F69B-71A5-4B22-89E2-2B86538897C6}"/>
              </a:ext>
            </a:extLst>
          </p:cNvPr>
          <p:cNvSpPr/>
          <p:nvPr/>
        </p:nvSpPr>
        <p:spPr>
          <a:xfrm>
            <a:off x="10801860" y="3012680"/>
            <a:ext cx="297138" cy="323938"/>
          </a:xfrm>
          <a:custGeom>
            <a:avLst/>
            <a:gdLst>
              <a:gd name="connsiteX0" fmla="*/ 135168 w 297138"/>
              <a:gd name="connsiteY0" fmla="*/ 323939 h 323938"/>
              <a:gd name="connsiteX1" fmla="*/ 0 w 297138"/>
              <a:gd name="connsiteY1" fmla="*/ 323939 h 323938"/>
              <a:gd name="connsiteX2" fmla="*/ 158473 w 297138"/>
              <a:gd name="connsiteY2" fmla="*/ 163135 h 323938"/>
              <a:gd name="connsiteX3" fmla="*/ 0 w 297138"/>
              <a:gd name="connsiteY3" fmla="*/ 0 h 323938"/>
              <a:gd name="connsiteX4" fmla="*/ 138664 w 297138"/>
              <a:gd name="connsiteY4" fmla="*/ 0 h 323938"/>
              <a:gd name="connsiteX5" fmla="*/ 297138 w 297138"/>
              <a:gd name="connsiteY5" fmla="*/ 159639 h 323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3938">
                <a:moveTo>
                  <a:pt x="135168" y="323939"/>
                </a:moveTo>
                <a:lnTo>
                  <a:pt x="0" y="323939"/>
                </a:lnTo>
                <a:lnTo>
                  <a:pt x="158473" y="163135"/>
                </a:lnTo>
                <a:lnTo>
                  <a:pt x="0" y="0"/>
                </a:lnTo>
                <a:lnTo>
                  <a:pt x="138664" y="0"/>
                </a:lnTo>
                <a:lnTo>
                  <a:pt x="297138" y="159639"/>
                </a:lnTo>
                <a:close/>
              </a:path>
            </a:pathLst>
          </a:custGeom>
          <a:solidFill>
            <a:srgbClr val="EEF2F5"/>
          </a:solidFill>
          <a:ln w="11643" cap="flat">
            <a:noFill/>
            <a:prstDash val="solid"/>
            <a:miter/>
          </a:ln>
        </p:spPr>
        <p:txBody>
          <a:bodyPr rtlCol="0" anchor="ctr"/>
          <a:lstStyle/>
          <a:p>
            <a:endParaRPr lang="de-DE"/>
          </a:p>
        </p:txBody>
      </p:sp>
      <p:sp>
        <p:nvSpPr>
          <p:cNvPr id="87" name="Freihandform: Form 86">
            <a:extLst>
              <a:ext uri="{FF2B5EF4-FFF2-40B4-BE49-F238E27FC236}">
                <a16:creationId xmlns:a16="http://schemas.microsoft.com/office/drawing/2014/main" id="{6027B9E1-4632-4B82-9FA3-1E60661DE0B8}"/>
              </a:ext>
            </a:extLst>
          </p:cNvPr>
          <p:cNvSpPr/>
          <p:nvPr/>
        </p:nvSpPr>
        <p:spPr>
          <a:xfrm>
            <a:off x="10801860" y="3368081"/>
            <a:ext cx="297138" cy="322773"/>
          </a:xfrm>
          <a:custGeom>
            <a:avLst/>
            <a:gdLst>
              <a:gd name="connsiteX0" fmla="*/ 135168 w 297138"/>
              <a:gd name="connsiteY0" fmla="*/ 322774 h 322773"/>
              <a:gd name="connsiteX1" fmla="*/ 0 w 297138"/>
              <a:gd name="connsiteY1" fmla="*/ 322774 h 322773"/>
              <a:gd name="connsiteX2" fmla="*/ 158473 w 297138"/>
              <a:gd name="connsiteY2" fmla="*/ 163135 h 322773"/>
              <a:gd name="connsiteX3" fmla="*/ 0 w 297138"/>
              <a:gd name="connsiteY3" fmla="*/ 0 h 322773"/>
              <a:gd name="connsiteX4" fmla="*/ 138664 w 297138"/>
              <a:gd name="connsiteY4" fmla="*/ 0 h 322773"/>
              <a:gd name="connsiteX5" fmla="*/ 297138 w 297138"/>
              <a:gd name="connsiteY5" fmla="*/ 158474 h 322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2773">
                <a:moveTo>
                  <a:pt x="135168" y="322774"/>
                </a:moveTo>
                <a:lnTo>
                  <a:pt x="0" y="322774"/>
                </a:lnTo>
                <a:lnTo>
                  <a:pt x="158473" y="163135"/>
                </a:lnTo>
                <a:lnTo>
                  <a:pt x="0" y="0"/>
                </a:lnTo>
                <a:lnTo>
                  <a:pt x="138664" y="0"/>
                </a:lnTo>
                <a:lnTo>
                  <a:pt x="297138" y="158474"/>
                </a:lnTo>
                <a:close/>
              </a:path>
            </a:pathLst>
          </a:custGeom>
          <a:solidFill>
            <a:srgbClr val="EEF2F5"/>
          </a:solidFill>
          <a:ln w="11643" cap="flat">
            <a:noFill/>
            <a:prstDash val="solid"/>
            <a:miter/>
          </a:ln>
        </p:spPr>
        <p:txBody>
          <a:bodyPr rtlCol="0" anchor="ctr"/>
          <a:lstStyle/>
          <a:p>
            <a:endParaRPr lang="de-DE"/>
          </a:p>
        </p:txBody>
      </p:sp>
      <p:sp>
        <p:nvSpPr>
          <p:cNvPr id="103" name="Freihandform: Form 102">
            <a:extLst>
              <a:ext uri="{FF2B5EF4-FFF2-40B4-BE49-F238E27FC236}">
                <a16:creationId xmlns:a16="http://schemas.microsoft.com/office/drawing/2014/main" id="{A133033E-1247-4F36-9A54-C51B13CBD1CE}"/>
              </a:ext>
            </a:extLst>
          </p:cNvPr>
          <p:cNvSpPr/>
          <p:nvPr/>
        </p:nvSpPr>
        <p:spPr>
          <a:xfrm>
            <a:off x="10801860" y="3722316"/>
            <a:ext cx="297138" cy="323938"/>
          </a:xfrm>
          <a:custGeom>
            <a:avLst/>
            <a:gdLst>
              <a:gd name="connsiteX0" fmla="*/ 135168 w 297138"/>
              <a:gd name="connsiteY0" fmla="*/ 323939 h 323938"/>
              <a:gd name="connsiteX1" fmla="*/ 0 w 297138"/>
              <a:gd name="connsiteY1" fmla="*/ 323939 h 323938"/>
              <a:gd name="connsiteX2" fmla="*/ 158473 w 297138"/>
              <a:gd name="connsiteY2" fmla="*/ 163135 h 323938"/>
              <a:gd name="connsiteX3" fmla="*/ 0 w 297138"/>
              <a:gd name="connsiteY3" fmla="*/ 0 h 323938"/>
              <a:gd name="connsiteX4" fmla="*/ 138664 w 297138"/>
              <a:gd name="connsiteY4" fmla="*/ 0 h 323938"/>
              <a:gd name="connsiteX5" fmla="*/ 297138 w 297138"/>
              <a:gd name="connsiteY5" fmla="*/ 159639 h 323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3938">
                <a:moveTo>
                  <a:pt x="135168" y="323939"/>
                </a:moveTo>
                <a:lnTo>
                  <a:pt x="0" y="323939"/>
                </a:lnTo>
                <a:lnTo>
                  <a:pt x="158473" y="163135"/>
                </a:lnTo>
                <a:lnTo>
                  <a:pt x="0" y="0"/>
                </a:lnTo>
                <a:lnTo>
                  <a:pt x="138664" y="0"/>
                </a:lnTo>
                <a:lnTo>
                  <a:pt x="297138" y="159639"/>
                </a:lnTo>
                <a:close/>
              </a:path>
            </a:pathLst>
          </a:custGeom>
          <a:solidFill>
            <a:srgbClr val="EEF2F5"/>
          </a:solidFill>
          <a:ln w="11643" cap="flat">
            <a:noFill/>
            <a:prstDash val="solid"/>
            <a:miter/>
          </a:ln>
        </p:spPr>
        <p:txBody>
          <a:bodyPr rtlCol="0" anchor="ctr"/>
          <a:lstStyle/>
          <a:p>
            <a:endParaRPr lang="de-DE"/>
          </a:p>
        </p:txBody>
      </p:sp>
      <p:sp>
        <p:nvSpPr>
          <p:cNvPr id="119" name="Freihandform: Form 118">
            <a:extLst>
              <a:ext uri="{FF2B5EF4-FFF2-40B4-BE49-F238E27FC236}">
                <a16:creationId xmlns:a16="http://schemas.microsoft.com/office/drawing/2014/main" id="{48E055C3-701A-4F5A-8DFA-C4FA735748CE}"/>
              </a:ext>
            </a:extLst>
          </p:cNvPr>
          <p:cNvSpPr/>
          <p:nvPr/>
        </p:nvSpPr>
        <p:spPr>
          <a:xfrm>
            <a:off x="10801860" y="4077717"/>
            <a:ext cx="297138" cy="322773"/>
          </a:xfrm>
          <a:custGeom>
            <a:avLst/>
            <a:gdLst>
              <a:gd name="connsiteX0" fmla="*/ 135168 w 297138"/>
              <a:gd name="connsiteY0" fmla="*/ 322774 h 322773"/>
              <a:gd name="connsiteX1" fmla="*/ 0 w 297138"/>
              <a:gd name="connsiteY1" fmla="*/ 322774 h 322773"/>
              <a:gd name="connsiteX2" fmla="*/ 158473 w 297138"/>
              <a:gd name="connsiteY2" fmla="*/ 163135 h 322773"/>
              <a:gd name="connsiteX3" fmla="*/ 0 w 297138"/>
              <a:gd name="connsiteY3" fmla="*/ 0 h 322773"/>
              <a:gd name="connsiteX4" fmla="*/ 138664 w 297138"/>
              <a:gd name="connsiteY4" fmla="*/ 0 h 322773"/>
              <a:gd name="connsiteX5" fmla="*/ 297138 w 297138"/>
              <a:gd name="connsiteY5" fmla="*/ 158474 h 322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2773">
                <a:moveTo>
                  <a:pt x="135168" y="322774"/>
                </a:moveTo>
                <a:lnTo>
                  <a:pt x="0" y="322774"/>
                </a:lnTo>
                <a:lnTo>
                  <a:pt x="158473" y="163135"/>
                </a:lnTo>
                <a:lnTo>
                  <a:pt x="0" y="0"/>
                </a:lnTo>
                <a:lnTo>
                  <a:pt x="138664" y="0"/>
                </a:lnTo>
                <a:lnTo>
                  <a:pt x="297138" y="158474"/>
                </a:lnTo>
                <a:close/>
              </a:path>
            </a:pathLst>
          </a:custGeom>
          <a:solidFill>
            <a:srgbClr val="EEF2F5"/>
          </a:solidFill>
          <a:ln w="11643" cap="flat">
            <a:noFill/>
            <a:prstDash val="solid"/>
            <a:miter/>
          </a:ln>
        </p:spPr>
        <p:txBody>
          <a:bodyPr rtlCol="0" anchor="ctr"/>
          <a:lstStyle/>
          <a:p>
            <a:endParaRPr lang="de-DE"/>
          </a:p>
        </p:txBody>
      </p:sp>
      <p:sp>
        <p:nvSpPr>
          <p:cNvPr id="135" name="Freihandform: Form 134">
            <a:extLst>
              <a:ext uri="{FF2B5EF4-FFF2-40B4-BE49-F238E27FC236}">
                <a16:creationId xmlns:a16="http://schemas.microsoft.com/office/drawing/2014/main" id="{BCADBC01-33BC-4B7C-9DB7-FA73F490E349}"/>
              </a:ext>
            </a:extLst>
          </p:cNvPr>
          <p:cNvSpPr/>
          <p:nvPr/>
        </p:nvSpPr>
        <p:spPr>
          <a:xfrm>
            <a:off x="10801860" y="4431952"/>
            <a:ext cx="297138" cy="323938"/>
          </a:xfrm>
          <a:custGeom>
            <a:avLst/>
            <a:gdLst>
              <a:gd name="connsiteX0" fmla="*/ 135168 w 297138"/>
              <a:gd name="connsiteY0" fmla="*/ 323939 h 323938"/>
              <a:gd name="connsiteX1" fmla="*/ 0 w 297138"/>
              <a:gd name="connsiteY1" fmla="*/ 323939 h 323938"/>
              <a:gd name="connsiteX2" fmla="*/ 158473 w 297138"/>
              <a:gd name="connsiteY2" fmla="*/ 163135 h 323938"/>
              <a:gd name="connsiteX3" fmla="*/ 0 w 297138"/>
              <a:gd name="connsiteY3" fmla="*/ 0 h 323938"/>
              <a:gd name="connsiteX4" fmla="*/ 138664 w 297138"/>
              <a:gd name="connsiteY4" fmla="*/ 0 h 323938"/>
              <a:gd name="connsiteX5" fmla="*/ 297138 w 297138"/>
              <a:gd name="connsiteY5" fmla="*/ 159639 h 323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3938">
                <a:moveTo>
                  <a:pt x="135168" y="323939"/>
                </a:moveTo>
                <a:lnTo>
                  <a:pt x="0" y="323939"/>
                </a:lnTo>
                <a:lnTo>
                  <a:pt x="158473" y="163135"/>
                </a:lnTo>
                <a:lnTo>
                  <a:pt x="0" y="0"/>
                </a:lnTo>
                <a:lnTo>
                  <a:pt x="138664" y="0"/>
                </a:lnTo>
                <a:lnTo>
                  <a:pt x="297138" y="159639"/>
                </a:lnTo>
                <a:close/>
              </a:path>
            </a:pathLst>
          </a:custGeom>
          <a:solidFill>
            <a:srgbClr val="EEF2F5"/>
          </a:solidFill>
          <a:ln w="11643" cap="flat">
            <a:noFill/>
            <a:prstDash val="solid"/>
            <a:miter/>
          </a:ln>
        </p:spPr>
        <p:txBody>
          <a:bodyPr rtlCol="0" anchor="ctr"/>
          <a:lstStyle/>
          <a:p>
            <a:endParaRPr lang="de-DE"/>
          </a:p>
        </p:txBody>
      </p:sp>
      <p:sp>
        <p:nvSpPr>
          <p:cNvPr id="152" name="Freihandform: Form 151">
            <a:extLst>
              <a:ext uri="{FF2B5EF4-FFF2-40B4-BE49-F238E27FC236}">
                <a16:creationId xmlns:a16="http://schemas.microsoft.com/office/drawing/2014/main" id="{5F12261A-EADD-41CA-AC37-DF4EAA94F5DA}"/>
              </a:ext>
            </a:extLst>
          </p:cNvPr>
          <p:cNvSpPr/>
          <p:nvPr/>
        </p:nvSpPr>
        <p:spPr>
          <a:xfrm>
            <a:off x="10801860" y="4787353"/>
            <a:ext cx="297138" cy="322773"/>
          </a:xfrm>
          <a:custGeom>
            <a:avLst/>
            <a:gdLst>
              <a:gd name="connsiteX0" fmla="*/ 135168 w 297138"/>
              <a:gd name="connsiteY0" fmla="*/ 322774 h 322773"/>
              <a:gd name="connsiteX1" fmla="*/ 0 w 297138"/>
              <a:gd name="connsiteY1" fmla="*/ 322774 h 322773"/>
              <a:gd name="connsiteX2" fmla="*/ 158473 w 297138"/>
              <a:gd name="connsiteY2" fmla="*/ 163135 h 322773"/>
              <a:gd name="connsiteX3" fmla="*/ 0 w 297138"/>
              <a:gd name="connsiteY3" fmla="*/ 0 h 322773"/>
              <a:gd name="connsiteX4" fmla="*/ 138664 w 297138"/>
              <a:gd name="connsiteY4" fmla="*/ 0 h 322773"/>
              <a:gd name="connsiteX5" fmla="*/ 297138 w 297138"/>
              <a:gd name="connsiteY5" fmla="*/ 158474 h 322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2773">
                <a:moveTo>
                  <a:pt x="135168" y="322774"/>
                </a:moveTo>
                <a:lnTo>
                  <a:pt x="0" y="322774"/>
                </a:lnTo>
                <a:lnTo>
                  <a:pt x="158473" y="163135"/>
                </a:lnTo>
                <a:lnTo>
                  <a:pt x="0" y="0"/>
                </a:lnTo>
                <a:lnTo>
                  <a:pt x="138664" y="0"/>
                </a:lnTo>
                <a:lnTo>
                  <a:pt x="297138" y="158474"/>
                </a:lnTo>
                <a:close/>
              </a:path>
            </a:pathLst>
          </a:custGeom>
          <a:solidFill>
            <a:srgbClr val="EEF2F5"/>
          </a:solidFill>
          <a:ln w="11643" cap="flat">
            <a:noFill/>
            <a:prstDash val="solid"/>
            <a:miter/>
          </a:ln>
        </p:spPr>
        <p:txBody>
          <a:bodyPr rtlCol="0" anchor="ctr"/>
          <a:lstStyle/>
          <a:p>
            <a:endParaRPr lang="de-DE"/>
          </a:p>
        </p:txBody>
      </p:sp>
      <p:sp>
        <p:nvSpPr>
          <p:cNvPr id="169" name="Freihandform: Form 168">
            <a:extLst>
              <a:ext uri="{FF2B5EF4-FFF2-40B4-BE49-F238E27FC236}">
                <a16:creationId xmlns:a16="http://schemas.microsoft.com/office/drawing/2014/main" id="{2684278A-133A-44B1-BD42-3154900841C6}"/>
              </a:ext>
            </a:extLst>
          </p:cNvPr>
          <p:cNvSpPr/>
          <p:nvPr/>
        </p:nvSpPr>
        <p:spPr>
          <a:xfrm>
            <a:off x="10801860" y="5141588"/>
            <a:ext cx="297138" cy="323938"/>
          </a:xfrm>
          <a:custGeom>
            <a:avLst/>
            <a:gdLst>
              <a:gd name="connsiteX0" fmla="*/ 135168 w 297138"/>
              <a:gd name="connsiteY0" fmla="*/ 323939 h 323938"/>
              <a:gd name="connsiteX1" fmla="*/ 0 w 297138"/>
              <a:gd name="connsiteY1" fmla="*/ 323939 h 323938"/>
              <a:gd name="connsiteX2" fmla="*/ 158473 w 297138"/>
              <a:gd name="connsiteY2" fmla="*/ 163135 h 323938"/>
              <a:gd name="connsiteX3" fmla="*/ 0 w 297138"/>
              <a:gd name="connsiteY3" fmla="*/ 0 h 323938"/>
              <a:gd name="connsiteX4" fmla="*/ 138664 w 297138"/>
              <a:gd name="connsiteY4" fmla="*/ 0 h 323938"/>
              <a:gd name="connsiteX5" fmla="*/ 297138 w 297138"/>
              <a:gd name="connsiteY5" fmla="*/ 159639 h 323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3938">
                <a:moveTo>
                  <a:pt x="135168" y="323939"/>
                </a:moveTo>
                <a:lnTo>
                  <a:pt x="0" y="323939"/>
                </a:lnTo>
                <a:lnTo>
                  <a:pt x="158473" y="163135"/>
                </a:lnTo>
                <a:lnTo>
                  <a:pt x="0" y="0"/>
                </a:lnTo>
                <a:lnTo>
                  <a:pt x="138664" y="0"/>
                </a:lnTo>
                <a:lnTo>
                  <a:pt x="297138" y="159639"/>
                </a:lnTo>
                <a:close/>
              </a:path>
            </a:pathLst>
          </a:custGeom>
          <a:solidFill>
            <a:srgbClr val="EEF2F5"/>
          </a:solidFill>
          <a:ln w="11643" cap="flat">
            <a:noFill/>
            <a:prstDash val="solid"/>
            <a:miter/>
          </a:ln>
        </p:spPr>
        <p:txBody>
          <a:bodyPr rtlCol="0" anchor="ctr"/>
          <a:lstStyle/>
          <a:p>
            <a:endParaRPr lang="de-DE"/>
          </a:p>
        </p:txBody>
      </p:sp>
      <p:sp>
        <p:nvSpPr>
          <p:cNvPr id="186" name="Freihandform: Form 185">
            <a:extLst>
              <a:ext uri="{FF2B5EF4-FFF2-40B4-BE49-F238E27FC236}">
                <a16:creationId xmlns:a16="http://schemas.microsoft.com/office/drawing/2014/main" id="{51341657-6CDA-48E4-A038-7E086040DA70}"/>
              </a:ext>
            </a:extLst>
          </p:cNvPr>
          <p:cNvSpPr/>
          <p:nvPr/>
        </p:nvSpPr>
        <p:spPr>
          <a:xfrm>
            <a:off x="10801860" y="5496989"/>
            <a:ext cx="297138" cy="322773"/>
          </a:xfrm>
          <a:custGeom>
            <a:avLst/>
            <a:gdLst>
              <a:gd name="connsiteX0" fmla="*/ 135168 w 297138"/>
              <a:gd name="connsiteY0" fmla="*/ 322773 h 322773"/>
              <a:gd name="connsiteX1" fmla="*/ 0 w 297138"/>
              <a:gd name="connsiteY1" fmla="*/ 322773 h 322773"/>
              <a:gd name="connsiteX2" fmla="*/ 158473 w 297138"/>
              <a:gd name="connsiteY2" fmla="*/ 163135 h 322773"/>
              <a:gd name="connsiteX3" fmla="*/ 0 w 297138"/>
              <a:gd name="connsiteY3" fmla="*/ 0 h 322773"/>
              <a:gd name="connsiteX4" fmla="*/ 138664 w 297138"/>
              <a:gd name="connsiteY4" fmla="*/ 0 h 322773"/>
              <a:gd name="connsiteX5" fmla="*/ 297138 w 297138"/>
              <a:gd name="connsiteY5" fmla="*/ 158473 h 322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2773">
                <a:moveTo>
                  <a:pt x="135168" y="322773"/>
                </a:moveTo>
                <a:lnTo>
                  <a:pt x="0" y="322773"/>
                </a:lnTo>
                <a:lnTo>
                  <a:pt x="158473" y="163135"/>
                </a:lnTo>
                <a:lnTo>
                  <a:pt x="0" y="0"/>
                </a:lnTo>
                <a:lnTo>
                  <a:pt x="138664" y="0"/>
                </a:lnTo>
                <a:lnTo>
                  <a:pt x="297138" y="158473"/>
                </a:lnTo>
                <a:close/>
              </a:path>
            </a:pathLst>
          </a:custGeom>
          <a:solidFill>
            <a:srgbClr val="EEF2F5"/>
          </a:solidFill>
          <a:ln w="11643" cap="flat">
            <a:noFill/>
            <a:prstDash val="solid"/>
            <a:miter/>
          </a:ln>
        </p:spPr>
        <p:txBody>
          <a:bodyPr rtlCol="0" anchor="ctr"/>
          <a:lstStyle/>
          <a:p>
            <a:endParaRPr lang="de-DE"/>
          </a:p>
        </p:txBody>
      </p:sp>
      <p:sp>
        <p:nvSpPr>
          <p:cNvPr id="54" name="Freihandform: Form 53">
            <a:extLst>
              <a:ext uri="{FF2B5EF4-FFF2-40B4-BE49-F238E27FC236}">
                <a16:creationId xmlns:a16="http://schemas.microsoft.com/office/drawing/2014/main" id="{7C58B8B7-C0D0-45C0-A524-368D9D8EC1A1}"/>
              </a:ext>
            </a:extLst>
          </p:cNvPr>
          <p:cNvSpPr/>
          <p:nvPr/>
        </p:nvSpPr>
        <p:spPr>
          <a:xfrm>
            <a:off x="10454616" y="2667767"/>
            <a:ext cx="280824" cy="304129"/>
          </a:xfrm>
          <a:custGeom>
            <a:avLst/>
            <a:gdLst>
              <a:gd name="connsiteX0" fmla="*/ 129343 w 280824"/>
              <a:gd name="connsiteY0" fmla="*/ 304130 h 304129"/>
              <a:gd name="connsiteX1" fmla="*/ 0 w 280824"/>
              <a:gd name="connsiteY1" fmla="*/ 304130 h 304129"/>
              <a:gd name="connsiteX2" fmla="*/ 150317 w 280824"/>
              <a:gd name="connsiteY2" fmla="*/ 153813 h 304129"/>
              <a:gd name="connsiteX3" fmla="*/ 0 w 280824"/>
              <a:gd name="connsiteY3" fmla="*/ 0 h 304129"/>
              <a:gd name="connsiteX4" fmla="*/ 131673 w 280824"/>
              <a:gd name="connsiteY4" fmla="*/ 0 h 304129"/>
              <a:gd name="connsiteX5" fmla="*/ 280825 w 280824"/>
              <a:gd name="connsiteY5" fmla="*/ 149152 h 304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4129">
                <a:moveTo>
                  <a:pt x="129343" y="304130"/>
                </a:moveTo>
                <a:lnTo>
                  <a:pt x="0" y="304130"/>
                </a:lnTo>
                <a:lnTo>
                  <a:pt x="150317" y="153813"/>
                </a:lnTo>
                <a:lnTo>
                  <a:pt x="0" y="0"/>
                </a:lnTo>
                <a:lnTo>
                  <a:pt x="131673" y="0"/>
                </a:lnTo>
                <a:lnTo>
                  <a:pt x="280825" y="149152"/>
                </a:lnTo>
                <a:close/>
              </a:path>
            </a:pathLst>
          </a:custGeom>
          <a:solidFill>
            <a:srgbClr val="EEF2F5"/>
          </a:solidFill>
          <a:ln w="11643" cap="flat">
            <a:noFill/>
            <a:prstDash val="solid"/>
            <a:miter/>
          </a:ln>
        </p:spPr>
        <p:txBody>
          <a:bodyPr rtlCol="0" anchor="ctr"/>
          <a:lstStyle/>
          <a:p>
            <a:endParaRPr lang="de-DE"/>
          </a:p>
        </p:txBody>
      </p:sp>
      <p:sp>
        <p:nvSpPr>
          <p:cNvPr id="70" name="Freihandform: Form 69">
            <a:extLst>
              <a:ext uri="{FF2B5EF4-FFF2-40B4-BE49-F238E27FC236}">
                <a16:creationId xmlns:a16="http://schemas.microsoft.com/office/drawing/2014/main" id="{B108D00B-F584-45AE-88D7-637B206C908C}"/>
              </a:ext>
            </a:extLst>
          </p:cNvPr>
          <p:cNvSpPr/>
          <p:nvPr/>
        </p:nvSpPr>
        <p:spPr>
          <a:xfrm>
            <a:off x="10454616" y="3022002"/>
            <a:ext cx="280824" cy="305294"/>
          </a:xfrm>
          <a:custGeom>
            <a:avLst/>
            <a:gdLst>
              <a:gd name="connsiteX0" fmla="*/ 129343 w 280824"/>
              <a:gd name="connsiteY0" fmla="*/ 305295 h 305294"/>
              <a:gd name="connsiteX1" fmla="*/ 0 w 280824"/>
              <a:gd name="connsiteY1" fmla="*/ 305295 h 305294"/>
              <a:gd name="connsiteX2" fmla="*/ 150317 w 280824"/>
              <a:gd name="connsiteY2" fmla="*/ 153813 h 305294"/>
              <a:gd name="connsiteX3" fmla="*/ 0 w 280824"/>
              <a:gd name="connsiteY3" fmla="*/ 0 h 305294"/>
              <a:gd name="connsiteX4" fmla="*/ 131673 w 280824"/>
              <a:gd name="connsiteY4" fmla="*/ 0 h 305294"/>
              <a:gd name="connsiteX5" fmla="*/ 280825 w 280824"/>
              <a:gd name="connsiteY5" fmla="*/ 150317 h 305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5294">
                <a:moveTo>
                  <a:pt x="129343" y="305295"/>
                </a:moveTo>
                <a:lnTo>
                  <a:pt x="0" y="305295"/>
                </a:lnTo>
                <a:lnTo>
                  <a:pt x="150317" y="153813"/>
                </a:lnTo>
                <a:lnTo>
                  <a:pt x="0" y="0"/>
                </a:lnTo>
                <a:lnTo>
                  <a:pt x="131673" y="0"/>
                </a:lnTo>
                <a:lnTo>
                  <a:pt x="280825" y="150317"/>
                </a:lnTo>
                <a:close/>
              </a:path>
            </a:pathLst>
          </a:custGeom>
          <a:solidFill>
            <a:srgbClr val="EEF2F5"/>
          </a:solidFill>
          <a:ln w="11643" cap="flat">
            <a:noFill/>
            <a:prstDash val="solid"/>
            <a:miter/>
          </a:ln>
        </p:spPr>
        <p:txBody>
          <a:bodyPr rtlCol="0" anchor="ctr"/>
          <a:lstStyle/>
          <a:p>
            <a:endParaRPr lang="de-DE"/>
          </a:p>
        </p:txBody>
      </p:sp>
      <p:sp>
        <p:nvSpPr>
          <p:cNvPr id="86" name="Freihandform: Form 85">
            <a:extLst>
              <a:ext uri="{FF2B5EF4-FFF2-40B4-BE49-F238E27FC236}">
                <a16:creationId xmlns:a16="http://schemas.microsoft.com/office/drawing/2014/main" id="{63D6ECD9-E964-4D15-AC74-F1865C75FC49}"/>
              </a:ext>
            </a:extLst>
          </p:cNvPr>
          <p:cNvSpPr/>
          <p:nvPr/>
        </p:nvSpPr>
        <p:spPr>
          <a:xfrm>
            <a:off x="10454616" y="3377403"/>
            <a:ext cx="280824" cy="304129"/>
          </a:xfrm>
          <a:custGeom>
            <a:avLst/>
            <a:gdLst>
              <a:gd name="connsiteX0" fmla="*/ 129343 w 280824"/>
              <a:gd name="connsiteY0" fmla="*/ 304130 h 304129"/>
              <a:gd name="connsiteX1" fmla="*/ 0 w 280824"/>
              <a:gd name="connsiteY1" fmla="*/ 304130 h 304129"/>
              <a:gd name="connsiteX2" fmla="*/ 150317 w 280824"/>
              <a:gd name="connsiteY2" fmla="*/ 153813 h 304129"/>
              <a:gd name="connsiteX3" fmla="*/ 0 w 280824"/>
              <a:gd name="connsiteY3" fmla="*/ 0 h 304129"/>
              <a:gd name="connsiteX4" fmla="*/ 131673 w 280824"/>
              <a:gd name="connsiteY4" fmla="*/ 0 h 304129"/>
              <a:gd name="connsiteX5" fmla="*/ 280825 w 280824"/>
              <a:gd name="connsiteY5" fmla="*/ 149152 h 304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4129">
                <a:moveTo>
                  <a:pt x="129343" y="304130"/>
                </a:moveTo>
                <a:lnTo>
                  <a:pt x="0" y="304130"/>
                </a:lnTo>
                <a:lnTo>
                  <a:pt x="150317" y="153813"/>
                </a:lnTo>
                <a:lnTo>
                  <a:pt x="0" y="0"/>
                </a:lnTo>
                <a:lnTo>
                  <a:pt x="131673" y="0"/>
                </a:lnTo>
                <a:lnTo>
                  <a:pt x="280825" y="149152"/>
                </a:lnTo>
                <a:close/>
              </a:path>
            </a:pathLst>
          </a:custGeom>
          <a:solidFill>
            <a:srgbClr val="EEF2F5"/>
          </a:solidFill>
          <a:ln w="11643" cap="flat">
            <a:noFill/>
            <a:prstDash val="solid"/>
            <a:miter/>
          </a:ln>
        </p:spPr>
        <p:txBody>
          <a:bodyPr rtlCol="0" anchor="ctr"/>
          <a:lstStyle/>
          <a:p>
            <a:endParaRPr lang="de-DE"/>
          </a:p>
        </p:txBody>
      </p:sp>
      <p:sp>
        <p:nvSpPr>
          <p:cNvPr id="102" name="Freihandform: Form 101">
            <a:extLst>
              <a:ext uri="{FF2B5EF4-FFF2-40B4-BE49-F238E27FC236}">
                <a16:creationId xmlns:a16="http://schemas.microsoft.com/office/drawing/2014/main" id="{1A517635-BE85-4E6F-8720-FFD3AE9C8A9E}"/>
              </a:ext>
            </a:extLst>
          </p:cNvPr>
          <p:cNvSpPr/>
          <p:nvPr/>
        </p:nvSpPr>
        <p:spPr>
          <a:xfrm>
            <a:off x="10454616" y="3731638"/>
            <a:ext cx="280824" cy="305294"/>
          </a:xfrm>
          <a:custGeom>
            <a:avLst/>
            <a:gdLst>
              <a:gd name="connsiteX0" fmla="*/ 129343 w 280824"/>
              <a:gd name="connsiteY0" fmla="*/ 305295 h 305294"/>
              <a:gd name="connsiteX1" fmla="*/ 0 w 280824"/>
              <a:gd name="connsiteY1" fmla="*/ 305295 h 305294"/>
              <a:gd name="connsiteX2" fmla="*/ 150317 w 280824"/>
              <a:gd name="connsiteY2" fmla="*/ 153813 h 305294"/>
              <a:gd name="connsiteX3" fmla="*/ 0 w 280824"/>
              <a:gd name="connsiteY3" fmla="*/ 0 h 305294"/>
              <a:gd name="connsiteX4" fmla="*/ 131673 w 280824"/>
              <a:gd name="connsiteY4" fmla="*/ 0 h 305294"/>
              <a:gd name="connsiteX5" fmla="*/ 280825 w 280824"/>
              <a:gd name="connsiteY5" fmla="*/ 150317 h 305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5294">
                <a:moveTo>
                  <a:pt x="129343" y="305295"/>
                </a:moveTo>
                <a:lnTo>
                  <a:pt x="0" y="305295"/>
                </a:lnTo>
                <a:lnTo>
                  <a:pt x="150317" y="153813"/>
                </a:lnTo>
                <a:lnTo>
                  <a:pt x="0" y="0"/>
                </a:lnTo>
                <a:lnTo>
                  <a:pt x="131673" y="0"/>
                </a:lnTo>
                <a:lnTo>
                  <a:pt x="280825" y="150317"/>
                </a:lnTo>
                <a:close/>
              </a:path>
            </a:pathLst>
          </a:custGeom>
          <a:solidFill>
            <a:srgbClr val="EEF2F5"/>
          </a:solidFill>
          <a:ln w="11643" cap="flat">
            <a:noFill/>
            <a:prstDash val="solid"/>
            <a:miter/>
          </a:ln>
        </p:spPr>
        <p:txBody>
          <a:bodyPr rtlCol="0" anchor="ctr"/>
          <a:lstStyle/>
          <a:p>
            <a:endParaRPr lang="de-DE"/>
          </a:p>
        </p:txBody>
      </p:sp>
      <p:sp>
        <p:nvSpPr>
          <p:cNvPr id="118" name="Freihandform: Form 117">
            <a:extLst>
              <a:ext uri="{FF2B5EF4-FFF2-40B4-BE49-F238E27FC236}">
                <a16:creationId xmlns:a16="http://schemas.microsoft.com/office/drawing/2014/main" id="{107FD09D-7EF2-4E43-8333-1BB41EE81E8C}"/>
              </a:ext>
            </a:extLst>
          </p:cNvPr>
          <p:cNvSpPr/>
          <p:nvPr/>
        </p:nvSpPr>
        <p:spPr>
          <a:xfrm>
            <a:off x="10454616" y="4087039"/>
            <a:ext cx="280824" cy="304129"/>
          </a:xfrm>
          <a:custGeom>
            <a:avLst/>
            <a:gdLst>
              <a:gd name="connsiteX0" fmla="*/ 129343 w 280824"/>
              <a:gd name="connsiteY0" fmla="*/ 304130 h 304129"/>
              <a:gd name="connsiteX1" fmla="*/ 0 w 280824"/>
              <a:gd name="connsiteY1" fmla="*/ 304130 h 304129"/>
              <a:gd name="connsiteX2" fmla="*/ 150317 w 280824"/>
              <a:gd name="connsiteY2" fmla="*/ 153813 h 304129"/>
              <a:gd name="connsiteX3" fmla="*/ 0 w 280824"/>
              <a:gd name="connsiteY3" fmla="*/ 0 h 304129"/>
              <a:gd name="connsiteX4" fmla="*/ 131673 w 280824"/>
              <a:gd name="connsiteY4" fmla="*/ 0 h 304129"/>
              <a:gd name="connsiteX5" fmla="*/ 280825 w 280824"/>
              <a:gd name="connsiteY5" fmla="*/ 149152 h 304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4129">
                <a:moveTo>
                  <a:pt x="129343" y="304130"/>
                </a:moveTo>
                <a:lnTo>
                  <a:pt x="0" y="304130"/>
                </a:lnTo>
                <a:lnTo>
                  <a:pt x="150317" y="153813"/>
                </a:lnTo>
                <a:lnTo>
                  <a:pt x="0" y="0"/>
                </a:lnTo>
                <a:lnTo>
                  <a:pt x="131673" y="0"/>
                </a:lnTo>
                <a:lnTo>
                  <a:pt x="280825" y="149152"/>
                </a:lnTo>
                <a:close/>
              </a:path>
            </a:pathLst>
          </a:custGeom>
          <a:solidFill>
            <a:srgbClr val="EEF2F5"/>
          </a:solidFill>
          <a:ln w="11643" cap="flat">
            <a:noFill/>
            <a:prstDash val="solid"/>
            <a:miter/>
          </a:ln>
        </p:spPr>
        <p:txBody>
          <a:bodyPr rtlCol="0" anchor="ctr"/>
          <a:lstStyle/>
          <a:p>
            <a:endParaRPr lang="de-DE"/>
          </a:p>
        </p:txBody>
      </p:sp>
      <p:sp>
        <p:nvSpPr>
          <p:cNvPr id="134" name="Freihandform: Form 133">
            <a:extLst>
              <a:ext uri="{FF2B5EF4-FFF2-40B4-BE49-F238E27FC236}">
                <a16:creationId xmlns:a16="http://schemas.microsoft.com/office/drawing/2014/main" id="{D630C772-EA61-4CD9-88F3-B5A40C068A2C}"/>
              </a:ext>
            </a:extLst>
          </p:cNvPr>
          <p:cNvSpPr/>
          <p:nvPr/>
        </p:nvSpPr>
        <p:spPr>
          <a:xfrm>
            <a:off x="10454616" y="4441274"/>
            <a:ext cx="280824" cy="305294"/>
          </a:xfrm>
          <a:custGeom>
            <a:avLst/>
            <a:gdLst>
              <a:gd name="connsiteX0" fmla="*/ 129343 w 280824"/>
              <a:gd name="connsiteY0" fmla="*/ 305295 h 305294"/>
              <a:gd name="connsiteX1" fmla="*/ 0 w 280824"/>
              <a:gd name="connsiteY1" fmla="*/ 305295 h 305294"/>
              <a:gd name="connsiteX2" fmla="*/ 150317 w 280824"/>
              <a:gd name="connsiteY2" fmla="*/ 153813 h 305294"/>
              <a:gd name="connsiteX3" fmla="*/ 0 w 280824"/>
              <a:gd name="connsiteY3" fmla="*/ 0 h 305294"/>
              <a:gd name="connsiteX4" fmla="*/ 131673 w 280824"/>
              <a:gd name="connsiteY4" fmla="*/ 0 h 305294"/>
              <a:gd name="connsiteX5" fmla="*/ 280825 w 280824"/>
              <a:gd name="connsiteY5" fmla="*/ 150317 h 305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5294">
                <a:moveTo>
                  <a:pt x="129343" y="305295"/>
                </a:moveTo>
                <a:lnTo>
                  <a:pt x="0" y="305295"/>
                </a:lnTo>
                <a:lnTo>
                  <a:pt x="150317" y="153813"/>
                </a:lnTo>
                <a:lnTo>
                  <a:pt x="0" y="0"/>
                </a:lnTo>
                <a:lnTo>
                  <a:pt x="131673" y="0"/>
                </a:lnTo>
                <a:lnTo>
                  <a:pt x="280825" y="150317"/>
                </a:lnTo>
                <a:close/>
              </a:path>
            </a:pathLst>
          </a:custGeom>
          <a:solidFill>
            <a:srgbClr val="EEF2F5"/>
          </a:solidFill>
          <a:ln w="11643" cap="flat">
            <a:noFill/>
            <a:prstDash val="solid"/>
            <a:miter/>
          </a:ln>
        </p:spPr>
        <p:txBody>
          <a:bodyPr rtlCol="0" anchor="ctr"/>
          <a:lstStyle/>
          <a:p>
            <a:endParaRPr lang="de-DE"/>
          </a:p>
        </p:txBody>
      </p:sp>
      <p:sp>
        <p:nvSpPr>
          <p:cNvPr id="151" name="Freihandform: Form 150">
            <a:extLst>
              <a:ext uri="{FF2B5EF4-FFF2-40B4-BE49-F238E27FC236}">
                <a16:creationId xmlns:a16="http://schemas.microsoft.com/office/drawing/2014/main" id="{B58FDE5A-4CC1-4494-B722-D4785E2E9E92}"/>
              </a:ext>
            </a:extLst>
          </p:cNvPr>
          <p:cNvSpPr/>
          <p:nvPr/>
        </p:nvSpPr>
        <p:spPr>
          <a:xfrm>
            <a:off x="10454616" y="4796675"/>
            <a:ext cx="280824" cy="304129"/>
          </a:xfrm>
          <a:custGeom>
            <a:avLst/>
            <a:gdLst>
              <a:gd name="connsiteX0" fmla="*/ 129343 w 280824"/>
              <a:gd name="connsiteY0" fmla="*/ 304130 h 304129"/>
              <a:gd name="connsiteX1" fmla="*/ 0 w 280824"/>
              <a:gd name="connsiteY1" fmla="*/ 304130 h 304129"/>
              <a:gd name="connsiteX2" fmla="*/ 150317 w 280824"/>
              <a:gd name="connsiteY2" fmla="*/ 153813 h 304129"/>
              <a:gd name="connsiteX3" fmla="*/ 0 w 280824"/>
              <a:gd name="connsiteY3" fmla="*/ 0 h 304129"/>
              <a:gd name="connsiteX4" fmla="*/ 131673 w 280824"/>
              <a:gd name="connsiteY4" fmla="*/ 0 h 304129"/>
              <a:gd name="connsiteX5" fmla="*/ 280825 w 280824"/>
              <a:gd name="connsiteY5" fmla="*/ 149152 h 304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4129">
                <a:moveTo>
                  <a:pt x="129343" y="304130"/>
                </a:moveTo>
                <a:lnTo>
                  <a:pt x="0" y="304130"/>
                </a:lnTo>
                <a:lnTo>
                  <a:pt x="150317" y="153813"/>
                </a:lnTo>
                <a:lnTo>
                  <a:pt x="0" y="0"/>
                </a:lnTo>
                <a:lnTo>
                  <a:pt x="131673" y="0"/>
                </a:lnTo>
                <a:lnTo>
                  <a:pt x="280825" y="149152"/>
                </a:lnTo>
                <a:close/>
              </a:path>
            </a:pathLst>
          </a:custGeom>
          <a:solidFill>
            <a:srgbClr val="EEF2F5"/>
          </a:solidFill>
          <a:ln w="11643" cap="flat">
            <a:noFill/>
            <a:prstDash val="solid"/>
            <a:miter/>
          </a:ln>
        </p:spPr>
        <p:txBody>
          <a:bodyPr rtlCol="0" anchor="ctr"/>
          <a:lstStyle/>
          <a:p>
            <a:endParaRPr lang="de-DE"/>
          </a:p>
        </p:txBody>
      </p:sp>
      <p:sp>
        <p:nvSpPr>
          <p:cNvPr id="168" name="Freihandform: Form 167">
            <a:extLst>
              <a:ext uri="{FF2B5EF4-FFF2-40B4-BE49-F238E27FC236}">
                <a16:creationId xmlns:a16="http://schemas.microsoft.com/office/drawing/2014/main" id="{0AC8C872-76B8-4053-8B0A-1A7AAE0AA7A1}"/>
              </a:ext>
            </a:extLst>
          </p:cNvPr>
          <p:cNvSpPr/>
          <p:nvPr/>
        </p:nvSpPr>
        <p:spPr>
          <a:xfrm>
            <a:off x="10454616" y="5150910"/>
            <a:ext cx="280824" cy="305295"/>
          </a:xfrm>
          <a:custGeom>
            <a:avLst/>
            <a:gdLst>
              <a:gd name="connsiteX0" fmla="*/ 129343 w 280824"/>
              <a:gd name="connsiteY0" fmla="*/ 305295 h 305295"/>
              <a:gd name="connsiteX1" fmla="*/ 0 w 280824"/>
              <a:gd name="connsiteY1" fmla="*/ 305295 h 305295"/>
              <a:gd name="connsiteX2" fmla="*/ 150317 w 280824"/>
              <a:gd name="connsiteY2" fmla="*/ 153813 h 305295"/>
              <a:gd name="connsiteX3" fmla="*/ 0 w 280824"/>
              <a:gd name="connsiteY3" fmla="*/ 0 h 305295"/>
              <a:gd name="connsiteX4" fmla="*/ 131673 w 280824"/>
              <a:gd name="connsiteY4" fmla="*/ 0 h 305295"/>
              <a:gd name="connsiteX5" fmla="*/ 280825 w 280824"/>
              <a:gd name="connsiteY5" fmla="*/ 150317 h 305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5295">
                <a:moveTo>
                  <a:pt x="129343" y="305295"/>
                </a:moveTo>
                <a:lnTo>
                  <a:pt x="0" y="305295"/>
                </a:lnTo>
                <a:lnTo>
                  <a:pt x="150317" y="153813"/>
                </a:lnTo>
                <a:lnTo>
                  <a:pt x="0" y="0"/>
                </a:lnTo>
                <a:lnTo>
                  <a:pt x="131673" y="0"/>
                </a:lnTo>
                <a:lnTo>
                  <a:pt x="280825" y="150317"/>
                </a:lnTo>
                <a:close/>
              </a:path>
            </a:pathLst>
          </a:custGeom>
          <a:solidFill>
            <a:srgbClr val="EEF2F5"/>
          </a:solidFill>
          <a:ln w="11643" cap="flat">
            <a:noFill/>
            <a:prstDash val="solid"/>
            <a:miter/>
          </a:ln>
        </p:spPr>
        <p:txBody>
          <a:bodyPr rtlCol="0" anchor="ctr"/>
          <a:lstStyle/>
          <a:p>
            <a:endParaRPr lang="de-DE"/>
          </a:p>
        </p:txBody>
      </p:sp>
      <p:sp>
        <p:nvSpPr>
          <p:cNvPr id="185" name="Freihandform: Form 184">
            <a:extLst>
              <a:ext uri="{FF2B5EF4-FFF2-40B4-BE49-F238E27FC236}">
                <a16:creationId xmlns:a16="http://schemas.microsoft.com/office/drawing/2014/main" id="{0A1E16EF-F3A1-4575-8F8F-D7FE734A79FD}"/>
              </a:ext>
            </a:extLst>
          </p:cNvPr>
          <p:cNvSpPr/>
          <p:nvPr/>
        </p:nvSpPr>
        <p:spPr>
          <a:xfrm>
            <a:off x="10454616" y="5506311"/>
            <a:ext cx="280824" cy="305295"/>
          </a:xfrm>
          <a:custGeom>
            <a:avLst/>
            <a:gdLst>
              <a:gd name="connsiteX0" fmla="*/ 129343 w 280824"/>
              <a:gd name="connsiteY0" fmla="*/ 305295 h 305295"/>
              <a:gd name="connsiteX1" fmla="*/ 0 w 280824"/>
              <a:gd name="connsiteY1" fmla="*/ 305295 h 305295"/>
              <a:gd name="connsiteX2" fmla="*/ 150317 w 280824"/>
              <a:gd name="connsiteY2" fmla="*/ 153813 h 305295"/>
              <a:gd name="connsiteX3" fmla="*/ 0 w 280824"/>
              <a:gd name="connsiteY3" fmla="*/ 0 h 305295"/>
              <a:gd name="connsiteX4" fmla="*/ 131673 w 280824"/>
              <a:gd name="connsiteY4" fmla="*/ 0 h 305295"/>
              <a:gd name="connsiteX5" fmla="*/ 280825 w 280824"/>
              <a:gd name="connsiteY5" fmla="*/ 149152 h 305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5295">
                <a:moveTo>
                  <a:pt x="129343" y="305295"/>
                </a:moveTo>
                <a:lnTo>
                  <a:pt x="0" y="305295"/>
                </a:lnTo>
                <a:lnTo>
                  <a:pt x="150317" y="153813"/>
                </a:lnTo>
                <a:lnTo>
                  <a:pt x="0" y="0"/>
                </a:lnTo>
                <a:lnTo>
                  <a:pt x="131673" y="0"/>
                </a:lnTo>
                <a:lnTo>
                  <a:pt x="280825" y="149152"/>
                </a:lnTo>
                <a:close/>
              </a:path>
            </a:pathLst>
          </a:custGeom>
          <a:solidFill>
            <a:srgbClr val="EEF2F5"/>
          </a:solidFill>
          <a:ln w="11643" cap="flat">
            <a:noFill/>
            <a:prstDash val="solid"/>
            <a:miter/>
          </a:ln>
        </p:spPr>
        <p:txBody>
          <a:bodyPr rtlCol="0" anchor="ctr"/>
          <a:lstStyle/>
          <a:p>
            <a:endParaRPr lang="de-DE"/>
          </a:p>
        </p:txBody>
      </p:sp>
      <p:sp>
        <p:nvSpPr>
          <p:cNvPr id="202" name="Freihandform: Form 201">
            <a:extLst>
              <a:ext uri="{FF2B5EF4-FFF2-40B4-BE49-F238E27FC236}">
                <a16:creationId xmlns:a16="http://schemas.microsoft.com/office/drawing/2014/main" id="{C2091647-BDE3-4497-8513-4EEAA0FFCE88}"/>
              </a:ext>
            </a:extLst>
          </p:cNvPr>
          <p:cNvSpPr/>
          <p:nvPr/>
        </p:nvSpPr>
        <p:spPr>
          <a:xfrm>
            <a:off x="10454616" y="5860546"/>
            <a:ext cx="280824" cy="305295"/>
          </a:xfrm>
          <a:custGeom>
            <a:avLst/>
            <a:gdLst>
              <a:gd name="connsiteX0" fmla="*/ 129343 w 280824"/>
              <a:gd name="connsiteY0" fmla="*/ 305295 h 305295"/>
              <a:gd name="connsiteX1" fmla="*/ 0 w 280824"/>
              <a:gd name="connsiteY1" fmla="*/ 305295 h 305295"/>
              <a:gd name="connsiteX2" fmla="*/ 150317 w 280824"/>
              <a:gd name="connsiteY2" fmla="*/ 153813 h 305295"/>
              <a:gd name="connsiteX3" fmla="*/ 0 w 280824"/>
              <a:gd name="connsiteY3" fmla="*/ 0 h 305295"/>
              <a:gd name="connsiteX4" fmla="*/ 131673 w 280824"/>
              <a:gd name="connsiteY4" fmla="*/ 0 h 305295"/>
              <a:gd name="connsiteX5" fmla="*/ 280825 w 280824"/>
              <a:gd name="connsiteY5" fmla="*/ 150317 h 305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5295">
                <a:moveTo>
                  <a:pt x="129343" y="305295"/>
                </a:moveTo>
                <a:lnTo>
                  <a:pt x="0" y="305295"/>
                </a:lnTo>
                <a:lnTo>
                  <a:pt x="150317" y="153813"/>
                </a:lnTo>
                <a:lnTo>
                  <a:pt x="0" y="0"/>
                </a:lnTo>
                <a:lnTo>
                  <a:pt x="131673" y="0"/>
                </a:lnTo>
                <a:lnTo>
                  <a:pt x="280825" y="150317"/>
                </a:lnTo>
                <a:close/>
              </a:path>
            </a:pathLst>
          </a:custGeom>
          <a:solidFill>
            <a:srgbClr val="EEF2F5"/>
          </a:solidFill>
          <a:ln w="11643" cap="flat">
            <a:noFill/>
            <a:prstDash val="solid"/>
            <a:miter/>
          </a:ln>
        </p:spPr>
        <p:txBody>
          <a:bodyPr rtlCol="0" anchor="ctr"/>
          <a:lstStyle/>
          <a:p>
            <a:endParaRPr lang="de-DE"/>
          </a:p>
        </p:txBody>
      </p:sp>
      <p:sp>
        <p:nvSpPr>
          <p:cNvPr id="37" name="Freihandform: Form 36">
            <a:extLst>
              <a:ext uri="{FF2B5EF4-FFF2-40B4-BE49-F238E27FC236}">
                <a16:creationId xmlns:a16="http://schemas.microsoft.com/office/drawing/2014/main" id="{0197700D-5496-490A-8DC7-CB8C17414912}"/>
              </a:ext>
            </a:extLst>
          </p:cNvPr>
          <p:cNvSpPr/>
          <p:nvPr/>
        </p:nvSpPr>
        <p:spPr>
          <a:xfrm>
            <a:off x="10108537" y="2321688"/>
            <a:ext cx="264511" cy="286650"/>
          </a:xfrm>
          <a:custGeom>
            <a:avLst/>
            <a:gdLst>
              <a:gd name="connsiteX0" fmla="*/ 121186 w 264511"/>
              <a:gd name="connsiteY0" fmla="*/ 286651 h 286650"/>
              <a:gd name="connsiteX1" fmla="*/ 0 w 264511"/>
              <a:gd name="connsiteY1" fmla="*/ 286651 h 286650"/>
              <a:gd name="connsiteX2" fmla="*/ 140995 w 264511"/>
              <a:gd name="connsiteY2" fmla="*/ 144491 h 286650"/>
              <a:gd name="connsiteX3" fmla="*/ 0 w 264511"/>
              <a:gd name="connsiteY3" fmla="*/ 0 h 286650"/>
              <a:gd name="connsiteX4" fmla="*/ 123516 w 264511"/>
              <a:gd name="connsiteY4" fmla="*/ 0 h 286650"/>
              <a:gd name="connsiteX5" fmla="*/ 264511 w 264511"/>
              <a:gd name="connsiteY5" fmla="*/ 140995 h 28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0">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53" name="Freihandform: Form 52">
            <a:extLst>
              <a:ext uri="{FF2B5EF4-FFF2-40B4-BE49-F238E27FC236}">
                <a16:creationId xmlns:a16="http://schemas.microsoft.com/office/drawing/2014/main" id="{76A9C547-A085-4B5D-B3A0-6461D8694E0B}"/>
              </a:ext>
            </a:extLst>
          </p:cNvPr>
          <p:cNvSpPr/>
          <p:nvPr/>
        </p:nvSpPr>
        <p:spPr>
          <a:xfrm>
            <a:off x="10108537" y="2675924"/>
            <a:ext cx="264511" cy="286650"/>
          </a:xfrm>
          <a:custGeom>
            <a:avLst/>
            <a:gdLst>
              <a:gd name="connsiteX0" fmla="*/ 121186 w 264511"/>
              <a:gd name="connsiteY0" fmla="*/ 286651 h 286650"/>
              <a:gd name="connsiteX1" fmla="*/ 0 w 264511"/>
              <a:gd name="connsiteY1" fmla="*/ 286651 h 286650"/>
              <a:gd name="connsiteX2" fmla="*/ 140995 w 264511"/>
              <a:gd name="connsiteY2" fmla="*/ 144491 h 286650"/>
              <a:gd name="connsiteX3" fmla="*/ 0 w 264511"/>
              <a:gd name="connsiteY3" fmla="*/ 0 h 286650"/>
              <a:gd name="connsiteX4" fmla="*/ 123516 w 264511"/>
              <a:gd name="connsiteY4" fmla="*/ 0 h 286650"/>
              <a:gd name="connsiteX5" fmla="*/ 264511 w 264511"/>
              <a:gd name="connsiteY5" fmla="*/ 140995 h 28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0">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69" name="Freihandform: Form 68">
            <a:extLst>
              <a:ext uri="{FF2B5EF4-FFF2-40B4-BE49-F238E27FC236}">
                <a16:creationId xmlns:a16="http://schemas.microsoft.com/office/drawing/2014/main" id="{60D25080-D9B9-4692-9129-2C6183DC021A}"/>
              </a:ext>
            </a:extLst>
          </p:cNvPr>
          <p:cNvSpPr/>
          <p:nvPr/>
        </p:nvSpPr>
        <p:spPr>
          <a:xfrm>
            <a:off x="10108537" y="3031324"/>
            <a:ext cx="264511" cy="286650"/>
          </a:xfrm>
          <a:custGeom>
            <a:avLst/>
            <a:gdLst>
              <a:gd name="connsiteX0" fmla="*/ 121186 w 264511"/>
              <a:gd name="connsiteY0" fmla="*/ 286651 h 286650"/>
              <a:gd name="connsiteX1" fmla="*/ 0 w 264511"/>
              <a:gd name="connsiteY1" fmla="*/ 286651 h 286650"/>
              <a:gd name="connsiteX2" fmla="*/ 140995 w 264511"/>
              <a:gd name="connsiteY2" fmla="*/ 144491 h 286650"/>
              <a:gd name="connsiteX3" fmla="*/ 0 w 264511"/>
              <a:gd name="connsiteY3" fmla="*/ 0 h 286650"/>
              <a:gd name="connsiteX4" fmla="*/ 123516 w 264511"/>
              <a:gd name="connsiteY4" fmla="*/ 0 h 286650"/>
              <a:gd name="connsiteX5" fmla="*/ 264511 w 264511"/>
              <a:gd name="connsiteY5" fmla="*/ 140995 h 28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0">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85" name="Freihandform: Form 84">
            <a:extLst>
              <a:ext uri="{FF2B5EF4-FFF2-40B4-BE49-F238E27FC236}">
                <a16:creationId xmlns:a16="http://schemas.microsoft.com/office/drawing/2014/main" id="{2A48DA5F-5A65-4484-99B7-06DB28D0E54D}"/>
              </a:ext>
            </a:extLst>
          </p:cNvPr>
          <p:cNvSpPr/>
          <p:nvPr/>
        </p:nvSpPr>
        <p:spPr>
          <a:xfrm>
            <a:off x="10108537" y="3385560"/>
            <a:ext cx="264511" cy="287816"/>
          </a:xfrm>
          <a:custGeom>
            <a:avLst/>
            <a:gdLst>
              <a:gd name="connsiteX0" fmla="*/ 121186 w 264511"/>
              <a:gd name="connsiteY0" fmla="*/ 287816 h 287816"/>
              <a:gd name="connsiteX1" fmla="*/ 0 w 264511"/>
              <a:gd name="connsiteY1" fmla="*/ 287816 h 287816"/>
              <a:gd name="connsiteX2" fmla="*/ 140995 w 264511"/>
              <a:gd name="connsiteY2" fmla="*/ 145656 h 287816"/>
              <a:gd name="connsiteX3" fmla="*/ 0 w 264511"/>
              <a:gd name="connsiteY3" fmla="*/ 0 h 287816"/>
              <a:gd name="connsiteX4" fmla="*/ 123516 w 264511"/>
              <a:gd name="connsiteY4" fmla="*/ 0 h 287816"/>
              <a:gd name="connsiteX5" fmla="*/ 264511 w 264511"/>
              <a:gd name="connsiteY5" fmla="*/ 140995 h 287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7816">
                <a:moveTo>
                  <a:pt x="121186" y="287816"/>
                </a:moveTo>
                <a:lnTo>
                  <a:pt x="0" y="287816"/>
                </a:lnTo>
                <a:lnTo>
                  <a:pt x="140995" y="145656"/>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101" name="Freihandform: Form 100">
            <a:extLst>
              <a:ext uri="{FF2B5EF4-FFF2-40B4-BE49-F238E27FC236}">
                <a16:creationId xmlns:a16="http://schemas.microsoft.com/office/drawing/2014/main" id="{44A6A546-5137-4093-9C59-F32093CD42C4}"/>
              </a:ext>
            </a:extLst>
          </p:cNvPr>
          <p:cNvSpPr/>
          <p:nvPr/>
        </p:nvSpPr>
        <p:spPr>
          <a:xfrm>
            <a:off x="10108537" y="3740960"/>
            <a:ext cx="264511" cy="286651"/>
          </a:xfrm>
          <a:custGeom>
            <a:avLst/>
            <a:gdLst>
              <a:gd name="connsiteX0" fmla="*/ 121186 w 264511"/>
              <a:gd name="connsiteY0" fmla="*/ 286651 h 286651"/>
              <a:gd name="connsiteX1" fmla="*/ 0 w 264511"/>
              <a:gd name="connsiteY1" fmla="*/ 286651 h 286651"/>
              <a:gd name="connsiteX2" fmla="*/ 140995 w 264511"/>
              <a:gd name="connsiteY2" fmla="*/ 144491 h 286651"/>
              <a:gd name="connsiteX3" fmla="*/ 0 w 264511"/>
              <a:gd name="connsiteY3" fmla="*/ 0 h 286651"/>
              <a:gd name="connsiteX4" fmla="*/ 123516 w 264511"/>
              <a:gd name="connsiteY4" fmla="*/ 0 h 286651"/>
              <a:gd name="connsiteX5" fmla="*/ 264511 w 264511"/>
              <a:gd name="connsiteY5" fmla="*/ 140995 h 286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1">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117" name="Freihandform: Form 116">
            <a:extLst>
              <a:ext uri="{FF2B5EF4-FFF2-40B4-BE49-F238E27FC236}">
                <a16:creationId xmlns:a16="http://schemas.microsoft.com/office/drawing/2014/main" id="{AB7F8976-AA8B-4089-A252-6E621A6336A0}"/>
              </a:ext>
            </a:extLst>
          </p:cNvPr>
          <p:cNvSpPr/>
          <p:nvPr/>
        </p:nvSpPr>
        <p:spPr>
          <a:xfrm>
            <a:off x="10108537" y="4095195"/>
            <a:ext cx="264511" cy="287816"/>
          </a:xfrm>
          <a:custGeom>
            <a:avLst/>
            <a:gdLst>
              <a:gd name="connsiteX0" fmla="*/ 121186 w 264511"/>
              <a:gd name="connsiteY0" fmla="*/ 287816 h 287816"/>
              <a:gd name="connsiteX1" fmla="*/ 0 w 264511"/>
              <a:gd name="connsiteY1" fmla="*/ 287816 h 287816"/>
              <a:gd name="connsiteX2" fmla="*/ 140995 w 264511"/>
              <a:gd name="connsiteY2" fmla="*/ 145656 h 287816"/>
              <a:gd name="connsiteX3" fmla="*/ 0 w 264511"/>
              <a:gd name="connsiteY3" fmla="*/ 0 h 287816"/>
              <a:gd name="connsiteX4" fmla="*/ 123516 w 264511"/>
              <a:gd name="connsiteY4" fmla="*/ 0 h 287816"/>
              <a:gd name="connsiteX5" fmla="*/ 264511 w 264511"/>
              <a:gd name="connsiteY5" fmla="*/ 140995 h 287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7816">
                <a:moveTo>
                  <a:pt x="121186" y="287816"/>
                </a:moveTo>
                <a:lnTo>
                  <a:pt x="0" y="287816"/>
                </a:lnTo>
                <a:lnTo>
                  <a:pt x="140995" y="145656"/>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133" name="Freihandform: Form 132">
            <a:extLst>
              <a:ext uri="{FF2B5EF4-FFF2-40B4-BE49-F238E27FC236}">
                <a16:creationId xmlns:a16="http://schemas.microsoft.com/office/drawing/2014/main" id="{83F4FE5F-E30B-4C91-B22F-C67DA72E3DB6}"/>
              </a:ext>
            </a:extLst>
          </p:cNvPr>
          <p:cNvSpPr/>
          <p:nvPr/>
        </p:nvSpPr>
        <p:spPr>
          <a:xfrm>
            <a:off x="10108537" y="4450596"/>
            <a:ext cx="264511" cy="286651"/>
          </a:xfrm>
          <a:custGeom>
            <a:avLst/>
            <a:gdLst>
              <a:gd name="connsiteX0" fmla="*/ 121186 w 264511"/>
              <a:gd name="connsiteY0" fmla="*/ 286651 h 286651"/>
              <a:gd name="connsiteX1" fmla="*/ 0 w 264511"/>
              <a:gd name="connsiteY1" fmla="*/ 286651 h 286651"/>
              <a:gd name="connsiteX2" fmla="*/ 140995 w 264511"/>
              <a:gd name="connsiteY2" fmla="*/ 144491 h 286651"/>
              <a:gd name="connsiteX3" fmla="*/ 0 w 264511"/>
              <a:gd name="connsiteY3" fmla="*/ 0 h 286651"/>
              <a:gd name="connsiteX4" fmla="*/ 123516 w 264511"/>
              <a:gd name="connsiteY4" fmla="*/ 0 h 286651"/>
              <a:gd name="connsiteX5" fmla="*/ 264511 w 264511"/>
              <a:gd name="connsiteY5" fmla="*/ 140995 h 286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1">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150" name="Freihandform: Form 149">
            <a:extLst>
              <a:ext uri="{FF2B5EF4-FFF2-40B4-BE49-F238E27FC236}">
                <a16:creationId xmlns:a16="http://schemas.microsoft.com/office/drawing/2014/main" id="{A0F76902-2111-4900-A1DA-A0A919DABDFD}"/>
              </a:ext>
            </a:extLst>
          </p:cNvPr>
          <p:cNvSpPr/>
          <p:nvPr/>
        </p:nvSpPr>
        <p:spPr>
          <a:xfrm>
            <a:off x="10108537" y="4805997"/>
            <a:ext cx="264511" cy="286651"/>
          </a:xfrm>
          <a:custGeom>
            <a:avLst/>
            <a:gdLst>
              <a:gd name="connsiteX0" fmla="*/ 121186 w 264511"/>
              <a:gd name="connsiteY0" fmla="*/ 286651 h 286651"/>
              <a:gd name="connsiteX1" fmla="*/ 0 w 264511"/>
              <a:gd name="connsiteY1" fmla="*/ 286651 h 286651"/>
              <a:gd name="connsiteX2" fmla="*/ 140995 w 264511"/>
              <a:gd name="connsiteY2" fmla="*/ 144491 h 286651"/>
              <a:gd name="connsiteX3" fmla="*/ 0 w 264511"/>
              <a:gd name="connsiteY3" fmla="*/ 0 h 286651"/>
              <a:gd name="connsiteX4" fmla="*/ 123516 w 264511"/>
              <a:gd name="connsiteY4" fmla="*/ 0 h 286651"/>
              <a:gd name="connsiteX5" fmla="*/ 264511 w 264511"/>
              <a:gd name="connsiteY5" fmla="*/ 139830 h 286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1">
                <a:moveTo>
                  <a:pt x="121186" y="286651"/>
                </a:moveTo>
                <a:lnTo>
                  <a:pt x="0" y="286651"/>
                </a:lnTo>
                <a:lnTo>
                  <a:pt x="140995" y="144491"/>
                </a:lnTo>
                <a:lnTo>
                  <a:pt x="0" y="0"/>
                </a:lnTo>
                <a:lnTo>
                  <a:pt x="123516" y="0"/>
                </a:lnTo>
                <a:lnTo>
                  <a:pt x="264511" y="139830"/>
                </a:lnTo>
                <a:close/>
              </a:path>
            </a:pathLst>
          </a:custGeom>
          <a:solidFill>
            <a:srgbClr val="EEF2F5"/>
          </a:solidFill>
          <a:ln w="11643" cap="flat">
            <a:noFill/>
            <a:prstDash val="solid"/>
            <a:miter/>
          </a:ln>
        </p:spPr>
        <p:txBody>
          <a:bodyPr rtlCol="0" anchor="ctr"/>
          <a:lstStyle/>
          <a:p>
            <a:endParaRPr lang="de-DE"/>
          </a:p>
        </p:txBody>
      </p:sp>
      <p:sp>
        <p:nvSpPr>
          <p:cNvPr id="167" name="Freihandform: Form 166">
            <a:extLst>
              <a:ext uri="{FF2B5EF4-FFF2-40B4-BE49-F238E27FC236}">
                <a16:creationId xmlns:a16="http://schemas.microsoft.com/office/drawing/2014/main" id="{9C3904EA-5E6B-4F77-8FB0-BFFAE9C65946}"/>
              </a:ext>
            </a:extLst>
          </p:cNvPr>
          <p:cNvSpPr/>
          <p:nvPr/>
        </p:nvSpPr>
        <p:spPr>
          <a:xfrm>
            <a:off x="10108537" y="5160232"/>
            <a:ext cx="264511" cy="286651"/>
          </a:xfrm>
          <a:custGeom>
            <a:avLst/>
            <a:gdLst>
              <a:gd name="connsiteX0" fmla="*/ 121186 w 264511"/>
              <a:gd name="connsiteY0" fmla="*/ 286651 h 286651"/>
              <a:gd name="connsiteX1" fmla="*/ 0 w 264511"/>
              <a:gd name="connsiteY1" fmla="*/ 286651 h 286651"/>
              <a:gd name="connsiteX2" fmla="*/ 140995 w 264511"/>
              <a:gd name="connsiteY2" fmla="*/ 144491 h 286651"/>
              <a:gd name="connsiteX3" fmla="*/ 0 w 264511"/>
              <a:gd name="connsiteY3" fmla="*/ 0 h 286651"/>
              <a:gd name="connsiteX4" fmla="*/ 123516 w 264511"/>
              <a:gd name="connsiteY4" fmla="*/ 0 h 286651"/>
              <a:gd name="connsiteX5" fmla="*/ 264511 w 264511"/>
              <a:gd name="connsiteY5" fmla="*/ 140995 h 286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1">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184" name="Freihandform: Form 183">
            <a:extLst>
              <a:ext uri="{FF2B5EF4-FFF2-40B4-BE49-F238E27FC236}">
                <a16:creationId xmlns:a16="http://schemas.microsoft.com/office/drawing/2014/main" id="{99280CAD-3553-4542-850A-90F0AD935DFE}"/>
              </a:ext>
            </a:extLst>
          </p:cNvPr>
          <p:cNvSpPr/>
          <p:nvPr/>
        </p:nvSpPr>
        <p:spPr>
          <a:xfrm>
            <a:off x="10108537" y="5515633"/>
            <a:ext cx="264511" cy="286651"/>
          </a:xfrm>
          <a:custGeom>
            <a:avLst/>
            <a:gdLst>
              <a:gd name="connsiteX0" fmla="*/ 121186 w 264511"/>
              <a:gd name="connsiteY0" fmla="*/ 286651 h 286651"/>
              <a:gd name="connsiteX1" fmla="*/ 0 w 264511"/>
              <a:gd name="connsiteY1" fmla="*/ 286651 h 286651"/>
              <a:gd name="connsiteX2" fmla="*/ 140995 w 264511"/>
              <a:gd name="connsiteY2" fmla="*/ 144491 h 286651"/>
              <a:gd name="connsiteX3" fmla="*/ 0 w 264511"/>
              <a:gd name="connsiteY3" fmla="*/ 0 h 286651"/>
              <a:gd name="connsiteX4" fmla="*/ 123516 w 264511"/>
              <a:gd name="connsiteY4" fmla="*/ 0 h 286651"/>
              <a:gd name="connsiteX5" fmla="*/ 264511 w 264511"/>
              <a:gd name="connsiteY5" fmla="*/ 140995 h 286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1">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201" name="Freihandform: Form 200">
            <a:extLst>
              <a:ext uri="{FF2B5EF4-FFF2-40B4-BE49-F238E27FC236}">
                <a16:creationId xmlns:a16="http://schemas.microsoft.com/office/drawing/2014/main" id="{E8A013AF-F105-4965-95B7-AC96F227E824}"/>
              </a:ext>
            </a:extLst>
          </p:cNvPr>
          <p:cNvSpPr/>
          <p:nvPr/>
        </p:nvSpPr>
        <p:spPr>
          <a:xfrm>
            <a:off x="10108537" y="5869868"/>
            <a:ext cx="264511" cy="286650"/>
          </a:xfrm>
          <a:custGeom>
            <a:avLst/>
            <a:gdLst>
              <a:gd name="connsiteX0" fmla="*/ 121186 w 264511"/>
              <a:gd name="connsiteY0" fmla="*/ 286651 h 286650"/>
              <a:gd name="connsiteX1" fmla="*/ 0 w 264511"/>
              <a:gd name="connsiteY1" fmla="*/ 286651 h 286650"/>
              <a:gd name="connsiteX2" fmla="*/ 140995 w 264511"/>
              <a:gd name="connsiteY2" fmla="*/ 144491 h 286650"/>
              <a:gd name="connsiteX3" fmla="*/ 0 w 264511"/>
              <a:gd name="connsiteY3" fmla="*/ 0 h 286650"/>
              <a:gd name="connsiteX4" fmla="*/ 123516 w 264511"/>
              <a:gd name="connsiteY4" fmla="*/ 0 h 286650"/>
              <a:gd name="connsiteX5" fmla="*/ 264511 w 264511"/>
              <a:gd name="connsiteY5" fmla="*/ 140995 h 28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0">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218" name="Freihandform: Form 217">
            <a:extLst>
              <a:ext uri="{FF2B5EF4-FFF2-40B4-BE49-F238E27FC236}">
                <a16:creationId xmlns:a16="http://schemas.microsoft.com/office/drawing/2014/main" id="{7F42F650-844E-4C84-9059-2EC117988F05}"/>
              </a:ext>
            </a:extLst>
          </p:cNvPr>
          <p:cNvSpPr/>
          <p:nvPr/>
        </p:nvSpPr>
        <p:spPr>
          <a:xfrm>
            <a:off x="10108537" y="6225269"/>
            <a:ext cx="264511" cy="286650"/>
          </a:xfrm>
          <a:custGeom>
            <a:avLst/>
            <a:gdLst>
              <a:gd name="connsiteX0" fmla="*/ 121186 w 264511"/>
              <a:gd name="connsiteY0" fmla="*/ 286651 h 286650"/>
              <a:gd name="connsiteX1" fmla="*/ 0 w 264511"/>
              <a:gd name="connsiteY1" fmla="*/ 286651 h 286650"/>
              <a:gd name="connsiteX2" fmla="*/ 140995 w 264511"/>
              <a:gd name="connsiteY2" fmla="*/ 144491 h 286650"/>
              <a:gd name="connsiteX3" fmla="*/ 0 w 264511"/>
              <a:gd name="connsiteY3" fmla="*/ 0 h 286650"/>
              <a:gd name="connsiteX4" fmla="*/ 123516 w 264511"/>
              <a:gd name="connsiteY4" fmla="*/ 0 h 286650"/>
              <a:gd name="connsiteX5" fmla="*/ 264511 w 264511"/>
              <a:gd name="connsiteY5" fmla="*/ 140995 h 28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0">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5" name="Freihandform: Form 4">
            <a:extLst>
              <a:ext uri="{FF2B5EF4-FFF2-40B4-BE49-F238E27FC236}">
                <a16:creationId xmlns:a16="http://schemas.microsoft.com/office/drawing/2014/main" id="{37FF9268-487B-457F-B2C7-1E1C142BF17B}"/>
              </a:ext>
            </a:extLst>
          </p:cNvPr>
          <p:cNvSpPr/>
          <p:nvPr/>
        </p:nvSpPr>
        <p:spPr>
          <a:xfrm>
            <a:off x="4909201" y="2101456"/>
            <a:ext cx="16313" cy="17478"/>
          </a:xfrm>
          <a:custGeom>
            <a:avLst/>
            <a:gdLst>
              <a:gd name="connsiteX0" fmla="*/ 8157 w 16313"/>
              <a:gd name="connsiteY0" fmla="*/ 17479 h 17478"/>
              <a:gd name="connsiteX1" fmla="*/ 0 w 16313"/>
              <a:gd name="connsiteY1" fmla="*/ 17479 h 17478"/>
              <a:gd name="connsiteX2" fmla="*/ 9322 w 16313"/>
              <a:gd name="connsiteY2" fmla="*/ 8157 h 17478"/>
              <a:gd name="connsiteX3" fmla="*/ 0 w 16313"/>
              <a:gd name="connsiteY3" fmla="*/ 0 h 17478"/>
              <a:gd name="connsiteX4" fmla="*/ 8157 w 16313"/>
              <a:gd name="connsiteY4" fmla="*/ 0 h 17478"/>
              <a:gd name="connsiteX5" fmla="*/ 16313 w 16313"/>
              <a:gd name="connsiteY5" fmla="*/ 8157 h 17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13" h="17478">
                <a:moveTo>
                  <a:pt x="8157" y="17479"/>
                </a:moveTo>
                <a:lnTo>
                  <a:pt x="0" y="17479"/>
                </a:lnTo>
                <a:lnTo>
                  <a:pt x="9322" y="8157"/>
                </a:lnTo>
                <a:lnTo>
                  <a:pt x="0" y="0"/>
                </a:lnTo>
                <a:lnTo>
                  <a:pt x="8157" y="0"/>
                </a:lnTo>
                <a:lnTo>
                  <a:pt x="16313" y="8157"/>
                </a:lnTo>
                <a:close/>
              </a:path>
            </a:pathLst>
          </a:custGeom>
          <a:solidFill>
            <a:srgbClr val="EEF2F5"/>
          </a:solidFill>
          <a:ln w="11643" cap="flat">
            <a:noFill/>
            <a:prstDash val="solid"/>
            <a:miter/>
          </a:ln>
        </p:spPr>
        <p:txBody>
          <a:bodyPr rtlCol="0" anchor="ctr"/>
          <a:lstStyle/>
          <a:p>
            <a:endParaRPr lang="de-DE"/>
          </a:p>
        </p:txBody>
      </p:sp>
      <p:sp>
        <p:nvSpPr>
          <p:cNvPr id="22" name="Freihandform: Form 21">
            <a:extLst>
              <a:ext uri="{FF2B5EF4-FFF2-40B4-BE49-F238E27FC236}">
                <a16:creationId xmlns:a16="http://schemas.microsoft.com/office/drawing/2014/main" id="{67427BC4-9149-4C28-A507-8AD1464E8243}"/>
              </a:ext>
            </a:extLst>
          </p:cNvPr>
          <p:cNvSpPr/>
          <p:nvPr/>
        </p:nvSpPr>
        <p:spPr>
          <a:xfrm>
            <a:off x="4909201" y="2455692"/>
            <a:ext cx="16313" cy="18643"/>
          </a:xfrm>
          <a:custGeom>
            <a:avLst/>
            <a:gdLst>
              <a:gd name="connsiteX0" fmla="*/ 8157 w 16313"/>
              <a:gd name="connsiteY0" fmla="*/ 18644 h 18643"/>
              <a:gd name="connsiteX1" fmla="*/ 0 w 16313"/>
              <a:gd name="connsiteY1" fmla="*/ 18644 h 18643"/>
              <a:gd name="connsiteX2" fmla="*/ 9322 w 16313"/>
              <a:gd name="connsiteY2" fmla="*/ 9322 h 18643"/>
              <a:gd name="connsiteX3" fmla="*/ 0 w 16313"/>
              <a:gd name="connsiteY3" fmla="*/ 0 h 18643"/>
              <a:gd name="connsiteX4" fmla="*/ 8157 w 16313"/>
              <a:gd name="connsiteY4" fmla="*/ 0 h 18643"/>
              <a:gd name="connsiteX5" fmla="*/ 16313 w 16313"/>
              <a:gd name="connsiteY5" fmla="*/ 9322 h 18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13" h="18643">
                <a:moveTo>
                  <a:pt x="8157" y="18644"/>
                </a:moveTo>
                <a:lnTo>
                  <a:pt x="0" y="18644"/>
                </a:lnTo>
                <a:lnTo>
                  <a:pt x="9322" y="9322"/>
                </a:lnTo>
                <a:lnTo>
                  <a:pt x="0" y="0"/>
                </a:lnTo>
                <a:lnTo>
                  <a:pt x="8157" y="0"/>
                </a:lnTo>
                <a:lnTo>
                  <a:pt x="16313" y="9322"/>
                </a:lnTo>
                <a:close/>
              </a:path>
            </a:pathLst>
          </a:custGeom>
          <a:solidFill>
            <a:srgbClr val="EEF2F5"/>
          </a:solidFill>
          <a:ln w="11643" cap="flat">
            <a:noFill/>
            <a:prstDash val="solid"/>
            <a:miter/>
          </a:ln>
        </p:spPr>
        <p:txBody>
          <a:bodyPr rtlCol="0" anchor="ctr"/>
          <a:lstStyle/>
          <a:p>
            <a:endParaRPr lang="de-DE"/>
          </a:p>
        </p:txBody>
      </p:sp>
      <p:sp>
        <p:nvSpPr>
          <p:cNvPr id="38" name="Freihandform: Form 37">
            <a:extLst>
              <a:ext uri="{FF2B5EF4-FFF2-40B4-BE49-F238E27FC236}">
                <a16:creationId xmlns:a16="http://schemas.microsoft.com/office/drawing/2014/main" id="{86AC6BBB-1E60-4206-8581-A22FBBC2FD4E}"/>
              </a:ext>
            </a:extLst>
          </p:cNvPr>
          <p:cNvSpPr/>
          <p:nvPr/>
        </p:nvSpPr>
        <p:spPr>
          <a:xfrm>
            <a:off x="4909201" y="2811092"/>
            <a:ext cx="16313" cy="17478"/>
          </a:xfrm>
          <a:custGeom>
            <a:avLst/>
            <a:gdLst>
              <a:gd name="connsiteX0" fmla="*/ 8157 w 16313"/>
              <a:gd name="connsiteY0" fmla="*/ 17479 h 17478"/>
              <a:gd name="connsiteX1" fmla="*/ 0 w 16313"/>
              <a:gd name="connsiteY1" fmla="*/ 17479 h 17478"/>
              <a:gd name="connsiteX2" fmla="*/ 9322 w 16313"/>
              <a:gd name="connsiteY2" fmla="*/ 8157 h 17478"/>
              <a:gd name="connsiteX3" fmla="*/ 0 w 16313"/>
              <a:gd name="connsiteY3" fmla="*/ 0 h 17478"/>
              <a:gd name="connsiteX4" fmla="*/ 8157 w 16313"/>
              <a:gd name="connsiteY4" fmla="*/ 0 h 17478"/>
              <a:gd name="connsiteX5" fmla="*/ 16313 w 16313"/>
              <a:gd name="connsiteY5" fmla="*/ 8157 h 17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13" h="17478">
                <a:moveTo>
                  <a:pt x="8157" y="17479"/>
                </a:moveTo>
                <a:lnTo>
                  <a:pt x="0" y="17479"/>
                </a:lnTo>
                <a:lnTo>
                  <a:pt x="9322" y="8157"/>
                </a:lnTo>
                <a:lnTo>
                  <a:pt x="0" y="0"/>
                </a:lnTo>
                <a:lnTo>
                  <a:pt x="8157" y="0"/>
                </a:lnTo>
                <a:lnTo>
                  <a:pt x="16313" y="8157"/>
                </a:lnTo>
                <a:close/>
              </a:path>
            </a:pathLst>
          </a:custGeom>
          <a:solidFill>
            <a:srgbClr val="EEF2F5"/>
          </a:solidFill>
          <a:ln w="11643" cap="flat">
            <a:noFill/>
            <a:prstDash val="solid"/>
            <a:miter/>
          </a:ln>
        </p:spPr>
        <p:txBody>
          <a:bodyPr rtlCol="0" anchor="ctr"/>
          <a:lstStyle/>
          <a:p>
            <a:endParaRPr lang="de-DE"/>
          </a:p>
        </p:txBody>
      </p:sp>
      <p:sp>
        <p:nvSpPr>
          <p:cNvPr id="203" name="Freihandform: Form 202">
            <a:extLst>
              <a:ext uri="{FF2B5EF4-FFF2-40B4-BE49-F238E27FC236}">
                <a16:creationId xmlns:a16="http://schemas.microsoft.com/office/drawing/2014/main" id="{A954D734-5BDB-4F7E-8A7B-09593EE1C30A}"/>
              </a:ext>
            </a:extLst>
          </p:cNvPr>
          <p:cNvSpPr/>
          <p:nvPr/>
        </p:nvSpPr>
        <p:spPr>
          <a:xfrm>
            <a:off x="4909201" y="6359273"/>
            <a:ext cx="16313" cy="18643"/>
          </a:xfrm>
          <a:custGeom>
            <a:avLst/>
            <a:gdLst>
              <a:gd name="connsiteX0" fmla="*/ 8157 w 16313"/>
              <a:gd name="connsiteY0" fmla="*/ 18644 h 18643"/>
              <a:gd name="connsiteX1" fmla="*/ 0 w 16313"/>
              <a:gd name="connsiteY1" fmla="*/ 18644 h 18643"/>
              <a:gd name="connsiteX2" fmla="*/ 9322 w 16313"/>
              <a:gd name="connsiteY2" fmla="*/ 9322 h 18643"/>
              <a:gd name="connsiteX3" fmla="*/ 0 w 16313"/>
              <a:gd name="connsiteY3" fmla="*/ 0 h 18643"/>
              <a:gd name="connsiteX4" fmla="*/ 8157 w 16313"/>
              <a:gd name="connsiteY4" fmla="*/ 0 h 18643"/>
              <a:gd name="connsiteX5" fmla="*/ 16313 w 16313"/>
              <a:gd name="connsiteY5" fmla="*/ 9322 h 18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13" h="18643">
                <a:moveTo>
                  <a:pt x="8157" y="18644"/>
                </a:moveTo>
                <a:lnTo>
                  <a:pt x="0" y="18644"/>
                </a:lnTo>
                <a:lnTo>
                  <a:pt x="9322" y="9322"/>
                </a:lnTo>
                <a:lnTo>
                  <a:pt x="0" y="0"/>
                </a:lnTo>
                <a:lnTo>
                  <a:pt x="8157" y="0"/>
                </a:lnTo>
                <a:lnTo>
                  <a:pt x="16313" y="9322"/>
                </a:lnTo>
                <a:close/>
              </a:path>
            </a:pathLst>
          </a:custGeom>
          <a:solidFill>
            <a:srgbClr val="EEF2F5"/>
          </a:solidFill>
          <a:ln w="11643" cap="flat">
            <a:noFill/>
            <a:prstDash val="solid"/>
            <a:miter/>
          </a:ln>
        </p:spPr>
        <p:txBody>
          <a:bodyPr rtlCol="0" anchor="ctr"/>
          <a:lstStyle/>
          <a:p>
            <a:endParaRPr lang="de-DE"/>
          </a:p>
        </p:txBody>
      </p:sp>
      <p:sp>
        <p:nvSpPr>
          <p:cNvPr id="219" name="Freihandform: Form 218">
            <a:extLst>
              <a:ext uri="{FF2B5EF4-FFF2-40B4-BE49-F238E27FC236}">
                <a16:creationId xmlns:a16="http://schemas.microsoft.com/office/drawing/2014/main" id="{11ACA275-0A27-41DD-8AD0-A37EF069B3DC}"/>
              </a:ext>
            </a:extLst>
          </p:cNvPr>
          <p:cNvSpPr/>
          <p:nvPr/>
        </p:nvSpPr>
        <p:spPr>
          <a:xfrm>
            <a:off x="4909201" y="6714673"/>
            <a:ext cx="16313" cy="17478"/>
          </a:xfrm>
          <a:custGeom>
            <a:avLst/>
            <a:gdLst>
              <a:gd name="connsiteX0" fmla="*/ 8157 w 16313"/>
              <a:gd name="connsiteY0" fmla="*/ 17479 h 17478"/>
              <a:gd name="connsiteX1" fmla="*/ 0 w 16313"/>
              <a:gd name="connsiteY1" fmla="*/ 17479 h 17478"/>
              <a:gd name="connsiteX2" fmla="*/ 9322 w 16313"/>
              <a:gd name="connsiteY2" fmla="*/ 8157 h 17478"/>
              <a:gd name="connsiteX3" fmla="*/ 0 w 16313"/>
              <a:gd name="connsiteY3" fmla="*/ 0 h 17478"/>
              <a:gd name="connsiteX4" fmla="*/ 8157 w 16313"/>
              <a:gd name="connsiteY4" fmla="*/ 0 h 17478"/>
              <a:gd name="connsiteX5" fmla="*/ 16313 w 16313"/>
              <a:gd name="connsiteY5" fmla="*/ 8157 h 17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13" h="17478">
                <a:moveTo>
                  <a:pt x="8157" y="17479"/>
                </a:moveTo>
                <a:lnTo>
                  <a:pt x="0" y="17479"/>
                </a:lnTo>
                <a:lnTo>
                  <a:pt x="9322" y="8157"/>
                </a:lnTo>
                <a:lnTo>
                  <a:pt x="0" y="0"/>
                </a:lnTo>
                <a:lnTo>
                  <a:pt x="8157" y="0"/>
                </a:lnTo>
                <a:lnTo>
                  <a:pt x="16313" y="8157"/>
                </a:lnTo>
                <a:close/>
              </a:path>
            </a:pathLst>
          </a:custGeom>
          <a:solidFill>
            <a:srgbClr val="EEF2F5"/>
          </a:solidFill>
          <a:ln w="11643" cap="flat">
            <a:noFill/>
            <a:prstDash val="solid"/>
            <a:miter/>
          </a:ln>
        </p:spPr>
        <p:txBody>
          <a:bodyPr rtlCol="0" anchor="ctr"/>
          <a:lstStyle/>
          <a:p>
            <a:endParaRPr lang="de-DE"/>
          </a:p>
        </p:txBody>
      </p:sp>
      <p:sp>
        <p:nvSpPr>
          <p:cNvPr id="6" name="Freihandform: Form 5">
            <a:extLst>
              <a:ext uri="{FF2B5EF4-FFF2-40B4-BE49-F238E27FC236}">
                <a16:creationId xmlns:a16="http://schemas.microsoft.com/office/drawing/2014/main" id="{8A4E51D5-9A40-4C2C-A7AF-1757E2BA77A0}"/>
              </a:ext>
            </a:extLst>
          </p:cNvPr>
          <p:cNvSpPr/>
          <p:nvPr/>
        </p:nvSpPr>
        <p:spPr>
          <a:xfrm>
            <a:off x="5255279" y="2092134"/>
            <a:ext cx="33792" cy="36122"/>
          </a:xfrm>
          <a:custGeom>
            <a:avLst/>
            <a:gdLst>
              <a:gd name="connsiteX0" fmla="*/ 15148 w 33792"/>
              <a:gd name="connsiteY0" fmla="*/ 36123 h 36122"/>
              <a:gd name="connsiteX1" fmla="*/ 0 w 33792"/>
              <a:gd name="connsiteY1" fmla="*/ 36123 h 36122"/>
              <a:gd name="connsiteX2" fmla="*/ 18644 w 33792"/>
              <a:gd name="connsiteY2" fmla="*/ 17479 h 36122"/>
              <a:gd name="connsiteX3" fmla="*/ 0 w 33792"/>
              <a:gd name="connsiteY3" fmla="*/ 0 h 36122"/>
              <a:gd name="connsiteX4" fmla="*/ 16313 w 33792"/>
              <a:gd name="connsiteY4" fmla="*/ 0 h 36122"/>
              <a:gd name="connsiteX5" fmla="*/ 33792 w 33792"/>
              <a:gd name="connsiteY5" fmla="*/ 17479 h 3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92" h="36122">
                <a:moveTo>
                  <a:pt x="15148" y="36123"/>
                </a:moveTo>
                <a:lnTo>
                  <a:pt x="0" y="36123"/>
                </a:lnTo>
                <a:lnTo>
                  <a:pt x="18644" y="17479"/>
                </a:lnTo>
                <a:lnTo>
                  <a:pt x="0" y="0"/>
                </a:lnTo>
                <a:lnTo>
                  <a:pt x="16313" y="0"/>
                </a:lnTo>
                <a:lnTo>
                  <a:pt x="33792" y="17479"/>
                </a:lnTo>
                <a:close/>
              </a:path>
            </a:pathLst>
          </a:custGeom>
          <a:solidFill>
            <a:srgbClr val="EEF2F5"/>
          </a:solidFill>
          <a:ln w="11643" cap="flat">
            <a:noFill/>
            <a:prstDash val="solid"/>
            <a:miter/>
          </a:ln>
        </p:spPr>
        <p:txBody>
          <a:bodyPr rtlCol="0" anchor="ctr"/>
          <a:lstStyle/>
          <a:p>
            <a:endParaRPr lang="de-DE"/>
          </a:p>
        </p:txBody>
      </p:sp>
      <p:sp>
        <p:nvSpPr>
          <p:cNvPr id="23" name="Freihandform: Form 22">
            <a:extLst>
              <a:ext uri="{FF2B5EF4-FFF2-40B4-BE49-F238E27FC236}">
                <a16:creationId xmlns:a16="http://schemas.microsoft.com/office/drawing/2014/main" id="{EFF8D231-0526-443F-B572-FBC0C0A7C2F2}"/>
              </a:ext>
            </a:extLst>
          </p:cNvPr>
          <p:cNvSpPr/>
          <p:nvPr/>
        </p:nvSpPr>
        <p:spPr>
          <a:xfrm>
            <a:off x="5255279" y="2446370"/>
            <a:ext cx="33792" cy="36122"/>
          </a:xfrm>
          <a:custGeom>
            <a:avLst/>
            <a:gdLst>
              <a:gd name="connsiteX0" fmla="*/ 15148 w 33792"/>
              <a:gd name="connsiteY0" fmla="*/ 36123 h 36122"/>
              <a:gd name="connsiteX1" fmla="*/ 0 w 33792"/>
              <a:gd name="connsiteY1" fmla="*/ 36123 h 36122"/>
              <a:gd name="connsiteX2" fmla="*/ 18644 w 33792"/>
              <a:gd name="connsiteY2" fmla="*/ 18644 h 36122"/>
              <a:gd name="connsiteX3" fmla="*/ 0 w 33792"/>
              <a:gd name="connsiteY3" fmla="*/ 0 h 36122"/>
              <a:gd name="connsiteX4" fmla="*/ 16313 w 33792"/>
              <a:gd name="connsiteY4" fmla="*/ 0 h 36122"/>
              <a:gd name="connsiteX5" fmla="*/ 33792 w 33792"/>
              <a:gd name="connsiteY5" fmla="*/ 18644 h 3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92" h="36122">
                <a:moveTo>
                  <a:pt x="15148" y="36123"/>
                </a:moveTo>
                <a:lnTo>
                  <a:pt x="0" y="36123"/>
                </a:lnTo>
                <a:lnTo>
                  <a:pt x="18644" y="18644"/>
                </a:lnTo>
                <a:lnTo>
                  <a:pt x="0" y="0"/>
                </a:lnTo>
                <a:lnTo>
                  <a:pt x="16313" y="0"/>
                </a:lnTo>
                <a:lnTo>
                  <a:pt x="33792" y="18644"/>
                </a:lnTo>
                <a:close/>
              </a:path>
            </a:pathLst>
          </a:custGeom>
          <a:solidFill>
            <a:srgbClr val="EEF2F5"/>
          </a:solidFill>
          <a:ln w="11643" cap="flat">
            <a:noFill/>
            <a:prstDash val="solid"/>
            <a:miter/>
          </a:ln>
        </p:spPr>
        <p:txBody>
          <a:bodyPr rtlCol="0" anchor="ctr"/>
          <a:lstStyle/>
          <a:p>
            <a:endParaRPr lang="de-DE"/>
          </a:p>
        </p:txBody>
      </p:sp>
      <p:sp>
        <p:nvSpPr>
          <p:cNvPr id="39" name="Freihandform: Form 38">
            <a:extLst>
              <a:ext uri="{FF2B5EF4-FFF2-40B4-BE49-F238E27FC236}">
                <a16:creationId xmlns:a16="http://schemas.microsoft.com/office/drawing/2014/main" id="{4663B524-8E70-411B-AF82-46000FF0D969}"/>
              </a:ext>
            </a:extLst>
          </p:cNvPr>
          <p:cNvSpPr/>
          <p:nvPr/>
        </p:nvSpPr>
        <p:spPr>
          <a:xfrm>
            <a:off x="5255279" y="2801770"/>
            <a:ext cx="33792" cy="36122"/>
          </a:xfrm>
          <a:custGeom>
            <a:avLst/>
            <a:gdLst>
              <a:gd name="connsiteX0" fmla="*/ 15148 w 33792"/>
              <a:gd name="connsiteY0" fmla="*/ 36123 h 36122"/>
              <a:gd name="connsiteX1" fmla="*/ 0 w 33792"/>
              <a:gd name="connsiteY1" fmla="*/ 36123 h 36122"/>
              <a:gd name="connsiteX2" fmla="*/ 18644 w 33792"/>
              <a:gd name="connsiteY2" fmla="*/ 17479 h 36122"/>
              <a:gd name="connsiteX3" fmla="*/ 0 w 33792"/>
              <a:gd name="connsiteY3" fmla="*/ 0 h 36122"/>
              <a:gd name="connsiteX4" fmla="*/ 16313 w 33792"/>
              <a:gd name="connsiteY4" fmla="*/ 0 h 36122"/>
              <a:gd name="connsiteX5" fmla="*/ 33792 w 33792"/>
              <a:gd name="connsiteY5" fmla="*/ 17479 h 3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92" h="36122">
                <a:moveTo>
                  <a:pt x="15148" y="36123"/>
                </a:moveTo>
                <a:lnTo>
                  <a:pt x="0" y="36123"/>
                </a:lnTo>
                <a:lnTo>
                  <a:pt x="18644" y="17479"/>
                </a:lnTo>
                <a:lnTo>
                  <a:pt x="0" y="0"/>
                </a:lnTo>
                <a:lnTo>
                  <a:pt x="16313" y="0"/>
                </a:lnTo>
                <a:lnTo>
                  <a:pt x="33792" y="17479"/>
                </a:lnTo>
                <a:close/>
              </a:path>
            </a:pathLst>
          </a:custGeom>
          <a:solidFill>
            <a:srgbClr val="EEF2F5"/>
          </a:solidFill>
          <a:ln w="11643" cap="flat">
            <a:noFill/>
            <a:prstDash val="solid"/>
            <a:miter/>
          </a:ln>
        </p:spPr>
        <p:txBody>
          <a:bodyPr rtlCol="0" anchor="ctr"/>
          <a:lstStyle/>
          <a:p>
            <a:endParaRPr lang="de-DE"/>
          </a:p>
        </p:txBody>
      </p:sp>
      <p:sp>
        <p:nvSpPr>
          <p:cNvPr id="55" name="Freihandform: Form 54">
            <a:extLst>
              <a:ext uri="{FF2B5EF4-FFF2-40B4-BE49-F238E27FC236}">
                <a16:creationId xmlns:a16="http://schemas.microsoft.com/office/drawing/2014/main" id="{F4D09A89-D99B-46C8-9144-5A77F64C551B}"/>
              </a:ext>
            </a:extLst>
          </p:cNvPr>
          <p:cNvSpPr/>
          <p:nvPr/>
        </p:nvSpPr>
        <p:spPr>
          <a:xfrm>
            <a:off x="5255279" y="3156006"/>
            <a:ext cx="33792" cy="36122"/>
          </a:xfrm>
          <a:custGeom>
            <a:avLst/>
            <a:gdLst>
              <a:gd name="connsiteX0" fmla="*/ 15148 w 33792"/>
              <a:gd name="connsiteY0" fmla="*/ 36123 h 36122"/>
              <a:gd name="connsiteX1" fmla="*/ 0 w 33792"/>
              <a:gd name="connsiteY1" fmla="*/ 36123 h 36122"/>
              <a:gd name="connsiteX2" fmla="*/ 18644 w 33792"/>
              <a:gd name="connsiteY2" fmla="*/ 18644 h 36122"/>
              <a:gd name="connsiteX3" fmla="*/ 0 w 33792"/>
              <a:gd name="connsiteY3" fmla="*/ 0 h 36122"/>
              <a:gd name="connsiteX4" fmla="*/ 16313 w 33792"/>
              <a:gd name="connsiteY4" fmla="*/ 0 h 36122"/>
              <a:gd name="connsiteX5" fmla="*/ 33792 w 33792"/>
              <a:gd name="connsiteY5" fmla="*/ 18644 h 3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92" h="36122">
                <a:moveTo>
                  <a:pt x="15148" y="36123"/>
                </a:moveTo>
                <a:lnTo>
                  <a:pt x="0" y="36123"/>
                </a:lnTo>
                <a:lnTo>
                  <a:pt x="18644" y="18644"/>
                </a:lnTo>
                <a:lnTo>
                  <a:pt x="0" y="0"/>
                </a:lnTo>
                <a:lnTo>
                  <a:pt x="16313" y="0"/>
                </a:lnTo>
                <a:lnTo>
                  <a:pt x="33792" y="18644"/>
                </a:lnTo>
                <a:close/>
              </a:path>
            </a:pathLst>
          </a:custGeom>
          <a:solidFill>
            <a:srgbClr val="EEF2F5"/>
          </a:solidFill>
          <a:ln w="11643" cap="flat">
            <a:noFill/>
            <a:prstDash val="solid"/>
            <a:miter/>
          </a:ln>
        </p:spPr>
        <p:txBody>
          <a:bodyPr rtlCol="0" anchor="ctr"/>
          <a:lstStyle/>
          <a:p>
            <a:endParaRPr lang="de-DE"/>
          </a:p>
        </p:txBody>
      </p:sp>
      <p:sp>
        <p:nvSpPr>
          <p:cNvPr id="187" name="Freihandform: Form 186">
            <a:extLst>
              <a:ext uri="{FF2B5EF4-FFF2-40B4-BE49-F238E27FC236}">
                <a16:creationId xmlns:a16="http://schemas.microsoft.com/office/drawing/2014/main" id="{9405F1EC-B6AA-4E71-9517-3317B5730FD9}"/>
              </a:ext>
            </a:extLst>
          </p:cNvPr>
          <p:cNvSpPr/>
          <p:nvPr/>
        </p:nvSpPr>
        <p:spPr>
          <a:xfrm>
            <a:off x="5255279" y="5995715"/>
            <a:ext cx="33792" cy="36122"/>
          </a:xfrm>
          <a:custGeom>
            <a:avLst/>
            <a:gdLst>
              <a:gd name="connsiteX0" fmla="*/ 15148 w 33792"/>
              <a:gd name="connsiteY0" fmla="*/ 36123 h 36122"/>
              <a:gd name="connsiteX1" fmla="*/ 0 w 33792"/>
              <a:gd name="connsiteY1" fmla="*/ 36123 h 36122"/>
              <a:gd name="connsiteX2" fmla="*/ 18644 w 33792"/>
              <a:gd name="connsiteY2" fmla="*/ 17479 h 36122"/>
              <a:gd name="connsiteX3" fmla="*/ 0 w 33792"/>
              <a:gd name="connsiteY3" fmla="*/ 0 h 36122"/>
              <a:gd name="connsiteX4" fmla="*/ 16313 w 33792"/>
              <a:gd name="connsiteY4" fmla="*/ 0 h 36122"/>
              <a:gd name="connsiteX5" fmla="*/ 33792 w 33792"/>
              <a:gd name="connsiteY5" fmla="*/ 17479 h 3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92" h="36122">
                <a:moveTo>
                  <a:pt x="15148" y="36123"/>
                </a:moveTo>
                <a:lnTo>
                  <a:pt x="0" y="36123"/>
                </a:lnTo>
                <a:lnTo>
                  <a:pt x="18644" y="17479"/>
                </a:lnTo>
                <a:lnTo>
                  <a:pt x="0" y="0"/>
                </a:lnTo>
                <a:lnTo>
                  <a:pt x="16313" y="0"/>
                </a:lnTo>
                <a:lnTo>
                  <a:pt x="33792" y="17479"/>
                </a:lnTo>
                <a:close/>
              </a:path>
            </a:pathLst>
          </a:custGeom>
          <a:solidFill>
            <a:srgbClr val="EEF2F5"/>
          </a:solidFill>
          <a:ln w="11643" cap="flat">
            <a:noFill/>
            <a:prstDash val="solid"/>
            <a:miter/>
          </a:ln>
        </p:spPr>
        <p:txBody>
          <a:bodyPr rtlCol="0" anchor="ctr"/>
          <a:lstStyle/>
          <a:p>
            <a:endParaRPr lang="de-DE"/>
          </a:p>
        </p:txBody>
      </p:sp>
      <p:sp>
        <p:nvSpPr>
          <p:cNvPr id="204" name="Freihandform: Form 203">
            <a:extLst>
              <a:ext uri="{FF2B5EF4-FFF2-40B4-BE49-F238E27FC236}">
                <a16:creationId xmlns:a16="http://schemas.microsoft.com/office/drawing/2014/main" id="{455ED072-A29F-4FE5-8724-C330B2893FE8}"/>
              </a:ext>
            </a:extLst>
          </p:cNvPr>
          <p:cNvSpPr/>
          <p:nvPr/>
        </p:nvSpPr>
        <p:spPr>
          <a:xfrm>
            <a:off x="5255279" y="6349950"/>
            <a:ext cx="33792" cy="36122"/>
          </a:xfrm>
          <a:custGeom>
            <a:avLst/>
            <a:gdLst>
              <a:gd name="connsiteX0" fmla="*/ 15148 w 33792"/>
              <a:gd name="connsiteY0" fmla="*/ 36123 h 36122"/>
              <a:gd name="connsiteX1" fmla="*/ 0 w 33792"/>
              <a:gd name="connsiteY1" fmla="*/ 36123 h 36122"/>
              <a:gd name="connsiteX2" fmla="*/ 18644 w 33792"/>
              <a:gd name="connsiteY2" fmla="*/ 18644 h 36122"/>
              <a:gd name="connsiteX3" fmla="*/ 0 w 33792"/>
              <a:gd name="connsiteY3" fmla="*/ 0 h 36122"/>
              <a:gd name="connsiteX4" fmla="*/ 16313 w 33792"/>
              <a:gd name="connsiteY4" fmla="*/ 0 h 36122"/>
              <a:gd name="connsiteX5" fmla="*/ 33792 w 33792"/>
              <a:gd name="connsiteY5" fmla="*/ 17479 h 3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92" h="36122">
                <a:moveTo>
                  <a:pt x="15148" y="36123"/>
                </a:moveTo>
                <a:lnTo>
                  <a:pt x="0" y="36123"/>
                </a:lnTo>
                <a:lnTo>
                  <a:pt x="18644" y="18644"/>
                </a:lnTo>
                <a:lnTo>
                  <a:pt x="0" y="0"/>
                </a:lnTo>
                <a:lnTo>
                  <a:pt x="16313" y="0"/>
                </a:lnTo>
                <a:lnTo>
                  <a:pt x="33792" y="17479"/>
                </a:lnTo>
                <a:close/>
              </a:path>
            </a:pathLst>
          </a:custGeom>
          <a:solidFill>
            <a:srgbClr val="EEF2F5"/>
          </a:solidFill>
          <a:ln w="11643" cap="flat">
            <a:noFill/>
            <a:prstDash val="solid"/>
            <a:miter/>
          </a:ln>
        </p:spPr>
        <p:txBody>
          <a:bodyPr rtlCol="0" anchor="ctr"/>
          <a:lstStyle/>
          <a:p>
            <a:endParaRPr lang="de-DE"/>
          </a:p>
        </p:txBody>
      </p:sp>
      <p:sp>
        <p:nvSpPr>
          <p:cNvPr id="220" name="Freihandform: Form 219">
            <a:extLst>
              <a:ext uri="{FF2B5EF4-FFF2-40B4-BE49-F238E27FC236}">
                <a16:creationId xmlns:a16="http://schemas.microsoft.com/office/drawing/2014/main" id="{99942471-7679-49B5-9D52-AEDAA896BBEA}"/>
              </a:ext>
            </a:extLst>
          </p:cNvPr>
          <p:cNvSpPr/>
          <p:nvPr/>
        </p:nvSpPr>
        <p:spPr>
          <a:xfrm>
            <a:off x="5255279" y="6705351"/>
            <a:ext cx="33792" cy="36122"/>
          </a:xfrm>
          <a:custGeom>
            <a:avLst/>
            <a:gdLst>
              <a:gd name="connsiteX0" fmla="*/ 15148 w 33792"/>
              <a:gd name="connsiteY0" fmla="*/ 36123 h 36122"/>
              <a:gd name="connsiteX1" fmla="*/ 0 w 33792"/>
              <a:gd name="connsiteY1" fmla="*/ 36123 h 36122"/>
              <a:gd name="connsiteX2" fmla="*/ 18644 w 33792"/>
              <a:gd name="connsiteY2" fmla="*/ 17479 h 36122"/>
              <a:gd name="connsiteX3" fmla="*/ 0 w 33792"/>
              <a:gd name="connsiteY3" fmla="*/ 0 h 36122"/>
              <a:gd name="connsiteX4" fmla="*/ 16313 w 33792"/>
              <a:gd name="connsiteY4" fmla="*/ 0 h 36122"/>
              <a:gd name="connsiteX5" fmla="*/ 33792 w 33792"/>
              <a:gd name="connsiteY5" fmla="*/ 17479 h 3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92" h="36122">
                <a:moveTo>
                  <a:pt x="15148" y="36123"/>
                </a:moveTo>
                <a:lnTo>
                  <a:pt x="0" y="36123"/>
                </a:lnTo>
                <a:lnTo>
                  <a:pt x="18644" y="17479"/>
                </a:lnTo>
                <a:lnTo>
                  <a:pt x="0" y="0"/>
                </a:lnTo>
                <a:lnTo>
                  <a:pt x="16313" y="0"/>
                </a:lnTo>
                <a:lnTo>
                  <a:pt x="33792" y="17479"/>
                </a:lnTo>
                <a:close/>
              </a:path>
            </a:pathLst>
          </a:custGeom>
          <a:solidFill>
            <a:srgbClr val="EEF2F5"/>
          </a:solidFill>
          <a:ln w="11643" cap="flat">
            <a:noFill/>
            <a:prstDash val="solid"/>
            <a:miter/>
          </a:ln>
        </p:spPr>
        <p:txBody>
          <a:bodyPr rtlCol="0" anchor="ctr"/>
          <a:lstStyle/>
          <a:p>
            <a:endParaRPr lang="de-DE"/>
          </a:p>
        </p:txBody>
      </p:sp>
      <p:sp>
        <p:nvSpPr>
          <p:cNvPr id="7" name="Freihandform: Form 6">
            <a:extLst>
              <a:ext uri="{FF2B5EF4-FFF2-40B4-BE49-F238E27FC236}">
                <a16:creationId xmlns:a16="http://schemas.microsoft.com/office/drawing/2014/main" id="{4036A95C-4698-466B-86BD-E5C4BEBC8F14}"/>
              </a:ext>
            </a:extLst>
          </p:cNvPr>
          <p:cNvSpPr/>
          <p:nvPr/>
        </p:nvSpPr>
        <p:spPr>
          <a:xfrm>
            <a:off x="5602523" y="2082812"/>
            <a:ext cx="50105" cy="54766"/>
          </a:xfrm>
          <a:custGeom>
            <a:avLst/>
            <a:gdLst>
              <a:gd name="connsiteX0" fmla="*/ 22140 w 50105"/>
              <a:gd name="connsiteY0" fmla="*/ 54767 h 54766"/>
              <a:gd name="connsiteX1" fmla="*/ 0 w 50105"/>
              <a:gd name="connsiteY1" fmla="*/ 54767 h 54766"/>
              <a:gd name="connsiteX2" fmla="*/ 26801 w 50105"/>
              <a:gd name="connsiteY2" fmla="*/ 27966 h 54766"/>
              <a:gd name="connsiteX3" fmla="*/ 0 w 50105"/>
              <a:gd name="connsiteY3" fmla="*/ 0 h 54766"/>
              <a:gd name="connsiteX4" fmla="*/ 23305 w 50105"/>
              <a:gd name="connsiteY4" fmla="*/ 0 h 54766"/>
              <a:gd name="connsiteX5" fmla="*/ 50106 w 50105"/>
              <a:gd name="connsiteY5" fmla="*/ 26801 h 5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4765">
                <a:moveTo>
                  <a:pt x="22140" y="54767"/>
                </a:moveTo>
                <a:lnTo>
                  <a:pt x="0" y="54767"/>
                </a:lnTo>
                <a:lnTo>
                  <a:pt x="26801" y="27966"/>
                </a:lnTo>
                <a:lnTo>
                  <a:pt x="0" y="0"/>
                </a:lnTo>
                <a:lnTo>
                  <a:pt x="23305" y="0"/>
                </a:lnTo>
                <a:lnTo>
                  <a:pt x="50106" y="26801"/>
                </a:lnTo>
                <a:close/>
              </a:path>
            </a:pathLst>
          </a:custGeom>
          <a:solidFill>
            <a:srgbClr val="EEF2F5"/>
          </a:solidFill>
          <a:ln w="11643" cap="flat">
            <a:noFill/>
            <a:prstDash val="solid"/>
            <a:miter/>
          </a:ln>
        </p:spPr>
        <p:txBody>
          <a:bodyPr rtlCol="0" anchor="ctr"/>
          <a:lstStyle/>
          <a:p>
            <a:endParaRPr lang="de-DE"/>
          </a:p>
        </p:txBody>
      </p:sp>
      <p:sp>
        <p:nvSpPr>
          <p:cNvPr id="24" name="Freihandform: Form 23">
            <a:extLst>
              <a:ext uri="{FF2B5EF4-FFF2-40B4-BE49-F238E27FC236}">
                <a16:creationId xmlns:a16="http://schemas.microsoft.com/office/drawing/2014/main" id="{BF542F85-6793-447F-ABC7-4DD68400D714}"/>
              </a:ext>
            </a:extLst>
          </p:cNvPr>
          <p:cNvSpPr/>
          <p:nvPr/>
        </p:nvSpPr>
        <p:spPr>
          <a:xfrm>
            <a:off x="5602523" y="2438213"/>
            <a:ext cx="50105" cy="53601"/>
          </a:xfrm>
          <a:custGeom>
            <a:avLst/>
            <a:gdLst>
              <a:gd name="connsiteX0" fmla="*/ 22140 w 50105"/>
              <a:gd name="connsiteY0" fmla="*/ 53601 h 53601"/>
              <a:gd name="connsiteX1" fmla="*/ 0 w 50105"/>
              <a:gd name="connsiteY1" fmla="*/ 53601 h 53601"/>
              <a:gd name="connsiteX2" fmla="*/ 26801 w 50105"/>
              <a:gd name="connsiteY2" fmla="*/ 26801 h 53601"/>
              <a:gd name="connsiteX3" fmla="*/ 0 w 50105"/>
              <a:gd name="connsiteY3" fmla="*/ 0 h 53601"/>
              <a:gd name="connsiteX4" fmla="*/ 23305 w 50105"/>
              <a:gd name="connsiteY4" fmla="*/ 0 h 53601"/>
              <a:gd name="connsiteX5" fmla="*/ 50106 w 50105"/>
              <a:gd name="connsiteY5" fmla="*/ 25635 h 53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3601">
                <a:moveTo>
                  <a:pt x="22140" y="53601"/>
                </a:moveTo>
                <a:lnTo>
                  <a:pt x="0" y="53601"/>
                </a:lnTo>
                <a:lnTo>
                  <a:pt x="26801" y="26801"/>
                </a:lnTo>
                <a:lnTo>
                  <a:pt x="0" y="0"/>
                </a:lnTo>
                <a:lnTo>
                  <a:pt x="23305" y="0"/>
                </a:lnTo>
                <a:lnTo>
                  <a:pt x="50106" y="25635"/>
                </a:lnTo>
                <a:close/>
              </a:path>
            </a:pathLst>
          </a:custGeom>
          <a:solidFill>
            <a:srgbClr val="EEF2F5"/>
          </a:solidFill>
          <a:ln w="11643" cap="flat">
            <a:noFill/>
            <a:prstDash val="solid"/>
            <a:miter/>
          </a:ln>
        </p:spPr>
        <p:txBody>
          <a:bodyPr rtlCol="0" anchor="ctr"/>
          <a:lstStyle/>
          <a:p>
            <a:endParaRPr lang="de-DE"/>
          </a:p>
        </p:txBody>
      </p:sp>
      <p:sp>
        <p:nvSpPr>
          <p:cNvPr id="40" name="Freihandform: Form 39">
            <a:extLst>
              <a:ext uri="{FF2B5EF4-FFF2-40B4-BE49-F238E27FC236}">
                <a16:creationId xmlns:a16="http://schemas.microsoft.com/office/drawing/2014/main" id="{740F153C-C05E-494B-8276-37D3E8653A98}"/>
              </a:ext>
            </a:extLst>
          </p:cNvPr>
          <p:cNvSpPr/>
          <p:nvPr/>
        </p:nvSpPr>
        <p:spPr>
          <a:xfrm>
            <a:off x="5602523" y="2792448"/>
            <a:ext cx="50105" cy="54766"/>
          </a:xfrm>
          <a:custGeom>
            <a:avLst/>
            <a:gdLst>
              <a:gd name="connsiteX0" fmla="*/ 22140 w 50105"/>
              <a:gd name="connsiteY0" fmla="*/ 54767 h 54766"/>
              <a:gd name="connsiteX1" fmla="*/ 0 w 50105"/>
              <a:gd name="connsiteY1" fmla="*/ 54767 h 54766"/>
              <a:gd name="connsiteX2" fmla="*/ 26801 w 50105"/>
              <a:gd name="connsiteY2" fmla="*/ 27966 h 54766"/>
              <a:gd name="connsiteX3" fmla="*/ 0 w 50105"/>
              <a:gd name="connsiteY3" fmla="*/ 0 h 54766"/>
              <a:gd name="connsiteX4" fmla="*/ 23305 w 50105"/>
              <a:gd name="connsiteY4" fmla="*/ 0 h 54766"/>
              <a:gd name="connsiteX5" fmla="*/ 50106 w 50105"/>
              <a:gd name="connsiteY5" fmla="*/ 26801 h 5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4765">
                <a:moveTo>
                  <a:pt x="22140" y="54767"/>
                </a:moveTo>
                <a:lnTo>
                  <a:pt x="0" y="54767"/>
                </a:lnTo>
                <a:lnTo>
                  <a:pt x="26801" y="27966"/>
                </a:lnTo>
                <a:lnTo>
                  <a:pt x="0" y="0"/>
                </a:lnTo>
                <a:lnTo>
                  <a:pt x="23305" y="0"/>
                </a:lnTo>
                <a:lnTo>
                  <a:pt x="50106" y="26801"/>
                </a:lnTo>
                <a:close/>
              </a:path>
            </a:pathLst>
          </a:custGeom>
          <a:solidFill>
            <a:srgbClr val="EEF2F5"/>
          </a:solidFill>
          <a:ln w="11643" cap="flat">
            <a:noFill/>
            <a:prstDash val="solid"/>
            <a:miter/>
          </a:ln>
        </p:spPr>
        <p:txBody>
          <a:bodyPr rtlCol="0" anchor="ctr"/>
          <a:lstStyle/>
          <a:p>
            <a:endParaRPr lang="de-DE"/>
          </a:p>
        </p:txBody>
      </p:sp>
      <p:sp>
        <p:nvSpPr>
          <p:cNvPr id="56" name="Freihandform: Form 55">
            <a:extLst>
              <a:ext uri="{FF2B5EF4-FFF2-40B4-BE49-F238E27FC236}">
                <a16:creationId xmlns:a16="http://schemas.microsoft.com/office/drawing/2014/main" id="{6DC9BB73-A50E-4E7E-85F9-1EC71DEC332C}"/>
              </a:ext>
            </a:extLst>
          </p:cNvPr>
          <p:cNvSpPr/>
          <p:nvPr/>
        </p:nvSpPr>
        <p:spPr>
          <a:xfrm>
            <a:off x="5602523" y="3147849"/>
            <a:ext cx="50105" cy="53601"/>
          </a:xfrm>
          <a:custGeom>
            <a:avLst/>
            <a:gdLst>
              <a:gd name="connsiteX0" fmla="*/ 22140 w 50105"/>
              <a:gd name="connsiteY0" fmla="*/ 53601 h 53601"/>
              <a:gd name="connsiteX1" fmla="*/ 0 w 50105"/>
              <a:gd name="connsiteY1" fmla="*/ 53601 h 53601"/>
              <a:gd name="connsiteX2" fmla="*/ 26801 w 50105"/>
              <a:gd name="connsiteY2" fmla="*/ 26801 h 53601"/>
              <a:gd name="connsiteX3" fmla="*/ 0 w 50105"/>
              <a:gd name="connsiteY3" fmla="*/ 0 h 53601"/>
              <a:gd name="connsiteX4" fmla="*/ 23305 w 50105"/>
              <a:gd name="connsiteY4" fmla="*/ 0 h 53601"/>
              <a:gd name="connsiteX5" fmla="*/ 50106 w 50105"/>
              <a:gd name="connsiteY5" fmla="*/ 26801 h 53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3601">
                <a:moveTo>
                  <a:pt x="22140" y="53601"/>
                </a:moveTo>
                <a:lnTo>
                  <a:pt x="0" y="53601"/>
                </a:lnTo>
                <a:lnTo>
                  <a:pt x="26801" y="26801"/>
                </a:lnTo>
                <a:lnTo>
                  <a:pt x="0" y="0"/>
                </a:lnTo>
                <a:lnTo>
                  <a:pt x="23305" y="0"/>
                </a:lnTo>
                <a:lnTo>
                  <a:pt x="50106" y="26801"/>
                </a:lnTo>
                <a:close/>
              </a:path>
            </a:pathLst>
          </a:custGeom>
          <a:solidFill>
            <a:srgbClr val="EEF2F5"/>
          </a:solidFill>
          <a:ln w="11643" cap="flat">
            <a:noFill/>
            <a:prstDash val="solid"/>
            <a:miter/>
          </a:ln>
        </p:spPr>
        <p:txBody>
          <a:bodyPr rtlCol="0" anchor="ctr"/>
          <a:lstStyle/>
          <a:p>
            <a:endParaRPr lang="de-DE"/>
          </a:p>
        </p:txBody>
      </p:sp>
      <p:sp>
        <p:nvSpPr>
          <p:cNvPr id="72" name="Freihandform: Form 71">
            <a:extLst>
              <a:ext uri="{FF2B5EF4-FFF2-40B4-BE49-F238E27FC236}">
                <a16:creationId xmlns:a16="http://schemas.microsoft.com/office/drawing/2014/main" id="{15AE0A81-8164-4015-8158-36F576D4E31D}"/>
              </a:ext>
            </a:extLst>
          </p:cNvPr>
          <p:cNvSpPr/>
          <p:nvPr/>
        </p:nvSpPr>
        <p:spPr>
          <a:xfrm>
            <a:off x="5602523" y="3502084"/>
            <a:ext cx="50105" cy="54766"/>
          </a:xfrm>
          <a:custGeom>
            <a:avLst/>
            <a:gdLst>
              <a:gd name="connsiteX0" fmla="*/ 22140 w 50105"/>
              <a:gd name="connsiteY0" fmla="*/ 54767 h 54766"/>
              <a:gd name="connsiteX1" fmla="*/ 0 w 50105"/>
              <a:gd name="connsiteY1" fmla="*/ 54767 h 54766"/>
              <a:gd name="connsiteX2" fmla="*/ 26801 w 50105"/>
              <a:gd name="connsiteY2" fmla="*/ 27966 h 54766"/>
              <a:gd name="connsiteX3" fmla="*/ 0 w 50105"/>
              <a:gd name="connsiteY3" fmla="*/ 0 h 54766"/>
              <a:gd name="connsiteX4" fmla="*/ 23305 w 50105"/>
              <a:gd name="connsiteY4" fmla="*/ 0 h 54766"/>
              <a:gd name="connsiteX5" fmla="*/ 50106 w 50105"/>
              <a:gd name="connsiteY5" fmla="*/ 26801 h 5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4765">
                <a:moveTo>
                  <a:pt x="22140" y="54767"/>
                </a:moveTo>
                <a:lnTo>
                  <a:pt x="0" y="54767"/>
                </a:lnTo>
                <a:lnTo>
                  <a:pt x="26801" y="27966"/>
                </a:lnTo>
                <a:lnTo>
                  <a:pt x="0" y="0"/>
                </a:lnTo>
                <a:lnTo>
                  <a:pt x="23305" y="0"/>
                </a:lnTo>
                <a:lnTo>
                  <a:pt x="50106" y="26801"/>
                </a:lnTo>
                <a:close/>
              </a:path>
            </a:pathLst>
          </a:custGeom>
          <a:solidFill>
            <a:srgbClr val="EEF2F5"/>
          </a:solidFill>
          <a:ln w="11643" cap="flat">
            <a:noFill/>
            <a:prstDash val="solid"/>
            <a:miter/>
          </a:ln>
        </p:spPr>
        <p:txBody>
          <a:bodyPr rtlCol="0" anchor="ctr"/>
          <a:lstStyle/>
          <a:p>
            <a:endParaRPr lang="de-DE"/>
          </a:p>
        </p:txBody>
      </p:sp>
      <p:sp>
        <p:nvSpPr>
          <p:cNvPr id="171" name="Freihandform: Form 170">
            <a:extLst>
              <a:ext uri="{FF2B5EF4-FFF2-40B4-BE49-F238E27FC236}">
                <a16:creationId xmlns:a16="http://schemas.microsoft.com/office/drawing/2014/main" id="{F7E7E68A-1C17-4FA5-88E2-BA53C7F9EC18}"/>
              </a:ext>
            </a:extLst>
          </p:cNvPr>
          <p:cNvSpPr/>
          <p:nvPr/>
        </p:nvSpPr>
        <p:spPr>
          <a:xfrm>
            <a:off x="5602523" y="5630993"/>
            <a:ext cx="50105" cy="54766"/>
          </a:xfrm>
          <a:custGeom>
            <a:avLst/>
            <a:gdLst>
              <a:gd name="connsiteX0" fmla="*/ 22140 w 50105"/>
              <a:gd name="connsiteY0" fmla="*/ 54766 h 54766"/>
              <a:gd name="connsiteX1" fmla="*/ 0 w 50105"/>
              <a:gd name="connsiteY1" fmla="*/ 54766 h 54766"/>
              <a:gd name="connsiteX2" fmla="*/ 26801 w 50105"/>
              <a:gd name="connsiteY2" fmla="*/ 27966 h 54766"/>
              <a:gd name="connsiteX3" fmla="*/ 0 w 50105"/>
              <a:gd name="connsiteY3" fmla="*/ 0 h 54766"/>
              <a:gd name="connsiteX4" fmla="*/ 23305 w 50105"/>
              <a:gd name="connsiteY4" fmla="*/ 0 h 54766"/>
              <a:gd name="connsiteX5" fmla="*/ 50106 w 50105"/>
              <a:gd name="connsiteY5" fmla="*/ 26801 h 5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4765">
                <a:moveTo>
                  <a:pt x="22140" y="54766"/>
                </a:moveTo>
                <a:lnTo>
                  <a:pt x="0" y="54766"/>
                </a:lnTo>
                <a:lnTo>
                  <a:pt x="26801" y="27966"/>
                </a:lnTo>
                <a:lnTo>
                  <a:pt x="0" y="0"/>
                </a:lnTo>
                <a:lnTo>
                  <a:pt x="23305" y="0"/>
                </a:lnTo>
                <a:lnTo>
                  <a:pt x="50106" y="26801"/>
                </a:lnTo>
                <a:close/>
              </a:path>
            </a:pathLst>
          </a:custGeom>
          <a:solidFill>
            <a:srgbClr val="EEF2F5"/>
          </a:solidFill>
          <a:ln w="11643" cap="flat">
            <a:noFill/>
            <a:prstDash val="solid"/>
            <a:miter/>
          </a:ln>
        </p:spPr>
        <p:txBody>
          <a:bodyPr rtlCol="0" anchor="ctr"/>
          <a:lstStyle/>
          <a:p>
            <a:endParaRPr lang="de-DE"/>
          </a:p>
        </p:txBody>
      </p:sp>
      <p:sp>
        <p:nvSpPr>
          <p:cNvPr id="188" name="Freihandform: Form 187">
            <a:extLst>
              <a:ext uri="{FF2B5EF4-FFF2-40B4-BE49-F238E27FC236}">
                <a16:creationId xmlns:a16="http://schemas.microsoft.com/office/drawing/2014/main" id="{D858DCE1-2FBD-4D17-8C06-66D6048D5493}"/>
              </a:ext>
            </a:extLst>
          </p:cNvPr>
          <p:cNvSpPr/>
          <p:nvPr/>
        </p:nvSpPr>
        <p:spPr>
          <a:xfrm>
            <a:off x="5602523" y="5986393"/>
            <a:ext cx="50105" cy="54766"/>
          </a:xfrm>
          <a:custGeom>
            <a:avLst/>
            <a:gdLst>
              <a:gd name="connsiteX0" fmla="*/ 22140 w 50105"/>
              <a:gd name="connsiteY0" fmla="*/ 54766 h 54766"/>
              <a:gd name="connsiteX1" fmla="*/ 0 w 50105"/>
              <a:gd name="connsiteY1" fmla="*/ 54766 h 54766"/>
              <a:gd name="connsiteX2" fmla="*/ 26801 w 50105"/>
              <a:gd name="connsiteY2" fmla="*/ 26801 h 54766"/>
              <a:gd name="connsiteX3" fmla="*/ 0 w 50105"/>
              <a:gd name="connsiteY3" fmla="*/ 0 h 54766"/>
              <a:gd name="connsiteX4" fmla="*/ 23305 w 50105"/>
              <a:gd name="connsiteY4" fmla="*/ 0 h 54766"/>
              <a:gd name="connsiteX5" fmla="*/ 50106 w 50105"/>
              <a:gd name="connsiteY5" fmla="*/ 26801 h 5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4765">
                <a:moveTo>
                  <a:pt x="22140" y="54766"/>
                </a:moveTo>
                <a:lnTo>
                  <a:pt x="0" y="54766"/>
                </a:lnTo>
                <a:lnTo>
                  <a:pt x="26801" y="26801"/>
                </a:lnTo>
                <a:lnTo>
                  <a:pt x="0" y="0"/>
                </a:lnTo>
                <a:lnTo>
                  <a:pt x="23305" y="0"/>
                </a:lnTo>
                <a:lnTo>
                  <a:pt x="50106" y="26801"/>
                </a:lnTo>
                <a:close/>
              </a:path>
            </a:pathLst>
          </a:custGeom>
          <a:solidFill>
            <a:srgbClr val="EEF2F5"/>
          </a:solidFill>
          <a:ln w="11643" cap="flat">
            <a:noFill/>
            <a:prstDash val="solid"/>
            <a:miter/>
          </a:ln>
        </p:spPr>
        <p:txBody>
          <a:bodyPr rtlCol="0" anchor="ctr"/>
          <a:lstStyle/>
          <a:p>
            <a:endParaRPr lang="de-DE"/>
          </a:p>
        </p:txBody>
      </p:sp>
      <p:sp>
        <p:nvSpPr>
          <p:cNvPr id="205" name="Freihandform: Form 204">
            <a:extLst>
              <a:ext uri="{FF2B5EF4-FFF2-40B4-BE49-F238E27FC236}">
                <a16:creationId xmlns:a16="http://schemas.microsoft.com/office/drawing/2014/main" id="{A776D8C8-F6BD-495D-AE14-B62B445F9D30}"/>
              </a:ext>
            </a:extLst>
          </p:cNvPr>
          <p:cNvSpPr/>
          <p:nvPr/>
        </p:nvSpPr>
        <p:spPr>
          <a:xfrm>
            <a:off x="5602523" y="6340628"/>
            <a:ext cx="50105" cy="54766"/>
          </a:xfrm>
          <a:custGeom>
            <a:avLst/>
            <a:gdLst>
              <a:gd name="connsiteX0" fmla="*/ 22140 w 50105"/>
              <a:gd name="connsiteY0" fmla="*/ 54766 h 54766"/>
              <a:gd name="connsiteX1" fmla="*/ 0 w 50105"/>
              <a:gd name="connsiteY1" fmla="*/ 54766 h 54766"/>
              <a:gd name="connsiteX2" fmla="*/ 26801 w 50105"/>
              <a:gd name="connsiteY2" fmla="*/ 27966 h 54766"/>
              <a:gd name="connsiteX3" fmla="*/ 0 w 50105"/>
              <a:gd name="connsiteY3" fmla="*/ 0 h 54766"/>
              <a:gd name="connsiteX4" fmla="*/ 23305 w 50105"/>
              <a:gd name="connsiteY4" fmla="*/ 0 h 54766"/>
              <a:gd name="connsiteX5" fmla="*/ 50106 w 50105"/>
              <a:gd name="connsiteY5" fmla="*/ 26801 h 5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4765">
                <a:moveTo>
                  <a:pt x="22140" y="54766"/>
                </a:moveTo>
                <a:lnTo>
                  <a:pt x="0" y="54766"/>
                </a:lnTo>
                <a:lnTo>
                  <a:pt x="26801" y="27966"/>
                </a:lnTo>
                <a:lnTo>
                  <a:pt x="0" y="0"/>
                </a:lnTo>
                <a:lnTo>
                  <a:pt x="23305" y="0"/>
                </a:lnTo>
                <a:lnTo>
                  <a:pt x="50106" y="26801"/>
                </a:lnTo>
                <a:close/>
              </a:path>
            </a:pathLst>
          </a:custGeom>
          <a:solidFill>
            <a:srgbClr val="EEF2F5"/>
          </a:solidFill>
          <a:ln w="11643" cap="flat">
            <a:noFill/>
            <a:prstDash val="solid"/>
            <a:miter/>
          </a:ln>
        </p:spPr>
        <p:txBody>
          <a:bodyPr rtlCol="0" anchor="ctr"/>
          <a:lstStyle/>
          <a:p>
            <a:endParaRPr lang="de-DE"/>
          </a:p>
        </p:txBody>
      </p:sp>
      <p:sp>
        <p:nvSpPr>
          <p:cNvPr id="221" name="Freihandform: Form 220">
            <a:extLst>
              <a:ext uri="{FF2B5EF4-FFF2-40B4-BE49-F238E27FC236}">
                <a16:creationId xmlns:a16="http://schemas.microsoft.com/office/drawing/2014/main" id="{335AC205-F15B-44A8-85C9-E62E3F81F25D}"/>
              </a:ext>
            </a:extLst>
          </p:cNvPr>
          <p:cNvSpPr/>
          <p:nvPr/>
        </p:nvSpPr>
        <p:spPr>
          <a:xfrm>
            <a:off x="5602523" y="6696029"/>
            <a:ext cx="50105" cy="54766"/>
          </a:xfrm>
          <a:custGeom>
            <a:avLst/>
            <a:gdLst>
              <a:gd name="connsiteX0" fmla="*/ 22140 w 50105"/>
              <a:gd name="connsiteY0" fmla="*/ 54766 h 54766"/>
              <a:gd name="connsiteX1" fmla="*/ 0 w 50105"/>
              <a:gd name="connsiteY1" fmla="*/ 54766 h 54766"/>
              <a:gd name="connsiteX2" fmla="*/ 26801 w 50105"/>
              <a:gd name="connsiteY2" fmla="*/ 27966 h 54766"/>
              <a:gd name="connsiteX3" fmla="*/ 0 w 50105"/>
              <a:gd name="connsiteY3" fmla="*/ 0 h 54766"/>
              <a:gd name="connsiteX4" fmla="*/ 23305 w 50105"/>
              <a:gd name="connsiteY4" fmla="*/ 0 h 54766"/>
              <a:gd name="connsiteX5" fmla="*/ 50106 w 50105"/>
              <a:gd name="connsiteY5" fmla="*/ 26801 h 5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4765">
                <a:moveTo>
                  <a:pt x="22140" y="54766"/>
                </a:moveTo>
                <a:lnTo>
                  <a:pt x="0" y="54766"/>
                </a:lnTo>
                <a:lnTo>
                  <a:pt x="26801" y="27966"/>
                </a:lnTo>
                <a:lnTo>
                  <a:pt x="0" y="0"/>
                </a:lnTo>
                <a:lnTo>
                  <a:pt x="23305" y="0"/>
                </a:lnTo>
                <a:lnTo>
                  <a:pt x="50106" y="26801"/>
                </a:lnTo>
                <a:close/>
              </a:path>
            </a:pathLst>
          </a:custGeom>
          <a:solidFill>
            <a:srgbClr val="EEF2F5"/>
          </a:solidFill>
          <a:ln w="11643" cap="flat">
            <a:noFill/>
            <a:prstDash val="solid"/>
            <a:miter/>
          </a:ln>
        </p:spPr>
        <p:txBody>
          <a:bodyPr rtlCol="0" anchor="ctr"/>
          <a:lstStyle/>
          <a:p>
            <a:endParaRPr lang="de-DE"/>
          </a:p>
        </p:txBody>
      </p:sp>
      <p:sp>
        <p:nvSpPr>
          <p:cNvPr id="8" name="Freihandform: Form 7">
            <a:extLst>
              <a:ext uri="{FF2B5EF4-FFF2-40B4-BE49-F238E27FC236}">
                <a16:creationId xmlns:a16="http://schemas.microsoft.com/office/drawing/2014/main" id="{D0D01710-DC2E-4828-86F6-D324528021A5}"/>
              </a:ext>
            </a:extLst>
          </p:cNvPr>
          <p:cNvSpPr/>
          <p:nvPr/>
        </p:nvSpPr>
        <p:spPr>
          <a:xfrm>
            <a:off x="5948602" y="2073490"/>
            <a:ext cx="66419" cy="72245"/>
          </a:xfrm>
          <a:custGeom>
            <a:avLst/>
            <a:gdLst>
              <a:gd name="connsiteX0" fmla="*/ 30297 w 66419"/>
              <a:gd name="connsiteY0" fmla="*/ 72245 h 72245"/>
              <a:gd name="connsiteX1" fmla="*/ 0 w 66419"/>
              <a:gd name="connsiteY1" fmla="*/ 72245 h 72245"/>
              <a:gd name="connsiteX2" fmla="*/ 36123 w 66419"/>
              <a:gd name="connsiteY2" fmla="*/ 37288 h 72245"/>
              <a:gd name="connsiteX3" fmla="*/ 0 w 66419"/>
              <a:gd name="connsiteY3" fmla="*/ 0 h 72245"/>
              <a:gd name="connsiteX4" fmla="*/ 31462 w 66419"/>
              <a:gd name="connsiteY4" fmla="*/ 0 h 72245"/>
              <a:gd name="connsiteX5" fmla="*/ 66419 w 66419"/>
              <a:gd name="connsiteY5" fmla="*/ 36123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5"/>
                </a:moveTo>
                <a:lnTo>
                  <a:pt x="0" y="72245"/>
                </a:lnTo>
                <a:lnTo>
                  <a:pt x="36123" y="37288"/>
                </a:lnTo>
                <a:lnTo>
                  <a:pt x="0" y="0"/>
                </a:lnTo>
                <a:lnTo>
                  <a:pt x="31462" y="0"/>
                </a:lnTo>
                <a:lnTo>
                  <a:pt x="66419" y="36123"/>
                </a:lnTo>
                <a:close/>
              </a:path>
            </a:pathLst>
          </a:custGeom>
          <a:solidFill>
            <a:srgbClr val="EEF2F5"/>
          </a:solidFill>
          <a:ln w="11643" cap="flat">
            <a:noFill/>
            <a:prstDash val="solid"/>
            <a:miter/>
          </a:ln>
        </p:spPr>
        <p:txBody>
          <a:bodyPr rtlCol="0" anchor="ctr"/>
          <a:lstStyle/>
          <a:p>
            <a:endParaRPr lang="de-DE"/>
          </a:p>
        </p:txBody>
      </p:sp>
      <p:sp>
        <p:nvSpPr>
          <p:cNvPr id="25" name="Freihandform: Form 24">
            <a:extLst>
              <a:ext uri="{FF2B5EF4-FFF2-40B4-BE49-F238E27FC236}">
                <a16:creationId xmlns:a16="http://schemas.microsoft.com/office/drawing/2014/main" id="{31123F88-1002-4B81-B9C6-413FE13BBA3A}"/>
              </a:ext>
            </a:extLst>
          </p:cNvPr>
          <p:cNvSpPr/>
          <p:nvPr/>
        </p:nvSpPr>
        <p:spPr>
          <a:xfrm>
            <a:off x="5948602" y="2428891"/>
            <a:ext cx="66419" cy="72245"/>
          </a:xfrm>
          <a:custGeom>
            <a:avLst/>
            <a:gdLst>
              <a:gd name="connsiteX0" fmla="*/ 30297 w 66419"/>
              <a:gd name="connsiteY0" fmla="*/ 72245 h 72245"/>
              <a:gd name="connsiteX1" fmla="*/ 0 w 66419"/>
              <a:gd name="connsiteY1" fmla="*/ 72245 h 72245"/>
              <a:gd name="connsiteX2" fmla="*/ 36123 w 66419"/>
              <a:gd name="connsiteY2" fmla="*/ 36123 h 72245"/>
              <a:gd name="connsiteX3" fmla="*/ 0 w 66419"/>
              <a:gd name="connsiteY3" fmla="*/ 0 h 72245"/>
              <a:gd name="connsiteX4" fmla="*/ 31462 w 66419"/>
              <a:gd name="connsiteY4" fmla="*/ 0 h 72245"/>
              <a:gd name="connsiteX5" fmla="*/ 66419 w 66419"/>
              <a:gd name="connsiteY5" fmla="*/ 34957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5"/>
                </a:moveTo>
                <a:lnTo>
                  <a:pt x="0" y="72245"/>
                </a:lnTo>
                <a:lnTo>
                  <a:pt x="36123" y="36123"/>
                </a:lnTo>
                <a:lnTo>
                  <a:pt x="0" y="0"/>
                </a:lnTo>
                <a:lnTo>
                  <a:pt x="31462" y="0"/>
                </a:lnTo>
                <a:lnTo>
                  <a:pt x="66419" y="34957"/>
                </a:lnTo>
                <a:close/>
              </a:path>
            </a:pathLst>
          </a:custGeom>
          <a:solidFill>
            <a:srgbClr val="EEF2F5"/>
          </a:solidFill>
          <a:ln w="11643" cap="flat">
            <a:noFill/>
            <a:prstDash val="solid"/>
            <a:miter/>
          </a:ln>
        </p:spPr>
        <p:txBody>
          <a:bodyPr rtlCol="0" anchor="ctr"/>
          <a:lstStyle/>
          <a:p>
            <a:endParaRPr lang="de-DE"/>
          </a:p>
        </p:txBody>
      </p:sp>
      <p:sp>
        <p:nvSpPr>
          <p:cNvPr id="41" name="Freihandform: Form 40">
            <a:extLst>
              <a:ext uri="{FF2B5EF4-FFF2-40B4-BE49-F238E27FC236}">
                <a16:creationId xmlns:a16="http://schemas.microsoft.com/office/drawing/2014/main" id="{BA5C8D95-A4B2-4EE7-814A-A5E3649F4137}"/>
              </a:ext>
            </a:extLst>
          </p:cNvPr>
          <p:cNvSpPr/>
          <p:nvPr/>
        </p:nvSpPr>
        <p:spPr>
          <a:xfrm>
            <a:off x="5948602" y="2783126"/>
            <a:ext cx="66419" cy="72245"/>
          </a:xfrm>
          <a:custGeom>
            <a:avLst/>
            <a:gdLst>
              <a:gd name="connsiteX0" fmla="*/ 30297 w 66419"/>
              <a:gd name="connsiteY0" fmla="*/ 72245 h 72245"/>
              <a:gd name="connsiteX1" fmla="*/ 0 w 66419"/>
              <a:gd name="connsiteY1" fmla="*/ 72245 h 72245"/>
              <a:gd name="connsiteX2" fmla="*/ 36123 w 66419"/>
              <a:gd name="connsiteY2" fmla="*/ 37288 h 72245"/>
              <a:gd name="connsiteX3" fmla="*/ 0 w 66419"/>
              <a:gd name="connsiteY3" fmla="*/ 0 h 72245"/>
              <a:gd name="connsiteX4" fmla="*/ 31462 w 66419"/>
              <a:gd name="connsiteY4" fmla="*/ 0 h 72245"/>
              <a:gd name="connsiteX5" fmla="*/ 66419 w 66419"/>
              <a:gd name="connsiteY5" fmla="*/ 36123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5"/>
                </a:moveTo>
                <a:lnTo>
                  <a:pt x="0" y="72245"/>
                </a:lnTo>
                <a:lnTo>
                  <a:pt x="36123" y="37288"/>
                </a:lnTo>
                <a:lnTo>
                  <a:pt x="0" y="0"/>
                </a:lnTo>
                <a:lnTo>
                  <a:pt x="31462" y="0"/>
                </a:lnTo>
                <a:lnTo>
                  <a:pt x="66419" y="36123"/>
                </a:lnTo>
                <a:close/>
              </a:path>
            </a:pathLst>
          </a:custGeom>
          <a:solidFill>
            <a:srgbClr val="EEF2F5"/>
          </a:solidFill>
          <a:ln w="11643" cap="flat">
            <a:noFill/>
            <a:prstDash val="solid"/>
            <a:miter/>
          </a:ln>
        </p:spPr>
        <p:txBody>
          <a:bodyPr rtlCol="0" anchor="ctr"/>
          <a:lstStyle/>
          <a:p>
            <a:endParaRPr lang="de-DE"/>
          </a:p>
        </p:txBody>
      </p:sp>
      <p:sp>
        <p:nvSpPr>
          <p:cNvPr id="57" name="Freihandform: Form 56">
            <a:extLst>
              <a:ext uri="{FF2B5EF4-FFF2-40B4-BE49-F238E27FC236}">
                <a16:creationId xmlns:a16="http://schemas.microsoft.com/office/drawing/2014/main" id="{636D7BF9-1E35-425E-994B-CE960B642C82}"/>
              </a:ext>
            </a:extLst>
          </p:cNvPr>
          <p:cNvSpPr/>
          <p:nvPr/>
        </p:nvSpPr>
        <p:spPr>
          <a:xfrm>
            <a:off x="5948602" y="3138527"/>
            <a:ext cx="66419" cy="72245"/>
          </a:xfrm>
          <a:custGeom>
            <a:avLst/>
            <a:gdLst>
              <a:gd name="connsiteX0" fmla="*/ 30297 w 66419"/>
              <a:gd name="connsiteY0" fmla="*/ 72245 h 72245"/>
              <a:gd name="connsiteX1" fmla="*/ 0 w 66419"/>
              <a:gd name="connsiteY1" fmla="*/ 72245 h 72245"/>
              <a:gd name="connsiteX2" fmla="*/ 36123 w 66419"/>
              <a:gd name="connsiteY2" fmla="*/ 36123 h 72245"/>
              <a:gd name="connsiteX3" fmla="*/ 0 w 66419"/>
              <a:gd name="connsiteY3" fmla="*/ 0 h 72245"/>
              <a:gd name="connsiteX4" fmla="*/ 31462 w 66419"/>
              <a:gd name="connsiteY4" fmla="*/ 0 h 72245"/>
              <a:gd name="connsiteX5" fmla="*/ 66419 w 66419"/>
              <a:gd name="connsiteY5" fmla="*/ 34957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5"/>
                </a:moveTo>
                <a:lnTo>
                  <a:pt x="0" y="72245"/>
                </a:lnTo>
                <a:lnTo>
                  <a:pt x="36123" y="36123"/>
                </a:lnTo>
                <a:lnTo>
                  <a:pt x="0" y="0"/>
                </a:lnTo>
                <a:lnTo>
                  <a:pt x="31462" y="0"/>
                </a:lnTo>
                <a:lnTo>
                  <a:pt x="66419" y="34957"/>
                </a:lnTo>
                <a:close/>
              </a:path>
            </a:pathLst>
          </a:custGeom>
          <a:solidFill>
            <a:srgbClr val="EEF2F5"/>
          </a:solidFill>
          <a:ln w="11643" cap="flat">
            <a:noFill/>
            <a:prstDash val="solid"/>
            <a:miter/>
          </a:ln>
        </p:spPr>
        <p:txBody>
          <a:bodyPr rtlCol="0" anchor="ctr"/>
          <a:lstStyle/>
          <a:p>
            <a:endParaRPr lang="de-DE"/>
          </a:p>
        </p:txBody>
      </p:sp>
      <p:sp>
        <p:nvSpPr>
          <p:cNvPr id="73" name="Freihandform: Form 72">
            <a:extLst>
              <a:ext uri="{FF2B5EF4-FFF2-40B4-BE49-F238E27FC236}">
                <a16:creationId xmlns:a16="http://schemas.microsoft.com/office/drawing/2014/main" id="{DFBDD53B-EB0E-4F44-B437-1C679A10EA5C}"/>
              </a:ext>
            </a:extLst>
          </p:cNvPr>
          <p:cNvSpPr/>
          <p:nvPr/>
        </p:nvSpPr>
        <p:spPr>
          <a:xfrm>
            <a:off x="5948602" y="3492762"/>
            <a:ext cx="66419" cy="73410"/>
          </a:xfrm>
          <a:custGeom>
            <a:avLst/>
            <a:gdLst>
              <a:gd name="connsiteX0" fmla="*/ 30297 w 66419"/>
              <a:gd name="connsiteY0" fmla="*/ 73411 h 73410"/>
              <a:gd name="connsiteX1" fmla="*/ 0 w 66419"/>
              <a:gd name="connsiteY1" fmla="*/ 73411 h 73410"/>
              <a:gd name="connsiteX2" fmla="*/ 36123 w 66419"/>
              <a:gd name="connsiteY2" fmla="*/ 37288 h 73410"/>
              <a:gd name="connsiteX3" fmla="*/ 0 w 66419"/>
              <a:gd name="connsiteY3" fmla="*/ 0 h 73410"/>
              <a:gd name="connsiteX4" fmla="*/ 31462 w 66419"/>
              <a:gd name="connsiteY4" fmla="*/ 0 h 73410"/>
              <a:gd name="connsiteX5" fmla="*/ 66419 w 66419"/>
              <a:gd name="connsiteY5" fmla="*/ 36123 h 73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3410">
                <a:moveTo>
                  <a:pt x="30297" y="73411"/>
                </a:moveTo>
                <a:lnTo>
                  <a:pt x="0" y="73411"/>
                </a:lnTo>
                <a:lnTo>
                  <a:pt x="36123" y="37288"/>
                </a:lnTo>
                <a:lnTo>
                  <a:pt x="0" y="0"/>
                </a:lnTo>
                <a:lnTo>
                  <a:pt x="31462" y="0"/>
                </a:lnTo>
                <a:lnTo>
                  <a:pt x="66419" y="36123"/>
                </a:lnTo>
                <a:close/>
              </a:path>
            </a:pathLst>
          </a:custGeom>
          <a:solidFill>
            <a:srgbClr val="EEF2F5"/>
          </a:solidFill>
          <a:ln w="11643" cap="flat">
            <a:noFill/>
            <a:prstDash val="solid"/>
            <a:miter/>
          </a:ln>
        </p:spPr>
        <p:txBody>
          <a:bodyPr rtlCol="0" anchor="ctr"/>
          <a:lstStyle/>
          <a:p>
            <a:endParaRPr lang="de-DE"/>
          </a:p>
        </p:txBody>
      </p:sp>
      <p:sp>
        <p:nvSpPr>
          <p:cNvPr id="89" name="Freihandform: Form 88">
            <a:extLst>
              <a:ext uri="{FF2B5EF4-FFF2-40B4-BE49-F238E27FC236}">
                <a16:creationId xmlns:a16="http://schemas.microsoft.com/office/drawing/2014/main" id="{3107BFD1-BB04-45D5-9901-72F67CE0736C}"/>
              </a:ext>
            </a:extLst>
          </p:cNvPr>
          <p:cNvSpPr/>
          <p:nvPr/>
        </p:nvSpPr>
        <p:spPr>
          <a:xfrm>
            <a:off x="5948602" y="3848163"/>
            <a:ext cx="66419" cy="72245"/>
          </a:xfrm>
          <a:custGeom>
            <a:avLst/>
            <a:gdLst>
              <a:gd name="connsiteX0" fmla="*/ 30297 w 66419"/>
              <a:gd name="connsiteY0" fmla="*/ 72245 h 72245"/>
              <a:gd name="connsiteX1" fmla="*/ 0 w 66419"/>
              <a:gd name="connsiteY1" fmla="*/ 72245 h 72245"/>
              <a:gd name="connsiteX2" fmla="*/ 36123 w 66419"/>
              <a:gd name="connsiteY2" fmla="*/ 36123 h 72245"/>
              <a:gd name="connsiteX3" fmla="*/ 0 w 66419"/>
              <a:gd name="connsiteY3" fmla="*/ 0 h 72245"/>
              <a:gd name="connsiteX4" fmla="*/ 31462 w 66419"/>
              <a:gd name="connsiteY4" fmla="*/ 0 h 72245"/>
              <a:gd name="connsiteX5" fmla="*/ 66419 w 66419"/>
              <a:gd name="connsiteY5" fmla="*/ 34957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5"/>
                </a:moveTo>
                <a:lnTo>
                  <a:pt x="0" y="72245"/>
                </a:lnTo>
                <a:lnTo>
                  <a:pt x="36123" y="36123"/>
                </a:lnTo>
                <a:lnTo>
                  <a:pt x="0" y="0"/>
                </a:lnTo>
                <a:lnTo>
                  <a:pt x="31462" y="0"/>
                </a:lnTo>
                <a:lnTo>
                  <a:pt x="66419" y="34957"/>
                </a:lnTo>
                <a:close/>
              </a:path>
            </a:pathLst>
          </a:custGeom>
          <a:solidFill>
            <a:srgbClr val="EEF2F5"/>
          </a:solidFill>
          <a:ln w="11643" cap="flat">
            <a:noFill/>
            <a:prstDash val="solid"/>
            <a:miter/>
          </a:ln>
        </p:spPr>
        <p:txBody>
          <a:bodyPr rtlCol="0" anchor="ctr"/>
          <a:lstStyle/>
          <a:p>
            <a:endParaRPr lang="de-DE"/>
          </a:p>
        </p:txBody>
      </p:sp>
      <p:sp>
        <p:nvSpPr>
          <p:cNvPr id="155" name="Freihandform: Form 154">
            <a:extLst>
              <a:ext uri="{FF2B5EF4-FFF2-40B4-BE49-F238E27FC236}">
                <a16:creationId xmlns:a16="http://schemas.microsoft.com/office/drawing/2014/main" id="{0476C6FA-89C7-4150-9910-3BE37EF8061B}"/>
              </a:ext>
            </a:extLst>
          </p:cNvPr>
          <p:cNvSpPr/>
          <p:nvPr/>
        </p:nvSpPr>
        <p:spPr>
          <a:xfrm>
            <a:off x="5948602" y="5267435"/>
            <a:ext cx="66419" cy="72245"/>
          </a:xfrm>
          <a:custGeom>
            <a:avLst/>
            <a:gdLst>
              <a:gd name="connsiteX0" fmla="*/ 30297 w 66419"/>
              <a:gd name="connsiteY0" fmla="*/ 72246 h 72245"/>
              <a:gd name="connsiteX1" fmla="*/ 0 w 66419"/>
              <a:gd name="connsiteY1" fmla="*/ 72246 h 72245"/>
              <a:gd name="connsiteX2" fmla="*/ 36123 w 66419"/>
              <a:gd name="connsiteY2" fmla="*/ 36123 h 72245"/>
              <a:gd name="connsiteX3" fmla="*/ 0 w 66419"/>
              <a:gd name="connsiteY3" fmla="*/ 0 h 72245"/>
              <a:gd name="connsiteX4" fmla="*/ 31462 w 66419"/>
              <a:gd name="connsiteY4" fmla="*/ 0 h 72245"/>
              <a:gd name="connsiteX5" fmla="*/ 66419 w 66419"/>
              <a:gd name="connsiteY5" fmla="*/ 36123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6"/>
                </a:moveTo>
                <a:lnTo>
                  <a:pt x="0" y="72246"/>
                </a:lnTo>
                <a:lnTo>
                  <a:pt x="36123" y="36123"/>
                </a:lnTo>
                <a:lnTo>
                  <a:pt x="0" y="0"/>
                </a:lnTo>
                <a:lnTo>
                  <a:pt x="31462" y="0"/>
                </a:lnTo>
                <a:lnTo>
                  <a:pt x="66419" y="36123"/>
                </a:lnTo>
                <a:close/>
              </a:path>
            </a:pathLst>
          </a:custGeom>
          <a:solidFill>
            <a:srgbClr val="EEF2F5"/>
          </a:solidFill>
          <a:ln w="11643" cap="flat">
            <a:noFill/>
            <a:prstDash val="solid"/>
            <a:miter/>
          </a:ln>
        </p:spPr>
        <p:txBody>
          <a:bodyPr rtlCol="0" anchor="ctr"/>
          <a:lstStyle/>
          <a:p>
            <a:endParaRPr lang="de-DE"/>
          </a:p>
        </p:txBody>
      </p:sp>
      <p:sp>
        <p:nvSpPr>
          <p:cNvPr id="172" name="Freihandform: Form 171">
            <a:extLst>
              <a:ext uri="{FF2B5EF4-FFF2-40B4-BE49-F238E27FC236}">
                <a16:creationId xmlns:a16="http://schemas.microsoft.com/office/drawing/2014/main" id="{B7EA1921-A21C-4EEA-AF29-44E0ABBF486B}"/>
              </a:ext>
            </a:extLst>
          </p:cNvPr>
          <p:cNvSpPr/>
          <p:nvPr/>
        </p:nvSpPr>
        <p:spPr>
          <a:xfrm>
            <a:off x="5948602" y="5622836"/>
            <a:ext cx="66419" cy="72245"/>
          </a:xfrm>
          <a:custGeom>
            <a:avLst/>
            <a:gdLst>
              <a:gd name="connsiteX0" fmla="*/ 30297 w 66419"/>
              <a:gd name="connsiteY0" fmla="*/ 72246 h 72245"/>
              <a:gd name="connsiteX1" fmla="*/ 0 w 66419"/>
              <a:gd name="connsiteY1" fmla="*/ 72246 h 72245"/>
              <a:gd name="connsiteX2" fmla="*/ 36123 w 66419"/>
              <a:gd name="connsiteY2" fmla="*/ 36123 h 72245"/>
              <a:gd name="connsiteX3" fmla="*/ 0 w 66419"/>
              <a:gd name="connsiteY3" fmla="*/ 0 h 72245"/>
              <a:gd name="connsiteX4" fmla="*/ 31462 w 66419"/>
              <a:gd name="connsiteY4" fmla="*/ 0 h 72245"/>
              <a:gd name="connsiteX5" fmla="*/ 66419 w 66419"/>
              <a:gd name="connsiteY5" fmla="*/ 34957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6"/>
                </a:moveTo>
                <a:lnTo>
                  <a:pt x="0" y="72246"/>
                </a:lnTo>
                <a:lnTo>
                  <a:pt x="36123" y="36123"/>
                </a:lnTo>
                <a:lnTo>
                  <a:pt x="0" y="0"/>
                </a:lnTo>
                <a:lnTo>
                  <a:pt x="31462" y="0"/>
                </a:lnTo>
                <a:lnTo>
                  <a:pt x="66419" y="34957"/>
                </a:lnTo>
                <a:close/>
              </a:path>
            </a:pathLst>
          </a:custGeom>
          <a:solidFill>
            <a:srgbClr val="EEF2F5"/>
          </a:solidFill>
          <a:ln w="11643" cap="flat">
            <a:noFill/>
            <a:prstDash val="solid"/>
            <a:miter/>
          </a:ln>
        </p:spPr>
        <p:txBody>
          <a:bodyPr rtlCol="0" anchor="ctr"/>
          <a:lstStyle/>
          <a:p>
            <a:endParaRPr lang="de-DE"/>
          </a:p>
        </p:txBody>
      </p:sp>
      <p:sp>
        <p:nvSpPr>
          <p:cNvPr id="189" name="Freihandform: Form 188">
            <a:extLst>
              <a:ext uri="{FF2B5EF4-FFF2-40B4-BE49-F238E27FC236}">
                <a16:creationId xmlns:a16="http://schemas.microsoft.com/office/drawing/2014/main" id="{4B73D56C-9773-4937-82D9-0C129B27FB09}"/>
              </a:ext>
            </a:extLst>
          </p:cNvPr>
          <p:cNvSpPr/>
          <p:nvPr/>
        </p:nvSpPr>
        <p:spPr>
          <a:xfrm>
            <a:off x="5948602" y="5977071"/>
            <a:ext cx="66419" cy="72245"/>
          </a:xfrm>
          <a:custGeom>
            <a:avLst/>
            <a:gdLst>
              <a:gd name="connsiteX0" fmla="*/ 30297 w 66419"/>
              <a:gd name="connsiteY0" fmla="*/ 72246 h 72245"/>
              <a:gd name="connsiteX1" fmla="*/ 0 w 66419"/>
              <a:gd name="connsiteY1" fmla="*/ 72246 h 72245"/>
              <a:gd name="connsiteX2" fmla="*/ 36123 w 66419"/>
              <a:gd name="connsiteY2" fmla="*/ 36123 h 72245"/>
              <a:gd name="connsiteX3" fmla="*/ 0 w 66419"/>
              <a:gd name="connsiteY3" fmla="*/ 0 h 72245"/>
              <a:gd name="connsiteX4" fmla="*/ 31462 w 66419"/>
              <a:gd name="connsiteY4" fmla="*/ 0 h 72245"/>
              <a:gd name="connsiteX5" fmla="*/ 66419 w 66419"/>
              <a:gd name="connsiteY5" fmla="*/ 36123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6"/>
                </a:moveTo>
                <a:lnTo>
                  <a:pt x="0" y="72246"/>
                </a:lnTo>
                <a:lnTo>
                  <a:pt x="36123" y="36123"/>
                </a:lnTo>
                <a:lnTo>
                  <a:pt x="0" y="0"/>
                </a:lnTo>
                <a:lnTo>
                  <a:pt x="31462" y="0"/>
                </a:lnTo>
                <a:lnTo>
                  <a:pt x="66419" y="36123"/>
                </a:lnTo>
                <a:close/>
              </a:path>
            </a:pathLst>
          </a:custGeom>
          <a:solidFill>
            <a:srgbClr val="EEF2F5"/>
          </a:solidFill>
          <a:ln w="11643" cap="flat">
            <a:noFill/>
            <a:prstDash val="solid"/>
            <a:miter/>
          </a:ln>
        </p:spPr>
        <p:txBody>
          <a:bodyPr rtlCol="0" anchor="ctr"/>
          <a:lstStyle/>
          <a:p>
            <a:endParaRPr lang="de-DE"/>
          </a:p>
        </p:txBody>
      </p:sp>
      <p:sp>
        <p:nvSpPr>
          <p:cNvPr id="206" name="Freihandform: Form 205">
            <a:extLst>
              <a:ext uri="{FF2B5EF4-FFF2-40B4-BE49-F238E27FC236}">
                <a16:creationId xmlns:a16="http://schemas.microsoft.com/office/drawing/2014/main" id="{A2EEDBB3-F918-4A6E-A412-B8C8B911DDD3}"/>
              </a:ext>
            </a:extLst>
          </p:cNvPr>
          <p:cNvSpPr/>
          <p:nvPr/>
        </p:nvSpPr>
        <p:spPr>
          <a:xfrm>
            <a:off x="5948602" y="6332472"/>
            <a:ext cx="66419" cy="72245"/>
          </a:xfrm>
          <a:custGeom>
            <a:avLst/>
            <a:gdLst>
              <a:gd name="connsiteX0" fmla="*/ 30297 w 66419"/>
              <a:gd name="connsiteY0" fmla="*/ 72246 h 72245"/>
              <a:gd name="connsiteX1" fmla="*/ 0 w 66419"/>
              <a:gd name="connsiteY1" fmla="*/ 72246 h 72245"/>
              <a:gd name="connsiteX2" fmla="*/ 36123 w 66419"/>
              <a:gd name="connsiteY2" fmla="*/ 36123 h 72245"/>
              <a:gd name="connsiteX3" fmla="*/ 0 w 66419"/>
              <a:gd name="connsiteY3" fmla="*/ 0 h 72245"/>
              <a:gd name="connsiteX4" fmla="*/ 31462 w 66419"/>
              <a:gd name="connsiteY4" fmla="*/ 0 h 72245"/>
              <a:gd name="connsiteX5" fmla="*/ 66419 w 66419"/>
              <a:gd name="connsiteY5" fmla="*/ 34957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6"/>
                </a:moveTo>
                <a:lnTo>
                  <a:pt x="0" y="72246"/>
                </a:lnTo>
                <a:lnTo>
                  <a:pt x="36123" y="36123"/>
                </a:lnTo>
                <a:lnTo>
                  <a:pt x="0" y="0"/>
                </a:lnTo>
                <a:lnTo>
                  <a:pt x="31462" y="0"/>
                </a:lnTo>
                <a:lnTo>
                  <a:pt x="66419" y="34957"/>
                </a:lnTo>
                <a:close/>
              </a:path>
            </a:pathLst>
          </a:custGeom>
          <a:solidFill>
            <a:srgbClr val="EEF2F5"/>
          </a:solidFill>
          <a:ln w="11643" cap="flat">
            <a:noFill/>
            <a:prstDash val="solid"/>
            <a:miter/>
          </a:ln>
        </p:spPr>
        <p:txBody>
          <a:bodyPr rtlCol="0" anchor="ctr"/>
          <a:lstStyle/>
          <a:p>
            <a:endParaRPr lang="de-DE"/>
          </a:p>
        </p:txBody>
      </p:sp>
      <p:sp>
        <p:nvSpPr>
          <p:cNvPr id="222" name="Freihandform: Form 221">
            <a:extLst>
              <a:ext uri="{FF2B5EF4-FFF2-40B4-BE49-F238E27FC236}">
                <a16:creationId xmlns:a16="http://schemas.microsoft.com/office/drawing/2014/main" id="{E783B07A-D7A5-49D0-8D6F-D0064E121D70}"/>
              </a:ext>
            </a:extLst>
          </p:cNvPr>
          <p:cNvSpPr/>
          <p:nvPr/>
        </p:nvSpPr>
        <p:spPr>
          <a:xfrm>
            <a:off x="5948602" y="6686707"/>
            <a:ext cx="66419" cy="72245"/>
          </a:xfrm>
          <a:custGeom>
            <a:avLst/>
            <a:gdLst>
              <a:gd name="connsiteX0" fmla="*/ 30297 w 66419"/>
              <a:gd name="connsiteY0" fmla="*/ 72246 h 72245"/>
              <a:gd name="connsiteX1" fmla="*/ 0 w 66419"/>
              <a:gd name="connsiteY1" fmla="*/ 72246 h 72245"/>
              <a:gd name="connsiteX2" fmla="*/ 36123 w 66419"/>
              <a:gd name="connsiteY2" fmla="*/ 37288 h 72245"/>
              <a:gd name="connsiteX3" fmla="*/ 0 w 66419"/>
              <a:gd name="connsiteY3" fmla="*/ 0 h 72245"/>
              <a:gd name="connsiteX4" fmla="*/ 31462 w 66419"/>
              <a:gd name="connsiteY4" fmla="*/ 0 h 72245"/>
              <a:gd name="connsiteX5" fmla="*/ 66419 w 66419"/>
              <a:gd name="connsiteY5" fmla="*/ 36123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6"/>
                </a:moveTo>
                <a:lnTo>
                  <a:pt x="0" y="72246"/>
                </a:lnTo>
                <a:lnTo>
                  <a:pt x="36123" y="37288"/>
                </a:lnTo>
                <a:lnTo>
                  <a:pt x="0" y="0"/>
                </a:lnTo>
                <a:lnTo>
                  <a:pt x="31462" y="0"/>
                </a:lnTo>
                <a:lnTo>
                  <a:pt x="66419" y="36123"/>
                </a:lnTo>
                <a:close/>
              </a:path>
            </a:pathLst>
          </a:custGeom>
          <a:solidFill>
            <a:srgbClr val="EEF2F5"/>
          </a:solidFill>
          <a:ln w="11643" cap="flat">
            <a:noFill/>
            <a:prstDash val="solid"/>
            <a:miter/>
          </a:ln>
        </p:spPr>
        <p:txBody>
          <a:bodyPr rtlCol="0" anchor="ctr"/>
          <a:lstStyle/>
          <a:p>
            <a:endParaRPr lang="de-DE"/>
          </a:p>
        </p:txBody>
      </p:sp>
      <p:sp>
        <p:nvSpPr>
          <p:cNvPr id="11" name="Freihandform: Form 10">
            <a:extLst>
              <a:ext uri="{FF2B5EF4-FFF2-40B4-BE49-F238E27FC236}">
                <a16:creationId xmlns:a16="http://schemas.microsoft.com/office/drawing/2014/main" id="{75FBD411-81D5-40D9-85F5-17F8ADC51855}"/>
              </a:ext>
            </a:extLst>
          </p:cNvPr>
          <p:cNvSpPr/>
          <p:nvPr/>
        </p:nvSpPr>
        <p:spPr>
          <a:xfrm>
            <a:off x="6294680" y="2064168"/>
            <a:ext cx="83897" cy="90889"/>
          </a:xfrm>
          <a:custGeom>
            <a:avLst/>
            <a:gdLst>
              <a:gd name="connsiteX0" fmla="*/ 38453 w 83897"/>
              <a:gd name="connsiteY0" fmla="*/ 90889 h 90889"/>
              <a:gd name="connsiteX1" fmla="*/ 0 w 83897"/>
              <a:gd name="connsiteY1" fmla="*/ 90889 h 90889"/>
              <a:gd name="connsiteX2" fmla="*/ 45445 w 83897"/>
              <a:gd name="connsiteY2" fmla="*/ 46610 h 90889"/>
              <a:gd name="connsiteX3" fmla="*/ 0 w 83897"/>
              <a:gd name="connsiteY3" fmla="*/ 0 h 90889"/>
              <a:gd name="connsiteX4" fmla="*/ 39618 w 83897"/>
              <a:gd name="connsiteY4" fmla="*/ 0 h 90889"/>
              <a:gd name="connsiteX5" fmla="*/ 83898 w 83897"/>
              <a:gd name="connsiteY5" fmla="*/ 45445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6610"/>
                </a:lnTo>
                <a:lnTo>
                  <a:pt x="0" y="0"/>
                </a:lnTo>
                <a:lnTo>
                  <a:pt x="39618" y="0"/>
                </a:lnTo>
                <a:lnTo>
                  <a:pt x="83898" y="45445"/>
                </a:lnTo>
                <a:close/>
              </a:path>
            </a:pathLst>
          </a:custGeom>
          <a:solidFill>
            <a:srgbClr val="EEF2F5"/>
          </a:solidFill>
          <a:ln w="11643" cap="flat">
            <a:noFill/>
            <a:prstDash val="solid"/>
            <a:miter/>
          </a:ln>
        </p:spPr>
        <p:txBody>
          <a:bodyPr rtlCol="0" anchor="ctr"/>
          <a:lstStyle/>
          <a:p>
            <a:endParaRPr lang="de-DE"/>
          </a:p>
        </p:txBody>
      </p:sp>
      <p:sp>
        <p:nvSpPr>
          <p:cNvPr id="26" name="Freihandform: Form 25">
            <a:extLst>
              <a:ext uri="{FF2B5EF4-FFF2-40B4-BE49-F238E27FC236}">
                <a16:creationId xmlns:a16="http://schemas.microsoft.com/office/drawing/2014/main" id="{1BE891D4-79E8-4F6F-87F1-0D4367D86BBB}"/>
              </a:ext>
            </a:extLst>
          </p:cNvPr>
          <p:cNvSpPr/>
          <p:nvPr/>
        </p:nvSpPr>
        <p:spPr>
          <a:xfrm>
            <a:off x="6294680" y="2419569"/>
            <a:ext cx="83897" cy="90889"/>
          </a:xfrm>
          <a:custGeom>
            <a:avLst/>
            <a:gdLst>
              <a:gd name="connsiteX0" fmla="*/ 38453 w 83897"/>
              <a:gd name="connsiteY0" fmla="*/ 90889 h 90889"/>
              <a:gd name="connsiteX1" fmla="*/ 0 w 83897"/>
              <a:gd name="connsiteY1" fmla="*/ 90889 h 90889"/>
              <a:gd name="connsiteX2" fmla="*/ 45445 w 83897"/>
              <a:gd name="connsiteY2" fmla="*/ 45445 h 90889"/>
              <a:gd name="connsiteX3" fmla="*/ 0 w 83897"/>
              <a:gd name="connsiteY3" fmla="*/ 0 h 90889"/>
              <a:gd name="connsiteX4" fmla="*/ 39618 w 83897"/>
              <a:gd name="connsiteY4" fmla="*/ 0 h 90889"/>
              <a:gd name="connsiteX5" fmla="*/ 83898 w 83897"/>
              <a:gd name="connsiteY5" fmla="*/ 44279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endParaRPr lang="de-DE"/>
          </a:p>
        </p:txBody>
      </p:sp>
      <p:sp>
        <p:nvSpPr>
          <p:cNvPr id="42" name="Freihandform: Form 41">
            <a:extLst>
              <a:ext uri="{FF2B5EF4-FFF2-40B4-BE49-F238E27FC236}">
                <a16:creationId xmlns:a16="http://schemas.microsoft.com/office/drawing/2014/main" id="{3840402F-0CB7-4700-AB86-312936B9375A}"/>
              </a:ext>
            </a:extLst>
          </p:cNvPr>
          <p:cNvSpPr/>
          <p:nvPr/>
        </p:nvSpPr>
        <p:spPr>
          <a:xfrm>
            <a:off x="6294680" y="2773804"/>
            <a:ext cx="83897" cy="90889"/>
          </a:xfrm>
          <a:custGeom>
            <a:avLst/>
            <a:gdLst>
              <a:gd name="connsiteX0" fmla="*/ 38453 w 83897"/>
              <a:gd name="connsiteY0" fmla="*/ 90889 h 90889"/>
              <a:gd name="connsiteX1" fmla="*/ 0 w 83897"/>
              <a:gd name="connsiteY1" fmla="*/ 90889 h 90889"/>
              <a:gd name="connsiteX2" fmla="*/ 45445 w 83897"/>
              <a:gd name="connsiteY2" fmla="*/ 46610 h 90889"/>
              <a:gd name="connsiteX3" fmla="*/ 0 w 83897"/>
              <a:gd name="connsiteY3" fmla="*/ 0 h 90889"/>
              <a:gd name="connsiteX4" fmla="*/ 39618 w 83897"/>
              <a:gd name="connsiteY4" fmla="*/ 0 h 90889"/>
              <a:gd name="connsiteX5" fmla="*/ 83898 w 83897"/>
              <a:gd name="connsiteY5" fmla="*/ 45445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6610"/>
                </a:lnTo>
                <a:lnTo>
                  <a:pt x="0" y="0"/>
                </a:lnTo>
                <a:lnTo>
                  <a:pt x="39618" y="0"/>
                </a:lnTo>
                <a:lnTo>
                  <a:pt x="83898" y="45445"/>
                </a:lnTo>
                <a:close/>
              </a:path>
            </a:pathLst>
          </a:custGeom>
          <a:solidFill>
            <a:srgbClr val="EEF2F5"/>
          </a:solidFill>
          <a:ln w="11643" cap="flat">
            <a:noFill/>
            <a:prstDash val="solid"/>
            <a:miter/>
          </a:ln>
        </p:spPr>
        <p:txBody>
          <a:bodyPr rtlCol="0" anchor="ctr"/>
          <a:lstStyle/>
          <a:p>
            <a:endParaRPr lang="de-DE"/>
          </a:p>
        </p:txBody>
      </p:sp>
      <p:sp>
        <p:nvSpPr>
          <p:cNvPr id="58" name="Freihandform: Form 57">
            <a:extLst>
              <a:ext uri="{FF2B5EF4-FFF2-40B4-BE49-F238E27FC236}">
                <a16:creationId xmlns:a16="http://schemas.microsoft.com/office/drawing/2014/main" id="{C92817E7-21F5-4822-9D42-BC3A22B20F43}"/>
              </a:ext>
            </a:extLst>
          </p:cNvPr>
          <p:cNvSpPr/>
          <p:nvPr/>
        </p:nvSpPr>
        <p:spPr>
          <a:xfrm>
            <a:off x="6294680" y="3129205"/>
            <a:ext cx="83897" cy="90889"/>
          </a:xfrm>
          <a:custGeom>
            <a:avLst/>
            <a:gdLst>
              <a:gd name="connsiteX0" fmla="*/ 38453 w 83897"/>
              <a:gd name="connsiteY0" fmla="*/ 90889 h 90889"/>
              <a:gd name="connsiteX1" fmla="*/ 0 w 83897"/>
              <a:gd name="connsiteY1" fmla="*/ 90889 h 90889"/>
              <a:gd name="connsiteX2" fmla="*/ 45445 w 83897"/>
              <a:gd name="connsiteY2" fmla="*/ 45445 h 90889"/>
              <a:gd name="connsiteX3" fmla="*/ 0 w 83897"/>
              <a:gd name="connsiteY3" fmla="*/ 0 h 90889"/>
              <a:gd name="connsiteX4" fmla="*/ 39618 w 83897"/>
              <a:gd name="connsiteY4" fmla="*/ 0 h 90889"/>
              <a:gd name="connsiteX5" fmla="*/ 83898 w 83897"/>
              <a:gd name="connsiteY5" fmla="*/ 44279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endParaRPr lang="de-DE"/>
          </a:p>
        </p:txBody>
      </p:sp>
      <p:sp>
        <p:nvSpPr>
          <p:cNvPr id="74" name="Freihandform: Form 73">
            <a:extLst>
              <a:ext uri="{FF2B5EF4-FFF2-40B4-BE49-F238E27FC236}">
                <a16:creationId xmlns:a16="http://schemas.microsoft.com/office/drawing/2014/main" id="{B9D0716B-8D9A-4338-AEA4-79A7EEDD478B}"/>
              </a:ext>
            </a:extLst>
          </p:cNvPr>
          <p:cNvSpPr/>
          <p:nvPr/>
        </p:nvSpPr>
        <p:spPr>
          <a:xfrm>
            <a:off x="6294680" y="3484606"/>
            <a:ext cx="83897" cy="89724"/>
          </a:xfrm>
          <a:custGeom>
            <a:avLst/>
            <a:gdLst>
              <a:gd name="connsiteX0" fmla="*/ 38453 w 83897"/>
              <a:gd name="connsiteY0" fmla="*/ 89724 h 89724"/>
              <a:gd name="connsiteX1" fmla="*/ 0 w 83897"/>
              <a:gd name="connsiteY1" fmla="*/ 89724 h 89724"/>
              <a:gd name="connsiteX2" fmla="*/ 45445 w 83897"/>
              <a:gd name="connsiteY2" fmla="*/ 45445 h 89724"/>
              <a:gd name="connsiteX3" fmla="*/ 0 w 83897"/>
              <a:gd name="connsiteY3" fmla="*/ 0 h 89724"/>
              <a:gd name="connsiteX4" fmla="*/ 39618 w 83897"/>
              <a:gd name="connsiteY4" fmla="*/ 0 h 89724"/>
              <a:gd name="connsiteX5" fmla="*/ 83898 w 83897"/>
              <a:gd name="connsiteY5" fmla="*/ 44279 h 89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89724">
                <a:moveTo>
                  <a:pt x="38453" y="89724"/>
                </a:moveTo>
                <a:lnTo>
                  <a:pt x="0" y="89724"/>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endParaRPr lang="de-DE"/>
          </a:p>
        </p:txBody>
      </p:sp>
      <p:sp>
        <p:nvSpPr>
          <p:cNvPr id="90" name="Freihandform: Form 89">
            <a:extLst>
              <a:ext uri="{FF2B5EF4-FFF2-40B4-BE49-F238E27FC236}">
                <a16:creationId xmlns:a16="http://schemas.microsoft.com/office/drawing/2014/main" id="{9161924B-A7F2-4DF3-B909-33BF43FA25EF}"/>
              </a:ext>
            </a:extLst>
          </p:cNvPr>
          <p:cNvSpPr/>
          <p:nvPr/>
        </p:nvSpPr>
        <p:spPr>
          <a:xfrm>
            <a:off x="6294680" y="3838841"/>
            <a:ext cx="83897" cy="90889"/>
          </a:xfrm>
          <a:custGeom>
            <a:avLst/>
            <a:gdLst>
              <a:gd name="connsiteX0" fmla="*/ 38453 w 83897"/>
              <a:gd name="connsiteY0" fmla="*/ 90889 h 90889"/>
              <a:gd name="connsiteX1" fmla="*/ 0 w 83897"/>
              <a:gd name="connsiteY1" fmla="*/ 90889 h 90889"/>
              <a:gd name="connsiteX2" fmla="*/ 45445 w 83897"/>
              <a:gd name="connsiteY2" fmla="*/ 45445 h 90889"/>
              <a:gd name="connsiteX3" fmla="*/ 0 w 83897"/>
              <a:gd name="connsiteY3" fmla="*/ 0 h 90889"/>
              <a:gd name="connsiteX4" fmla="*/ 39618 w 83897"/>
              <a:gd name="connsiteY4" fmla="*/ 0 h 90889"/>
              <a:gd name="connsiteX5" fmla="*/ 83898 w 83897"/>
              <a:gd name="connsiteY5" fmla="*/ 44279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endParaRPr lang="de-DE"/>
          </a:p>
        </p:txBody>
      </p:sp>
      <p:sp>
        <p:nvSpPr>
          <p:cNvPr id="106" name="Freihandform: Form 105">
            <a:extLst>
              <a:ext uri="{FF2B5EF4-FFF2-40B4-BE49-F238E27FC236}">
                <a16:creationId xmlns:a16="http://schemas.microsoft.com/office/drawing/2014/main" id="{9F04DFFC-EA40-46F4-8195-B5F7E353EE2A}"/>
              </a:ext>
            </a:extLst>
          </p:cNvPr>
          <p:cNvSpPr/>
          <p:nvPr/>
        </p:nvSpPr>
        <p:spPr>
          <a:xfrm>
            <a:off x="6294680" y="4194242"/>
            <a:ext cx="83897" cy="89724"/>
          </a:xfrm>
          <a:custGeom>
            <a:avLst/>
            <a:gdLst>
              <a:gd name="connsiteX0" fmla="*/ 38453 w 83897"/>
              <a:gd name="connsiteY0" fmla="*/ 89724 h 89724"/>
              <a:gd name="connsiteX1" fmla="*/ 0 w 83897"/>
              <a:gd name="connsiteY1" fmla="*/ 89724 h 89724"/>
              <a:gd name="connsiteX2" fmla="*/ 45445 w 83897"/>
              <a:gd name="connsiteY2" fmla="*/ 45445 h 89724"/>
              <a:gd name="connsiteX3" fmla="*/ 0 w 83897"/>
              <a:gd name="connsiteY3" fmla="*/ 0 h 89724"/>
              <a:gd name="connsiteX4" fmla="*/ 39618 w 83897"/>
              <a:gd name="connsiteY4" fmla="*/ 0 h 89724"/>
              <a:gd name="connsiteX5" fmla="*/ 83898 w 83897"/>
              <a:gd name="connsiteY5" fmla="*/ 44279 h 89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89724">
                <a:moveTo>
                  <a:pt x="38453" y="89724"/>
                </a:moveTo>
                <a:lnTo>
                  <a:pt x="0" y="89724"/>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endParaRPr lang="de-DE"/>
          </a:p>
        </p:txBody>
      </p:sp>
      <p:sp>
        <p:nvSpPr>
          <p:cNvPr id="139" name="Freihandform: Form 138">
            <a:extLst>
              <a:ext uri="{FF2B5EF4-FFF2-40B4-BE49-F238E27FC236}">
                <a16:creationId xmlns:a16="http://schemas.microsoft.com/office/drawing/2014/main" id="{5362CBB1-E50A-41B7-8ED0-9FCFE213E9A5}"/>
              </a:ext>
            </a:extLst>
          </p:cNvPr>
          <p:cNvSpPr/>
          <p:nvPr/>
        </p:nvSpPr>
        <p:spPr>
          <a:xfrm>
            <a:off x="6294680" y="4903878"/>
            <a:ext cx="83897" cy="89724"/>
          </a:xfrm>
          <a:custGeom>
            <a:avLst/>
            <a:gdLst>
              <a:gd name="connsiteX0" fmla="*/ 38453 w 83897"/>
              <a:gd name="connsiteY0" fmla="*/ 89724 h 89724"/>
              <a:gd name="connsiteX1" fmla="*/ 0 w 83897"/>
              <a:gd name="connsiteY1" fmla="*/ 89724 h 89724"/>
              <a:gd name="connsiteX2" fmla="*/ 45445 w 83897"/>
              <a:gd name="connsiteY2" fmla="*/ 45445 h 89724"/>
              <a:gd name="connsiteX3" fmla="*/ 0 w 83897"/>
              <a:gd name="connsiteY3" fmla="*/ 0 h 89724"/>
              <a:gd name="connsiteX4" fmla="*/ 39618 w 83897"/>
              <a:gd name="connsiteY4" fmla="*/ 0 h 89724"/>
              <a:gd name="connsiteX5" fmla="*/ 83898 w 83897"/>
              <a:gd name="connsiteY5" fmla="*/ 44279 h 89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89724">
                <a:moveTo>
                  <a:pt x="38453" y="89724"/>
                </a:moveTo>
                <a:lnTo>
                  <a:pt x="0" y="89724"/>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endParaRPr lang="de-DE"/>
          </a:p>
        </p:txBody>
      </p:sp>
      <p:sp>
        <p:nvSpPr>
          <p:cNvPr id="156" name="Freihandform: Form 155">
            <a:extLst>
              <a:ext uri="{FF2B5EF4-FFF2-40B4-BE49-F238E27FC236}">
                <a16:creationId xmlns:a16="http://schemas.microsoft.com/office/drawing/2014/main" id="{2508847B-61E4-41D1-A3A0-A411189F6767}"/>
              </a:ext>
            </a:extLst>
          </p:cNvPr>
          <p:cNvSpPr/>
          <p:nvPr/>
        </p:nvSpPr>
        <p:spPr>
          <a:xfrm>
            <a:off x="6294680" y="5258113"/>
            <a:ext cx="83897" cy="90889"/>
          </a:xfrm>
          <a:custGeom>
            <a:avLst/>
            <a:gdLst>
              <a:gd name="connsiteX0" fmla="*/ 38453 w 83897"/>
              <a:gd name="connsiteY0" fmla="*/ 90889 h 90889"/>
              <a:gd name="connsiteX1" fmla="*/ 0 w 83897"/>
              <a:gd name="connsiteY1" fmla="*/ 90889 h 90889"/>
              <a:gd name="connsiteX2" fmla="*/ 45445 w 83897"/>
              <a:gd name="connsiteY2" fmla="*/ 45445 h 90889"/>
              <a:gd name="connsiteX3" fmla="*/ 0 w 83897"/>
              <a:gd name="connsiteY3" fmla="*/ 0 h 90889"/>
              <a:gd name="connsiteX4" fmla="*/ 39618 w 83897"/>
              <a:gd name="connsiteY4" fmla="*/ 0 h 90889"/>
              <a:gd name="connsiteX5" fmla="*/ 83898 w 83897"/>
              <a:gd name="connsiteY5" fmla="*/ 44279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endParaRPr lang="de-DE"/>
          </a:p>
        </p:txBody>
      </p:sp>
      <p:sp>
        <p:nvSpPr>
          <p:cNvPr id="173" name="Freihandform: Form 172">
            <a:extLst>
              <a:ext uri="{FF2B5EF4-FFF2-40B4-BE49-F238E27FC236}">
                <a16:creationId xmlns:a16="http://schemas.microsoft.com/office/drawing/2014/main" id="{E2A7CA26-A6FF-4830-89D6-0AE49ECECB52}"/>
              </a:ext>
            </a:extLst>
          </p:cNvPr>
          <p:cNvSpPr/>
          <p:nvPr/>
        </p:nvSpPr>
        <p:spPr>
          <a:xfrm>
            <a:off x="6294680" y="5613514"/>
            <a:ext cx="83897" cy="90889"/>
          </a:xfrm>
          <a:custGeom>
            <a:avLst/>
            <a:gdLst>
              <a:gd name="connsiteX0" fmla="*/ 38453 w 83897"/>
              <a:gd name="connsiteY0" fmla="*/ 90889 h 90889"/>
              <a:gd name="connsiteX1" fmla="*/ 0 w 83897"/>
              <a:gd name="connsiteY1" fmla="*/ 90889 h 90889"/>
              <a:gd name="connsiteX2" fmla="*/ 45445 w 83897"/>
              <a:gd name="connsiteY2" fmla="*/ 45445 h 90889"/>
              <a:gd name="connsiteX3" fmla="*/ 0 w 83897"/>
              <a:gd name="connsiteY3" fmla="*/ 0 h 90889"/>
              <a:gd name="connsiteX4" fmla="*/ 39618 w 83897"/>
              <a:gd name="connsiteY4" fmla="*/ 0 h 90889"/>
              <a:gd name="connsiteX5" fmla="*/ 83898 w 83897"/>
              <a:gd name="connsiteY5" fmla="*/ 44279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endParaRPr lang="de-DE"/>
          </a:p>
        </p:txBody>
      </p:sp>
      <p:sp>
        <p:nvSpPr>
          <p:cNvPr id="190" name="Freihandform: Form 189">
            <a:extLst>
              <a:ext uri="{FF2B5EF4-FFF2-40B4-BE49-F238E27FC236}">
                <a16:creationId xmlns:a16="http://schemas.microsoft.com/office/drawing/2014/main" id="{0D910AA1-D94C-4927-9F7F-6AE33C84B359}"/>
              </a:ext>
            </a:extLst>
          </p:cNvPr>
          <p:cNvSpPr/>
          <p:nvPr/>
        </p:nvSpPr>
        <p:spPr>
          <a:xfrm>
            <a:off x="6294680" y="5967749"/>
            <a:ext cx="83897" cy="90889"/>
          </a:xfrm>
          <a:custGeom>
            <a:avLst/>
            <a:gdLst>
              <a:gd name="connsiteX0" fmla="*/ 38453 w 83897"/>
              <a:gd name="connsiteY0" fmla="*/ 90889 h 90889"/>
              <a:gd name="connsiteX1" fmla="*/ 0 w 83897"/>
              <a:gd name="connsiteY1" fmla="*/ 90889 h 90889"/>
              <a:gd name="connsiteX2" fmla="*/ 45445 w 83897"/>
              <a:gd name="connsiteY2" fmla="*/ 46610 h 90889"/>
              <a:gd name="connsiteX3" fmla="*/ 0 w 83897"/>
              <a:gd name="connsiteY3" fmla="*/ 0 h 90889"/>
              <a:gd name="connsiteX4" fmla="*/ 39618 w 83897"/>
              <a:gd name="connsiteY4" fmla="*/ 0 h 90889"/>
              <a:gd name="connsiteX5" fmla="*/ 83898 w 83897"/>
              <a:gd name="connsiteY5" fmla="*/ 45445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6610"/>
                </a:lnTo>
                <a:lnTo>
                  <a:pt x="0" y="0"/>
                </a:lnTo>
                <a:lnTo>
                  <a:pt x="39618" y="0"/>
                </a:lnTo>
                <a:lnTo>
                  <a:pt x="83898" y="45445"/>
                </a:lnTo>
                <a:close/>
              </a:path>
            </a:pathLst>
          </a:custGeom>
          <a:solidFill>
            <a:srgbClr val="EEF2F5"/>
          </a:solidFill>
          <a:ln w="11643" cap="flat">
            <a:noFill/>
            <a:prstDash val="solid"/>
            <a:miter/>
          </a:ln>
        </p:spPr>
        <p:txBody>
          <a:bodyPr rtlCol="0" anchor="ctr"/>
          <a:lstStyle/>
          <a:p>
            <a:endParaRPr lang="de-DE"/>
          </a:p>
        </p:txBody>
      </p:sp>
      <p:sp>
        <p:nvSpPr>
          <p:cNvPr id="207" name="Freihandform: Form 206">
            <a:extLst>
              <a:ext uri="{FF2B5EF4-FFF2-40B4-BE49-F238E27FC236}">
                <a16:creationId xmlns:a16="http://schemas.microsoft.com/office/drawing/2014/main" id="{21DCF3C4-698C-4A65-960C-FC9526795073}"/>
              </a:ext>
            </a:extLst>
          </p:cNvPr>
          <p:cNvSpPr/>
          <p:nvPr/>
        </p:nvSpPr>
        <p:spPr>
          <a:xfrm>
            <a:off x="6294680" y="6323150"/>
            <a:ext cx="83897" cy="90889"/>
          </a:xfrm>
          <a:custGeom>
            <a:avLst/>
            <a:gdLst>
              <a:gd name="connsiteX0" fmla="*/ 38453 w 83897"/>
              <a:gd name="connsiteY0" fmla="*/ 90889 h 90889"/>
              <a:gd name="connsiteX1" fmla="*/ 0 w 83897"/>
              <a:gd name="connsiteY1" fmla="*/ 90889 h 90889"/>
              <a:gd name="connsiteX2" fmla="*/ 45445 w 83897"/>
              <a:gd name="connsiteY2" fmla="*/ 45445 h 90889"/>
              <a:gd name="connsiteX3" fmla="*/ 0 w 83897"/>
              <a:gd name="connsiteY3" fmla="*/ 0 h 90889"/>
              <a:gd name="connsiteX4" fmla="*/ 39618 w 83897"/>
              <a:gd name="connsiteY4" fmla="*/ 0 h 90889"/>
              <a:gd name="connsiteX5" fmla="*/ 83898 w 83897"/>
              <a:gd name="connsiteY5" fmla="*/ 44279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endParaRPr lang="de-DE"/>
          </a:p>
        </p:txBody>
      </p:sp>
      <p:sp>
        <p:nvSpPr>
          <p:cNvPr id="223" name="Freihandform: Form 222">
            <a:extLst>
              <a:ext uri="{FF2B5EF4-FFF2-40B4-BE49-F238E27FC236}">
                <a16:creationId xmlns:a16="http://schemas.microsoft.com/office/drawing/2014/main" id="{E38105B6-8D3F-48F3-9F5F-2328382B7C38}"/>
              </a:ext>
            </a:extLst>
          </p:cNvPr>
          <p:cNvSpPr/>
          <p:nvPr/>
        </p:nvSpPr>
        <p:spPr>
          <a:xfrm>
            <a:off x="6294680" y="6677385"/>
            <a:ext cx="83897" cy="90889"/>
          </a:xfrm>
          <a:custGeom>
            <a:avLst/>
            <a:gdLst>
              <a:gd name="connsiteX0" fmla="*/ 38453 w 83897"/>
              <a:gd name="connsiteY0" fmla="*/ 90889 h 90889"/>
              <a:gd name="connsiteX1" fmla="*/ 0 w 83897"/>
              <a:gd name="connsiteY1" fmla="*/ 90889 h 90889"/>
              <a:gd name="connsiteX2" fmla="*/ 45445 w 83897"/>
              <a:gd name="connsiteY2" fmla="*/ 46610 h 90889"/>
              <a:gd name="connsiteX3" fmla="*/ 0 w 83897"/>
              <a:gd name="connsiteY3" fmla="*/ 0 h 90889"/>
              <a:gd name="connsiteX4" fmla="*/ 39618 w 83897"/>
              <a:gd name="connsiteY4" fmla="*/ 0 h 90889"/>
              <a:gd name="connsiteX5" fmla="*/ 83898 w 83897"/>
              <a:gd name="connsiteY5" fmla="*/ 45445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6610"/>
                </a:lnTo>
                <a:lnTo>
                  <a:pt x="0" y="0"/>
                </a:lnTo>
                <a:lnTo>
                  <a:pt x="39618" y="0"/>
                </a:lnTo>
                <a:lnTo>
                  <a:pt x="83898" y="45445"/>
                </a:lnTo>
                <a:close/>
              </a:path>
            </a:pathLst>
          </a:custGeom>
          <a:solidFill>
            <a:srgbClr val="EEF2F5"/>
          </a:solidFill>
          <a:ln w="11643" cap="flat">
            <a:noFill/>
            <a:prstDash val="solid"/>
            <a:miter/>
          </a:ln>
        </p:spPr>
        <p:txBody>
          <a:bodyPr rtlCol="0" anchor="ctr"/>
          <a:lstStyle/>
          <a:p>
            <a:endParaRPr lang="de-DE"/>
          </a:p>
        </p:txBody>
      </p:sp>
      <p:sp>
        <p:nvSpPr>
          <p:cNvPr id="12" name="Freihandform: Form 11">
            <a:extLst>
              <a:ext uri="{FF2B5EF4-FFF2-40B4-BE49-F238E27FC236}">
                <a16:creationId xmlns:a16="http://schemas.microsoft.com/office/drawing/2014/main" id="{583AB347-5EFD-45EC-837F-436640EC31BF}"/>
              </a:ext>
            </a:extLst>
          </p:cNvPr>
          <p:cNvSpPr/>
          <p:nvPr/>
        </p:nvSpPr>
        <p:spPr>
          <a:xfrm>
            <a:off x="6641924" y="2056012"/>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3601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27" name="Freihandform: Form 26">
            <a:extLst>
              <a:ext uri="{FF2B5EF4-FFF2-40B4-BE49-F238E27FC236}">
                <a16:creationId xmlns:a16="http://schemas.microsoft.com/office/drawing/2014/main" id="{2C9F6191-45F4-4549-838F-728D0F86DCCC}"/>
              </a:ext>
            </a:extLst>
          </p:cNvPr>
          <p:cNvSpPr/>
          <p:nvPr/>
        </p:nvSpPr>
        <p:spPr>
          <a:xfrm>
            <a:off x="6641924" y="2410247"/>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3601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43" name="Freihandform: Form 42">
            <a:extLst>
              <a:ext uri="{FF2B5EF4-FFF2-40B4-BE49-F238E27FC236}">
                <a16:creationId xmlns:a16="http://schemas.microsoft.com/office/drawing/2014/main" id="{58997C67-D006-44A2-AD3D-33F34BD464B4}"/>
              </a:ext>
            </a:extLst>
          </p:cNvPr>
          <p:cNvSpPr/>
          <p:nvPr/>
        </p:nvSpPr>
        <p:spPr>
          <a:xfrm>
            <a:off x="6641924" y="2765648"/>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3601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59" name="Freihandform: Form 58">
            <a:extLst>
              <a:ext uri="{FF2B5EF4-FFF2-40B4-BE49-F238E27FC236}">
                <a16:creationId xmlns:a16="http://schemas.microsoft.com/office/drawing/2014/main" id="{C4E89A45-8CD6-4F72-A3FF-464AD5125F97}"/>
              </a:ext>
            </a:extLst>
          </p:cNvPr>
          <p:cNvSpPr/>
          <p:nvPr/>
        </p:nvSpPr>
        <p:spPr>
          <a:xfrm>
            <a:off x="6641924" y="3119883"/>
            <a:ext cx="100211" cy="109533"/>
          </a:xfrm>
          <a:custGeom>
            <a:avLst/>
            <a:gdLst>
              <a:gd name="connsiteX0" fmla="*/ 45445 w 100211"/>
              <a:gd name="connsiteY0" fmla="*/ 109533 h 109533"/>
              <a:gd name="connsiteX1" fmla="*/ 0 w 100211"/>
              <a:gd name="connsiteY1" fmla="*/ 109533 h 109533"/>
              <a:gd name="connsiteX2" fmla="*/ 53601 w 100211"/>
              <a:gd name="connsiteY2" fmla="*/ 54767 h 109533"/>
              <a:gd name="connsiteX3" fmla="*/ 0 w 100211"/>
              <a:gd name="connsiteY3" fmla="*/ 0 h 109533"/>
              <a:gd name="connsiteX4" fmla="*/ 46610 w 100211"/>
              <a:gd name="connsiteY4" fmla="*/ 0 h 109533"/>
              <a:gd name="connsiteX5" fmla="*/ 100211 w 100211"/>
              <a:gd name="connsiteY5" fmla="*/ 53601 h 109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9533">
                <a:moveTo>
                  <a:pt x="45445" y="109533"/>
                </a:moveTo>
                <a:lnTo>
                  <a:pt x="0" y="109533"/>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75" name="Freihandform: Form 74">
            <a:extLst>
              <a:ext uri="{FF2B5EF4-FFF2-40B4-BE49-F238E27FC236}">
                <a16:creationId xmlns:a16="http://schemas.microsoft.com/office/drawing/2014/main" id="{B9D7B804-0A3A-4555-AA49-BAAC4D841F25}"/>
              </a:ext>
            </a:extLst>
          </p:cNvPr>
          <p:cNvSpPr/>
          <p:nvPr/>
        </p:nvSpPr>
        <p:spPr>
          <a:xfrm>
            <a:off x="6641924" y="3475284"/>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3601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91" name="Freihandform: Form 90">
            <a:extLst>
              <a:ext uri="{FF2B5EF4-FFF2-40B4-BE49-F238E27FC236}">
                <a16:creationId xmlns:a16="http://schemas.microsoft.com/office/drawing/2014/main" id="{E186CBFA-7613-4BC9-8990-21E472FC7476}"/>
              </a:ext>
            </a:extLst>
          </p:cNvPr>
          <p:cNvSpPr/>
          <p:nvPr/>
        </p:nvSpPr>
        <p:spPr>
          <a:xfrm>
            <a:off x="6641924" y="3829519"/>
            <a:ext cx="100211" cy="109533"/>
          </a:xfrm>
          <a:custGeom>
            <a:avLst/>
            <a:gdLst>
              <a:gd name="connsiteX0" fmla="*/ 45445 w 100211"/>
              <a:gd name="connsiteY0" fmla="*/ 109533 h 109533"/>
              <a:gd name="connsiteX1" fmla="*/ 0 w 100211"/>
              <a:gd name="connsiteY1" fmla="*/ 109533 h 109533"/>
              <a:gd name="connsiteX2" fmla="*/ 53601 w 100211"/>
              <a:gd name="connsiteY2" fmla="*/ 54767 h 109533"/>
              <a:gd name="connsiteX3" fmla="*/ 0 w 100211"/>
              <a:gd name="connsiteY3" fmla="*/ 0 h 109533"/>
              <a:gd name="connsiteX4" fmla="*/ 46610 w 100211"/>
              <a:gd name="connsiteY4" fmla="*/ 0 h 109533"/>
              <a:gd name="connsiteX5" fmla="*/ 100211 w 100211"/>
              <a:gd name="connsiteY5" fmla="*/ 53601 h 109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9533">
                <a:moveTo>
                  <a:pt x="45445" y="109533"/>
                </a:moveTo>
                <a:lnTo>
                  <a:pt x="0" y="109533"/>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107" name="Freihandform: Form 106">
            <a:extLst>
              <a:ext uri="{FF2B5EF4-FFF2-40B4-BE49-F238E27FC236}">
                <a16:creationId xmlns:a16="http://schemas.microsoft.com/office/drawing/2014/main" id="{431E1B18-1EEB-4090-9700-F9FE3C0FED51}"/>
              </a:ext>
            </a:extLst>
          </p:cNvPr>
          <p:cNvSpPr/>
          <p:nvPr/>
        </p:nvSpPr>
        <p:spPr>
          <a:xfrm>
            <a:off x="6641924" y="4184920"/>
            <a:ext cx="100211" cy="108367"/>
          </a:xfrm>
          <a:custGeom>
            <a:avLst/>
            <a:gdLst>
              <a:gd name="connsiteX0" fmla="*/ 45445 w 100211"/>
              <a:gd name="connsiteY0" fmla="*/ 108368 h 108367"/>
              <a:gd name="connsiteX1" fmla="*/ 0 w 100211"/>
              <a:gd name="connsiteY1" fmla="*/ 108368 h 108367"/>
              <a:gd name="connsiteX2" fmla="*/ 53601 w 100211"/>
              <a:gd name="connsiteY2" fmla="*/ 54767 h 108367"/>
              <a:gd name="connsiteX3" fmla="*/ 0 w 100211"/>
              <a:gd name="connsiteY3" fmla="*/ 0 h 108367"/>
              <a:gd name="connsiteX4" fmla="*/ 46610 w 100211"/>
              <a:gd name="connsiteY4" fmla="*/ 0 h 108367"/>
              <a:gd name="connsiteX5" fmla="*/ 100211 w 100211"/>
              <a:gd name="connsiteY5" fmla="*/ 53601 h 108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7">
                <a:moveTo>
                  <a:pt x="45445" y="108368"/>
                </a:moveTo>
                <a:lnTo>
                  <a:pt x="0" y="108368"/>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123" name="Freihandform: Form 122">
            <a:extLst>
              <a:ext uri="{FF2B5EF4-FFF2-40B4-BE49-F238E27FC236}">
                <a16:creationId xmlns:a16="http://schemas.microsoft.com/office/drawing/2014/main" id="{DC2F5F31-D8DD-48D9-A875-60890175F7E1}"/>
              </a:ext>
            </a:extLst>
          </p:cNvPr>
          <p:cNvSpPr/>
          <p:nvPr/>
        </p:nvSpPr>
        <p:spPr>
          <a:xfrm>
            <a:off x="6641924" y="4539155"/>
            <a:ext cx="100211" cy="109533"/>
          </a:xfrm>
          <a:custGeom>
            <a:avLst/>
            <a:gdLst>
              <a:gd name="connsiteX0" fmla="*/ 45445 w 100211"/>
              <a:gd name="connsiteY0" fmla="*/ 109533 h 109533"/>
              <a:gd name="connsiteX1" fmla="*/ 0 w 100211"/>
              <a:gd name="connsiteY1" fmla="*/ 109533 h 109533"/>
              <a:gd name="connsiteX2" fmla="*/ 53601 w 100211"/>
              <a:gd name="connsiteY2" fmla="*/ 54767 h 109533"/>
              <a:gd name="connsiteX3" fmla="*/ 0 w 100211"/>
              <a:gd name="connsiteY3" fmla="*/ 0 h 109533"/>
              <a:gd name="connsiteX4" fmla="*/ 46610 w 100211"/>
              <a:gd name="connsiteY4" fmla="*/ 0 h 109533"/>
              <a:gd name="connsiteX5" fmla="*/ 100211 w 100211"/>
              <a:gd name="connsiteY5" fmla="*/ 53601 h 109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9533">
                <a:moveTo>
                  <a:pt x="45445" y="109533"/>
                </a:moveTo>
                <a:lnTo>
                  <a:pt x="0" y="109533"/>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140" name="Freihandform: Form 139">
            <a:extLst>
              <a:ext uri="{FF2B5EF4-FFF2-40B4-BE49-F238E27FC236}">
                <a16:creationId xmlns:a16="http://schemas.microsoft.com/office/drawing/2014/main" id="{76442F10-6EC9-4E34-AAE4-0D75456E4698}"/>
              </a:ext>
            </a:extLst>
          </p:cNvPr>
          <p:cNvSpPr/>
          <p:nvPr/>
        </p:nvSpPr>
        <p:spPr>
          <a:xfrm>
            <a:off x="6641924" y="4894556"/>
            <a:ext cx="100211" cy="108367"/>
          </a:xfrm>
          <a:custGeom>
            <a:avLst/>
            <a:gdLst>
              <a:gd name="connsiteX0" fmla="*/ 45445 w 100211"/>
              <a:gd name="connsiteY0" fmla="*/ 108368 h 108367"/>
              <a:gd name="connsiteX1" fmla="*/ 0 w 100211"/>
              <a:gd name="connsiteY1" fmla="*/ 108368 h 108367"/>
              <a:gd name="connsiteX2" fmla="*/ 53601 w 100211"/>
              <a:gd name="connsiteY2" fmla="*/ 54767 h 108367"/>
              <a:gd name="connsiteX3" fmla="*/ 0 w 100211"/>
              <a:gd name="connsiteY3" fmla="*/ 0 h 108367"/>
              <a:gd name="connsiteX4" fmla="*/ 46610 w 100211"/>
              <a:gd name="connsiteY4" fmla="*/ 0 h 108367"/>
              <a:gd name="connsiteX5" fmla="*/ 100211 w 100211"/>
              <a:gd name="connsiteY5" fmla="*/ 53601 h 108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7">
                <a:moveTo>
                  <a:pt x="45445" y="108368"/>
                </a:moveTo>
                <a:lnTo>
                  <a:pt x="0" y="108368"/>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157" name="Freihandform: Form 156">
            <a:extLst>
              <a:ext uri="{FF2B5EF4-FFF2-40B4-BE49-F238E27FC236}">
                <a16:creationId xmlns:a16="http://schemas.microsoft.com/office/drawing/2014/main" id="{3F3DF7DA-74D8-4504-A71D-F774354EAB93}"/>
              </a:ext>
            </a:extLst>
          </p:cNvPr>
          <p:cNvSpPr/>
          <p:nvPr/>
        </p:nvSpPr>
        <p:spPr>
          <a:xfrm>
            <a:off x="6641924" y="5249956"/>
            <a:ext cx="100211" cy="108367"/>
          </a:xfrm>
          <a:custGeom>
            <a:avLst/>
            <a:gdLst>
              <a:gd name="connsiteX0" fmla="*/ 45445 w 100211"/>
              <a:gd name="connsiteY0" fmla="*/ 108368 h 108367"/>
              <a:gd name="connsiteX1" fmla="*/ 0 w 100211"/>
              <a:gd name="connsiteY1" fmla="*/ 108368 h 108367"/>
              <a:gd name="connsiteX2" fmla="*/ 53601 w 100211"/>
              <a:gd name="connsiteY2" fmla="*/ 54767 h 108367"/>
              <a:gd name="connsiteX3" fmla="*/ 0 w 100211"/>
              <a:gd name="connsiteY3" fmla="*/ 0 h 108367"/>
              <a:gd name="connsiteX4" fmla="*/ 46610 w 100211"/>
              <a:gd name="connsiteY4" fmla="*/ 0 h 108367"/>
              <a:gd name="connsiteX5" fmla="*/ 100211 w 100211"/>
              <a:gd name="connsiteY5" fmla="*/ 52436 h 108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7">
                <a:moveTo>
                  <a:pt x="45445" y="108368"/>
                </a:moveTo>
                <a:lnTo>
                  <a:pt x="0" y="108368"/>
                </a:lnTo>
                <a:lnTo>
                  <a:pt x="53601" y="54767"/>
                </a:lnTo>
                <a:lnTo>
                  <a:pt x="0" y="0"/>
                </a:lnTo>
                <a:lnTo>
                  <a:pt x="46610" y="0"/>
                </a:lnTo>
                <a:lnTo>
                  <a:pt x="100211" y="52436"/>
                </a:lnTo>
                <a:close/>
              </a:path>
            </a:pathLst>
          </a:custGeom>
          <a:solidFill>
            <a:srgbClr val="EEF2F5"/>
          </a:solidFill>
          <a:ln w="11643" cap="flat">
            <a:noFill/>
            <a:prstDash val="solid"/>
            <a:miter/>
          </a:ln>
        </p:spPr>
        <p:txBody>
          <a:bodyPr rtlCol="0" anchor="ctr"/>
          <a:lstStyle/>
          <a:p>
            <a:endParaRPr lang="de-DE"/>
          </a:p>
        </p:txBody>
      </p:sp>
      <p:sp>
        <p:nvSpPr>
          <p:cNvPr id="174" name="Freihandform: Form 173">
            <a:extLst>
              <a:ext uri="{FF2B5EF4-FFF2-40B4-BE49-F238E27FC236}">
                <a16:creationId xmlns:a16="http://schemas.microsoft.com/office/drawing/2014/main" id="{89F7D4C0-B771-4BD2-8BB9-46691BD63CD6}"/>
              </a:ext>
            </a:extLst>
          </p:cNvPr>
          <p:cNvSpPr/>
          <p:nvPr/>
        </p:nvSpPr>
        <p:spPr>
          <a:xfrm>
            <a:off x="6641924" y="5604192"/>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3601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191" name="Freihandform: Form 190">
            <a:extLst>
              <a:ext uri="{FF2B5EF4-FFF2-40B4-BE49-F238E27FC236}">
                <a16:creationId xmlns:a16="http://schemas.microsoft.com/office/drawing/2014/main" id="{5A593B9A-6E44-429E-AEBA-35E20D56B0CE}"/>
              </a:ext>
            </a:extLst>
          </p:cNvPr>
          <p:cNvSpPr/>
          <p:nvPr/>
        </p:nvSpPr>
        <p:spPr>
          <a:xfrm>
            <a:off x="6641924" y="5959592"/>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2436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2436"/>
                </a:lnTo>
                <a:close/>
              </a:path>
            </a:pathLst>
          </a:custGeom>
          <a:solidFill>
            <a:srgbClr val="EEF2F5"/>
          </a:solidFill>
          <a:ln w="11643" cap="flat">
            <a:noFill/>
            <a:prstDash val="solid"/>
            <a:miter/>
          </a:ln>
        </p:spPr>
        <p:txBody>
          <a:bodyPr rtlCol="0" anchor="ctr"/>
          <a:lstStyle/>
          <a:p>
            <a:endParaRPr lang="de-DE"/>
          </a:p>
        </p:txBody>
      </p:sp>
      <p:sp>
        <p:nvSpPr>
          <p:cNvPr id="208" name="Freihandform: Form 207">
            <a:extLst>
              <a:ext uri="{FF2B5EF4-FFF2-40B4-BE49-F238E27FC236}">
                <a16:creationId xmlns:a16="http://schemas.microsoft.com/office/drawing/2014/main" id="{DF218C48-5CF6-4B07-AF60-4DE0F6FD1BC1}"/>
              </a:ext>
            </a:extLst>
          </p:cNvPr>
          <p:cNvSpPr/>
          <p:nvPr/>
        </p:nvSpPr>
        <p:spPr>
          <a:xfrm>
            <a:off x="6641924" y="6313828"/>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3601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224" name="Freihandform: Form 223">
            <a:extLst>
              <a:ext uri="{FF2B5EF4-FFF2-40B4-BE49-F238E27FC236}">
                <a16:creationId xmlns:a16="http://schemas.microsoft.com/office/drawing/2014/main" id="{AA5BC021-58DD-4FE3-BDC3-0802A56E539C}"/>
              </a:ext>
            </a:extLst>
          </p:cNvPr>
          <p:cNvSpPr/>
          <p:nvPr/>
        </p:nvSpPr>
        <p:spPr>
          <a:xfrm>
            <a:off x="6641924" y="6669228"/>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2436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2436"/>
                </a:lnTo>
                <a:close/>
              </a:path>
            </a:pathLst>
          </a:custGeom>
          <a:solidFill>
            <a:srgbClr val="EEF2F5"/>
          </a:solidFill>
          <a:ln w="11643" cap="flat">
            <a:noFill/>
            <a:prstDash val="solid"/>
            <a:miter/>
          </a:ln>
        </p:spPr>
        <p:txBody>
          <a:bodyPr rtlCol="0" anchor="ctr"/>
          <a:lstStyle/>
          <a:p>
            <a:endParaRPr lang="de-DE"/>
          </a:p>
        </p:txBody>
      </p:sp>
      <p:sp>
        <p:nvSpPr>
          <p:cNvPr id="13" name="Freihandform: Form 12">
            <a:extLst>
              <a:ext uri="{FF2B5EF4-FFF2-40B4-BE49-F238E27FC236}">
                <a16:creationId xmlns:a16="http://schemas.microsoft.com/office/drawing/2014/main" id="{41B3CD6E-4668-431E-B52B-BEFAFA264BED}"/>
              </a:ext>
            </a:extLst>
          </p:cNvPr>
          <p:cNvSpPr/>
          <p:nvPr/>
        </p:nvSpPr>
        <p:spPr>
          <a:xfrm>
            <a:off x="6988003" y="2046690"/>
            <a:ext cx="117690" cy="127012"/>
          </a:xfrm>
          <a:custGeom>
            <a:avLst/>
            <a:gdLst>
              <a:gd name="connsiteX0" fmla="*/ 53601 w 117690"/>
              <a:gd name="connsiteY0" fmla="*/ 127012 h 127012"/>
              <a:gd name="connsiteX1" fmla="*/ 0 w 117690"/>
              <a:gd name="connsiteY1" fmla="*/ 127012 h 127012"/>
              <a:gd name="connsiteX2" fmla="*/ 62924 w 117690"/>
              <a:gd name="connsiteY2" fmla="*/ 64089 h 127012"/>
              <a:gd name="connsiteX3" fmla="*/ 0 w 117690"/>
              <a:gd name="connsiteY3" fmla="*/ 0 h 127012"/>
              <a:gd name="connsiteX4" fmla="*/ 54767 w 117690"/>
              <a:gd name="connsiteY4" fmla="*/ 0 h 127012"/>
              <a:gd name="connsiteX5" fmla="*/ 117690 w 117690"/>
              <a:gd name="connsiteY5" fmla="*/ 61758 h 12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2">
                <a:moveTo>
                  <a:pt x="53601" y="127012"/>
                </a:moveTo>
                <a:lnTo>
                  <a:pt x="0" y="127012"/>
                </a:lnTo>
                <a:lnTo>
                  <a:pt x="62924" y="64089"/>
                </a:lnTo>
                <a:lnTo>
                  <a:pt x="0" y="0"/>
                </a:lnTo>
                <a:lnTo>
                  <a:pt x="54767" y="0"/>
                </a:lnTo>
                <a:lnTo>
                  <a:pt x="117690" y="61758"/>
                </a:lnTo>
                <a:close/>
              </a:path>
            </a:pathLst>
          </a:custGeom>
          <a:solidFill>
            <a:srgbClr val="EEF2F5"/>
          </a:solidFill>
          <a:ln w="11643" cap="flat">
            <a:noFill/>
            <a:prstDash val="solid"/>
            <a:miter/>
          </a:ln>
        </p:spPr>
        <p:txBody>
          <a:bodyPr rtlCol="0" anchor="ctr"/>
          <a:lstStyle/>
          <a:p>
            <a:endParaRPr lang="de-DE"/>
          </a:p>
        </p:txBody>
      </p:sp>
      <p:sp>
        <p:nvSpPr>
          <p:cNvPr id="28" name="Freihandform: Form 27">
            <a:extLst>
              <a:ext uri="{FF2B5EF4-FFF2-40B4-BE49-F238E27FC236}">
                <a16:creationId xmlns:a16="http://schemas.microsoft.com/office/drawing/2014/main" id="{44ADAD78-1959-4CDE-A14A-2F7982F10CE6}"/>
              </a:ext>
            </a:extLst>
          </p:cNvPr>
          <p:cNvSpPr/>
          <p:nvPr/>
        </p:nvSpPr>
        <p:spPr>
          <a:xfrm>
            <a:off x="6988003" y="2400925"/>
            <a:ext cx="117690" cy="127012"/>
          </a:xfrm>
          <a:custGeom>
            <a:avLst/>
            <a:gdLst>
              <a:gd name="connsiteX0" fmla="*/ 53601 w 117690"/>
              <a:gd name="connsiteY0" fmla="*/ 127012 h 127012"/>
              <a:gd name="connsiteX1" fmla="*/ 0 w 117690"/>
              <a:gd name="connsiteY1" fmla="*/ 127012 h 127012"/>
              <a:gd name="connsiteX2" fmla="*/ 62924 w 117690"/>
              <a:gd name="connsiteY2" fmla="*/ 64089 h 127012"/>
              <a:gd name="connsiteX3" fmla="*/ 0 w 117690"/>
              <a:gd name="connsiteY3" fmla="*/ 0 h 127012"/>
              <a:gd name="connsiteX4" fmla="*/ 54767 w 117690"/>
              <a:gd name="connsiteY4" fmla="*/ 0 h 127012"/>
              <a:gd name="connsiteX5" fmla="*/ 117690 w 117690"/>
              <a:gd name="connsiteY5" fmla="*/ 62923 h 12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2">
                <a:moveTo>
                  <a:pt x="53601" y="127012"/>
                </a:moveTo>
                <a:lnTo>
                  <a:pt x="0" y="127012"/>
                </a:lnTo>
                <a:lnTo>
                  <a:pt x="62924" y="64089"/>
                </a:lnTo>
                <a:lnTo>
                  <a:pt x="0" y="0"/>
                </a:lnTo>
                <a:lnTo>
                  <a:pt x="54767" y="0"/>
                </a:lnTo>
                <a:lnTo>
                  <a:pt x="117690" y="62923"/>
                </a:lnTo>
                <a:close/>
              </a:path>
            </a:pathLst>
          </a:custGeom>
          <a:solidFill>
            <a:srgbClr val="EEF2F5"/>
          </a:solidFill>
          <a:ln w="11643" cap="flat">
            <a:noFill/>
            <a:prstDash val="solid"/>
            <a:miter/>
          </a:ln>
        </p:spPr>
        <p:txBody>
          <a:bodyPr rtlCol="0" anchor="ctr"/>
          <a:lstStyle/>
          <a:p>
            <a:endParaRPr lang="de-DE"/>
          </a:p>
        </p:txBody>
      </p:sp>
      <p:sp>
        <p:nvSpPr>
          <p:cNvPr id="44" name="Freihandform: Form 43">
            <a:extLst>
              <a:ext uri="{FF2B5EF4-FFF2-40B4-BE49-F238E27FC236}">
                <a16:creationId xmlns:a16="http://schemas.microsoft.com/office/drawing/2014/main" id="{187A0A4D-77CA-456F-91F4-F6F8704B8154}"/>
              </a:ext>
            </a:extLst>
          </p:cNvPr>
          <p:cNvSpPr/>
          <p:nvPr/>
        </p:nvSpPr>
        <p:spPr>
          <a:xfrm>
            <a:off x="6988003" y="2756326"/>
            <a:ext cx="117690" cy="127012"/>
          </a:xfrm>
          <a:custGeom>
            <a:avLst/>
            <a:gdLst>
              <a:gd name="connsiteX0" fmla="*/ 53601 w 117690"/>
              <a:gd name="connsiteY0" fmla="*/ 127012 h 127012"/>
              <a:gd name="connsiteX1" fmla="*/ 0 w 117690"/>
              <a:gd name="connsiteY1" fmla="*/ 127012 h 127012"/>
              <a:gd name="connsiteX2" fmla="*/ 62924 w 117690"/>
              <a:gd name="connsiteY2" fmla="*/ 64089 h 127012"/>
              <a:gd name="connsiteX3" fmla="*/ 0 w 117690"/>
              <a:gd name="connsiteY3" fmla="*/ 0 h 127012"/>
              <a:gd name="connsiteX4" fmla="*/ 54767 w 117690"/>
              <a:gd name="connsiteY4" fmla="*/ 0 h 127012"/>
              <a:gd name="connsiteX5" fmla="*/ 117690 w 117690"/>
              <a:gd name="connsiteY5" fmla="*/ 61758 h 12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2">
                <a:moveTo>
                  <a:pt x="53601" y="127012"/>
                </a:moveTo>
                <a:lnTo>
                  <a:pt x="0" y="127012"/>
                </a:lnTo>
                <a:lnTo>
                  <a:pt x="62924" y="64089"/>
                </a:lnTo>
                <a:lnTo>
                  <a:pt x="0" y="0"/>
                </a:lnTo>
                <a:lnTo>
                  <a:pt x="54767" y="0"/>
                </a:lnTo>
                <a:lnTo>
                  <a:pt x="117690" y="61758"/>
                </a:lnTo>
                <a:close/>
              </a:path>
            </a:pathLst>
          </a:custGeom>
          <a:solidFill>
            <a:srgbClr val="EEF2F5"/>
          </a:solidFill>
          <a:ln w="11643" cap="flat">
            <a:noFill/>
            <a:prstDash val="solid"/>
            <a:miter/>
          </a:ln>
        </p:spPr>
        <p:txBody>
          <a:bodyPr rtlCol="0" anchor="ctr"/>
          <a:lstStyle/>
          <a:p>
            <a:endParaRPr lang="de-DE"/>
          </a:p>
        </p:txBody>
      </p:sp>
      <p:sp>
        <p:nvSpPr>
          <p:cNvPr id="60" name="Freihandform: Form 59">
            <a:extLst>
              <a:ext uri="{FF2B5EF4-FFF2-40B4-BE49-F238E27FC236}">
                <a16:creationId xmlns:a16="http://schemas.microsoft.com/office/drawing/2014/main" id="{CB07603B-B3CF-406B-8F49-C88DDBDF26D2}"/>
              </a:ext>
            </a:extLst>
          </p:cNvPr>
          <p:cNvSpPr/>
          <p:nvPr/>
        </p:nvSpPr>
        <p:spPr>
          <a:xfrm>
            <a:off x="6988003" y="3111726"/>
            <a:ext cx="117690" cy="125846"/>
          </a:xfrm>
          <a:custGeom>
            <a:avLst/>
            <a:gdLst>
              <a:gd name="connsiteX0" fmla="*/ 53601 w 117690"/>
              <a:gd name="connsiteY0" fmla="*/ 125847 h 125846"/>
              <a:gd name="connsiteX1" fmla="*/ 0 w 117690"/>
              <a:gd name="connsiteY1" fmla="*/ 125847 h 125846"/>
              <a:gd name="connsiteX2" fmla="*/ 62924 w 117690"/>
              <a:gd name="connsiteY2" fmla="*/ 62923 h 125846"/>
              <a:gd name="connsiteX3" fmla="*/ 0 w 117690"/>
              <a:gd name="connsiteY3" fmla="*/ 0 h 125846"/>
              <a:gd name="connsiteX4" fmla="*/ 54767 w 117690"/>
              <a:gd name="connsiteY4" fmla="*/ 0 h 125846"/>
              <a:gd name="connsiteX5" fmla="*/ 117690 w 117690"/>
              <a:gd name="connsiteY5" fmla="*/ 61758 h 125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5846">
                <a:moveTo>
                  <a:pt x="53601" y="125847"/>
                </a:moveTo>
                <a:lnTo>
                  <a:pt x="0" y="125847"/>
                </a:lnTo>
                <a:lnTo>
                  <a:pt x="62924" y="62923"/>
                </a:lnTo>
                <a:lnTo>
                  <a:pt x="0" y="0"/>
                </a:lnTo>
                <a:lnTo>
                  <a:pt x="54767" y="0"/>
                </a:lnTo>
                <a:lnTo>
                  <a:pt x="117690" y="61758"/>
                </a:lnTo>
                <a:close/>
              </a:path>
            </a:pathLst>
          </a:custGeom>
          <a:solidFill>
            <a:srgbClr val="EEF2F5"/>
          </a:solidFill>
          <a:ln w="11643" cap="flat">
            <a:noFill/>
            <a:prstDash val="solid"/>
            <a:miter/>
          </a:ln>
        </p:spPr>
        <p:txBody>
          <a:bodyPr rtlCol="0" anchor="ctr"/>
          <a:lstStyle/>
          <a:p>
            <a:endParaRPr lang="de-DE"/>
          </a:p>
        </p:txBody>
      </p:sp>
      <p:sp>
        <p:nvSpPr>
          <p:cNvPr id="76" name="Freihandform: Form 75">
            <a:extLst>
              <a:ext uri="{FF2B5EF4-FFF2-40B4-BE49-F238E27FC236}">
                <a16:creationId xmlns:a16="http://schemas.microsoft.com/office/drawing/2014/main" id="{C87C0BBB-E201-45AD-A8CC-B6DF36C9BFCA}"/>
              </a:ext>
            </a:extLst>
          </p:cNvPr>
          <p:cNvSpPr/>
          <p:nvPr/>
        </p:nvSpPr>
        <p:spPr>
          <a:xfrm>
            <a:off x="6988003" y="3465962"/>
            <a:ext cx="117690" cy="127012"/>
          </a:xfrm>
          <a:custGeom>
            <a:avLst/>
            <a:gdLst>
              <a:gd name="connsiteX0" fmla="*/ 53601 w 117690"/>
              <a:gd name="connsiteY0" fmla="*/ 127012 h 127012"/>
              <a:gd name="connsiteX1" fmla="*/ 0 w 117690"/>
              <a:gd name="connsiteY1" fmla="*/ 127012 h 127012"/>
              <a:gd name="connsiteX2" fmla="*/ 62924 w 117690"/>
              <a:gd name="connsiteY2" fmla="*/ 64089 h 127012"/>
              <a:gd name="connsiteX3" fmla="*/ 0 w 117690"/>
              <a:gd name="connsiteY3" fmla="*/ 0 h 127012"/>
              <a:gd name="connsiteX4" fmla="*/ 54767 w 117690"/>
              <a:gd name="connsiteY4" fmla="*/ 0 h 127012"/>
              <a:gd name="connsiteX5" fmla="*/ 117690 w 117690"/>
              <a:gd name="connsiteY5" fmla="*/ 62923 h 12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2">
                <a:moveTo>
                  <a:pt x="53601" y="127012"/>
                </a:moveTo>
                <a:lnTo>
                  <a:pt x="0" y="127012"/>
                </a:lnTo>
                <a:lnTo>
                  <a:pt x="62924" y="64089"/>
                </a:lnTo>
                <a:lnTo>
                  <a:pt x="0" y="0"/>
                </a:lnTo>
                <a:lnTo>
                  <a:pt x="54767" y="0"/>
                </a:lnTo>
                <a:lnTo>
                  <a:pt x="117690" y="62923"/>
                </a:lnTo>
                <a:close/>
              </a:path>
            </a:pathLst>
          </a:custGeom>
          <a:solidFill>
            <a:srgbClr val="EEF2F5"/>
          </a:solidFill>
          <a:ln w="11643" cap="flat">
            <a:noFill/>
            <a:prstDash val="solid"/>
            <a:miter/>
          </a:ln>
        </p:spPr>
        <p:txBody>
          <a:bodyPr rtlCol="0" anchor="ctr"/>
          <a:lstStyle/>
          <a:p>
            <a:endParaRPr lang="de-DE"/>
          </a:p>
        </p:txBody>
      </p:sp>
      <p:sp>
        <p:nvSpPr>
          <p:cNvPr id="92" name="Freihandform: Form 91">
            <a:extLst>
              <a:ext uri="{FF2B5EF4-FFF2-40B4-BE49-F238E27FC236}">
                <a16:creationId xmlns:a16="http://schemas.microsoft.com/office/drawing/2014/main" id="{E84E584C-AD1A-4283-9393-9ADAC5705999}"/>
              </a:ext>
            </a:extLst>
          </p:cNvPr>
          <p:cNvSpPr/>
          <p:nvPr/>
        </p:nvSpPr>
        <p:spPr>
          <a:xfrm>
            <a:off x="6988003" y="3821362"/>
            <a:ext cx="117690" cy="125846"/>
          </a:xfrm>
          <a:custGeom>
            <a:avLst/>
            <a:gdLst>
              <a:gd name="connsiteX0" fmla="*/ 53601 w 117690"/>
              <a:gd name="connsiteY0" fmla="*/ 125847 h 125846"/>
              <a:gd name="connsiteX1" fmla="*/ 0 w 117690"/>
              <a:gd name="connsiteY1" fmla="*/ 125847 h 125846"/>
              <a:gd name="connsiteX2" fmla="*/ 62924 w 117690"/>
              <a:gd name="connsiteY2" fmla="*/ 62923 h 125846"/>
              <a:gd name="connsiteX3" fmla="*/ 0 w 117690"/>
              <a:gd name="connsiteY3" fmla="*/ 0 h 125846"/>
              <a:gd name="connsiteX4" fmla="*/ 54767 w 117690"/>
              <a:gd name="connsiteY4" fmla="*/ 0 h 125846"/>
              <a:gd name="connsiteX5" fmla="*/ 117690 w 117690"/>
              <a:gd name="connsiteY5" fmla="*/ 61758 h 125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5846">
                <a:moveTo>
                  <a:pt x="53601" y="125847"/>
                </a:moveTo>
                <a:lnTo>
                  <a:pt x="0" y="125847"/>
                </a:lnTo>
                <a:lnTo>
                  <a:pt x="62924" y="62923"/>
                </a:lnTo>
                <a:lnTo>
                  <a:pt x="0" y="0"/>
                </a:lnTo>
                <a:lnTo>
                  <a:pt x="54767" y="0"/>
                </a:lnTo>
                <a:lnTo>
                  <a:pt x="117690" y="61758"/>
                </a:lnTo>
                <a:close/>
              </a:path>
            </a:pathLst>
          </a:custGeom>
          <a:solidFill>
            <a:srgbClr val="EEF2F5"/>
          </a:solidFill>
          <a:ln w="11643" cap="flat">
            <a:noFill/>
            <a:prstDash val="solid"/>
            <a:miter/>
          </a:ln>
        </p:spPr>
        <p:txBody>
          <a:bodyPr rtlCol="0" anchor="ctr"/>
          <a:lstStyle/>
          <a:p>
            <a:endParaRPr lang="de-DE"/>
          </a:p>
        </p:txBody>
      </p:sp>
      <p:sp>
        <p:nvSpPr>
          <p:cNvPr id="108" name="Freihandform: Form 107">
            <a:extLst>
              <a:ext uri="{FF2B5EF4-FFF2-40B4-BE49-F238E27FC236}">
                <a16:creationId xmlns:a16="http://schemas.microsoft.com/office/drawing/2014/main" id="{821A23CA-DB65-474C-8F4A-71EDD9066EAA}"/>
              </a:ext>
            </a:extLst>
          </p:cNvPr>
          <p:cNvSpPr/>
          <p:nvPr/>
        </p:nvSpPr>
        <p:spPr>
          <a:xfrm>
            <a:off x="6988003" y="4175598"/>
            <a:ext cx="117690" cy="127011"/>
          </a:xfrm>
          <a:custGeom>
            <a:avLst/>
            <a:gdLst>
              <a:gd name="connsiteX0" fmla="*/ 53601 w 117690"/>
              <a:gd name="connsiteY0" fmla="*/ 127012 h 127011"/>
              <a:gd name="connsiteX1" fmla="*/ 0 w 117690"/>
              <a:gd name="connsiteY1" fmla="*/ 127012 h 127011"/>
              <a:gd name="connsiteX2" fmla="*/ 62924 w 117690"/>
              <a:gd name="connsiteY2" fmla="*/ 64089 h 127011"/>
              <a:gd name="connsiteX3" fmla="*/ 0 w 117690"/>
              <a:gd name="connsiteY3" fmla="*/ 0 h 127011"/>
              <a:gd name="connsiteX4" fmla="*/ 54767 w 117690"/>
              <a:gd name="connsiteY4" fmla="*/ 0 h 127011"/>
              <a:gd name="connsiteX5" fmla="*/ 117690 w 117690"/>
              <a:gd name="connsiteY5" fmla="*/ 62923 h 12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1">
                <a:moveTo>
                  <a:pt x="53601" y="127012"/>
                </a:moveTo>
                <a:lnTo>
                  <a:pt x="0" y="127012"/>
                </a:lnTo>
                <a:lnTo>
                  <a:pt x="62924" y="64089"/>
                </a:lnTo>
                <a:lnTo>
                  <a:pt x="0" y="0"/>
                </a:lnTo>
                <a:lnTo>
                  <a:pt x="54767" y="0"/>
                </a:lnTo>
                <a:lnTo>
                  <a:pt x="117690" y="62923"/>
                </a:lnTo>
                <a:close/>
              </a:path>
            </a:pathLst>
          </a:custGeom>
          <a:solidFill>
            <a:srgbClr val="EEF2F5"/>
          </a:solidFill>
          <a:ln w="11643" cap="flat">
            <a:noFill/>
            <a:prstDash val="solid"/>
            <a:miter/>
          </a:ln>
        </p:spPr>
        <p:txBody>
          <a:bodyPr rtlCol="0" anchor="ctr"/>
          <a:lstStyle/>
          <a:p>
            <a:endParaRPr lang="de-DE"/>
          </a:p>
        </p:txBody>
      </p:sp>
      <p:sp>
        <p:nvSpPr>
          <p:cNvPr id="124" name="Freihandform: Form 123">
            <a:extLst>
              <a:ext uri="{FF2B5EF4-FFF2-40B4-BE49-F238E27FC236}">
                <a16:creationId xmlns:a16="http://schemas.microsoft.com/office/drawing/2014/main" id="{A21B059E-24B7-45F6-86CA-657F48380E87}"/>
              </a:ext>
            </a:extLst>
          </p:cNvPr>
          <p:cNvSpPr/>
          <p:nvPr/>
        </p:nvSpPr>
        <p:spPr>
          <a:xfrm>
            <a:off x="6988003" y="4530998"/>
            <a:ext cx="117690" cy="125846"/>
          </a:xfrm>
          <a:custGeom>
            <a:avLst/>
            <a:gdLst>
              <a:gd name="connsiteX0" fmla="*/ 53601 w 117690"/>
              <a:gd name="connsiteY0" fmla="*/ 125847 h 125846"/>
              <a:gd name="connsiteX1" fmla="*/ 0 w 117690"/>
              <a:gd name="connsiteY1" fmla="*/ 125847 h 125846"/>
              <a:gd name="connsiteX2" fmla="*/ 62924 w 117690"/>
              <a:gd name="connsiteY2" fmla="*/ 64089 h 125846"/>
              <a:gd name="connsiteX3" fmla="*/ 0 w 117690"/>
              <a:gd name="connsiteY3" fmla="*/ 0 h 125846"/>
              <a:gd name="connsiteX4" fmla="*/ 54767 w 117690"/>
              <a:gd name="connsiteY4" fmla="*/ 0 h 125846"/>
              <a:gd name="connsiteX5" fmla="*/ 117690 w 117690"/>
              <a:gd name="connsiteY5" fmla="*/ 61758 h 125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5846">
                <a:moveTo>
                  <a:pt x="53601" y="125847"/>
                </a:moveTo>
                <a:lnTo>
                  <a:pt x="0" y="125847"/>
                </a:lnTo>
                <a:lnTo>
                  <a:pt x="62924" y="64089"/>
                </a:lnTo>
                <a:lnTo>
                  <a:pt x="0" y="0"/>
                </a:lnTo>
                <a:lnTo>
                  <a:pt x="54767" y="0"/>
                </a:lnTo>
                <a:lnTo>
                  <a:pt x="117690" y="61758"/>
                </a:lnTo>
                <a:close/>
              </a:path>
            </a:pathLst>
          </a:custGeom>
          <a:solidFill>
            <a:srgbClr val="EEF2F5"/>
          </a:solidFill>
          <a:ln w="11643" cap="flat">
            <a:noFill/>
            <a:prstDash val="solid"/>
            <a:miter/>
          </a:ln>
        </p:spPr>
        <p:txBody>
          <a:bodyPr rtlCol="0" anchor="ctr"/>
          <a:lstStyle/>
          <a:p>
            <a:endParaRPr lang="de-DE"/>
          </a:p>
        </p:txBody>
      </p:sp>
      <p:sp>
        <p:nvSpPr>
          <p:cNvPr id="141" name="Freihandform: Form 140">
            <a:extLst>
              <a:ext uri="{FF2B5EF4-FFF2-40B4-BE49-F238E27FC236}">
                <a16:creationId xmlns:a16="http://schemas.microsoft.com/office/drawing/2014/main" id="{B826AAAD-4F78-48CC-8D7F-6FF66CB56257}"/>
              </a:ext>
            </a:extLst>
          </p:cNvPr>
          <p:cNvSpPr/>
          <p:nvPr/>
        </p:nvSpPr>
        <p:spPr>
          <a:xfrm>
            <a:off x="6988003" y="4885234"/>
            <a:ext cx="117690" cy="127012"/>
          </a:xfrm>
          <a:custGeom>
            <a:avLst/>
            <a:gdLst>
              <a:gd name="connsiteX0" fmla="*/ 53601 w 117690"/>
              <a:gd name="connsiteY0" fmla="*/ 127012 h 127012"/>
              <a:gd name="connsiteX1" fmla="*/ 0 w 117690"/>
              <a:gd name="connsiteY1" fmla="*/ 127012 h 127012"/>
              <a:gd name="connsiteX2" fmla="*/ 62924 w 117690"/>
              <a:gd name="connsiteY2" fmla="*/ 64089 h 127012"/>
              <a:gd name="connsiteX3" fmla="*/ 0 w 117690"/>
              <a:gd name="connsiteY3" fmla="*/ 0 h 127012"/>
              <a:gd name="connsiteX4" fmla="*/ 54767 w 117690"/>
              <a:gd name="connsiteY4" fmla="*/ 0 h 127012"/>
              <a:gd name="connsiteX5" fmla="*/ 117690 w 117690"/>
              <a:gd name="connsiteY5" fmla="*/ 62923 h 12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2">
                <a:moveTo>
                  <a:pt x="53601" y="127012"/>
                </a:moveTo>
                <a:lnTo>
                  <a:pt x="0" y="127012"/>
                </a:lnTo>
                <a:lnTo>
                  <a:pt x="62924" y="64089"/>
                </a:lnTo>
                <a:lnTo>
                  <a:pt x="0" y="0"/>
                </a:lnTo>
                <a:lnTo>
                  <a:pt x="54767" y="0"/>
                </a:lnTo>
                <a:lnTo>
                  <a:pt x="117690" y="62923"/>
                </a:lnTo>
                <a:close/>
              </a:path>
            </a:pathLst>
          </a:custGeom>
          <a:solidFill>
            <a:srgbClr val="EEF2F5"/>
          </a:solidFill>
          <a:ln w="11643" cap="flat">
            <a:noFill/>
            <a:prstDash val="solid"/>
            <a:miter/>
          </a:ln>
        </p:spPr>
        <p:txBody>
          <a:bodyPr rtlCol="0" anchor="ctr"/>
          <a:lstStyle/>
          <a:p>
            <a:endParaRPr lang="de-DE"/>
          </a:p>
        </p:txBody>
      </p:sp>
      <p:sp>
        <p:nvSpPr>
          <p:cNvPr id="158" name="Freihandform: Form 157">
            <a:extLst>
              <a:ext uri="{FF2B5EF4-FFF2-40B4-BE49-F238E27FC236}">
                <a16:creationId xmlns:a16="http://schemas.microsoft.com/office/drawing/2014/main" id="{52E552E0-7863-4113-BBA5-301C77EAF452}"/>
              </a:ext>
            </a:extLst>
          </p:cNvPr>
          <p:cNvSpPr/>
          <p:nvPr/>
        </p:nvSpPr>
        <p:spPr>
          <a:xfrm>
            <a:off x="6988003" y="5240634"/>
            <a:ext cx="117690" cy="127011"/>
          </a:xfrm>
          <a:custGeom>
            <a:avLst/>
            <a:gdLst>
              <a:gd name="connsiteX0" fmla="*/ 53601 w 117690"/>
              <a:gd name="connsiteY0" fmla="*/ 127012 h 127011"/>
              <a:gd name="connsiteX1" fmla="*/ 0 w 117690"/>
              <a:gd name="connsiteY1" fmla="*/ 127012 h 127011"/>
              <a:gd name="connsiteX2" fmla="*/ 62924 w 117690"/>
              <a:gd name="connsiteY2" fmla="*/ 64089 h 127011"/>
              <a:gd name="connsiteX3" fmla="*/ 0 w 117690"/>
              <a:gd name="connsiteY3" fmla="*/ 0 h 127011"/>
              <a:gd name="connsiteX4" fmla="*/ 54767 w 117690"/>
              <a:gd name="connsiteY4" fmla="*/ 0 h 127011"/>
              <a:gd name="connsiteX5" fmla="*/ 117690 w 117690"/>
              <a:gd name="connsiteY5" fmla="*/ 61758 h 12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1">
                <a:moveTo>
                  <a:pt x="53601" y="127012"/>
                </a:moveTo>
                <a:lnTo>
                  <a:pt x="0" y="127012"/>
                </a:lnTo>
                <a:lnTo>
                  <a:pt x="62924" y="64089"/>
                </a:lnTo>
                <a:lnTo>
                  <a:pt x="0" y="0"/>
                </a:lnTo>
                <a:lnTo>
                  <a:pt x="54767" y="0"/>
                </a:lnTo>
                <a:lnTo>
                  <a:pt x="117690" y="61758"/>
                </a:lnTo>
                <a:close/>
              </a:path>
            </a:pathLst>
          </a:custGeom>
          <a:solidFill>
            <a:srgbClr val="EEF2F5"/>
          </a:solidFill>
          <a:ln w="11643" cap="flat">
            <a:noFill/>
            <a:prstDash val="solid"/>
            <a:miter/>
          </a:ln>
        </p:spPr>
        <p:txBody>
          <a:bodyPr rtlCol="0" anchor="ctr"/>
          <a:lstStyle/>
          <a:p>
            <a:endParaRPr lang="de-DE"/>
          </a:p>
        </p:txBody>
      </p:sp>
      <p:sp>
        <p:nvSpPr>
          <p:cNvPr id="175" name="Freihandform: Form 174">
            <a:extLst>
              <a:ext uri="{FF2B5EF4-FFF2-40B4-BE49-F238E27FC236}">
                <a16:creationId xmlns:a16="http://schemas.microsoft.com/office/drawing/2014/main" id="{B682B6CF-0860-48B1-8C00-95D42CF736E9}"/>
              </a:ext>
            </a:extLst>
          </p:cNvPr>
          <p:cNvSpPr/>
          <p:nvPr/>
        </p:nvSpPr>
        <p:spPr>
          <a:xfrm>
            <a:off x="6988003" y="5594870"/>
            <a:ext cx="117690" cy="127011"/>
          </a:xfrm>
          <a:custGeom>
            <a:avLst/>
            <a:gdLst>
              <a:gd name="connsiteX0" fmla="*/ 53601 w 117690"/>
              <a:gd name="connsiteY0" fmla="*/ 127012 h 127011"/>
              <a:gd name="connsiteX1" fmla="*/ 0 w 117690"/>
              <a:gd name="connsiteY1" fmla="*/ 127012 h 127011"/>
              <a:gd name="connsiteX2" fmla="*/ 62924 w 117690"/>
              <a:gd name="connsiteY2" fmla="*/ 64089 h 127011"/>
              <a:gd name="connsiteX3" fmla="*/ 0 w 117690"/>
              <a:gd name="connsiteY3" fmla="*/ 0 h 127011"/>
              <a:gd name="connsiteX4" fmla="*/ 54767 w 117690"/>
              <a:gd name="connsiteY4" fmla="*/ 0 h 127011"/>
              <a:gd name="connsiteX5" fmla="*/ 117690 w 117690"/>
              <a:gd name="connsiteY5" fmla="*/ 62923 h 12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1">
                <a:moveTo>
                  <a:pt x="53601" y="127012"/>
                </a:moveTo>
                <a:lnTo>
                  <a:pt x="0" y="127012"/>
                </a:lnTo>
                <a:lnTo>
                  <a:pt x="62924" y="64089"/>
                </a:lnTo>
                <a:lnTo>
                  <a:pt x="0" y="0"/>
                </a:lnTo>
                <a:lnTo>
                  <a:pt x="54767" y="0"/>
                </a:lnTo>
                <a:lnTo>
                  <a:pt x="117690" y="62923"/>
                </a:lnTo>
                <a:close/>
              </a:path>
            </a:pathLst>
          </a:custGeom>
          <a:solidFill>
            <a:srgbClr val="EEF2F5"/>
          </a:solidFill>
          <a:ln w="11643" cap="flat">
            <a:noFill/>
            <a:prstDash val="solid"/>
            <a:miter/>
          </a:ln>
        </p:spPr>
        <p:txBody>
          <a:bodyPr rtlCol="0" anchor="ctr"/>
          <a:lstStyle/>
          <a:p>
            <a:endParaRPr lang="de-DE"/>
          </a:p>
        </p:txBody>
      </p:sp>
      <p:sp>
        <p:nvSpPr>
          <p:cNvPr id="192" name="Freihandform: Form 191">
            <a:extLst>
              <a:ext uri="{FF2B5EF4-FFF2-40B4-BE49-F238E27FC236}">
                <a16:creationId xmlns:a16="http://schemas.microsoft.com/office/drawing/2014/main" id="{454B7B92-8F20-486A-A2F6-3D352B2C3337}"/>
              </a:ext>
            </a:extLst>
          </p:cNvPr>
          <p:cNvSpPr/>
          <p:nvPr/>
        </p:nvSpPr>
        <p:spPr>
          <a:xfrm>
            <a:off x="6988003" y="5950270"/>
            <a:ext cx="117690" cy="127011"/>
          </a:xfrm>
          <a:custGeom>
            <a:avLst/>
            <a:gdLst>
              <a:gd name="connsiteX0" fmla="*/ 53601 w 117690"/>
              <a:gd name="connsiteY0" fmla="*/ 127012 h 127011"/>
              <a:gd name="connsiteX1" fmla="*/ 0 w 117690"/>
              <a:gd name="connsiteY1" fmla="*/ 127012 h 127011"/>
              <a:gd name="connsiteX2" fmla="*/ 62924 w 117690"/>
              <a:gd name="connsiteY2" fmla="*/ 64089 h 127011"/>
              <a:gd name="connsiteX3" fmla="*/ 0 w 117690"/>
              <a:gd name="connsiteY3" fmla="*/ 0 h 127011"/>
              <a:gd name="connsiteX4" fmla="*/ 54767 w 117690"/>
              <a:gd name="connsiteY4" fmla="*/ 0 h 127011"/>
              <a:gd name="connsiteX5" fmla="*/ 117690 w 117690"/>
              <a:gd name="connsiteY5" fmla="*/ 61758 h 12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1">
                <a:moveTo>
                  <a:pt x="53601" y="127012"/>
                </a:moveTo>
                <a:lnTo>
                  <a:pt x="0" y="127012"/>
                </a:lnTo>
                <a:lnTo>
                  <a:pt x="62924" y="64089"/>
                </a:lnTo>
                <a:lnTo>
                  <a:pt x="0" y="0"/>
                </a:lnTo>
                <a:lnTo>
                  <a:pt x="54767" y="0"/>
                </a:lnTo>
                <a:lnTo>
                  <a:pt x="117690" y="61758"/>
                </a:lnTo>
                <a:close/>
              </a:path>
            </a:pathLst>
          </a:custGeom>
          <a:solidFill>
            <a:srgbClr val="EEF2F5"/>
          </a:solidFill>
          <a:ln w="11643" cap="flat">
            <a:noFill/>
            <a:prstDash val="solid"/>
            <a:miter/>
          </a:ln>
        </p:spPr>
        <p:txBody>
          <a:bodyPr rtlCol="0" anchor="ctr"/>
          <a:lstStyle/>
          <a:p>
            <a:endParaRPr lang="de-DE"/>
          </a:p>
        </p:txBody>
      </p:sp>
      <p:sp>
        <p:nvSpPr>
          <p:cNvPr id="209" name="Freihandform: Form 208">
            <a:extLst>
              <a:ext uri="{FF2B5EF4-FFF2-40B4-BE49-F238E27FC236}">
                <a16:creationId xmlns:a16="http://schemas.microsoft.com/office/drawing/2014/main" id="{731C9EF6-821F-43D3-AF27-A0A6EE4233B2}"/>
              </a:ext>
            </a:extLst>
          </p:cNvPr>
          <p:cNvSpPr/>
          <p:nvPr/>
        </p:nvSpPr>
        <p:spPr>
          <a:xfrm>
            <a:off x="6988003" y="6304506"/>
            <a:ext cx="117690" cy="127011"/>
          </a:xfrm>
          <a:custGeom>
            <a:avLst/>
            <a:gdLst>
              <a:gd name="connsiteX0" fmla="*/ 53601 w 117690"/>
              <a:gd name="connsiteY0" fmla="*/ 127012 h 127011"/>
              <a:gd name="connsiteX1" fmla="*/ 0 w 117690"/>
              <a:gd name="connsiteY1" fmla="*/ 127012 h 127011"/>
              <a:gd name="connsiteX2" fmla="*/ 62924 w 117690"/>
              <a:gd name="connsiteY2" fmla="*/ 64089 h 127011"/>
              <a:gd name="connsiteX3" fmla="*/ 0 w 117690"/>
              <a:gd name="connsiteY3" fmla="*/ 0 h 127011"/>
              <a:gd name="connsiteX4" fmla="*/ 54767 w 117690"/>
              <a:gd name="connsiteY4" fmla="*/ 0 h 127011"/>
              <a:gd name="connsiteX5" fmla="*/ 117690 w 117690"/>
              <a:gd name="connsiteY5" fmla="*/ 62923 h 12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1">
                <a:moveTo>
                  <a:pt x="53601" y="127012"/>
                </a:moveTo>
                <a:lnTo>
                  <a:pt x="0" y="127012"/>
                </a:lnTo>
                <a:lnTo>
                  <a:pt x="62924" y="64089"/>
                </a:lnTo>
                <a:lnTo>
                  <a:pt x="0" y="0"/>
                </a:lnTo>
                <a:lnTo>
                  <a:pt x="54767" y="0"/>
                </a:lnTo>
                <a:lnTo>
                  <a:pt x="117690" y="62923"/>
                </a:lnTo>
                <a:close/>
              </a:path>
            </a:pathLst>
          </a:custGeom>
          <a:solidFill>
            <a:srgbClr val="EEF2F5"/>
          </a:solidFill>
          <a:ln w="11643" cap="flat">
            <a:noFill/>
            <a:prstDash val="solid"/>
            <a:miter/>
          </a:ln>
        </p:spPr>
        <p:txBody>
          <a:bodyPr rtlCol="0" anchor="ctr"/>
          <a:lstStyle/>
          <a:p>
            <a:endParaRPr lang="de-DE"/>
          </a:p>
        </p:txBody>
      </p:sp>
      <p:sp>
        <p:nvSpPr>
          <p:cNvPr id="225" name="Freihandform: Form 224">
            <a:extLst>
              <a:ext uri="{FF2B5EF4-FFF2-40B4-BE49-F238E27FC236}">
                <a16:creationId xmlns:a16="http://schemas.microsoft.com/office/drawing/2014/main" id="{E9AB3220-DE9C-44AE-ADC2-AF15E390E82D}"/>
              </a:ext>
            </a:extLst>
          </p:cNvPr>
          <p:cNvSpPr/>
          <p:nvPr/>
        </p:nvSpPr>
        <p:spPr>
          <a:xfrm>
            <a:off x="6988003" y="6659906"/>
            <a:ext cx="117690" cy="127011"/>
          </a:xfrm>
          <a:custGeom>
            <a:avLst/>
            <a:gdLst>
              <a:gd name="connsiteX0" fmla="*/ 53601 w 117690"/>
              <a:gd name="connsiteY0" fmla="*/ 127012 h 127011"/>
              <a:gd name="connsiteX1" fmla="*/ 0 w 117690"/>
              <a:gd name="connsiteY1" fmla="*/ 127012 h 127011"/>
              <a:gd name="connsiteX2" fmla="*/ 62924 w 117690"/>
              <a:gd name="connsiteY2" fmla="*/ 64089 h 127011"/>
              <a:gd name="connsiteX3" fmla="*/ 0 w 117690"/>
              <a:gd name="connsiteY3" fmla="*/ 0 h 127011"/>
              <a:gd name="connsiteX4" fmla="*/ 54767 w 117690"/>
              <a:gd name="connsiteY4" fmla="*/ 0 h 127011"/>
              <a:gd name="connsiteX5" fmla="*/ 117690 w 117690"/>
              <a:gd name="connsiteY5" fmla="*/ 61758 h 12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1">
                <a:moveTo>
                  <a:pt x="53601" y="127012"/>
                </a:moveTo>
                <a:lnTo>
                  <a:pt x="0" y="127012"/>
                </a:lnTo>
                <a:lnTo>
                  <a:pt x="62924" y="64089"/>
                </a:lnTo>
                <a:lnTo>
                  <a:pt x="0" y="0"/>
                </a:lnTo>
                <a:lnTo>
                  <a:pt x="54767" y="0"/>
                </a:lnTo>
                <a:lnTo>
                  <a:pt x="117690" y="61758"/>
                </a:lnTo>
                <a:close/>
              </a:path>
            </a:pathLst>
          </a:custGeom>
          <a:solidFill>
            <a:srgbClr val="EEF2F5"/>
          </a:solidFill>
          <a:ln w="11643" cap="flat">
            <a:noFill/>
            <a:prstDash val="solid"/>
            <a:miter/>
          </a:ln>
        </p:spPr>
        <p:txBody>
          <a:bodyPr rtlCol="0" anchor="ctr"/>
          <a:lstStyle/>
          <a:p>
            <a:endParaRPr lang="de-DE"/>
          </a:p>
        </p:txBody>
      </p:sp>
      <p:sp>
        <p:nvSpPr>
          <p:cNvPr id="14" name="Freihandform: Form 13">
            <a:extLst>
              <a:ext uri="{FF2B5EF4-FFF2-40B4-BE49-F238E27FC236}">
                <a16:creationId xmlns:a16="http://schemas.microsoft.com/office/drawing/2014/main" id="{EFAF6EFC-5984-485E-8562-F3C5B1286F10}"/>
              </a:ext>
            </a:extLst>
          </p:cNvPr>
          <p:cNvSpPr/>
          <p:nvPr/>
        </p:nvSpPr>
        <p:spPr>
          <a:xfrm>
            <a:off x="7335247" y="2038533"/>
            <a:ext cx="132838" cy="143325"/>
          </a:xfrm>
          <a:custGeom>
            <a:avLst/>
            <a:gdLst>
              <a:gd name="connsiteX0" fmla="*/ 60593 w 132838"/>
              <a:gd name="connsiteY0" fmla="*/ 143326 h 143325"/>
              <a:gd name="connsiteX1" fmla="*/ 0 w 132838"/>
              <a:gd name="connsiteY1" fmla="*/ 143326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6"/>
                </a:moveTo>
                <a:lnTo>
                  <a:pt x="0" y="143326"/>
                </a:lnTo>
                <a:lnTo>
                  <a:pt x="71080" y="72245"/>
                </a:lnTo>
                <a:lnTo>
                  <a:pt x="0" y="0"/>
                </a:lnTo>
                <a:lnTo>
                  <a:pt x="61758" y="0"/>
                </a:lnTo>
                <a:lnTo>
                  <a:pt x="132838" y="69915"/>
                </a:lnTo>
                <a:close/>
              </a:path>
            </a:pathLst>
          </a:custGeom>
          <a:solidFill>
            <a:srgbClr val="EEF2F5"/>
          </a:solidFill>
          <a:ln w="11643" cap="flat">
            <a:noFill/>
            <a:prstDash val="solid"/>
            <a:miter/>
          </a:ln>
        </p:spPr>
        <p:txBody>
          <a:bodyPr rtlCol="0" anchor="ctr"/>
          <a:lstStyle/>
          <a:p>
            <a:endParaRPr lang="de-DE"/>
          </a:p>
        </p:txBody>
      </p:sp>
      <p:sp>
        <p:nvSpPr>
          <p:cNvPr id="29" name="Freihandform: Form 28">
            <a:extLst>
              <a:ext uri="{FF2B5EF4-FFF2-40B4-BE49-F238E27FC236}">
                <a16:creationId xmlns:a16="http://schemas.microsoft.com/office/drawing/2014/main" id="{C38B5C98-4ABA-4DD0-92EE-6AE4E7466D1F}"/>
              </a:ext>
            </a:extLst>
          </p:cNvPr>
          <p:cNvSpPr/>
          <p:nvPr/>
        </p:nvSpPr>
        <p:spPr>
          <a:xfrm>
            <a:off x="7335247" y="2392768"/>
            <a:ext cx="132838" cy="143325"/>
          </a:xfrm>
          <a:custGeom>
            <a:avLst/>
            <a:gdLst>
              <a:gd name="connsiteX0" fmla="*/ 60593 w 132838"/>
              <a:gd name="connsiteY0" fmla="*/ 143325 h 143325"/>
              <a:gd name="connsiteX1" fmla="*/ 0 w 132838"/>
              <a:gd name="connsiteY1" fmla="*/ 143325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71080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5"/>
                </a:moveTo>
                <a:lnTo>
                  <a:pt x="0" y="143325"/>
                </a:lnTo>
                <a:lnTo>
                  <a:pt x="71080" y="72245"/>
                </a:lnTo>
                <a:lnTo>
                  <a:pt x="0" y="0"/>
                </a:lnTo>
                <a:lnTo>
                  <a:pt x="61758" y="0"/>
                </a:lnTo>
                <a:lnTo>
                  <a:pt x="132838" y="71080"/>
                </a:lnTo>
                <a:close/>
              </a:path>
            </a:pathLst>
          </a:custGeom>
          <a:solidFill>
            <a:srgbClr val="EEF2F5"/>
          </a:solidFill>
          <a:ln w="11643" cap="flat">
            <a:noFill/>
            <a:prstDash val="solid"/>
            <a:miter/>
          </a:ln>
        </p:spPr>
        <p:txBody>
          <a:bodyPr rtlCol="0" anchor="ctr"/>
          <a:lstStyle/>
          <a:p>
            <a:endParaRPr lang="de-DE"/>
          </a:p>
        </p:txBody>
      </p:sp>
      <p:sp>
        <p:nvSpPr>
          <p:cNvPr id="45" name="Freihandform: Form 44">
            <a:extLst>
              <a:ext uri="{FF2B5EF4-FFF2-40B4-BE49-F238E27FC236}">
                <a16:creationId xmlns:a16="http://schemas.microsoft.com/office/drawing/2014/main" id="{79F3C30E-5951-4096-8825-BA1A1F523534}"/>
              </a:ext>
            </a:extLst>
          </p:cNvPr>
          <p:cNvSpPr/>
          <p:nvPr/>
        </p:nvSpPr>
        <p:spPr>
          <a:xfrm>
            <a:off x="7335247" y="2748169"/>
            <a:ext cx="132838" cy="143325"/>
          </a:xfrm>
          <a:custGeom>
            <a:avLst/>
            <a:gdLst>
              <a:gd name="connsiteX0" fmla="*/ 60593 w 132838"/>
              <a:gd name="connsiteY0" fmla="*/ 143325 h 143325"/>
              <a:gd name="connsiteX1" fmla="*/ 0 w 132838"/>
              <a:gd name="connsiteY1" fmla="*/ 143325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5"/>
                </a:moveTo>
                <a:lnTo>
                  <a:pt x="0" y="143325"/>
                </a:lnTo>
                <a:lnTo>
                  <a:pt x="71080" y="72245"/>
                </a:lnTo>
                <a:lnTo>
                  <a:pt x="0" y="0"/>
                </a:lnTo>
                <a:lnTo>
                  <a:pt x="61758" y="0"/>
                </a:lnTo>
                <a:lnTo>
                  <a:pt x="132838" y="69915"/>
                </a:lnTo>
                <a:close/>
              </a:path>
            </a:pathLst>
          </a:custGeom>
          <a:solidFill>
            <a:srgbClr val="EEF2F5"/>
          </a:solidFill>
          <a:ln w="11643" cap="flat">
            <a:noFill/>
            <a:prstDash val="solid"/>
            <a:miter/>
          </a:ln>
        </p:spPr>
        <p:txBody>
          <a:bodyPr rtlCol="0" anchor="ctr"/>
          <a:lstStyle/>
          <a:p>
            <a:endParaRPr lang="de-DE"/>
          </a:p>
        </p:txBody>
      </p:sp>
      <p:sp>
        <p:nvSpPr>
          <p:cNvPr id="61" name="Freihandform: Form 60">
            <a:extLst>
              <a:ext uri="{FF2B5EF4-FFF2-40B4-BE49-F238E27FC236}">
                <a16:creationId xmlns:a16="http://schemas.microsoft.com/office/drawing/2014/main" id="{72D38BC9-A038-42F1-84CC-8FE548646FD4}"/>
              </a:ext>
            </a:extLst>
          </p:cNvPr>
          <p:cNvSpPr/>
          <p:nvPr/>
        </p:nvSpPr>
        <p:spPr>
          <a:xfrm>
            <a:off x="7335247" y="3102404"/>
            <a:ext cx="132838" cy="143325"/>
          </a:xfrm>
          <a:custGeom>
            <a:avLst/>
            <a:gdLst>
              <a:gd name="connsiteX0" fmla="*/ 60593 w 132838"/>
              <a:gd name="connsiteY0" fmla="*/ 143326 h 143325"/>
              <a:gd name="connsiteX1" fmla="*/ 0 w 132838"/>
              <a:gd name="connsiteY1" fmla="*/ 143326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71080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6"/>
                </a:moveTo>
                <a:lnTo>
                  <a:pt x="0" y="143326"/>
                </a:lnTo>
                <a:lnTo>
                  <a:pt x="71080" y="72245"/>
                </a:lnTo>
                <a:lnTo>
                  <a:pt x="0" y="0"/>
                </a:lnTo>
                <a:lnTo>
                  <a:pt x="61758" y="0"/>
                </a:lnTo>
                <a:lnTo>
                  <a:pt x="132838" y="71080"/>
                </a:lnTo>
                <a:close/>
              </a:path>
            </a:pathLst>
          </a:custGeom>
          <a:solidFill>
            <a:srgbClr val="EEF2F5"/>
          </a:solidFill>
          <a:ln w="11643" cap="flat">
            <a:noFill/>
            <a:prstDash val="solid"/>
            <a:miter/>
          </a:ln>
        </p:spPr>
        <p:txBody>
          <a:bodyPr rtlCol="0" anchor="ctr"/>
          <a:lstStyle/>
          <a:p>
            <a:endParaRPr lang="de-DE"/>
          </a:p>
        </p:txBody>
      </p:sp>
      <p:sp>
        <p:nvSpPr>
          <p:cNvPr id="77" name="Freihandform: Form 76">
            <a:extLst>
              <a:ext uri="{FF2B5EF4-FFF2-40B4-BE49-F238E27FC236}">
                <a16:creationId xmlns:a16="http://schemas.microsoft.com/office/drawing/2014/main" id="{4C23EFB8-6839-469E-BA4B-6EBF505449D2}"/>
              </a:ext>
            </a:extLst>
          </p:cNvPr>
          <p:cNvSpPr/>
          <p:nvPr/>
        </p:nvSpPr>
        <p:spPr>
          <a:xfrm>
            <a:off x="7335247" y="3457805"/>
            <a:ext cx="132838" cy="143325"/>
          </a:xfrm>
          <a:custGeom>
            <a:avLst/>
            <a:gdLst>
              <a:gd name="connsiteX0" fmla="*/ 60593 w 132838"/>
              <a:gd name="connsiteY0" fmla="*/ 143326 h 143325"/>
              <a:gd name="connsiteX1" fmla="*/ 0 w 132838"/>
              <a:gd name="connsiteY1" fmla="*/ 143326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6"/>
                </a:moveTo>
                <a:lnTo>
                  <a:pt x="0" y="143326"/>
                </a:lnTo>
                <a:lnTo>
                  <a:pt x="71080" y="72245"/>
                </a:lnTo>
                <a:lnTo>
                  <a:pt x="0" y="0"/>
                </a:lnTo>
                <a:lnTo>
                  <a:pt x="61758" y="0"/>
                </a:lnTo>
                <a:lnTo>
                  <a:pt x="132838" y="69915"/>
                </a:lnTo>
                <a:close/>
              </a:path>
            </a:pathLst>
          </a:custGeom>
          <a:solidFill>
            <a:srgbClr val="EEF2F5"/>
          </a:solidFill>
          <a:ln w="11643" cap="flat">
            <a:noFill/>
            <a:prstDash val="solid"/>
            <a:miter/>
          </a:ln>
        </p:spPr>
        <p:txBody>
          <a:bodyPr rtlCol="0" anchor="ctr"/>
          <a:lstStyle/>
          <a:p>
            <a:endParaRPr lang="de-DE"/>
          </a:p>
        </p:txBody>
      </p:sp>
      <p:sp>
        <p:nvSpPr>
          <p:cNvPr id="93" name="Freihandform: Form 92">
            <a:extLst>
              <a:ext uri="{FF2B5EF4-FFF2-40B4-BE49-F238E27FC236}">
                <a16:creationId xmlns:a16="http://schemas.microsoft.com/office/drawing/2014/main" id="{45EE2EBC-AC9B-4F66-BE0E-F697842CD09A}"/>
              </a:ext>
            </a:extLst>
          </p:cNvPr>
          <p:cNvSpPr/>
          <p:nvPr/>
        </p:nvSpPr>
        <p:spPr>
          <a:xfrm>
            <a:off x="7335247" y="3812040"/>
            <a:ext cx="132838" cy="144490"/>
          </a:xfrm>
          <a:custGeom>
            <a:avLst/>
            <a:gdLst>
              <a:gd name="connsiteX0" fmla="*/ 60593 w 132838"/>
              <a:gd name="connsiteY0" fmla="*/ 144491 h 144490"/>
              <a:gd name="connsiteX1" fmla="*/ 0 w 132838"/>
              <a:gd name="connsiteY1" fmla="*/ 144491 h 144490"/>
              <a:gd name="connsiteX2" fmla="*/ 71080 w 132838"/>
              <a:gd name="connsiteY2" fmla="*/ 73410 h 144490"/>
              <a:gd name="connsiteX3" fmla="*/ 0 w 132838"/>
              <a:gd name="connsiteY3" fmla="*/ 0 h 144490"/>
              <a:gd name="connsiteX4" fmla="*/ 61758 w 132838"/>
              <a:gd name="connsiteY4" fmla="*/ 0 h 144490"/>
              <a:gd name="connsiteX5" fmla="*/ 132838 w 132838"/>
              <a:gd name="connsiteY5" fmla="*/ 71080 h 144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4490">
                <a:moveTo>
                  <a:pt x="60593" y="144491"/>
                </a:moveTo>
                <a:lnTo>
                  <a:pt x="0" y="144491"/>
                </a:lnTo>
                <a:lnTo>
                  <a:pt x="71080" y="73410"/>
                </a:lnTo>
                <a:lnTo>
                  <a:pt x="0" y="0"/>
                </a:lnTo>
                <a:lnTo>
                  <a:pt x="61758" y="0"/>
                </a:lnTo>
                <a:lnTo>
                  <a:pt x="132838" y="71080"/>
                </a:lnTo>
                <a:close/>
              </a:path>
            </a:pathLst>
          </a:custGeom>
          <a:solidFill>
            <a:srgbClr val="EEF2F5"/>
          </a:solidFill>
          <a:ln w="11643" cap="flat">
            <a:noFill/>
            <a:prstDash val="solid"/>
            <a:miter/>
          </a:ln>
        </p:spPr>
        <p:txBody>
          <a:bodyPr rtlCol="0" anchor="ctr"/>
          <a:lstStyle/>
          <a:p>
            <a:endParaRPr lang="de-DE"/>
          </a:p>
        </p:txBody>
      </p:sp>
      <p:sp>
        <p:nvSpPr>
          <p:cNvPr id="109" name="Freihandform: Form 108">
            <a:extLst>
              <a:ext uri="{FF2B5EF4-FFF2-40B4-BE49-F238E27FC236}">
                <a16:creationId xmlns:a16="http://schemas.microsoft.com/office/drawing/2014/main" id="{23A8A58E-C664-472A-80B9-B34A798D133E}"/>
              </a:ext>
            </a:extLst>
          </p:cNvPr>
          <p:cNvSpPr/>
          <p:nvPr/>
        </p:nvSpPr>
        <p:spPr>
          <a:xfrm>
            <a:off x="7335247" y="4167441"/>
            <a:ext cx="132838" cy="143325"/>
          </a:xfrm>
          <a:custGeom>
            <a:avLst/>
            <a:gdLst>
              <a:gd name="connsiteX0" fmla="*/ 60593 w 132838"/>
              <a:gd name="connsiteY0" fmla="*/ 143325 h 143325"/>
              <a:gd name="connsiteX1" fmla="*/ 0 w 132838"/>
              <a:gd name="connsiteY1" fmla="*/ 143325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5"/>
                </a:moveTo>
                <a:lnTo>
                  <a:pt x="0" y="143325"/>
                </a:lnTo>
                <a:lnTo>
                  <a:pt x="71080" y="72245"/>
                </a:lnTo>
                <a:lnTo>
                  <a:pt x="0" y="0"/>
                </a:lnTo>
                <a:lnTo>
                  <a:pt x="61758" y="0"/>
                </a:lnTo>
                <a:lnTo>
                  <a:pt x="132838" y="69915"/>
                </a:lnTo>
                <a:close/>
              </a:path>
            </a:pathLst>
          </a:custGeom>
          <a:solidFill>
            <a:srgbClr val="EEF2F5"/>
          </a:solidFill>
          <a:ln w="11643" cap="flat">
            <a:noFill/>
            <a:prstDash val="solid"/>
            <a:miter/>
          </a:ln>
        </p:spPr>
        <p:txBody>
          <a:bodyPr rtlCol="0" anchor="ctr"/>
          <a:lstStyle/>
          <a:p>
            <a:endParaRPr lang="de-DE"/>
          </a:p>
        </p:txBody>
      </p:sp>
      <p:sp>
        <p:nvSpPr>
          <p:cNvPr id="125" name="Freihandform: Form 124">
            <a:extLst>
              <a:ext uri="{FF2B5EF4-FFF2-40B4-BE49-F238E27FC236}">
                <a16:creationId xmlns:a16="http://schemas.microsoft.com/office/drawing/2014/main" id="{C3B2D139-38F0-4A0D-927D-BDFD81D0A329}"/>
              </a:ext>
            </a:extLst>
          </p:cNvPr>
          <p:cNvSpPr/>
          <p:nvPr/>
        </p:nvSpPr>
        <p:spPr>
          <a:xfrm>
            <a:off x="7335247" y="4522842"/>
            <a:ext cx="132838" cy="143325"/>
          </a:xfrm>
          <a:custGeom>
            <a:avLst/>
            <a:gdLst>
              <a:gd name="connsiteX0" fmla="*/ 60593 w 132838"/>
              <a:gd name="connsiteY0" fmla="*/ 143325 h 143325"/>
              <a:gd name="connsiteX1" fmla="*/ 0 w 132838"/>
              <a:gd name="connsiteY1" fmla="*/ 143325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5"/>
                </a:moveTo>
                <a:lnTo>
                  <a:pt x="0" y="143325"/>
                </a:lnTo>
                <a:lnTo>
                  <a:pt x="71080" y="72245"/>
                </a:lnTo>
                <a:lnTo>
                  <a:pt x="0" y="0"/>
                </a:lnTo>
                <a:lnTo>
                  <a:pt x="61758" y="0"/>
                </a:lnTo>
                <a:lnTo>
                  <a:pt x="132838" y="69915"/>
                </a:lnTo>
                <a:close/>
              </a:path>
            </a:pathLst>
          </a:custGeom>
          <a:solidFill>
            <a:srgbClr val="EEF2F5"/>
          </a:solidFill>
          <a:ln w="11643" cap="flat">
            <a:noFill/>
            <a:prstDash val="solid"/>
            <a:miter/>
          </a:ln>
        </p:spPr>
        <p:txBody>
          <a:bodyPr rtlCol="0" anchor="ctr"/>
          <a:lstStyle/>
          <a:p>
            <a:endParaRPr lang="de-DE"/>
          </a:p>
        </p:txBody>
      </p:sp>
      <p:sp>
        <p:nvSpPr>
          <p:cNvPr id="142" name="Freihandform: Form 141">
            <a:extLst>
              <a:ext uri="{FF2B5EF4-FFF2-40B4-BE49-F238E27FC236}">
                <a16:creationId xmlns:a16="http://schemas.microsoft.com/office/drawing/2014/main" id="{B85C4BDF-6D64-4824-8953-A0E638E3F3C2}"/>
              </a:ext>
            </a:extLst>
          </p:cNvPr>
          <p:cNvSpPr/>
          <p:nvPr/>
        </p:nvSpPr>
        <p:spPr>
          <a:xfrm>
            <a:off x="7335247" y="4877077"/>
            <a:ext cx="132838" cy="143325"/>
          </a:xfrm>
          <a:custGeom>
            <a:avLst/>
            <a:gdLst>
              <a:gd name="connsiteX0" fmla="*/ 60593 w 132838"/>
              <a:gd name="connsiteY0" fmla="*/ 143325 h 143325"/>
              <a:gd name="connsiteX1" fmla="*/ 0 w 132838"/>
              <a:gd name="connsiteY1" fmla="*/ 143325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71080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5"/>
                </a:moveTo>
                <a:lnTo>
                  <a:pt x="0" y="143325"/>
                </a:lnTo>
                <a:lnTo>
                  <a:pt x="71080" y="72245"/>
                </a:lnTo>
                <a:lnTo>
                  <a:pt x="0" y="0"/>
                </a:lnTo>
                <a:lnTo>
                  <a:pt x="61758" y="0"/>
                </a:lnTo>
                <a:lnTo>
                  <a:pt x="132838" y="71080"/>
                </a:lnTo>
                <a:close/>
              </a:path>
            </a:pathLst>
          </a:custGeom>
          <a:solidFill>
            <a:srgbClr val="EEF2F5"/>
          </a:solidFill>
          <a:ln w="11643" cap="flat">
            <a:noFill/>
            <a:prstDash val="solid"/>
            <a:miter/>
          </a:ln>
        </p:spPr>
        <p:txBody>
          <a:bodyPr rtlCol="0" anchor="ctr"/>
          <a:lstStyle/>
          <a:p>
            <a:endParaRPr lang="de-DE"/>
          </a:p>
        </p:txBody>
      </p:sp>
      <p:sp>
        <p:nvSpPr>
          <p:cNvPr id="159" name="Freihandform: Form 158">
            <a:extLst>
              <a:ext uri="{FF2B5EF4-FFF2-40B4-BE49-F238E27FC236}">
                <a16:creationId xmlns:a16="http://schemas.microsoft.com/office/drawing/2014/main" id="{847A43FF-6A21-4A02-A0F3-7A25CB4C4A3E}"/>
              </a:ext>
            </a:extLst>
          </p:cNvPr>
          <p:cNvSpPr/>
          <p:nvPr/>
        </p:nvSpPr>
        <p:spPr>
          <a:xfrm>
            <a:off x="7335247" y="5232478"/>
            <a:ext cx="132838" cy="143325"/>
          </a:xfrm>
          <a:custGeom>
            <a:avLst/>
            <a:gdLst>
              <a:gd name="connsiteX0" fmla="*/ 60593 w 132838"/>
              <a:gd name="connsiteY0" fmla="*/ 143325 h 143325"/>
              <a:gd name="connsiteX1" fmla="*/ 0 w 132838"/>
              <a:gd name="connsiteY1" fmla="*/ 143325 h 143325"/>
              <a:gd name="connsiteX2" fmla="*/ 71080 w 132838"/>
              <a:gd name="connsiteY2" fmla="*/ 72246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5"/>
                </a:moveTo>
                <a:lnTo>
                  <a:pt x="0" y="143325"/>
                </a:lnTo>
                <a:lnTo>
                  <a:pt x="71080" y="72246"/>
                </a:lnTo>
                <a:lnTo>
                  <a:pt x="0" y="0"/>
                </a:lnTo>
                <a:lnTo>
                  <a:pt x="61758" y="0"/>
                </a:lnTo>
                <a:lnTo>
                  <a:pt x="132838" y="69915"/>
                </a:lnTo>
                <a:close/>
              </a:path>
            </a:pathLst>
          </a:custGeom>
          <a:solidFill>
            <a:srgbClr val="EEF2F5"/>
          </a:solidFill>
          <a:ln w="11643" cap="flat">
            <a:noFill/>
            <a:prstDash val="solid"/>
            <a:miter/>
          </a:ln>
        </p:spPr>
        <p:txBody>
          <a:bodyPr rtlCol="0" anchor="ctr"/>
          <a:lstStyle/>
          <a:p>
            <a:endParaRPr lang="de-DE"/>
          </a:p>
        </p:txBody>
      </p:sp>
      <p:sp>
        <p:nvSpPr>
          <p:cNvPr id="176" name="Freihandform: Form 175">
            <a:extLst>
              <a:ext uri="{FF2B5EF4-FFF2-40B4-BE49-F238E27FC236}">
                <a16:creationId xmlns:a16="http://schemas.microsoft.com/office/drawing/2014/main" id="{5F6F18CA-B559-43C7-A028-9927FEF76A9E}"/>
              </a:ext>
            </a:extLst>
          </p:cNvPr>
          <p:cNvSpPr/>
          <p:nvPr/>
        </p:nvSpPr>
        <p:spPr>
          <a:xfrm>
            <a:off x="7335247" y="5586713"/>
            <a:ext cx="132838" cy="143325"/>
          </a:xfrm>
          <a:custGeom>
            <a:avLst/>
            <a:gdLst>
              <a:gd name="connsiteX0" fmla="*/ 60593 w 132838"/>
              <a:gd name="connsiteY0" fmla="*/ 143326 h 143325"/>
              <a:gd name="connsiteX1" fmla="*/ 0 w 132838"/>
              <a:gd name="connsiteY1" fmla="*/ 143326 h 143325"/>
              <a:gd name="connsiteX2" fmla="*/ 71080 w 132838"/>
              <a:gd name="connsiteY2" fmla="*/ 72246 h 143325"/>
              <a:gd name="connsiteX3" fmla="*/ 0 w 132838"/>
              <a:gd name="connsiteY3" fmla="*/ 0 h 143325"/>
              <a:gd name="connsiteX4" fmla="*/ 61758 w 132838"/>
              <a:gd name="connsiteY4" fmla="*/ 0 h 143325"/>
              <a:gd name="connsiteX5" fmla="*/ 132838 w 132838"/>
              <a:gd name="connsiteY5" fmla="*/ 71080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6"/>
                </a:moveTo>
                <a:lnTo>
                  <a:pt x="0" y="143326"/>
                </a:lnTo>
                <a:lnTo>
                  <a:pt x="71080" y="72246"/>
                </a:lnTo>
                <a:lnTo>
                  <a:pt x="0" y="0"/>
                </a:lnTo>
                <a:lnTo>
                  <a:pt x="61758" y="0"/>
                </a:lnTo>
                <a:lnTo>
                  <a:pt x="132838" y="71080"/>
                </a:lnTo>
                <a:close/>
              </a:path>
            </a:pathLst>
          </a:custGeom>
          <a:solidFill>
            <a:srgbClr val="EEF2F5"/>
          </a:solidFill>
          <a:ln w="11643" cap="flat">
            <a:noFill/>
            <a:prstDash val="solid"/>
            <a:miter/>
          </a:ln>
        </p:spPr>
        <p:txBody>
          <a:bodyPr rtlCol="0" anchor="ctr"/>
          <a:lstStyle/>
          <a:p>
            <a:endParaRPr lang="de-DE"/>
          </a:p>
        </p:txBody>
      </p:sp>
      <p:sp>
        <p:nvSpPr>
          <p:cNvPr id="193" name="Freihandform: Form 192">
            <a:extLst>
              <a:ext uri="{FF2B5EF4-FFF2-40B4-BE49-F238E27FC236}">
                <a16:creationId xmlns:a16="http://schemas.microsoft.com/office/drawing/2014/main" id="{CA0955FD-7B34-49C4-9B74-6CBFAD6AC0D2}"/>
              </a:ext>
            </a:extLst>
          </p:cNvPr>
          <p:cNvSpPr/>
          <p:nvPr/>
        </p:nvSpPr>
        <p:spPr>
          <a:xfrm>
            <a:off x="7335247" y="5942114"/>
            <a:ext cx="132838" cy="143325"/>
          </a:xfrm>
          <a:custGeom>
            <a:avLst/>
            <a:gdLst>
              <a:gd name="connsiteX0" fmla="*/ 60593 w 132838"/>
              <a:gd name="connsiteY0" fmla="*/ 143326 h 143325"/>
              <a:gd name="connsiteX1" fmla="*/ 0 w 132838"/>
              <a:gd name="connsiteY1" fmla="*/ 143326 h 143325"/>
              <a:gd name="connsiteX2" fmla="*/ 71080 w 132838"/>
              <a:gd name="connsiteY2" fmla="*/ 72246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6"/>
                </a:moveTo>
                <a:lnTo>
                  <a:pt x="0" y="143326"/>
                </a:lnTo>
                <a:lnTo>
                  <a:pt x="71080" y="72246"/>
                </a:lnTo>
                <a:lnTo>
                  <a:pt x="0" y="0"/>
                </a:lnTo>
                <a:lnTo>
                  <a:pt x="61758" y="0"/>
                </a:lnTo>
                <a:lnTo>
                  <a:pt x="132838" y="69915"/>
                </a:lnTo>
                <a:close/>
              </a:path>
            </a:pathLst>
          </a:custGeom>
          <a:solidFill>
            <a:srgbClr val="EEF2F5"/>
          </a:solidFill>
          <a:ln w="11643" cap="flat">
            <a:noFill/>
            <a:prstDash val="solid"/>
            <a:miter/>
          </a:ln>
        </p:spPr>
        <p:txBody>
          <a:bodyPr rtlCol="0" anchor="ctr"/>
          <a:lstStyle/>
          <a:p>
            <a:endParaRPr lang="de-DE"/>
          </a:p>
        </p:txBody>
      </p:sp>
      <p:sp>
        <p:nvSpPr>
          <p:cNvPr id="210" name="Freihandform: Form 209">
            <a:extLst>
              <a:ext uri="{FF2B5EF4-FFF2-40B4-BE49-F238E27FC236}">
                <a16:creationId xmlns:a16="http://schemas.microsoft.com/office/drawing/2014/main" id="{D68D90D4-26AA-4477-A0C9-8263189B58F9}"/>
              </a:ext>
            </a:extLst>
          </p:cNvPr>
          <p:cNvSpPr/>
          <p:nvPr/>
        </p:nvSpPr>
        <p:spPr>
          <a:xfrm>
            <a:off x="7335247" y="6296349"/>
            <a:ext cx="132838" cy="143325"/>
          </a:xfrm>
          <a:custGeom>
            <a:avLst/>
            <a:gdLst>
              <a:gd name="connsiteX0" fmla="*/ 60593 w 132838"/>
              <a:gd name="connsiteY0" fmla="*/ 143326 h 143325"/>
              <a:gd name="connsiteX1" fmla="*/ 0 w 132838"/>
              <a:gd name="connsiteY1" fmla="*/ 143326 h 143325"/>
              <a:gd name="connsiteX2" fmla="*/ 71080 w 132838"/>
              <a:gd name="connsiteY2" fmla="*/ 72246 h 143325"/>
              <a:gd name="connsiteX3" fmla="*/ 0 w 132838"/>
              <a:gd name="connsiteY3" fmla="*/ 0 h 143325"/>
              <a:gd name="connsiteX4" fmla="*/ 61758 w 132838"/>
              <a:gd name="connsiteY4" fmla="*/ 0 h 143325"/>
              <a:gd name="connsiteX5" fmla="*/ 132838 w 132838"/>
              <a:gd name="connsiteY5" fmla="*/ 71080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6"/>
                </a:moveTo>
                <a:lnTo>
                  <a:pt x="0" y="143326"/>
                </a:lnTo>
                <a:lnTo>
                  <a:pt x="71080" y="72246"/>
                </a:lnTo>
                <a:lnTo>
                  <a:pt x="0" y="0"/>
                </a:lnTo>
                <a:lnTo>
                  <a:pt x="61758" y="0"/>
                </a:lnTo>
                <a:lnTo>
                  <a:pt x="132838" y="71080"/>
                </a:lnTo>
                <a:close/>
              </a:path>
            </a:pathLst>
          </a:custGeom>
          <a:solidFill>
            <a:srgbClr val="EEF2F5"/>
          </a:solidFill>
          <a:ln w="11643" cap="flat">
            <a:noFill/>
            <a:prstDash val="solid"/>
            <a:miter/>
          </a:ln>
        </p:spPr>
        <p:txBody>
          <a:bodyPr rtlCol="0" anchor="ctr"/>
          <a:lstStyle/>
          <a:p>
            <a:endParaRPr lang="de-DE"/>
          </a:p>
        </p:txBody>
      </p:sp>
      <p:sp>
        <p:nvSpPr>
          <p:cNvPr id="226" name="Freihandform: Form 225">
            <a:extLst>
              <a:ext uri="{FF2B5EF4-FFF2-40B4-BE49-F238E27FC236}">
                <a16:creationId xmlns:a16="http://schemas.microsoft.com/office/drawing/2014/main" id="{97640BFA-E4AC-482E-B26E-9BE22B98A669}"/>
              </a:ext>
            </a:extLst>
          </p:cNvPr>
          <p:cNvSpPr/>
          <p:nvPr/>
        </p:nvSpPr>
        <p:spPr>
          <a:xfrm>
            <a:off x="7335247" y="6651749"/>
            <a:ext cx="132838" cy="143325"/>
          </a:xfrm>
          <a:custGeom>
            <a:avLst/>
            <a:gdLst>
              <a:gd name="connsiteX0" fmla="*/ 60593 w 132838"/>
              <a:gd name="connsiteY0" fmla="*/ 143326 h 143325"/>
              <a:gd name="connsiteX1" fmla="*/ 0 w 132838"/>
              <a:gd name="connsiteY1" fmla="*/ 143326 h 143325"/>
              <a:gd name="connsiteX2" fmla="*/ 71080 w 132838"/>
              <a:gd name="connsiteY2" fmla="*/ 72246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6"/>
                </a:moveTo>
                <a:lnTo>
                  <a:pt x="0" y="143326"/>
                </a:lnTo>
                <a:lnTo>
                  <a:pt x="71080" y="72246"/>
                </a:lnTo>
                <a:lnTo>
                  <a:pt x="0" y="0"/>
                </a:lnTo>
                <a:lnTo>
                  <a:pt x="61758" y="0"/>
                </a:lnTo>
                <a:lnTo>
                  <a:pt x="132838" y="69915"/>
                </a:lnTo>
                <a:close/>
              </a:path>
            </a:pathLst>
          </a:custGeom>
          <a:solidFill>
            <a:srgbClr val="EEF2F5"/>
          </a:solidFill>
          <a:ln w="11643" cap="flat">
            <a:noFill/>
            <a:prstDash val="solid"/>
            <a:miter/>
          </a:ln>
        </p:spPr>
        <p:txBody>
          <a:bodyPr rtlCol="0" anchor="ctr"/>
          <a:lstStyle/>
          <a:p>
            <a:endParaRPr lang="de-DE"/>
          </a:p>
        </p:txBody>
      </p:sp>
      <p:sp>
        <p:nvSpPr>
          <p:cNvPr id="15" name="Freihandform: Form 14">
            <a:extLst>
              <a:ext uri="{FF2B5EF4-FFF2-40B4-BE49-F238E27FC236}">
                <a16:creationId xmlns:a16="http://schemas.microsoft.com/office/drawing/2014/main" id="{F336D4C3-F14F-4477-B07F-E766912B6926}"/>
              </a:ext>
            </a:extLst>
          </p:cNvPr>
          <p:cNvSpPr/>
          <p:nvPr/>
        </p:nvSpPr>
        <p:spPr>
          <a:xfrm>
            <a:off x="7682491" y="2029211"/>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30" name="Freihandform: Form 29">
            <a:extLst>
              <a:ext uri="{FF2B5EF4-FFF2-40B4-BE49-F238E27FC236}">
                <a16:creationId xmlns:a16="http://schemas.microsoft.com/office/drawing/2014/main" id="{34D4DA1D-8EE2-4188-AE9C-9791ECBC66C5}"/>
              </a:ext>
            </a:extLst>
          </p:cNvPr>
          <p:cNvSpPr/>
          <p:nvPr/>
        </p:nvSpPr>
        <p:spPr>
          <a:xfrm>
            <a:off x="7682491" y="2384612"/>
            <a:ext cx="147986" cy="160804"/>
          </a:xfrm>
          <a:custGeom>
            <a:avLst/>
            <a:gdLst>
              <a:gd name="connsiteX0" fmla="*/ 67584 w 147986"/>
              <a:gd name="connsiteY0" fmla="*/ 160804 h 160804"/>
              <a:gd name="connsiteX1" fmla="*/ 0 w 147986"/>
              <a:gd name="connsiteY1" fmla="*/ 160804 h 160804"/>
              <a:gd name="connsiteX2" fmla="*/ 79237 w 147986"/>
              <a:gd name="connsiteY2" fmla="*/ 80402 h 160804"/>
              <a:gd name="connsiteX3" fmla="*/ 0 w 147986"/>
              <a:gd name="connsiteY3" fmla="*/ 0 h 160804"/>
              <a:gd name="connsiteX4" fmla="*/ 68750 w 147986"/>
              <a:gd name="connsiteY4" fmla="*/ 0 h 160804"/>
              <a:gd name="connsiteX5" fmla="*/ 147986 w 147986"/>
              <a:gd name="connsiteY5" fmla="*/ 79237 h 160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0804">
                <a:moveTo>
                  <a:pt x="67584" y="160804"/>
                </a:moveTo>
                <a:lnTo>
                  <a:pt x="0" y="160804"/>
                </a:lnTo>
                <a:lnTo>
                  <a:pt x="79237" y="80402"/>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46" name="Freihandform: Form 45">
            <a:extLst>
              <a:ext uri="{FF2B5EF4-FFF2-40B4-BE49-F238E27FC236}">
                <a16:creationId xmlns:a16="http://schemas.microsoft.com/office/drawing/2014/main" id="{ADAD204A-493D-4101-A53B-41343EE7F6DE}"/>
              </a:ext>
            </a:extLst>
          </p:cNvPr>
          <p:cNvSpPr/>
          <p:nvPr/>
        </p:nvSpPr>
        <p:spPr>
          <a:xfrm>
            <a:off x="7682491" y="2738847"/>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62" name="Freihandform: Form 61">
            <a:extLst>
              <a:ext uri="{FF2B5EF4-FFF2-40B4-BE49-F238E27FC236}">
                <a16:creationId xmlns:a16="http://schemas.microsoft.com/office/drawing/2014/main" id="{0605F07B-22A0-4571-A9A8-F5DA3A1756E5}"/>
              </a:ext>
            </a:extLst>
          </p:cNvPr>
          <p:cNvSpPr/>
          <p:nvPr/>
        </p:nvSpPr>
        <p:spPr>
          <a:xfrm>
            <a:off x="7682491" y="3094248"/>
            <a:ext cx="147986" cy="160804"/>
          </a:xfrm>
          <a:custGeom>
            <a:avLst/>
            <a:gdLst>
              <a:gd name="connsiteX0" fmla="*/ 67584 w 147986"/>
              <a:gd name="connsiteY0" fmla="*/ 160804 h 160804"/>
              <a:gd name="connsiteX1" fmla="*/ 0 w 147986"/>
              <a:gd name="connsiteY1" fmla="*/ 160804 h 160804"/>
              <a:gd name="connsiteX2" fmla="*/ 79237 w 147986"/>
              <a:gd name="connsiteY2" fmla="*/ 81567 h 160804"/>
              <a:gd name="connsiteX3" fmla="*/ 0 w 147986"/>
              <a:gd name="connsiteY3" fmla="*/ 0 h 160804"/>
              <a:gd name="connsiteX4" fmla="*/ 68750 w 147986"/>
              <a:gd name="connsiteY4" fmla="*/ 0 h 160804"/>
              <a:gd name="connsiteX5" fmla="*/ 147986 w 147986"/>
              <a:gd name="connsiteY5" fmla="*/ 79237 h 160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0804">
                <a:moveTo>
                  <a:pt x="67584" y="160804"/>
                </a:moveTo>
                <a:lnTo>
                  <a:pt x="0" y="160804"/>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78" name="Freihandform: Form 77">
            <a:extLst>
              <a:ext uri="{FF2B5EF4-FFF2-40B4-BE49-F238E27FC236}">
                <a16:creationId xmlns:a16="http://schemas.microsoft.com/office/drawing/2014/main" id="{3EC20671-A11E-46B3-BAE0-32B973030757}"/>
              </a:ext>
            </a:extLst>
          </p:cNvPr>
          <p:cNvSpPr/>
          <p:nvPr/>
        </p:nvSpPr>
        <p:spPr>
          <a:xfrm>
            <a:off x="7682491" y="3448483"/>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94" name="Freihandform: Form 93">
            <a:extLst>
              <a:ext uri="{FF2B5EF4-FFF2-40B4-BE49-F238E27FC236}">
                <a16:creationId xmlns:a16="http://schemas.microsoft.com/office/drawing/2014/main" id="{A30F4723-63CF-4B8C-9113-E2531A8EBC72}"/>
              </a:ext>
            </a:extLst>
          </p:cNvPr>
          <p:cNvSpPr/>
          <p:nvPr/>
        </p:nvSpPr>
        <p:spPr>
          <a:xfrm>
            <a:off x="7682491" y="3803883"/>
            <a:ext cx="147986" cy="160804"/>
          </a:xfrm>
          <a:custGeom>
            <a:avLst/>
            <a:gdLst>
              <a:gd name="connsiteX0" fmla="*/ 67584 w 147986"/>
              <a:gd name="connsiteY0" fmla="*/ 160804 h 160804"/>
              <a:gd name="connsiteX1" fmla="*/ 0 w 147986"/>
              <a:gd name="connsiteY1" fmla="*/ 160804 h 160804"/>
              <a:gd name="connsiteX2" fmla="*/ 79237 w 147986"/>
              <a:gd name="connsiteY2" fmla="*/ 81567 h 160804"/>
              <a:gd name="connsiteX3" fmla="*/ 0 w 147986"/>
              <a:gd name="connsiteY3" fmla="*/ 0 h 160804"/>
              <a:gd name="connsiteX4" fmla="*/ 68750 w 147986"/>
              <a:gd name="connsiteY4" fmla="*/ 0 h 160804"/>
              <a:gd name="connsiteX5" fmla="*/ 147986 w 147986"/>
              <a:gd name="connsiteY5" fmla="*/ 79237 h 160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0804">
                <a:moveTo>
                  <a:pt x="67584" y="160804"/>
                </a:moveTo>
                <a:lnTo>
                  <a:pt x="0" y="160804"/>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110" name="Freihandform: Form 109">
            <a:extLst>
              <a:ext uri="{FF2B5EF4-FFF2-40B4-BE49-F238E27FC236}">
                <a16:creationId xmlns:a16="http://schemas.microsoft.com/office/drawing/2014/main" id="{0B073543-0431-463D-BD2B-670537378FD9}"/>
              </a:ext>
            </a:extLst>
          </p:cNvPr>
          <p:cNvSpPr/>
          <p:nvPr/>
        </p:nvSpPr>
        <p:spPr>
          <a:xfrm>
            <a:off x="7682491" y="4158119"/>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126" name="Freihandform: Form 125">
            <a:extLst>
              <a:ext uri="{FF2B5EF4-FFF2-40B4-BE49-F238E27FC236}">
                <a16:creationId xmlns:a16="http://schemas.microsoft.com/office/drawing/2014/main" id="{D645C434-6F6D-4B2F-9987-6BA4C184BDAD}"/>
              </a:ext>
            </a:extLst>
          </p:cNvPr>
          <p:cNvSpPr/>
          <p:nvPr/>
        </p:nvSpPr>
        <p:spPr>
          <a:xfrm>
            <a:off x="7682491" y="4513520"/>
            <a:ext cx="147986" cy="160804"/>
          </a:xfrm>
          <a:custGeom>
            <a:avLst/>
            <a:gdLst>
              <a:gd name="connsiteX0" fmla="*/ 67584 w 147986"/>
              <a:gd name="connsiteY0" fmla="*/ 160804 h 160804"/>
              <a:gd name="connsiteX1" fmla="*/ 0 w 147986"/>
              <a:gd name="connsiteY1" fmla="*/ 160804 h 160804"/>
              <a:gd name="connsiteX2" fmla="*/ 79237 w 147986"/>
              <a:gd name="connsiteY2" fmla="*/ 81567 h 160804"/>
              <a:gd name="connsiteX3" fmla="*/ 0 w 147986"/>
              <a:gd name="connsiteY3" fmla="*/ 0 h 160804"/>
              <a:gd name="connsiteX4" fmla="*/ 68750 w 147986"/>
              <a:gd name="connsiteY4" fmla="*/ 0 h 160804"/>
              <a:gd name="connsiteX5" fmla="*/ 147986 w 147986"/>
              <a:gd name="connsiteY5" fmla="*/ 79237 h 160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0804">
                <a:moveTo>
                  <a:pt x="67584" y="160804"/>
                </a:moveTo>
                <a:lnTo>
                  <a:pt x="0" y="160804"/>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143" name="Freihandform: Form 142">
            <a:extLst>
              <a:ext uri="{FF2B5EF4-FFF2-40B4-BE49-F238E27FC236}">
                <a16:creationId xmlns:a16="http://schemas.microsoft.com/office/drawing/2014/main" id="{78C199F1-38D6-4003-B23F-FB1D901A96D0}"/>
              </a:ext>
            </a:extLst>
          </p:cNvPr>
          <p:cNvSpPr/>
          <p:nvPr/>
        </p:nvSpPr>
        <p:spPr>
          <a:xfrm>
            <a:off x="7682491" y="4867755"/>
            <a:ext cx="147986" cy="161969"/>
          </a:xfrm>
          <a:custGeom>
            <a:avLst/>
            <a:gdLst>
              <a:gd name="connsiteX0" fmla="*/ 67584 w 147986"/>
              <a:gd name="connsiteY0" fmla="*/ 161970 h 161969"/>
              <a:gd name="connsiteX1" fmla="*/ 0 w 147986"/>
              <a:gd name="connsiteY1" fmla="*/ 161970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70"/>
                </a:moveTo>
                <a:lnTo>
                  <a:pt x="0" y="161970"/>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160" name="Freihandform: Form 159">
            <a:extLst>
              <a:ext uri="{FF2B5EF4-FFF2-40B4-BE49-F238E27FC236}">
                <a16:creationId xmlns:a16="http://schemas.microsoft.com/office/drawing/2014/main" id="{88794CE9-C4AD-447D-ADEB-D45D8252050B}"/>
              </a:ext>
            </a:extLst>
          </p:cNvPr>
          <p:cNvSpPr/>
          <p:nvPr/>
        </p:nvSpPr>
        <p:spPr>
          <a:xfrm>
            <a:off x="7682491" y="5223156"/>
            <a:ext cx="147986" cy="160804"/>
          </a:xfrm>
          <a:custGeom>
            <a:avLst/>
            <a:gdLst>
              <a:gd name="connsiteX0" fmla="*/ 67584 w 147986"/>
              <a:gd name="connsiteY0" fmla="*/ 160804 h 160804"/>
              <a:gd name="connsiteX1" fmla="*/ 0 w 147986"/>
              <a:gd name="connsiteY1" fmla="*/ 160804 h 160804"/>
              <a:gd name="connsiteX2" fmla="*/ 79237 w 147986"/>
              <a:gd name="connsiteY2" fmla="*/ 81567 h 160804"/>
              <a:gd name="connsiteX3" fmla="*/ 0 w 147986"/>
              <a:gd name="connsiteY3" fmla="*/ 0 h 160804"/>
              <a:gd name="connsiteX4" fmla="*/ 68750 w 147986"/>
              <a:gd name="connsiteY4" fmla="*/ 0 h 160804"/>
              <a:gd name="connsiteX5" fmla="*/ 147986 w 147986"/>
              <a:gd name="connsiteY5" fmla="*/ 79237 h 160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0804">
                <a:moveTo>
                  <a:pt x="67584" y="160804"/>
                </a:moveTo>
                <a:lnTo>
                  <a:pt x="0" y="160804"/>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177" name="Freihandform: Form 176">
            <a:extLst>
              <a:ext uri="{FF2B5EF4-FFF2-40B4-BE49-F238E27FC236}">
                <a16:creationId xmlns:a16="http://schemas.microsoft.com/office/drawing/2014/main" id="{FB39A232-82A2-4ED2-B532-B8247CC2812D}"/>
              </a:ext>
            </a:extLst>
          </p:cNvPr>
          <p:cNvSpPr/>
          <p:nvPr/>
        </p:nvSpPr>
        <p:spPr>
          <a:xfrm>
            <a:off x="7682491" y="5577391"/>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194" name="Freihandform: Form 193">
            <a:extLst>
              <a:ext uri="{FF2B5EF4-FFF2-40B4-BE49-F238E27FC236}">
                <a16:creationId xmlns:a16="http://schemas.microsoft.com/office/drawing/2014/main" id="{B5F8FABB-7522-42DB-BB0F-06A4420A79B1}"/>
              </a:ext>
            </a:extLst>
          </p:cNvPr>
          <p:cNvSpPr/>
          <p:nvPr/>
        </p:nvSpPr>
        <p:spPr>
          <a:xfrm>
            <a:off x="7682491" y="5932792"/>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211" name="Freihandform: Form 210">
            <a:extLst>
              <a:ext uri="{FF2B5EF4-FFF2-40B4-BE49-F238E27FC236}">
                <a16:creationId xmlns:a16="http://schemas.microsoft.com/office/drawing/2014/main" id="{D1F73513-4E28-4A8A-BEBF-47911EDB513A}"/>
              </a:ext>
            </a:extLst>
          </p:cNvPr>
          <p:cNvSpPr/>
          <p:nvPr/>
        </p:nvSpPr>
        <p:spPr>
          <a:xfrm>
            <a:off x="7682491" y="6287027"/>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80402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80402"/>
                </a:lnTo>
                <a:close/>
              </a:path>
            </a:pathLst>
          </a:custGeom>
          <a:solidFill>
            <a:srgbClr val="EEF2F5"/>
          </a:solidFill>
          <a:ln w="11643" cap="flat">
            <a:noFill/>
            <a:prstDash val="solid"/>
            <a:miter/>
          </a:ln>
        </p:spPr>
        <p:txBody>
          <a:bodyPr rtlCol="0" anchor="ctr"/>
          <a:lstStyle/>
          <a:p>
            <a:endParaRPr lang="de-DE"/>
          </a:p>
        </p:txBody>
      </p:sp>
      <p:sp>
        <p:nvSpPr>
          <p:cNvPr id="227" name="Freihandform: Form 226">
            <a:extLst>
              <a:ext uri="{FF2B5EF4-FFF2-40B4-BE49-F238E27FC236}">
                <a16:creationId xmlns:a16="http://schemas.microsoft.com/office/drawing/2014/main" id="{4D6DE079-31CD-44BD-8304-6E69A15E3218}"/>
              </a:ext>
            </a:extLst>
          </p:cNvPr>
          <p:cNvSpPr/>
          <p:nvPr/>
        </p:nvSpPr>
        <p:spPr>
          <a:xfrm>
            <a:off x="7682491" y="6642428"/>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16" name="Freihandform: Form 15">
            <a:extLst>
              <a:ext uri="{FF2B5EF4-FFF2-40B4-BE49-F238E27FC236}">
                <a16:creationId xmlns:a16="http://schemas.microsoft.com/office/drawing/2014/main" id="{AA2702D7-FFC1-412B-9F48-632A7CE520AC}"/>
              </a:ext>
            </a:extLst>
          </p:cNvPr>
          <p:cNvSpPr/>
          <p:nvPr/>
        </p:nvSpPr>
        <p:spPr>
          <a:xfrm>
            <a:off x="8028570" y="2019889"/>
            <a:ext cx="165465" cy="179448"/>
          </a:xfrm>
          <a:custGeom>
            <a:avLst/>
            <a:gdLst>
              <a:gd name="connsiteX0" fmla="*/ 75741 w 165465"/>
              <a:gd name="connsiteY0" fmla="*/ 179448 h 179448"/>
              <a:gd name="connsiteX1" fmla="*/ 0 w 165465"/>
              <a:gd name="connsiteY1" fmla="*/ 179448 h 179448"/>
              <a:gd name="connsiteX2" fmla="*/ 88559 w 165465"/>
              <a:gd name="connsiteY2" fmla="*/ 90889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31" name="Freihandform: Form 30">
            <a:extLst>
              <a:ext uri="{FF2B5EF4-FFF2-40B4-BE49-F238E27FC236}">
                <a16:creationId xmlns:a16="http://schemas.microsoft.com/office/drawing/2014/main" id="{648C99A7-3678-4CC0-AF16-855FE8DF6A83}"/>
              </a:ext>
            </a:extLst>
          </p:cNvPr>
          <p:cNvSpPr/>
          <p:nvPr/>
        </p:nvSpPr>
        <p:spPr>
          <a:xfrm>
            <a:off x="8028570" y="2375290"/>
            <a:ext cx="165465" cy="179448"/>
          </a:xfrm>
          <a:custGeom>
            <a:avLst/>
            <a:gdLst>
              <a:gd name="connsiteX0" fmla="*/ 75741 w 165465"/>
              <a:gd name="connsiteY0" fmla="*/ 179448 h 179448"/>
              <a:gd name="connsiteX1" fmla="*/ 0 w 165465"/>
              <a:gd name="connsiteY1" fmla="*/ 179448 h 179448"/>
              <a:gd name="connsiteX2" fmla="*/ 88559 w 165465"/>
              <a:gd name="connsiteY2" fmla="*/ 90889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47" name="Freihandform: Form 46">
            <a:extLst>
              <a:ext uri="{FF2B5EF4-FFF2-40B4-BE49-F238E27FC236}">
                <a16:creationId xmlns:a16="http://schemas.microsoft.com/office/drawing/2014/main" id="{0E3F6CC1-3FE3-4CB0-8193-8A547CA4FB4E}"/>
              </a:ext>
            </a:extLst>
          </p:cNvPr>
          <p:cNvSpPr/>
          <p:nvPr/>
        </p:nvSpPr>
        <p:spPr>
          <a:xfrm>
            <a:off x="8028570" y="2729525"/>
            <a:ext cx="165465" cy="179448"/>
          </a:xfrm>
          <a:custGeom>
            <a:avLst/>
            <a:gdLst>
              <a:gd name="connsiteX0" fmla="*/ 75741 w 165465"/>
              <a:gd name="connsiteY0" fmla="*/ 179448 h 179448"/>
              <a:gd name="connsiteX1" fmla="*/ 0 w 165465"/>
              <a:gd name="connsiteY1" fmla="*/ 179448 h 179448"/>
              <a:gd name="connsiteX2" fmla="*/ 88559 w 165465"/>
              <a:gd name="connsiteY2" fmla="*/ 90889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63" name="Freihandform: Form 62">
            <a:extLst>
              <a:ext uri="{FF2B5EF4-FFF2-40B4-BE49-F238E27FC236}">
                <a16:creationId xmlns:a16="http://schemas.microsoft.com/office/drawing/2014/main" id="{49D6FD09-D76C-4E44-8667-31EAE0B38FB7}"/>
              </a:ext>
            </a:extLst>
          </p:cNvPr>
          <p:cNvSpPr/>
          <p:nvPr/>
        </p:nvSpPr>
        <p:spPr>
          <a:xfrm>
            <a:off x="8028570" y="3084926"/>
            <a:ext cx="165465" cy="179448"/>
          </a:xfrm>
          <a:custGeom>
            <a:avLst/>
            <a:gdLst>
              <a:gd name="connsiteX0" fmla="*/ 75741 w 165465"/>
              <a:gd name="connsiteY0" fmla="*/ 179448 h 179448"/>
              <a:gd name="connsiteX1" fmla="*/ 0 w 165465"/>
              <a:gd name="connsiteY1" fmla="*/ 179448 h 179448"/>
              <a:gd name="connsiteX2" fmla="*/ 88559 w 165465"/>
              <a:gd name="connsiteY2" fmla="*/ 90889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79" name="Freihandform: Form 78">
            <a:extLst>
              <a:ext uri="{FF2B5EF4-FFF2-40B4-BE49-F238E27FC236}">
                <a16:creationId xmlns:a16="http://schemas.microsoft.com/office/drawing/2014/main" id="{92A2F530-7C00-4840-A5DC-15FB5F070BFC}"/>
              </a:ext>
            </a:extLst>
          </p:cNvPr>
          <p:cNvSpPr/>
          <p:nvPr/>
        </p:nvSpPr>
        <p:spPr>
          <a:xfrm>
            <a:off x="8028570" y="3439161"/>
            <a:ext cx="165465" cy="180613"/>
          </a:xfrm>
          <a:custGeom>
            <a:avLst/>
            <a:gdLst>
              <a:gd name="connsiteX0" fmla="*/ 75741 w 165465"/>
              <a:gd name="connsiteY0" fmla="*/ 180614 h 180613"/>
              <a:gd name="connsiteX1" fmla="*/ 0 w 165465"/>
              <a:gd name="connsiteY1" fmla="*/ 180614 h 180613"/>
              <a:gd name="connsiteX2" fmla="*/ 88559 w 165465"/>
              <a:gd name="connsiteY2" fmla="*/ 90889 h 180613"/>
              <a:gd name="connsiteX3" fmla="*/ 0 w 165465"/>
              <a:gd name="connsiteY3" fmla="*/ 0 h 180613"/>
              <a:gd name="connsiteX4" fmla="*/ 76906 w 165465"/>
              <a:gd name="connsiteY4" fmla="*/ 0 h 180613"/>
              <a:gd name="connsiteX5" fmla="*/ 165465 w 165465"/>
              <a:gd name="connsiteY5" fmla="*/ 88559 h 180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80613">
                <a:moveTo>
                  <a:pt x="75741" y="180614"/>
                </a:moveTo>
                <a:lnTo>
                  <a:pt x="0" y="180614"/>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95" name="Freihandform: Form 94">
            <a:extLst>
              <a:ext uri="{FF2B5EF4-FFF2-40B4-BE49-F238E27FC236}">
                <a16:creationId xmlns:a16="http://schemas.microsoft.com/office/drawing/2014/main" id="{6D26EBCB-8FC5-402E-8D7D-BBB49F3CFCC5}"/>
              </a:ext>
            </a:extLst>
          </p:cNvPr>
          <p:cNvSpPr/>
          <p:nvPr/>
        </p:nvSpPr>
        <p:spPr>
          <a:xfrm>
            <a:off x="8028570" y="3794562"/>
            <a:ext cx="165465" cy="179448"/>
          </a:xfrm>
          <a:custGeom>
            <a:avLst/>
            <a:gdLst>
              <a:gd name="connsiteX0" fmla="*/ 75741 w 165465"/>
              <a:gd name="connsiteY0" fmla="*/ 179448 h 179448"/>
              <a:gd name="connsiteX1" fmla="*/ 0 w 165465"/>
              <a:gd name="connsiteY1" fmla="*/ 179448 h 179448"/>
              <a:gd name="connsiteX2" fmla="*/ 88559 w 165465"/>
              <a:gd name="connsiteY2" fmla="*/ 90889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111" name="Freihandform: Form 110">
            <a:extLst>
              <a:ext uri="{FF2B5EF4-FFF2-40B4-BE49-F238E27FC236}">
                <a16:creationId xmlns:a16="http://schemas.microsoft.com/office/drawing/2014/main" id="{CCAAEEA3-A150-4712-ACA6-4E1DDCA0F471}"/>
              </a:ext>
            </a:extLst>
          </p:cNvPr>
          <p:cNvSpPr/>
          <p:nvPr/>
        </p:nvSpPr>
        <p:spPr>
          <a:xfrm>
            <a:off x="8028570" y="4148797"/>
            <a:ext cx="165465" cy="180613"/>
          </a:xfrm>
          <a:custGeom>
            <a:avLst/>
            <a:gdLst>
              <a:gd name="connsiteX0" fmla="*/ 75741 w 165465"/>
              <a:gd name="connsiteY0" fmla="*/ 180613 h 180613"/>
              <a:gd name="connsiteX1" fmla="*/ 0 w 165465"/>
              <a:gd name="connsiteY1" fmla="*/ 180613 h 180613"/>
              <a:gd name="connsiteX2" fmla="*/ 88559 w 165465"/>
              <a:gd name="connsiteY2" fmla="*/ 90889 h 180613"/>
              <a:gd name="connsiteX3" fmla="*/ 0 w 165465"/>
              <a:gd name="connsiteY3" fmla="*/ 0 h 180613"/>
              <a:gd name="connsiteX4" fmla="*/ 76906 w 165465"/>
              <a:gd name="connsiteY4" fmla="*/ 0 h 180613"/>
              <a:gd name="connsiteX5" fmla="*/ 165465 w 165465"/>
              <a:gd name="connsiteY5" fmla="*/ 88559 h 180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80613">
                <a:moveTo>
                  <a:pt x="75741" y="180613"/>
                </a:moveTo>
                <a:lnTo>
                  <a:pt x="0" y="180613"/>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127" name="Freihandform: Form 126">
            <a:extLst>
              <a:ext uri="{FF2B5EF4-FFF2-40B4-BE49-F238E27FC236}">
                <a16:creationId xmlns:a16="http://schemas.microsoft.com/office/drawing/2014/main" id="{4836B90C-7140-46A6-8E06-F6F443FAF626}"/>
              </a:ext>
            </a:extLst>
          </p:cNvPr>
          <p:cNvSpPr/>
          <p:nvPr/>
        </p:nvSpPr>
        <p:spPr>
          <a:xfrm>
            <a:off x="8028570" y="4504198"/>
            <a:ext cx="165465" cy="179448"/>
          </a:xfrm>
          <a:custGeom>
            <a:avLst/>
            <a:gdLst>
              <a:gd name="connsiteX0" fmla="*/ 75741 w 165465"/>
              <a:gd name="connsiteY0" fmla="*/ 179448 h 179448"/>
              <a:gd name="connsiteX1" fmla="*/ 0 w 165465"/>
              <a:gd name="connsiteY1" fmla="*/ 179448 h 179448"/>
              <a:gd name="connsiteX2" fmla="*/ 88559 w 165465"/>
              <a:gd name="connsiteY2" fmla="*/ 90889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144" name="Freihandform: Form 143">
            <a:extLst>
              <a:ext uri="{FF2B5EF4-FFF2-40B4-BE49-F238E27FC236}">
                <a16:creationId xmlns:a16="http://schemas.microsoft.com/office/drawing/2014/main" id="{3BBFE07D-6FDD-4238-9402-B3F281DCA33E}"/>
              </a:ext>
            </a:extLst>
          </p:cNvPr>
          <p:cNvSpPr/>
          <p:nvPr/>
        </p:nvSpPr>
        <p:spPr>
          <a:xfrm>
            <a:off x="8028570" y="4859598"/>
            <a:ext cx="165465" cy="179448"/>
          </a:xfrm>
          <a:custGeom>
            <a:avLst/>
            <a:gdLst>
              <a:gd name="connsiteX0" fmla="*/ 75741 w 165465"/>
              <a:gd name="connsiteY0" fmla="*/ 179448 h 179448"/>
              <a:gd name="connsiteX1" fmla="*/ 0 w 165465"/>
              <a:gd name="connsiteY1" fmla="*/ 179448 h 179448"/>
              <a:gd name="connsiteX2" fmla="*/ 88559 w 165465"/>
              <a:gd name="connsiteY2" fmla="*/ 89724 h 179448"/>
              <a:gd name="connsiteX3" fmla="*/ 0 w 165465"/>
              <a:gd name="connsiteY3" fmla="*/ 0 h 179448"/>
              <a:gd name="connsiteX4" fmla="*/ 76906 w 165465"/>
              <a:gd name="connsiteY4" fmla="*/ 0 h 179448"/>
              <a:gd name="connsiteX5" fmla="*/ 165465 w 165465"/>
              <a:gd name="connsiteY5" fmla="*/ 87394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89724"/>
                </a:lnTo>
                <a:lnTo>
                  <a:pt x="0" y="0"/>
                </a:lnTo>
                <a:lnTo>
                  <a:pt x="76906" y="0"/>
                </a:lnTo>
                <a:lnTo>
                  <a:pt x="165465" y="87394"/>
                </a:lnTo>
                <a:close/>
              </a:path>
            </a:pathLst>
          </a:custGeom>
          <a:solidFill>
            <a:srgbClr val="EEF2F5"/>
          </a:solidFill>
          <a:ln w="11643" cap="flat">
            <a:noFill/>
            <a:prstDash val="solid"/>
            <a:miter/>
          </a:ln>
        </p:spPr>
        <p:txBody>
          <a:bodyPr rtlCol="0" anchor="ctr"/>
          <a:lstStyle/>
          <a:p>
            <a:endParaRPr lang="de-DE"/>
          </a:p>
        </p:txBody>
      </p:sp>
      <p:sp>
        <p:nvSpPr>
          <p:cNvPr id="161" name="Freihandform: Form 160">
            <a:extLst>
              <a:ext uri="{FF2B5EF4-FFF2-40B4-BE49-F238E27FC236}">
                <a16:creationId xmlns:a16="http://schemas.microsoft.com/office/drawing/2014/main" id="{9F4D763A-5B43-4FAB-9B68-52F7F446418E}"/>
              </a:ext>
            </a:extLst>
          </p:cNvPr>
          <p:cNvSpPr/>
          <p:nvPr/>
        </p:nvSpPr>
        <p:spPr>
          <a:xfrm>
            <a:off x="8028570" y="5213834"/>
            <a:ext cx="165465" cy="179448"/>
          </a:xfrm>
          <a:custGeom>
            <a:avLst/>
            <a:gdLst>
              <a:gd name="connsiteX0" fmla="*/ 75741 w 165465"/>
              <a:gd name="connsiteY0" fmla="*/ 179448 h 179448"/>
              <a:gd name="connsiteX1" fmla="*/ 0 w 165465"/>
              <a:gd name="connsiteY1" fmla="*/ 179448 h 179448"/>
              <a:gd name="connsiteX2" fmla="*/ 88559 w 165465"/>
              <a:gd name="connsiteY2" fmla="*/ 90890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90"/>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178" name="Freihandform: Form 177">
            <a:extLst>
              <a:ext uri="{FF2B5EF4-FFF2-40B4-BE49-F238E27FC236}">
                <a16:creationId xmlns:a16="http://schemas.microsoft.com/office/drawing/2014/main" id="{41FB849E-381E-41F8-9504-EDE13E3D8055}"/>
              </a:ext>
            </a:extLst>
          </p:cNvPr>
          <p:cNvSpPr/>
          <p:nvPr/>
        </p:nvSpPr>
        <p:spPr>
          <a:xfrm>
            <a:off x="8028570" y="5569234"/>
            <a:ext cx="165465" cy="179448"/>
          </a:xfrm>
          <a:custGeom>
            <a:avLst/>
            <a:gdLst>
              <a:gd name="connsiteX0" fmla="*/ 75741 w 165465"/>
              <a:gd name="connsiteY0" fmla="*/ 179448 h 179448"/>
              <a:gd name="connsiteX1" fmla="*/ 0 w 165465"/>
              <a:gd name="connsiteY1" fmla="*/ 179448 h 179448"/>
              <a:gd name="connsiteX2" fmla="*/ 88559 w 165465"/>
              <a:gd name="connsiteY2" fmla="*/ 89724 h 179448"/>
              <a:gd name="connsiteX3" fmla="*/ 0 w 165465"/>
              <a:gd name="connsiteY3" fmla="*/ 0 h 179448"/>
              <a:gd name="connsiteX4" fmla="*/ 76906 w 165465"/>
              <a:gd name="connsiteY4" fmla="*/ 0 h 179448"/>
              <a:gd name="connsiteX5" fmla="*/ 165465 w 165465"/>
              <a:gd name="connsiteY5" fmla="*/ 87394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89724"/>
                </a:lnTo>
                <a:lnTo>
                  <a:pt x="0" y="0"/>
                </a:lnTo>
                <a:lnTo>
                  <a:pt x="76906" y="0"/>
                </a:lnTo>
                <a:lnTo>
                  <a:pt x="165465" y="87394"/>
                </a:lnTo>
                <a:close/>
              </a:path>
            </a:pathLst>
          </a:custGeom>
          <a:solidFill>
            <a:srgbClr val="EEF2F5"/>
          </a:solidFill>
          <a:ln w="11643" cap="flat">
            <a:noFill/>
            <a:prstDash val="solid"/>
            <a:miter/>
          </a:ln>
        </p:spPr>
        <p:txBody>
          <a:bodyPr rtlCol="0" anchor="ctr"/>
          <a:lstStyle/>
          <a:p>
            <a:endParaRPr lang="de-DE"/>
          </a:p>
        </p:txBody>
      </p:sp>
      <p:sp>
        <p:nvSpPr>
          <p:cNvPr id="195" name="Freihandform: Form 194">
            <a:extLst>
              <a:ext uri="{FF2B5EF4-FFF2-40B4-BE49-F238E27FC236}">
                <a16:creationId xmlns:a16="http://schemas.microsoft.com/office/drawing/2014/main" id="{5427778E-AAB9-42E1-BC64-75764828EDB0}"/>
              </a:ext>
            </a:extLst>
          </p:cNvPr>
          <p:cNvSpPr/>
          <p:nvPr/>
        </p:nvSpPr>
        <p:spPr>
          <a:xfrm>
            <a:off x="8028570" y="5923469"/>
            <a:ext cx="165465" cy="179448"/>
          </a:xfrm>
          <a:custGeom>
            <a:avLst/>
            <a:gdLst>
              <a:gd name="connsiteX0" fmla="*/ 75741 w 165465"/>
              <a:gd name="connsiteY0" fmla="*/ 179448 h 179448"/>
              <a:gd name="connsiteX1" fmla="*/ 0 w 165465"/>
              <a:gd name="connsiteY1" fmla="*/ 179448 h 179448"/>
              <a:gd name="connsiteX2" fmla="*/ 88559 w 165465"/>
              <a:gd name="connsiteY2" fmla="*/ 90890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90"/>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212" name="Freihandform: Form 211">
            <a:extLst>
              <a:ext uri="{FF2B5EF4-FFF2-40B4-BE49-F238E27FC236}">
                <a16:creationId xmlns:a16="http://schemas.microsoft.com/office/drawing/2014/main" id="{E72C56CD-8028-4274-A62F-5994CAF54FEF}"/>
              </a:ext>
            </a:extLst>
          </p:cNvPr>
          <p:cNvSpPr/>
          <p:nvPr/>
        </p:nvSpPr>
        <p:spPr>
          <a:xfrm>
            <a:off x="8028570" y="6278870"/>
            <a:ext cx="165465" cy="179448"/>
          </a:xfrm>
          <a:custGeom>
            <a:avLst/>
            <a:gdLst>
              <a:gd name="connsiteX0" fmla="*/ 75741 w 165465"/>
              <a:gd name="connsiteY0" fmla="*/ 179448 h 179448"/>
              <a:gd name="connsiteX1" fmla="*/ 0 w 165465"/>
              <a:gd name="connsiteY1" fmla="*/ 179448 h 179448"/>
              <a:gd name="connsiteX2" fmla="*/ 88559 w 165465"/>
              <a:gd name="connsiteY2" fmla="*/ 89724 h 179448"/>
              <a:gd name="connsiteX3" fmla="*/ 0 w 165465"/>
              <a:gd name="connsiteY3" fmla="*/ 0 h 179448"/>
              <a:gd name="connsiteX4" fmla="*/ 76906 w 165465"/>
              <a:gd name="connsiteY4" fmla="*/ 0 h 179448"/>
              <a:gd name="connsiteX5" fmla="*/ 165465 w 165465"/>
              <a:gd name="connsiteY5" fmla="*/ 87394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89724"/>
                </a:lnTo>
                <a:lnTo>
                  <a:pt x="0" y="0"/>
                </a:lnTo>
                <a:lnTo>
                  <a:pt x="76906" y="0"/>
                </a:lnTo>
                <a:lnTo>
                  <a:pt x="165465" y="87394"/>
                </a:lnTo>
                <a:close/>
              </a:path>
            </a:pathLst>
          </a:custGeom>
          <a:solidFill>
            <a:srgbClr val="EEF2F5"/>
          </a:solidFill>
          <a:ln w="11643" cap="flat">
            <a:noFill/>
            <a:prstDash val="solid"/>
            <a:miter/>
          </a:ln>
        </p:spPr>
        <p:txBody>
          <a:bodyPr rtlCol="0" anchor="ctr"/>
          <a:lstStyle/>
          <a:p>
            <a:endParaRPr lang="de-DE"/>
          </a:p>
        </p:txBody>
      </p:sp>
      <p:sp>
        <p:nvSpPr>
          <p:cNvPr id="228" name="Freihandform: Form 227">
            <a:extLst>
              <a:ext uri="{FF2B5EF4-FFF2-40B4-BE49-F238E27FC236}">
                <a16:creationId xmlns:a16="http://schemas.microsoft.com/office/drawing/2014/main" id="{6D995F94-547B-4E8B-8F80-D2C01332D74E}"/>
              </a:ext>
            </a:extLst>
          </p:cNvPr>
          <p:cNvSpPr/>
          <p:nvPr/>
        </p:nvSpPr>
        <p:spPr>
          <a:xfrm>
            <a:off x="8028570" y="6633106"/>
            <a:ext cx="165465" cy="179448"/>
          </a:xfrm>
          <a:custGeom>
            <a:avLst/>
            <a:gdLst>
              <a:gd name="connsiteX0" fmla="*/ 75741 w 165465"/>
              <a:gd name="connsiteY0" fmla="*/ 179448 h 179448"/>
              <a:gd name="connsiteX1" fmla="*/ 0 w 165465"/>
              <a:gd name="connsiteY1" fmla="*/ 179448 h 179448"/>
              <a:gd name="connsiteX2" fmla="*/ 88559 w 165465"/>
              <a:gd name="connsiteY2" fmla="*/ 90889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17" name="Freihandform: Form 16">
            <a:extLst>
              <a:ext uri="{FF2B5EF4-FFF2-40B4-BE49-F238E27FC236}">
                <a16:creationId xmlns:a16="http://schemas.microsoft.com/office/drawing/2014/main" id="{FBFA7DD1-6DE8-48E2-BB35-DCE366E698C5}"/>
              </a:ext>
            </a:extLst>
          </p:cNvPr>
          <p:cNvSpPr/>
          <p:nvPr/>
        </p:nvSpPr>
        <p:spPr>
          <a:xfrm>
            <a:off x="8375813" y="2011732"/>
            <a:ext cx="180613" cy="196926"/>
          </a:xfrm>
          <a:custGeom>
            <a:avLst/>
            <a:gdLst>
              <a:gd name="connsiteX0" fmla="*/ 82733 w 180613"/>
              <a:gd name="connsiteY0" fmla="*/ 196927 h 196926"/>
              <a:gd name="connsiteX1" fmla="*/ 0 w 180613"/>
              <a:gd name="connsiteY1" fmla="*/ 196927 h 196926"/>
              <a:gd name="connsiteX2" fmla="*/ 96715 w 180613"/>
              <a:gd name="connsiteY2" fmla="*/ 99046 h 196926"/>
              <a:gd name="connsiteX3" fmla="*/ 0 w 180613"/>
              <a:gd name="connsiteY3" fmla="*/ 0 h 196926"/>
              <a:gd name="connsiteX4" fmla="*/ 83898 w 180613"/>
              <a:gd name="connsiteY4" fmla="*/ 0 h 196926"/>
              <a:gd name="connsiteX5" fmla="*/ 180613 w 180613"/>
              <a:gd name="connsiteY5" fmla="*/ 96716 h 196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6926">
                <a:moveTo>
                  <a:pt x="82733" y="196927"/>
                </a:moveTo>
                <a:lnTo>
                  <a:pt x="0" y="196927"/>
                </a:lnTo>
                <a:lnTo>
                  <a:pt x="96715" y="99046"/>
                </a:lnTo>
                <a:lnTo>
                  <a:pt x="0" y="0"/>
                </a:lnTo>
                <a:lnTo>
                  <a:pt x="83898" y="0"/>
                </a:lnTo>
                <a:lnTo>
                  <a:pt x="180613" y="96716"/>
                </a:lnTo>
                <a:close/>
              </a:path>
            </a:pathLst>
          </a:custGeom>
          <a:solidFill>
            <a:srgbClr val="EEF2F5"/>
          </a:solidFill>
          <a:ln w="11643" cap="flat">
            <a:noFill/>
            <a:prstDash val="solid"/>
            <a:miter/>
          </a:ln>
        </p:spPr>
        <p:txBody>
          <a:bodyPr rtlCol="0" anchor="ctr"/>
          <a:lstStyle/>
          <a:p>
            <a:endParaRPr lang="de-DE"/>
          </a:p>
        </p:txBody>
      </p:sp>
      <p:sp>
        <p:nvSpPr>
          <p:cNvPr id="32" name="Freihandform: Form 31">
            <a:extLst>
              <a:ext uri="{FF2B5EF4-FFF2-40B4-BE49-F238E27FC236}">
                <a16:creationId xmlns:a16="http://schemas.microsoft.com/office/drawing/2014/main" id="{7C08602B-27E1-4F5C-B2BA-86218542705A}"/>
              </a:ext>
            </a:extLst>
          </p:cNvPr>
          <p:cNvSpPr/>
          <p:nvPr/>
        </p:nvSpPr>
        <p:spPr>
          <a:xfrm>
            <a:off x="8375813" y="2367133"/>
            <a:ext cx="180613" cy="195761"/>
          </a:xfrm>
          <a:custGeom>
            <a:avLst/>
            <a:gdLst>
              <a:gd name="connsiteX0" fmla="*/ 82733 w 180613"/>
              <a:gd name="connsiteY0" fmla="*/ 195762 h 195761"/>
              <a:gd name="connsiteX1" fmla="*/ 0 w 180613"/>
              <a:gd name="connsiteY1" fmla="*/ 195762 h 195761"/>
              <a:gd name="connsiteX2" fmla="*/ 96715 w 180613"/>
              <a:gd name="connsiteY2" fmla="*/ 99046 h 195761"/>
              <a:gd name="connsiteX3" fmla="*/ 0 w 180613"/>
              <a:gd name="connsiteY3" fmla="*/ 0 h 195761"/>
              <a:gd name="connsiteX4" fmla="*/ 83898 w 180613"/>
              <a:gd name="connsiteY4" fmla="*/ 0 h 195761"/>
              <a:gd name="connsiteX5" fmla="*/ 180613 w 180613"/>
              <a:gd name="connsiteY5" fmla="*/ 95550 h 19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5761">
                <a:moveTo>
                  <a:pt x="82733" y="195762"/>
                </a:moveTo>
                <a:lnTo>
                  <a:pt x="0" y="195762"/>
                </a:lnTo>
                <a:lnTo>
                  <a:pt x="96715" y="99046"/>
                </a:lnTo>
                <a:lnTo>
                  <a:pt x="0" y="0"/>
                </a:lnTo>
                <a:lnTo>
                  <a:pt x="83898" y="0"/>
                </a:lnTo>
                <a:lnTo>
                  <a:pt x="180613" y="95550"/>
                </a:lnTo>
                <a:close/>
              </a:path>
            </a:pathLst>
          </a:custGeom>
          <a:solidFill>
            <a:srgbClr val="EEF2F5"/>
          </a:solidFill>
          <a:ln w="11643" cap="flat">
            <a:noFill/>
            <a:prstDash val="solid"/>
            <a:miter/>
          </a:ln>
        </p:spPr>
        <p:txBody>
          <a:bodyPr rtlCol="0" anchor="ctr"/>
          <a:lstStyle/>
          <a:p>
            <a:endParaRPr lang="de-DE"/>
          </a:p>
        </p:txBody>
      </p:sp>
      <p:sp>
        <p:nvSpPr>
          <p:cNvPr id="48" name="Freihandform: Form 47">
            <a:extLst>
              <a:ext uri="{FF2B5EF4-FFF2-40B4-BE49-F238E27FC236}">
                <a16:creationId xmlns:a16="http://schemas.microsoft.com/office/drawing/2014/main" id="{B3543F06-832E-4301-879E-B06B3D8A1139}"/>
              </a:ext>
            </a:extLst>
          </p:cNvPr>
          <p:cNvSpPr/>
          <p:nvPr/>
        </p:nvSpPr>
        <p:spPr>
          <a:xfrm>
            <a:off x="8375813" y="2721368"/>
            <a:ext cx="180613" cy="196926"/>
          </a:xfrm>
          <a:custGeom>
            <a:avLst/>
            <a:gdLst>
              <a:gd name="connsiteX0" fmla="*/ 82733 w 180613"/>
              <a:gd name="connsiteY0" fmla="*/ 196927 h 196926"/>
              <a:gd name="connsiteX1" fmla="*/ 0 w 180613"/>
              <a:gd name="connsiteY1" fmla="*/ 196927 h 196926"/>
              <a:gd name="connsiteX2" fmla="*/ 96715 w 180613"/>
              <a:gd name="connsiteY2" fmla="*/ 99046 h 196926"/>
              <a:gd name="connsiteX3" fmla="*/ 0 w 180613"/>
              <a:gd name="connsiteY3" fmla="*/ 0 h 196926"/>
              <a:gd name="connsiteX4" fmla="*/ 83898 w 180613"/>
              <a:gd name="connsiteY4" fmla="*/ 0 h 196926"/>
              <a:gd name="connsiteX5" fmla="*/ 180613 w 180613"/>
              <a:gd name="connsiteY5" fmla="*/ 96716 h 196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6926">
                <a:moveTo>
                  <a:pt x="82733" y="196927"/>
                </a:moveTo>
                <a:lnTo>
                  <a:pt x="0" y="196927"/>
                </a:lnTo>
                <a:lnTo>
                  <a:pt x="96715" y="99046"/>
                </a:lnTo>
                <a:lnTo>
                  <a:pt x="0" y="0"/>
                </a:lnTo>
                <a:lnTo>
                  <a:pt x="83898" y="0"/>
                </a:lnTo>
                <a:lnTo>
                  <a:pt x="180613" y="96716"/>
                </a:lnTo>
                <a:close/>
              </a:path>
            </a:pathLst>
          </a:custGeom>
          <a:solidFill>
            <a:srgbClr val="EEF2F5"/>
          </a:solidFill>
          <a:ln w="11643" cap="flat">
            <a:noFill/>
            <a:prstDash val="solid"/>
            <a:miter/>
          </a:ln>
        </p:spPr>
        <p:txBody>
          <a:bodyPr rtlCol="0" anchor="ctr"/>
          <a:lstStyle/>
          <a:p>
            <a:endParaRPr lang="de-DE"/>
          </a:p>
        </p:txBody>
      </p:sp>
      <p:sp>
        <p:nvSpPr>
          <p:cNvPr id="64" name="Freihandform: Form 63">
            <a:extLst>
              <a:ext uri="{FF2B5EF4-FFF2-40B4-BE49-F238E27FC236}">
                <a16:creationId xmlns:a16="http://schemas.microsoft.com/office/drawing/2014/main" id="{448857AA-F125-42A1-8BA3-8AC5BA3389BB}"/>
              </a:ext>
            </a:extLst>
          </p:cNvPr>
          <p:cNvSpPr/>
          <p:nvPr/>
        </p:nvSpPr>
        <p:spPr>
          <a:xfrm>
            <a:off x="8375813" y="3076769"/>
            <a:ext cx="180613" cy="195761"/>
          </a:xfrm>
          <a:custGeom>
            <a:avLst/>
            <a:gdLst>
              <a:gd name="connsiteX0" fmla="*/ 82733 w 180613"/>
              <a:gd name="connsiteY0" fmla="*/ 195762 h 195761"/>
              <a:gd name="connsiteX1" fmla="*/ 0 w 180613"/>
              <a:gd name="connsiteY1" fmla="*/ 195762 h 195761"/>
              <a:gd name="connsiteX2" fmla="*/ 96715 w 180613"/>
              <a:gd name="connsiteY2" fmla="*/ 99046 h 195761"/>
              <a:gd name="connsiteX3" fmla="*/ 0 w 180613"/>
              <a:gd name="connsiteY3" fmla="*/ 0 h 195761"/>
              <a:gd name="connsiteX4" fmla="*/ 83898 w 180613"/>
              <a:gd name="connsiteY4" fmla="*/ 0 h 195761"/>
              <a:gd name="connsiteX5" fmla="*/ 180613 w 180613"/>
              <a:gd name="connsiteY5" fmla="*/ 95550 h 19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5761">
                <a:moveTo>
                  <a:pt x="82733" y="195762"/>
                </a:moveTo>
                <a:lnTo>
                  <a:pt x="0" y="195762"/>
                </a:lnTo>
                <a:lnTo>
                  <a:pt x="96715" y="99046"/>
                </a:lnTo>
                <a:lnTo>
                  <a:pt x="0" y="0"/>
                </a:lnTo>
                <a:lnTo>
                  <a:pt x="83898" y="0"/>
                </a:lnTo>
                <a:lnTo>
                  <a:pt x="180613" y="95550"/>
                </a:lnTo>
                <a:close/>
              </a:path>
            </a:pathLst>
          </a:custGeom>
          <a:solidFill>
            <a:srgbClr val="EEF2F5"/>
          </a:solidFill>
          <a:ln w="11643" cap="flat">
            <a:noFill/>
            <a:prstDash val="solid"/>
            <a:miter/>
          </a:ln>
        </p:spPr>
        <p:txBody>
          <a:bodyPr rtlCol="0" anchor="ctr"/>
          <a:lstStyle/>
          <a:p>
            <a:endParaRPr lang="de-DE"/>
          </a:p>
        </p:txBody>
      </p:sp>
      <p:sp>
        <p:nvSpPr>
          <p:cNvPr id="80" name="Freihandform: Form 79">
            <a:extLst>
              <a:ext uri="{FF2B5EF4-FFF2-40B4-BE49-F238E27FC236}">
                <a16:creationId xmlns:a16="http://schemas.microsoft.com/office/drawing/2014/main" id="{4D03B1F2-B454-4805-B554-BE60EE27F881}"/>
              </a:ext>
            </a:extLst>
          </p:cNvPr>
          <p:cNvSpPr/>
          <p:nvPr/>
        </p:nvSpPr>
        <p:spPr>
          <a:xfrm>
            <a:off x="8375813" y="3431004"/>
            <a:ext cx="180613" cy="196926"/>
          </a:xfrm>
          <a:custGeom>
            <a:avLst/>
            <a:gdLst>
              <a:gd name="connsiteX0" fmla="*/ 82733 w 180613"/>
              <a:gd name="connsiteY0" fmla="*/ 196927 h 196926"/>
              <a:gd name="connsiteX1" fmla="*/ 0 w 180613"/>
              <a:gd name="connsiteY1" fmla="*/ 196927 h 196926"/>
              <a:gd name="connsiteX2" fmla="*/ 96715 w 180613"/>
              <a:gd name="connsiteY2" fmla="*/ 99046 h 196926"/>
              <a:gd name="connsiteX3" fmla="*/ 0 w 180613"/>
              <a:gd name="connsiteY3" fmla="*/ 0 h 196926"/>
              <a:gd name="connsiteX4" fmla="*/ 83898 w 180613"/>
              <a:gd name="connsiteY4" fmla="*/ 0 h 196926"/>
              <a:gd name="connsiteX5" fmla="*/ 180613 w 180613"/>
              <a:gd name="connsiteY5" fmla="*/ 96716 h 196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6926">
                <a:moveTo>
                  <a:pt x="82733" y="196927"/>
                </a:moveTo>
                <a:lnTo>
                  <a:pt x="0" y="196927"/>
                </a:lnTo>
                <a:lnTo>
                  <a:pt x="96715" y="99046"/>
                </a:lnTo>
                <a:lnTo>
                  <a:pt x="0" y="0"/>
                </a:lnTo>
                <a:lnTo>
                  <a:pt x="83898" y="0"/>
                </a:lnTo>
                <a:lnTo>
                  <a:pt x="180613" y="96716"/>
                </a:lnTo>
                <a:close/>
              </a:path>
            </a:pathLst>
          </a:custGeom>
          <a:solidFill>
            <a:srgbClr val="EEF2F5"/>
          </a:solidFill>
          <a:ln w="11643" cap="flat">
            <a:noFill/>
            <a:prstDash val="solid"/>
            <a:miter/>
          </a:ln>
        </p:spPr>
        <p:txBody>
          <a:bodyPr rtlCol="0" anchor="ctr"/>
          <a:lstStyle/>
          <a:p>
            <a:endParaRPr lang="de-DE"/>
          </a:p>
        </p:txBody>
      </p:sp>
      <p:sp>
        <p:nvSpPr>
          <p:cNvPr id="96" name="Freihandform: Form 95">
            <a:extLst>
              <a:ext uri="{FF2B5EF4-FFF2-40B4-BE49-F238E27FC236}">
                <a16:creationId xmlns:a16="http://schemas.microsoft.com/office/drawing/2014/main" id="{FFDA75BC-562C-4970-A5BF-655AB3F5011C}"/>
              </a:ext>
            </a:extLst>
          </p:cNvPr>
          <p:cNvSpPr/>
          <p:nvPr/>
        </p:nvSpPr>
        <p:spPr>
          <a:xfrm>
            <a:off x="8375813" y="3786405"/>
            <a:ext cx="180613" cy="195761"/>
          </a:xfrm>
          <a:custGeom>
            <a:avLst/>
            <a:gdLst>
              <a:gd name="connsiteX0" fmla="*/ 82733 w 180613"/>
              <a:gd name="connsiteY0" fmla="*/ 195762 h 195761"/>
              <a:gd name="connsiteX1" fmla="*/ 0 w 180613"/>
              <a:gd name="connsiteY1" fmla="*/ 195762 h 195761"/>
              <a:gd name="connsiteX2" fmla="*/ 96715 w 180613"/>
              <a:gd name="connsiteY2" fmla="*/ 99046 h 195761"/>
              <a:gd name="connsiteX3" fmla="*/ 0 w 180613"/>
              <a:gd name="connsiteY3" fmla="*/ 0 h 195761"/>
              <a:gd name="connsiteX4" fmla="*/ 83898 w 180613"/>
              <a:gd name="connsiteY4" fmla="*/ 0 h 195761"/>
              <a:gd name="connsiteX5" fmla="*/ 180613 w 180613"/>
              <a:gd name="connsiteY5" fmla="*/ 96716 h 19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5761">
                <a:moveTo>
                  <a:pt x="82733" y="195762"/>
                </a:moveTo>
                <a:lnTo>
                  <a:pt x="0" y="195762"/>
                </a:lnTo>
                <a:lnTo>
                  <a:pt x="96715" y="99046"/>
                </a:lnTo>
                <a:lnTo>
                  <a:pt x="0" y="0"/>
                </a:lnTo>
                <a:lnTo>
                  <a:pt x="83898" y="0"/>
                </a:lnTo>
                <a:lnTo>
                  <a:pt x="180613" y="96716"/>
                </a:lnTo>
                <a:close/>
              </a:path>
            </a:pathLst>
          </a:custGeom>
          <a:solidFill>
            <a:srgbClr val="EEF2F5"/>
          </a:solidFill>
          <a:ln w="11643" cap="flat">
            <a:noFill/>
            <a:prstDash val="solid"/>
            <a:miter/>
          </a:ln>
        </p:spPr>
        <p:txBody>
          <a:bodyPr rtlCol="0" anchor="ctr"/>
          <a:lstStyle/>
          <a:p>
            <a:endParaRPr lang="de-DE"/>
          </a:p>
        </p:txBody>
      </p:sp>
      <p:sp>
        <p:nvSpPr>
          <p:cNvPr id="112" name="Freihandform: Form 111">
            <a:extLst>
              <a:ext uri="{FF2B5EF4-FFF2-40B4-BE49-F238E27FC236}">
                <a16:creationId xmlns:a16="http://schemas.microsoft.com/office/drawing/2014/main" id="{D5FBE564-C560-47E5-B3B3-465A98E51447}"/>
              </a:ext>
            </a:extLst>
          </p:cNvPr>
          <p:cNvSpPr/>
          <p:nvPr/>
        </p:nvSpPr>
        <p:spPr>
          <a:xfrm>
            <a:off x="8375813" y="4140640"/>
            <a:ext cx="180613" cy="196926"/>
          </a:xfrm>
          <a:custGeom>
            <a:avLst/>
            <a:gdLst>
              <a:gd name="connsiteX0" fmla="*/ 82733 w 180613"/>
              <a:gd name="connsiteY0" fmla="*/ 196927 h 196926"/>
              <a:gd name="connsiteX1" fmla="*/ 0 w 180613"/>
              <a:gd name="connsiteY1" fmla="*/ 196927 h 196926"/>
              <a:gd name="connsiteX2" fmla="*/ 96715 w 180613"/>
              <a:gd name="connsiteY2" fmla="*/ 99046 h 196926"/>
              <a:gd name="connsiteX3" fmla="*/ 0 w 180613"/>
              <a:gd name="connsiteY3" fmla="*/ 0 h 196926"/>
              <a:gd name="connsiteX4" fmla="*/ 83898 w 180613"/>
              <a:gd name="connsiteY4" fmla="*/ 0 h 196926"/>
              <a:gd name="connsiteX5" fmla="*/ 180613 w 180613"/>
              <a:gd name="connsiteY5" fmla="*/ 96716 h 196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6926">
                <a:moveTo>
                  <a:pt x="82733" y="196927"/>
                </a:moveTo>
                <a:lnTo>
                  <a:pt x="0" y="196927"/>
                </a:lnTo>
                <a:lnTo>
                  <a:pt x="96715" y="99046"/>
                </a:lnTo>
                <a:lnTo>
                  <a:pt x="0" y="0"/>
                </a:lnTo>
                <a:lnTo>
                  <a:pt x="83898" y="0"/>
                </a:lnTo>
                <a:lnTo>
                  <a:pt x="180613" y="96716"/>
                </a:lnTo>
                <a:close/>
              </a:path>
            </a:pathLst>
          </a:custGeom>
          <a:solidFill>
            <a:srgbClr val="EEF2F5"/>
          </a:solidFill>
          <a:ln w="11643" cap="flat">
            <a:noFill/>
            <a:prstDash val="solid"/>
            <a:miter/>
          </a:ln>
        </p:spPr>
        <p:txBody>
          <a:bodyPr rtlCol="0" anchor="ctr"/>
          <a:lstStyle/>
          <a:p>
            <a:endParaRPr lang="de-DE"/>
          </a:p>
        </p:txBody>
      </p:sp>
      <p:sp>
        <p:nvSpPr>
          <p:cNvPr id="128" name="Freihandform: Form 127">
            <a:extLst>
              <a:ext uri="{FF2B5EF4-FFF2-40B4-BE49-F238E27FC236}">
                <a16:creationId xmlns:a16="http://schemas.microsoft.com/office/drawing/2014/main" id="{CF51EF18-4B1E-42D2-850F-FFA6C258A83C}"/>
              </a:ext>
            </a:extLst>
          </p:cNvPr>
          <p:cNvSpPr/>
          <p:nvPr/>
        </p:nvSpPr>
        <p:spPr>
          <a:xfrm>
            <a:off x="8375813" y="4496041"/>
            <a:ext cx="180613" cy="195761"/>
          </a:xfrm>
          <a:custGeom>
            <a:avLst/>
            <a:gdLst>
              <a:gd name="connsiteX0" fmla="*/ 82733 w 180613"/>
              <a:gd name="connsiteY0" fmla="*/ 195762 h 195761"/>
              <a:gd name="connsiteX1" fmla="*/ 0 w 180613"/>
              <a:gd name="connsiteY1" fmla="*/ 195762 h 195761"/>
              <a:gd name="connsiteX2" fmla="*/ 96715 w 180613"/>
              <a:gd name="connsiteY2" fmla="*/ 99046 h 195761"/>
              <a:gd name="connsiteX3" fmla="*/ 0 w 180613"/>
              <a:gd name="connsiteY3" fmla="*/ 0 h 195761"/>
              <a:gd name="connsiteX4" fmla="*/ 83898 w 180613"/>
              <a:gd name="connsiteY4" fmla="*/ 0 h 195761"/>
              <a:gd name="connsiteX5" fmla="*/ 180613 w 180613"/>
              <a:gd name="connsiteY5" fmla="*/ 96716 h 19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5761">
                <a:moveTo>
                  <a:pt x="82733" y="195762"/>
                </a:moveTo>
                <a:lnTo>
                  <a:pt x="0" y="195762"/>
                </a:lnTo>
                <a:lnTo>
                  <a:pt x="96715" y="99046"/>
                </a:lnTo>
                <a:lnTo>
                  <a:pt x="0" y="0"/>
                </a:lnTo>
                <a:lnTo>
                  <a:pt x="83898" y="0"/>
                </a:lnTo>
                <a:lnTo>
                  <a:pt x="180613" y="96716"/>
                </a:lnTo>
                <a:close/>
              </a:path>
            </a:pathLst>
          </a:custGeom>
          <a:solidFill>
            <a:srgbClr val="EEF2F5"/>
          </a:solidFill>
          <a:ln w="11643" cap="flat">
            <a:noFill/>
            <a:prstDash val="solid"/>
            <a:miter/>
          </a:ln>
        </p:spPr>
        <p:txBody>
          <a:bodyPr rtlCol="0" anchor="ctr"/>
          <a:lstStyle/>
          <a:p>
            <a:endParaRPr lang="de-DE"/>
          </a:p>
        </p:txBody>
      </p:sp>
      <p:sp>
        <p:nvSpPr>
          <p:cNvPr id="145" name="Freihandform: Form 144">
            <a:extLst>
              <a:ext uri="{FF2B5EF4-FFF2-40B4-BE49-F238E27FC236}">
                <a16:creationId xmlns:a16="http://schemas.microsoft.com/office/drawing/2014/main" id="{56E41581-3FC6-4323-9C89-CF91773848F3}"/>
              </a:ext>
            </a:extLst>
          </p:cNvPr>
          <p:cNvSpPr/>
          <p:nvPr/>
        </p:nvSpPr>
        <p:spPr>
          <a:xfrm>
            <a:off x="8375813" y="4850276"/>
            <a:ext cx="180613" cy="196927"/>
          </a:xfrm>
          <a:custGeom>
            <a:avLst/>
            <a:gdLst>
              <a:gd name="connsiteX0" fmla="*/ 82733 w 180613"/>
              <a:gd name="connsiteY0" fmla="*/ 196927 h 196927"/>
              <a:gd name="connsiteX1" fmla="*/ 0 w 180613"/>
              <a:gd name="connsiteY1" fmla="*/ 196927 h 196927"/>
              <a:gd name="connsiteX2" fmla="*/ 96715 w 180613"/>
              <a:gd name="connsiteY2" fmla="*/ 99046 h 196927"/>
              <a:gd name="connsiteX3" fmla="*/ 0 w 180613"/>
              <a:gd name="connsiteY3" fmla="*/ 0 h 196927"/>
              <a:gd name="connsiteX4" fmla="*/ 83898 w 180613"/>
              <a:gd name="connsiteY4" fmla="*/ 0 h 196927"/>
              <a:gd name="connsiteX5" fmla="*/ 180613 w 180613"/>
              <a:gd name="connsiteY5" fmla="*/ 96716 h 196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6927">
                <a:moveTo>
                  <a:pt x="82733" y="196927"/>
                </a:moveTo>
                <a:lnTo>
                  <a:pt x="0" y="196927"/>
                </a:lnTo>
                <a:lnTo>
                  <a:pt x="96715" y="99046"/>
                </a:lnTo>
                <a:lnTo>
                  <a:pt x="0" y="0"/>
                </a:lnTo>
                <a:lnTo>
                  <a:pt x="83898" y="0"/>
                </a:lnTo>
                <a:lnTo>
                  <a:pt x="180613" y="96716"/>
                </a:lnTo>
                <a:close/>
              </a:path>
            </a:pathLst>
          </a:custGeom>
          <a:solidFill>
            <a:srgbClr val="EEF2F5"/>
          </a:solidFill>
          <a:ln w="11643" cap="flat">
            <a:noFill/>
            <a:prstDash val="solid"/>
            <a:miter/>
          </a:ln>
        </p:spPr>
        <p:txBody>
          <a:bodyPr rtlCol="0" anchor="ctr"/>
          <a:lstStyle/>
          <a:p>
            <a:endParaRPr lang="de-DE"/>
          </a:p>
        </p:txBody>
      </p:sp>
      <p:sp>
        <p:nvSpPr>
          <p:cNvPr id="162" name="Freihandform: Form 161">
            <a:extLst>
              <a:ext uri="{FF2B5EF4-FFF2-40B4-BE49-F238E27FC236}">
                <a16:creationId xmlns:a16="http://schemas.microsoft.com/office/drawing/2014/main" id="{D57C87CD-CA7C-4C12-80C4-9130A88B17BE}"/>
              </a:ext>
            </a:extLst>
          </p:cNvPr>
          <p:cNvSpPr/>
          <p:nvPr/>
        </p:nvSpPr>
        <p:spPr>
          <a:xfrm>
            <a:off x="8375813" y="5205677"/>
            <a:ext cx="180613" cy="195761"/>
          </a:xfrm>
          <a:custGeom>
            <a:avLst/>
            <a:gdLst>
              <a:gd name="connsiteX0" fmla="*/ 82733 w 180613"/>
              <a:gd name="connsiteY0" fmla="*/ 195762 h 195761"/>
              <a:gd name="connsiteX1" fmla="*/ 0 w 180613"/>
              <a:gd name="connsiteY1" fmla="*/ 195762 h 195761"/>
              <a:gd name="connsiteX2" fmla="*/ 96715 w 180613"/>
              <a:gd name="connsiteY2" fmla="*/ 99046 h 195761"/>
              <a:gd name="connsiteX3" fmla="*/ 0 w 180613"/>
              <a:gd name="connsiteY3" fmla="*/ 0 h 195761"/>
              <a:gd name="connsiteX4" fmla="*/ 83898 w 180613"/>
              <a:gd name="connsiteY4" fmla="*/ 0 h 195761"/>
              <a:gd name="connsiteX5" fmla="*/ 180613 w 180613"/>
              <a:gd name="connsiteY5" fmla="*/ 96715 h 19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5761">
                <a:moveTo>
                  <a:pt x="82733" y="195762"/>
                </a:moveTo>
                <a:lnTo>
                  <a:pt x="0" y="195762"/>
                </a:lnTo>
                <a:lnTo>
                  <a:pt x="96715" y="99046"/>
                </a:lnTo>
                <a:lnTo>
                  <a:pt x="0" y="0"/>
                </a:lnTo>
                <a:lnTo>
                  <a:pt x="83898" y="0"/>
                </a:lnTo>
                <a:lnTo>
                  <a:pt x="180613" y="96715"/>
                </a:lnTo>
                <a:close/>
              </a:path>
            </a:pathLst>
          </a:custGeom>
          <a:solidFill>
            <a:srgbClr val="EEF2F5"/>
          </a:solidFill>
          <a:ln w="11643" cap="flat">
            <a:noFill/>
            <a:prstDash val="solid"/>
            <a:miter/>
          </a:ln>
        </p:spPr>
        <p:txBody>
          <a:bodyPr rtlCol="0" anchor="ctr"/>
          <a:lstStyle/>
          <a:p>
            <a:endParaRPr lang="de-DE"/>
          </a:p>
        </p:txBody>
      </p:sp>
      <p:sp>
        <p:nvSpPr>
          <p:cNvPr id="179" name="Freihandform: Form 178">
            <a:extLst>
              <a:ext uri="{FF2B5EF4-FFF2-40B4-BE49-F238E27FC236}">
                <a16:creationId xmlns:a16="http://schemas.microsoft.com/office/drawing/2014/main" id="{DB846A0F-C8EB-418A-9689-60A3F1E0344D}"/>
              </a:ext>
            </a:extLst>
          </p:cNvPr>
          <p:cNvSpPr/>
          <p:nvPr/>
        </p:nvSpPr>
        <p:spPr>
          <a:xfrm>
            <a:off x="8375813" y="5559912"/>
            <a:ext cx="180613" cy="196926"/>
          </a:xfrm>
          <a:custGeom>
            <a:avLst/>
            <a:gdLst>
              <a:gd name="connsiteX0" fmla="*/ 82733 w 180613"/>
              <a:gd name="connsiteY0" fmla="*/ 196927 h 196926"/>
              <a:gd name="connsiteX1" fmla="*/ 0 w 180613"/>
              <a:gd name="connsiteY1" fmla="*/ 196927 h 196926"/>
              <a:gd name="connsiteX2" fmla="*/ 96715 w 180613"/>
              <a:gd name="connsiteY2" fmla="*/ 99046 h 196926"/>
              <a:gd name="connsiteX3" fmla="*/ 0 w 180613"/>
              <a:gd name="connsiteY3" fmla="*/ 0 h 196926"/>
              <a:gd name="connsiteX4" fmla="*/ 83898 w 180613"/>
              <a:gd name="connsiteY4" fmla="*/ 0 h 196926"/>
              <a:gd name="connsiteX5" fmla="*/ 180613 w 180613"/>
              <a:gd name="connsiteY5" fmla="*/ 96715 h 196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6926">
                <a:moveTo>
                  <a:pt x="82733" y="196927"/>
                </a:moveTo>
                <a:lnTo>
                  <a:pt x="0" y="196927"/>
                </a:lnTo>
                <a:lnTo>
                  <a:pt x="96715" y="99046"/>
                </a:lnTo>
                <a:lnTo>
                  <a:pt x="0" y="0"/>
                </a:lnTo>
                <a:lnTo>
                  <a:pt x="83898" y="0"/>
                </a:lnTo>
                <a:lnTo>
                  <a:pt x="180613" y="96715"/>
                </a:lnTo>
                <a:close/>
              </a:path>
            </a:pathLst>
          </a:custGeom>
          <a:solidFill>
            <a:srgbClr val="EEF2F5"/>
          </a:solidFill>
          <a:ln w="11643" cap="flat">
            <a:noFill/>
            <a:prstDash val="solid"/>
            <a:miter/>
          </a:ln>
        </p:spPr>
        <p:txBody>
          <a:bodyPr rtlCol="0" anchor="ctr"/>
          <a:lstStyle/>
          <a:p>
            <a:endParaRPr lang="de-DE"/>
          </a:p>
        </p:txBody>
      </p:sp>
      <p:sp>
        <p:nvSpPr>
          <p:cNvPr id="196" name="Freihandform: Form 195">
            <a:extLst>
              <a:ext uri="{FF2B5EF4-FFF2-40B4-BE49-F238E27FC236}">
                <a16:creationId xmlns:a16="http://schemas.microsoft.com/office/drawing/2014/main" id="{4CB58DF8-2ADA-40F9-A585-F61E28EAC1FD}"/>
              </a:ext>
            </a:extLst>
          </p:cNvPr>
          <p:cNvSpPr/>
          <p:nvPr/>
        </p:nvSpPr>
        <p:spPr>
          <a:xfrm>
            <a:off x="8375813" y="5915313"/>
            <a:ext cx="180613" cy="195761"/>
          </a:xfrm>
          <a:custGeom>
            <a:avLst/>
            <a:gdLst>
              <a:gd name="connsiteX0" fmla="*/ 82733 w 180613"/>
              <a:gd name="connsiteY0" fmla="*/ 195762 h 195761"/>
              <a:gd name="connsiteX1" fmla="*/ 0 w 180613"/>
              <a:gd name="connsiteY1" fmla="*/ 195762 h 195761"/>
              <a:gd name="connsiteX2" fmla="*/ 96715 w 180613"/>
              <a:gd name="connsiteY2" fmla="*/ 99046 h 195761"/>
              <a:gd name="connsiteX3" fmla="*/ 0 w 180613"/>
              <a:gd name="connsiteY3" fmla="*/ 0 h 195761"/>
              <a:gd name="connsiteX4" fmla="*/ 83898 w 180613"/>
              <a:gd name="connsiteY4" fmla="*/ 0 h 195761"/>
              <a:gd name="connsiteX5" fmla="*/ 180613 w 180613"/>
              <a:gd name="connsiteY5" fmla="*/ 96715 h 19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5761">
                <a:moveTo>
                  <a:pt x="82733" y="195762"/>
                </a:moveTo>
                <a:lnTo>
                  <a:pt x="0" y="195762"/>
                </a:lnTo>
                <a:lnTo>
                  <a:pt x="96715" y="99046"/>
                </a:lnTo>
                <a:lnTo>
                  <a:pt x="0" y="0"/>
                </a:lnTo>
                <a:lnTo>
                  <a:pt x="83898" y="0"/>
                </a:lnTo>
                <a:lnTo>
                  <a:pt x="180613" y="96715"/>
                </a:lnTo>
                <a:close/>
              </a:path>
            </a:pathLst>
          </a:custGeom>
          <a:solidFill>
            <a:srgbClr val="EEF2F5"/>
          </a:solidFill>
          <a:ln w="11643" cap="flat">
            <a:noFill/>
            <a:prstDash val="solid"/>
            <a:miter/>
          </a:ln>
        </p:spPr>
        <p:txBody>
          <a:bodyPr rtlCol="0" anchor="ctr"/>
          <a:lstStyle/>
          <a:p>
            <a:endParaRPr lang="de-DE"/>
          </a:p>
        </p:txBody>
      </p:sp>
      <p:sp>
        <p:nvSpPr>
          <p:cNvPr id="213" name="Freihandform: Form 212">
            <a:extLst>
              <a:ext uri="{FF2B5EF4-FFF2-40B4-BE49-F238E27FC236}">
                <a16:creationId xmlns:a16="http://schemas.microsoft.com/office/drawing/2014/main" id="{57028041-D229-4433-B39C-C3F33483B647}"/>
              </a:ext>
            </a:extLst>
          </p:cNvPr>
          <p:cNvSpPr/>
          <p:nvPr/>
        </p:nvSpPr>
        <p:spPr>
          <a:xfrm>
            <a:off x="8375813" y="6270714"/>
            <a:ext cx="180613" cy="195761"/>
          </a:xfrm>
          <a:custGeom>
            <a:avLst/>
            <a:gdLst>
              <a:gd name="connsiteX0" fmla="*/ 82733 w 180613"/>
              <a:gd name="connsiteY0" fmla="*/ 195762 h 195761"/>
              <a:gd name="connsiteX1" fmla="*/ 0 w 180613"/>
              <a:gd name="connsiteY1" fmla="*/ 195762 h 195761"/>
              <a:gd name="connsiteX2" fmla="*/ 96715 w 180613"/>
              <a:gd name="connsiteY2" fmla="*/ 97881 h 195761"/>
              <a:gd name="connsiteX3" fmla="*/ 0 w 180613"/>
              <a:gd name="connsiteY3" fmla="*/ 0 h 195761"/>
              <a:gd name="connsiteX4" fmla="*/ 83898 w 180613"/>
              <a:gd name="connsiteY4" fmla="*/ 0 h 195761"/>
              <a:gd name="connsiteX5" fmla="*/ 180613 w 180613"/>
              <a:gd name="connsiteY5" fmla="*/ 95550 h 19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5761">
                <a:moveTo>
                  <a:pt x="82733" y="195762"/>
                </a:moveTo>
                <a:lnTo>
                  <a:pt x="0" y="195762"/>
                </a:lnTo>
                <a:lnTo>
                  <a:pt x="96715" y="97881"/>
                </a:lnTo>
                <a:lnTo>
                  <a:pt x="0" y="0"/>
                </a:lnTo>
                <a:lnTo>
                  <a:pt x="83898" y="0"/>
                </a:lnTo>
                <a:lnTo>
                  <a:pt x="180613" y="95550"/>
                </a:lnTo>
                <a:close/>
              </a:path>
            </a:pathLst>
          </a:custGeom>
          <a:solidFill>
            <a:srgbClr val="EEF2F5"/>
          </a:solidFill>
          <a:ln w="11643" cap="flat">
            <a:noFill/>
            <a:prstDash val="solid"/>
            <a:miter/>
          </a:ln>
        </p:spPr>
        <p:txBody>
          <a:bodyPr rtlCol="0" anchor="ctr"/>
          <a:lstStyle/>
          <a:p>
            <a:endParaRPr lang="de-DE"/>
          </a:p>
        </p:txBody>
      </p:sp>
      <p:sp>
        <p:nvSpPr>
          <p:cNvPr id="229" name="Freihandform: Form 228">
            <a:extLst>
              <a:ext uri="{FF2B5EF4-FFF2-40B4-BE49-F238E27FC236}">
                <a16:creationId xmlns:a16="http://schemas.microsoft.com/office/drawing/2014/main" id="{9B8DB432-5722-4DDC-9DA4-82611DB7AF21}"/>
              </a:ext>
            </a:extLst>
          </p:cNvPr>
          <p:cNvSpPr/>
          <p:nvPr/>
        </p:nvSpPr>
        <p:spPr>
          <a:xfrm>
            <a:off x="8375813" y="6624949"/>
            <a:ext cx="180613" cy="196926"/>
          </a:xfrm>
          <a:custGeom>
            <a:avLst/>
            <a:gdLst>
              <a:gd name="connsiteX0" fmla="*/ 82733 w 180613"/>
              <a:gd name="connsiteY0" fmla="*/ 196927 h 196926"/>
              <a:gd name="connsiteX1" fmla="*/ 0 w 180613"/>
              <a:gd name="connsiteY1" fmla="*/ 196927 h 196926"/>
              <a:gd name="connsiteX2" fmla="*/ 96715 w 180613"/>
              <a:gd name="connsiteY2" fmla="*/ 99046 h 196926"/>
              <a:gd name="connsiteX3" fmla="*/ 0 w 180613"/>
              <a:gd name="connsiteY3" fmla="*/ 0 h 196926"/>
              <a:gd name="connsiteX4" fmla="*/ 83898 w 180613"/>
              <a:gd name="connsiteY4" fmla="*/ 0 h 196926"/>
              <a:gd name="connsiteX5" fmla="*/ 180613 w 180613"/>
              <a:gd name="connsiteY5" fmla="*/ 96715 h 196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6926">
                <a:moveTo>
                  <a:pt x="82733" y="196927"/>
                </a:moveTo>
                <a:lnTo>
                  <a:pt x="0" y="196927"/>
                </a:lnTo>
                <a:lnTo>
                  <a:pt x="96715" y="99046"/>
                </a:lnTo>
                <a:lnTo>
                  <a:pt x="0" y="0"/>
                </a:lnTo>
                <a:lnTo>
                  <a:pt x="83898" y="0"/>
                </a:lnTo>
                <a:lnTo>
                  <a:pt x="180613" y="96715"/>
                </a:lnTo>
                <a:close/>
              </a:path>
            </a:pathLst>
          </a:custGeom>
          <a:solidFill>
            <a:srgbClr val="EEF2F5"/>
          </a:solidFill>
          <a:ln w="11643" cap="flat">
            <a:noFill/>
            <a:prstDash val="solid"/>
            <a:miter/>
          </a:ln>
        </p:spPr>
        <p:txBody>
          <a:bodyPr rtlCol="0" anchor="ctr"/>
          <a:lstStyle/>
          <a:p>
            <a:endParaRPr lang="de-DE"/>
          </a:p>
        </p:txBody>
      </p:sp>
      <p:sp>
        <p:nvSpPr>
          <p:cNvPr id="18" name="Freihandform: Form 17">
            <a:extLst>
              <a:ext uri="{FF2B5EF4-FFF2-40B4-BE49-F238E27FC236}">
                <a16:creationId xmlns:a16="http://schemas.microsoft.com/office/drawing/2014/main" id="{5D717E25-D335-4E65-A411-45D9057ED87F}"/>
              </a:ext>
            </a:extLst>
          </p:cNvPr>
          <p:cNvSpPr/>
          <p:nvPr/>
        </p:nvSpPr>
        <p:spPr>
          <a:xfrm>
            <a:off x="8721892" y="2002410"/>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6038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6038"/>
                </a:lnTo>
                <a:close/>
              </a:path>
            </a:pathLst>
          </a:custGeom>
          <a:solidFill>
            <a:srgbClr val="EEF2F5"/>
          </a:solidFill>
          <a:ln w="11643" cap="flat">
            <a:noFill/>
            <a:prstDash val="solid"/>
            <a:miter/>
          </a:ln>
        </p:spPr>
        <p:txBody>
          <a:bodyPr rtlCol="0" anchor="ctr"/>
          <a:lstStyle/>
          <a:p>
            <a:endParaRPr lang="de-DE"/>
          </a:p>
        </p:txBody>
      </p:sp>
      <p:sp>
        <p:nvSpPr>
          <p:cNvPr id="33" name="Freihandform: Form 32">
            <a:extLst>
              <a:ext uri="{FF2B5EF4-FFF2-40B4-BE49-F238E27FC236}">
                <a16:creationId xmlns:a16="http://schemas.microsoft.com/office/drawing/2014/main" id="{8191837C-2D2D-4E7E-BB7B-2C536FE31ED3}"/>
              </a:ext>
            </a:extLst>
          </p:cNvPr>
          <p:cNvSpPr/>
          <p:nvPr/>
        </p:nvSpPr>
        <p:spPr>
          <a:xfrm>
            <a:off x="8721892" y="2357811"/>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4872"/>
                </a:lnTo>
                <a:close/>
              </a:path>
            </a:pathLst>
          </a:custGeom>
          <a:solidFill>
            <a:srgbClr val="EEF2F5"/>
          </a:solidFill>
          <a:ln w="11643" cap="flat">
            <a:noFill/>
            <a:prstDash val="solid"/>
            <a:miter/>
          </a:ln>
        </p:spPr>
        <p:txBody>
          <a:bodyPr rtlCol="0" anchor="ctr"/>
          <a:lstStyle/>
          <a:p>
            <a:endParaRPr lang="de-DE"/>
          </a:p>
        </p:txBody>
      </p:sp>
      <p:sp>
        <p:nvSpPr>
          <p:cNvPr id="49" name="Freihandform: Form 48">
            <a:extLst>
              <a:ext uri="{FF2B5EF4-FFF2-40B4-BE49-F238E27FC236}">
                <a16:creationId xmlns:a16="http://schemas.microsoft.com/office/drawing/2014/main" id="{7C3E3047-07A6-44AE-A863-B14D0E91E9D2}"/>
              </a:ext>
            </a:extLst>
          </p:cNvPr>
          <p:cNvSpPr/>
          <p:nvPr/>
        </p:nvSpPr>
        <p:spPr>
          <a:xfrm>
            <a:off x="8721892" y="2712046"/>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6038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6038"/>
                </a:lnTo>
                <a:close/>
              </a:path>
            </a:pathLst>
          </a:custGeom>
          <a:solidFill>
            <a:srgbClr val="EEF2F5"/>
          </a:solidFill>
          <a:ln w="11643" cap="flat">
            <a:noFill/>
            <a:prstDash val="solid"/>
            <a:miter/>
          </a:ln>
        </p:spPr>
        <p:txBody>
          <a:bodyPr rtlCol="0" anchor="ctr"/>
          <a:lstStyle/>
          <a:p>
            <a:endParaRPr lang="de-DE"/>
          </a:p>
        </p:txBody>
      </p:sp>
      <p:sp>
        <p:nvSpPr>
          <p:cNvPr id="65" name="Freihandform: Form 64">
            <a:extLst>
              <a:ext uri="{FF2B5EF4-FFF2-40B4-BE49-F238E27FC236}">
                <a16:creationId xmlns:a16="http://schemas.microsoft.com/office/drawing/2014/main" id="{A33D910C-FE80-4271-80EB-43FB226FC311}"/>
              </a:ext>
            </a:extLst>
          </p:cNvPr>
          <p:cNvSpPr/>
          <p:nvPr/>
        </p:nvSpPr>
        <p:spPr>
          <a:xfrm>
            <a:off x="8721892" y="3067447"/>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4872"/>
                </a:lnTo>
                <a:close/>
              </a:path>
            </a:pathLst>
          </a:custGeom>
          <a:solidFill>
            <a:srgbClr val="EEF2F5"/>
          </a:solidFill>
          <a:ln w="11643" cap="flat">
            <a:noFill/>
            <a:prstDash val="solid"/>
            <a:miter/>
          </a:ln>
        </p:spPr>
        <p:txBody>
          <a:bodyPr rtlCol="0" anchor="ctr"/>
          <a:lstStyle/>
          <a:p>
            <a:endParaRPr lang="de-DE"/>
          </a:p>
        </p:txBody>
      </p:sp>
      <p:sp>
        <p:nvSpPr>
          <p:cNvPr id="81" name="Freihandform: Form 80">
            <a:extLst>
              <a:ext uri="{FF2B5EF4-FFF2-40B4-BE49-F238E27FC236}">
                <a16:creationId xmlns:a16="http://schemas.microsoft.com/office/drawing/2014/main" id="{3C2ACAE0-E8A8-4FC5-919A-02F70B7D5438}"/>
              </a:ext>
            </a:extLst>
          </p:cNvPr>
          <p:cNvSpPr/>
          <p:nvPr/>
        </p:nvSpPr>
        <p:spPr>
          <a:xfrm>
            <a:off x="8721892" y="3421682"/>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6038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6038"/>
                </a:lnTo>
                <a:close/>
              </a:path>
            </a:pathLst>
          </a:custGeom>
          <a:solidFill>
            <a:srgbClr val="EEF2F5"/>
          </a:solidFill>
          <a:ln w="11643" cap="flat">
            <a:noFill/>
            <a:prstDash val="solid"/>
            <a:miter/>
          </a:ln>
        </p:spPr>
        <p:txBody>
          <a:bodyPr rtlCol="0" anchor="ctr"/>
          <a:lstStyle/>
          <a:p>
            <a:endParaRPr lang="de-DE"/>
          </a:p>
        </p:txBody>
      </p:sp>
      <p:sp>
        <p:nvSpPr>
          <p:cNvPr id="97" name="Freihandform: Form 96">
            <a:extLst>
              <a:ext uri="{FF2B5EF4-FFF2-40B4-BE49-F238E27FC236}">
                <a16:creationId xmlns:a16="http://schemas.microsoft.com/office/drawing/2014/main" id="{49C7B20E-CBCC-427C-8257-9EDB4B177C6A}"/>
              </a:ext>
            </a:extLst>
          </p:cNvPr>
          <p:cNvSpPr/>
          <p:nvPr/>
        </p:nvSpPr>
        <p:spPr>
          <a:xfrm>
            <a:off x="8721892" y="3777083"/>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4872"/>
                </a:lnTo>
                <a:close/>
              </a:path>
            </a:pathLst>
          </a:custGeom>
          <a:solidFill>
            <a:srgbClr val="EEF2F5"/>
          </a:solidFill>
          <a:ln w="11643" cap="flat">
            <a:noFill/>
            <a:prstDash val="solid"/>
            <a:miter/>
          </a:ln>
        </p:spPr>
        <p:txBody>
          <a:bodyPr rtlCol="0" anchor="ctr"/>
          <a:lstStyle/>
          <a:p>
            <a:endParaRPr lang="de-DE"/>
          </a:p>
        </p:txBody>
      </p:sp>
      <p:sp>
        <p:nvSpPr>
          <p:cNvPr id="113" name="Freihandform: Form 112">
            <a:extLst>
              <a:ext uri="{FF2B5EF4-FFF2-40B4-BE49-F238E27FC236}">
                <a16:creationId xmlns:a16="http://schemas.microsoft.com/office/drawing/2014/main" id="{AA929FBA-3B60-4B90-A12C-EEB1A0A8CF38}"/>
              </a:ext>
            </a:extLst>
          </p:cNvPr>
          <p:cNvSpPr/>
          <p:nvPr/>
        </p:nvSpPr>
        <p:spPr>
          <a:xfrm>
            <a:off x="8721892" y="4132484"/>
            <a:ext cx="198092" cy="214405"/>
          </a:xfrm>
          <a:custGeom>
            <a:avLst/>
            <a:gdLst>
              <a:gd name="connsiteX0" fmla="*/ 90889 w 198092"/>
              <a:gd name="connsiteY0" fmla="*/ 214406 h 214405"/>
              <a:gd name="connsiteX1" fmla="*/ 0 w 198092"/>
              <a:gd name="connsiteY1" fmla="*/ 214406 h 214405"/>
              <a:gd name="connsiteX2" fmla="*/ 106037 w 198092"/>
              <a:gd name="connsiteY2" fmla="*/ 107203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7203"/>
                </a:lnTo>
                <a:lnTo>
                  <a:pt x="0" y="0"/>
                </a:lnTo>
                <a:lnTo>
                  <a:pt x="92055" y="0"/>
                </a:lnTo>
                <a:lnTo>
                  <a:pt x="198092" y="104872"/>
                </a:lnTo>
                <a:close/>
              </a:path>
            </a:pathLst>
          </a:custGeom>
          <a:solidFill>
            <a:srgbClr val="EEF2F5"/>
          </a:solidFill>
          <a:ln w="11643" cap="flat">
            <a:noFill/>
            <a:prstDash val="solid"/>
            <a:miter/>
          </a:ln>
        </p:spPr>
        <p:txBody>
          <a:bodyPr rtlCol="0" anchor="ctr"/>
          <a:lstStyle/>
          <a:p>
            <a:endParaRPr lang="de-DE"/>
          </a:p>
        </p:txBody>
      </p:sp>
      <p:sp>
        <p:nvSpPr>
          <p:cNvPr id="129" name="Freihandform: Form 128">
            <a:extLst>
              <a:ext uri="{FF2B5EF4-FFF2-40B4-BE49-F238E27FC236}">
                <a16:creationId xmlns:a16="http://schemas.microsoft.com/office/drawing/2014/main" id="{2A2E02AC-BFFD-44C8-869B-053E6C74FD2B}"/>
              </a:ext>
            </a:extLst>
          </p:cNvPr>
          <p:cNvSpPr/>
          <p:nvPr/>
        </p:nvSpPr>
        <p:spPr>
          <a:xfrm>
            <a:off x="8721892" y="4486719"/>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4872"/>
                </a:lnTo>
                <a:close/>
              </a:path>
            </a:pathLst>
          </a:custGeom>
          <a:solidFill>
            <a:srgbClr val="EEF2F5"/>
          </a:solidFill>
          <a:ln w="11643" cap="flat">
            <a:noFill/>
            <a:prstDash val="solid"/>
            <a:miter/>
          </a:ln>
        </p:spPr>
        <p:txBody>
          <a:bodyPr rtlCol="0" anchor="ctr"/>
          <a:lstStyle/>
          <a:p>
            <a:endParaRPr lang="de-DE"/>
          </a:p>
        </p:txBody>
      </p:sp>
      <p:sp>
        <p:nvSpPr>
          <p:cNvPr id="146" name="Freihandform: Form 145">
            <a:extLst>
              <a:ext uri="{FF2B5EF4-FFF2-40B4-BE49-F238E27FC236}">
                <a16:creationId xmlns:a16="http://schemas.microsoft.com/office/drawing/2014/main" id="{05AC39C3-CD17-42BE-BFB8-C8A94809F9BF}"/>
              </a:ext>
            </a:extLst>
          </p:cNvPr>
          <p:cNvSpPr/>
          <p:nvPr/>
        </p:nvSpPr>
        <p:spPr>
          <a:xfrm>
            <a:off x="8721892" y="4842120"/>
            <a:ext cx="198092" cy="214405"/>
          </a:xfrm>
          <a:custGeom>
            <a:avLst/>
            <a:gdLst>
              <a:gd name="connsiteX0" fmla="*/ 90889 w 198092"/>
              <a:gd name="connsiteY0" fmla="*/ 214406 h 214405"/>
              <a:gd name="connsiteX1" fmla="*/ 0 w 198092"/>
              <a:gd name="connsiteY1" fmla="*/ 214406 h 214405"/>
              <a:gd name="connsiteX2" fmla="*/ 106037 w 198092"/>
              <a:gd name="connsiteY2" fmla="*/ 107203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7203"/>
                </a:lnTo>
                <a:lnTo>
                  <a:pt x="0" y="0"/>
                </a:lnTo>
                <a:lnTo>
                  <a:pt x="92055" y="0"/>
                </a:lnTo>
                <a:lnTo>
                  <a:pt x="198092" y="104872"/>
                </a:lnTo>
                <a:close/>
              </a:path>
            </a:pathLst>
          </a:custGeom>
          <a:solidFill>
            <a:srgbClr val="EEF2F5"/>
          </a:solidFill>
          <a:ln w="11643" cap="flat">
            <a:noFill/>
            <a:prstDash val="solid"/>
            <a:miter/>
          </a:ln>
        </p:spPr>
        <p:txBody>
          <a:bodyPr rtlCol="0" anchor="ctr"/>
          <a:lstStyle/>
          <a:p>
            <a:endParaRPr lang="de-DE"/>
          </a:p>
        </p:txBody>
      </p:sp>
      <p:sp>
        <p:nvSpPr>
          <p:cNvPr id="163" name="Freihandform: Form 162">
            <a:extLst>
              <a:ext uri="{FF2B5EF4-FFF2-40B4-BE49-F238E27FC236}">
                <a16:creationId xmlns:a16="http://schemas.microsoft.com/office/drawing/2014/main" id="{88E84DF2-6EB7-427E-A4CB-C71E9DB80B42}"/>
              </a:ext>
            </a:extLst>
          </p:cNvPr>
          <p:cNvSpPr/>
          <p:nvPr/>
        </p:nvSpPr>
        <p:spPr>
          <a:xfrm>
            <a:off x="8721892" y="5196355"/>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6038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6038"/>
                </a:lnTo>
                <a:close/>
              </a:path>
            </a:pathLst>
          </a:custGeom>
          <a:solidFill>
            <a:srgbClr val="EEF2F5"/>
          </a:solidFill>
          <a:ln w="11643" cap="flat">
            <a:noFill/>
            <a:prstDash val="solid"/>
            <a:miter/>
          </a:ln>
        </p:spPr>
        <p:txBody>
          <a:bodyPr rtlCol="0" anchor="ctr"/>
          <a:lstStyle/>
          <a:p>
            <a:endParaRPr lang="de-DE"/>
          </a:p>
        </p:txBody>
      </p:sp>
      <p:sp>
        <p:nvSpPr>
          <p:cNvPr id="180" name="Freihandform: Form 179">
            <a:extLst>
              <a:ext uri="{FF2B5EF4-FFF2-40B4-BE49-F238E27FC236}">
                <a16:creationId xmlns:a16="http://schemas.microsoft.com/office/drawing/2014/main" id="{73606A8C-ADFE-479C-B34E-C91AE8F14BDF}"/>
              </a:ext>
            </a:extLst>
          </p:cNvPr>
          <p:cNvSpPr/>
          <p:nvPr/>
        </p:nvSpPr>
        <p:spPr>
          <a:xfrm>
            <a:off x="8721892" y="5551755"/>
            <a:ext cx="198092" cy="214405"/>
          </a:xfrm>
          <a:custGeom>
            <a:avLst/>
            <a:gdLst>
              <a:gd name="connsiteX0" fmla="*/ 90889 w 198092"/>
              <a:gd name="connsiteY0" fmla="*/ 214406 h 214405"/>
              <a:gd name="connsiteX1" fmla="*/ 0 w 198092"/>
              <a:gd name="connsiteY1" fmla="*/ 214406 h 214405"/>
              <a:gd name="connsiteX2" fmla="*/ 106037 w 198092"/>
              <a:gd name="connsiteY2" fmla="*/ 107203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7203"/>
                </a:lnTo>
                <a:lnTo>
                  <a:pt x="0" y="0"/>
                </a:lnTo>
                <a:lnTo>
                  <a:pt x="92055" y="0"/>
                </a:lnTo>
                <a:lnTo>
                  <a:pt x="198092" y="104872"/>
                </a:lnTo>
                <a:close/>
              </a:path>
            </a:pathLst>
          </a:custGeom>
          <a:solidFill>
            <a:srgbClr val="EEF2F5"/>
          </a:solidFill>
          <a:ln w="11643" cap="flat">
            <a:noFill/>
            <a:prstDash val="solid"/>
            <a:miter/>
          </a:ln>
        </p:spPr>
        <p:txBody>
          <a:bodyPr rtlCol="0" anchor="ctr"/>
          <a:lstStyle/>
          <a:p>
            <a:endParaRPr lang="de-DE"/>
          </a:p>
        </p:txBody>
      </p:sp>
      <p:sp>
        <p:nvSpPr>
          <p:cNvPr id="197" name="Freihandform: Form 196">
            <a:extLst>
              <a:ext uri="{FF2B5EF4-FFF2-40B4-BE49-F238E27FC236}">
                <a16:creationId xmlns:a16="http://schemas.microsoft.com/office/drawing/2014/main" id="{FC296AC6-E750-4BE9-BDD1-981A05C08FF5}"/>
              </a:ext>
            </a:extLst>
          </p:cNvPr>
          <p:cNvSpPr/>
          <p:nvPr/>
        </p:nvSpPr>
        <p:spPr>
          <a:xfrm>
            <a:off x="8721892" y="5905991"/>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6038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6038"/>
                </a:lnTo>
                <a:close/>
              </a:path>
            </a:pathLst>
          </a:custGeom>
          <a:solidFill>
            <a:srgbClr val="EEF2F5"/>
          </a:solidFill>
          <a:ln w="11643" cap="flat">
            <a:noFill/>
            <a:prstDash val="solid"/>
            <a:miter/>
          </a:ln>
        </p:spPr>
        <p:txBody>
          <a:bodyPr rtlCol="0" anchor="ctr"/>
          <a:lstStyle/>
          <a:p>
            <a:endParaRPr lang="de-DE"/>
          </a:p>
        </p:txBody>
      </p:sp>
      <p:sp>
        <p:nvSpPr>
          <p:cNvPr id="214" name="Freihandform: Form 213">
            <a:extLst>
              <a:ext uri="{FF2B5EF4-FFF2-40B4-BE49-F238E27FC236}">
                <a16:creationId xmlns:a16="http://schemas.microsoft.com/office/drawing/2014/main" id="{C03E7333-2F83-4C83-832A-36CD5A0C1B61}"/>
              </a:ext>
            </a:extLst>
          </p:cNvPr>
          <p:cNvSpPr/>
          <p:nvPr/>
        </p:nvSpPr>
        <p:spPr>
          <a:xfrm>
            <a:off x="8721892" y="6261391"/>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4872"/>
                </a:lnTo>
                <a:close/>
              </a:path>
            </a:pathLst>
          </a:custGeom>
          <a:solidFill>
            <a:srgbClr val="EEF2F5"/>
          </a:solidFill>
          <a:ln w="11643" cap="flat">
            <a:noFill/>
            <a:prstDash val="solid"/>
            <a:miter/>
          </a:ln>
        </p:spPr>
        <p:txBody>
          <a:bodyPr rtlCol="0" anchor="ctr"/>
          <a:lstStyle/>
          <a:p>
            <a:endParaRPr lang="de-DE"/>
          </a:p>
        </p:txBody>
      </p:sp>
      <p:sp>
        <p:nvSpPr>
          <p:cNvPr id="230" name="Freihandform: Form 229">
            <a:extLst>
              <a:ext uri="{FF2B5EF4-FFF2-40B4-BE49-F238E27FC236}">
                <a16:creationId xmlns:a16="http://schemas.microsoft.com/office/drawing/2014/main" id="{83AA4FB9-F340-4ECE-A8B5-BF0225383456}"/>
              </a:ext>
            </a:extLst>
          </p:cNvPr>
          <p:cNvSpPr/>
          <p:nvPr/>
        </p:nvSpPr>
        <p:spPr>
          <a:xfrm>
            <a:off x="8721892" y="6615627"/>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6037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6037"/>
                </a:lnTo>
                <a:close/>
              </a:path>
            </a:pathLst>
          </a:custGeom>
          <a:solidFill>
            <a:srgbClr val="EEF2F5"/>
          </a:solidFill>
          <a:ln w="11643" cap="flat">
            <a:noFill/>
            <a:prstDash val="solid"/>
            <a:miter/>
          </a:ln>
        </p:spPr>
        <p:txBody>
          <a:bodyPr rtlCol="0" anchor="ctr"/>
          <a:lstStyle/>
          <a:p>
            <a:endParaRPr lang="de-DE"/>
          </a:p>
        </p:txBody>
      </p:sp>
      <p:sp>
        <p:nvSpPr>
          <p:cNvPr id="19" name="Freihandform: Form 18">
            <a:extLst>
              <a:ext uri="{FF2B5EF4-FFF2-40B4-BE49-F238E27FC236}">
                <a16:creationId xmlns:a16="http://schemas.microsoft.com/office/drawing/2014/main" id="{9DB76664-FCBB-4E4F-B5E6-C249AA6B44D0}"/>
              </a:ext>
            </a:extLst>
          </p:cNvPr>
          <p:cNvSpPr/>
          <p:nvPr/>
        </p:nvSpPr>
        <p:spPr>
          <a:xfrm>
            <a:off x="9069136" y="1994253"/>
            <a:ext cx="214405" cy="231884"/>
          </a:xfrm>
          <a:custGeom>
            <a:avLst/>
            <a:gdLst>
              <a:gd name="connsiteX0" fmla="*/ 97881 w 214405"/>
              <a:gd name="connsiteY0" fmla="*/ 231884 h 231884"/>
              <a:gd name="connsiteX1" fmla="*/ 0 w 214405"/>
              <a:gd name="connsiteY1" fmla="*/ 231884 h 231884"/>
              <a:gd name="connsiteX2" fmla="*/ 114194 w 214405"/>
              <a:gd name="connsiteY2" fmla="*/ 116525 h 231884"/>
              <a:gd name="connsiteX3" fmla="*/ 0 w 214405"/>
              <a:gd name="connsiteY3" fmla="*/ 0 h 231884"/>
              <a:gd name="connsiteX4" fmla="*/ 100211 w 214405"/>
              <a:gd name="connsiteY4" fmla="*/ 0 h 231884"/>
              <a:gd name="connsiteX5" fmla="*/ 214406 w 214405"/>
              <a:gd name="connsiteY5" fmla="*/ 114194 h 23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1884">
                <a:moveTo>
                  <a:pt x="97881" y="231884"/>
                </a:moveTo>
                <a:lnTo>
                  <a:pt x="0" y="231884"/>
                </a:lnTo>
                <a:lnTo>
                  <a:pt x="114194" y="116525"/>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34" name="Freihandform: Form 33">
            <a:extLst>
              <a:ext uri="{FF2B5EF4-FFF2-40B4-BE49-F238E27FC236}">
                <a16:creationId xmlns:a16="http://schemas.microsoft.com/office/drawing/2014/main" id="{1C9E837E-20C0-4E65-AB7F-E12A38184389}"/>
              </a:ext>
            </a:extLst>
          </p:cNvPr>
          <p:cNvSpPr/>
          <p:nvPr/>
        </p:nvSpPr>
        <p:spPr>
          <a:xfrm>
            <a:off x="9069136" y="2348489"/>
            <a:ext cx="214405" cy="233049"/>
          </a:xfrm>
          <a:custGeom>
            <a:avLst/>
            <a:gdLst>
              <a:gd name="connsiteX0" fmla="*/ 97881 w 214405"/>
              <a:gd name="connsiteY0" fmla="*/ 233050 h 233049"/>
              <a:gd name="connsiteX1" fmla="*/ 0 w 214405"/>
              <a:gd name="connsiteY1" fmla="*/ 233050 h 233049"/>
              <a:gd name="connsiteX2" fmla="*/ 114194 w 214405"/>
              <a:gd name="connsiteY2" fmla="*/ 117690 h 233049"/>
              <a:gd name="connsiteX3" fmla="*/ 0 w 214405"/>
              <a:gd name="connsiteY3" fmla="*/ 0 h 233049"/>
              <a:gd name="connsiteX4" fmla="*/ 100211 w 214405"/>
              <a:gd name="connsiteY4" fmla="*/ 0 h 233049"/>
              <a:gd name="connsiteX5" fmla="*/ 214406 w 214405"/>
              <a:gd name="connsiteY5" fmla="*/ 114194 h 23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3048">
                <a:moveTo>
                  <a:pt x="97881" y="233050"/>
                </a:moveTo>
                <a:lnTo>
                  <a:pt x="0" y="233050"/>
                </a:lnTo>
                <a:lnTo>
                  <a:pt x="114194" y="117690"/>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50" name="Freihandform: Form 49">
            <a:extLst>
              <a:ext uri="{FF2B5EF4-FFF2-40B4-BE49-F238E27FC236}">
                <a16:creationId xmlns:a16="http://schemas.microsoft.com/office/drawing/2014/main" id="{8113F30E-6E8E-4B5D-82C9-BD00E85422E7}"/>
              </a:ext>
            </a:extLst>
          </p:cNvPr>
          <p:cNvSpPr/>
          <p:nvPr/>
        </p:nvSpPr>
        <p:spPr>
          <a:xfrm>
            <a:off x="9069136" y="2703889"/>
            <a:ext cx="214405" cy="231884"/>
          </a:xfrm>
          <a:custGeom>
            <a:avLst/>
            <a:gdLst>
              <a:gd name="connsiteX0" fmla="*/ 97881 w 214405"/>
              <a:gd name="connsiteY0" fmla="*/ 231884 h 231884"/>
              <a:gd name="connsiteX1" fmla="*/ 0 w 214405"/>
              <a:gd name="connsiteY1" fmla="*/ 231884 h 231884"/>
              <a:gd name="connsiteX2" fmla="*/ 114194 w 214405"/>
              <a:gd name="connsiteY2" fmla="*/ 116525 h 231884"/>
              <a:gd name="connsiteX3" fmla="*/ 0 w 214405"/>
              <a:gd name="connsiteY3" fmla="*/ 0 h 231884"/>
              <a:gd name="connsiteX4" fmla="*/ 100211 w 214405"/>
              <a:gd name="connsiteY4" fmla="*/ 0 h 231884"/>
              <a:gd name="connsiteX5" fmla="*/ 214406 w 214405"/>
              <a:gd name="connsiteY5" fmla="*/ 114194 h 23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1884">
                <a:moveTo>
                  <a:pt x="97881" y="231884"/>
                </a:moveTo>
                <a:lnTo>
                  <a:pt x="0" y="231884"/>
                </a:lnTo>
                <a:lnTo>
                  <a:pt x="114194" y="116525"/>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66" name="Freihandform: Form 65">
            <a:extLst>
              <a:ext uri="{FF2B5EF4-FFF2-40B4-BE49-F238E27FC236}">
                <a16:creationId xmlns:a16="http://schemas.microsoft.com/office/drawing/2014/main" id="{83CF9041-D1BF-47E7-A660-B0728CA7416C}"/>
              </a:ext>
            </a:extLst>
          </p:cNvPr>
          <p:cNvSpPr/>
          <p:nvPr/>
        </p:nvSpPr>
        <p:spPr>
          <a:xfrm>
            <a:off x="9069136" y="3058125"/>
            <a:ext cx="214405" cy="233049"/>
          </a:xfrm>
          <a:custGeom>
            <a:avLst/>
            <a:gdLst>
              <a:gd name="connsiteX0" fmla="*/ 97881 w 214405"/>
              <a:gd name="connsiteY0" fmla="*/ 233050 h 233049"/>
              <a:gd name="connsiteX1" fmla="*/ 0 w 214405"/>
              <a:gd name="connsiteY1" fmla="*/ 233050 h 233049"/>
              <a:gd name="connsiteX2" fmla="*/ 114194 w 214405"/>
              <a:gd name="connsiteY2" fmla="*/ 117690 h 233049"/>
              <a:gd name="connsiteX3" fmla="*/ 0 w 214405"/>
              <a:gd name="connsiteY3" fmla="*/ 0 h 233049"/>
              <a:gd name="connsiteX4" fmla="*/ 100211 w 214405"/>
              <a:gd name="connsiteY4" fmla="*/ 0 h 233049"/>
              <a:gd name="connsiteX5" fmla="*/ 214406 w 214405"/>
              <a:gd name="connsiteY5" fmla="*/ 114194 h 23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3048">
                <a:moveTo>
                  <a:pt x="97881" y="233050"/>
                </a:moveTo>
                <a:lnTo>
                  <a:pt x="0" y="233050"/>
                </a:lnTo>
                <a:lnTo>
                  <a:pt x="114194" y="117690"/>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82" name="Freihandform: Form 81">
            <a:extLst>
              <a:ext uri="{FF2B5EF4-FFF2-40B4-BE49-F238E27FC236}">
                <a16:creationId xmlns:a16="http://schemas.microsoft.com/office/drawing/2014/main" id="{5E3A187E-D2FD-43A2-AA3C-854C35701E6E}"/>
              </a:ext>
            </a:extLst>
          </p:cNvPr>
          <p:cNvSpPr/>
          <p:nvPr/>
        </p:nvSpPr>
        <p:spPr>
          <a:xfrm>
            <a:off x="9069136" y="3413526"/>
            <a:ext cx="214405" cy="231884"/>
          </a:xfrm>
          <a:custGeom>
            <a:avLst/>
            <a:gdLst>
              <a:gd name="connsiteX0" fmla="*/ 97881 w 214405"/>
              <a:gd name="connsiteY0" fmla="*/ 231884 h 231884"/>
              <a:gd name="connsiteX1" fmla="*/ 0 w 214405"/>
              <a:gd name="connsiteY1" fmla="*/ 231884 h 231884"/>
              <a:gd name="connsiteX2" fmla="*/ 114194 w 214405"/>
              <a:gd name="connsiteY2" fmla="*/ 116525 h 231884"/>
              <a:gd name="connsiteX3" fmla="*/ 0 w 214405"/>
              <a:gd name="connsiteY3" fmla="*/ 0 h 231884"/>
              <a:gd name="connsiteX4" fmla="*/ 100211 w 214405"/>
              <a:gd name="connsiteY4" fmla="*/ 0 h 231884"/>
              <a:gd name="connsiteX5" fmla="*/ 214406 w 214405"/>
              <a:gd name="connsiteY5" fmla="*/ 114194 h 23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1884">
                <a:moveTo>
                  <a:pt x="97881" y="231884"/>
                </a:moveTo>
                <a:lnTo>
                  <a:pt x="0" y="231884"/>
                </a:lnTo>
                <a:lnTo>
                  <a:pt x="114194" y="116525"/>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98" name="Freihandform: Form 97">
            <a:extLst>
              <a:ext uri="{FF2B5EF4-FFF2-40B4-BE49-F238E27FC236}">
                <a16:creationId xmlns:a16="http://schemas.microsoft.com/office/drawing/2014/main" id="{D3A81AAA-9E9E-4B15-AAC7-1E1DC2995BB7}"/>
              </a:ext>
            </a:extLst>
          </p:cNvPr>
          <p:cNvSpPr/>
          <p:nvPr/>
        </p:nvSpPr>
        <p:spPr>
          <a:xfrm>
            <a:off x="9069136" y="3767761"/>
            <a:ext cx="214405" cy="233049"/>
          </a:xfrm>
          <a:custGeom>
            <a:avLst/>
            <a:gdLst>
              <a:gd name="connsiteX0" fmla="*/ 97881 w 214405"/>
              <a:gd name="connsiteY0" fmla="*/ 233050 h 233049"/>
              <a:gd name="connsiteX1" fmla="*/ 0 w 214405"/>
              <a:gd name="connsiteY1" fmla="*/ 233050 h 233049"/>
              <a:gd name="connsiteX2" fmla="*/ 114194 w 214405"/>
              <a:gd name="connsiteY2" fmla="*/ 117690 h 233049"/>
              <a:gd name="connsiteX3" fmla="*/ 0 w 214405"/>
              <a:gd name="connsiteY3" fmla="*/ 0 h 233049"/>
              <a:gd name="connsiteX4" fmla="*/ 100211 w 214405"/>
              <a:gd name="connsiteY4" fmla="*/ 0 h 233049"/>
              <a:gd name="connsiteX5" fmla="*/ 214406 w 214405"/>
              <a:gd name="connsiteY5" fmla="*/ 114194 h 23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3048">
                <a:moveTo>
                  <a:pt x="97881" y="233050"/>
                </a:moveTo>
                <a:lnTo>
                  <a:pt x="0" y="233050"/>
                </a:lnTo>
                <a:lnTo>
                  <a:pt x="114194" y="117690"/>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114" name="Freihandform: Form 113">
            <a:extLst>
              <a:ext uri="{FF2B5EF4-FFF2-40B4-BE49-F238E27FC236}">
                <a16:creationId xmlns:a16="http://schemas.microsoft.com/office/drawing/2014/main" id="{D7414768-9244-413F-B790-A52513170C11}"/>
              </a:ext>
            </a:extLst>
          </p:cNvPr>
          <p:cNvSpPr/>
          <p:nvPr/>
        </p:nvSpPr>
        <p:spPr>
          <a:xfrm>
            <a:off x="9069136" y="4123162"/>
            <a:ext cx="214405" cy="231884"/>
          </a:xfrm>
          <a:custGeom>
            <a:avLst/>
            <a:gdLst>
              <a:gd name="connsiteX0" fmla="*/ 97881 w 214405"/>
              <a:gd name="connsiteY0" fmla="*/ 231884 h 231884"/>
              <a:gd name="connsiteX1" fmla="*/ 0 w 214405"/>
              <a:gd name="connsiteY1" fmla="*/ 231884 h 231884"/>
              <a:gd name="connsiteX2" fmla="*/ 114194 w 214405"/>
              <a:gd name="connsiteY2" fmla="*/ 116525 h 231884"/>
              <a:gd name="connsiteX3" fmla="*/ 0 w 214405"/>
              <a:gd name="connsiteY3" fmla="*/ 0 h 231884"/>
              <a:gd name="connsiteX4" fmla="*/ 100211 w 214405"/>
              <a:gd name="connsiteY4" fmla="*/ 0 h 231884"/>
              <a:gd name="connsiteX5" fmla="*/ 214406 w 214405"/>
              <a:gd name="connsiteY5" fmla="*/ 114194 h 23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1884">
                <a:moveTo>
                  <a:pt x="97881" y="231884"/>
                </a:moveTo>
                <a:lnTo>
                  <a:pt x="0" y="231884"/>
                </a:lnTo>
                <a:lnTo>
                  <a:pt x="114194" y="116525"/>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130" name="Freihandform: Form 129">
            <a:extLst>
              <a:ext uri="{FF2B5EF4-FFF2-40B4-BE49-F238E27FC236}">
                <a16:creationId xmlns:a16="http://schemas.microsoft.com/office/drawing/2014/main" id="{401AC1C2-779B-43DF-BA19-77977887DF48}"/>
              </a:ext>
            </a:extLst>
          </p:cNvPr>
          <p:cNvSpPr/>
          <p:nvPr/>
        </p:nvSpPr>
        <p:spPr>
          <a:xfrm>
            <a:off x="9069136" y="4477397"/>
            <a:ext cx="214405" cy="233049"/>
          </a:xfrm>
          <a:custGeom>
            <a:avLst/>
            <a:gdLst>
              <a:gd name="connsiteX0" fmla="*/ 97881 w 214405"/>
              <a:gd name="connsiteY0" fmla="*/ 233050 h 233049"/>
              <a:gd name="connsiteX1" fmla="*/ 0 w 214405"/>
              <a:gd name="connsiteY1" fmla="*/ 233050 h 233049"/>
              <a:gd name="connsiteX2" fmla="*/ 114194 w 214405"/>
              <a:gd name="connsiteY2" fmla="*/ 117690 h 233049"/>
              <a:gd name="connsiteX3" fmla="*/ 0 w 214405"/>
              <a:gd name="connsiteY3" fmla="*/ 0 h 233049"/>
              <a:gd name="connsiteX4" fmla="*/ 100211 w 214405"/>
              <a:gd name="connsiteY4" fmla="*/ 0 h 233049"/>
              <a:gd name="connsiteX5" fmla="*/ 214406 w 214405"/>
              <a:gd name="connsiteY5" fmla="*/ 114194 h 23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3048">
                <a:moveTo>
                  <a:pt x="97881" y="233050"/>
                </a:moveTo>
                <a:lnTo>
                  <a:pt x="0" y="233050"/>
                </a:lnTo>
                <a:lnTo>
                  <a:pt x="114194" y="117690"/>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147" name="Freihandform: Form 146">
            <a:extLst>
              <a:ext uri="{FF2B5EF4-FFF2-40B4-BE49-F238E27FC236}">
                <a16:creationId xmlns:a16="http://schemas.microsoft.com/office/drawing/2014/main" id="{828616FB-ED5E-4EBB-AE8B-F4FB143D7DA7}"/>
              </a:ext>
            </a:extLst>
          </p:cNvPr>
          <p:cNvSpPr/>
          <p:nvPr/>
        </p:nvSpPr>
        <p:spPr>
          <a:xfrm>
            <a:off x="9069136" y="4832797"/>
            <a:ext cx="214405" cy="231884"/>
          </a:xfrm>
          <a:custGeom>
            <a:avLst/>
            <a:gdLst>
              <a:gd name="connsiteX0" fmla="*/ 97881 w 214405"/>
              <a:gd name="connsiteY0" fmla="*/ 231884 h 231884"/>
              <a:gd name="connsiteX1" fmla="*/ 0 w 214405"/>
              <a:gd name="connsiteY1" fmla="*/ 231884 h 231884"/>
              <a:gd name="connsiteX2" fmla="*/ 114194 w 214405"/>
              <a:gd name="connsiteY2" fmla="*/ 116525 h 231884"/>
              <a:gd name="connsiteX3" fmla="*/ 0 w 214405"/>
              <a:gd name="connsiteY3" fmla="*/ 0 h 231884"/>
              <a:gd name="connsiteX4" fmla="*/ 100211 w 214405"/>
              <a:gd name="connsiteY4" fmla="*/ 0 h 231884"/>
              <a:gd name="connsiteX5" fmla="*/ 214406 w 214405"/>
              <a:gd name="connsiteY5" fmla="*/ 114194 h 23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1884">
                <a:moveTo>
                  <a:pt x="97881" y="231884"/>
                </a:moveTo>
                <a:lnTo>
                  <a:pt x="0" y="231884"/>
                </a:lnTo>
                <a:lnTo>
                  <a:pt x="114194" y="116525"/>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164" name="Freihandform: Form 163">
            <a:extLst>
              <a:ext uri="{FF2B5EF4-FFF2-40B4-BE49-F238E27FC236}">
                <a16:creationId xmlns:a16="http://schemas.microsoft.com/office/drawing/2014/main" id="{1552BFC2-885E-488D-9178-E4EF0A480D27}"/>
              </a:ext>
            </a:extLst>
          </p:cNvPr>
          <p:cNvSpPr/>
          <p:nvPr/>
        </p:nvSpPr>
        <p:spPr>
          <a:xfrm>
            <a:off x="9069136" y="5187033"/>
            <a:ext cx="214405" cy="233049"/>
          </a:xfrm>
          <a:custGeom>
            <a:avLst/>
            <a:gdLst>
              <a:gd name="connsiteX0" fmla="*/ 97881 w 214405"/>
              <a:gd name="connsiteY0" fmla="*/ 233050 h 233049"/>
              <a:gd name="connsiteX1" fmla="*/ 0 w 214405"/>
              <a:gd name="connsiteY1" fmla="*/ 233050 h 233049"/>
              <a:gd name="connsiteX2" fmla="*/ 114194 w 214405"/>
              <a:gd name="connsiteY2" fmla="*/ 117690 h 233049"/>
              <a:gd name="connsiteX3" fmla="*/ 0 w 214405"/>
              <a:gd name="connsiteY3" fmla="*/ 0 h 233049"/>
              <a:gd name="connsiteX4" fmla="*/ 100211 w 214405"/>
              <a:gd name="connsiteY4" fmla="*/ 0 h 233049"/>
              <a:gd name="connsiteX5" fmla="*/ 214406 w 214405"/>
              <a:gd name="connsiteY5" fmla="*/ 114194 h 23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3048">
                <a:moveTo>
                  <a:pt x="97881" y="233050"/>
                </a:moveTo>
                <a:lnTo>
                  <a:pt x="0" y="233050"/>
                </a:lnTo>
                <a:lnTo>
                  <a:pt x="114194" y="117690"/>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181" name="Freihandform: Form 180">
            <a:extLst>
              <a:ext uri="{FF2B5EF4-FFF2-40B4-BE49-F238E27FC236}">
                <a16:creationId xmlns:a16="http://schemas.microsoft.com/office/drawing/2014/main" id="{80648966-F9E2-4B5F-ABE6-533E21207054}"/>
              </a:ext>
            </a:extLst>
          </p:cNvPr>
          <p:cNvSpPr/>
          <p:nvPr/>
        </p:nvSpPr>
        <p:spPr>
          <a:xfrm>
            <a:off x="9069136" y="5542434"/>
            <a:ext cx="214405" cy="231884"/>
          </a:xfrm>
          <a:custGeom>
            <a:avLst/>
            <a:gdLst>
              <a:gd name="connsiteX0" fmla="*/ 97881 w 214405"/>
              <a:gd name="connsiteY0" fmla="*/ 231884 h 231884"/>
              <a:gd name="connsiteX1" fmla="*/ 0 w 214405"/>
              <a:gd name="connsiteY1" fmla="*/ 231884 h 231884"/>
              <a:gd name="connsiteX2" fmla="*/ 114194 w 214405"/>
              <a:gd name="connsiteY2" fmla="*/ 117690 h 231884"/>
              <a:gd name="connsiteX3" fmla="*/ 0 w 214405"/>
              <a:gd name="connsiteY3" fmla="*/ 0 h 231884"/>
              <a:gd name="connsiteX4" fmla="*/ 100211 w 214405"/>
              <a:gd name="connsiteY4" fmla="*/ 0 h 231884"/>
              <a:gd name="connsiteX5" fmla="*/ 214406 w 214405"/>
              <a:gd name="connsiteY5" fmla="*/ 114194 h 23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1884">
                <a:moveTo>
                  <a:pt x="97881" y="231884"/>
                </a:moveTo>
                <a:lnTo>
                  <a:pt x="0" y="231884"/>
                </a:lnTo>
                <a:lnTo>
                  <a:pt x="114194" y="117690"/>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198" name="Freihandform: Form 197">
            <a:extLst>
              <a:ext uri="{FF2B5EF4-FFF2-40B4-BE49-F238E27FC236}">
                <a16:creationId xmlns:a16="http://schemas.microsoft.com/office/drawing/2014/main" id="{8C7041C5-0B5B-4AF4-9E5A-19A8C4C12F42}"/>
              </a:ext>
            </a:extLst>
          </p:cNvPr>
          <p:cNvSpPr/>
          <p:nvPr/>
        </p:nvSpPr>
        <p:spPr>
          <a:xfrm>
            <a:off x="9069136" y="5896669"/>
            <a:ext cx="214405" cy="233049"/>
          </a:xfrm>
          <a:custGeom>
            <a:avLst/>
            <a:gdLst>
              <a:gd name="connsiteX0" fmla="*/ 97881 w 214405"/>
              <a:gd name="connsiteY0" fmla="*/ 233050 h 233049"/>
              <a:gd name="connsiteX1" fmla="*/ 0 w 214405"/>
              <a:gd name="connsiteY1" fmla="*/ 233050 h 233049"/>
              <a:gd name="connsiteX2" fmla="*/ 114194 w 214405"/>
              <a:gd name="connsiteY2" fmla="*/ 117690 h 233049"/>
              <a:gd name="connsiteX3" fmla="*/ 0 w 214405"/>
              <a:gd name="connsiteY3" fmla="*/ 0 h 233049"/>
              <a:gd name="connsiteX4" fmla="*/ 100211 w 214405"/>
              <a:gd name="connsiteY4" fmla="*/ 0 h 233049"/>
              <a:gd name="connsiteX5" fmla="*/ 214406 w 214405"/>
              <a:gd name="connsiteY5" fmla="*/ 114194 h 23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3048">
                <a:moveTo>
                  <a:pt x="97881" y="233050"/>
                </a:moveTo>
                <a:lnTo>
                  <a:pt x="0" y="233050"/>
                </a:lnTo>
                <a:lnTo>
                  <a:pt x="114194" y="117690"/>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215" name="Freihandform: Form 214">
            <a:extLst>
              <a:ext uri="{FF2B5EF4-FFF2-40B4-BE49-F238E27FC236}">
                <a16:creationId xmlns:a16="http://schemas.microsoft.com/office/drawing/2014/main" id="{DC129505-58A5-42E7-B349-A205FB83331A}"/>
              </a:ext>
            </a:extLst>
          </p:cNvPr>
          <p:cNvSpPr/>
          <p:nvPr/>
        </p:nvSpPr>
        <p:spPr>
          <a:xfrm>
            <a:off x="9069136" y="6252070"/>
            <a:ext cx="214405" cy="233049"/>
          </a:xfrm>
          <a:custGeom>
            <a:avLst/>
            <a:gdLst>
              <a:gd name="connsiteX0" fmla="*/ 97881 w 214405"/>
              <a:gd name="connsiteY0" fmla="*/ 233050 h 233049"/>
              <a:gd name="connsiteX1" fmla="*/ 0 w 214405"/>
              <a:gd name="connsiteY1" fmla="*/ 233050 h 233049"/>
              <a:gd name="connsiteX2" fmla="*/ 114194 w 214405"/>
              <a:gd name="connsiteY2" fmla="*/ 117690 h 233049"/>
              <a:gd name="connsiteX3" fmla="*/ 0 w 214405"/>
              <a:gd name="connsiteY3" fmla="*/ 0 h 233049"/>
              <a:gd name="connsiteX4" fmla="*/ 100211 w 214405"/>
              <a:gd name="connsiteY4" fmla="*/ 0 h 233049"/>
              <a:gd name="connsiteX5" fmla="*/ 214406 w 214405"/>
              <a:gd name="connsiteY5" fmla="*/ 114194 h 23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3048">
                <a:moveTo>
                  <a:pt x="97881" y="233050"/>
                </a:moveTo>
                <a:lnTo>
                  <a:pt x="0" y="233050"/>
                </a:lnTo>
                <a:lnTo>
                  <a:pt x="114194" y="117690"/>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231" name="Freihandform: Form 230">
            <a:extLst>
              <a:ext uri="{FF2B5EF4-FFF2-40B4-BE49-F238E27FC236}">
                <a16:creationId xmlns:a16="http://schemas.microsoft.com/office/drawing/2014/main" id="{7D437321-278E-41CD-A64F-B829FA8D7F6A}"/>
              </a:ext>
            </a:extLst>
          </p:cNvPr>
          <p:cNvSpPr/>
          <p:nvPr/>
        </p:nvSpPr>
        <p:spPr>
          <a:xfrm>
            <a:off x="9069136" y="6607470"/>
            <a:ext cx="214405" cy="231884"/>
          </a:xfrm>
          <a:custGeom>
            <a:avLst/>
            <a:gdLst>
              <a:gd name="connsiteX0" fmla="*/ 97881 w 214405"/>
              <a:gd name="connsiteY0" fmla="*/ 231884 h 231884"/>
              <a:gd name="connsiteX1" fmla="*/ 0 w 214405"/>
              <a:gd name="connsiteY1" fmla="*/ 231884 h 231884"/>
              <a:gd name="connsiteX2" fmla="*/ 114194 w 214405"/>
              <a:gd name="connsiteY2" fmla="*/ 116525 h 231884"/>
              <a:gd name="connsiteX3" fmla="*/ 0 w 214405"/>
              <a:gd name="connsiteY3" fmla="*/ 0 h 231884"/>
              <a:gd name="connsiteX4" fmla="*/ 100211 w 214405"/>
              <a:gd name="connsiteY4" fmla="*/ 0 h 231884"/>
              <a:gd name="connsiteX5" fmla="*/ 214406 w 214405"/>
              <a:gd name="connsiteY5" fmla="*/ 114194 h 23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1884">
                <a:moveTo>
                  <a:pt x="97881" y="231884"/>
                </a:moveTo>
                <a:lnTo>
                  <a:pt x="0" y="231884"/>
                </a:lnTo>
                <a:lnTo>
                  <a:pt x="114194" y="116525"/>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20" name="Freihandform: Form 19">
            <a:extLst>
              <a:ext uri="{FF2B5EF4-FFF2-40B4-BE49-F238E27FC236}">
                <a16:creationId xmlns:a16="http://schemas.microsoft.com/office/drawing/2014/main" id="{59C6ABB5-FB82-4897-A910-6DBB4D07120E}"/>
              </a:ext>
            </a:extLst>
          </p:cNvPr>
          <p:cNvSpPr/>
          <p:nvPr/>
        </p:nvSpPr>
        <p:spPr>
          <a:xfrm>
            <a:off x="9415215" y="1984931"/>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2351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5847"/>
                </a:lnTo>
                <a:lnTo>
                  <a:pt x="0" y="0"/>
                </a:lnTo>
                <a:lnTo>
                  <a:pt x="108368" y="0"/>
                </a:lnTo>
                <a:lnTo>
                  <a:pt x="230719" y="122351"/>
                </a:lnTo>
                <a:close/>
              </a:path>
            </a:pathLst>
          </a:custGeom>
          <a:solidFill>
            <a:srgbClr val="EEF2F5"/>
          </a:solidFill>
          <a:ln w="11643" cap="flat">
            <a:noFill/>
            <a:prstDash val="solid"/>
            <a:miter/>
          </a:ln>
        </p:spPr>
        <p:txBody>
          <a:bodyPr rtlCol="0" anchor="ctr"/>
          <a:lstStyle/>
          <a:p>
            <a:endParaRPr lang="de-DE"/>
          </a:p>
        </p:txBody>
      </p:sp>
      <p:sp>
        <p:nvSpPr>
          <p:cNvPr id="35" name="Freihandform: Form 34">
            <a:extLst>
              <a:ext uri="{FF2B5EF4-FFF2-40B4-BE49-F238E27FC236}">
                <a16:creationId xmlns:a16="http://schemas.microsoft.com/office/drawing/2014/main" id="{4B50BF8D-98A0-4C91-8957-BC9FDA550D32}"/>
              </a:ext>
            </a:extLst>
          </p:cNvPr>
          <p:cNvSpPr/>
          <p:nvPr/>
        </p:nvSpPr>
        <p:spPr>
          <a:xfrm>
            <a:off x="9415215" y="2339167"/>
            <a:ext cx="230718" cy="250528"/>
          </a:xfrm>
          <a:custGeom>
            <a:avLst/>
            <a:gdLst>
              <a:gd name="connsiteX0" fmla="*/ 106037 w 230718"/>
              <a:gd name="connsiteY0" fmla="*/ 250528 h 250528"/>
              <a:gd name="connsiteX1" fmla="*/ 0 w 230718"/>
              <a:gd name="connsiteY1" fmla="*/ 250528 h 250528"/>
              <a:gd name="connsiteX2" fmla="*/ 123516 w 230718"/>
              <a:gd name="connsiteY2" fmla="*/ 127012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7012"/>
                </a:lnTo>
                <a:lnTo>
                  <a:pt x="0" y="0"/>
                </a:lnTo>
                <a:lnTo>
                  <a:pt x="108368" y="0"/>
                </a:lnTo>
                <a:lnTo>
                  <a:pt x="230719" y="123516"/>
                </a:lnTo>
                <a:close/>
              </a:path>
            </a:pathLst>
          </a:custGeom>
          <a:solidFill>
            <a:srgbClr val="EEF2F5"/>
          </a:solidFill>
          <a:ln w="11643" cap="flat">
            <a:noFill/>
            <a:prstDash val="solid"/>
            <a:miter/>
          </a:ln>
        </p:spPr>
        <p:txBody>
          <a:bodyPr rtlCol="0" anchor="ctr"/>
          <a:lstStyle/>
          <a:p>
            <a:endParaRPr lang="de-DE"/>
          </a:p>
        </p:txBody>
      </p:sp>
      <p:sp>
        <p:nvSpPr>
          <p:cNvPr id="51" name="Freihandform: Form 50">
            <a:extLst>
              <a:ext uri="{FF2B5EF4-FFF2-40B4-BE49-F238E27FC236}">
                <a16:creationId xmlns:a16="http://schemas.microsoft.com/office/drawing/2014/main" id="{D1B3B4E3-CEF5-496B-A094-E4A3B0CD5519}"/>
              </a:ext>
            </a:extLst>
          </p:cNvPr>
          <p:cNvSpPr/>
          <p:nvPr/>
        </p:nvSpPr>
        <p:spPr>
          <a:xfrm>
            <a:off x="9415215" y="2694568"/>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5847"/>
                </a:lnTo>
                <a:lnTo>
                  <a:pt x="0" y="0"/>
                </a:lnTo>
                <a:lnTo>
                  <a:pt x="108368" y="0"/>
                </a:lnTo>
                <a:lnTo>
                  <a:pt x="230719" y="123516"/>
                </a:lnTo>
                <a:close/>
              </a:path>
            </a:pathLst>
          </a:custGeom>
          <a:solidFill>
            <a:srgbClr val="EEF2F5"/>
          </a:solidFill>
          <a:ln w="11643" cap="flat">
            <a:noFill/>
            <a:prstDash val="solid"/>
            <a:miter/>
          </a:ln>
        </p:spPr>
        <p:txBody>
          <a:bodyPr rtlCol="0" anchor="ctr"/>
          <a:lstStyle/>
          <a:p>
            <a:endParaRPr lang="de-DE"/>
          </a:p>
        </p:txBody>
      </p:sp>
      <p:sp>
        <p:nvSpPr>
          <p:cNvPr id="67" name="Freihandform: Form 66">
            <a:extLst>
              <a:ext uri="{FF2B5EF4-FFF2-40B4-BE49-F238E27FC236}">
                <a16:creationId xmlns:a16="http://schemas.microsoft.com/office/drawing/2014/main" id="{03766B2F-D62E-4376-B19A-E9A0137C9FF8}"/>
              </a:ext>
            </a:extLst>
          </p:cNvPr>
          <p:cNvSpPr/>
          <p:nvPr/>
        </p:nvSpPr>
        <p:spPr>
          <a:xfrm>
            <a:off x="9415215" y="3048803"/>
            <a:ext cx="230718" cy="250528"/>
          </a:xfrm>
          <a:custGeom>
            <a:avLst/>
            <a:gdLst>
              <a:gd name="connsiteX0" fmla="*/ 106037 w 230718"/>
              <a:gd name="connsiteY0" fmla="*/ 250528 h 250528"/>
              <a:gd name="connsiteX1" fmla="*/ 0 w 230718"/>
              <a:gd name="connsiteY1" fmla="*/ 250528 h 250528"/>
              <a:gd name="connsiteX2" fmla="*/ 123516 w 230718"/>
              <a:gd name="connsiteY2" fmla="*/ 127012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7012"/>
                </a:lnTo>
                <a:lnTo>
                  <a:pt x="0" y="0"/>
                </a:lnTo>
                <a:lnTo>
                  <a:pt x="108368" y="0"/>
                </a:lnTo>
                <a:lnTo>
                  <a:pt x="230719" y="123516"/>
                </a:lnTo>
                <a:close/>
              </a:path>
            </a:pathLst>
          </a:custGeom>
          <a:solidFill>
            <a:srgbClr val="EEF2F5"/>
          </a:solidFill>
          <a:ln w="11643" cap="flat">
            <a:noFill/>
            <a:prstDash val="solid"/>
            <a:miter/>
          </a:ln>
        </p:spPr>
        <p:txBody>
          <a:bodyPr rtlCol="0" anchor="ctr"/>
          <a:lstStyle/>
          <a:p>
            <a:endParaRPr lang="de-DE"/>
          </a:p>
        </p:txBody>
      </p:sp>
      <p:sp>
        <p:nvSpPr>
          <p:cNvPr id="83" name="Freihandform: Form 82">
            <a:extLst>
              <a:ext uri="{FF2B5EF4-FFF2-40B4-BE49-F238E27FC236}">
                <a16:creationId xmlns:a16="http://schemas.microsoft.com/office/drawing/2014/main" id="{AF30F1BC-BAAD-4C43-8F77-BAF589EBE37F}"/>
              </a:ext>
            </a:extLst>
          </p:cNvPr>
          <p:cNvSpPr/>
          <p:nvPr/>
        </p:nvSpPr>
        <p:spPr>
          <a:xfrm>
            <a:off x="9415215" y="3404203"/>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5847"/>
                </a:lnTo>
                <a:lnTo>
                  <a:pt x="0" y="0"/>
                </a:lnTo>
                <a:lnTo>
                  <a:pt x="108368" y="0"/>
                </a:lnTo>
                <a:lnTo>
                  <a:pt x="230719" y="123516"/>
                </a:lnTo>
                <a:close/>
              </a:path>
            </a:pathLst>
          </a:custGeom>
          <a:solidFill>
            <a:srgbClr val="EEF2F5"/>
          </a:solidFill>
          <a:ln w="11643" cap="flat">
            <a:noFill/>
            <a:prstDash val="solid"/>
            <a:miter/>
          </a:ln>
        </p:spPr>
        <p:txBody>
          <a:bodyPr rtlCol="0" anchor="ctr"/>
          <a:lstStyle/>
          <a:p>
            <a:endParaRPr lang="de-DE"/>
          </a:p>
        </p:txBody>
      </p:sp>
      <p:sp>
        <p:nvSpPr>
          <p:cNvPr id="99" name="Freihandform: Form 98">
            <a:extLst>
              <a:ext uri="{FF2B5EF4-FFF2-40B4-BE49-F238E27FC236}">
                <a16:creationId xmlns:a16="http://schemas.microsoft.com/office/drawing/2014/main" id="{EB01FE63-3ABC-4A0B-B6A7-BC06FBCD3820}"/>
              </a:ext>
            </a:extLst>
          </p:cNvPr>
          <p:cNvSpPr/>
          <p:nvPr/>
        </p:nvSpPr>
        <p:spPr>
          <a:xfrm>
            <a:off x="9415215" y="3758439"/>
            <a:ext cx="230718" cy="251693"/>
          </a:xfrm>
          <a:custGeom>
            <a:avLst/>
            <a:gdLst>
              <a:gd name="connsiteX0" fmla="*/ 106037 w 230718"/>
              <a:gd name="connsiteY0" fmla="*/ 251694 h 251693"/>
              <a:gd name="connsiteX1" fmla="*/ 0 w 230718"/>
              <a:gd name="connsiteY1" fmla="*/ 251694 h 251693"/>
              <a:gd name="connsiteX2" fmla="*/ 123516 w 230718"/>
              <a:gd name="connsiteY2" fmla="*/ 127012 h 251693"/>
              <a:gd name="connsiteX3" fmla="*/ 0 w 230718"/>
              <a:gd name="connsiteY3" fmla="*/ 0 h 251693"/>
              <a:gd name="connsiteX4" fmla="*/ 108368 w 230718"/>
              <a:gd name="connsiteY4" fmla="*/ 0 h 251693"/>
              <a:gd name="connsiteX5" fmla="*/ 230719 w 230718"/>
              <a:gd name="connsiteY5" fmla="*/ 123516 h 251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1693">
                <a:moveTo>
                  <a:pt x="106037" y="251694"/>
                </a:moveTo>
                <a:lnTo>
                  <a:pt x="0" y="251694"/>
                </a:lnTo>
                <a:lnTo>
                  <a:pt x="123516" y="127012"/>
                </a:lnTo>
                <a:lnTo>
                  <a:pt x="0" y="0"/>
                </a:lnTo>
                <a:lnTo>
                  <a:pt x="108368" y="0"/>
                </a:lnTo>
                <a:lnTo>
                  <a:pt x="230719" y="123516"/>
                </a:lnTo>
                <a:close/>
              </a:path>
            </a:pathLst>
          </a:custGeom>
          <a:solidFill>
            <a:srgbClr val="EEF2F5"/>
          </a:solidFill>
          <a:ln w="11643" cap="flat">
            <a:noFill/>
            <a:prstDash val="solid"/>
            <a:miter/>
          </a:ln>
        </p:spPr>
        <p:txBody>
          <a:bodyPr rtlCol="0" anchor="ctr"/>
          <a:lstStyle/>
          <a:p>
            <a:endParaRPr lang="de-DE"/>
          </a:p>
        </p:txBody>
      </p:sp>
      <p:sp>
        <p:nvSpPr>
          <p:cNvPr id="115" name="Freihandform: Form 114">
            <a:extLst>
              <a:ext uri="{FF2B5EF4-FFF2-40B4-BE49-F238E27FC236}">
                <a16:creationId xmlns:a16="http://schemas.microsoft.com/office/drawing/2014/main" id="{A88CE84F-0A79-46B8-839D-DEE0DC50B30B}"/>
              </a:ext>
            </a:extLst>
          </p:cNvPr>
          <p:cNvSpPr/>
          <p:nvPr/>
        </p:nvSpPr>
        <p:spPr>
          <a:xfrm>
            <a:off x="9415215" y="4113840"/>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5847"/>
                </a:lnTo>
                <a:lnTo>
                  <a:pt x="0" y="0"/>
                </a:lnTo>
                <a:lnTo>
                  <a:pt x="108368" y="0"/>
                </a:lnTo>
                <a:lnTo>
                  <a:pt x="230719" y="123516"/>
                </a:lnTo>
                <a:close/>
              </a:path>
            </a:pathLst>
          </a:custGeom>
          <a:solidFill>
            <a:srgbClr val="EEF2F5"/>
          </a:solidFill>
          <a:ln w="11643" cap="flat">
            <a:noFill/>
            <a:prstDash val="solid"/>
            <a:miter/>
          </a:ln>
        </p:spPr>
        <p:txBody>
          <a:bodyPr rtlCol="0" anchor="ctr"/>
          <a:lstStyle/>
          <a:p>
            <a:endParaRPr lang="de-DE"/>
          </a:p>
        </p:txBody>
      </p:sp>
      <p:sp>
        <p:nvSpPr>
          <p:cNvPr id="131" name="Freihandform: Form 130">
            <a:extLst>
              <a:ext uri="{FF2B5EF4-FFF2-40B4-BE49-F238E27FC236}">
                <a16:creationId xmlns:a16="http://schemas.microsoft.com/office/drawing/2014/main" id="{F56B8540-4A40-448B-96CE-F13FEB89FE24}"/>
              </a:ext>
            </a:extLst>
          </p:cNvPr>
          <p:cNvSpPr/>
          <p:nvPr/>
        </p:nvSpPr>
        <p:spPr>
          <a:xfrm>
            <a:off x="9415215" y="4469240"/>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2351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5847"/>
                </a:lnTo>
                <a:lnTo>
                  <a:pt x="0" y="0"/>
                </a:lnTo>
                <a:lnTo>
                  <a:pt x="108368" y="0"/>
                </a:lnTo>
                <a:lnTo>
                  <a:pt x="230719" y="122351"/>
                </a:lnTo>
                <a:close/>
              </a:path>
            </a:pathLst>
          </a:custGeom>
          <a:solidFill>
            <a:srgbClr val="EEF2F5"/>
          </a:solidFill>
          <a:ln w="11643" cap="flat">
            <a:noFill/>
            <a:prstDash val="solid"/>
            <a:miter/>
          </a:ln>
        </p:spPr>
        <p:txBody>
          <a:bodyPr rtlCol="0" anchor="ctr"/>
          <a:lstStyle/>
          <a:p>
            <a:endParaRPr lang="de-DE"/>
          </a:p>
        </p:txBody>
      </p:sp>
      <p:sp>
        <p:nvSpPr>
          <p:cNvPr id="148" name="Freihandform: Form 147">
            <a:extLst>
              <a:ext uri="{FF2B5EF4-FFF2-40B4-BE49-F238E27FC236}">
                <a16:creationId xmlns:a16="http://schemas.microsoft.com/office/drawing/2014/main" id="{FA4D92A2-824B-4123-BA21-136199CED582}"/>
              </a:ext>
            </a:extLst>
          </p:cNvPr>
          <p:cNvSpPr/>
          <p:nvPr/>
        </p:nvSpPr>
        <p:spPr>
          <a:xfrm>
            <a:off x="9415215" y="4823475"/>
            <a:ext cx="230718" cy="250528"/>
          </a:xfrm>
          <a:custGeom>
            <a:avLst/>
            <a:gdLst>
              <a:gd name="connsiteX0" fmla="*/ 106037 w 230718"/>
              <a:gd name="connsiteY0" fmla="*/ 250528 h 250528"/>
              <a:gd name="connsiteX1" fmla="*/ 0 w 230718"/>
              <a:gd name="connsiteY1" fmla="*/ 250528 h 250528"/>
              <a:gd name="connsiteX2" fmla="*/ 123516 w 230718"/>
              <a:gd name="connsiteY2" fmla="*/ 127012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7012"/>
                </a:lnTo>
                <a:lnTo>
                  <a:pt x="0" y="0"/>
                </a:lnTo>
                <a:lnTo>
                  <a:pt x="108368" y="0"/>
                </a:lnTo>
                <a:lnTo>
                  <a:pt x="230719" y="123516"/>
                </a:lnTo>
                <a:close/>
              </a:path>
            </a:pathLst>
          </a:custGeom>
          <a:solidFill>
            <a:srgbClr val="EEF2F5"/>
          </a:solidFill>
          <a:ln w="11643" cap="flat">
            <a:noFill/>
            <a:prstDash val="solid"/>
            <a:miter/>
          </a:ln>
        </p:spPr>
        <p:txBody>
          <a:bodyPr rtlCol="0" anchor="ctr"/>
          <a:lstStyle/>
          <a:p>
            <a:endParaRPr lang="de-DE"/>
          </a:p>
        </p:txBody>
      </p:sp>
      <p:sp>
        <p:nvSpPr>
          <p:cNvPr id="165" name="Freihandform: Form 164">
            <a:extLst>
              <a:ext uri="{FF2B5EF4-FFF2-40B4-BE49-F238E27FC236}">
                <a16:creationId xmlns:a16="http://schemas.microsoft.com/office/drawing/2014/main" id="{B480051A-E4BB-4D8D-9463-F9DC0CB12BA8}"/>
              </a:ext>
            </a:extLst>
          </p:cNvPr>
          <p:cNvSpPr/>
          <p:nvPr/>
        </p:nvSpPr>
        <p:spPr>
          <a:xfrm>
            <a:off x="9415215" y="5178876"/>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2351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5847"/>
                </a:lnTo>
                <a:lnTo>
                  <a:pt x="0" y="0"/>
                </a:lnTo>
                <a:lnTo>
                  <a:pt x="108368" y="0"/>
                </a:lnTo>
                <a:lnTo>
                  <a:pt x="230719" y="122351"/>
                </a:lnTo>
                <a:close/>
              </a:path>
            </a:pathLst>
          </a:custGeom>
          <a:solidFill>
            <a:srgbClr val="EEF2F5"/>
          </a:solidFill>
          <a:ln w="11643" cap="flat">
            <a:noFill/>
            <a:prstDash val="solid"/>
            <a:miter/>
          </a:ln>
        </p:spPr>
        <p:txBody>
          <a:bodyPr rtlCol="0" anchor="ctr"/>
          <a:lstStyle/>
          <a:p>
            <a:endParaRPr lang="de-DE"/>
          </a:p>
        </p:txBody>
      </p:sp>
      <p:sp>
        <p:nvSpPr>
          <p:cNvPr id="182" name="Freihandform: Form 181">
            <a:extLst>
              <a:ext uri="{FF2B5EF4-FFF2-40B4-BE49-F238E27FC236}">
                <a16:creationId xmlns:a16="http://schemas.microsoft.com/office/drawing/2014/main" id="{8B9C7922-A46C-4300-8536-75C60F1BDA2A}"/>
              </a:ext>
            </a:extLst>
          </p:cNvPr>
          <p:cNvSpPr/>
          <p:nvPr/>
        </p:nvSpPr>
        <p:spPr>
          <a:xfrm>
            <a:off x="9415215" y="5533111"/>
            <a:ext cx="230718" cy="250528"/>
          </a:xfrm>
          <a:custGeom>
            <a:avLst/>
            <a:gdLst>
              <a:gd name="connsiteX0" fmla="*/ 106037 w 230718"/>
              <a:gd name="connsiteY0" fmla="*/ 250528 h 250528"/>
              <a:gd name="connsiteX1" fmla="*/ 0 w 230718"/>
              <a:gd name="connsiteY1" fmla="*/ 250528 h 250528"/>
              <a:gd name="connsiteX2" fmla="*/ 123516 w 230718"/>
              <a:gd name="connsiteY2" fmla="*/ 127012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7012"/>
                </a:lnTo>
                <a:lnTo>
                  <a:pt x="0" y="0"/>
                </a:lnTo>
                <a:lnTo>
                  <a:pt x="108368" y="0"/>
                </a:lnTo>
                <a:lnTo>
                  <a:pt x="230719" y="123516"/>
                </a:lnTo>
                <a:close/>
              </a:path>
            </a:pathLst>
          </a:custGeom>
          <a:solidFill>
            <a:srgbClr val="EEF2F5"/>
          </a:solidFill>
          <a:ln w="11643" cap="flat">
            <a:noFill/>
            <a:prstDash val="solid"/>
            <a:miter/>
          </a:ln>
        </p:spPr>
        <p:txBody>
          <a:bodyPr rtlCol="0" anchor="ctr"/>
          <a:lstStyle/>
          <a:p>
            <a:endParaRPr lang="de-DE"/>
          </a:p>
        </p:txBody>
      </p:sp>
      <p:sp>
        <p:nvSpPr>
          <p:cNvPr id="199" name="Freihandform: Form 198">
            <a:extLst>
              <a:ext uri="{FF2B5EF4-FFF2-40B4-BE49-F238E27FC236}">
                <a16:creationId xmlns:a16="http://schemas.microsoft.com/office/drawing/2014/main" id="{808E1183-99E4-4B7F-B544-06366CD89D96}"/>
              </a:ext>
            </a:extLst>
          </p:cNvPr>
          <p:cNvSpPr/>
          <p:nvPr/>
        </p:nvSpPr>
        <p:spPr>
          <a:xfrm>
            <a:off x="9415215" y="5888512"/>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2351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5847"/>
                </a:lnTo>
                <a:lnTo>
                  <a:pt x="0" y="0"/>
                </a:lnTo>
                <a:lnTo>
                  <a:pt x="108368" y="0"/>
                </a:lnTo>
                <a:lnTo>
                  <a:pt x="230719" y="122351"/>
                </a:lnTo>
                <a:close/>
              </a:path>
            </a:pathLst>
          </a:custGeom>
          <a:solidFill>
            <a:srgbClr val="EEF2F5"/>
          </a:solidFill>
          <a:ln w="11643" cap="flat">
            <a:noFill/>
            <a:prstDash val="solid"/>
            <a:miter/>
          </a:ln>
        </p:spPr>
        <p:txBody>
          <a:bodyPr rtlCol="0" anchor="ctr"/>
          <a:lstStyle/>
          <a:p>
            <a:endParaRPr lang="de-DE"/>
          </a:p>
        </p:txBody>
      </p:sp>
      <p:sp>
        <p:nvSpPr>
          <p:cNvPr id="216" name="Freihandform: Form 215">
            <a:extLst>
              <a:ext uri="{FF2B5EF4-FFF2-40B4-BE49-F238E27FC236}">
                <a16:creationId xmlns:a16="http://schemas.microsoft.com/office/drawing/2014/main" id="{CD034923-4C0A-4423-8672-AB74CD3F1B7B}"/>
              </a:ext>
            </a:extLst>
          </p:cNvPr>
          <p:cNvSpPr/>
          <p:nvPr/>
        </p:nvSpPr>
        <p:spPr>
          <a:xfrm>
            <a:off x="9415215" y="6242748"/>
            <a:ext cx="230718" cy="250528"/>
          </a:xfrm>
          <a:custGeom>
            <a:avLst/>
            <a:gdLst>
              <a:gd name="connsiteX0" fmla="*/ 106037 w 230718"/>
              <a:gd name="connsiteY0" fmla="*/ 250528 h 250528"/>
              <a:gd name="connsiteX1" fmla="*/ 0 w 230718"/>
              <a:gd name="connsiteY1" fmla="*/ 250528 h 250528"/>
              <a:gd name="connsiteX2" fmla="*/ 123516 w 230718"/>
              <a:gd name="connsiteY2" fmla="*/ 127012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7012"/>
                </a:lnTo>
                <a:lnTo>
                  <a:pt x="0" y="0"/>
                </a:lnTo>
                <a:lnTo>
                  <a:pt x="108368" y="0"/>
                </a:lnTo>
                <a:lnTo>
                  <a:pt x="230719" y="123516"/>
                </a:lnTo>
                <a:close/>
              </a:path>
            </a:pathLst>
          </a:custGeom>
          <a:solidFill>
            <a:srgbClr val="EEF2F5"/>
          </a:solidFill>
          <a:ln w="11643" cap="flat">
            <a:noFill/>
            <a:prstDash val="solid"/>
            <a:miter/>
          </a:ln>
        </p:spPr>
        <p:txBody>
          <a:bodyPr rtlCol="0" anchor="ctr"/>
          <a:lstStyle/>
          <a:p>
            <a:endParaRPr lang="de-DE"/>
          </a:p>
        </p:txBody>
      </p:sp>
      <p:sp>
        <p:nvSpPr>
          <p:cNvPr id="232" name="Freihandform: Form 231">
            <a:extLst>
              <a:ext uri="{FF2B5EF4-FFF2-40B4-BE49-F238E27FC236}">
                <a16:creationId xmlns:a16="http://schemas.microsoft.com/office/drawing/2014/main" id="{B9006F61-C8F9-435F-8E25-867EF66AB2C0}"/>
              </a:ext>
            </a:extLst>
          </p:cNvPr>
          <p:cNvSpPr/>
          <p:nvPr/>
        </p:nvSpPr>
        <p:spPr>
          <a:xfrm>
            <a:off x="9415215" y="6598148"/>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2351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5847"/>
                </a:lnTo>
                <a:lnTo>
                  <a:pt x="0" y="0"/>
                </a:lnTo>
                <a:lnTo>
                  <a:pt x="108368" y="0"/>
                </a:lnTo>
                <a:lnTo>
                  <a:pt x="230719" y="122351"/>
                </a:lnTo>
                <a:close/>
              </a:path>
            </a:pathLst>
          </a:custGeom>
          <a:solidFill>
            <a:srgbClr val="EEF2F5"/>
          </a:solidFill>
          <a:ln w="11643" cap="flat">
            <a:noFill/>
            <a:prstDash val="solid"/>
            <a:miter/>
          </a:ln>
        </p:spPr>
        <p:txBody>
          <a:bodyPr rtlCol="0" anchor="ctr"/>
          <a:lstStyle/>
          <a:p>
            <a:endParaRPr lang="de-DE"/>
          </a:p>
        </p:txBody>
      </p:sp>
      <p:sp>
        <p:nvSpPr>
          <p:cNvPr id="21" name="Freihandform: Form 20">
            <a:extLst>
              <a:ext uri="{FF2B5EF4-FFF2-40B4-BE49-F238E27FC236}">
                <a16:creationId xmlns:a16="http://schemas.microsoft.com/office/drawing/2014/main" id="{FA010AB3-93D2-478F-82A2-79D3EAB3E973}"/>
              </a:ext>
            </a:extLst>
          </p:cNvPr>
          <p:cNvSpPr/>
          <p:nvPr/>
        </p:nvSpPr>
        <p:spPr>
          <a:xfrm>
            <a:off x="9761293" y="1975610"/>
            <a:ext cx="248198" cy="269172"/>
          </a:xfrm>
          <a:custGeom>
            <a:avLst/>
            <a:gdLst>
              <a:gd name="connsiteX0" fmla="*/ 114195 w 248198"/>
              <a:gd name="connsiteY0" fmla="*/ 269172 h 269172"/>
              <a:gd name="connsiteX1" fmla="*/ 0 w 248198"/>
              <a:gd name="connsiteY1" fmla="*/ 269172 h 269172"/>
              <a:gd name="connsiteX2" fmla="*/ 132838 w 248198"/>
              <a:gd name="connsiteY2" fmla="*/ 135169 h 269172"/>
              <a:gd name="connsiteX3" fmla="*/ 0 w 248198"/>
              <a:gd name="connsiteY3" fmla="*/ 0 h 269172"/>
              <a:gd name="connsiteX4" fmla="*/ 116525 w 248198"/>
              <a:gd name="connsiteY4" fmla="*/ 0 h 269172"/>
              <a:gd name="connsiteX5" fmla="*/ 248198 w 248198"/>
              <a:gd name="connsiteY5" fmla="*/ 131673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endParaRPr lang="de-DE"/>
          </a:p>
        </p:txBody>
      </p:sp>
      <p:sp>
        <p:nvSpPr>
          <p:cNvPr id="36" name="Freihandform: Form 35">
            <a:extLst>
              <a:ext uri="{FF2B5EF4-FFF2-40B4-BE49-F238E27FC236}">
                <a16:creationId xmlns:a16="http://schemas.microsoft.com/office/drawing/2014/main" id="{E7957182-0D78-447E-AD11-155CFFA4EFCF}"/>
              </a:ext>
            </a:extLst>
          </p:cNvPr>
          <p:cNvSpPr/>
          <p:nvPr/>
        </p:nvSpPr>
        <p:spPr>
          <a:xfrm>
            <a:off x="9761293" y="2331010"/>
            <a:ext cx="248198" cy="268007"/>
          </a:xfrm>
          <a:custGeom>
            <a:avLst/>
            <a:gdLst>
              <a:gd name="connsiteX0" fmla="*/ 114195 w 248198"/>
              <a:gd name="connsiteY0" fmla="*/ 268007 h 268007"/>
              <a:gd name="connsiteX1" fmla="*/ 0 w 248198"/>
              <a:gd name="connsiteY1" fmla="*/ 268007 h 268007"/>
              <a:gd name="connsiteX2" fmla="*/ 132838 w 248198"/>
              <a:gd name="connsiteY2" fmla="*/ 135169 h 268007"/>
              <a:gd name="connsiteX3" fmla="*/ 0 w 248198"/>
              <a:gd name="connsiteY3" fmla="*/ 0 h 268007"/>
              <a:gd name="connsiteX4" fmla="*/ 116525 w 248198"/>
              <a:gd name="connsiteY4" fmla="*/ 0 h 268007"/>
              <a:gd name="connsiteX5" fmla="*/ 248198 w 248198"/>
              <a:gd name="connsiteY5" fmla="*/ 131673 h 268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8007">
                <a:moveTo>
                  <a:pt x="114195" y="268007"/>
                </a:moveTo>
                <a:lnTo>
                  <a:pt x="0" y="268007"/>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endParaRPr lang="de-DE"/>
          </a:p>
        </p:txBody>
      </p:sp>
      <p:sp>
        <p:nvSpPr>
          <p:cNvPr id="52" name="Freihandform: Form 51">
            <a:extLst>
              <a:ext uri="{FF2B5EF4-FFF2-40B4-BE49-F238E27FC236}">
                <a16:creationId xmlns:a16="http://schemas.microsoft.com/office/drawing/2014/main" id="{D00B278C-4E10-45E8-A202-B55CBB4B885E}"/>
              </a:ext>
            </a:extLst>
          </p:cNvPr>
          <p:cNvSpPr/>
          <p:nvPr/>
        </p:nvSpPr>
        <p:spPr>
          <a:xfrm>
            <a:off x="9761293" y="2685246"/>
            <a:ext cx="248198" cy="269172"/>
          </a:xfrm>
          <a:custGeom>
            <a:avLst/>
            <a:gdLst>
              <a:gd name="connsiteX0" fmla="*/ 114195 w 248198"/>
              <a:gd name="connsiteY0" fmla="*/ 269172 h 269172"/>
              <a:gd name="connsiteX1" fmla="*/ 0 w 248198"/>
              <a:gd name="connsiteY1" fmla="*/ 269172 h 269172"/>
              <a:gd name="connsiteX2" fmla="*/ 132838 w 248198"/>
              <a:gd name="connsiteY2" fmla="*/ 135169 h 269172"/>
              <a:gd name="connsiteX3" fmla="*/ 0 w 248198"/>
              <a:gd name="connsiteY3" fmla="*/ 0 h 269172"/>
              <a:gd name="connsiteX4" fmla="*/ 116525 w 248198"/>
              <a:gd name="connsiteY4" fmla="*/ 0 h 269172"/>
              <a:gd name="connsiteX5" fmla="*/ 248198 w 248198"/>
              <a:gd name="connsiteY5" fmla="*/ 131673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endParaRPr lang="de-DE"/>
          </a:p>
        </p:txBody>
      </p:sp>
      <p:sp>
        <p:nvSpPr>
          <p:cNvPr id="68" name="Freihandform: Form 67">
            <a:extLst>
              <a:ext uri="{FF2B5EF4-FFF2-40B4-BE49-F238E27FC236}">
                <a16:creationId xmlns:a16="http://schemas.microsoft.com/office/drawing/2014/main" id="{0496EBBE-CFB1-46AA-A6F5-690502856668}"/>
              </a:ext>
            </a:extLst>
          </p:cNvPr>
          <p:cNvSpPr/>
          <p:nvPr/>
        </p:nvSpPr>
        <p:spPr>
          <a:xfrm>
            <a:off x="9761293" y="3040646"/>
            <a:ext cx="248198" cy="268007"/>
          </a:xfrm>
          <a:custGeom>
            <a:avLst/>
            <a:gdLst>
              <a:gd name="connsiteX0" fmla="*/ 114195 w 248198"/>
              <a:gd name="connsiteY0" fmla="*/ 268007 h 268007"/>
              <a:gd name="connsiteX1" fmla="*/ 0 w 248198"/>
              <a:gd name="connsiteY1" fmla="*/ 268007 h 268007"/>
              <a:gd name="connsiteX2" fmla="*/ 132838 w 248198"/>
              <a:gd name="connsiteY2" fmla="*/ 135169 h 268007"/>
              <a:gd name="connsiteX3" fmla="*/ 0 w 248198"/>
              <a:gd name="connsiteY3" fmla="*/ 0 h 268007"/>
              <a:gd name="connsiteX4" fmla="*/ 116525 w 248198"/>
              <a:gd name="connsiteY4" fmla="*/ 0 h 268007"/>
              <a:gd name="connsiteX5" fmla="*/ 248198 w 248198"/>
              <a:gd name="connsiteY5" fmla="*/ 131673 h 268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8007">
                <a:moveTo>
                  <a:pt x="114195" y="268007"/>
                </a:moveTo>
                <a:lnTo>
                  <a:pt x="0" y="268007"/>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endParaRPr lang="de-DE"/>
          </a:p>
        </p:txBody>
      </p:sp>
      <p:sp>
        <p:nvSpPr>
          <p:cNvPr id="84" name="Freihandform: Form 83">
            <a:extLst>
              <a:ext uri="{FF2B5EF4-FFF2-40B4-BE49-F238E27FC236}">
                <a16:creationId xmlns:a16="http://schemas.microsoft.com/office/drawing/2014/main" id="{A40B40D6-E2B0-405B-8866-4C365074F335}"/>
              </a:ext>
            </a:extLst>
          </p:cNvPr>
          <p:cNvSpPr/>
          <p:nvPr/>
        </p:nvSpPr>
        <p:spPr>
          <a:xfrm>
            <a:off x="9761293" y="3394882"/>
            <a:ext cx="248198" cy="269172"/>
          </a:xfrm>
          <a:custGeom>
            <a:avLst/>
            <a:gdLst>
              <a:gd name="connsiteX0" fmla="*/ 114195 w 248198"/>
              <a:gd name="connsiteY0" fmla="*/ 269172 h 269172"/>
              <a:gd name="connsiteX1" fmla="*/ 0 w 248198"/>
              <a:gd name="connsiteY1" fmla="*/ 269172 h 269172"/>
              <a:gd name="connsiteX2" fmla="*/ 132838 w 248198"/>
              <a:gd name="connsiteY2" fmla="*/ 135169 h 269172"/>
              <a:gd name="connsiteX3" fmla="*/ 0 w 248198"/>
              <a:gd name="connsiteY3" fmla="*/ 0 h 269172"/>
              <a:gd name="connsiteX4" fmla="*/ 116525 w 248198"/>
              <a:gd name="connsiteY4" fmla="*/ 0 h 269172"/>
              <a:gd name="connsiteX5" fmla="*/ 248198 w 248198"/>
              <a:gd name="connsiteY5" fmla="*/ 131673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endParaRPr lang="de-DE"/>
          </a:p>
        </p:txBody>
      </p:sp>
      <p:sp>
        <p:nvSpPr>
          <p:cNvPr id="100" name="Freihandform: Form 99">
            <a:extLst>
              <a:ext uri="{FF2B5EF4-FFF2-40B4-BE49-F238E27FC236}">
                <a16:creationId xmlns:a16="http://schemas.microsoft.com/office/drawing/2014/main" id="{B976F48C-00EC-49CD-AA95-7B3C97644278}"/>
              </a:ext>
            </a:extLst>
          </p:cNvPr>
          <p:cNvSpPr/>
          <p:nvPr/>
        </p:nvSpPr>
        <p:spPr>
          <a:xfrm>
            <a:off x="9761293" y="3750282"/>
            <a:ext cx="248198" cy="268007"/>
          </a:xfrm>
          <a:custGeom>
            <a:avLst/>
            <a:gdLst>
              <a:gd name="connsiteX0" fmla="*/ 114195 w 248198"/>
              <a:gd name="connsiteY0" fmla="*/ 268007 h 268007"/>
              <a:gd name="connsiteX1" fmla="*/ 0 w 248198"/>
              <a:gd name="connsiteY1" fmla="*/ 268007 h 268007"/>
              <a:gd name="connsiteX2" fmla="*/ 132838 w 248198"/>
              <a:gd name="connsiteY2" fmla="*/ 135169 h 268007"/>
              <a:gd name="connsiteX3" fmla="*/ 0 w 248198"/>
              <a:gd name="connsiteY3" fmla="*/ 0 h 268007"/>
              <a:gd name="connsiteX4" fmla="*/ 116525 w 248198"/>
              <a:gd name="connsiteY4" fmla="*/ 0 h 268007"/>
              <a:gd name="connsiteX5" fmla="*/ 248198 w 248198"/>
              <a:gd name="connsiteY5" fmla="*/ 131673 h 268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8007">
                <a:moveTo>
                  <a:pt x="114195" y="268007"/>
                </a:moveTo>
                <a:lnTo>
                  <a:pt x="0" y="268007"/>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endParaRPr lang="de-DE"/>
          </a:p>
        </p:txBody>
      </p:sp>
      <p:sp>
        <p:nvSpPr>
          <p:cNvPr id="116" name="Freihandform: Form 115">
            <a:extLst>
              <a:ext uri="{FF2B5EF4-FFF2-40B4-BE49-F238E27FC236}">
                <a16:creationId xmlns:a16="http://schemas.microsoft.com/office/drawing/2014/main" id="{DFC41532-B3AB-4B18-A81F-7D2CA52826B2}"/>
              </a:ext>
            </a:extLst>
          </p:cNvPr>
          <p:cNvSpPr/>
          <p:nvPr/>
        </p:nvSpPr>
        <p:spPr>
          <a:xfrm>
            <a:off x="9761293" y="4104518"/>
            <a:ext cx="248198" cy="269172"/>
          </a:xfrm>
          <a:custGeom>
            <a:avLst/>
            <a:gdLst>
              <a:gd name="connsiteX0" fmla="*/ 114195 w 248198"/>
              <a:gd name="connsiteY0" fmla="*/ 269172 h 269172"/>
              <a:gd name="connsiteX1" fmla="*/ 0 w 248198"/>
              <a:gd name="connsiteY1" fmla="*/ 269172 h 269172"/>
              <a:gd name="connsiteX2" fmla="*/ 132838 w 248198"/>
              <a:gd name="connsiteY2" fmla="*/ 136334 h 269172"/>
              <a:gd name="connsiteX3" fmla="*/ 0 w 248198"/>
              <a:gd name="connsiteY3" fmla="*/ 0 h 269172"/>
              <a:gd name="connsiteX4" fmla="*/ 116525 w 248198"/>
              <a:gd name="connsiteY4" fmla="*/ 0 h 269172"/>
              <a:gd name="connsiteX5" fmla="*/ 248198 w 248198"/>
              <a:gd name="connsiteY5" fmla="*/ 132838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6334"/>
                </a:lnTo>
                <a:lnTo>
                  <a:pt x="0" y="0"/>
                </a:lnTo>
                <a:lnTo>
                  <a:pt x="116525" y="0"/>
                </a:lnTo>
                <a:lnTo>
                  <a:pt x="248198" y="132838"/>
                </a:lnTo>
                <a:close/>
              </a:path>
            </a:pathLst>
          </a:custGeom>
          <a:solidFill>
            <a:srgbClr val="EEF2F5"/>
          </a:solidFill>
          <a:ln w="11643" cap="flat">
            <a:noFill/>
            <a:prstDash val="solid"/>
            <a:miter/>
          </a:ln>
        </p:spPr>
        <p:txBody>
          <a:bodyPr rtlCol="0" anchor="ctr"/>
          <a:lstStyle/>
          <a:p>
            <a:endParaRPr lang="de-DE"/>
          </a:p>
        </p:txBody>
      </p:sp>
      <p:sp>
        <p:nvSpPr>
          <p:cNvPr id="132" name="Freihandform: Form 131">
            <a:extLst>
              <a:ext uri="{FF2B5EF4-FFF2-40B4-BE49-F238E27FC236}">
                <a16:creationId xmlns:a16="http://schemas.microsoft.com/office/drawing/2014/main" id="{ADC8DAC7-8942-46EB-9D62-4E4C4662A9C7}"/>
              </a:ext>
            </a:extLst>
          </p:cNvPr>
          <p:cNvSpPr/>
          <p:nvPr/>
        </p:nvSpPr>
        <p:spPr>
          <a:xfrm>
            <a:off x="9761293" y="4459918"/>
            <a:ext cx="248198" cy="268007"/>
          </a:xfrm>
          <a:custGeom>
            <a:avLst/>
            <a:gdLst>
              <a:gd name="connsiteX0" fmla="*/ 114195 w 248198"/>
              <a:gd name="connsiteY0" fmla="*/ 268007 h 268007"/>
              <a:gd name="connsiteX1" fmla="*/ 0 w 248198"/>
              <a:gd name="connsiteY1" fmla="*/ 268007 h 268007"/>
              <a:gd name="connsiteX2" fmla="*/ 132838 w 248198"/>
              <a:gd name="connsiteY2" fmla="*/ 135169 h 268007"/>
              <a:gd name="connsiteX3" fmla="*/ 0 w 248198"/>
              <a:gd name="connsiteY3" fmla="*/ 0 h 268007"/>
              <a:gd name="connsiteX4" fmla="*/ 116525 w 248198"/>
              <a:gd name="connsiteY4" fmla="*/ 0 h 268007"/>
              <a:gd name="connsiteX5" fmla="*/ 248198 w 248198"/>
              <a:gd name="connsiteY5" fmla="*/ 131673 h 268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8007">
                <a:moveTo>
                  <a:pt x="114195" y="268007"/>
                </a:moveTo>
                <a:lnTo>
                  <a:pt x="0" y="268007"/>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endParaRPr lang="de-DE"/>
          </a:p>
        </p:txBody>
      </p:sp>
      <p:sp>
        <p:nvSpPr>
          <p:cNvPr id="149" name="Freihandform: Form 148">
            <a:extLst>
              <a:ext uri="{FF2B5EF4-FFF2-40B4-BE49-F238E27FC236}">
                <a16:creationId xmlns:a16="http://schemas.microsoft.com/office/drawing/2014/main" id="{83716F88-9554-4FCB-B2C3-8BD6193695E2}"/>
              </a:ext>
            </a:extLst>
          </p:cNvPr>
          <p:cNvSpPr/>
          <p:nvPr/>
        </p:nvSpPr>
        <p:spPr>
          <a:xfrm>
            <a:off x="9761293" y="4814154"/>
            <a:ext cx="248198" cy="269172"/>
          </a:xfrm>
          <a:custGeom>
            <a:avLst/>
            <a:gdLst>
              <a:gd name="connsiteX0" fmla="*/ 114195 w 248198"/>
              <a:gd name="connsiteY0" fmla="*/ 269172 h 269172"/>
              <a:gd name="connsiteX1" fmla="*/ 0 w 248198"/>
              <a:gd name="connsiteY1" fmla="*/ 269172 h 269172"/>
              <a:gd name="connsiteX2" fmla="*/ 132838 w 248198"/>
              <a:gd name="connsiteY2" fmla="*/ 136334 h 269172"/>
              <a:gd name="connsiteX3" fmla="*/ 0 w 248198"/>
              <a:gd name="connsiteY3" fmla="*/ 0 h 269172"/>
              <a:gd name="connsiteX4" fmla="*/ 116525 w 248198"/>
              <a:gd name="connsiteY4" fmla="*/ 0 h 269172"/>
              <a:gd name="connsiteX5" fmla="*/ 248198 w 248198"/>
              <a:gd name="connsiteY5" fmla="*/ 132838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6334"/>
                </a:lnTo>
                <a:lnTo>
                  <a:pt x="0" y="0"/>
                </a:lnTo>
                <a:lnTo>
                  <a:pt x="116525" y="0"/>
                </a:lnTo>
                <a:lnTo>
                  <a:pt x="248198" y="132838"/>
                </a:lnTo>
                <a:close/>
              </a:path>
            </a:pathLst>
          </a:custGeom>
          <a:solidFill>
            <a:srgbClr val="EEF2F5"/>
          </a:solidFill>
          <a:ln w="11643" cap="flat">
            <a:noFill/>
            <a:prstDash val="solid"/>
            <a:miter/>
          </a:ln>
        </p:spPr>
        <p:txBody>
          <a:bodyPr rtlCol="0" anchor="ctr"/>
          <a:lstStyle/>
          <a:p>
            <a:endParaRPr lang="de-DE"/>
          </a:p>
        </p:txBody>
      </p:sp>
      <p:sp>
        <p:nvSpPr>
          <p:cNvPr id="166" name="Freihandform: Form 165">
            <a:extLst>
              <a:ext uri="{FF2B5EF4-FFF2-40B4-BE49-F238E27FC236}">
                <a16:creationId xmlns:a16="http://schemas.microsoft.com/office/drawing/2014/main" id="{AEC95E7D-635D-425A-9F1A-DEBC1F5484DB}"/>
              </a:ext>
            </a:extLst>
          </p:cNvPr>
          <p:cNvSpPr/>
          <p:nvPr/>
        </p:nvSpPr>
        <p:spPr>
          <a:xfrm>
            <a:off x="9761293" y="5169554"/>
            <a:ext cx="248198" cy="268007"/>
          </a:xfrm>
          <a:custGeom>
            <a:avLst/>
            <a:gdLst>
              <a:gd name="connsiteX0" fmla="*/ 114195 w 248198"/>
              <a:gd name="connsiteY0" fmla="*/ 268007 h 268007"/>
              <a:gd name="connsiteX1" fmla="*/ 0 w 248198"/>
              <a:gd name="connsiteY1" fmla="*/ 268007 h 268007"/>
              <a:gd name="connsiteX2" fmla="*/ 132838 w 248198"/>
              <a:gd name="connsiteY2" fmla="*/ 135169 h 268007"/>
              <a:gd name="connsiteX3" fmla="*/ 0 w 248198"/>
              <a:gd name="connsiteY3" fmla="*/ 0 h 268007"/>
              <a:gd name="connsiteX4" fmla="*/ 116525 w 248198"/>
              <a:gd name="connsiteY4" fmla="*/ 0 h 268007"/>
              <a:gd name="connsiteX5" fmla="*/ 248198 w 248198"/>
              <a:gd name="connsiteY5" fmla="*/ 131673 h 268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8007">
                <a:moveTo>
                  <a:pt x="114195" y="268007"/>
                </a:moveTo>
                <a:lnTo>
                  <a:pt x="0" y="268007"/>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endParaRPr lang="de-DE"/>
          </a:p>
        </p:txBody>
      </p:sp>
      <p:sp>
        <p:nvSpPr>
          <p:cNvPr id="183" name="Freihandform: Form 182">
            <a:extLst>
              <a:ext uri="{FF2B5EF4-FFF2-40B4-BE49-F238E27FC236}">
                <a16:creationId xmlns:a16="http://schemas.microsoft.com/office/drawing/2014/main" id="{C1CCBBCB-A182-4421-8619-C206846375DB}"/>
              </a:ext>
            </a:extLst>
          </p:cNvPr>
          <p:cNvSpPr/>
          <p:nvPr/>
        </p:nvSpPr>
        <p:spPr>
          <a:xfrm>
            <a:off x="9761293" y="5523790"/>
            <a:ext cx="248198" cy="269172"/>
          </a:xfrm>
          <a:custGeom>
            <a:avLst/>
            <a:gdLst>
              <a:gd name="connsiteX0" fmla="*/ 114195 w 248198"/>
              <a:gd name="connsiteY0" fmla="*/ 269172 h 269172"/>
              <a:gd name="connsiteX1" fmla="*/ 0 w 248198"/>
              <a:gd name="connsiteY1" fmla="*/ 269172 h 269172"/>
              <a:gd name="connsiteX2" fmla="*/ 132838 w 248198"/>
              <a:gd name="connsiteY2" fmla="*/ 136334 h 269172"/>
              <a:gd name="connsiteX3" fmla="*/ 0 w 248198"/>
              <a:gd name="connsiteY3" fmla="*/ 0 h 269172"/>
              <a:gd name="connsiteX4" fmla="*/ 116525 w 248198"/>
              <a:gd name="connsiteY4" fmla="*/ 0 h 269172"/>
              <a:gd name="connsiteX5" fmla="*/ 248198 w 248198"/>
              <a:gd name="connsiteY5" fmla="*/ 132838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6334"/>
                </a:lnTo>
                <a:lnTo>
                  <a:pt x="0" y="0"/>
                </a:lnTo>
                <a:lnTo>
                  <a:pt x="116525" y="0"/>
                </a:lnTo>
                <a:lnTo>
                  <a:pt x="248198" y="132838"/>
                </a:lnTo>
                <a:close/>
              </a:path>
            </a:pathLst>
          </a:custGeom>
          <a:solidFill>
            <a:srgbClr val="EEF2F5"/>
          </a:solidFill>
          <a:ln w="11643" cap="flat">
            <a:noFill/>
            <a:prstDash val="solid"/>
            <a:miter/>
          </a:ln>
        </p:spPr>
        <p:txBody>
          <a:bodyPr rtlCol="0" anchor="ctr"/>
          <a:lstStyle/>
          <a:p>
            <a:endParaRPr lang="de-DE"/>
          </a:p>
        </p:txBody>
      </p:sp>
      <p:sp>
        <p:nvSpPr>
          <p:cNvPr id="200" name="Freihandform: Form 199">
            <a:extLst>
              <a:ext uri="{FF2B5EF4-FFF2-40B4-BE49-F238E27FC236}">
                <a16:creationId xmlns:a16="http://schemas.microsoft.com/office/drawing/2014/main" id="{D91A4514-348C-465D-A689-222304D82209}"/>
              </a:ext>
            </a:extLst>
          </p:cNvPr>
          <p:cNvSpPr/>
          <p:nvPr/>
        </p:nvSpPr>
        <p:spPr>
          <a:xfrm>
            <a:off x="9761293" y="5879190"/>
            <a:ext cx="248198" cy="269172"/>
          </a:xfrm>
          <a:custGeom>
            <a:avLst/>
            <a:gdLst>
              <a:gd name="connsiteX0" fmla="*/ 114195 w 248198"/>
              <a:gd name="connsiteY0" fmla="*/ 269172 h 269172"/>
              <a:gd name="connsiteX1" fmla="*/ 0 w 248198"/>
              <a:gd name="connsiteY1" fmla="*/ 269172 h 269172"/>
              <a:gd name="connsiteX2" fmla="*/ 132838 w 248198"/>
              <a:gd name="connsiteY2" fmla="*/ 135169 h 269172"/>
              <a:gd name="connsiteX3" fmla="*/ 0 w 248198"/>
              <a:gd name="connsiteY3" fmla="*/ 0 h 269172"/>
              <a:gd name="connsiteX4" fmla="*/ 116525 w 248198"/>
              <a:gd name="connsiteY4" fmla="*/ 0 h 269172"/>
              <a:gd name="connsiteX5" fmla="*/ 248198 w 248198"/>
              <a:gd name="connsiteY5" fmla="*/ 131673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endParaRPr lang="de-DE"/>
          </a:p>
        </p:txBody>
      </p:sp>
      <p:sp>
        <p:nvSpPr>
          <p:cNvPr id="217" name="Freihandform: Form 216">
            <a:extLst>
              <a:ext uri="{FF2B5EF4-FFF2-40B4-BE49-F238E27FC236}">
                <a16:creationId xmlns:a16="http://schemas.microsoft.com/office/drawing/2014/main" id="{1B4C065C-ED4E-40BF-AA0C-B75D23AF7B43}"/>
              </a:ext>
            </a:extLst>
          </p:cNvPr>
          <p:cNvSpPr/>
          <p:nvPr/>
        </p:nvSpPr>
        <p:spPr>
          <a:xfrm>
            <a:off x="9761293" y="6233426"/>
            <a:ext cx="248198" cy="269172"/>
          </a:xfrm>
          <a:custGeom>
            <a:avLst/>
            <a:gdLst>
              <a:gd name="connsiteX0" fmla="*/ 114195 w 248198"/>
              <a:gd name="connsiteY0" fmla="*/ 269172 h 269172"/>
              <a:gd name="connsiteX1" fmla="*/ 0 w 248198"/>
              <a:gd name="connsiteY1" fmla="*/ 269172 h 269172"/>
              <a:gd name="connsiteX2" fmla="*/ 132838 w 248198"/>
              <a:gd name="connsiteY2" fmla="*/ 136334 h 269172"/>
              <a:gd name="connsiteX3" fmla="*/ 0 w 248198"/>
              <a:gd name="connsiteY3" fmla="*/ 0 h 269172"/>
              <a:gd name="connsiteX4" fmla="*/ 116525 w 248198"/>
              <a:gd name="connsiteY4" fmla="*/ 0 h 269172"/>
              <a:gd name="connsiteX5" fmla="*/ 248198 w 248198"/>
              <a:gd name="connsiteY5" fmla="*/ 132838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6334"/>
                </a:lnTo>
                <a:lnTo>
                  <a:pt x="0" y="0"/>
                </a:lnTo>
                <a:lnTo>
                  <a:pt x="116525" y="0"/>
                </a:lnTo>
                <a:lnTo>
                  <a:pt x="248198" y="132838"/>
                </a:lnTo>
                <a:close/>
              </a:path>
            </a:pathLst>
          </a:custGeom>
          <a:solidFill>
            <a:srgbClr val="EEF2F5"/>
          </a:solidFill>
          <a:ln w="11643" cap="flat">
            <a:noFill/>
            <a:prstDash val="solid"/>
            <a:miter/>
          </a:ln>
        </p:spPr>
        <p:txBody>
          <a:bodyPr rtlCol="0" anchor="ctr"/>
          <a:lstStyle/>
          <a:p>
            <a:endParaRPr lang="de-DE"/>
          </a:p>
        </p:txBody>
      </p:sp>
      <p:sp>
        <p:nvSpPr>
          <p:cNvPr id="233" name="Freihandform: Form 232">
            <a:extLst>
              <a:ext uri="{FF2B5EF4-FFF2-40B4-BE49-F238E27FC236}">
                <a16:creationId xmlns:a16="http://schemas.microsoft.com/office/drawing/2014/main" id="{26A7552F-9339-4F13-B25C-D2F62499E1D6}"/>
              </a:ext>
            </a:extLst>
          </p:cNvPr>
          <p:cNvSpPr/>
          <p:nvPr/>
        </p:nvSpPr>
        <p:spPr>
          <a:xfrm>
            <a:off x="9761293" y="6588826"/>
            <a:ext cx="248198" cy="269172"/>
          </a:xfrm>
          <a:custGeom>
            <a:avLst/>
            <a:gdLst>
              <a:gd name="connsiteX0" fmla="*/ 114195 w 248198"/>
              <a:gd name="connsiteY0" fmla="*/ 269172 h 269172"/>
              <a:gd name="connsiteX1" fmla="*/ 0 w 248198"/>
              <a:gd name="connsiteY1" fmla="*/ 269172 h 269172"/>
              <a:gd name="connsiteX2" fmla="*/ 132838 w 248198"/>
              <a:gd name="connsiteY2" fmla="*/ 135169 h 269172"/>
              <a:gd name="connsiteX3" fmla="*/ 0 w 248198"/>
              <a:gd name="connsiteY3" fmla="*/ 0 h 269172"/>
              <a:gd name="connsiteX4" fmla="*/ 116525 w 248198"/>
              <a:gd name="connsiteY4" fmla="*/ 0 h 269172"/>
              <a:gd name="connsiteX5" fmla="*/ 248198 w 248198"/>
              <a:gd name="connsiteY5" fmla="*/ 131673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endParaRPr lang="de-DE"/>
          </a:p>
        </p:txBody>
      </p:sp>
      <p:sp>
        <p:nvSpPr>
          <p:cNvPr id="10" name="Textplatzhalter 9">
            <a:extLst>
              <a:ext uri="{FF2B5EF4-FFF2-40B4-BE49-F238E27FC236}">
                <a16:creationId xmlns:a16="http://schemas.microsoft.com/office/drawing/2014/main" id="{87105EF2-AC01-455D-9C26-5D6999587D6D}"/>
              </a:ext>
            </a:extLst>
          </p:cNvPr>
          <p:cNvSpPr>
            <a:spLocks noGrp="1"/>
          </p:cNvSpPr>
          <p:nvPr userDrawn="1">
            <p:ph type="body" sz="quarter" idx="11"/>
          </p:nvPr>
        </p:nvSpPr>
        <p:spPr>
          <a:xfrm>
            <a:off x="815951" y="1979612"/>
            <a:ext cx="10560096" cy="4338638"/>
          </a:xfrm>
          <a:prstGeom prst="rect">
            <a:avLst/>
          </a:prstGeom>
        </p:spPr>
        <p:txBody>
          <a:bodyPr>
            <a:normAutofit/>
          </a:bodyPr>
          <a:lstStyle>
            <a:lvl1pPr marL="266700" indent="-266700">
              <a:buSzPct val="120000"/>
              <a:buFontTx/>
              <a:buBlip>
                <a:blip r:embed="rId2"/>
              </a:buBlip>
              <a:defRPr sz="1800"/>
            </a:lvl1pPr>
            <a:lvl2pPr marL="630238" indent="-268288">
              <a:buSzPct val="120000"/>
              <a:buFontTx/>
              <a:buBlip>
                <a:blip r:embed="rId2"/>
              </a:buBlip>
              <a:defRPr sz="1800"/>
            </a:lvl2pPr>
            <a:lvl3pPr marL="990600" indent="-274638">
              <a:buSzPct val="120000"/>
              <a:buFontTx/>
              <a:buBlip>
                <a:blip r:embed="rId2"/>
              </a:buBlip>
              <a:defRPr sz="1800"/>
            </a:lvl3pPr>
            <a:lvl4pPr marL="1343025" indent="-263525">
              <a:buSzPct val="120000"/>
              <a:buFontTx/>
              <a:buBlip>
                <a:blip r:embed="rId2"/>
              </a:buBlip>
              <a:defRPr sz="1800"/>
            </a:lvl4pPr>
            <a:lvl5pPr marL="1704975" indent="-271463">
              <a:buSzPct val="120000"/>
              <a:buFontTx/>
              <a:buBlip>
                <a:blip r:embed="rId2"/>
              </a:buBlip>
              <a:defRPr sz="18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2270872572"/>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8" dur="1000" decel="10000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000" fill="hold"/>
                                        <p:tgtEl>
                                          <p:spTgt spid="4"/>
                                        </p:tgtEl>
                                        <p:attrNameLst>
                                          <p:attrName>ppt_x</p:attrName>
                                        </p:attrNameLst>
                                      </p:cBhvr>
                                      <p:tavLst>
                                        <p:tav tm="0">
                                          <p:val>
                                            <p:strVal val="0-#ppt_w/2"/>
                                          </p:val>
                                        </p:tav>
                                        <p:tav tm="100000">
                                          <p:val>
                                            <p:strVal val="#ppt_x"/>
                                          </p:val>
                                        </p:tav>
                                      </p:tavLst>
                                    </p:anim>
                                    <p:anim calcmode="lin" valueType="num">
                                      <p:cBhvr additive="base">
                                        <p:cTn id="8" dur="1000" fill="hold"/>
                                        <p:tgtEl>
                                          <p:spTgt spid="4"/>
                                        </p:tgtEl>
                                        <p:attrNameLst>
                                          <p:attrName>ppt_y</p:attrName>
                                        </p:attrNameLst>
                                      </p:cBhvr>
                                      <p:tavLst>
                                        <p:tav tm="0">
                                          <p:val>
                                            <p:strVal val="#ppt_y"/>
                                          </p:val>
                                        </p:tav>
                                        <p:tav tm="100000">
                                          <p:val>
                                            <p:strVal val="#ppt_y"/>
                                          </p:val>
                                        </p:tav>
                                      </p:tavLst>
                                    </p:anim>
                                  </p:childTnLst>
                                </p:cTn>
                              </p:par>
                              <p:par>
                                <p:cTn id="9" presetID="2" presetClass="entr" presetSubtype="8" dur="1000" decel="100000" fill="hold" grpId="0" nodeType="withEffect">
                                  <p:stCondLst>
                                    <p:cond delay="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1000" fill="hold"/>
                                        <p:tgtEl>
                                          <p:spTgt spid="10"/>
                                        </p:tgtEl>
                                        <p:attrNameLst>
                                          <p:attrName>ppt_x</p:attrName>
                                        </p:attrNameLst>
                                      </p:cBhvr>
                                      <p:tavLst>
                                        <p:tav tm="0">
                                          <p:val>
                                            <p:strVal val="0-#ppt_w/2"/>
                                          </p:val>
                                        </p:tav>
                                        <p:tav tm="100000">
                                          <p:val>
                                            <p:strVal val="#ppt_x"/>
                                          </p:val>
                                        </p:tav>
                                      </p:tavLst>
                                    </p:anim>
                                    <p:anim calcmode="lin" valueType="num">
                                      <p:cBhvr additive="base">
                                        <p:cTn id="12" dur="1000" fill="hold"/>
                                        <p:tgtEl>
                                          <p:spTgt spid="10"/>
                                        </p:tgtEl>
                                        <p:attrNameLst>
                                          <p:attrName>ppt_y</p:attrName>
                                        </p:attrNameLst>
                                      </p:cBhvr>
                                      <p:tavLst>
                                        <p:tav tm="0">
                                          <p:val>
                                            <p:strVal val="#ppt_y"/>
                                          </p:val>
                                        </p:tav>
                                        <p:tav tm="100000">
                                          <p:val>
                                            <p:strVal val="#ppt_y"/>
                                          </p:val>
                                        </p:tav>
                                      </p:tavLst>
                                    </p:anim>
                                  </p:childTnLst>
                                </p:cTn>
                              </p:par>
                              <p:par>
                                <p:cTn id="13" presetID="26" presetClass="emph" presetSubtype="0" dur="2000" repeatCount="indefinite" fill="hold" grpId="0" nodeType="withEffect">
                                  <p:stCondLst>
                                    <p:cond delay="0"/>
                                  </p:stCondLst>
                                  <p:childTnLst>
                                    <p:animEffect transition="out" filter="fade">
                                      <p:cBhvr>
                                        <p:cTn id="14" dur="2000" tmFilter="0, 0; .2, .5; .8, .5; 1, 0"/>
                                        <p:tgtEl>
                                          <p:spTgt spid="5"/>
                                        </p:tgtEl>
                                      </p:cBhvr>
                                    </p:animEffect>
                                    <p:animScale>
                                      <p:cBhvr>
                                        <p:cTn id="15" dur="1000" autoRev="1" fill="hold"/>
                                        <p:tgtEl>
                                          <p:spTgt spid="5"/>
                                        </p:tgtEl>
                                      </p:cBhvr>
                                      <p:by x="105000" y="105000"/>
                                    </p:animScale>
                                  </p:childTnLst>
                                </p:cTn>
                              </p:par>
                              <p:par>
                                <p:cTn id="16" presetID="26" presetClass="emph" presetSubtype="0" dur="2000" repeatCount="indefinite" fill="hold" grpId="0" nodeType="withEffect">
                                  <p:stCondLst>
                                    <p:cond delay="0"/>
                                  </p:stCondLst>
                                  <p:childTnLst>
                                    <p:animEffect transition="out" filter="fade">
                                      <p:cBhvr>
                                        <p:cTn id="17" dur="2000" tmFilter="0, 0; .2, .5; .8, .5; 1, 0"/>
                                        <p:tgtEl>
                                          <p:spTgt spid="22"/>
                                        </p:tgtEl>
                                      </p:cBhvr>
                                    </p:animEffect>
                                    <p:animScale>
                                      <p:cBhvr>
                                        <p:cTn id="18" dur="1000" autoRev="1" fill="hold"/>
                                        <p:tgtEl>
                                          <p:spTgt spid="22"/>
                                        </p:tgtEl>
                                      </p:cBhvr>
                                      <p:by x="105000" y="105000"/>
                                    </p:animScale>
                                  </p:childTnLst>
                                </p:cTn>
                              </p:par>
                              <p:par>
                                <p:cTn id="19" presetID="26" presetClass="emph" presetSubtype="0" dur="2000" repeatCount="indefinite" fill="hold" grpId="0" nodeType="withEffect">
                                  <p:stCondLst>
                                    <p:cond delay="0"/>
                                  </p:stCondLst>
                                  <p:childTnLst>
                                    <p:animEffect transition="out" filter="fade">
                                      <p:cBhvr>
                                        <p:cTn id="20" dur="2000" tmFilter="0, 0; .2, .5; .8, .5; 1, 0"/>
                                        <p:tgtEl>
                                          <p:spTgt spid="38"/>
                                        </p:tgtEl>
                                      </p:cBhvr>
                                    </p:animEffect>
                                    <p:animScale>
                                      <p:cBhvr>
                                        <p:cTn id="21" dur="1000" autoRev="1" fill="hold"/>
                                        <p:tgtEl>
                                          <p:spTgt spid="38"/>
                                        </p:tgtEl>
                                      </p:cBhvr>
                                      <p:by x="105000" y="105000"/>
                                    </p:animScale>
                                  </p:childTnLst>
                                </p:cTn>
                              </p:par>
                              <p:par>
                                <p:cTn id="22" presetID="26" presetClass="emph" presetSubtype="0" dur="2000" repeatCount="indefinite" fill="hold" grpId="0" nodeType="withEffect">
                                  <p:stCondLst>
                                    <p:cond delay="0"/>
                                  </p:stCondLst>
                                  <p:childTnLst>
                                    <p:animEffect transition="out" filter="fade">
                                      <p:cBhvr>
                                        <p:cTn id="23" dur="2000" tmFilter="0, 0; .2, .5; .8, .5; 1, 0"/>
                                        <p:tgtEl>
                                          <p:spTgt spid="203"/>
                                        </p:tgtEl>
                                      </p:cBhvr>
                                    </p:animEffect>
                                    <p:animScale>
                                      <p:cBhvr>
                                        <p:cTn id="24" dur="1000" autoRev="1" fill="hold"/>
                                        <p:tgtEl>
                                          <p:spTgt spid="203"/>
                                        </p:tgtEl>
                                      </p:cBhvr>
                                      <p:by x="105000" y="105000"/>
                                    </p:animScale>
                                  </p:childTnLst>
                                </p:cTn>
                              </p:par>
                              <p:par>
                                <p:cTn id="25" presetID="26" presetClass="emph" presetSubtype="0" dur="2000" repeatCount="indefinite" fill="hold" grpId="0" nodeType="withEffect">
                                  <p:stCondLst>
                                    <p:cond delay="0"/>
                                  </p:stCondLst>
                                  <p:childTnLst>
                                    <p:animEffect transition="out" filter="fade">
                                      <p:cBhvr>
                                        <p:cTn id="26" dur="2000" tmFilter="0, 0; .2, .5; .8, .5; 1, 0"/>
                                        <p:tgtEl>
                                          <p:spTgt spid="219"/>
                                        </p:tgtEl>
                                      </p:cBhvr>
                                    </p:animEffect>
                                    <p:animScale>
                                      <p:cBhvr>
                                        <p:cTn id="27" dur="1000" autoRev="1" fill="hold"/>
                                        <p:tgtEl>
                                          <p:spTgt spid="219"/>
                                        </p:tgtEl>
                                      </p:cBhvr>
                                      <p:by x="105000" y="105000"/>
                                    </p:animScale>
                                  </p:childTnLst>
                                </p:cTn>
                              </p:par>
                              <p:par>
                                <p:cTn id="28" presetID="26" presetClass="emph" presetSubtype="0" dur="2000" repeatCount="indefinite" fill="hold" grpId="0" nodeType="withEffect">
                                  <p:stCondLst>
                                    <p:cond delay="250"/>
                                  </p:stCondLst>
                                  <p:childTnLst>
                                    <p:animEffect transition="out" filter="fade">
                                      <p:cBhvr>
                                        <p:cTn id="29" dur="2000" tmFilter="0, 0; .2, .5; .8, .5; 1, 0"/>
                                        <p:tgtEl>
                                          <p:spTgt spid="6"/>
                                        </p:tgtEl>
                                      </p:cBhvr>
                                    </p:animEffect>
                                    <p:animScale>
                                      <p:cBhvr>
                                        <p:cTn id="30" dur="1000" autoRev="1" fill="hold"/>
                                        <p:tgtEl>
                                          <p:spTgt spid="6"/>
                                        </p:tgtEl>
                                      </p:cBhvr>
                                      <p:by x="105000" y="105000"/>
                                    </p:animScale>
                                  </p:childTnLst>
                                </p:cTn>
                              </p:par>
                              <p:par>
                                <p:cTn id="31" presetID="26" presetClass="emph" presetSubtype="0" dur="2000" repeatCount="indefinite" fill="hold" grpId="0" nodeType="withEffect">
                                  <p:stCondLst>
                                    <p:cond delay="250"/>
                                  </p:stCondLst>
                                  <p:childTnLst>
                                    <p:animEffect transition="out" filter="fade">
                                      <p:cBhvr>
                                        <p:cTn id="32" dur="2000" tmFilter="0, 0; .2, .5; .8, .5; 1, 0"/>
                                        <p:tgtEl>
                                          <p:spTgt spid="23"/>
                                        </p:tgtEl>
                                      </p:cBhvr>
                                    </p:animEffect>
                                    <p:animScale>
                                      <p:cBhvr>
                                        <p:cTn id="33" dur="1000" autoRev="1" fill="hold"/>
                                        <p:tgtEl>
                                          <p:spTgt spid="23"/>
                                        </p:tgtEl>
                                      </p:cBhvr>
                                      <p:by x="105000" y="105000"/>
                                    </p:animScale>
                                  </p:childTnLst>
                                </p:cTn>
                              </p:par>
                              <p:par>
                                <p:cTn id="34" presetID="26" presetClass="emph" presetSubtype="0" dur="2000" repeatCount="indefinite" fill="hold" grpId="0" nodeType="withEffect">
                                  <p:stCondLst>
                                    <p:cond delay="250"/>
                                  </p:stCondLst>
                                  <p:childTnLst>
                                    <p:animEffect transition="out" filter="fade">
                                      <p:cBhvr>
                                        <p:cTn id="35" dur="2000" tmFilter="0, 0; .2, .5; .8, .5; 1, 0"/>
                                        <p:tgtEl>
                                          <p:spTgt spid="39"/>
                                        </p:tgtEl>
                                      </p:cBhvr>
                                    </p:animEffect>
                                    <p:animScale>
                                      <p:cBhvr>
                                        <p:cTn id="36" dur="1000" autoRev="1" fill="hold"/>
                                        <p:tgtEl>
                                          <p:spTgt spid="39"/>
                                        </p:tgtEl>
                                      </p:cBhvr>
                                      <p:by x="105000" y="105000"/>
                                    </p:animScale>
                                  </p:childTnLst>
                                </p:cTn>
                              </p:par>
                              <p:par>
                                <p:cTn id="37" presetID="26" presetClass="emph" presetSubtype="0" dur="2000" repeatCount="indefinite" fill="hold" grpId="0" nodeType="withEffect">
                                  <p:stCondLst>
                                    <p:cond delay="250"/>
                                  </p:stCondLst>
                                  <p:childTnLst>
                                    <p:animEffect transition="out" filter="fade">
                                      <p:cBhvr>
                                        <p:cTn id="38" dur="2000" tmFilter="0, 0; .2, .5; .8, .5; 1, 0"/>
                                        <p:tgtEl>
                                          <p:spTgt spid="55"/>
                                        </p:tgtEl>
                                      </p:cBhvr>
                                    </p:animEffect>
                                    <p:animScale>
                                      <p:cBhvr>
                                        <p:cTn id="39" dur="1000" autoRev="1" fill="hold"/>
                                        <p:tgtEl>
                                          <p:spTgt spid="55"/>
                                        </p:tgtEl>
                                      </p:cBhvr>
                                      <p:by x="105000" y="105000"/>
                                    </p:animScale>
                                  </p:childTnLst>
                                </p:cTn>
                              </p:par>
                              <p:par>
                                <p:cTn id="40" presetID="26" presetClass="emph" presetSubtype="0" dur="2000" repeatCount="indefinite" fill="hold" grpId="0" nodeType="withEffect">
                                  <p:stCondLst>
                                    <p:cond delay="250"/>
                                  </p:stCondLst>
                                  <p:childTnLst>
                                    <p:animEffect transition="out" filter="fade">
                                      <p:cBhvr>
                                        <p:cTn id="41" dur="2000" tmFilter="0, 0; .2, .5; .8, .5; 1, 0"/>
                                        <p:tgtEl>
                                          <p:spTgt spid="187"/>
                                        </p:tgtEl>
                                      </p:cBhvr>
                                    </p:animEffect>
                                    <p:animScale>
                                      <p:cBhvr>
                                        <p:cTn id="42" dur="1000" autoRev="1" fill="hold"/>
                                        <p:tgtEl>
                                          <p:spTgt spid="187"/>
                                        </p:tgtEl>
                                      </p:cBhvr>
                                      <p:by x="105000" y="105000"/>
                                    </p:animScale>
                                  </p:childTnLst>
                                </p:cTn>
                              </p:par>
                              <p:par>
                                <p:cTn id="43" presetID="26" presetClass="emph" presetSubtype="0" dur="2000" repeatCount="indefinite" fill="hold" grpId="0" nodeType="withEffect">
                                  <p:stCondLst>
                                    <p:cond delay="250"/>
                                  </p:stCondLst>
                                  <p:childTnLst>
                                    <p:animEffect transition="out" filter="fade">
                                      <p:cBhvr>
                                        <p:cTn id="44" dur="2000" tmFilter="0, 0; .2, .5; .8, .5; 1, 0"/>
                                        <p:tgtEl>
                                          <p:spTgt spid="204"/>
                                        </p:tgtEl>
                                      </p:cBhvr>
                                    </p:animEffect>
                                    <p:animScale>
                                      <p:cBhvr>
                                        <p:cTn id="45" dur="1000" autoRev="1" fill="hold"/>
                                        <p:tgtEl>
                                          <p:spTgt spid="204"/>
                                        </p:tgtEl>
                                      </p:cBhvr>
                                      <p:by x="105000" y="105000"/>
                                    </p:animScale>
                                  </p:childTnLst>
                                </p:cTn>
                              </p:par>
                              <p:par>
                                <p:cTn id="46" presetID="26" presetClass="emph" presetSubtype="0" dur="2000" repeatCount="indefinite" fill="hold" grpId="0" nodeType="withEffect">
                                  <p:stCondLst>
                                    <p:cond delay="250"/>
                                  </p:stCondLst>
                                  <p:childTnLst>
                                    <p:animEffect transition="out" filter="fade">
                                      <p:cBhvr>
                                        <p:cTn id="47" dur="2000" tmFilter="0, 0; .2, .5; .8, .5; 1, 0"/>
                                        <p:tgtEl>
                                          <p:spTgt spid="220"/>
                                        </p:tgtEl>
                                      </p:cBhvr>
                                    </p:animEffect>
                                    <p:animScale>
                                      <p:cBhvr>
                                        <p:cTn id="48" dur="1000" autoRev="1" fill="hold"/>
                                        <p:tgtEl>
                                          <p:spTgt spid="220"/>
                                        </p:tgtEl>
                                      </p:cBhvr>
                                      <p:by x="105000" y="105000"/>
                                    </p:animScale>
                                  </p:childTnLst>
                                </p:cTn>
                              </p:par>
                              <p:par>
                                <p:cTn id="49" presetID="26" presetClass="emph" presetSubtype="0" dur="2000" repeatCount="indefinite" fill="hold" grpId="0" nodeType="withEffect">
                                  <p:stCondLst>
                                    <p:cond delay="500"/>
                                  </p:stCondLst>
                                  <p:childTnLst>
                                    <p:animEffect transition="out" filter="fade">
                                      <p:cBhvr>
                                        <p:cTn id="50" dur="2000" tmFilter="0, 0; .2, .5; .8, .5; 1, 0"/>
                                        <p:tgtEl>
                                          <p:spTgt spid="7"/>
                                        </p:tgtEl>
                                      </p:cBhvr>
                                    </p:animEffect>
                                    <p:animScale>
                                      <p:cBhvr>
                                        <p:cTn id="51" dur="1000" autoRev="1" fill="hold"/>
                                        <p:tgtEl>
                                          <p:spTgt spid="7"/>
                                        </p:tgtEl>
                                      </p:cBhvr>
                                      <p:by x="105000" y="105000"/>
                                    </p:animScale>
                                  </p:childTnLst>
                                </p:cTn>
                              </p:par>
                              <p:par>
                                <p:cTn id="52" presetID="26" presetClass="emph" presetSubtype="0" dur="2000" repeatCount="indefinite" fill="hold" grpId="0" nodeType="withEffect">
                                  <p:stCondLst>
                                    <p:cond delay="500"/>
                                  </p:stCondLst>
                                  <p:childTnLst>
                                    <p:animEffect transition="out" filter="fade">
                                      <p:cBhvr>
                                        <p:cTn id="53" dur="2000" tmFilter="0, 0; .2, .5; .8, .5; 1, 0"/>
                                        <p:tgtEl>
                                          <p:spTgt spid="24"/>
                                        </p:tgtEl>
                                      </p:cBhvr>
                                    </p:animEffect>
                                    <p:animScale>
                                      <p:cBhvr>
                                        <p:cTn id="54" dur="1000" autoRev="1" fill="hold"/>
                                        <p:tgtEl>
                                          <p:spTgt spid="24"/>
                                        </p:tgtEl>
                                      </p:cBhvr>
                                      <p:by x="105000" y="105000"/>
                                    </p:animScale>
                                  </p:childTnLst>
                                </p:cTn>
                              </p:par>
                              <p:par>
                                <p:cTn id="55" presetID="26" presetClass="emph" presetSubtype="0" dur="2000" repeatCount="indefinite" fill="hold" grpId="0" nodeType="withEffect">
                                  <p:stCondLst>
                                    <p:cond delay="500"/>
                                  </p:stCondLst>
                                  <p:childTnLst>
                                    <p:animEffect transition="out" filter="fade">
                                      <p:cBhvr>
                                        <p:cTn id="56" dur="2000" tmFilter="0, 0; .2, .5; .8, .5; 1, 0"/>
                                        <p:tgtEl>
                                          <p:spTgt spid="40"/>
                                        </p:tgtEl>
                                      </p:cBhvr>
                                    </p:animEffect>
                                    <p:animScale>
                                      <p:cBhvr>
                                        <p:cTn id="57" dur="1000" autoRev="1" fill="hold"/>
                                        <p:tgtEl>
                                          <p:spTgt spid="40"/>
                                        </p:tgtEl>
                                      </p:cBhvr>
                                      <p:by x="105000" y="105000"/>
                                    </p:animScale>
                                  </p:childTnLst>
                                </p:cTn>
                              </p:par>
                              <p:par>
                                <p:cTn id="58" presetID="26" presetClass="emph" presetSubtype="0" dur="2000" repeatCount="indefinite" fill="hold" grpId="0" nodeType="withEffect">
                                  <p:stCondLst>
                                    <p:cond delay="500"/>
                                  </p:stCondLst>
                                  <p:childTnLst>
                                    <p:animEffect transition="out" filter="fade">
                                      <p:cBhvr>
                                        <p:cTn id="59" dur="2000" tmFilter="0, 0; .2, .5; .8, .5; 1, 0"/>
                                        <p:tgtEl>
                                          <p:spTgt spid="56"/>
                                        </p:tgtEl>
                                      </p:cBhvr>
                                    </p:animEffect>
                                    <p:animScale>
                                      <p:cBhvr>
                                        <p:cTn id="60" dur="1000" autoRev="1" fill="hold"/>
                                        <p:tgtEl>
                                          <p:spTgt spid="56"/>
                                        </p:tgtEl>
                                      </p:cBhvr>
                                      <p:by x="105000" y="105000"/>
                                    </p:animScale>
                                  </p:childTnLst>
                                </p:cTn>
                              </p:par>
                              <p:par>
                                <p:cTn id="61" presetID="26" presetClass="emph" presetSubtype="0" dur="2000" repeatCount="indefinite" fill="hold" grpId="0" nodeType="withEffect">
                                  <p:stCondLst>
                                    <p:cond delay="500"/>
                                  </p:stCondLst>
                                  <p:childTnLst>
                                    <p:animEffect transition="out" filter="fade">
                                      <p:cBhvr>
                                        <p:cTn id="62" dur="2000" tmFilter="0, 0; .2, .5; .8, .5; 1, 0"/>
                                        <p:tgtEl>
                                          <p:spTgt spid="72"/>
                                        </p:tgtEl>
                                      </p:cBhvr>
                                    </p:animEffect>
                                    <p:animScale>
                                      <p:cBhvr>
                                        <p:cTn id="63" dur="1000" autoRev="1" fill="hold"/>
                                        <p:tgtEl>
                                          <p:spTgt spid="72"/>
                                        </p:tgtEl>
                                      </p:cBhvr>
                                      <p:by x="105000" y="105000"/>
                                    </p:animScale>
                                  </p:childTnLst>
                                </p:cTn>
                              </p:par>
                              <p:par>
                                <p:cTn id="64" presetID="26" presetClass="emph" presetSubtype="0" dur="2000" repeatCount="indefinite" fill="hold" grpId="0" nodeType="withEffect">
                                  <p:stCondLst>
                                    <p:cond delay="500"/>
                                  </p:stCondLst>
                                  <p:childTnLst>
                                    <p:animEffect transition="out" filter="fade">
                                      <p:cBhvr>
                                        <p:cTn id="65" dur="2000" tmFilter="0, 0; .2, .5; .8, .5; 1, 0"/>
                                        <p:tgtEl>
                                          <p:spTgt spid="171"/>
                                        </p:tgtEl>
                                      </p:cBhvr>
                                    </p:animEffect>
                                    <p:animScale>
                                      <p:cBhvr>
                                        <p:cTn id="66" dur="1000" autoRev="1" fill="hold"/>
                                        <p:tgtEl>
                                          <p:spTgt spid="171"/>
                                        </p:tgtEl>
                                      </p:cBhvr>
                                      <p:by x="105000" y="105000"/>
                                    </p:animScale>
                                  </p:childTnLst>
                                </p:cTn>
                              </p:par>
                              <p:par>
                                <p:cTn id="67" presetID="26" presetClass="emph" presetSubtype="0" dur="2000" repeatCount="indefinite" fill="hold" grpId="0" nodeType="withEffect">
                                  <p:stCondLst>
                                    <p:cond delay="500"/>
                                  </p:stCondLst>
                                  <p:childTnLst>
                                    <p:animEffect transition="out" filter="fade">
                                      <p:cBhvr>
                                        <p:cTn id="68" dur="2000" tmFilter="0, 0; .2, .5; .8, .5; 1, 0"/>
                                        <p:tgtEl>
                                          <p:spTgt spid="188"/>
                                        </p:tgtEl>
                                      </p:cBhvr>
                                    </p:animEffect>
                                    <p:animScale>
                                      <p:cBhvr>
                                        <p:cTn id="69" dur="1000" autoRev="1" fill="hold"/>
                                        <p:tgtEl>
                                          <p:spTgt spid="188"/>
                                        </p:tgtEl>
                                      </p:cBhvr>
                                      <p:by x="105000" y="105000"/>
                                    </p:animScale>
                                  </p:childTnLst>
                                </p:cTn>
                              </p:par>
                              <p:par>
                                <p:cTn id="70" presetID="26" presetClass="emph" presetSubtype="0" dur="2000" repeatCount="indefinite" fill="hold" grpId="0" nodeType="withEffect">
                                  <p:stCondLst>
                                    <p:cond delay="500"/>
                                  </p:stCondLst>
                                  <p:childTnLst>
                                    <p:animEffect transition="out" filter="fade">
                                      <p:cBhvr>
                                        <p:cTn id="71" dur="2000" tmFilter="0, 0; .2, .5; .8, .5; 1, 0"/>
                                        <p:tgtEl>
                                          <p:spTgt spid="205"/>
                                        </p:tgtEl>
                                      </p:cBhvr>
                                    </p:animEffect>
                                    <p:animScale>
                                      <p:cBhvr>
                                        <p:cTn id="72" dur="1000" autoRev="1" fill="hold"/>
                                        <p:tgtEl>
                                          <p:spTgt spid="205"/>
                                        </p:tgtEl>
                                      </p:cBhvr>
                                      <p:by x="105000" y="105000"/>
                                    </p:animScale>
                                  </p:childTnLst>
                                </p:cTn>
                              </p:par>
                              <p:par>
                                <p:cTn id="73" presetID="26" presetClass="emph" presetSubtype="0" dur="2000" repeatCount="indefinite" fill="hold" grpId="0" nodeType="withEffect">
                                  <p:stCondLst>
                                    <p:cond delay="500"/>
                                  </p:stCondLst>
                                  <p:childTnLst>
                                    <p:animEffect transition="out" filter="fade">
                                      <p:cBhvr>
                                        <p:cTn id="74" dur="2000" tmFilter="0, 0; .2, .5; .8, .5; 1, 0"/>
                                        <p:tgtEl>
                                          <p:spTgt spid="221"/>
                                        </p:tgtEl>
                                      </p:cBhvr>
                                    </p:animEffect>
                                    <p:animScale>
                                      <p:cBhvr>
                                        <p:cTn id="75" dur="1000" autoRev="1" fill="hold"/>
                                        <p:tgtEl>
                                          <p:spTgt spid="221"/>
                                        </p:tgtEl>
                                      </p:cBhvr>
                                      <p:by x="105000" y="105000"/>
                                    </p:animScale>
                                  </p:childTnLst>
                                </p:cTn>
                              </p:par>
                              <p:par>
                                <p:cTn id="76" presetID="26" presetClass="emph" presetSubtype="0" dur="2000" repeatCount="indefinite" fill="hold" grpId="0" nodeType="withEffect">
                                  <p:stCondLst>
                                    <p:cond delay="750"/>
                                  </p:stCondLst>
                                  <p:childTnLst>
                                    <p:animEffect transition="out" filter="fade">
                                      <p:cBhvr>
                                        <p:cTn id="77" dur="2000" tmFilter="0, 0; .2, .5; .8, .5; 1, 0"/>
                                        <p:tgtEl>
                                          <p:spTgt spid="8"/>
                                        </p:tgtEl>
                                      </p:cBhvr>
                                    </p:animEffect>
                                    <p:animScale>
                                      <p:cBhvr>
                                        <p:cTn id="78" dur="1000" autoRev="1" fill="hold"/>
                                        <p:tgtEl>
                                          <p:spTgt spid="8"/>
                                        </p:tgtEl>
                                      </p:cBhvr>
                                      <p:by x="105000" y="105000"/>
                                    </p:animScale>
                                  </p:childTnLst>
                                </p:cTn>
                              </p:par>
                              <p:par>
                                <p:cTn id="79" presetID="26" presetClass="emph" presetSubtype="0" dur="2000" repeatCount="indefinite" fill="hold" grpId="0" nodeType="withEffect">
                                  <p:stCondLst>
                                    <p:cond delay="750"/>
                                  </p:stCondLst>
                                  <p:childTnLst>
                                    <p:animEffect transition="out" filter="fade">
                                      <p:cBhvr>
                                        <p:cTn id="80" dur="2000" tmFilter="0, 0; .2, .5; .8, .5; 1, 0"/>
                                        <p:tgtEl>
                                          <p:spTgt spid="25"/>
                                        </p:tgtEl>
                                      </p:cBhvr>
                                    </p:animEffect>
                                    <p:animScale>
                                      <p:cBhvr>
                                        <p:cTn id="81" dur="1000" autoRev="1" fill="hold"/>
                                        <p:tgtEl>
                                          <p:spTgt spid="25"/>
                                        </p:tgtEl>
                                      </p:cBhvr>
                                      <p:by x="105000" y="105000"/>
                                    </p:animScale>
                                  </p:childTnLst>
                                </p:cTn>
                              </p:par>
                              <p:par>
                                <p:cTn id="82" presetID="26" presetClass="emph" presetSubtype="0" dur="2000" repeatCount="indefinite" fill="hold" grpId="0" nodeType="withEffect">
                                  <p:stCondLst>
                                    <p:cond delay="750"/>
                                  </p:stCondLst>
                                  <p:childTnLst>
                                    <p:animEffect transition="out" filter="fade">
                                      <p:cBhvr>
                                        <p:cTn id="83" dur="2000" tmFilter="0, 0; .2, .5; .8, .5; 1, 0"/>
                                        <p:tgtEl>
                                          <p:spTgt spid="41"/>
                                        </p:tgtEl>
                                      </p:cBhvr>
                                    </p:animEffect>
                                    <p:animScale>
                                      <p:cBhvr>
                                        <p:cTn id="84" dur="1000" autoRev="1" fill="hold"/>
                                        <p:tgtEl>
                                          <p:spTgt spid="41"/>
                                        </p:tgtEl>
                                      </p:cBhvr>
                                      <p:by x="105000" y="105000"/>
                                    </p:animScale>
                                  </p:childTnLst>
                                </p:cTn>
                              </p:par>
                              <p:par>
                                <p:cTn id="85" presetID="26" presetClass="emph" presetSubtype="0" dur="2000" repeatCount="indefinite" fill="hold" grpId="0" nodeType="withEffect">
                                  <p:stCondLst>
                                    <p:cond delay="750"/>
                                  </p:stCondLst>
                                  <p:childTnLst>
                                    <p:animEffect transition="out" filter="fade">
                                      <p:cBhvr>
                                        <p:cTn id="86" dur="2000" tmFilter="0, 0; .2, .5; .8, .5; 1, 0"/>
                                        <p:tgtEl>
                                          <p:spTgt spid="57"/>
                                        </p:tgtEl>
                                      </p:cBhvr>
                                    </p:animEffect>
                                    <p:animScale>
                                      <p:cBhvr>
                                        <p:cTn id="87" dur="1000" autoRev="1" fill="hold"/>
                                        <p:tgtEl>
                                          <p:spTgt spid="57"/>
                                        </p:tgtEl>
                                      </p:cBhvr>
                                      <p:by x="105000" y="105000"/>
                                    </p:animScale>
                                  </p:childTnLst>
                                </p:cTn>
                              </p:par>
                              <p:par>
                                <p:cTn id="88" presetID="26" presetClass="emph" presetSubtype="0" dur="2000" repeatCount="indefinite" fill="hold" grpId="0" nodeType="withEffect">
                                  <p:stCondLst>
                                    <p:cond delay="750"/>
                                  </p:stCondLst>
                                  <p:childTnLst>
                                    <p:animEffect transition="out" filter="fade">
                                      <p:cBhvr>
                                        <p:cTn id="89" dur="2000" tmFilter="0, 0; .2, .5; .8, .5; 1, 0"/>
                                        <p:tgtEl>
                                          <p:spTgt spid="73"/>
                                        </p:tgtEl>
                                      </p:cBhvr>
                                    </p:animEffect>
                                    <p:animScale>
                                      <p:cBhvr>
                                        <p:cTn id="90" dur="1000" autoRev="1" fill="hold"/>
                                        <p:tgtEl>
                                          <p:spTgt spid="73"/>
                                        </p:tgtEl>
                                      </p:cBhvr>
                                      <p:by x="105000" y="105000"/>
                                    </p:animScale>
                                  </p:childTnLst>
                                </p:cTn>
                              </p:par>
                              <p:par>
                                <p:cTn id="91" presetID="26" presetClass="emph" presetSubtype="0" dur="2000" repeatCount="indefinite" fill="hold" grpId="0" nodeType="withEffect">
                                  <p:stCondLst>
                                    <p:cond delay="750"/>
                                  </p:stCondLst>
                                  <p:childTnLst>
                                    <p:animEffect transition="out" filter="fade">
                                      <p:cBhvr>
                                        <p:cTn id="92" dur="2000" tmFilter="0, 0; .2, .5; .8, .5; 1, 0"/>
                                        <p:tgtEl>
                                          <p:spTgt spid="89"/>
                                        </p:tgtEl>
                                      </p:cBhvr>
                                    </p:animEffect>
                                    <p:animScale>
                                      <p:cBhvr>
                                        <p:cTn id="93" dur="1000" autoRev="1" fill="hold"/>
                                        <p:tgtEl>
                                          <p:spTgt spid="89"/>
                                        </p:tgtEl>
                                      </p:cBhvr>
                                      <p:by x="105000" y="105000"/>
                                    </p:animScale>
                                  </p:childTnLst>
                                </p:cTn>
                              </p:par>
                              <p:par>
                                <p:cTn id="94" presetID="26" presetClass="emph" presetSubtype="0" dur="2000" repeatCount="indefinite" fill="hold" grpId="0" nodeType="withEffect">
                                  <p:stCondLst>
                                    <p:cond delay="750"/>
                                  </p:stCondLst>
                                  <p:childTnLst>
                                    <p:animEffect transition="out" filter="fade">
                                      <p:cBhvr>
                                        <p:cTn id="95" dur="2000" tmFilter="0, 0; .2, .5; .8, .5; 1, 0"/>
                                        <p:tgtEl>
                                          <p:spTgt spid="155"/>
                                        </p:tgtEl>
                                      </p:cBhvr>
                                    </p:animEffect>
                                    <p:animScale>
                                      <p:cBhvr>
                                        <p:cTn id="96" dur="1000" autoRev="1" fill="hold"/>
                                        <p:tgtEl>
                                          <p:spTgt spid="155"/>
                                        </p:tgtEl>
                                      </p:cBhvr>
                                      <p:by x="105000" y="105000"/>
                                    </p:animScale>
                                  </p:childTnLst>
                                </p:cTn>
                              </p:par>
                              <p:par>
                                <p:cTn id="97" presetID="26" presetClass="emph" presetSubtype="0" dur="2000" repeatCount="indefinite" fill="hold" grpId="0" nodeType="withEffect">
                                  <p:stCondLst>
                                    <p:cond delay="750"/>
                                  </p:stCondLst>
                                  <p:childTnLst>
                                    <p:animEffect transition="out" filter="fade">
                                      <p:cBhvr>
                                        <p:cTn id="98" dur="2000" tmFilter="0, 0; .2, .5; .8, .5; 1, 0"/>
                                        <p:tgtEl>
                                          <p:spTgt spid="172"/>
                                        </p:tgtEl>
                                      </p:cBhvr>
                                    </p:animEffect>
                                    <p:animScale>
                                      <p:cBhvr>
                                        <p:cTn id="99" dur="1000" autoRev="1" fill="hold"/>
                                        <p:tgtEl>
                                          <p:spTgt spid="172"/>
                                        </p:tgtEl>
                                      </p:cBhvr>
                                      <p:by x="105000" y="105000"/>
                                    </p:animScale>
                                  </p:childTnLst>
                                </p:cTn>
                              </p:par>
                              <p:par>
                                <p:cTn id="100" presetID="26" presetClass="emph" presetSubtype="0" dur="2000" repeatCount="indefinite" fill="hold" grpId="0" nodeType="withEffect">
                                  <p:stCondLst>
                                    <p:cond delay="750"/>
                                  </p:stCondLst>
                                  <p:childTnLst>
                                    <p:animEffect transition="out" filter="fade">
                                      <p:cBhvr>
                                        <p:cTn id="101" dur="2000" tmFilter="0, 0; .2, .5; .8, .5; 1, 0"/>
                                        <p:tgtEl>
                                          <p:spTgt spid="189"/>
                                        </p:tgtEl>
                                      </p:cBhvr>
                                    </p:animEffect>
                                    <p:animScale>
                                      <p:cBhvr>
                                        <p:cTn id="102" dur="1000" autoRev="1" fill="hold"/>
                                        <p:tgtEl>
                                          <p:spTgt spid="189"/>
                                        </p:tgtEl>
                                      </p:cBhvr>
                                      <p:by x="105000" y="105000"/>
                                    </p:animScale>
                                  </p:childTnLst>
                                </p:cTn>
                              </p:par>
                              <p:par>
                                <p:cTn id="103" presetID="26" presetClass="emph" presetSubtype="0" dur="2000" repeatCount="indefinite" fill="hold" grpId="0" nodeType="withEffect">
                                  <p:stCondLst>
                                    <p:cond delay="750"/>
                                  </p:stCondLst>
                                  <p:childTnLst>
                                    <p:animEffect transition="out" filter="fade">
                                      <p:cBhvr>
                                        <p:cTn id="104" dur="2000" tmFilter="0, 0; .2, .5; .8, .5; 1, 0"/>
                                        <p:tgtEl>
                                          <p:spTgt spid="206"/>
                                        </p:tgtEl>
                                      </p:cBhvr>
                                    </p:animEffect>
                                    <p:animScale>
                                      <p:cBhvr>
                                        <p:cTn id="105" dur="1000" autoRev="1" fill="hold"/>
                                        <p:tgtEl>
                                          <p:spTgt spid="206"/>
                                        </p:tgtEl>
                                      </p:cBhvr>
                                      <p:by x="105000" y="105000"/>
                                    </p:animScale>
                                  </p:childTnLst>
                                </p:cTn>
                              </p:par>
                              <p:par>
                                <p:cTn id="106" presetID="26" presetClass="emph" presetSubtype="0" dur="2000" repeatCount="indefinite" fill="hold" grpId="0" nodeType="withEffect">
                                  <p:stCondLst>
                                    <p:cond delay="750"/>
                                  </p:stCondLst>
                                  <p:childTnLst>
                                    <p:animEffect transition="out" filter="fade">
                                      <p:cBhvr>
                                        <p:cTn id="107" dur="2000" tmFilter="0, 0; .2, .5; .8, .5; 1, 0"/>
                                        <p:tgtEl>
                                          <p:spTgt spid="222"/>
                                        </p:tgtEl>
                                      </p:cBhvr>
                                    </p:animEffect>
                                    <p:animScale>
                                      <p:cBhvr>
                                        <p:cTn id="108" dur="1000" autoRev="1" fill="hold"/>
                                        <p:tgtEl>
                                          <p:spTgt spid="222"/>
                                        </p:tgtEl>
                                      </p:cBhvr>
                                      <p:by x="105000" y="105000"/>
                                    </p:animScale>
                                  </p:childTnLst>
                                </p:cTn>
                              </p:par>
                              <p:par>
                                <p:cTn id="109" presetID="26" presetClass="emph" presetSubtype="0" dur="2000" repeatCount="indefinite" fill="hold" grpId="0" nodeType="withEffect">
                                  <p:stCondLst>
                                    <p:cond delay="1000"/>
                                  </p:stCondLst>
                                  <p:childTnLst>
                                    <p:animEffect transition="out" filter="fade">
                                      <p:cBhvr>
                                        <p:cTn id="110" dur="2000" tmFilter="0, 0; .2, .5; .8, .5; 1, 0"/>
                                        <p:tgtEl>
                                          <p:spTgt spid="11"/>
                                        </p:tgtEl>
                                      </p:cBhvr>
                                    </p:animEffect>
                                    <p:animScale>
                                      <p:cBhvr>
                                        <p:cTn id="111" dur="1000" autoRev="1" fill="hold"/>
                                        <p:tgtEl>
                                          <p:spTgt spid="11"/>
                                        </p:tgtEl>
                                      </p:cBhvr>
                                      <p:by x="105000" y="105000"/>
                                    </p:animScale>
                                  </p:childTnLst>
                                </p:cTn>
                              </p:par>
                              <p:par>
                                <p:cTn id="112" presetID="26" presetClass="emph" presetSubtype="0" dur="2000" repeatCount="indefinite" fill="hold" grpId="0" nodeType="withEffect">
                                  <p:stCondLst>
                                    <p:cond delay="1000"/>
                                  </p:stCondLst>
                                  <p:childTnLst>
                                    <p:animEffect transition="out" filter="fade">
                                      <p:cBhvr>
                                        <p:cTn id="113" dur="2000" tmFilter="0, 0; .2, .5; .8, .5; 1, 0"/>
                                        <p:tgtEl>
                                          <p:spTgt spid="26"/>
                                        </p:tgtEl>
                                      </p:cBhvr>
                                    </p:animEffect>
                                    <p:animScale>
                                      <p:cBhvr>
                                        <p:cTn id="114" dur="1000" autoRev="1" fill="hold"/>
                                        <p:tgtEl>
                                          <p:spTgt spid="26"/>
                                        </p:tgtEl>
                                      </p:cBhvr>
                                      <p:by x="105000" y="105000"/>
                                    </p:animScale>
                                  </p:childTnLst>
                                </p:cTn>
                              </p:par>
                              <p:par>
                                <p:cTn id="115" presetID="26" presetClass="emph" presetSubtype="0" dur="2000" repeatCount="indefinite" fill="hold" grpId="0" nodeType="withEffect">
                                  <p:stCondLst>
                                    <p:cond delay="1000"/>
                                  </p:stCondLst>
                                  <p:childTnLst>
                                    <p:animEffect transition="out" filter="fade">
                                      <p:cBhvr>
                                        <p:cTn id="116" dur="2000" tmFilter="0, 0; .2, .5; .8, .5; 1, 0"/>
                                        <p:tgtEl>
                                          <p:spTgt spid="42"/>
                                        </p:tgtEl>
                                      </p:cBhvr>
                                    </p:animEffect>
                                    <p:animScale>
                                      <p:cBhvr>
                                        <p:cTn id="117" dur="1000" autoRev="1" fill="hold"/>
                                        <p:tgtEl>
                                          <p:spTgt spid="42"/>
                                        </p:tgtEl>
                                      </p:cBhvr>
                                      <p:by x="105000" y="105000"/>
                                    </p:animScale>
                                  </p:childTnLst>
                                </p:cTn>
                              </p:par>
                              <p:par>
                                <p:cTn id="118" presetID="26" presetClass="emph" presetSubtype="0" dur="2000" repeatCount="indefinite" fill="hold" grpId="0" nodeType="withEffect">
                                  <p:stCondLst>
                                    <p:cond delay="1000"/>
                                  </p:stCondLst>
                                  <p:childTnLst>
                                    <p:animEffect transition="out" filter="fade">
                                      <p:cBhvr>
                                        <p:cTn id="119" dur="2000" tmFilter="0, 0; .2, .5; .8, .5; 1, 0"/>
                                        <p:tgtEl>
                                          <p:spTgt spid="58"/>
                                        </p:tgtEl>
                                      </p:cBhvr>
                                    </p:animEffect>
                                    <p:animScale>
                                      <p:cBhvr>
                                        <p:cTn id="120" dur="1000" autoRev="1" fill="hold"/>
                                        <p:tgtEl>
                                          <p:spTgt spid="58"/>
                                        </p:tgtEl>
                                      </p:cBhvr>
                                      <p:by x="105000" y="105000"/>
                                    </p:animScale>
                                  </p:childTnLst>
                                </p:cTn>
                              </p:par>
                              <p:par>
                                <p:cTn id="121" presetID="26" presetClass="emph" presetSubtype="0" dur="2000" repeatCount="indefinite" fill="hold" grpId="0" nodeType="withEffect">
                                  <p:stCondLst>
                                    <p:cond delay="1000"/>
                                  </p:stCondLst>
                                  <p:childTnLst>
                                    <p:animEffect transition="out" filter="fade">
                                      <p:cBhvr>
                                        <p:cTn id="122" dur="2000" tmFilter="0, 0; .2, .5; .8, .5; 1, 0"/>
                                        <p:tgtEl>
                                          <p:spTgt spid="74"/>
                                        </p:tgtEl>
                                      </p:cBhvr>
                                    </p:animEffect>
                                    <p:animScale>
                                      <p:cBhvr>
                                        <p:cTn id="123" dur="1000" autoRev="1" fill="hold"/>
                                        <p:tgtEl>
                                          <p:spTgt spid="74"/>
                                        </p:tgtEl>
                                      </p:cBhvr>
                                      <p:by x="105000" y="105000"/>
                                    </p:animScale>
                                  </p:childTnLst>
                                </p:cTn>
                              </p:par>
                              <p:par>
                                <p:cTn id="124" presetID="26" presetClass="emph" presetSubtype="0" dur="2000" repeatCount="indefinite" fill="hold" grpId="0" nodeType="withEffect">
                                  <p:stCondLst>
                                    <p:cond delay="1000"/>
                                  </p:stCondLst>
                                  <p:childTnLst>
                                    <p:animEffect transition="out" filter="fade">
                                      <p:cBhvr>
                                        <p:cTn id="125" dur="2000" tmFilter="0, 0; .2, .5; .8, .5; 1, 0"/>
                                        <p:tgtEl>
                                          <p:spTgt spid="90"/>
                                        </p:tgtEl>
                                      </p:cBhvr>
                                    </p:animEffect>
                                    <p:animScale>
                                      <p:cBhvr>
                                        <p:cTn id="126" dur="1000" autoRev="1" fill="hold"/>
                                        <p:tgtEl>
                                          <p:spTgt spid="90"/>
                                        </p:tgtEl>
                                      </p:cBhvr>
                                      <p:by x="105000" y="105000"/>
                                    </p:animScale>
                                  </p:childTnLst>
                                </p:cTn>
                              </p:par>
                              <p:par>
                                <p:cTn id="127" presetID="26" presetClass="emph" presetSubtype="0" dur="2000" repeatCount="indefinite" fill="hold" grpId="0" nodeType="withEffect">
                                  <p:stCondLst>
                                    <p:cond delay="1000"/>
                                  </p:stCondLst>
                                  <p:childTnLst>
                                    <p:animEffect transition="out" filter="fade">
                                      <p:cBhvr>
                                        <p:cTn id="128" dur="2000" tmFilter="0, 0; .2, .5; .8, .5; 1, 0"/>
                                        <p:tgtEl>
                                          <p:spTgt spid="106"/>
                                        </p:tgtEl>
                                      </p:cBhvr>
                                    </p:animEffect>
                                    <p:animScale>
                                      <p:cBhvr>
                                        <p:cTn id="129" dur="1000" autoRev="1" fill="hold"/>
                                        <p:tgtEl>
                                          <p:spTgt spid="106"/>
                                        </p:tgtEl>
                                      </p:cBhvr>
                                      <p:by x="105000" y="105000"/>
                                    </p:animScale>
                                  </p:childTnLst>
                                </p:cTn>
                              </p:par>
                              <p:par>
                                <p:cTn id="130" presetID="26" presetClass="emph" presetSubtype="0" dur="2000" repeatCount="indefinite" fill="hold" grpId="0" nodeType="withEffect">
                                  <p:stCondLst>
                                    <p:cond delay="1000"/>
                                  </p:stCondLst>
                                  <p:childTnLst>
                                    <p:animEffect transition="out" filter="fade">
                                      <p:cBhvr>
                                        <p:cTn id="131" dur="2000" tmFilter="0, 0; .2, .5; .8, .5; 1, 0"/>
                                        <p:tgtEl>
                                          <p:spTgt spid="139"/>
                                        </p:tgtEl>
                                      </p:cBhvr>
                                    </p:animEffect>
                                    <p:animScale>
                                      <p:cBhvr>
                                        <p:cTn id="132" dur="1000" autoRev="1" fill="hold"/>
                                        <p:tgtEl>
                                          <p:spTgt spid="139"/>
                                        </p:tgtEl>
                                      </p:cBhvr>
                                      <p:by x="105000" y="105000"/>
                                    </p:animScale>
                                  </p:childTnLst>
                                </p:cTn>
                              </p:par>
                              <p:par>
                                <p:cTn id="133" presetID="26" presetClass="emph" presetSubtype="0" dur="2000" repeatCount="indefinite" fill="hold" grpId="0" nodeType="withEffect">
                                  <p:stCondLst>
                                    <p:cond delay="1000"/>
                                  </p:stCondLst>
                                  <p:childTnLst>
                                    <p:animEffect transition="out" filter="fade">
                                      <p:cBhvr>
                                        <p:cTn id="134" dur="2000" tmFilter="0, 0; .2, .5; .8, .5; 1, 0"/>
                                        <p:tgtEl>
                                          <p:spTgt spid="156"/>
                                        </p:tgtEl>
                                      </p:cBhvr>
                                    </p:animEffect>
                                    <p:animScale>
                                      <p:cBhvr>
                                        <p:cTn id="135" dur="1000" autoRev="1" fill="hold"/>
                                        <p:tgtEl>
                                          <p:spTgt spid="156"/>
                                        </p:tgtEl>
                                      </p:cBhvr>
                                      <p:by x="105000" y="105000"/>
                                    </p:animScale>
                                  </p:childTnLst>
                                </p:cTn>
                              </p:par>
                              <p:par>
                                <p:cTn id="136" presetID="26" presetClass="emph" presetSubtype="0" dur="2000" repeatCount="indefinite" fill="hold" grpId="0" nodeType="withEffect">
                                  <p:stCondLst>
                                    <p:cond delay="1000"/>
                                  </p:stCondLst>
                                  <p:childTnLst>
                                    <p:animEffect transition="out" filter="fade">
                                      <p:cBhvr>
                                        <p:cTn id="137" dur="2000" tmFilter="0, 0; .2, .5; .8, .5; 1, 0"/>
                                        <p:tgtEl>
                                          <p:spTgt spid="173"/>
                                        </p:tgtEl>
                                      </p:cBhvr>
                                    </p:animEffect>
                                    <p:animScale>
                                      <p:cBhvr>
                                        <p:cTn id="138" dur="1000" autoRev="1" fill="hold"/>
                                        <p:tgtEl>
                                          <p:spTgt spid="173"/>
                                        </p:tgtEl>
                                      </p:cBhvr>
                                      <p:by x="105000" y="105000"/>
                                    </p:animScale>
                                  </p:childTnLst>
                                </p:cTn>
                              </p:par>
                              <p:par>
                                <p:cTn id="139" presetID="26" presetClass="emph" presetSubtype="0" dur="2000" repeatCount="indefinite" fill="hold" grpId="0" nodeType="withEffect">
                                  <p:stCondLst>
                                    <p:cond delay="1000"/>
                                  </p:stCondLst>
                                  <p:childTnLst>
                                    <p:animEffect transition="out" filter="fade">
                                      <p:cBhvr>
                                        <p:cTn id="140" dur="2000" tmFilter="0, 0; .2, .5; .8, .5; 1, 0"/>
                                        <p:tgtEl>
                                          <p:spTgt spid="190"/>
                                        </p:tgtEl>
                                      </p:cBhvr>
                                    </p:animEffect>
                                    <p:animScale>
                                      <p:cBhvr>
                                        <p:cTn id="141" dur="1000" autoRev="1" fill="hold"/>
                                        <p:tgtEl>
                                          <p:spTgt spid="190"/>
                                        </p:tgtEl>
                                      </p:cBhvr>
                                      <p:by x="105000" y="105000"/>
                                    </p:animScale>
                                  </p:childTnLst>
                                </p:cTn>
                              </p:par>
                              <p:par>
                                <p:cTn id="142" presetID="26" presetClass="emph" presetSubtype="0" dur="2000" repeatCount="indefinite" fill="hold" grpId="0" nodeType="withEffect">
                                  <p:stCondLst>
                                    <p:cond delay="1000"/>
                                  </p:stCondLst>
                                  <p:childTnLst>
                                    <p:animEffect transition="out" filter="fade">
                                      <p:cBhvr>
                                        <p:cTn id="143" dur="2000" tmFilter="0, 0; .2, .5; .8, .5; 1, 0"/>
                                        <p:tgtEl>
                                          <p:spTgt spid="207"/>
                                        </p:tgtEl>
                                      </p:cBhvr>
                                    </p:animEffect>
                                    <p:animScale>
                                      <p:cBhvr>
                                        <p:cTn id="144" dur="1000" autoRev="1" fill="hold"/>
                                        <p:tgtEl>
                                          <p:spTgt spid="207"/>
                                        </p:tgtEl>
                                      </p:cBhvr>
                                      <p:by x="105000" y="105000"/>
                                    </p:animScale>
                                  </p:childTnLst>
                                </p:cTn>
                              </p:par>
                              <p:par>
                                <p:cTn id="145" presetID="26" presetClass="emph" presetSubtype="0" dur="2000" repeatCount="indefinite" fill="hold" grpId="0" nodeType="withEffect">
                                  <p:stCondLst>
                                    <p:cond delay="1000"/>
                                  </p:stCondLst>
                                  <p:childTnLst>
                                    <p:animEffect transition="out" filter="fade">
                                      <p:cBhvr>
                                        <p:cTn id="146" dur="2000" tmFilter="0, 0; .2, .5; .8, .5; 1, 0"/>
                                        <p:tgtEl>
                                          <p:spTgt spid="223"/>
                                        </p:tgtEl>
                                      </p:cBhvr>
                                    </p:animEffect>
                                    <p:animScale>
                                      <p:cBhvr>
                                        <p:cTn id="147" dur="1000" autoRev="1" fill="hold"/>
                                        <p:tgtEl>
                                          <p:spTgt spid="223"/>
                                        </p:tgtEl>
                                      </p:cBhvr>
                                      <p:by x="105000" y="105000"/>
                                    </p:animScale>
                                  </p:childTnLst>
                                </p:cTn>
                              </p:par>
                              <p:par>
                                <p:cTn id="148" presetID="26" presetClass="emph" presetSubtype="0" dur="2000" repeatCount="indefinite" fill="hold" grpId="0" nodeType="withEffect">
                                  <p:stCondLst>
                                    <p:cond delay="1250"/>
                                  </p:stCondLst>
                                  <p:childTnLst>
                                    <p:animEffect transition="out" filter="fade">
                                      <p:cBhvr>
                                        <p:cTn id="149" dur="2000" tmFilter="0, 0; .2, .5; .8, .5; 1, 0"/>
                                        <p:tgtEl>
                                          <p:spTgt spid="12"/>
                                        </p:tgtEl>
                                      </p:cBhvr>
                                    </p:animEffect>
                                    <p:animScale>
                                      <p:cBhvr>
                                        <p:cTn id="150" dur="1000" autoRev="1" fill="hold"/>
                                        <p:tgtEl>
                                          <p:spTgt spid="12"/>
                                        </p:tgtEl>
                                      </p:cBhvr>
                                      <p:by x="105000" y="105000"/>
                                    </p:animScale>
                                  </p:childTnLst>
                                </p:cTn>
                              </p:par>
                              <p:par>
                                <p:cTn id="151" presetID="26" presetClass="emph" presetSubtype="0" dur="2000" repeatCount="indefinite" fill="hold" grpId="0" nodeType="withEffect">
                                  <p:stCondLst>
                                    <p:cond delay="1250"/>
                                  </p:stCondLst>
                                  <p:childTnLst>
                                    <p:animEffect transition="out" filter="fade">
                                      <p:cBhvr>
                                        <p:cTn id="152" dur="2000" tmFilter="0, 0; .2, .5; .8, .5; 1, 0"/>
                                        <p:tgtEl>
                                          <p:spTgt spid="27"/>
                                        </p:tgtEl>
                                      </p:cBhvr>
                                    </p:animEffect>
                                    <p:animScale>
                                      <p:cBhvr>
                                        <p:cTn id="153" dur="1000" autoRev="1" fill="hold"/>
                                        <p:tgtEl>
                                          <p:spTgt spid="27"/>
                                        </p:tgtEl>
                                      </p:cBhvr>
                                      <p:by x="105000" y="105000"/>
                                    </p:animScale>
                                  </p:childTnLst>
                                </p:cTn>
                              </p:par>
                              <p:par>
                                <p:cTn id="154" presetID="26" presetClass="emph" presetSubtype="0" dur="2000" repeatCount="indefinite" fill="hold" grpId="0" nodeType="withEffect">
                                  <p:stCondLst>
                                    <p:cond delay="1250"/>
                                  </p:stCondLst>
                                  <p:childTnLst>
                                    <p:animEffect transition="out" filter="fade">
                                      <p:cBhvr>
                                        <p:cTn id="155" dur="2000" tmFilter="0, 0; .2, .5; .8, .5; 1, 0"/>
                                        <p:tgtEl>
                                          <p:spTgt spid="43"/>
                                        </p:tgtEl>
                                      </p:cBhvr>
                                    </p:animEffect>
                                    <p:animScale>
                                      <p:cBhvr>
                                        <p:cTn id="156" dur="1000" autoRev="1" fill="hold"/>
                                        <p:tgtEl>
                                          <p:spTgt spid="43"/>
                                        </p:tgtEl>
                                      </p:cBhvr>
                                      <p:by x="105000" y="105000"/>
                                    </p:animScale>
                                  </p:childTnLst>
                                </p:cTn>
                              </p:par>
                              <p:par>
                                <p:cTn id="157" presetID="26" presetClass="emph" presetSubtype="0" dur="2000" repeatCount="indefinite" fill="hold" grpId="0" nodeType="withEffect">
                                  <p:stCondLst>
                                    <p:cond delay="1250"/>
                                  </p:stCondLst>
                                  <p:childTnLst>
                                    <p:animEffect transition="out" filter="fade">
                                      <p:cBhvr>
                                        <p:cTn id="158" dur="2000" tmFilter="0, 0; .2, .5; .8, .5; 1, 0"/>
                                        <p:tgtEl>
                                          <p:spTgt spid="59"/>
                                        </p:tgtEl>
                                      </p:cBhvr>
                                    </p:animEffect>
                                    <p:animScale>
                                      <p:cBhvr>
                                        <p:cTn id="159" dur="1000" autoRev="1" fill="hold"/>
                                        <p:tgtEl>
                                          <p:spTgt spid="59"/>
                                        </p:tgtEl>
                                      </p:cBhvr>
                                      <p:by x="105000" y="105000"/>
                                    </p:animScale>
                                  </p:childTnLst>
                                </p:cTn>
                              </p:par>
                              <p:par>
                                <p:cTn id="160" presetID="26" presetClass="emph" presetSubtype="0" dur="2000" repeatCount="indefinite" fill="hold" grpId="0" nodeType="withEffect">
                                  <p:stCondLst>
                                    <p:cond delay="1250"/>
                                  </p:stCondLst>
                                  <p:childTnLst>
                                    <p:animEffect transition="out" filter="fade">
                                      <p:cBhvr>
                                        <p:cTn id="161" dur="2000" tmFilter="0, 0; .2, .5; .8, .5; 1, 0"/>
                                        <p:tgtEl>
                                          <p:spTgt spid="75"/>
                                        </p:tgtEl>
                                      </p:cBhvr>
                                    </p:animEffect>
                                    <p:animScale>
                                      <p:cBhvr>
                                        <p:cTn id="162" dur="1000" autoRev="1" fill="hold"/>
                                        <p:tgtEl>
                                          <p:spTgt spid="75"/>
                                        </p:tgtEl>
                                      </p:cBhvr>
                                      <p:by x="105000" y="105000"/>
                                    </p:animScale>
                                  </p:childTnLst>
                                </p:cTn>
                              </p:par>
                              <p:par>
                                <p:cTn id="163" presetID="26" presetClass="emph" presetSubtype="0" dur="2000" repeatCount="indefinite" fill="hold" grpId="0" nodeType="withEffect">
                                  <p:stCondLst>
                                    <p:cond delay="1250"/>
                                  </p:stCondLst>
                                  <p:childTnLst>
                                    <p:animEffect transition="out" filter="fade">
                                      <p:cBhvr>
                                        <p:cTn id="164" dur="2000" tmFilter="0, 0; .2, .5; .8, .5; 1, 0"/>
                                        <p:tgtEl>
                                          <p:spTgt spid="91"/>
                                        </p:tgtEl>
                                      </p:cBhvr>
                                    </p:animEffect>
                                    <p:animScale>
                                      <p:cBhvr>
                                        <p:cTn id="165" dur="1000" autoRev="1" fill="hold"/>
                                        <p:tgtEl>
                                          <p:spTgt spid="91"/>
                                        </p:tgtEl>
                                      </p:cBhvr>
                                      <p:by x="105000" y="105000"/>
                                    </p:animScale>
                                  </p:childTnLst>
                                </p:cTn>
                              </p:par>
                              <p:par>
                                <p:cTn id="166" presetID="26" presetClass="emph" presetSubtype="0" dur="2000" repeatCount="indefinite" fill="hold" grpId="0" nodeType="withEffect">
                                  <p:stCondLst>
                                    <p:cond delay="1250"/>
                                  </p:stCondLst>
                                  <p:childTnLst>
                                    <p:animEffect transition="out" filter="fade">
                                      <p:cBhvr>
                                        <p:cTn id="167" dur="2000" tmFilter="0, 0; .2, .5; .8, .5; 1, 0"/>
                                        <p:tgtEl>
                                          <p:spTgt spid="107"/>
                                        </p:tgtEl>
                                      </p:cBhvr>
                                    </p:animEffect>
                                    <p:animScale>
                                      <p:cBhvr>
                                        <p:cTn id="168" dur="1000" autoRev="1" fill="hold"/>
                                        <p:tgtEl>
                                          <p:spTgt spid="107"/>
                                        </p:tgtEl>
                                      </p:cBhvr>
                                      <p:by x="105000" y="105000"/>
                                    </p:animScale>
                                  </p:childTnLst>
                                </p:cTn>
                              </p:par>
                              <p:par>
                                <p:cTn id="169" presetID="26" presetClass="emph" presetSubtype="0" dur="2000" repeatCount="indefinite" fill="hold" grpId="0" nodeType="withEffect">
                                  <p:stCondLst>
                                    <p:cond delay="1250"/>
                                  </p:stCondLst>
                                  <p:childTnLst>
                                    <p:animEffect transition="out" filter="fade">
                                      <p:cBhvr>
                                        <p:cTn id="170" dur="2000" tmFilter="0, 0; .2, .5; .8, .5; 1, 0"/>
                                        <p:tgtEl>
                                          <p:spTgt spid="123"/>
                                        </p:tgtEl>
                                      </p:cBhvr>
                                    </p:animEffect>
                                    <p:animScale>
                                      <p:cBhvr>
                                        <p:cTn id="171" dur="1000" autoRev="1" fill="hold"/>
                                        <p:tgtEl>
                                          <p:spTgt spid="123"/>
                                        </p:tgtEl>
                                      </p:cBhvr>
                                      <p:by x="105000" y="105000"/>
                                    </p:animScale>
                                  </p:childTnLst>
                                </p:cTn>
                              </p:par>
                              <p:par>
                                <p:cTn id="172" presetID="26" presetClass="emph" presetSubtype="0" dur="2000" repeatCount="indefinite" fill="hold" grpId="0" nodeType="withEffect">
                                  <p:stCondLst>
                                    <p:cond delay="1250"/>
                                  </p:stCondLst>
                                  <p:childTnLst>
                                    <p:animEffect transition="out" filter="fade">
                                      <p:cBhvr>
                                        <p:cTn id="173" dur="2000" tmFilter="0, 0; .2, .5; .8, .5; 1, 0"/>
                                        <p:tgtEl>
                                          <p:spTgt spid="140"/>
                                        </p:tgtEl>
                                      </p:cBhvr>
                                    </p:animEffect>
                                    <p:animScale>
                                      <p:cBhvr>
                                        <p:cTn id="174" dur="1000" autoRev="1" fill="hold"/>
                                        <p:tgtEl>
                                          <p:spTgt spid="140"/>
                                        </p:tgtEl>
                                      </p:cBhvr>
                                      <p:by x="105000" y="105000"/>
                                    </p:animScale>
                                  </p:childTnLst>
                                </p:cTn>
                              </p:par>
                              <p:par>
                                <p:cTn id="175" presetID="26" presetClass="emph" presetSubtype="0" dur="2000" repeatCount="indefinite" fill="hold" grpId="0" nodeType="withEffect">
                                  <p:stCondLst>
                                    <p:cond delay="1250"/>
                                  </p:stCondLst>
                                  <p:childTnLst>
                                    <p:animEffect transition="out" filter="fade">
                                      <p:cBhvr>
                                        <p:cTn id="176" dur="2000" tmFilter="0, 0; .2, .5; .8, .5; 1, 0"/>
                                        <p:tgtEl>
                                          <p:spTgt spid="157"/>
                                        </p:tgtEl>
                                      </p:cBhvr>
                                    </p:animEffect>
                                    <p:animScale>
                                      <p:cBhvr>
                                        <p:cTn id="177" dur="1000" autoRev="1" fill="hold"/>
                                        <p:tgtEl>
                                          <p:spTgt spid="157"/>
                                        </p:tgtEl>
                                      </p:cBhvr>
                                      <p:by x="105000" y="105000"/>
                                    </p:animScale>
                                  </p:childTnLst>
                                </p:cTn>
                              </p:par>
                              <p:par>
                                <p:cTn id="178" presetID="26" presetClass="emph" presetSubtype="0" dur="2000" repeatCount="indefinite" fill="hold" grpId="0" nodeType="withEffect">
                                  <p:stCondLst>
                                    <p:cond delay="1250"/>
                                  </p:stCondLst>
                                  <p:childTnLst>
                                    <p:animEffect transition="out" filter="fade">
                                      <p:cBhvr>
                                        <p:cTn id="179" dur="2000" tmFilter="0, 0; .2, .5; .8, .5; 1, 0"/>
                                        <p:tgtEl>
                                          <p:spTgt spid="174"/>
                                        </p:tgtEl>
                                      </p:cBhvr>
                                    </p:animEffect>
                                    <p:animScale>
                                      <p:cBhvr>
                                        <p:cTn id="180" dur="1000" autoRev="1" fill="hold"/>
                                        <p:tgtEl>
                                          <p:spTgt spid="174"/>
                                        </p:tgtEl>
                                      </p:cBhvr>
                                      <p:by x="105000" y="105000"/>
                                    </p:animScale>
                                  </p:childTnLst>
                                </p:cTn>
                              </p:par>
                              <p:par>
                                <p:cTn id="181" presetID="26" presetClass="emph" presetSubtype="0" dur="2000" repeatCount="indefinite" fill="hold" grpId="0" nodeType="withEffect">
                                  <p:stCondLst>
                                    <p:cond delay="1250"/>
                                  </p:stCondLst>
                                  <p:childTnLst>
                                    <p:animEffect transition="out" filter="fade">
                                      <p:cBhvr>
                                        <p:cTn id="182" dur="2000" tmFilter="0, 0; .2, .5; .8, .5; 1, 0"/>
                                        <p:tgtEl>
                                          <p:spTgt spid="191"/>
                                        </p:tgtEl>
                                      </p:cBhvr>
                                    </p:animEffect>
                                    <p:animScale>
                                      <p:cBhvr>
                                        <p:cTn id="183" dur="1000" autoRev="1" fill="hold"/>
                                        <p:tgtEl>
                                          <p:spTgt spid="191"/>
                                        </p:tgtEl>
                                      </p:cBhvr>
                                      <p:by x="105000" y="105000"/>
                                    </p:animScale>
                                  </p:childTnLst>
                                </p:cTn>
                              </p:par>
                              <p:par>
                                <p:cTn id="184" presetID="26" presetClass="emph" presetSubtype="0" dur="2000" repeatCount="indefinite" fill="hold" grpId="0" nodeType="withEffect">
                                  <p:stCondLst>
                                    <p:cond delay="1250"/>
                                  </p:stCondLst>
                                  <p:childTnLst>
                                    <p:animEffect transition="out" filter="fade">
                                      <p:cBhvr>
                                        <p:cTn id="185" dur="2000" tmFilter="0, 0; .2, .5; .8, .5; 1, 0"/>
                                        <p:tgtEl>
                                          <p:spTgt spid="208"/>
                                        </p:tgtEl>
                                      </p:cBhvr>
                                    </p:animEffect>
                                    <p:animScale>
                                      <p:cBhvr>
                                        <p:cTn id="186" dur="1000" autoRev="1" fill="hold"/>
                                        <p:tgtEl>
                                          <p:spTgt spid="208"/>
                                        </p:tgtEl>
                                      </p:cBhvr>
                                      <p:by x="105000" y="105000"/>
                                    </p:animScale>
                                  </p:childTnLst>
                                </p:cTn>
                              </p:par>
                              <p:par>
                                <p:cTn id="187" presetID="26" presetClass="emph" presetSubtype="0" dur="2000" repeatCount="indefinite" fill="hold" grpId="0" nodeType="withEffect">
                                  <p:stCondLst>
                                    <p:cond delay="1250"/>
                                  </p:stCondLst>
                                  <p:childTnLst>
                                    <p:animEffect transition="out" filter="fade">
                                      <p:cBhvr>
                                        <p:cTn id="188" dur="2000" tmFilter="0, 0; .2, .5; .8, .5; 1, 0"/>
                                        <p:tgtEl>
                                          <p:spTgt spid="224"/>
                                        </p:tgtEl>
                                      </p:cBhvr>
                                    </p:animEffect>
                                    <p:animScale>
                                      <p:cBhvr>
                                        <p:cTn id="189" dur="1000" autoRev="1" fill="hold"/>
                                        <p:tgtEl>
                                          <p:spTgt spid="224"/>
                                        </p:tgtEl>
                                      </p:cBhvr>
                                      <p:by x="105000" y="105000"/>
                                    </p:animScale>
                                  </p:childTnLst>
                                </p:cTn>
                              </p:par>
                              <p:par>
                                <p:cTn id="190" presetID="26" presetClass="emph" presetSubtype="0" dur="2000" repeatCount="indefinite" fill="hold" grpId="0" nodeType="withEffect">
                                  <p:stCondLst>
                                    <p:cond delay="1500"/>
                                  </p:stCondLst>
                                  <p:childTnLst>
                                    <p:animEffect transition="out" filter="fade">
                                      <p:cBhvr>
                                        <p:cTn id="191" dur="2000" tmFilter="0, 0; .2, .5; .8, .5; 1, 0"/>
                                        <p:tgtEl>
                                          <p:spTgt spid="13"/>
                                        </p:tgtEl>
                                      </p:cBhvr>
                                    </p:animEffect>
                                    <p:animScale>
                                      <p:cBhvr>
                                        <p:cTn id="192" dur="1000" autoRev="1" fill="hold"/>
                                        <p:tgtEl>
                                          <p:spTgt spid="13"/>
                                        </p:tgtEl>
                                      </p:cBhvr>
                                      <p:by x="105000" y="105000"/>
                                    </p:animScale>
                                  </p:childTnLst>
                                </p:cTn>
                              </p:par>
                              <p:par>
                                <p:cTn id="193" presetID="26" presetClass="emph" presetSubtype="0" dur="2000" repeatCount="indefinite" fill="hold" grpId="0" nodeType="withEffect">
                                  <p:stCondLst>
                                    <p:cond delay="1500"/>
                                  </p:stCondLst>
                                  <p:childTnLst>
                                    <p:animEffect transition="out" filter="fade">
                                      <p:cBhvr>
                                        <p:cTn id="194" dur="2000" tmFilter="0, 0; .2, .5; .8, .5; 1, 0"/>
                                        <p:tgtEl>
                                          <p:spTgt spid="28"/>
                                        </p:tgtEl>
                                      </p:cBhvr>
                                    </p:animEffect>
                                    <p:animScale>
                                      <p:cBhvr>
                                        <p:cTn id="195" dur="1000" autoRev="1" fill="hold"/>
                                        <p:tgtEl>
                                          <p:spTgt spid="28"/>
                                        </p:tgtEl>
                                      </p:cBhvr>
                                      <p:by x="105000" y="105000"/>
                                    </p:animScale>
                                  </p:childTnLst>
                                </p:cTn>
                              </p:par>
                              <p:par>
                                <p:cTn id="196" presetID="26" presetClass="emph" presetSubtype="0" dur="2000" repeatCount="indefinite" fill="hold" grpId="0" nodeType="withEffect">
                                  <p:stCondLst>
                                    <p:cond delay="1500"/>
                                  </p:stCondLst>
                                  <p:childTnLst>
                                    <p:animEffect transition="out" filter="fade">
                                      <p:cBhvr>
                                        <p:cTn id="197" dur="2000" tmFilter="0, 0; .2, .5; .8, .5; 1, 0"/>
                                        <p:tgtEl>
                                          <p:spTgt spid="44"/>
                                        </p:tgtEl>
                                      </p:cBhvr>
                                    </p:animEffect>
                                    <p:animScale>
                                      <p:cBhvr>
                                        <p:cTn id="198" dur="1000" autoRev="1" fill="hold"/>
                                        <p:tgtEl>
                                          <p:spTgt spid="44"/>
                                        </p:tgtEl>
                                      </p:cBhvr>
                                      <p:by x="105000" y="105000"/>
                                    </p:animScale>
                                  </p:childTnLst>
                                </p:cTn>
                              </p:par>
                              <p:par>
                                <p:cTn id="199" presetID="26" presetClass="emph" presetSubtype="0" dur="2000" repeatCount="indefinite" fill="hold" grpId="0" nodeType="withEffect">
                                  <p:stCondLst>
                                    <p:cond delay="1500"/>
                                  </p:stCondLst>
                                  <p:childTnLst>
                                    <p:animEffect transition="out" filter="fade">
                                      <p:cBhvr>
                                        <p:cTn id="200" dur="2000" tmFilter="0, 0; .2, .5; .8, .5; 1, 0"/>
                                        <p:tgtEl>
                                          <p:spTgt spid="60"/>
                                        </p:tgtEl>
                                      </p:cBhvr>
                                    </p:animEffect>
                                    <p:animScale>
                                      <p:cBhvr>
                                        <p:cTn id="201" dur="1000" autoRev="1" fill="hold"/>
                                        <p:tgtEl>
                                          <p:spTgt spid="60"/>
                                        </p:tgtEl>
                                      </p:cBhvr>
                                      <p:by x="105000" y="105000"/>
                                    </p:animScale>
                                  </p:childTnLst>
                                </p:cTn>
                              </p:par>
                              <p:par>
                                <p:cTn id="202" presetID="26" presetClass="emph" presetSubtype="0" dur="2000" repeatCount="indefinite" fill="hold" grpId="0" nodeType="withEffect">
                                  <p:stCondLst>
                                    <p:cond delay="1500"/>
                                  </p:stCondLst>
                                  <p:childTnLst>
                                    <p:animEffect transition="out" filter="fade">
                                      <p:cBhvr>
                                        <p:cTn id="203" dur="2000" tmFilter="0, 0; .2, .5; .8, .5; 1, 0"/>
                                        <p:tgtEl>
                                          <p:spTgt spid="76"/>
                                        </p:tgtEl>
                                      </p:cBhvr>
                                    </p:animEffect>
                                    <p:animScale>
                                      <p:cBhvr>
                                        <p:cTn id="204" dur="1000" autoRev="1" fill="hold"/>
                                        <p:tgtEl>
                                          <p:spTgt spid="76"/>
                                        </p:tgtEl>
                                      </p:cBhvr>
                                      <p:by x="105000" y="105000"/>
                                    </p:animScale>
                                  </p:childTnLst>
                                </p:cTn>
                              </p:par>
                              <p:par>
                                <p:cTn id="205" presetID="26" presetClass="emph" presetSubtype="0" dur="2000" repeatCount="indefinite" fill="hold" grpId="0" nodeType="withEffect">
                                  <p:stCondLst>
                                    <p:cond delay="1500"/>
                                  </p:stCondLst>
                                  <p:childTnLst>
                                    <p:animEffect transition="out" filter="fade">
                                      <p:cBhvr>
                                        <p:cTn id="206" dur="2000" tmFilter="0, 0; .2, .5; .8, .5; 1, 0"/>
                                        <p:tgtEl>
                                          <p:spTgt spid="92"/>
                                        </p:tgtEl>
                                      </p:cBhvr>
                                    </p:animEffect>
                                    <p:animScale>
                                      <p:cBhvr>
                                        <p:cTn id="207" dur="1000" autoRev="1" fill="hold"/>
                                        <p:tgtEl>
                                          <p:spTgt spid="92"/>
                                        </p:tgtEl>
                                      </p:cBhvr>
                                      <p:by x="105000" y="105000"/>
                                    </p:animScale>
                                  </p:childTnLst>
                                </p:cTn>
                              </p:par>
                              <p:par>
                                <p:cTn id="208" presetID="26" presetClass="emph" presetSubtype="0" dur="2000" repeatCount="indefinite" fill="hold" grpId="0" nodeType="withEffect">
                                  <p:stCondLst>
                                    <p:cond delay="1500"/>
                                  </p:stCondLst>
                                  <p:childTnLst>
                                    <p:animEffect transition="out" filter="fade">
                                      <p:cBhvr>
                                        <p:cTn id="209" dur="2000" tmFilter="0, 0; .2, .5; .8, .5; 1, 0"/>
                                        <p:tgtEl>
                                          <p:spTgt spid="108"/>
                                        </p:tgtEl>
                                      </p:cBhvr>
                                    </p:animEffect>
                                    <p:animScale>
                                      <p:cBhvr>
                                        <p:cTn id="210" dur="1000" autoRev="1" fill="hold"/>
                                        <p:tgtEl>
                                          <p:spTgt spid="108"/>
                                        </p:tgtEl>
                                      </p:cBhvr>
                                      <p:by x="105000" y="105000"/>
                                    </p:animScale>
                                  </p:childTnLst>
                                </p:cTn>
                              </p:par>
                              <p:par>
                                <p:cTn id="211" presetID="26" presetClass="emph" presetSubtype="0" dur="2000" repeatCount="indefinite" fill="hold" grpId="0" nodeType="withEffect">
                                  <p:stCondLst>
                                    <p:cond delay="1500"/>
                                  </p:stCondLst>
                                  <p:childTnLst>
                                    <p:animEffect transition="out" filter="fade">
                                      <p:cBhvr>
                                        <p:cTn id="212" dur="2000" tmFilter="0, 0; .2, .5; .8, .5; 1, 0"/>
                                        <p:tgtEl>
                                          <p:spTgt spid="124"/>
                                        </p:tgtEl>
                                      </p:cBhvr>
                                    </p:animEffect>
                                    <p:animScale>
                                      <p:cBhvr>
                                        <p:cTn id="213" dur="1000" autoRev="1" fill="hold"/>
                                        <p:tgtEl>
                                          <p:spTgt spid="124"/>
                                        </p:tgtEl>
                                      </p:cBhvr>
                                      <p:by x="105000" y="105000"/>
                                    </p:animScale>
                                  </p:childTnLst>
                                </p:cTn>
                              </p:par>
                              <p:par>
                                <p:cTn id="214" presetID="26" presetClass="emph" presetSubtype="0" dur="2000" repeatCount="indefinite" fill="hold" grpId="0" nodeType="withEffect">
                                  <p:stCondLst>
                                    <p:cond delay="1500"/>
                                  </p:stCondLst>
                                  <p:childTnLst>
                                    <p:animEffect transition="out" filter="fade">
                                      <p:cBhvr>
                                        <p:cTn id="215" dur="2000" tmFilter="0, 0; .2, .5; .8, .5; 1, 0"/>
                                        <p:tgtEl>
                                          <p:spTgt spid="141"/>
                                        </p:tgtEl>
                                      </p:cBhvr>
                                    </p:animEffect>
                                    <p:animScale>
                                      <p:cBhvr>
                                        <p:cTn id="216" dur="1000" autoRev="1" fill="hold"/>
                                        <p:tgtEl>
                                          <p:spTgt spid="141"/>
                                        </p:tgtEl>
                                      </p:cBhvr>
                                      <p:by x="105000" y="105000"/>
                                    </p:animScale>
                                  </p:childTnLst>
                                </p:cTn>
                              </p:par>
                              <p:par>
                                <p:cTn id="217" presetID="26" presetClass="emph" presetSubtype="0" dur="2000" repeatCount="indefinite" fill="hold" grpId="0" nodeType="withEffect">
                                  <p:stCondLst>
                                    <p:cond delay="1500"/>
                                  </p:stCondLst>
                                  <p:childTnLst>
                                    <p:animEffect transition="out" filter="fade">
                                      <p:cBhvr>
                                        <p:cTn id="218" dur="2000" tmFilter="0, 0; .2, .5; .8, .5; 1, 0"/>
                                        <p:tgtEl>
                                          <p:spTgt spid="158"/>
                                        </p:tgtEl>
                                      </p:cBhvr>
                                    </p:animEffect>
                                    <p:animScale>
                                      <p:cBhvr>
                                        <p:cTn id="219" dur="1000" autoRev="1" fill="hold"/>
                                        <p:tgtEl>
                                          <p:spTgt spid="158"/>
                                        </p:tgtEl>
                                      </p:cBhvr>
                                      <p:by x="105000" y="105000"/>
                                    </p:animScale>
                                  </p:childTnLst>
                                </p:cTn>
                              </p:par>
                              <p:par>
                                <p:cTn id="220" presetID="26" presetClass="emph" presetSubtype="0" dur="2000" repeatCount="indefinite" fill="hold" grpId="0" nodeType="withEffect">
                                  <p:stCondLst>
                                    <p:cond delay="1500"/>
                                  </p:stCondLst>
                                  <p:childTnLst>
                                    <p:animEffect transition="out" filter="fade">
                                      <p:cBhvr>
                                        <p:cTn id="221" dur="2000" tmFilter="0, 0; .2, .5; .8, .5; 1, 0"/>
                                        <p:tgtEl>
                                          <p:spTgt spid="175"/>
                                        </p:tgtEl>
                                      </p:cBhvr>
                                    </p:animEffect>
                                    <p:animScale>
                                      <p:cBhvr>
                                        <p:cTn id="222" dur="1000" autoRev="1" fill="hold"/>
                                        <p:tgtEl>
                                          <p:spTgt spid="175"/>
                                        </p:tgtEl>
                                      </p:cBhvr>
                                      <p:by x="105000" y="105000"/>
                                    </p:animScale>
                                  </p:childTnLst>
                                </p:cTn>
                              </p:par>
                              <p:par>
                                <p:cTn id="223" presetID="26" presetClass="emph" presetSubtype="0" dur="2000" repeatCount="indefinite" fill="hold" grpId="0" nodeType="withEffect">
                                  <p:stCondLst>
                                    <p:cond delay="1500"/>
                                  </p:stCondLst>
                                  <p:childTnLst>
                                    <p:animEffect transition="out" filter="fade">
                                      <p:cBhvr>
                                        <p:cTn id="224" dur="2000" tmFilter="0, 0; .2, .5; .8, .5; 1, 0"/>
                                        <p:tgtEl>
                                          <p:spTgt spid="192"/>
                                        </p:tgtEl>
                                      </p:cBhvr>
                                    </p:animEffect>
                                    <p:animScale>
                                      <p:cBhvr>
                                        <p:cTn id="225" dur="1000" autoRev="1" fill="hold"/>
                                        <p:tgtEl>
                                          <p:spTgt spid="192"/>
                                        </p:tgtEl>
                                      </p:cBhvr>
                                      <p:by x="105000" y="105000"/>
                                    </p:animScale>
                                  </p:childTnLst>
                                </p:cTn>
                              </p:par>
                              <p:par>
                                <p:cTn id="226" presetID="26" presetClass="emph" presetSubtype="0" dur="2000" repeatCount="indefinite" fill="hold" grpId="0" nodeType="withEffect">
                                  <p:stCondLst>
                                    <p:cond delay="1500"/>
                                  </p:stCondLst>
                                  <p:childTnLst>
                                    <p:animEffect transition="out" filter="fade">
                                      <p:cBhvr>
                                        <p:cTn id="227" dur="2000" tmFilter="0, 0; .2, .5; .8, .5; 1, 0"/>
                                        <p:tgtEl>
                                          <p:spTgt spid="209"/>
                                        </p:tgtEl>
                                      </p:cBhvr>
                                    </p:animEffect>
                                    <p:animScale>
                                      <p:cBhvr>
                                        <p:cTn id="228" dur="1000" autoRev="1" fill="hold"/>
                                        <p:tgtEl>
                                          <p:spTgt spid="209"/>
                                        </p:tgtEl>
                                      </p:cBhvr>
                                      <p:by x="105000" y="105000"/>
                                    </p:animScale>
                                  </p:childTnLst>
                                </p:cTn>
                              </p:par>
                              <p:par>
                                <p:cTn id="229" presetID="26" presetClass="emph" presetSubtype="0" dur="2000" repeatCount="indefinite" fill="hold" grpId="0" nodeType="withEffect">
                                  <p:stCondLst>
                                    <p:cond delay="1500"/>
                                  </p:stCondLst>
                                  <p:childTnLst>
                                    <p:animEffect transition="out" filter="fade">
                                      <p:cBhvr>
                                        <p:cTn id="230" dur="2000" tmFilter="0, 0; .2, .5; .8, .5; 1, 0"/>
                                        <p:tgtEl>
                                          <p:spTgt spid="225"/>
                                        </p:tgtEl>
                                      </p:cBhvr>
                                    </p:animEffect>
                                    <p:animScale>
                                      <p:cBhvr>
                                        <p:cTn id="231" dur="1000" autoRev="1" fill="hold"/>
                                        <p:tgtEl>
                                          <p:spTgt spid="225"/>
                                        </p:tgtEl>
                                      </p:cBhvr>
                                      <p:by x="105000" y="105000"/>
                                    </p:animScale>
                                  </p:childTnLst>
                                </p:cTn>
                              </p:par>
                              <p:par>
                                <p:cTn id="232" presetID="26" presetClass="emph" presetSubtype="0" dur="2000" repeatCount="indefinite" fill="hold" grpId="0" nodeType="withEffect">
                                  <p:stCondLst>
                                    <p:cond delay="1750"/>
                                  </p:stCondLst>
                                  <p:childTnLst>
                                    <p:animEffect transition="out" filter="fade">
                                      <p:cBhvr>
                                        <p:cTn id="233" dur="2000" tmFilter="0, 0; .2, .5; .8, .5; 1, 0"/>
                                        <p:tgtEl>
                                          <p:spTgt spid="14"/>
                                        </p:tgtEl>
                                      </p:cBhvr>
                                    </p:animEffect>
                                    <p:animScale>
                                      <p:cBhvr>
                                        <p:cTn id="234" dur="1000" autoRev="1" fill="hold"/>
                                        <p:tgtEl>
                                          <p:spTgt spid="14"/>
                                        </p:tgtEl>
                                      </p:cBhvr>
                                      <p:by x="105000" y="105000"/>
                                    </p:animScale>
                                  </p:childTnLst>
                                </p:cTn>
                              </p:par>
                              <p:par>
                                <p:cTn id="235" presetID="26" presetClass="emph" presetSubtype="0" dur="2000" repeatCount="indefinite" fill="hold" grpId="0" nodeType="withEffect">
                                  <p:stCondLst>
                                    <p:cond delay="1750"/>
                                  </p:stCondLst>
                                  <p:childTnLst>
                                    <p:animEffect transition="out" filter="fade">
                                      <p:cBhvr>
                                        <p:cTn id="236" dur="2000" tmFilter="0, 0; .2, .5; .8, .5; 1, 0"/>
                                        <p:tgtEl>
                                          <p:spTgt spid="29"/>
                                        </p:tgtEl>
                                      </p:cBhvr>
                                    </p:animEffect>
                                    <p:animScale>
                                      <p:cBhvr>
                                        <p:cTn id="237" dur="1000" autoRev="1" fill="hold"/>
                                        <p:tgtEl>
                                          <p:spTgt spid="29"/>
                                        </p:tgtEl>
                                      </p:cBhvr>
                                      <p:by x="105000" y="105000"/>
                                    </p:animScale>
                                  </p:childTnLst>
                                </p:cTn>
                              </p:par>
                              <p:par>
                                <p:cTn id="238" presetID="26" presetClass="emph" presetSubtype="0" dur="2000" repeatCount="indefinite" fill="hold" grpId="0" nodeType="withEffect">
                                  <p:stCondLst>
                                    <p:cond delay="1750"/>
                                  </p:stCondLst>
                                  <p:childTnLst>
                                    <p:animEffect transition="out" filter="fade">
                                      <p:cBhvr>
                                        <p:cTn id="239" dur="2000" tmFilter="0, 0; .2, .5; .8, .5; 1, 0"/>
                                        <p:tgtEl>
                                          <p:spTgt spid="45"/>
                                        </p:tgtEl>
                                      </p:cBhvr>
                                    </p:animEffect>
                                    <p:animScale>
                                      <p:cBhvr>
                                        <p:cTn id="240" dur="1000" autoRev="1" fill="hold"/>
                                        <p:tgtEl>
                                          <p:spTgt spid="45"/>
                                        </p:tgtEl>
                                      </p:cBhvr>
                                      <p:by x="105000" y="105000"/>
                                    </p:animScale>
                                  </p:childTnLst>
                                </p:cTn>
                              </p:par>
                              <p:par>
                                <p:cTn id="241" presetID="26" presetClass="emph" presetSubtype="0" dur="2000" repeatCount="indefinite" fill="hold" grpId="0" nodeType="withEffect">
                                  <p:stCondLst>
                                    <p:cond delay="1750"/>
                                  </p:stCondLst>
                                  <p:childTnLst>
                                    <p:animEffect transition="out" filter="fade">
                                      <p:cBhvr>
                                        <p:cTn id="242" dur="2000" tmFilter="0, 0; .2, .5; .8, .5; 1, 0"/>
                                        <p:tgtEl>
                                          <p:spTgt spid="61"/>
                                        </p:tgtEl>
                                      </p:cBhvr>
                                    </p:animEffect>
                                    <p:animScale>
                                      <p:cBhvr>
                                        <p:cTn id="243" dur="1000" autoRev="1" fill="hold"/>
                                        <p:tgtEl>
                                          <p:spTgt spid="61"/>
                                        </p:tgtEl>
                                      </p:cBhvr>
                                      <p:by x="105000" y="105000"/>
                                    </p:animScale>
                                  </p:childTnLst>
                                </p:cTn>
                              </p:par>
                              <p:par>
                                <p:cTn id="244" presetID="26" presetClass="emph" presetSubtype="0" dur="2000" repeatCount="indefinite" fill="hold" grpId="0" nodeType="withEffect">
                                  <p:stCondLst>
                                    <p:cond delay="1750"/>
                                  </p:stCondLst>
                                  <p:childTnLst>
                                    <p:animEffect transition="out" filter="fade">
                                      <p:cBhvr>
                                        <p:cTn id="245" dur="2000" tmFilter="0, 0; .2, .5; .8, .5; 1, 0"/>
                                        <p:tgtEl>
                                          <p:spTgt spid="77"/>
                                        </p:tgtEl>
                                      </p:cBhvr>
                                    </p:animEffect>
                                    <p:animScale>
                                      <p:cBhvr>
                                        <p:cTn id="246" dur="1000" autoRev="1" fill="hold"/>
                                        <p:tgtEl>
                                          <p:spTgt spid="77"/>
                                        </p:tgtEl>
                                      </p:cBhvr>
                                      <p:by x="105000" y="105000"/>
                                    </p:animScale>
                                  </p:childTnLst>
                                </p:cTn>
                              </p:par>
                              <p:par>
                                <p:cTn id="247" presetID="26" presetClass="emph" presetSubtype="0" dur="2000" repeatCount="indefinite" fill="hold" grpId="0" nodeType="withEffect">
                                  <p:stCondLst>
                                    <p:cond delay="1750"/>
                                  </p:stCondLst>
                                  <p:childTnLst>
                                    <p:animEffect transition="out" filter="fade">
                                      <p:cBhvr>
                                        <p:cTn id="248" dur="2000" tmFilter="0, 0; .2, .5; .8, .5; 1, 0"/>
                                        <p:tgtEl>
                                          <p:spTgt spid="93"/>
                                        </p:tgtEl>
                                      </p:cBhvr>
                                    </p:animEffect>
                                    <p:animScale>
                                      <p:cBhvr>
                                        <p:cTn id="249" dur="1000" autoRev="1" fill="hold"/>
                                        <p:tgtEl>
                                          <p:spTgt spid="93"/>
                                        </p:tgtEl>
                                      </p:cBhvr>
                                      <p:by x="105000" y="105000"/>
                                    </p:animScale>
                                  </p:childTnLst>
                                </p:cTn>
                              </p:par>
                              <p:par>
                                <p:cTn id="250" presetID="26" presetClass="emph" presetSubtype="0" dur="2000" repeatCount="indefinite" fill="hold" grpId="0" nodeType="withEffect">
                                  <p:stCondLst>
                                    <p:cond delay="1750"/>
                                  </p:stCondLst>
                                  <p:childTnLst>
                                    <p:animEffect transition="out" filter="fade">
                                      <p:cBhvr>
                                        <p:cTn id="251" dur="2000" tmFilter="0, 0; .2, .5; .8, .5; 1, 0"/>
                                        <p:tgtEl>
                                          <p:spTgt spid="109"/>
                                        </p:tgtEl>
                                      </p:cBhvr>
                                    </p:animEffect>
                                    <p:animScale>
                                      <p:cBhvr>
                                        <p:cTn id="252" dur="1000" autoRev="1" fill="hold"/>
                                        <p:tgtEl>
                                          <p:spTgt spid="109"/>
                                        </p:tgtEl>
                                      </p:cBhvr>
                                      <p:by x="105000" y="105000"/>
                                    </p:animScale>
                                  </p:childTnLst>
                                </p:cTn>
                              </p:par>
                              <p:par>
                                <p:cTn id="253" presetID="26" presetClass="emph" presetSubtype="0" dur="2000" repeatCount="indefinite" fill="hold" grpId="0" nodeType="withEffect">
                                  <p:stCondLst>
                                    <p:cond delay="1750"/>
                                  </p:stCondLst>
                                  <p:childTnLst>
                                    <p:animEffect transition="out" filter="fade">
                                      <p:cBhvr>
                                        <p:cTn id="254" dur="2000" tmFilter="0, 0; .2, .5; .8, .5; 1, 0"/>
                                        <p:tgtEl>
                                          <p:spTgt spid="125"/>
                                        </p:tgtEl>
                                      </p:cBhvr>
                                    </p:animEffect>
                                    <p:animScale>
                                      <p:cBhvr>
                                        <p:cTn id="255" dur="1000" autoRev="1" fill="hold"/>
                                        <p:tgtEl>
                                          <p:spTgt spid="125"/>
                                        </p:tgtEl>
                                      </p:cBhvr>
                                      <p:by x="105000" y="105000"/>
                                    </p:animScale>
                                  </p:childTnLst>
                                </p:cTn>
                              </p:par>
                              <p:par>
                                <p:cTn id="256" presetID="26" presetClass="emph" presetSubtype="0" dur="2000" repeatCount="indefinite" fill="hold" grpId="0" nodeType="withEffect">
                                  <p:stCondLst>
                                    <p:cond delay="1750"/>
                                  </p:stCondLst>
                                  <p:childTnLst>
                                    <p:animEffect transition="out" filter="fade">
                                      <p:cBhvr>
                                        <p:cTn id="257" dur="2000" tmFilter="0, 0; .2, .5; .8, .5; 1, 0"/>
                                        <p:tgtEl>
                                          <p:spTgt spid="142"/>
                                        </p:tgtEl>
                                      </p:cBhvr>
                                    </p:animEffect>
                                    <p:animScale>
                                      <p:cBhvr>
                                        <p:cTn id="258" dur="1000" autoRev="1" fill="hold"/>
                                        <p:tgtEl>
                                          <p:spTgt spid="142"/>
                                        </p:tgtEl>
                                      </p:cBhvr>
                                      <p:by x="105000" y="105000"/>
                                    </p:animScale>
                                  </p:childTnLst>
                                </p:cTn>
                              </p:par>
                              <p:par>
                                <p:cTn id="259" presetID="26" presetClass="emph" presetSubtype="0" dur="2000" repeatCount="indefinite" fill="hold" grpId="0" nodeType="withEffect">
                                  <p:stCondLst>
                                    <p:cond delay="1750"/>
                                  </p:stCondLst>
                                  <p:childTnLst>
                                    <p:animEffect transition="out" filter="fade">
                                      <p:cBhvr>
                                        <p:cTn id="260" dur="2000" tmFilter="0, 0; .2, .5; .8, .5; 1, 0"/>
                                        <p:tgtEl>
                                          <p:spTgt spid="159"/>
                                        </p:tgtEl>
                                      </p:cBhvr>
                                    </p:animEffect>
                                    <p:animScale>
                                      <p:cBhvr>
                                        <p:cTn id="261" dur="1000" autoRev="1" fill="hold"/>
                                        <p:tgtEl>
                                          <p:spTgt spid="159"/>
                                        </p:tgtEl>
                                      </p:cBhvr>
                                      <p:by x="105000" y="105000"/>
                                    </p:animScale>
                                  </p:childTnLst>
                                </p:cTn>
                              </p:par>
                              <p:par>
                                <p:cTn id="262" presetID="26" presetClass="emph" presetSubtype="0" dur="2000" repeatCount="indefinite" fill="hold" grpId="0" nodeType="withEffect">
                                  <p:stCondLst>
                                    <p:cond delay="1750"/>
                                  </p:stCondLst>
                                  <p:childTnLst>
                                    <p:animEffect transition="out" filter="fade">
                                      <p:cBhvr>
                                        <p:cTn id="263" dur="2000" tmFilter="0, 0; .2, .5; .8, .5; 1, 0"/>
                                        <p:tgtEl>
                                          <p:spTgt spid="176"/>
                                        </p:tgtEl>
                                      </p:cBhvr>
                                    </p:animEffect>
                                    <p:animScale>
                                      <p:cBhvr>
                                        <p:cTn id="264" dur="1000" autoRev="1" fill="hold"/>
                                        <p:tgtEl>
                                          <p:spTgt spid="176"/>
                                        </p:tgtEl>
                                      </p:cBhvr>
                                      <p:by x="105000" y="105000"/>
                                    </p:animScale>
                                  </p:childTnLst>
                                </p:cTn>
                              </p:par>
                              <p:par>
                                <p:cTn id="265" presetID="26" presetClass="emph" presetSubtype="0" dur="2000" repeatCount="indefinite" fill="hold" grpId="0" nodeType="withEffect">
                                  <p:stCondLst>
                                    <p:cond delay="1750"/>
                                  </p:stCondLst>
                                  <p:childTnLst>
                                    <p:animEffect transition="out" filter="fade">
                                      <p:cBhvr>
                                        <p:cTn id="266" dur="2000" tmFilter="0, 0; .2, .5; .8, .5; 1, 0"/>
                                        <p:tgtEl>
                                          <p:spTgt spid="193"/>
                                        </p:tgtEl>
                                      </p:cBhvr>
                                    </p:animEffect>
                                    <p:animScale>
                                      <p:cBhvr>
                                        <p:cTn id="267" dur="1000" autoRev="1" fill="hold"/>
                                        <p:tgtEl>
                                          <p:spTgt spid="193"/>
                                        </p:tgtEl>
                                      </p:cBhvr>
                                      <p:by x="105000" y="105000"/>
                                    </p:animScale>
                                  </p:childTnLst>
                                </p:cTn>
                              </p:par>
                              <p:par>
                                <p:cTn id="268" presetID="26" presetClass="emph" presetSubtype="0" dur="2000" repeatCount="indefinite" fill="hold" grpId="0" nodeType="withEffect">
                                  <p:stCondLst>
                                    <p:cond delay="1750"/>
                                  </p:stCondLst>
                                  <p:childTnLst>
                                    <p:animEffect transition="out" filter="fade">
                                      <p:cBhvr>
                                        <p:cTn id="269" dur="2000" tmFilter="0, 0; .2, .5; .8, .5; 1, 0"/>
                                        <p:tgtEl>
                                          <p:spTgt spid="210"/>
                                        </p:tgtEl>
                                      </p:cBhvr>
                                    </p:animEffect>
                                    <p:animScale>
                                      <p:cBhvr>
                                        <p:cTn id="270" dur="1000" autoRev="1" fill="hold"/>
                                        <p:tgtEl>
                                          <p:spTgt spid="210"/>
                                        </p:tgtEl>
                                      </p:cBhvr>
                                      <p:by x="105000" y="105000"/>
                                    </p:animScale>
                                  </p:childTnLst>
                                </p:cTn>
                              </p:par>
                              <p:par>
                                <p:cTn id="271" presetID="26" presetClass="emph" presetSubtype="0" dur="2000" repeatCount="indefinite" fill="hold" grpId="0" nodeType="withEffect">
                                  <p:stCondLst>
                                    <p:cond delay="1750"/>
                                  </p:stCondLst>
                                  <p:childTnLst>
                                    <p:animEffect transition="out" filter="fade">
                                      <p:cBhvr>
                                        <p:cTn id="272" dur="2000" tmFilter="0, 0; .2, .5; .8, .5; 1, 0"/>
                                        <p:tgtEl>
                                          <p:spTgt spid="226"/>
                                        </p:tgtEl>
                                      </p:cBhvr>
                                    </p:animEffect>
                                    <p:animScale>
                                      <p:cBhvr>
                                        <p:cTn id="273" dur="1000" autoRev="1" fill="hold"/>
                                        <p:tgtEl>
                                          <p:spTgt spid="226"/>
                                        </p:tgtEl>
                                      </p:cBhvr>
                                      <p:by x="105000" y="105000"/>
                                    </p:animScale>
                                  </p:childTnLst>
                                </p:cTn>
                              </p:par>
                              <p:par>
                                <p:cTn id="274" presetID="26" presetClass="emph" presetSubtype="0" dur="2000" repeatCount="indefinite" fill="hold" grpId="0" nodeType="withEffect">
                                  <p:stCondLst>
                                    <p:cond delay="2000"/>
                                  </p:stCondLst>
                                  <p:childTnLst>
                                    <p:animEffect transition="out" filter="fade">
                                      <p:cBhvr>
                                        <p:cTn id="275" dur="2000" tmFilter="0, 0; .2, .5; .8, .5; 1, 0"/>
                                        <p:tgtEl>
                                          <p:spTgt spid="15"/>
                                        </p:tgtEl>
                                      </p:cBhvr>
                                    </p:animEffect>
                                    <p:animScale>
                                      <p:cBhvr>
                                        <p:cTn id="276" dur="1000" autoRev="1" fill="hold"/>
                                        <p:tgtEl>
                                          <p:spTgt spid="15"/>
                                        </p:tgtEl>
                                      </p:cBhvr>
                                      <p:by x="105000" y="105000"/>
                                    </p:animScale>
                                  </p:childTnLst>
                                </p:cTn>
                              </p:par>
                              <p:par>
                                <p:cTn id="277" presetID="26" presetClass="emph" presetSubtype="0" dur="2000" repeatCount="indefinite" fill="hold" grpId="0" nodeType="withEffect">
                                  <p:stCondLst>
                                    <p:cond delay="2000"/>
                                  </p:stCondLst>
                                  <p:childTnLst>
                                    <p:animEffect transition="out" filter="fade">
                                      <p:cBhvr>
                                        <p:cTn id="278" dur="2000" tmFilter="0, 0; .2, .5; .8, .5; 1, 0"/>
                                        <p:tgtEl>
                                          <p:spTgt spid="30"/>
                                        </p:tgtEl>
                                      </p:cBhvr>
                                    </p:animEffect>
                                    <p:animScale>
                                      <p:cBhvr>
                                        <p:cTn id="279" dur="1000" autoRev="1" fill="hold"/>
                                        <p:tgtEl>
                                          <p:spTgt spid="30"/>
                                        </p:tgtEl>
                                      </p:cBhvr>
                                      <p:by x="105000" y="105000"/>
                                    </p:animScale>
                                  </p:childTnLst>
                                </p:cTn>
                              </p:par>
                              <p:par>
                                <p:cTn id="280" presetID="26" presetClass="emph" presetSubtype="0" dur="2000" repeatCount="indefinite" fill="hold" grpId="0" nodeType="withEffect">
                                  <p:stCondLst>
                                    <p:cond delay="2000"/>
                                  </p:stCondLst>
                                  <p:childTnLst>
                                    <p:animEffect transition="out" filter="fade">
                                      <p:cBhvr>
                                        <p:cTn id="281" dur="2000" tmFilter="0, 0; .2, .5; .8, .5; 1, 0"/>
                                        <p:tgtEl>
                                          <p:spTgt spid="46"/>
                                        </p:tgtEl>
                                      </p:cBhvr>
                                    </p:animEffect>
                                    <p:animScale>
                                      <p:cBhvr>
                                        <p:cTn id="282" dur="1000" autoRev="1" fill="hold"/>
                                        <p:tgtEl>
                                          <p:spTgt spid="46"/>
                                        </p:tgtEl>
                                      </p:cBhvr>
                                      <p:by x="105000" y="105000"/>
                                    </p:animScale>
                                  </p:childTnLst>
                                </p:cTn>
                              </p:par>
                              <p:par>
                                <p:cTn id="283" presetID="26" presetClass="emph" presetSubtype="0" dur="2000" repeatCount="indefinite" fill="hold" grpId="0" nodeType="withEffect">
                                  <p:stCondLst>
                                    <p:cond delay="2000"/>
                                  </p:stCondLst>
                                  <p:childTnLst>
                                    <p:animEffect transition="out" filter="fade">
                                      <p:cBhvr>
                                        <p:cTn id="284" dur="2000" tmFilter="0, 0; .2, .5; .8, .5; 1, 0"/>
                                        <p:tgtEl>
                                          <p:spTgt spid="62"/>
                                        </p:tgtEl>
                                      </p:cBhvr>
                                    </p:animEffect>
                                    <p:animScale>
                                      <p:cBhvr>
                                        <p:cTn id="285" dur="1000" autoRev="1" fill="hold"/>
                                        <p:tgtEl>
                                          <p:spTgt spid="62"/>
                                        </p:tgtEl>
                                      </p:cBhvr>
                                      <p:by x="105000" y="105000"/>
                                    </p:animScale>
                                  </p:childTnLst>
                                </p:cTn>
                              </p:par>
                              <p:par>
                                <p:cTn id="286" presetID="26" presetClass="emph" presetSubtype="0" dur="2000" repeatCount="indefinite" fill="hold" grpId="0" nodeType="withEffect">
                                  <p:stCondLst>
                                    <p:cond delay="2000"/>
                                  </p:stCondLst>
                                  <p:childTnLst>
                                    <p:animEffect transition="out" filter="fade">
                                      <p:cBhvr>
                                        <p:cTn id="287" dur="2000" tmFilter="0, 0; .2, .5; .8, .5; 1, 0"/>
                                        <p:tgtEl>
                                          <p:spTgt spid="78"/>
                                        </p:tgtEl>
                                      </p:cBhvr>
                                    </p:animEffect>
                                    <p:animScale>
                                      <p:cBhvr>
                                        <p:cTn id="288" dur="1000" autoRev="1" fill="hold"/>
                                        <p:tgtEl>
                                          <p:spTgt spid="78"/>
                                        </p:tgtEl>
                                      </p:cBhvr>
                                      <p:by x="105000" y="105000"/>
                                    </p:animScale>
                                  </p:childTnLst>
                                </p:cTn>
                              </p:par>
                              <p:par>
                                <p:cTn id="289" presetID="26" presetClass="emph" presetSubtype="0" dur="2000" repeatCount="indefinite" fill="hold" grpId="0" nodeType="withEffect">
                                  <p:stCondLst>
                                    <p:cond delay="2000"/>
                                  </p:stCondLst>
                                  <p:childTnLst>
                                    <p:animEffect transition="out" filter="fade">
                                      <p:cBhvr>
                                        <p:cTn id="290" dur="2000" tmFilter="0, 0; .2, .5; .8, .5; 1, 0"/>
                                        <p:tgtEl>
                                          <p:spTgt spid="94"/>
                                        </p:tgtEl>
                                      </p:cBhvr>
                                    </p:animEffect>
                                    <p:animScale>
                                      <p:cBhvr>
                                        <p:cTn id="291" dur="1000" autoRev="1" fill="hold"/>
                                        <p:tgtEl>
                                          <p:spTgt spid="94"/>
                                        </p:tgtEl>
                                      </p:cBhvr>
                                      <p:by x="105000" y="105000"/>
                                    </p:animScale>
                                  </p:childTnLst>
                                </p:cTn>
                              </p:par>
                              <p:par>
                                <p:cTn id="292" presetID="26" presetClass="emph" presetSubtype="0" dur="2000" repeatCount="indefinite" fill="hold" grpId="0" nodeType="withEffect">
                                  <p:stCondLst>
                                    <p:cond delay="2000"/>
                                  </p:stCondLst>
                                  <p:childTnLst>
                                    <p:animEffect transition="out" filter="fade">
                                      <p:cBhvr>
                                        <p:cTn id="293" dur="2000" tmFilter="0, 0; .2, .5; .8, .5; 1, 0"/>
                                        <p:tgtEl>
                                          <p:spTgt spid="110"/>
                                        </p:tgtEl>
                                      </p:cBhvr>
                                    </p:animEffect>
                                    <p:animScale>
                                      <p:cBhvr>
                                        <p:cTn id="294" dur="1000" autoRev="1" fill="hold"/>
                                        <p:tgtEl>
                                          <p:spTgt spid="110"/>
                                        </p:tgtEl>
                                      </p:cBhvr>
                                      <p:by x="105000" y="105000"/>
                                    </p:animScale>
                                  </p:childTnLst>
                                </p:cTn>
                              </p:par>
                              <p:par>
                                <p:cTn id="295" presetID="26" presetClass="emph" presetSubtype="0" dur="2000" repeatCount="indefinite" fill="hold" grpId="0" nodeType="withEffect">
                                  <p:stCondLst>
                                    <p:cond delay="2000"/>
                                  </p:stCondLst>
                                  <p:childTnLst>
                                    <p:animEffect transition="out" filter="fade">
                                      <p:cBhvr>
                                        <p:cTn id="296" dur="2000" tmFilter="0, 0; .2, .5; .8, .5; 1, 0"/>
                                        <p:tgtEl>
                                          <p:spTgt spid="126"/>
                                        </p:tgtEl>
                                      </p:cBhvr>
                                    </p:animEffect>
                                    <p:animScale>
                                      <p:cBhvr>
                                        <p:cTn id="297" dur="1000" autoRev="1" fill="hold"/>
                                        <p:tgtEl>
                                          <p:spTgt spid="126"/>
                                        </p:tgtEl>
                                      </p:cBhvr>
                                      <p:by x="105000" y="105000"/>
                                    </p:animScale>
                                  </p:childTnLst>
                                </p:cTn>
                              </p:par>
                              <p:par>
                                <p:cTn id="298" presetID="26" presetClass="emph" presetSubtype="0" dur="2000" repeatCount="indefinite" fill="hold" grpId="0" nodeType="withEffect">
                                  <p:stCondLst>
                                    <p:cond delay="2000"/>
                                  </p:stCondLst>
                                  <p:childTnLst>
                                    <p:animEffect transition="out" filter="fade">
                                      <p:cBhvr>
                                        <p:cTn id="299" dur="2000" tmFilter="0, 0; .2, .5; .8, .5; 1, 0"/>
                                        <p:tgtEl>
                                          <p:spTgt spid="143"/>
                                        </p:tgtEl>
                                      </p:cBhvr>
                                    </p:animEffect>
                                    <p:animScale>
                                      <p:cBhvr>
                                        <p:cTn id="300" dur="1000" autoRev="1" fill="hold"/>
                                        <p:tgtEl>
                                          <p:spTgt spid="143"/>
                                        </p:tgtEl>
                                      </p:cBhvr>
                                      <p:by x="105000" y="105000"/>
                                    </p:animScale>
                                  </p:childTnLst>
                                </p:cTn>
                              </p:par>
                              <p:par>
                                <p:cTn id="301" presetID="26" presetClass="emph" presetSubtype="0" dur="2000" repeatCount="indefinite" fill="hold" grpId="0" nodeType="withEffect">
                                  <p:stCondLst>
                                    <p:cond delay="2000"/>
                                  </p:stCondLst>
                                  <p:childTnLst>
                                    <p:animEffect transition="out" filter="fade">
                                      <p:cBhvr>
                                        <p:cTn id="302" dur="2000" tmFilter="0, 0; .2, .5; .8, .5; 1, 0"/>
                                        <p:tgtEl>
                                          <p:spTgt spid="160"/>
                                        </p:tgtEl>
                                      </p:cBhvr>
                                    </p:animEffect>
                                    <p:animScale>
                                      <p:cBhvr>
                                        <p:cTn id="303" dur="1000" autoRev="1" fill="hold"/>
                                        <p:tgtEl>
                                          <p:spTgt spid="160"/>
                                        </p:tgtEl>
                                      </p:cBhvr>
                                      <p:by x="105000" y="105000"/>
                                    </p:animScale>
                                  </p:childTnLst>
                                </p:cTn>
                              </p:par>
                              <p:par>
                                <p:cTn id="304" presetID="26" presetClass="emph" presetSubtype="0" dur="2000" repeatCount="indefinite" fill="hold" grpId="0" nodeType="withEffect">
                                  <p:stCondLst>
                                    <p:cond delay="2000"/>
                                  </p:stCondLst>
                                  <p:childTnLst>
                                    <p:animEffect transition="out" filter="fade">
                                      <p:cBhvr>
                                        <p:cTn id="305" dur="2000" tmFilter="0, 0; .2, .5; .8, .5; 1, 0"/>
                                        <p:tgtEl>
                                          <p:spTgt spid="177"/>
                                        </p:tgtEl>
                                      </p:cBhvr>
                                    </p:animEffect>
                                    <p:animScale>
                                      <p:cBhvr>
                                        <p:cTn id="306" dur="1000" autoRev="1" fill="hold"/>
                                        <p:tgtEl>
                                          <p:spTgt spid="177"/>
                                        </p:tgtEl>
                                      </p:cBhvr>
                                      <p:by x="105000" y="105000"/>
                                    </p:animScale>
                                  </p:childTnLst>
                                </p:cTn>
                              </p:par>
                              <p:par>
                                <p:cTn id="307" presetID="26" presetClass="emph" presetSubtype="0" dur="2000" repeatCount="indefinite" fill="hold" grpId="0" nodeType="withEffect">
                                  <p:stCondLst>
                                    <p:cond delay="2000"/>
                                  </p:stCondLst>
                                  <p:childTnLst>
                                    <p:animEffect transition="out" filter="fade">
                                      <p:cBhvr>
                                        <p:cTn id="308" dur="2000" tmFilter="0, 0; .2, .5; .8, .5; 1, 0"/>
                                        <p:tgtEl>
                                          <p:spTgt spid="194"/>
                                        </p:tgtEl>
                                      </p:cBhvr>
                                    </p:animEffect>
                                    <p:animScale>
                                      <p:cBhvr>
                                        <p:cTn id="309" dur="1000" autoRev="1" fill="hold"/>
                                        <p:tgtEl>
                                          <p:spTgt spid="194"/>
                                        </p:tgtEl>
                                      </p:cBhvr>
                                      <p:by x="105000" y="105000"/>
                                    </p:animScale>
                                  </p:childTnLst>
                                </p:cTn>
                              </p:par>
                              <p:par>
                                <p:cTn id="310" presetID="26" presetClass="emph" presetSubtype="0" dur="2000" repeatCount="indefinite" fill="hold" grpId="0" nodeType="withEffect">
                                  <p:stCondLst>
                                    <p:cond delay="2000"/>
                                  </p:stCondLst>
                                  <p:childTnLst>
                                    <p:animEffect transition="out" filter="fade">
                                      <p:cBhvr>
                                        <p:cTn id="311" dur="2000" tmFilter="0, 0; .2, .5; .8, .5; 1, 0"/>
                                        <p:tgtEl>
                                          <p:spTgt spid="211"/>
                                        </p:tgtEl>
                                      </p:cBhvr>
                                    </p:animEffect>
                                    <p:animScale>
                                      <p:cBhvr>
                                        <p:cTn id="312" dur="1000" autoRev="1" fill="hold"/>
                                        <p:tgtEl>
                                          <p:spTgt spid="211"/>
                                        </p:tgtEl>
                                      </p:cBhvr>
                                      <p:by x="105000" y="105000"/>
                                    </p:animScale>
                                  </p:childTnLst>
                                </p:cTn>
                              </p:par>
                              <p:par>
                                <p:cTn id="313" presetID="26" presetClass="emph" presetSubtype="0" dur="2000" repeatCount="indefinite" fill="hold" grpId="0" nodeType="withEffect">
                                  <p:stCondLst>
                                    <p:cond delay="2000"/>
                                  </p:stCondLst>
                                  <p:childTnLst>
                                    <p:animEffect transition="out" filter="fade">
                                      <p:cBhvr>
                                        <p:cTn id="314" dur="2000" tmFilter="0, 0; .2, .5; .8, .5; 1, 0"/>
                                        <p:tgtEl>
                                          <p:spTgt spid="227"/>
                                        </p:tgtEl>
                                      </p:cBhvr>
                                    </p:animEffect>
                                    <p:animScale>
                                      <p:cBhvr>
                                        <p:cTn id="315" dur="1000" autoRev="1" fill="hold"/>
                                        <p:tgtEl>
                                          <p:spTgt spid="227"/>
                                        </p:tgtEl>
                                      </p:cBhvr>
                                      <p:by x="105000" y="105000"/>
                                    </p:animScale>
                                  </p:childTnLst>
                                </p:cTn>
                              </p:par>
                              <p:par>
                                <p:cTn id="316" presetID="26" presetClass="emph" presetSubtype="0" dur="2000" repeatCount="indefinite" fill="hold" grpId="0" nodeType="withEffect">
                                  <p:stCondLst>
                                    <p:cond delay="2250"/>
                                  </p:stCondLst>
                                  <p:childTnLst>
                                    <p:animEffect transition="out" filter="fade">
                                      <p:cBhvr>
                                        <p:cTn id="317" dur="2000" tmFilter="0, 0; .2, .5; .8, .5; 1, 0"/>
                                        <p:tgtEl>
                                          <p:spTgt spid="16"/>
                                        </p:tgtEl>
                                      </p:cBhvr>
                                    </p:animEffect>
                                    <p:animScale>
                                      <p:cBhvr>
                                        <p:cTn id="318" dur="1000" autoRev="1" fill="hold"/>
                                        <p:tgtEl>
                                          <p:spTgt spid="16"/>
                                        </p:tgtEl>
                                      </p:cBhvr>
                                      <p:by x="105000" y="105000"/>
                                    </p:animScale>
                                  </p:childTnLst>
                                </p:cTn>
                              </p:par>
                              <p:par>
                                <p:cTn id="319" presetID="26" presetClass="emph" presetSubtype="0" dur="2000" repeatCount="indefinite" fill="hold" grpId="0" nodeType="withEffect">
                                  <p:stCondLst>
                                    <p:cond delay="2250"/>
                                  </p:stCondLst>
                                  <p:childTnLst>
                                    <p:animEffect transition="out" filter="fade">
                                      <p:cBhvr>
                                        <p:cTn id="320" dur="2000" tmFilter="0, 0; .2, .5; .8, .5; 1, 0"/>
                                        <p:tgtEl>
                                          <p:spTgt spid="31"/>
                                        </p:tgtEl>
                                      </p:cBhvr>
                                    </p:animEffect>
                                    <p:animScale>
                                      <p:cBhvr>
                                        <p:cTn id="321" dur="1000" autoRev="1" fill="hold"/>
                                        <p:tgtEl>
                                          <p:spTgt spid="31"/>
                                        </p:tgtEl>
                                      </p:cBhvr>
                                      <p:by x="105000" y="105000"/>
                                    </p:animScale>
                                  </p:childTnLst>
                                </p:cTn>
                              </p:par>
                              <p:par>
                                <p:cTn id="322" presetID="26" presetClass="emph" presetSubtype="0" dur="2000" repeatCount="indefinite" fill="hold" grpId="0" nodeType="withEffect">
                                  <p:stCondLst>
                                    <p:cond delay="2250"/>
                                  </p:stCondLst>
                                  <p:childTnLst>
                                    <p:animEffect transition="out" filter="fade">
                                      <p:cBhvr>
                                        <p:cTn id="323" dur="2000" tmFilter="0, 0; .2, .5; .8, .5; 1, 0"/>
                                        <p:tgtEl>
                                          <p:spTgt spid="47"/>
                                        </p:tgtEl>
                                      </p:cBhvr>
                                    </p:animEffect>
                                    <p:animScale>
                                      <p:cBhvr>
                                        <p:cTn id="324" dur="1000" autoRev="1" fill="hold"/>
                                        <p:tgtEl>
                                          <p:spTgt spid="47"/>
                                        </p:tgtEl>
                                      </p:cBhvr>
                                      <p:by x="105000" y="105000"/>
                                    </p:animScale>
                                  </p:childTnLst>
                                </p:cTn>
                              </p:par>
                              <p:par>
                                <p:cTn id="325" presetID="26" presetClass="emph" presetSubtype="0" dur="2000" repeatCount="indefinite" fill="hold" grpId="0" nodeType="withEffect">
                                  <p:stCondLst>
                                    <p:cond delay="2250"/>
                                  </p:stCondLst>
                                  <p:childTnLst>
                                    <p:animEffect transition="out" filter="fade">
                                      <p:cBhvr>
                                        <p:cTn id="326" dur="2000" tmFilter="0, 0; .2, .5; .8, .5; 1, 0"/>
                                        <p:tgtEl>
                                          <p:spTgt spid="63"/>
                                        </p:tgtEl>
                                      </p:cBhvr>
                                    </p:animEffect>
                                    <p:animScale>
                                      <p:cBhvr>
                                        <p:cTn id="327" dur="1000" autoRev="1" fill="hold"/>
                                        <p:tgtEl>
                                          <p:spTgt spid="63"/>
                                        </p:tgtEl>
                                      </p:cBhvr>
                                      <p:by x="105000" y="105000"/>
                                    </p:animScale>
                                  </p:childTnLst>
                                </p:cTn>
                              </p:par>
                              <p:par>
                                <p:cTn id="328" presetID="26" presetClass="emph" presetSubtype="0" dur="2000" repeatCount="indefinite" fill="hold" grpId="0" nodeType="withEffect">
                                  <p:stCondLst>
                                    <p:cond delay="2250"/>
                                  </p:stCondLst>
                                  <p:childTnLst>
                                    <p:animEffect transition="out" filter="fade">
                                      <p:cBhvr>
                                        <p:cTn id="329" dur="2000" tmFilter="0, 0; .2, .5; .8, .5; 1, 0"/>
                                        <p:tgtEl>
                                          <p:spTgt spid="79"/>
                                        </p:tgtEl>
                                      </p:cBhvr>
                                    </p:animEffect>
                                    <p:animScale>
                                      <p:cBhvr>
                                        <p:cTn id="330" dur="1000" autoRev="1" fill="hold"/>
                                        <p:tgtEl>
                                          <p:spTgt spid="79"/>
                                        </p:tgtEl>
                                      </p:cBhvr>
                                      <p:by x="105000" y="105000"/>
                                    </p:animScale>
                                  </p:childTnLst>
                                </p:cTn>
                              </p:par>
                              <p:par>
                                <p:cTn id="331" presetID="26" presetClass="emph" presetSubtype="0" dur="2000" repeatCount="indefinite" fill="hold" grpId="0" nodeType="withEffect">
                                  <p:stCondLst>
                                    <p:cond delay="2250"/>
                                  </p:stCondLst>
                                  <p:childTnLst>
                                    <p:animEffect transition="out" filter="fade">
                                      <p:cBhvr>
                                        <p:cTn id="332" dur="2000" tmFilter="0, 0; .2, .5; .8, .5; 1, 0"/>
                                        <p:tgtEl>
                                          <p:spTgt spid="95"/>
                                        </p:tgtEl>
                                      </p:cBhvr>
                                    </p:animEffect>
                                    <p:animScale>
                                      <p:cBhvr>
                                        <p:cTn id="333" dur="1000" autoRev="1" fill="hold"/>
                                        <p:tgtEl>
                                          <p:spTgt spid="95"/>
                                        </p:tgtEl>
                                      </p:cBhvr>
                                      <p:by x="105000" y="105000"/>
                                    </p:animScale>
                                  </p:childTnLst>
                                </p:cTn>
                              </p:par>
                              <p:par>
                                <p:cTn id="334" presetID="26" presetClass="emph" presetSubtype="0" dur="2000" repeatCount="indefinite" fill="hold" grpId="0" nodeType="withEffect">
                                  <p:stCondLst>
                                    <p:cond delay="2250"/>
                                  </p:stCondLst>
                                  <p:childTnLst>
                                    <p:animEffect transition="out" filter="fade">
                                      <p:cBhvr>
                                        <p:cTn id="335" dur="2000" tmFilter="0, 0; .2, .5; .8, .5; 1, 0"/>
                                        <p:tgtEl>
                                          <p:spTgt spid="111"/>
                                        </p:tgtEl>
                                      </p:cBhvr>
                                    </p:animEffect>
                                    <p:animScale>
                                      <p:cBhvr>
                                        <p:cTn id="336" dur="1000" autoRev="1" fill="hold"/>
                                        <p:tgtEl>
                                          <p:spTgt spid="111"/>
                                        </p:tgtEl>
                                      </p:cBhvr>
                                      <p:by x="105000" y="105000"/>
                                    </p:animScale>
                                  </p:childTnLst>
                                </p:cTn>
                              </p:par>
                              <p:par>
                                <p:cTn id="337" presetID="26" presetClass="emph" presetSubtype="0" dur="2000" repeatCount="indefinite" fill="hold" grpId="0" nodeType="withEffect">
                                  <p:stCondLst>
                                    <p:cond delay="2250"/>
                                  </p:stCondLst>
                                  <p:childTnLst>
                                    <p:animEffect transition="out" filter="fade">
                                      <p:cBhvr>
                                        <p:cTn id="338" dur="2000" tmFilter="0, 0; .2, .5; .8, .5; 1, 0"/>
                                        <p:tgtEl>
                                          <p:spTgt spid="127"/>
                                        </p:tgtEl>
                                      </p:cBhvr>
                                    </p:animEffect>
                                    <p:animScale>
                                      <p:cBhvr>
                                        <p:cTn id="339" dur="1000" autoRev="1" fill="hold"/>
                                        <p:tgtEl>
                                          <p:spTgt spid="127"/>
                                        </p:tgtEl>
                                      </p:cBhvr>
                                      <p:by x="105000" y="105000"/>
                                    </p:animScale>
                                  </p:childTnLst>
                                </p:cTn>
                              </p:par>
                              <p:par>
                                <p:cTn id="340" presetID="26" presetClass="emph" presetSubtype="0" dur="2000" repeatCount="indefinite" fill="hold" grpId="0" nodeType="withEffect">
                                  <p:stCondLst>
                                    <p:cond delay="2250"/>
                                  </p:stCondLst>
                                  <p:childTnLst>
                                    <p:animEffect transition="out" filter="fade">
                                      <p:cBhvr>
                                        <p:cTn id="341" dur="2000" tmFilter="0, 0; .2, .5; .8, .5; 1, 0"/>
                                        <p:tgtEl>
                                          <p:spTgt spid="144"/>
                                        </p:tgtEl>
                                      </p:cBhvr>
                                    </p:animEffect>
                                    <p:animScale>
                                      <p:cBhvr>
                                        <p:cTn id="342" dur="1000" autoRev="1" fill="hold"/>
                                        <p:tgtEl>
                                          <p:spTgt spid="144"/>
                                        </p:tgtEl>
                                      </p:cBhvr>
                                      <p:by x="105000" y="105000"/>
                                    </p:animScale>
                                  </p:childTnLst>
                                </p:cTn>
                              </p:par>
                              <p:par>
                                <p:cTn id="343" presetID="26" presetClass="emph" presetSubtype="0" dur="2000" repeatCount="indefinite" fill="hold" grpId="0" nodeType="withEffect">
                                  <p:stCondLst>
                                    <p:cond delay="2250"/>
                                  </p:stCondLst>
                                  <p:childTnLst>
                                    <p:animEffect transition="out" filter="fade">
                                      <p:cBhvr>
                                        <p:cTn id="344" dur="2000" tmFilter="0, 0; .2, .5; .8, .5; 1, 0"/>
                                        <p:tgtEl>
                                          <p:spTgt spid="161"/>
                                        </p:tgtEl>
                                      </p:cBhvr>
                                    </p:animEffect>
                                    <p:animScale>
                                      <p:cBhvr>
                                        <p:cTn id="345" dur="1000" autoRev="1" fill="hold"/>
                                        <p:tgtEl>
                                          <p:spTgt spid="161"/>
                                        </p:tgtEl>
                                      </p:cBhvr>
                                      <p:by x="105000" y="105000"/>
                                    </p:animScale>
                                  </p:childTnLst>
                                </p:cTn>
                              </p:par>
                              <p:par>
                                <p:cTn id="346" presetID="26" presetClass="emph" presetSubtype="0" dur="2000" repeatCount="indefinite" fill="hold" grpId="0" nodeType="withEffect">
                                  <p:stCondLst>
                                    <p:cond delay="2250"/>
                                  </p:stCondLst>
                                  <p:childTnLst>
                                    <p:animEffect transition="out" filter="fade">
                                      <p:cBhvr>
                                        <p:cTn id="347" dur="2000" tmFilter="0, 0; .2, .5; .8, .5; 1, 0"/>
                                        <p:tgtEl>
                                          <p:spTgt spid="178"/>
                                        </p:tgtEl>
                                      </p:cBhvr>
                                    </p:animEffect>
                                    <p:animScale>
                                      <p:cBhvr>
                                        <p:cTn id="348" dur="1000" autoRev="1" fill="hold"/>
                                        <p:tgtEl>
                                          <p:spTgt spid="178"/>
                                        </p:tgtEl>
                                      </p:cBhvr>
                                      <p:by x="105000" y="105000"/>
                                    </p:animScale>
                                  </p:childTnLst>
                                </p:cTn>
                              </p:par>
                              <p:par>
                                <p:cTn id="349" presetID="26" presetClass="emph" presetSubtype="0" dur="2000" repeatCount="indefinite" fill="hold" grpId="0" nodeType="withEffect">
                                  <p:stCondLst>
                                    <p:cond delay="2250"/>
                                  </p:stCondLst>
                                  <p:childTnLst>
                                    <p:animEffect transition="out" filter="fade">
                                      <p:cBhvr>
                                        <p:cTn id="350" dur="2000" tmFilter="0, 0; .2, .5; .8, .5; 1, 0"/>
                                        <p:tgtEl>
                                          <p:spTgt spid="195"/>
                                        </p:tgtEl>
                                      </p:cBhvr>
                                    </p:animEffect>
                                    <p:animScale>
                                      <p:cBhvr>
                                        <p:cTn id="351" dur="1000" autoRev="1" fill="hold"/>
                                        <p:tgtEl>
                                          <p:spTgt spid="195"/>
                                        </p:tgtEl>
                                      </p:cBhvr>
                                      <p:by x="105000" y="105000"/>
                                    </p:animScale>
                                  </p:childTnLst>
                                </p:cTn>
                              </p:par>
                              <p:par>
                                <p:cTn id="352" presetID="26" presetClass="emph" presetSubtype="0" dur="2000" repeatCount="indefinite" fill="hold" grpId="0" nodeType="withEffect">
                                  <p:stCondLst>
                                    <p:cond delay="2250"/>
                                  </p:stCondLst>
                                  <p:childTnLst>
                                    <p:animEffect transition="out" filter="fade">
                                      <p:cBhvr>
                                        <p:cTn id="353" dur="2000" tmFilter="0, 0; .2, .5; .8, .5; 1, 0"/>
                                        <p:tgtEl>
                                          <p:spTgt spid="212"/>
                                        </p:tgtEl>
                                      </p:cBhvr>
                                    </p:animEffect>
                                    <p:animScale>
                                      <p:cBhvr>
                                        <p:cTn id="354" dur="1000" autoRev="1" fill="hold"/>
                                        <p:tgtEl>
                                          <p:spTgt spid="212"/>
                                        </p:tgtEl>
                                      </p:cBhvr>
                                      <p:by x="105000" y="105000"/>
                                    </p:animScale>
                                  </p:childTnLst>
                                </p:cTn>
                              </p:par>
                              <p:par>
                                <p:cTn id="355" presetID="26" presetClass="emph" presetSubtype="0" dur="2000" repeatCount="indefinite" fill="hold" grpId="0" nodeType="withEffect">
                                  <p:stCondLst>
                                    <p:cond delay="2250"/>
                                  </p:stCondLst>
                                  <p:childTnLst>
                                    <p:animEffect transition="out" filter="fade">
                                      <p:cBhvr>
                                        <p:cTn id="356" dur="2000" tmFilter="0, 0; .2, .5; .8, .5; 1, 0"/>
                                        <p:tgtEl>
                                          <p:spTgt spid="228"/>
                                        </p:tgtEl>
                                      </p:cBhvr>
                                    </p:animEffect>
                                    <p:animScale>
                                      <p:cBhvr>
                                        <p:cTn id="357" dur="1000" autoRev="1" fill="hold"/>
                                        <p:tgtEl>
                                          <p:spTgt spid="228"/>
                                        </p:tgtEl>
                                      </p:cBhvr>
                                      <p:by x="105000" y="105000"/>
                                    </p:animScale>
                                  </p:childTnLst>
                                </p:cTn>
                              </p:par>
                              <p:par>
                                <p:cTn id="358" presetID="26" presetClass="emph" presetSubtype="0" dur="2000" repeatCount="indefinite" fill="hold" grpId="0" nodeType="withEffect">
                                  <p:stCondLst>
                                    <p:cond delay="2500"/>
                                  </p:stCondLst>
                                  <p:childTnLst>
                                    <p:animEffect transition="out" filter="fade">
                                      <p:cBhvr>
                                        <p:cTn id="359" dur="2000" tmFilter="0, 0; .2, .5; .8, .5; 1, 0"/>
                                        <p:tgtEl>
                                          <p:spTgt spid="17"/>
                                        </p:tgtEl>
                                      </p:cBhvr>
                                    </p:animEffect>
                                    <p:animScale>
                                      <p:cBhvr>
                                        <p:cTn id="360" dur="1000" autoRev="1" fill="hold"/>
                                        <p:tgtEl>
                                          <p:spTgt spid="17"/>
                                        </p:tgtEl>
                                      </p:cBhvr>
                                      <p:by x="105000" y="105000"/>
                                    </p:animScale>
                                  </p:childTnLst>
                                </p:cTn>
                              </p:par>
                              <p:par>
                                <p:cTn id="361" presetID="26" presetClass="emph" presetSubtype="0" dur="2000" repeatCount="indefinite" fill="hold" grpId="0" nodeType="withEffect">
                                  <p:stCondLst>
                                    <p:cond delay="2500"/>
                                  </p:stCondLst>
                                  <p:childTnLst>
                                    <p:animEffect transition="out" filter="fade">
                                      <p:cBhvr>
                                        <p:cTn id="362" dur="2000" tmFilter="0, 0; .2, .5; .8, .5; 1, 0"/>
                                        <p:tgtEl>
                                          <p:spTgt spid="32"/>
                                        </p:tgtEl>
                                      </p:cBhvr>
                                    </p:animEffect>
                                    <p:animScale>
                                      <p:cBhvr>
                                        <p:cTn id="363" dur="1000" autoRev="1" fill="hold"/>
                                        <p:tgtEl>
                                          <p:spTgt spid="32"/>
                                        </p:tgtEl>
                                      </p:cBhvr>
                                      <p:by x="105000" y="105000"/>
                                    </p:animScale>
                                  </p:childTnLst>
                                </p:cTn>
                              </p:par>
                              <p:par>
                                <p:cTn id="364" presetID="26" presetClass="emph" presetSubtype="0" dur="2000" repeatCount="indefinite" fill="hold" grpId="0" nodeType="withEffect">
                                  <p:stCondLst>
                                    <p:cond delay="2500"/>
                                  </p:stCondLst>
                                  <p:childTnLst>
                                    <p:animEffect transition="out" filter="fade">
                                      <p:cBhvr>
                                        <p:cTn id="365" dur="2000" tmFilter="0, 0; .2, .5; .8, .5; 1, 0"/>
                                        <p:tgtEl>
                                          <p:spTgt spid="48"/>
                                        </p:tgtEl>
                                      </p:cBhvr>
                                    </p:animEffect>
                                    <p:animScale>
                                      <p:cBhvr>
                                        <p:cTn id="366" dur="1000" autoRev="1" fill="hold"/>
                                        <p:tgtEl>
                                          <p:spTgt spid="48"/>
                                        </p:tgtEl>
                                      </p:cBhvr>
                                      <p:by x="105000" y="105000"/>
                                    </p:animScale>
                                  </p:childTnLst>
                                </p:cTn>
                              </p:par>
                              <p:par>
                                <p:cTn id="367" presetID="26" presetClass="emph" presetSubtype="0" dur="2000" repeatCount="indefinite" fill="hold" grpId="0" nodeType="withEffect">
                                  <p:stCondLst>
                                    <p:cond delay="2500"/>
                                  </p:stCondLst>
                                  <p:childTnLst>
                                    <p:animEffect transition="out" filter="fade">
                                      <p:cBhvr>
                                        <p:cTn id="368" dur="2000" tmFilter="0, 0; .2, .5; .8, .5; 1, 0"/>
                                        <p:tgtEl>
                                          <p:spTgt spid="64"/>
                                        </p:tgtEl>
                                      </p:cBhvr>
                                    </p:animEffect>
                                    <p:animScale>
                                      <p:cBhvr>
                                        <p:cTn id="369" dur="1000" autoRev="1" fill="hold"/>
                                        <p:tgtEl>
                                          <p:spTgt spid="64"/>
                                        </p:tgtEl>
                                      </p:cBhvr>
                                      <p:by x="105000" y="105000"/>
                                    </p:animScale>
                                  </p:childTnLst>
                                </p:cTn>
                              </p:par>
                              <p:par>
                                <p:cTn id="370" presetID="26" presetClass="emph" presetSubtype="0" dur="2000" repeatCount="indefinite" fill="hold" grpId="0" nodeType="withEffect">
                                  <p:stCondLst>
                                    <p:cond delay="2500"/>
                                  </p:stCondLst>
                                  <p:childTnLst>
                                    <p:animEffect transition="out" filter="fade">
                                      <p:cBhvr>
                                        <p:cTn id="371" dur="2000" tmFilter="0, 0; .2, .5; .8, .5; 1, 0"/>
                                        <p:tgtEl>
                                          <p:spTgt spid="80"/>
                                        </p:tgtEl>
                                      </p:cBhvr>
                                    </p:animEffect>
                                    <p:animScale>
                                      <p:cBhvr>
                                        <p:cTn id="372" dur="1000" autoRev="1" fill="hold"/>
                                        <p:tgtEl>
                                          <p:spTgt spid="80"/>
                                        </p:tgtEl>
                                      </p:cBhvr>
                                      <p:by x="105000" y="105000"/>
                                    </p:animScale>
                                  </p:childTnLst>
                                </p:cTn>
                              </p:par>
                              <p:par>
                                <p:cTn id="373" presetID="26" presetClass="emph" presetSubtype="0" dur="2000" repeatCount="indefinite" fill="hold" grpId="0" nodeType="withEffect">
                                  <p:stCondLst>
                                    <p:cond delay="2500"/>
                                  </p:stCondLst>
                                  <p:childTnLst>
                                    <p:animEffect transition="out" filter="fade">
                                      <p:cBhvr>
                                        <p:cTn id="374" dur="2000" tmFilter="0, 0; .2, .5; .8, .5; 1, 0"/>
                                        <p:tgtEl>
                                          <p:spTgt spid="96"/>
                                        </p:tgtEl>
                                      </p:cBhvr>
                                    </p:animEffect>
                                    <p:animScale>
                                      <p:cBhvr>
                                        <p:cTn id="375" dur="1000" autoRev="1" fill="hold"/>
                                        <p:tgtEl>
                                          <p:spTgt spid="96"/>
                                        </p:tgtEl>
                                      </p:cBhvr>
                                      <p:by x="105000" y="105000"/>
                                    </p:animScale>
                                  </p:childTnLst>
                                </p:cTn>
                              </p:par>
                              <p:par>
                                <p:cTn id="376" presetID="26" presetClass="emph" presetSubtype="0" dur="2000" repeatCount="indefinite" fill="hold" grpId="0" nodeType="withEffect">
                                  <p:stCondLst>
                                    <p:cond delay="2500"/>
                                  </p:stCondLst>
                                  <p:childTnLst>
                                    <p:animEffect transition="out" filter="fade">
                                      <p:cBhvr>
                                        <p:cTn id="377" dur="2000" tmFilter="0, 0; .2, .5; .8, .5; 1, 0"/>
                                        <p:tgtEl>
                                          <p:spTgt spid="112"/>
                                        </p:tgtEl>
                                      </p:cBhvr>
                                    </p:animEffect>
                                    <p:animScale>
                                      <p:cBhvr>
                                        <p:cTn id="378" dur="1000" autoRev="1" fill="hold"/>
                                        <p:tgtEl>
                                          <p:spTgt spid="112"/>
                                        </p:tgtEl>
                                      </p:cBhvr>
                                      <p:by x="105000" y="105000"/>
                                    </p:animScale>
                                  </p:childTnLst>
                                </p:cTn>
                              </p:par>
                              <p:par>
                                <p:cTn id="379" presetID="26" presetClass="emph" presetSubtype="0" dur="2000" repeatCount="indefinite" fill="hold" grpId="0" nodeType="withEffect">
                                  <p:stCondLst>
                                    <p:cond delay="2500"/>
                                  </p:stCondLst>
                                  <p:childTnLst>
                                    <p:animEffect transition="out" filter="fade">
                                      <p:cBhvr>
                                        <p:cTn id="380" dur="2000" tmFilter="0, 0; .2, .5; .8, .5; 1, 0"/>
                                        <p:tgtEl>
                                          <p:spTgt spid="128"/>
                                        </p:tgtEl>
                                      </p:cBhvr>
                                    </p:animEffect>
                                    <p:animScale>
                                      <p:cBhvr>
                                        <p:cTn id="381" dur="1000" autoRev="1" fill="hold"/>
                                        <p:tgtEl>
                                          <p:spTgt spid="128"/>
                                        </p:tgtEl>
                                      </p:cBhvr>
                                      <p:by x="105000" y="105000"/>
                                    </p:animScale>
                                  </p:childTnLst>
                                </p:cTn>
                              </p:par>
                              <p:par>
                                <p:cTn id="382" presetID="26" presetClass="emph" presetSubtype="0" dur="2000" repeatCount="indefinite" fill="hold" grpId="0" nodeType="withEffect">
                                  <p:stCondLst>
                                    <p:cond delay="2500"/>
                                  </p:stCondLst>
                                  <p:childTnLst>
                                    <p:animEffect transition="out" filter="fade">
                                      <p:cBhvr>
                                        <p:cTn id="383" dur="2000" tmFilter="0, 0; .2, .5; .8, .5; 1, 0"/>
                                        <p:tgtEl>
                                          <p:spTgt spid="145"/>
                                        </p:tgtEl>
                                      </p:cBhvr>
                                    </p:animEffect>
                                    <p:animScale>
                                      <p:cBhvr>
                                        <p:cTn id="384" dur="1000" autoRev="1" fill="hold"/>
                                        <p:tgtEl>
                                          <p:spTgt spid="145"/>
                                        </p:tgtEl>
                                      </p:cBhvr>
                                      <p:by x="105000" y="105000"/>
                                    </p:animScale>
                                  </p:childTnLst>
                                </p:cTn>
                              </p:par>
                              <p:par>
                                <p:cTn id="385" presetID="26" presetClass="emph" presetSubtype="0" dur="2000" repeatCount="indefinite" fill="hold" grpId="0" nodeType="withEffect">
                                  <p:stCondLst>
                                    <p:cond delay="2500"/>
                                  </p:stCondLst>
                                  <p:childTnLst>
                                    <p:animEffect transition="out" filter="fade">
                                      <p:cBhvr>
                                        <p:cTn id="386" dur="2000" tmFilter="0, 0; .2, .5; .8, .5; 1, 0"/>
                                        <p:tgtEl>
                                          <p:spTgt spid="162"/>
                                        </p:tgtEl>
                                      </p:cBhvr>
                                    </p:animEffect>
                                    <p:animScale>
                                      <p:cBhvr>
                                        <p:cTn id="387" dur="1000" autoRev="1" fill="hold"/>
                                        <p:tgtEl>
                                          <p:spTgt spid="162"/>
                                        </p:tgtEl>
                                      </p:cBhvr>
                                      <p:by x="105000" y="105000"/>
                                    </p:animScale>
                                  </p:childTnLst>
                                </p:cTn>
                              </p:par>
                              <p:par>
                                <p:cTn id="388" presetID="26" presetClass="emph" presetSubtype="0" dur="2000" repeatCount="indefinite" fill="hold" grpId="0" nodeType="withEffect">
                                  <p:stCondLst>
                                    <p:cond delay="2500"/>
                                  </p:stCondLst>
                                  <p:childTnLst>
                                    <p:animEffect transition="out" filter="fade">
                                      <p:cBhvr>
                                        <p:cTn id="389" dur="2000" tmFilter="0, 0; .2, .5; .8, .5; 1, 0"/>
                                        <p:tgtEl>
                                          <p:spTgt spid="179"/>
                                        </p:tgtEl>
                                      </p:cBhvr>
                                    </p:animEffect>
                                    <p:animScale>
                                      <p:cBhvr>
                                        <p:cTn id="390" dur="1000" autoRev="1" fill="hold"/>
                                        <p:tgtEl>
                                          <p:spTgt spid="179"/>
                                        </p:tgtEl>
                                      </p:cBhvr>
                                      <p:by x="105000" y="105000"/>
                                    </p:animScale>
                                  </p:childTnLst>
                                </p:cTn>
                              </p:par>
                              <p:par>
                                <p:cTn id="391" presetID="26" presetClass="emph" presetSubtype="0" dur="2000" repeatCount="indefinite" fill="hold" grpId="0" nodeType="withEffect">
                                  <p:stCondLst>
                                    <p:cond delay="2500"/>
                                  </p:stCondLst>
                                  <p:childTnLst>
                                    <p:animEffect transition="out" filter="fade">
                                      <p:cBhvr>
                                        <p:cTn id="392" dur="2000" tmFilter="0, 0; .2, .5; .8, .5; 1, 0"/>
                                        <p:tgtEl>
                                          <p:spTgt spid="196"/>
                                        </p:tgtEl>
                                      </p:cBhvr>
                                    </p:animEffect>
                                    <p:animScale>
                                      <p:cBhvr>
                                        <p:cTn id="393" dur="1000" autoRev="1" fill="hold"/>
                                        <p:tgtEl>
                                          <p:spTgt spid="196"/>
                                        </p:tgtEl>
                                      </p:cBhvr>
                                      <p:by x="105000" y="105000"/>
                                    </p:animScale>
                                  </p:childTnLst>
                                </p:cTn>
                              </p:par>
                              <p:par>
                                <p:cTn id="394" presetID="26" presetClass="emph" presetSubtype="0" dur="2000" repeatCount="indefinite" fill="hold" grpId="0" nodeType="withEffect">
                                  <p:stCondLst>
                                    <p:cond delay="2500"/>
                                  </p:stCondLst>
                                  <p:childTnLst>
                                    <p:animEffect transition="out" filter="fade">
                                      <p:cBhvr>
                                        <p:cTn id="395" dur="2000" tmFilter="0, 0; .2, .5; .8, .5; 1, 0"/>
                                        <p:tgtEl>
                                          <p:spTgt spid="213"/>
                                        </p:tgtEl>
                                      </p:cBhvr>
                                    </p:animEffect>
                                    <p:animScale>
                                      <p:cBhvr>
                                        <p:cTn id="396" dur="1000" autoRev="1" fill="hold"/>
                                        <p:tgtEl>
                                          <p:spTgt spid="213"/>
                                        </p:tgtEl>
                                      </p:cBhvr>
                                      <p:by x="105000" y="105000"/>
                                    </p:animScale>
                                  </p:childTnLst>
                                </p:cTn>
                              </p:par>
                              <p:par>
                                <p:cTn id="397" presetID="26" presetClass="emph" presetSubtype="0" dur="2000" repeatCount="indefinite" fill="hold" grpId="0" nodeType="withEffect">
                                  <p:stCondLst>
                                    <p:cond delay="2500"/>
                                  </p:stCondLst>
                                  <p:childTnLst>
                                    <p:animEffect transition="out" filter="fade">
                                      <p:cBhvr>
                                        <p:cTn id="398" dur="2000" tmFilter="0, 0; .2, .5; .8, .5; 1, 0"/>
                                        <p:tgtEl>
                                          <p:spTgt spid="229"/>
                                        </p:tgtEl>
                                      </p:cBhvr>
                                    </p:animEffect>
                                    <p:animScale>
                                      <p:cBhvr>
                                        <p:cTn id="399" dur="1000" autoRev="1" fill="hold"/>
                                        <p:tgtEl>
                                          <p:spTgt spid="229"/>
                                        </p:tgtEl>
                                      </p:cBhvr>
                                      <p:by x="105000" y="105000"/>
                                    </p:animScale>
                                  </p:childTnLst>
                                </p:cTn>
                              </p:par>
                              <p:par>
                                <p:cTn id="400" presetID="26" presetClass="emph" presetSubtype="0" dur="2000" repeatCount="indefinite" fill="hold" grpId="0" nodeType="withEffect">
                                  <p:stCondLst>
                                    <p:cond delay="2750"/>
                                  </p:stCondLst>
                                  <p:childTnLst>
                                    <p:animEffect transition="out" filter="fade">
                                      <p:cBhvr>
                                        <p:cTn id="401" dur="2000" tmFilter="0, 0; .2, .5; .8, .5; 1, 0"/>
                                        <p:tgtEl>
                                          <p:spTgt spid="18"/>
                                        </p:tgtEl>
                                      </p:cBhvr>
                                    </p:animEffect>
                                    <p:animScale>
                                      <p:cBhvr>
                                        <p:cTn id="402" dur="1000" autoRev="1" fill="hold"/>
                                        <p:tgtEl>
                                          <p:spTgt spid="18"/>
                                        </p:tgtEl>
                                      </p:cBhvr>
                                      <p:by x="105000" y="105000"/>
                                    </p:animScale>
                                  </p:childTnLst>
                                </p:cTn>
                              </p:par>
                              <p:par>
                                <p:cTn id="403" presetID="26" presetClass="emph" presetSubtype="0" dur="2000" repeatCount="indefinite" fill="hold" grpId="0" nodeType="withEffect">
                                  <p:stCondLst>
                                    <p:cond delay="2750"/>
                                  </p:stCondLst>
                                  <p:childTnLst>
                                    <p:animEffect transition="out" filter="fade">
                                      <p:cBhvr>
                                        <p:cTn id="404" dur="2000" tmFilter="0, 0; .2, .5; .8, .5; 1, 0"/>
                                        <p:tgtEl>
                                          <p:spTgt spid="33"/>
                                        </p:tgtEl>
                                      </p:cBhvr>
                                    </p:animEffect>
                                    <p:animScale>
                                      <p:cBhvr>
                                        <p:cTn id="405" dur="1000" autoRev="1" fill="hold"/>
                                        <p:tgtEl>
                                          <p:spTgt spid="33"/>
                                        </p:tgtEl>
                                      </p:cBhvr>
                                      <p:by x="105000" y="105000"/>
                                    </p:animScale>
                                  </p:childTnLst>
                                </p:cTn>
                              </p:par>
                              <p:par>
                                <p:cTn id="406" presetID="26" presetClass="emph" presetSubtype="0" dur="2000" repeatCount="indefinite" fill="hold" grpId="0" nodeType="withEffect">
                                  <p:stCondLst>
                                    <p:cond delay="2750"/>
                                  </p:stCondLst>
                                  <p:childTnLst>
                                    <p:animEffect transition="out" filter="fade">
                                      <p:cBhvr>
                                        <p:cTn id="407" dur="2000" tmFilter="0, 0; .2, .5; .8, .5; 1, 0"/>
                                        <p:tgtEl>
                                          <p:spTgt spid="49"/>
                                        </p:tgtEl>
                                      </p:cBhvr>
                                    </p:animEffect>
                                    <p:animScale>
                                      <p:cBhvr>
                                        <p:cTn id="408" dur="1000" autoRev="1" fill="hold"/>
                                        <p:tgtEl>
                                          <p:spTgt spid="49"/>
                                        </p:tgtEl>
                                      </p:cBhvr>
                                      <p:by x="105000" y="105000"/>
                                    </p:animScale>
                                  </p:childTnLst>
                                </p:cTn>
                              </p:par>
                              <p:par>
                                <p:cTn id="409" presetID="26" presetClass="emph" presetSubtype="0" dur="2000" repeatCount="indefinite" fill="hold" grpId="0" nodeType="withEffect">
                                  <p:stCondLst>
                                    <p:cond delay="2750"/>
                                  </p:stCondLst>
                                  <p:childTnLst>
                                    <p:animEffect transition="out" filter="fade">
                                      <p:cBhvr>
                                        <p:cTn id="410" dur="2000" tmFilter="0, 0; .2, .5; .8, .5; 1, 0"/>
                                        <p:tgtEl>
                                          <p:spTgt spid="65"/>
                                        </p:tgtEl>
                                      </p:cBhvr>
                                    </p:animEffect>
                                    <p:animScale>
                                      <p:cBhvr>
                                        <p:cTn id="411" dur="1000" autoRev="1" fill="hold"/>
                                        <p:tgtEl>
                                          <p:spTgt spid="65"/>
                                        </p:tgtEl>
                                      </p:cBhvr>
                                      <p:by x="105000" y="105000"/>
                                    </p:animScale>
                                  </p:childTnLst>
                                </p:cTn>
                              </p:par>
                              <p:par>
                                <p:cTn id="412" presetID="26" presetClass="emph" presetSubtype="0" dur="2000" repeatCount="indefinite" fill="hold" grpId="0" nodeType="withEffect">
                                  <p:stCondLst>
                                    <p:cond delay="2750"/>
                                  </p:stCondLst>
                                  <p:childTnLst>
                                    <p:animEffect transition="out" filter="fade">
                                      <p:cBhvr>
                                        <p:cTn id="413" dur="2000" tmFilter="0, 0; .2, .5; .8, .5; 1, 0"/>
                                        <p:tgtEl>
                                          <p:spTgt spid="81"/>
                                        </p:tgtEl>
                                      </p:cBhvr>
                                    </p:animEffect>
                                    <p:animScale>
                                      <p:cBhvr>
                                        <p:cTn id="414" dur="1000" autoRev="1" fill="hold"/>
                                        <p:tgtEl>
                                          <p:spTgt spid="81"/>
                                        </p:tgtEl>
                                      </p:cBhvr>
                                      <p:by x="105000" y="105000"/>
                                    </p:animScale>
                                  </p:childTnLst>
                                </p:cTn>
                              </p:par>
                              <p:par>
                                <p:cTn id="415" presetID="26" presetClass="emph" presetSubtype="0" dur="2000" repeatCount="indefinite" fill="hold" grpId="0" nodeType="withEffect">
                                  <p:stCondLst>
                                    <p:cond delay="2750"/>
                                  </p:stCondLst>
                                  <p:childTnLst>
                                    <p:animEffect transition="out" filter="fade">
                                      <p:cBhvr>
                                        <p:cTn id="416" dur="2000" tmFilter="0, 0; .2, .5; .8, .5; 1, 0"/>
                                        <p:tgtEl>
                                          <p:spTgt spid="97"/>
                                        </p:tgtEl>
                                      </p:cBhvr>
                                    </p:animEffect>
                                    <p:animScale>
                                      <p:cBhvr>
                                        <p:cTn id="417" dur="1000" autoRev="1" fill="hold"/>
                                        <p:tgtEl>
                                          <p:spTgt spid="97"/>
                                        </p:tgtEl>
                                      </p:cBhvr>
                                      <p:by x="105000" y="105000"/>
                                    </p:animScale>
                                  </p:childTnLst>
                                </p:cTn>
                              </p:par>
                              <p:par>
                                <p:cTn id="418" presetID="26" presetClass="emph" presetSubtype="0" dur="2000" repeatCount="indefinite" fill="hold" grpId="0" nodeType="withEffect">
                                  <p:stCondLst>
                                    <p:cond delay="2750"/>
                                  </p:stCondLst>
                                  <p:childTnLst>
                                    <p:animEffect transition="out" filter="fade">
                                      <p:cBhvr>
                                        <p:cTn id="419" dur="2000" tmFilter="0, 0; .2, .5; .8, .5; 1, 0"/>
                                        <p:tgtEl>
                                          <p:spTgt spid="113"/>
                                        </p:tgtEl>
                                      </p:cBhvr>
                                    </p:animEffect>
                                    <p:animScale>
                                      <p:cBhvr>
                                        <p:cTn id="420" dur="1000" autoRev="1" fill="hold"/>
                                        <p:tgtEl>
                                          <p:spTgt spid="113"/>
                                        </p:tgtEl>
                                      </p:cBhvr>
                                      <p:by x="105000" y="105000"/>
                                    </p:animScale>
                                  </p:childTnLst>
                                </p:cTn>
                              </p:par>
                              <p:par>
                                <p:cTn id="421" presetID="26" presetClass="emph" presetSubtype="0" dur="2000" repeatCount="indefinite" fill="hold" grpId="0" nodeType="withEffect">
                                  <p:stCondLst>
                                    <p:cond delay="2750"/>
                                  </p:stCondLst>
                                  <p:childTnLst>
                                    <p:animEffect transition="out" filter="fade">
                                      <p:cBhvr>
                                        <p:cTn id="422" dur="2000" tmFilter="0, 0; .2, .5; .8, .5; 1, 0"/>
                                        <p:tgtEl>
                                          <p:spTgt spid="129"/>
                                        </p:tgtEl>
                                      </p:cBhvr>
                                    </p:animEffect>
                                    <p:animScale>
                                      <p:cBhvr>
                                        <p:cTn id="423" dur="1000" autoRev="1" fill="hold"/>
                                        <p:tgtEl>
                                          <p:spTgt spid="129"/>
                                        </p:tgtEl>
                                      </p:cBhvr>
                                      <p:by x="105000" y="105000"/>
                                    </p:animScale>
                                  </p:childTnLst>
                                </p:cTn>
                              </p:par>
                              <p:par>
                                <p:cTn id="424" presetID="26" presetClass="emph" presetSubtype="0" dur="2000" repeatCount="indefinite" fill="hold" grpId="0" nodeType="withEffect">
                                  <p:stCondLst>
                                    <p:cond delay="2750"/>
                                  </p:stCondLst>
                                  <p:childTnLst>
                                    <p:animEffect transition="out" filter="fade">
                                      <p:cBhvr>
                                        <p:cTn id="425" dur="2000" tmFilter="0, 0; .2, .5; .8, .5; 1, 0"/>
                                        <p:tgtEl>
                                          <p:spTgt spid="146"/>
                                        </p:tgtEl>
                                      </p:cBhvr>
                                    </p:animEffect>
                                    <p:animScale>
                                      <p:cBhvr>
                                        <p:cTn id="426" dur="1000" autoRev="1" fill="hold"/>
                                        <p:tgtEl>
                                          <p:spTgt spid="146"/>
                                        </p:tgtEl>
                                      </p:cBhvr>
                                      <p:by x="105000" y="105000"/>
                                    </p:animScale>
                                  </p:childTnLst>
                                </p:cTn>
                              </p:par>
                              <p:par>
                                <p:cTn id="427" presetID="26" presetClass="emph" presetSubtype="0" dur="2000" repeatCount="indefinite" fill="hold" grpId="0" nodeType="withEffect">
                                  <p:stCondLst>
                                    <p:cond delay="2750"/>
                                  </p:stCondLst>
                                  <p:childTnLst>
                                    <p:animEffect transition="out" filter="fade">
                                      <p:cBhvr>
                                        <p:cTn id="428" dur="2000" tmFilter="0, 0; .2, .5; .8, .5; 1, 0"/>
                                        <p:tgtEl>
                                          <p:spTgt spid="163"/>
                                        </p:tgtEl>
                                      </p:cBhvr>
                                    </p:animEffect>
                                    <p:animScale>
                                      <p:cBhvr>
                                        <p:cTn id="429" dur="1000" autoRev="1" fill="hold"/>
                                        <p:tgtEl>
                                          <p:spTgt spid="163"/>
                                        </p:tgtEl>
                                      </p:cBhvr>
                                      <p:by x="105000" y="105000"/>
                                    </p:animScale>
                                  </p:childTnLst>
                                </p:cTn>
                              </p:par>
                              <p:par>
                                <p:cTn id="430" presetID="26" presetClass="emph" presetSubtype="0" dur="2000" repeatCount="indefinite" fill="hold" grpId="0" nodeType="withEffect">
                                  <p:stCondLst>
                                    <p:cond delay="2750"/>
                                  </p:stCondLst>
                                  <p:childTnLst>
                                    <p:animEffect transition="out" filter="fade">
                                      <p:cBhvr>
                                        <p:cTn id="431" dur="2000" tmFilter="0, 0; .2, .5; .8, .5; 1, 0"/>
                                        <p:tgtEl>
                                          <p:spTgt spid="180"/>
                                        </p:tgtEl>
                                      </p:cBhvr>
                                    </p:animEffect>
                                    <p:animScale>
                                      <p:cBhvr>
                                        <p:cTn id="432" dur="1000" autoRev="1" fill="hold"/>
                                        <p:tgtEl>
                                          <p:spTgt spid="180"/>
                                        </p:tgtEl>
                                      </p:cBhvr>
                                      <p:by x="105000" y="105000"/>
                                    </p:animScale>
                                  </p:childTnLst>
                                </p:cTn>
                              </p:par>
                              <p:par>
                                <p:cTn id="433" presetID="26" presetClass="emph" presetSubtype="0" dur="2000" repeatCount="indefinite" fill="hold" grpId="0" nodeType="withEffect">
                                  <p:stCondLst>
                                    <p:cond delay="2750"/>
                                  </p:stCondLst>
                                  <p:childTnLst>
                                    <p:animEffect transition="out" filter="fade">
                                      <p:cBhvr>
                                        <p:cTn id="434" dur="2000" tmFilter="0, 0; .2, .5; .8, .5; 1, 0"/>
                                        <p:tgtEl>
                                          <p:spTgt spid="197"/>
                                        </p:tgtEl>
                                      </p:cBhvr>
                                    </p:animEffect>
                                    <p:animScale>
                                      <p:cBhvr>
                                        <p:cTn id="435" dur="1000" autoRev="1" fill="hold"/>
                                        <p:tgtEl>
                                          <p:spTgt spid="197"/>
                                        </p:tgtEl>
                                      </p:cBhvr>
                                      <p:by x="105000" y="105000"/>
                                    </p:animScale>
                                  </p:childTnLst>
                                </p:cTn>
                              </p:par>
                              <p:par>
                                <p:cTn id="436" presetID="26" presetClass="emph" presetSubtype="0" dur="2000" repeatCount="indefinite" fill="hold" grpId="0" nodeType="withEffect">
                                  <p:stCondLst>
                                    <p:cond delay="2750"/>
                                  </p:stCondLst>
                                  <p:childTnLst>
                                    <p:animEffect transition="out" filter="fade">
                                      <p:cBhvr>
                                        <p:cTn id="437" dur="2000" tmFilter="0, 0; .2, .5; .8, .5; 1, 0"/>
                                        <p:tgtEl>
                                          <p:spTgt spid="214"/>
                                        </p:tgtEl>
                                      </p:cBhvr>
                                    </p:animEffect>
                                    <p:animScale>
                                      <p:cBhvr>
                                        <p:cTn id="438" dur="1000" autoRev="1" fill="hold"/>
                                        <p:tgtEl>
                                          <p:spTgt spid="214"/>
                                        </p:tgtEl>
                                      </p:cBhvr>
                                      <p:by x="105000" y="105000"/>
                                    </p:animScale>
                                  </p:childTnLst>
                                </p:cTn>
                              </p:par>
                              <p:par>
                                <p:cTn id="439" presetID="26" presetClass="emph" presetSubtype="0" dur="2000" repeatCount="indefinite" fill="hold" grpId="0" nodeType="withEffect">
                                  <p:stCondLst>
                                    <p:cond delay="2750"/>
                                  </p:stCondLst>
                                  <p:childTnLst>
                                    <p:animEffect transition="out" filter="fade">
                                      <p:cBhvr>
                                        <p:cTn id="440" dur="2000" tmFilter="0, 0; .2, .5; .8, .5; 1, 0"/>
                                        <p:tgtEl>
                                          <p:spTgt spid="230"/>
                                        </p:tgtEl>
                                      </p:cBhvr>
                                    </p:animEffect>
                                    <p:animScale>
                                      <p:cBhvr>
                                        <p:cTn id="441" dur="1000" autoRev="1" fill="hold"/>
                                        <p:tgtEl>
                                          <p:spTgt spid="230"/>
                                        </p:tgtEl>
                                      </p:cBhvr>
                                      <p:by x="105000" y="105000"/>
                                    </p:animScale>
                                  </p:childTnLst>
                                </p:cTn>
                              </p:par>
                              <p:par>
                                <p:cTn id="442" presetID="26" presetClass="emph" presetSubtype="0" dur="2000" repeatCount="indefinite" fill="hold" grpId="0" nodeType="withEffect">
                                  <p:stCondLst>
                                    <p:cond delay="3000"/>
                                  </p:stCondLst>
                                  <p:childTnLst>
                                    <p:animEffect transition="out" filter="fade">
                                      <p:cBhvr>
                                        <p:cTn id="443" dur="2000" tmFilter="0, 0; .2, .5; .8, .5; 1, 0"/>
                                        <p:tgtEl>
                                          <p:spTgt spid="19"/>
                                        </p:tgtEl>
                                      </p:cBhvr>
                                    </p:animEffect>
                                    <p:animScale>
                                      <p:cBhvr>
                                        <p:cTn id="444" dur="1000" autoRev="1" fill="hold"/>
                                        <p:tgtEl>
                                          <p:spTgt spid="19"/>
                                        </p:tgtEl>
                                      </p:cBhvr>
                                      <p:by x="105000" y="105000"/>
                                    </p:animScale>
                                  </p:childTnLst>
                                </p:cTn>
                              </p:par>
                              <p:par>
                                <p:cTn id="445" presetID="26" presetClass="emph" presetSubtype="0" dur="2000" repeatCount="indefinite" fill="hold" grpId="0" nodeType="withEffect">
                                  <p:stCondLst>
                                    <p:cond delay="3000"/>
                                  </p:stCondLst>
                                  <p:childTnLst>
                                    <p:animEffect transition="out" filter="fade">
                                      <p:cBhvr>
                                        <p:cTn id="446" dur="2000" tmFilter="0, 0; .2, .5; .8, .5; 1, 0"/>
                                        <p:tgtEl>
                                          <p:spTgt spid="34"/>
                                        </p:tgtEl>
                                      </p:cBhvr>
                                    </p:animEffect>
                                    <p:animScale>
                                      <p:cBhvr>
                                        <p:cTn id="447" dur="1000" autoRev="1" fill="hold"/>
                                        <p:tgtEl>
                                          <p:spTgt spid="34"/>
                                        </p:tgtEl>
                                      </p:cBhvr>
                                      <p:by x="105000" y="105000"/>
                                    </p:animScale>
                                  </p:childTnLst>
                                </p:cTn>
                              </p:par>
                              <p:par>
                                <p:cTn id="448" presetID="26" presetClass="emph" presetSubtype="0" dur="2000" repeatCount="indefinite" fill="hold" grpId="0" nodeType="withEffect">
                                  <p:stCondLst>
                                    <p:cond delay="3000"/>
                                  </p:stCondLst>
                                  <p:childTnLst>
                                    <p:animEffect transition="out" filter="fade">
                                      <p:cBhvr>
                                        <p:cTn id="449" dur="2000" tmFilter="0, 0; .2, .5; .8, .5; 1, 0"/>
                                        <p:tgtEl>
                                          <p:spTgt spid="50"/>
                                        </p:tgtEl>
                                      </p:cBhvr>
                                    </p:animEffect>
                                    <p:animScale>
                                      <p:cBhvr>
                                        <p:cTn id="450" dur="1000" autoRev="1" fill="hold"/>
                                        <p:tgtEl>
                                          <p:spTgt spid="50"/>
                                        </p:tgtEl>
                                      </p:cBhvr>
                                      <p:by x="105000" y="105000"/>
                                    </p:animScale>
                                  </p:childTnLst>
                                </p:cTn>
                              </p:par>
                              <p:par>
                                <p:cTn id="451" presetID="26" presetClass="emph" presetSubtype="0" dur="2000" repeatCount="indefinite" fill="hold" grpId="0" nodeType="withEffect">
                                  <p:stCondLst>
                                    <p:cond delay="3000"/>
                                  </p:stCondLst>
                                  <p:childTnLst>
                                    <p:animEffect transition="out" filter="fade">
                                      <p:cBhvr>
                                        <p:cTn id="452" dur="2000" tmFilter="0, 0; .2, .5; .8, .5; 1, 0"/>
                                        <p:tgtEl>
                                          <p:spTgt spid="66"/>
                                        </p:tgtEl>
                                      </p:cBhvr>
                                    </p:animEffect>
                                    <p:animScale>
                                      <p:cBhvr>
                                        <p:cTn id="453" dur="1000" autoRev="1" fill="hold"/>
                                        <p:tgtEl>
                                          <p:spTgt spid="66"/>
                                        </p:tgtEl>
                                      </p:cBhvr>
                                      <p:by x="105000" y="105000"/>
                                    </p:animScale>
                                  </p:childTnLst>
                                </p:cTn>
                              </p:par>
                              <p:par>
                                <p:cTn id="454" presetID="26" presetClass="emph" presetSubtype="0" dur="2000" repeatCount="indefinite" fill="hold" grpId="0" nodeType="withEffect">
                                  <p:stCondLst>
                                    <p:cond delay="3000"/>
                                  </p:stCondLst>
                                  <p:childTnLst>
                                    <p:animEffect transition="out" filter="fade">
                                      <p:cBhvr>
                                        <p:cTn id="455" dur="2000" tmFilter="0, 0; .2, .5; .8, .5; 1, 0"/>
                                        <p:tgtEl>
                                          <p:spTgt spid="82"/>
                                        </p:tgtEl>
                                      </p:cBhvr>
                                    </p:animEffect>
                                    <p:animScale>
                                      <p:cBhvr>
                                        <p:cTn id="456" dur="1000" autoRev="1" fill="hold"/>
                                        <p:tgtEl>
                                          <p:spTgt spid="82"/>
                                        </p:tgtEl>
                                      </p:cBhvr>
                                      <p:by x="105000" y="105000"/>
                                    </p:animScale>
                                  </p:childTnLst>
                                </p:cTn>
                              </p:par>
                              <p:par>
                                <p:cTn id="457" presetID="26" presetClass="emph" presetSubtype="0" dur="2000" repeatCount="indefinite" fill="hold" grpId="0" nodeType="withEffect">
                                  <p:stCondLst>
                                    <p:cond delay="3000"/>
                                  </p:stCondLst>
                                  <p:childTnLst>
                                    <p:animEffect transition="out" filter="fade">
                                      <p:cBhvr>
                                        <p:cTn id="458" dur="2000" tmFilter="0, 0; .2, .5; .8, .5; 1, 0"/>
                                        <p:tgtEl>
                                          <p:spTgt spid="98"/>
                                        </p:tgtEl>
                                      </p:cBhvr>
                                    </p:animEffect>
                                    <p:animScale>
                                      <p:cBhvr>
                                        <p:cTn id="459" dur="1000" autoRev="1" fill="hold"/>
                                        <p:tgtEl>
                                          <p:spTgt spid="98"/>
                                        </p:tgtEl>
                                      </p:cBhvr>
                                      <p:by x="105000" y="105000"/>
                                    </p:animScale>
                                  </p:childTnLst>
                                </p:cTn>
                              </p:par>
                              <p:par>
                                <p:cTn id="460" presetID="26" presetClass="emph" presetSubtype="0" dur="2000" repeatCount="indefinite" fill="hold" grpId="0" nodeType="withEffect">
                                  <p:stCondLst>
                                    <p:cond delay="3000"/>
                                  </p:stCondLst>
                                  <p:childTnLst>
                                    <p:animEffect transition="out" filter="fade">
                                      <p:cBhvr>
                                        <p:cTn id="461" dur="2000" tmFilter="0, 0; .2, .5; .8, .5; 1, 0"/>
                                        <p:tgtEl>
                                          <p:spTgt spid="114"/>
                                        </p:tgtEl>
                                      </p:cBhvr>
                                    </p:animEffect>
                                    <p:animScale>
                                      <p:cBhvr>
                                        <p:cTn id="462" dur="1000" autoRev="1" fill="hold"/>
                                        <p:tgtEl>
                                          <p:spTgt spid="114"/>
                                        </p:tgtEl>
                                      </p:cBhvr>
                                      <p:by x="105000" y="105000"/>
                                    </p:animScale>
                                  </p:childTnLst>
                                </p:cTn>
                              </p:par>
                              <p:par>
                                <p:cTn id="463" presetID="26" presetClass="emph" presetSubtype="0" dur="2000" repeatCount="indefinite" fill="hold" grpId="0" nodeType="withEffect">
                                  <p:stCondLst>
                                    <p:cond delay="3000"/>
                                  </p:stCondLst>
                                  <p:childTnLst>
                                    <p:animEffect transition="out" filter="fade">
                                      <p:cBhvr>
                                        <p:cTn id="464" dur="2000" tmFilter="0, 0; .2, .5; .8, .5; 1, 0"/>
                                        <p:tgtEl>
                                          <p:spTgt spid="130"/>
                                        </p:tgtEl>
                                      </p:cBhvr>
                                    </p:animEffect>
                                    <p:animScale>
                                      <p:cBhvr>
                                        <p:cTn id="465" dur="1000" autoRev="1" fill="hold"/>
                                        <p:tgtEl>
                                          <p:spTgt spid="130"/>
                                        </p:tgtEl>
                                      </p:cBhvr>
                                      <p:by x="105000" y="105000"/>
                                    </p:animScale>
                                  </p:childTnLst>
                                </p:cTn>
                              </p:par>
                              <p:par>
                                <p:cTn id="466" presetID="26" presetClass="emph" presetSubtype="0" dur="2000" repeatCount="indefinite" fill="hold" grpId="0" nodeType="withEffect">
                                  <p:stCondLst>
                                    <p:cond delay="3000"/>
                                  </p:stCondLst>
                                  <p:childTnLst>
                                    <p:animEffect transition="out" filter="fade">
                                      <p:cBhvr>
                                        <p:cTn id="467" dur="2000" tmFilter="0, 0; .2, .5; .8, .5; 1, 0"/>
                                        <p:tgtEl>
                                          <p:spTgt spid="147"/>
                                        </p:tgtEl>
                                      </p:cBhvr>
                                    </p:animEffect>
                                    <p:animScale>
                                      <p:cBhvr>
                                        <p:cTn id="468" dur="1000" autoRev="1" fill="hold"/>
                                        <p:tgtEl>
                                          <p:spTgt spid="147"/>
                                        </p:tgtEl>
                                      </p:cBhvr>
                                      <p:by x="105000" y="105000"/>
                                    </p:animScale>
                                  </p:childTnLst>
                                </p:cTn>
                              </p:par>
                              <p:par>
                                <p:cTn id="469" presetID="26" presetClass="emph" presetSubtype="0" dur="2000" repeatCount="indefinite" fill="hold" grpId="0" nodeType="withEffect">
                                  <p:stCondLst>
                                    <p:cond delay="3000"/>
                                  </p:stCondLst>
                                  <p:childTnLst>
                                    <p:animEffect transition="out" filter="fade">
                                      <p:cBhvr>
                                        <p:cTn id="470" dur="2000" tmFilter="0, 0; .2, .5; .8, .5; 1, 0"/>
                                        <p:tgtEl>
                                          <p:spTgt spid="164"/>
                                        </p:tgtEl>
                                      </p:cBhvr>
                                    </p:animEffect>
                                    <p:animScale>
                                      <p:cBhvr>
                                        <p:cTn id="471" dur="1000" autoRev="1" fill="hold"/>
                                        <p:tgtEl>
                                          <p:spTgt spid="164"/>
                                        </p:tgtEl>
                                      </p:cBhvr>
                                      <p:by x="105000" y="105000"/>
                                    </p:animScale>
                                  </p:childTnLst>
                                </p:cTn>
                              </p:par>
                              <p:par>
                                <p:cTn id="472" presetID="26" presetClass="emph" presetSubtype="0" dur="2000" repeatCount="indefinite" fill="hold" grpId="0" nodeType="withEffect">
                                  <p:stCondLst>
                                    <p:cond delay="3000"/>
                                  </p:stCondLst>
                                  <p:childTnLst>
                                    <p:animEffect transition="out" filter="fade">
                                      <p:cBhvr>
                                        <p:cTn id="473" dur="2000" tmFilter="0, 0; .2, .5; .8, .5; 1, 0"/>
                                        <p:tgtEl>
                                          <p:spTgt spid="181"/>
                                        </p:tgtEl>
                                      </p:cBhvr>
                                    </p:animEffect>
                                    <p:animScale>
                                      <p:cBhvr>
                                        <p:cTn id="474" dur="1000" autoRev="1" fill="hold"/>
                                        <p:tgtEl>
                                          <p:spTgt spid="181"/>
                                        </p:tgtEl>
                                      </p:cBhvr>
                                      <p:by x="105000" y="105000"/>
                                    </p:animScale>
                                  </p:childTnLst>
                                </p:cTn>
                              </p:par>
                              <p:par>
                                <p:cTn id="475" presetID="26" presetClass="emph" presetSubtype="0" dur="2000" repeatCount="indefinite" fill="hold" grpId="0" nodeType="withEffect">
                                  <p:stCondLst>
                                    <p:cond delay="3000"/>
                                  </p:stCondLst>
                                  <p:childTnLst>
                                    <p:animEffect transition="out" filter="fade">
                                      <p:cBhvr>
                                        <p:cTn id="476" dur="2000" tmFilter="0, 0; .2, .5; .8, .5; 1, 0"/>
                                        <p:tgtEl>
                                          <p:spTgt spid="198"/>
                                        </p:tgtEl>
                                      </p:cBhvr>
                                    </p:animEffect>
                                    <p:animScale>
                                      <p:cBhvr>
                                        <p:cTn id="477" dur="1000" autoRev="1" fill="hold"/>
                                        <p:tgtEl>
                                          <p:spTgt spid="198"/>
                                        </p:tgtEl>
                                      </p:cBhvr>
                                      <p:by x="105000" y="105000"/>
                                    </p:animScale>
                                  </p:childTnLst>
                                </p:cTn>
                              </p:par>
                              <p:par>
                                <p:cTn id="478" presetID="26" presetClass="emph" presetSubtype="0" dur="2000" repeatCount="indefinite" fill="hold" grpId="0" nodeType="withEffect">
                                  <p:stCondLst>
                                    <p:cond delay="3000"/>
                                  </p:stCondLst>
                                  <p:childTnLst>
                                    <p:animEffect transition="out" filter="fade">
                                      <p:cBhvr>
                                        <p:cTn id="479" dur="2000" tmFilter="0, 0; .2, .5; .8, .5; 1, 0"/>
                                        <p:tgtEl>
                                          <p:spTgt spid="215"/>
                                        </p:tgtEl>
                                      </p:cBhvr>
                                    </p:animEffect>
                                    <p:animScale>
                                      <p:cBhvr>
                                        <p:cTn id="480" dur="1000" autoRev="1" fill="hold"/>
                                        <p:tgtEl>
                                          <p:spTgt spid="215"/>
                                        </p:tgtEl>
                                      </p:cBhvr>
                                      <p:by x="105000" y="105000"/>
                                    </p:animScale>
                                  </p:childTnLst>
                                </p:cTn>
                              </p:par>
                              <p:par>
                                <p:cTn id="481" presetID="26" presetClass="emph" presetSubtype="0" dur="2000" repeatCount="indefinite" fill="hold" grpId="0" nodeType="withEffect">
                                  <p:stCondLst>
                                    <p:cond delay="3000"/>
                                  </p:stCondLst>
                                  <p:childTnLst>
                                    <p:animEffect transition="out" filter="fade">
                                      <p:cBhvr>
                                        <p:cTn id="482" dur="2000" tmFilter="0, 0; .2, .5; .8, .5; 1, 0"/>
                                        <p:tgtEl>
                                          <p:spTgt spid="231"/>
                                        </p:tgtEl>
                                      </p:cBhvr>
                                    </p:animEffect>
                                    <p:animScale>
                                      <p:cBhvr>
                                        <p:cTn id="483" dur="1000" autoRev="1" fill="hold"/>
                                        <p:tgtEl>
                                          <p:spTgt spid="231"/>
                                        </p:tgtEl>
                                      </p:cBhvr>
                                      <p:by x="105000" y="105000"/>
                                    </p:animScale>
                                  </p:childTnLst>
                                </p:cTn>
                              </p:par>
                              <p:par>
                                <p:cTn id="484" presetID="26" presetClass="emph" presetSubtype="0" dur="2000" repeatCount="indefinite" fill="hold" grpId="0" nodeType="withEffect">
                                  <p:stCondLst>
                                    <p:cond delay="3250"/>
                                  </p:stCondLst>
                                  <p:childTnLst>
                                    <p:animEffect transition="out" filter="fade">
                                      <p:cBhvr>
                                        <p:cTn id="485" dur="2000" tmFilter="0, 0; .2, .5; .8, .5; 1, 0"/>
                                        <p:tgtEl>
                                          <p:spTgt spid="20"/>
                                        </p:tgtEl>
                                      </p:cBhvr>
                                    </p:animEffect>
                                    <p:animScale>
                                      <p:cBhvr>
                                        <p:cTn id="486" dur="1000" autoRev="1" fill="hold"/>
                                        <p:tgtEl>
                                          <p:spTgt spid="20"/>
                                        </p:tgtEl>
                                      </p:cBhvr>
                                      <p:by x="105000" y="105000"/>
                                    </p:animScale>
                                  </p:childTnLst>
                                </p:cTn>
                              </p:par>
                              <p:par>
                                <p:cTn id="487" presetID="26" presetClass="emph" presetSubtype="0" dur="2000" repeatCount="indefinite" fill="hold" grpId="0" nodeType="withEffect">
                                  <p:stCondLst>
                                    <p:cond delay="3250"/>
                                  </p:stCondLst>
                                  <p:childTnLst>
                                    <p:animEffect transition="out" filter="fade">
                                      <p:cBhvr>
                                        <p:cTn id="488" dur="2000" tmFilter="0, 0; .2, .5; .8, .5; 1, 0"/>
                                        <p:tgtEl>
                                          <p:spTgt spid="35"/>
                                        </p:tgtEl>
                                      </p:cBhvr>
                                    </p:animEffect>
                                    <p:animScale>
                                      <p:cBhvr>
                                        <p:cTn id="489" dur="1000" autoRev="1" fill="hold"/>
                                        <p:tgtEl>
                                          <p:spTgt spid="35"/>
                                        </p:tgtEl>
                                      </p:cBhvr>
                                      <p:by x="105000" y="105000"/>
                                    </p:animScale>
                                  </p:childTnLst>
                                </p:cTn>
                              </p:par>
                              <p:par>
                                <p:cTn id="490" presetID="26" presetClass="emph" presetSubtype="0" dur="2000" repeatCount="indefinite" fill="hold" grpId="0" nodeType="withEffect">
                                  <p:stCondLst>
                                    <p:cond delay="3250"/>
                                  </p:stCondLst>
                                  <p:childTnLst>
                                    <p:animEffect transition="out" filter="fade">
                                      <p:cBhvr>
                                        <p:cTn id="491" dur="2000" tmFilter="0, 0; .2, .5; .8, .5; 1, 0"/>
                                        <p:tgtEl>
                                          <p:spTgt spid="51"/>
                                        </p:tgtEl>
                                      </p:cBhvr>
                                    </p:animEffect>
                                    <p:animScale>
                                      <p:cBhvr>
                                        <p:cTn id="492" dur="1000" autoRev="1" fill="hold"/>
                                        <p:tgtEl>
                                          <p:spTgt spid="51"/>
                                        </p:tgtEl>
                                      </p:cBhvr>
                                      <p:by x="105000" y="105000"/>
                                    </p:animScale>
                                  </p:childTnLst>
                                </p:cTn>
                              </p:par>
                              <p:par>
                                <p:cTn id="493" presetID="26" presetClass="emph" presetSubtype="0" dur="2000" repeatCount="indefinite" fill="hold" grpId="0" nodeType="withEffect">
                                  <p:stCondLst>
                                    <p:cond delay="3250"/>
                                  </p:stCondLst>
                                  <p:childTnLst>
                                    <p:animEffect transition="out" filter="fade">
                                      <p:cBhvr>
                                        <p:cTn id="494" dur="2000" tmFilter="0, 0; .2, .5; .8, .5; 1, 0"/>
                                        <p:tgtEl>
                                          <p:spTgt spid="67"/>
                                        </p:tgtEl>
                                      </p:cBhvr>
                                    </p:animEffect>
                                    <p:animScale>
                                      <p:cBhvr>
                                        <p:cTn id="495" dur="1000" autoRev="1" fill="hold"/>
                                        <p:tgtEl>
                                          <p:spTgt spid="67"/>
                                        </p:tgtEl>
                                      </p:cBhvr>
                                      <p:by x="105000" y="105000"/>
                                    </p:animScale>
                                  </p:childTnLst>
                                </p:cTn>
                              </p:par>
                              <p:par>
                                <p:cTn id="496" presetID="26" presetClass="emph" presetSubtype="0" dur="2000" repeatCount="indefinite" fill="hold" grpId="0" nodeType="withEffect">
                                  <p:stCondLst>
                                    <p:cond delay="3250"/>
                                  </p:stCondLst>
                                  <p:childTnLst>
                                    <p:animEffect transition="out" filter="fade">
                                      <p:cBhvr>
                                        <p:cTn id="497" dur="2000" tmFilter="0, 0; .2, .5; .8, .5; 1, 0"/>
                                        <p:tgtEl>
                                          <p:spTgt spid="83"/>
                                        </p:tgtEl>
                                      </p:cBhvr>
                                    </p:animEffect>
                                    <p:animScale>
                                      <p:cBhvr>
                                        <p:cTn id="498" dur="1000" autoRev="1" fill="hold"/>
                                        <p:tgtEl>
                                          <p:spTgt spid="83"/>
                                        </p:tgtEl>
                                      </p:cBhvr>
                                      <p:by x="105000" y="105000"/>
                                    </p:animScale>
                                  </p:childTnLst>
                                </p:cTn>
                              </p:par>
                              <p:par>
                                <p:cTn id="499" presetID="26" presetClass="emph" presetSubtype="0" dur="2000" repeatCount="indefinite" fill="hold" grpId="0" nodeType="withEffect">
                                  <p:stCondLst>
                                    <p:cond delay="3250"/>
                                  </p:stCondLst>
                                  <p:childTnLst>
                                    <p:animEffect transition="out" filter="fade">
                                      <p:cBhvr>
                                        <p:cTn id="500" dur="2000" tmFilter="0, 0; .2, .5; .8, .5; 1, 0"/>
                                        <p:tgtEl>
                                          <p:spTgt spid="99"/>
                                        </p:tgtEl>
                                      </p:cBhvr>
                                    </p:animEffect>
                                    <p:animScale>
                                      <p:cBhvr>
                                        <p:cTn id="501" dur="1000" autoRev="1" fill="hold"/>
                                        <p:tgtEl>
                                          <p:spTgt spid="99"/>
                                        </p:tgtEl>
                                      </p:cBhvr>
                                      <p:by x="105000" y="105000"/>
                                    </p:animScale>
                                  </p:childTnLst>
                                </p:cTn>
                              </p:par>
                              <p:par>
                                <p:cTn id="502" presetID="26" presetClass="emph" presetSubtype="0" dur="2000" repeatCount="indefinite" fill="hold" grpId="0" nodeType="withEffect">
                                  <p:stCondLst>
                                    <p:cond delay="3250"/>
                                  </p:stCondLst>
                                  <p:childTnLst>
                                    <p:animEffect transition="out" filter="fade">
                                      <p:cBhvr>
                                        <p:cTn id="503" dur="2000" tmFilter="0, 0; .2, .5; .8, .5; 1, 0"/>
                                        <p:tgtEl>
                                          <p:spTgt spid="115"/>
                                        </p:tgtEl>
                                      </p:cBhvr>
                                    </p:animEffect>
                                    <p:animScale>
                                      <p:cBhvr>
                                        <p:cTn id="504" dur="1000" autoRev="1" fill="hold"/>
                                        <p:tgtEl>
                                          <p:spTgt spid="115"/>
                                        </p:tgtEl>
                                      </p:cBhvr>
                                      <p:by x="105000" y="105000"/>
                                    </p:animScale>
                                  </p:childTnLst>
                                </p:cTn>
                              </p:par>
                              <p:par>
                                <p:cTn id="505" presetID="26" presetClass="emph" presetSubtype="0" dur="2000" repeatCount="indefinite" fill="hold" grpId="0" nodeType="withEffect">
                                  <p:stCondLst>
                                    <p:cond delay="3250"/>
                                  </p:stCondLst>
                                  <p:childTnLst>
                                    <p:animEffect transition="out" filter="fade">
                                      <p:cBhvr>
                                        <p:cTn id="506" dur="2000" tmFilter="0, 0; .2, .5; .8, .5; 1, 0"/>
                                        <p:tgtEl>
                                          <p:spTgt spid="131"/>
                                        </p:tgtEl>
                                      </p:cBhvr>
                                    </p:animEffect>
                                    <p:animScale>
                                      <p:cBhvr>
                                        <p:cTn id="507" dur="1000" autoRev="1" fill="hold"/>
                                        <p:tgtEl>
                                          <p:spTgt spid="131"/>
                                        </p:tgtEl>
                                      </p:cBhvr>
                                      <p:by x="105000" y="105000"/>
                                    </p:animScale>
                                  </p:childTnLst>
                                </p:cTn>
                              </p:par>
                              <p:par>
                                <p:cTn id="508" presetID="26" presetClass="emph" presetSubtype="0" dur="2000" repeatCount="indefinite" fill="hold" grpId="0" nodeType="withEffect">
                                  <p:stCondLst>
                                    <p:cond delay="3250"/>
                                  </p:stCondLst>
                                  <p:childTnLst>
                                    <p:animEffect transition="out" filter="fade">
                                      <p:cBhvr>
                                        <p:cTn id="509" dur="2000" tmFilter="0, 0; .2, .5; .8, .5; 1, 0"/>
                                        <p:tgtEl>
                                          <p:spTgt spid="148"/>
                                        </p:tgtEl>
                                      </p:cBhvr>
                                    </p:animEffect>
                                    <p:animScale>
                                      <p:cBhvr>
                                        <p:cTn id="510" dur="1000" autoRev="1" fill="hold"/>
                                        <p:tgtEl>
                                          <p:spTgt spid="148"/>
                                        </p:tgtEl>
                                      </p:cBhvr>
                                      <p:by x="105000" y="105000"/>
                                    </p:animScale>
                                  </p:childTnLst>
                                </p:cTn>
                              </p:par>
                              <p:par>
                                <p:cTn id="511" presetID="26" presetClass="emph" presetSubtype="0" dur="2000" repeatCount="indefinite" fill="hold" grpId="0" nodeType="withEffect">
                                  <p:stCondLst>
                                    <p:cond delay="3250"/>
                                  </p:stCondLst>
                                  <p:childTnLst>
                                    <p:animEffect transition="out" filter="fade">
                                      <p:cBhvr>
                                        <p:cTn id="512" dur="2000" tmFilter="0, 0; .2, .5; .8, .5; 1, 0"/>
                                        <p:tgtEl>
                                          <p:spTgt spid="165"/>
                                        </p:tgtEl>
                                      </p:cBhvr>
                                    </p:animEffect>
                                    <p:animScale>
                                      <p:cBhvr>
                                        <p:cTn id="513" dur="1000" autoRev="1" fill="hold"/>
                                        <p:tgtEl>
                                          <p:spTgt spid="165"/>
                                        </p:tgtEl>
                                      </p:cBhvr>
                                      <p:by x="105000" y="105000"/>
                                    </p:animScale>
                                  </p:childTnLst>
                                </p:cTn>
                              </p:par>
                              <p:par>
                                <p:cTn id="514" presetID="26" presetClass="emph" presetSubtype="0" dur="2000" repeatCount="indefinite" fill="hold" grpId="0" nodeType="withEffect">
                                  <p:stCondLst>
                                    <p:cond delay="3250"/>
                                  </p:stCondLst>
                                  <p:childTnLst>
                                    <p:animEffect transition="out" filter="fade">
                                      <p:cBhvr>
                                        <p:cTn id="515" dur="2000" tmFilter="0, 0; .2, .5; .8, .5; 1, 0"/>
                                        <p:tgtEl>
                                          <p:spTgt spid="182"/>
                                        </p:tgtEl>
                                      </p:cBhvr>
                                    </p:animEffect>
                                    <p:animScale>
                                      <p:cBhvr>
                                        <p:cTn id="516" dur="1000" autoRev="1" fill="hold"/>
                                        <p:tgtEl>
                                          <p:spTgt spid="182"/>
                                        </p:tgtEl>
                                      </p:cBhvr>
                                      <p:by x="105000" y="105000"/>
                                    </p:animScale>
                                  </p:childTnLst>
                                </p:cTn>
                              </p:par>
                              <p:par>
                                <p:cTn id="517" presetID="26" presetClass="emph" presetSubtype="0" dur="2000" repeatCount="indefinite" fill="hold" grpId="0" nodeType="withEffect">
                                  <p:stCondLst>
                                    <p:cond delay="3250"/>
                                  </p:stCondLst>
                                  <p:childTnLst>
                                    <p:animEffect transition="out" filter="fade">
                                      <p:cBhvr>
                                        <p:cTn id="518" dur="2000" tmFilter="0, 0; .2, .5; .8, .5; 1, 0"/>
                                        <p:tgtEl>
                                          <p:spTgt spid="199"/>
                                        </p:tgtEl>
                                      </p:cBhvr>
                                    </p:animEffect>
                                    <p:animScale>
                                      <p:cBhvr>
                                        <p:cTn id="519" dur="1000" autoRev="1" fill="hold"/>
                                        <p:tgtEl>
                                          <p:spTgt spid="199"/>
                                        </p:tgtEl>
                                      </p:cBhvr>
                                      <p:by x="105000" y="105000"/>
                                    </p:animScale>
                                  </p:childTnLst>
                                </p:cTn>
                              </p:par>
                              <p:par>
                                <p:cTn id="520" presetID="26" presetClass="emph" presetSubtype="0" dur="2000" repeatCount="indefinite" fill="hold" grpId="0" nodeType="withEffect">
                                  <p:stCondLst>
                                    <p:cond delay="3250"/>
                                  </p:stCondLst>
                                  <p:childTnLst>
                                    <p:animEffect transition="out" filter="fade">
                                      <p:cBhvr>
                                        <p:cTn id="521" dur="2000" tmFilter="0, 0; .2, .5; .8, .5; 1, 0"/>
                                        <p:tgtEl>
                                          <p:spTgt spid="216"/>
                                        </p:tgtEl>
                                      </p:cBhvr>
                                    </p:animEffect>
                                    <p:animScale>
                                      <p:cBhvr>
                                        <p:cTn id="522" dur="1000" autoRev="1" fill="hold"/>
                                        <p:tgtEl>
                                          <p:spTgt spid="216"/>
                                        </p:tgtEl>
                                      </p:cBhvr>
                                      <p:by x="105000" y="105000"/>
                                    </p:animScale>
                                  </p:childTnLst>
                                </p:cTn>
                              </p:par>
                              <p:par>
                                <p:cTn id="523" presetID="26" presetClass="emph" presetSubtype="0" dur="2000" repeatCount="indefinite" fill="hold" grpId="0" nodeType="withEffect">
                                  <p:stCondLst>
                                    <p:cond delay="3250"/>
                                  </p:stCondLst>
                                  <p:childTnLst>
                                    <p:animEffect transition="out" filter="fade">
                                      <p:cBhvr>
                                        <p:cTn id="524" dur="2000" tmFilter="0, 0; .2, .5; .8, .5; 1, 0"/>
                                        <p:tgtEl>
                                          <p:spTgt spid="232"/>
                                        </p:tgtEl>
                                      </p:cBhvr>
                                    </p:animEffect>
                                    <p:animScale>
                                      <p:cBhvr>
                                        <p:cTn id="525" dur="1000" autoRev="1" fill="hold"/>
                                        <p:tgtEl>
                                          <p:spTgt spid="232"/>
                                        </p:tgtEl>
                                      </p:cBhvr>
                                      <p:by x="105000" y="105000"/>
                                    </p:animScale>
                                  </p:childTnLst>
                                </p:cTn>
                              </p:par>
                              <p:par>
                                <p:cTn id="526" presetID="26" presetClass="emph" presetSubtype="0" dur="2000" repeatCount="indefinite" fill="hold" grpId="0" nodeType="withEffect">
                                  <p:stCondLst>
                                    <p:cond delay="3500"/>
                                  </p:stCondLst>
                                  <p:childTnLst>
                                    <p:animEffect transition="out" filter="fade">
                                      <p:cBhvr>
                                        <p:cTn id="527" dur="2000" tmFilter="0, 0; .2, .5; .8, .5; 1, 0"/>
                                        <p:tgtEl>
                                          <p:spTgt spid="21"/>
                                        </p:tgtEl>
                                      </p:cBhvr>
                                    </p:animEffect>
                                    <p:animScale>
                                      <p:cBhvr>
                                        <p:cTn id="528" dur="1000" autoRev="1" fill="hold"/>
                                        <p:tgtEl>
                                          <p:spTgt spid="21"/>
                                        </p:tgtEl>
                                      </p:cBhvr>
                                      <p:by x="105000" y="105000"/>
                                    </p:animScale>
                                  </p:childTnLst>
                                </p:cTn>
                              </p:par>
                              <p:par>
                                <p:cTn id="529" presetID="26" presetClass="emph" presetSubtype="0" dur="2000" repeatCount="indefinite" fill="hold" grpId="0" nodeType="withEffect">
                                  <p:stCondLst>
                                    <p:cond delay="3500"/>
                                  </p:stCondLst>
                                  <p:childTnLst>
                                    <p:animEffect transition="out" filter="fade">
                                      <p:cBhvr>
                                        <p:cTn id="530" dur="2000" tmFilter="0, 0; .2, .5; .8, .5; 1, 0"/>
                                        <p:tgtEl>
                                          <p:spTgt spid="36"/>
                                        </p:tgtEl>
                                      </p:cBhvr>
                                    </p:animEffect>
                                    <p:animScale>
                                      <p:cBhvr>
                                        <p:cTn id="531" dur="1000" autoRev="1" fill="hold"/>
                                        <p:tgtEl>
                                          <p:spTgt spid="36"/>
                                        </p:tgtEl>
                                      </p:cBhvr>
                                      <p:by x="105000" y="105000"/>
                                    </p:animScale>
                                  </p:childTnLst>
                                </p:cTn>
                              </p:par>
                              <p:par>
                                <p:cTn id="532" presetID="26" presetClass="emph" presetSubtype="0" dur="2000" repeatCount="indefinite" fill="hold" grpId="0" nodeType="withEffect">
                                  <p:stCondLst>
                                    <p:cond delay="3500"/>
                                  </p:stCondLst>
                                  <p:childTnLst>
                                    <p:animEffect transition="out" filter="fade">
                                      <p:cBhvr>
                                        <p:cTn id="533" dur="2000" tmFilter="0, 0; .2, .5; .8, .5; 1, 0"/>
                                        <p:tgtEl>
                                          <p:spTgt spid="52"/>
                                        </p:tgtEl>
                                      </p:cBhvr>
                                    </p:animEffect>
                                    <p:animScale>
                                      <p:cBhvr>
                                        <p:cTn id="534" dur="1000" autoRev="1" fill="hold"/>
                                        <p:tgtEl>
                                          <p:spTgt spid="52"/>
                                        </p:tgtEl>
                                      </p:cBhvr>
                                      <p:by x="105000" y="105000"/>
                                    </p:animScale>
                                  </p:childTnLst>
                                </p:cTn>
                              </p:par>
                              <p:par>
                                <p:cTn id="535" presetID="26" presetClass="emph" presetSubtype="0" dur="2000" repeatCount="indefinite" fill="hold" grpId="0" nodeType="withEffect">
                                  <p:stCondLst>
                                    <p:cond delay="3500"/>
                                  </p:stCondLst>
                                  <p:childTnLst>
                                    <p:animEffect transition="out" filter="fade">
                                      <p:cBhvr>
                                        <p:cTn id="536" dur="2000" tmFilter="0, 0; .2, .5; .8, .5; 1, 0"/>
                                        <p:tgtEl>
                                          <p:spTgt spid="68"/>
                                        </p:tgtEl>
                                      </p:cBhvr>
                                    </p:animEffect>
                                    <p:animScale>
                                      <p:cBhvr>
                                        <p:cTn id="537" dur="1000" autoRev="1" fill="hold"/>
                                        <p:tgtEl>
                                          <p:spTgt spid="68"/>
                                        </p:tgtEl>
                                      </p:cBhvr>
                                      <p:by x="105000" y="105000"/>
                                    </p:animScale>
                                  </p:childTnLst>
                                </p:cTn>
                              </p:par>
                              <p:par>
                                <p:cTn id="538" presetID="26" presetClass="emph" presetSubtype="0" dur="2000" repeatCount="indefinite" fill="hold" grpId="0" nodeType="withEffect">
                                  <p:stCondLst>
                                    <p:cond delay="3500"/>
                                  </p:stCondLst>
                                  <p:childTnLst>
                                    <p:animEffect transition="out" filter="fade">
                                      <p:cBhvr>
                                        <p:cTn id="539" dur="2000" tmFilter="0, 0; .2, .5; .8, .5; 1, 0"/>
                                        <p:tgtEl>
                                          <p:spTgt spid="84"/>
                                        </p:tgtEl>
                                      </p:cBhvr>
                                    </p:animEffect>
                                    <p:animScale>
                                      <p:cBhvr>
                                        <p:cTn id="540" dur="1000" autoRev="1" fill="hold"/>
                                        <p:tgtEl>
                                          <p:spTgt spid="84"/>
                                        </p:tgtEl>
                                      </p:cBhvr>
                                      <p:by x="105000" y="105000"/>
                                    </p:animScale>
                                  </p:childTnLst>
                                </p:cTn>
                              </p:par>
                              <p:par>
                                <p:cTn id="541" presetID="26" presetClass="emph" presetSubtype="0" dur="2000" repeatCount="indefinite" fill="hold" grpId="0" nodeType="withEffect">
                                  <p:stCondLst>
                                    <p:cond delay="3500"/>
                                  </p:stCondLst>
                                  <p:childTnLst>
                                    <p:animEffect transition="out" filter="fade">
                                      <p:cBhvr>
                                        <p:cTn id="542" dur="2000" tmFilter="0, 0; .2, .5; .8, .5; 1, 0"/>
                                        <p:tgtEl>
                                          <p:spTgt spid="100"/>
                                        </p:tgtEl>
                                      </p:cBhvr>
                                    </p:animEffect>
                                    <p:animScale>
                                      <p:cBhvr>
                                        <p:cTn id="543" dur="1000" autoRev="1" fill="hold"/>
                                        <p:tgtEl>
                                          <p:spTgt spid="100"/>
                                        </p:tgtEl>
                                      </p:cBhvr>
                                      <p:by x="105000" y="105000"/>
                                    </p:animScale>
                                  </p:childTnLst>
                                </p:cTn>
                              </p:par>
                              <p:par>
                                <p:cTn id="544" presetID="26" presetClass="emph" presetSubtype="0" dur="2000" repeatCount="indefinite" fill="hold" grpId="0" nodeType="withEffect">
                                  <p:stCondLst>
                                    <p:cond delay="3500"/>
                                  </p:stCondLst>
                                  <p:childTnLst>
                                    <p:animEffect transition="out" filter="fade">
                                      <p:cBhvr>
                                        <p:cTn id="545" dur="2000" tmFilter="0, 0; .2, .5; .8, .5; 1, 0"/>
                                        <p:tgtEl>
                                          <p:spTgt spid="116"/>
                                        </p:tgtEl>
                                      </p:cBhvr>
                                    </p:animEffect>
                                    <p:animScale>
                                      <p:cBhvr>
                                        <p:cTn id="546" dur="1000" autoRev="1" fill="hold"/>
                                        <p:tgtEl>
                                          <p:spTgt spid="116"/>
                                        </p:tgtEl>
                                      </p:cBhvr>
                                      <p:by x="105000" y="105000"/>
                                    </p:animScale>
                                  </p:childTnLst>
                                </p:cTn>
                              </p:par>
                              <p:par>
                                <p:cTn id="547" presetID="26" presetClass="emph" presetSubtype="0" dur="2000" repeatCount="indefinite" fill="hold" grpId="0" nodeType="withEffect">
                                  <p:stCondLst>
                                    <p:cond delay="3500"/>
                                  </p:stCondLst>
                                  <p:childTnLst>
                                    <p:animEffect transition="out" filter="fade">
                                      <p:cBhvr>
                                        <p:cTn id="548" dur="2000" tmFilter="0, 0; .2, .5; .8, .5; 1, 0"/>
                                        <p:tgtEl>
                                          <p:spTgt spid="132"/>
                                        </p:tgtEl>
                                      </p:cBhvr>
                                    </p:animEffect>
                                    <p:animScale>
                                      <p:cBhvr>
                                        <p:cTn id="549" dur="1000" autoRev="1" fill="hold"/>
                                        <p:tgtEl>
                                          <p:spTgt spid="132"/>
                                        </p:tgtEl>
                                      </p:cBhvr>
                                      <p:by x="105000" y="105000"/>
                                    </p:animScale>
                                  </p:childTnLst>
                                </p:cTn>
                              </p:par>
                              <p:par>
                                <p:cTn id="550" presetID="26" presetClass="emph" presetSubtype="0" dur="2000" repeatCount="indefinite" fill="hold" grpId="0" nodeType="withEffect">
                                  <p:stCondLst>
                                    <p:cond delay="3500"/>
                                  </p:stCondLst>
                                  <p:childTnLst>
                                    <p:animEffect transition="out" filter="fade">
                                      <p:cBhvr>
                                        <p:cTn id="551" dur="2000" tmFilter="0, 0; .2, .5; .8, .5; 1, 0"/>
                                        <p:tgtEl>
                                          <p:spTgt spid="149"/>
                                        </p:tgtEl>
                                      </p:cBhvr>
                                    </p:animEffect>
                                    <p:animScale>
                                      <p:cBhvr>
                                        <p:cTn id="552" dur="1000" autoRev="1" fill="hold"/>
                                        <p:tgtEl>
                                          <p:spTgt spid="149"/>
                                        </p:tgtEl>
                                      </p:cBhvr>
                                      <p:by x="105000" y="105000"/>
                                    </p:animScale>
                                  </p:childTnLst>
                                </p:cTn>
                              </p:par>
                              <p:par>
                                <p:cTn id="553" presetID="26" presetClass="emph" presetSubtype="0" dur="2000" repeatCount="indefinite" fill="hold" grpId="0" nodeType="withEffect">
                                  <p:stCondLst>
                                    <p:cond delay="3500"/>
                                  </p:stCondLst>
                                  <p:childTnLst>
                                    <p:animEffect transition="out" filter="fade">
                                      <p:cBhvr>
                                        <p:cTn id="554" dur="2000" tmFilter="0, 0; .2, .5; .8, .5; 1, 0"/>
                                        <p:tgtEl>
                                          <p:spTgt spid="166"/>
                                        </p:tgtEl>
                                      </p:cBhvr>
                                    </p:animEffect>
                                    <p:animScale>
                                      <p:cBhvr>
                                        <p:cTn id="555" dur="1000" autoRev="1" fill="hold"/>
                                        <p:tgtEl>
                                          <p:spTgt spid="166"/>
                                        </p:tgtEl>
                                      </p:cBhvr>
                                      <p:by x="105000" y="105000"/>
                                    </p:animScale>
                                  </p:childTnLst>
                                </p:cTn>
                              </p:par>
                              <p:par>
                                <p:cTn id="556" presetID="26" presetClass="emph" presetSubtype="0" dur="2000" repeatCount="indefinite" fill="hold" grpId="0" nodeType="withEffect">
                                  <p:stCondLst>
                                    <p:cond delay="3500"/>
                                  </p:stCondLst>
                                  <p:childTnLst>
                                    <p:animEffect transition="out" filter="fade">
                                      <p:cBhvr>
                                        <p:cTn id="557" dur="2000" tmFilter="0, 0; .2, .5; .8, .5; 1, 0"/>
                                        <p:tgtEl>
                                          <p:spTgt spid="183"/>
                                        </p:tgtEl>
                                      </p:cBhvr>
                                    </p:animEffect>
                                    <p:animScale>
                                      <p:cBhvr>
                                        <p:cTn id="558" dur="1000" autoRev="1" fill="hold"/>
                                        <p:tgtEl>
                                          <p:spTgt spid="183"/>
                                        </p:tgtEl>
                                      </p:cBhvr>
                                      <p:by x="105000" y="105000"/>
                                    </p:animScale>
                                  </p:childTnLst>
                                </p:cTn>
                              </p:par>
                              <p:par>
                                <p:cTn id="559" presetID="26" presetClass="emph" presetSubtype="0" dur="2000" repeatCount="indefinite" fill="hold" grpId="0" nodeType="withEffect">
                                  <p:stCondLst>
                                    <p:cond delay="3500"/>
                                  </p:stCondLst>
                                  <p:childTnLst>
                                    <p:animEffect transition="out" filter="fade">
                                      <p:cBhvr>
                                        <p:cTn id="560" dur="2000" tmFilter="0, 0; .2, .5; .8, .5; 1, 0"/>
                                        <p:tgtEl>
                                          <p:spTgt spid="200"/>
                                        </p:tgtEl>
                                      </p:cBhvr>
                                    </p:animEffect>
                                    <p:animScale>
                                      <p:cBhvr>
                                        <p:cTn id="561" dur="1000" autoRev="1" fill="hold"/>
                                        <p:tgtEl>
                                          <p:spTgt spid="200"/>
                                        </p:tgtEl>
                                      </p:cBhvr>
                                      <p:by x="105000" y="105000"/>
                                    </p:animScale>
                                  </p:childTnLst>
                                </p:cTn>
                              </p:par>
                              <p:par>
                                <p:cTn id="562" presetID="26" presetClass="emph" presetSubtype="0" dur="2000" repeatCount="indefinite" fill="hold" grpId="0" nodeType="withEffect">
                                  <p:stCondLst>
                                    <p:cond delay="3500"/>
                                  </p:stCondLst>
                                  <p:childTnLst>
                                    <p:animEffect transition="out" filter="fade">
                                      <p:cBhvr>
                                        <p:cTn id="563" dur="2000" tmFilter="0, 0; .2, .5; .8, .5; 1, 0"/>
                                        <p:tgtEl>
                                          <p:spTgt spid="217"/>
                                        </p:tgtEl>
                                      </p:cBhvr>
                                    </p:animEffect>
                                    <p:animScale>
                                      <p:cBhvr>
                                        <p:cTn id="564" dur="1000" autoRev="1" fill="hold"/>
                                        <p:tgtEl>
                                          <p:spTgt spid="217"/>
                                        </p:tgtEl>
                                      </p:cBhvr>
                                      <p:by x="105000" y="105000"/>
                                    </p:animScale>
                                  </p:childTnLst>
                                </p:cTn>
                              </p:par>
                              <p:par>
                                <p:cTn id="565" presetID="26" presetClass="emph" presetSubtype="0" dur="2000" repeatCount="indefinite" fill="hold" grpId="0" nodeType="withEffect">
                                  <p:stCondLst>
                                    <p:cond delay="3500"/>
                                  </p:stCondLst>
                                  <p:childTnLst>
                                    <p:animEffect transition="out" filter="fade">
                                      <p:cBhvr>
                                        <p:cTn id="566" dur="2000" tmFilter="0, 0; .2, .5; .8, .5; 1, 0"/>
                                        <p:tgtEl>
                                          <p:spTgt spid="233"/>
                                        </p:tgtEl>
                                      </p:cBhvr>
                                    </p:animEffect>
                                    <p:animScale>
                                      <p:cBhvr>
                                        <p:cTn id="567" dur="1000" autoRev="1" fill="hold"/>
                                        <p:tgtEl>
                                          <p:spTgt spid="233"/>
                                        </p:tgtEl>
                                      </p:cBhvr>
                                      <p:by x="105000" y="105000"/>
                                    </p:animScale>
                                  </p:childTnLst>
                                </p:cTn>
                              </p:par>
                              <p:par>
                                <p:cTn id="568" presetID="26" presetClass="emph" presetSubtype="0" dur="2000" repeatCount="indefinite" fill="hold" grpId="0" nodeType="withEffect">
                                  <p:stCondLst>
                                    <p:cond delay="3750"/>
                                  </p:stCondLst>
                                  <p:childTnLst>
                                    <p:animEffect transition="out" filter="fade">
                                      <p:cBhvr>
                                        <p:cTn id="569" dur="2000" tmFilter="0, 0; .2, .5; .8, .5; 1, 0"/>
                                        <p:tgtEl>
                                          <p:spTgt spid="37"/>
                                        </p:tgtEl>
                                      </p:cBhvr>
                                    </p:animEffect>
                                    <p:animScale>
                                      <p:cBhvr>
                                        <p:cTn id="570" dur="1000" autoRev="1" fill="hold"/>
                                        <p:tgtEl>
                                          <p:spTgt spid="37"/>
                                        </p:tgtEl>
                                      </p:cBhvr>
                                      <p:by x="105000" y="105000"/>
                                    </p:animScale>
                                  </p:childTnLst>
                                </p:cTn>
                              </p:par>
                              <p:par>
                                <p:cTn id="571" presetID="26" presetClass="emph" presetSubtype="0" dur="2000" repeatCount="indefinite" fill="hold" grpId="0" nodeType="withEffect">
                                  <p:stCondLst>
                                    <p:cond delay="3750"/>
                                  </p:stCondLst>
                                  <p:childTnLst>
                                    <p:animEffect transition="out" filter="fade">
                                      <p:cBhvr>
                                        <p:cTn id="572" dur="2000" tmFilter="0, 0; .2, .5; .8, .5; 1, 0"/>
                                        <p:tgtEl>
                                          <p:spTgt spid="53"/>
                                        </p:tgtEl>
                                      </p:cBhvr>
                                    </p:animEffect>
                                    <p:animScale>
                                      <p:cBhvr>
                                        <p:cTn id="573" dur="1000" autoRev="1" fill="hold"/>
                                        <p:tgtEl>
                                          <p:spTgt spid="53"/>
                                        </p:tgtEl>
                                      </p:cBhvr>
                                      <p:by x="105000" y="105000"/>
                                    </p:animScale>
                                  </p:childTnLst>
                                </p:cTn>
                              </p:par>
                              <p:par>
                                <p:cTn id="574" presetID="26" presetClass="emph" presetSubtype="0" dur="2000" repeatCount="indefinite" fill="hold" grpId="0" nodeType="withEffect">
                                  <p:stCondLst>
                                    <p:cond delay="3750"/>
                                  </p:stCondLst>
                                  <p:childTnLst>
                                    <p:animEffect transition="out" filter="fade">
                                      <p:cBhvr>
                                        <p:cTn id="575" dur="2000" tmFilter="0, 0; .2, .5; .8, .5; 1, 0"/>
                                        <p:tgtEl>
                                          <p:spTgt spid="69"/>
                                        </p:tgtEl>
                                      </p:cBhvr>
                                    </p:animEffect>
                                    <p:animScale>
                                      <p:cBhvr>
                                        <p:cTn id="576" dur="1000" autoRev="1" fill="hold"/>
                                        <p:tgtEl>
                                          <p:spTgt spid="69"/>
                                        </p:tgtEl>
                                      </p:cBhvr>
                                      <p:by x="105000" y="105000"/>
                                    </p:animScale>
                                  </p:childTnLst>
                                </p:cTn>
                              </p:par>
                              <p:par>
                                <p:cTn id="577" presetID="26" presetClass="emph" presetSubtype="0" dur="2000" repeatCount="indefinite" fill="hold" grpId="0" nodeType="withEffect">
                                  <p:stCondLst>
                                    <p:cond delay="3750"/>
                                  </p:stCondLst>
                                  <p:childTnLst>
                                    <p:animEffect transition="out" filter="fade">
                                      <p:cBhvr>
                                        <p:cTn id="578" dur="2000" tmFilter="0, 0; .2, .5; .8, .5; 1, 0"/>
                                        <p:tgtEl>
                                          <p:spTgt spid="85"/>
                                        </p:tgtEl>
                                      </p:cBhvr>
                                    </p:animEffect>
                                    <p:animScale>
                                      <p:cBhvr>
                                        <p:cTn id="579" dur="1000" autoRev="1" fill="hold"/>
                                        <p:tgtEl>
                                          <p:spTgt spid="85"/>
                                        </p:tgtEl>
                                      </p:cBhvr>
                                      <p:by x="105000" y="105000"/>
                                    </p:animScale>
                                  </p:childTnLst>
                                </p:cTn>
                              </p:par>
                              <p:par>
                                <p:cTn id="580" presetID="26" presetClass="emph" presetSubtype="0" dur="2000" repeatCount="indefinite" fill="hold" grpId="0" nodeType="withEffect">
                                  <p:stCondLst>
                                    <p:cond delay="3750"/>
                                  </p:stCondLst>
                                  <p:childTnLst>
                                    <p:animEffect transition="out" filter="fade">
                                      <p:cBhvr>
                                        <p:cTn id="581" dur="2000" tmFilter="0, 0; .2, .5; .8, .5; 1, 0"/>
                                        <p:tgtEl>
                                          <p:spTgt spid="101"/>
                                        </p:tgtEl>
                                      </p:cBhvr>
                                    </p:animEffect>
                                    <p:animScale>
                                      <p:cBhvr>
                                        <p:cTn id="582" dur="1000" autoRev="1" fill="hold"/>
                                        <p:tgtEl>
                                          <p:spTgt spid="101"/>
                                        </p:tgtEl>
                                      </p:cBhvr>
                                      <p:by x="105000" y="105000"/>
                                    </p:animScale>
                                  </p:childTnLst>
                                </p:cTn>
                              </p:par>
                              <p:par>
                                <p:cTn id="583" presetID="26" presetClass="emph" presetSubtype="0" dur="2000" repeatCount="indefinite" fill="hold" grpId="0" nodeType="withEffect">
                                  <p:stCondLst>
                                    <p:cond delay="3750"/>
                                  </p:stCondLst>
                                  <p:childTnLst>
                                    <p:animEffect transition="out" filter="fade">
                                      <p:cBhvr>
                                        <p:cTn id="584" dur="2000" tmFilter="0, 0; .2, .5; .8, .5; 1, 0"/>
                                        <p:tgtEl>
                                          <p:spTgt spid="117"/>
                                        </p:tgtEl>
                                      </p:cBhvr>
                                    </p:animEffect>
                                    <p:animScale>
                                      <p:cBhvr>
                                        <p:cTn id="585" dur="1000" autoRev="1" fill="hold"/>
                                        <p:tgtEl>
                                          <p:spTgt spid="117"/>
                                        </p:tgtEl>
                                      </p:cBhvr>
                                      <p:by x="105000" y="105000"/>
                                    </p:animScale>
                                  </p:childTnLst>
                                </p:cTn>
                              </p:par>
                              <p:par>
                                <p:cTn id="586" presetID="26" presetClass="emph" presetSubtype="0" dur="2000" repeatCount="indefinite" fill="hold" grpId="0" nodeType="withEffect">
                                  <p:stCondLst>
                                    <p:cond delay="3750"/>
                                  </p:stCondLst>
                                  <p:childTnLst>
                                    <p:animEffect transition="out" filter="fade">
                                      <p:cBhvr>
                                        <p:cTn id="587" dur="2000" tmFilter="0, 0; .2, .5; .8, .5; 1, 0"/>
                                        <p:tgtEl>
                                          <p:spTgt spid="133"/>
                                        </p:tgtEl>
                                      </p:cBhvr>
                                    </p:animEffect>
                                    <p:animScale>
                                      <p:cBhvr>
                                        <p:cTn id="588" dur="1000" autoRev="1" fill="hold"/>
                                        <p:tgtEl>
                                          <p:spTgt spid="133"/>
                                        </p:tgtEl>
                                      </p:cBhvr>
                                      <p:by x="105000" y="105000"/>
                                    </p:animScale>
                                  </p:childTnLst>
                                </p:cTn>
                              </p:par>
                              <p:par>
                                <p:cTn id="589" presetID="26" presetClass="emph" presetSubtype="0" dur="2000" repeatCount="indefinite" fill="hold" grpId="0" nodeType="withEffect">
                                  <p:stCondLst>
                                    <p:cond delay="3750"/>
                                  </p:stCondLst>
                                  <p:childTnLst>
                                    <p:animEffect transition="out" filter="fade">
                                      <p:cBhvr>
                                        <p:cTn id="590" dur="2000" tmFilter="0, 0; .2, .5; .8, .5; 1, 0"/>
                                        <p:tgtEl>
                                          <p:spTgt spid="150"/>
                                        </p:tgtEl>
                                      </p:cBhvr>
                                    </p:animEffect>
                                    <p:animScale>
                                      <p:cBhvr>
                                        <p:cTn id="591" dur="1000" autoRev="1" fill="hold"/>
                                        <p:tgtEl>
                                          <p:spTgt spid="150"/>
                                        </p:tgtEl>
                                      </p:cBhvr>
                                      <p:by x="105000" y="105000"/>
                                    </p:animScale>
                                  </p:childTnLst>
                                </p:cTn>
                              </p:par>
                              <p:par>
                                <p:cTn id="592" presetID="26" presetClass="emph" presetSubtype="0" dur="2000" repeatCount="indefinite" fill="hold" grpId="0" nodeType="withEffect">
                                  <p:stCondLst>
                                    <p:cond delay="3750"/>
                                  </p:stCondLst>
                                  <p:childTnLst>
                                    <p:animEffect transition="out" filter="fade">
                                      <p:cBhvr>
                                        <p:cTn id="593" dur="2000" tmFilter="0, 0; .2, .5; .8, .5; 1, 0"/>
                                        <p:tgtEl>
                                          <p:spTgt spid="167"/>
                                        </p:tgtEl>
                                      </p:cBhvr>
                                    </p:animEffect>
                                    <p:animScale>
                                      <p:cBhvr>
                                        <p:cTn id="594" dur="1000" autoRev="1" fill="hold"/>
                                        <p:tgtEl>
                                          <p:spTgt spid="167"/>
                                        </p:tgtEl>
                                      </p:cBhvr>
                                      <p:by x="105000" y="105000"/>
                                    </p:animScale>
                                  </p:childTnLst>
                                </p:cTn>
                              </p:par>
                              <p:par>
                                <p:cTn id="595" presetID="26" presetClass="emph" presetSubtype="0" dur="2000" repeatCount="indefinite" fill="hold" grpId="0" nodeType="withEffect">
                                  <p:stCondLst>
                                    <p:cond delay="3750"/>
                                  </p:stCondLst>
                                  <p:childTnLst>
                                    <p:animEffect transition="out" filter="fade">
                                      <p:cBhvr>
                                        <p:cTn id="596" dur="2000" tmFilter="0, 0; .2, .5; .8, .5; 1, 0"/>
                                        <p:tgtEl>
                                          <p:spTgt spid="184"/>
                                        </p:tgtEl>
                                      </p:cBhvr>
                                    </p:animEffect>
                                    <p:animScale>
                                      <p:cBhvr>
                                        <p:cTn id="597" dur="1000" autoRev="1" fill="hold"/>
                                        <p:tgtEl>
                                          <p:spTgt spid="184"/>
                                        </p:tgtEl>
                                      </p:cBhvr>
                                      <p:by x="105000" y="105000"/>
                                    </p:animScale>
                                  </p:childTnLst>
                                </p:cTn>
                              </p:par>
                              <p:par>
                                <p:cTn id="598" presetID="26" presetClass="emph" presetSubtype="0" dur="2000" repeatCount="indefinite" fill="hold" grpId="0" nodeType="withEffect">
                                  <p:stCondLst>
                                    <p:cond delay="3750"/>
                                  </p:stCondLst>
                                  <p:childTnLst>
                                    <p:animEffect transition="out" filter="fade">
                                      <p:cBhvr>
                                        <p:cTn id="599" dur="2000" tmFilter="0, 0; .2, .5; .8, .5; 1, 0"/>
                                        <p:tgtEl>
                                          <p:spTgt spid="201"/>
                                        </p:tgtEl>
                                      </p:cBhvr>
                                    </p:animEffect>
                                    <p:animScale>
                                      <p:cBhvr>
                                        <p:cTn id="600" dur="1000" autoRev="1" fill="hold"/>
                                        <p:tgtEl>
                                          <p:spTgt spid="201"/>
                                        </p:tgtEl>
                                      </p:cBhvr>
                                      <p:by x="105000" y="105000"/>
                                    </p:animScale>
                                  </p:childTnLst>
                                </p:cTn>
                              </p:par>
                              <p:par>
                                <p:cTn id="601" presetID="26" presetClass="emph" presetSubtype="0" dur="2000" repeatCount="indefinite" fill="hold" grpId="0" nodeType="withEffect">
                                  <p:stCondLst>
                                    <p:cond delay="3750"/>
                                  </p:stCondLst>
                                  <p:childTnLst>
                                    <p:animEffect transition="out" filter="fade">
                                      <p:cBhvr>
                                        <p:cTn id="602" dur="2000" tmFilter="0, 0; .2, .5; .8, .5; 1, 0"/>
                                        <p:tgtEl>
                                          <p:spTgt spid="218"/>
                                        </p:tgtEl>
                                      </p:cBhvr>
                                    </p:animEffect>
                                    <p:animScale>
                                      <p:cBhvr>
                                        <p:cTn id="603" dur="1000" autoRev="1" fill="hold"/>
                                        <p:tgtEl>
                                          <p:spTgt spid="218"/>
                                        </p:tgtEl>
                                      </p:cBhvr>
                                      <p:by x="105000" y="105000"/>
                                    </p:animScale>
                                  </p:childTnLst>
                                </p:cTn>
                              </p:par>
                              <p:par>
                                <p:cTn id="604" presetID="26" presetClass="emph" presetSubtype="0" dur="2000" repeatCount="indefinite" fill="hold" grpId="0" nodeType="withEffect">
                                  <p:stCondLst>
                                    <p:cond delay="4000"/>
                                  </p:stCondLst>
                                  <p:childTnLst>
                                    <p:animEffect transition="out" filter="fade">
                                      <p:cBhvr>
                                        <p:cTn id="605" dur="2000" tmFilter="0, 0; .2, .5; .8, .5; 1, 0"/>
                                        <p:tgtEl>
                                          <p:spTgt spid="54"/>
                                        </p:tgtEl>
                                      </p:cBhvr>
                                    </p:animEffect>
                                    <p:animScale>
                                      <p:cBhvr>
                                        <p:cTn id="606" dur="1000" autoRev="1" fill="hold"/>
                                        <p:tgtEl>
                                          <p:spTgt spid="54"/>
                                        </p:tgtEl>
                                      </p:cBhvr>
                                      <p:by x="105000" y="105000"/>
                                    </p:animScale>
                                  </p:childTnLst>
                                </p:cTn>
                              </p:par>
                              <p:par>
                                <p:cTn id="607" presetID="26" presetClass="emph" presetSubtype="0" dur="2000" repeatCount="indefinite" fill="hold" grpId="0" nodeType="withEffect">
                                  <p:stCondLst>
                                    <p:cond delay="4000"/>
                                  </p:stCondLst>
                                  <p:childTnLst>
                                    <p:animEffect transition="out" filter="fade">
                                      <p:cBhvr>
                                        <p:cTn id="608" dur="2000" tmFilter="0, 0; .2, .5; .8, .5; 1, 0"/>
                                        <p:tgtEl>
                                          <p:spTgt spid="70"/>
                                        </p:tgtEl>
                                      </p:cBhvr>
                                    </p:animEffect>
                                    <p:animScale>
                                      <p:cBhvr>
                                        <p:cTn id="609" dur="1000" autoRev="1" fill="hold"/>
                                        <p:tgtEl>
                                          <p:spTgt spid="70"/>
                                        </p:tgtEl>
                                      </p:cBhvr>
                                      <p:by x="105000" y="105000"/>
                                    </p:animScale>
                                  </p:childTnLst>
                                </p:cTn>
                              </p:par>
                              <p:par>
                                <p:cTn id="610" presetID="26" presetClass="emph" presetSubtype="0" dur="2000" repeatCount="indefinite" fill="hold" grpId="0" nodeType="withEffect">
                                  <p:stCondLst>
                                    <p:cond delay="4000"/>
                                  </p:stCondLst>
                                  <p:childTnLst>
                                    <p:animEffect transition="out" filter="fade">
                                      <p:cBhvr>
                                        <p:cTn id="611" dur="2000" tmFilter="0, 0; .2, .5; .8, .5; 1, 0"/>
                                        <p:tgtEl>
                                          <p:spTgt spid="86"/>
                                        </p:tgtEl>
                                      </p:cBhvr>
                                    </p:animEffect>
                                    <p:animScale>
                                      <p:cBhvr>
                                        <p:cTn id="612" dur="1000" autoRev="1" fill="hold"/>
                                        <p:tgtEl>
                                          <p:spTgt spid="86"/>
                                        </p:tgtEl>
                                      </p:cBhvr>
                                      <p:by x="105000" y="105000"/>
                                    </p:animScale>
                                  </p:childTnLst>
                                </p:cTn>
                              </p:par>
                              <p:par>
                                <p:cTn id="613" presetID="26" presetClass="emph" presetSubtype="0" dur="2000" repeatCount="indefinite" fill="hold" grpId="0" nodeType="withEffect">
                                  <p:stCondLst>
                                    <p:cond delay="4000"/>
                                  </p:stCondLst>
                                  <p:childTnLst>
                                    <p:animEffect transition="out" filter="fade">
                                      <p:cBhvr>
                                        <p:cTn id="614" dur="2000" tmFilter="0, 0; .2, .5; .8, .5; 1, 0"/>
                                        <p:tgtEl>
                                          <p:spTgt spid="102"/>
                                        </p:tgtEl>
                                      </p:cBhvr>
                                    </p:animEffect>
                                    <p:animScale>
                                      <p:cBhvr>
                                        <p:cTn id="615" dur="1000" autoRev="1" fill="hold"/>
                                        <p:tgtEl>
                                          <p:spTgt spid="102"/>
                                        </p:tgtEl>
                                      </p:cBhvr>
                                      <p:by x="105000" y="105000"/>
                                    </p:animScale>
                                  </p:childTnLst>
                                </p:cTn>
                              </p:par>
                              <p:par>
                                <p:cTn id="616" presetID="26" presetClass="emph" presetSubtype="0" dur="2000" repeatCount="indefinite" fill="hold" grpId="0" nodeType="withEffect">
                                  <p:stCondLst>
                                    <p:cond delay="4000"/>
                                  </p:stCondLst>
                                  <p:childTnLst>
                                    <p:animEffect transition="out" filter="fade">
                                      <p:cBhvr>
                                        <p:cTn id="617" dur="2000" tmFilter="0, 0; .2, .5; .8, .5; 1, 0"/>
                                        <p:tgtEl>
                                          <p:spTgt spid="118"/>
                                        </p:tgtEl>
                                      </p:cBhvr>
                                    </p:animEffect>
                                    <p:animScale>
                                      <p:cBhvr>
                                        <p:cTn id="618" dur="1000" autoRev="1" fill="hold"/>
                                        <p:tgtEl>
                                          <p:spTgt spid="118"/>
                                        </p:tgtEl>
                                      </p:cBhvr>
                                      <p:by x="105000" y="105000"/>
                                    </p:animScale>
                                  </p:childTnLst>
                                </p:cTn>
                              </p:par>
                              <p:par>
                                <p:cTn id="619" presetID="26" presetClass="emph" presetSubtype="0" dur="2000" repeatCount="indefinite" fill="hold" grpId="0" nodeType="withEffect">
                                  <p:stCondLst>
                                    <p:cond delay="4000"/>
                                  </p:stCondLst>
                                  <p:childTnLst>
                                    <p:animEffect transition="out" filter="fade">
                                      <p:cBhvr>
                                        <p:cTn id="620" dur="2000" tmFilter="0, 0; .2, .5; .8, .5; 1, 0"/>
                                        <p:tgtEl>
                                          <p:spTgt spid="134"/>
                                        </p:tgtEl>
                                      </p:cBhvr>
                                    </p:animEffect>
                                    <p:animScale>
                                      <p:cBhvr>
                                        <p:cTn id="621" dur="1000" autoRev="1" fill="hold"/>
                                        <p:tgtEl>
                                          <p:spTgt spid="134"/>
                                        </p:tgtEl>
                                      </p:cBhvr>
                                      <p:by x="105000" y="105000"/>
                                    </p:animScale>
                                  </p:childTnLst>
                                </p:cTn>
                              </p:par>
                              <p:par>
                                <p:cTn id="622" presetID="26" presetClass="emph" presetSubtype="0" dur="2000" repeatCount="indefinite" fill="hold" grpId="0" nodeType="withEffect">
                                  <p:stCondLst>
                                    <p:cond delay="4000"/>
                                  </p:stCondLst>
                                  <p:childTnLst>
                                    <p:animEffect transition="out" filter="fade">
                                      <p:cBhvr>
                                        <p:cTn id="623" dur="2000" tmFilter="0, 0; .2, .5; .8, .5; 1, 0"/>
                                        <p:tgtEl>
                                          <p:spTgt spid="151"/>
                                        </p:tgtEl>
                                      </p:cBhvr>
                                    </p:animEffect>
                                    <p:animScale>
                                      <p:cBhvr>
                                        <p:cTn id="624" dur="1000" autoRev="1" fill="hold"/>
                                        <p:tgtEl>
                                          <p:spTgt spid="151"/>
                                        </p:tgtEl>
                                      </p:cBhvr>
                                      <p:by x="105000" y="105000"/>
                                    </p:animScale>
                                  </p:childTnLst>
                                </p:cTn>
                              </p:par>
                              <p:par>
                                <p:cTn id="625" presetID="26" presetClass="emph" presetSubtype="0" dur="2000" repeatCount="indefinite" fill="hold" grpId="0" nodeType="withEffect">
                                  <p:stCondLst>
                                    <p:cond delay="4000"/>
                                  </p:stCondLst>
                                  <p:childTnLst>
                                    <p:animEffect transition="out" filter="fade">
                                      <p:cBhvr>
                                        <p:cTn id="626" dur="2000" tmFilter="0, 0; .2, .5; .8, .5; 1, 0"/>
                                        <p:tgtEl>
                                          <p:spTgt spid="168"/>
                                        </p:tgtEl>
                                      </p:cBhvr>
                                    </p:animEffect>
                                    <p:animScale>
                                      <p:cBhvr>
                                        <p:cTn id="627" dur="1000" autoRev="1" fill="hold"/>
                                        <p:tgtEl>
                                          <p:spTgt spid="168"/>
                                        </p:tgtEl>
                                      </p:cBhvr>
                                      <p:by x="105000" y="105000"/>
                                    </p:animScale>
                                  </p:childTnLst>
                                </p:cTn>
                              </p:par>
                              <p:par>
                                <p:cTn id="628" presetID="26" presetClass="emph" presetSubtype="0" dur="2000" repeatCount="indefinite" fill="hold" grpId="0" nodeType="withEffect">
                                  <p:stCondLst>
                                    <p:cond delay="4000"/>
                                  </p:stCondLst>
                                  <p:childTnLst>
                                    <p:animEffect transition="out" filter="fade">
                                      <p:cBhvr>
                                        <p:cTn id="629" dur="2000" tmFilter="0, 0; .2, .5; .8, .5; 1, 0"/>
                                        <p:tgtEl>
                                          <p:spTgt spid="185"/>
                                        </p:tgtEl>
                                      </p:cBhvr>
                                    </p:animEffect>
                                    <p:animScale>
                                      <p:cBhvr>
                                        <p:cTn id="630" dur="1000" autoRev="1" fill="hold"/>
                                        <p:tgtEl>
                                          <p:spTgt spid="185"/>
                                        </p:tgtEl>
                                      </p:cBhvr>
                                      <p:by x="105000" y="105000"/>
                                    </p:animScale>
                                  </p:childTnLst>
                                </p:cTn>
                              </p:par>
                              <p:par>
                                <p:cTn id="631" presetID="26" presetClass="emph" presetSubtype="0" dur="2000" repeatCount="indefinite" fill="hold" grpId="0" nodeType="withEffect">
                                  <p:stCondLst>
                                    <p:cond delay="4000"/>
                                  </p:stCondLst>
                                  <p:childTnLst>
                                    <p:animEffect transition="out" filter="fade">
                                      <p:cBhvr>
                                        <p:cTn id="632" dur="2000" tmFilter="0, 0; .2, .5; .8, .5; 1, 0"/>
                                        <p:tgtEl>
                                          <p:spTgt spid="202"/>
                                        </p:tgtEl>
                                      </p:cBhvr>
                                    </p:animEffect>
                                    <p:animScale>
                                      <p:cBhvr>
                                        <p:cTn id="633" dur="1000" autoRev="1" fill="hold"/>
                                        <p:tgtEl>
                                          <p:spTgt spid="202"/>
                                        </p:tgtEl>
                                      </p:cBhvr>
                                      <p:by x="105000" y="105000"/>
                                    </p:animScale>
                                  </p:childTnLst>
                                </p:cTn>
                              </p:par>
                              <p:par>
                                <p:cTn id="634" presetID="26" presetClass="emph" presetSubtype="0" dur="2000" repeatCount="indefinite" fill="hold" grpId="0" nodeType="withEffect">
                                  <p:stCondLst>
                                    <p:cond delay="4250"/>
                                  </p:stCondLst>
                                  <p:childTnLst>
                                    <p:animEffect transition="out" filter="fade">
                                      <p:cBhvr>
                                        <p:cTn id="635" dur="2000" tmFilter="0, 0; .2, .5; .8, .5; 1, 0"/>
                                        <p:tgtEl>
                                          <p:spTgt spid="71"/>
                                        </p:tgtEl>
                                      </p:cBhvr>
                                    </p:animEffect>
                                    <p:animScale>
                                      <p:cBhvr>
                                        <p:cTn id="636" dur="1000" autoRev="1" fill="hold"/>
                                        <p:tgtEl>
                                          <p:spTgt spid="71"/>
                                        </p:tgtEl>
                                      </p:cBhvr>
                                      <p:by x="105000" y="105000"/>
                                    </p:animScale>
                                  </p:childTnLst>
                                </p:cTn>
                              </p:par>
                              <p:par>
                                <p:cTn id="637" presetID="26" presetClass="emph" presetSubtype="0" dur="2000" repeatCount="indefinite" fill="hold" grpId="0" nodeType="withEffect">
                                  <p:stCondLst>
                                    <p:cond delay="4250"/>
                                  </p:stCondLst>
                                  <p:childTnLst>
                                    <p:animEffect transition="out" filter="fade">
                                      <p:cBhvr>
                                        <p:cTn id="638" dur="2000" tmFilter="0, 0; .2, .5; .8, .5; 1, 0"/>
                                        <p:tgtEl>
                                          <p:spTgt spid="87"/>
                                        </p:tgtEl>
                                      </p:cBhvr>
                                    </p:animEffect>
                                    <p:animScale>
                                      <p:cBhvr>
                                        <p:cTn id="639" dur="1000" autoRev="1" fill="hold"/>
                                        <p:tgtEl>
                                          <p:spTgt spid="87"/>
                                        </p:tgtEl>
                                      </p:cBhvr>
                                      <p:by x="105000" y="105000"/>
                                    </p:animScale>
                                  </p:childTnLst>
                                </p:cTn>
                              </p:par>
                              <p:par>
                                <p:cTn id="640" presetID="26" presetClass="emph" presetSubtype="0" dur="2000" repeatCount="indefinite" fill="hold" grpId="0" nodeType="withEffect">
                                  <p:stCondLst>
                                    <p:cond delay="4250"/>
                                  </p:stCondLst>
                                  <p:childTnLst>
                                    <p:animEffect transition="out" filter="fade">
                                      <p:cBhvr>
                                        <p:cTn id="641" dur="2000" tmFilter="0, 0; .2, .5; .8, .5; 1, 0"/>
                                        <p:tgtEl>
                                          <p:spTgt spid="103"/>
                                        </p:tgtEl>
                                      </p:cBhvr>
                                    </p:animEffect>
                                    <p:animScale>
                                      <p:cBhvr>
                                        <p:cTn id="642" dur="1000" autoRev="1" fill="hold"/>
                                        <p:tgtEl>
                                          <p:spTgt spid="103"/>
                                        </p:tgtEl>
                                      </p:cBhvr>
                                      <p:by x="105000" y="105000"/>
                                    </p:animScale>
                                  </p:childTnLst>
                                </p:cTn>
                              </p:par>
                              <p:par>
                                <p:cTn id="643" presetID="26" presetClass="emph" presetSubtype="0" dur="2000" repeatCount="indefinite" fill="hold" grpId="0" nodeType="withEffect">
                                  <p:stCondLst>
                                    <p:cond delay="4250"/>
                                  </p:stCondLst>
                                  <p:childTnLst>
                                    <p:animEffect transition="out" filter="fade">
                                      <p:cBhvr>
                                        <p:cTn id="644" dur="2000" tmFilter="0, 0; .2, .5; .8, .5; 1, 0"/>
                                        <p:tgtEl>
                                          <p:spTgt spid="119"/>
                                        </p:tgtEl>
                                      </p:cBhvr>
                                    </p:animEffect>
                                    <p:animScale>
                                      <p:cBhvr>
                                        <p:cTn id="645" dur="1000" autoRev="1" fill="hold"/>
                                        <p:tgtEl>
                                          <p:spTgt spid="119"/>
                                        </p:tgtEl>
                                      </p:cBhvr>
                                      <p:by x="105000" y="105000"/>
                                    </p:animScale>
                                  </p:childTnLst>
                                </p:cTn>
                              </p:par>
                              <p:par>
                                <p:cTn id="646" presetID="26" presetClass="emph" presetSubtype="0" dur="2000" repeatCount="indefinite" fill="hold" grpId="0" nodeType="withEffect">
                                  <p:stCondLst>
                                    <p:cond delay="4250"/>
                                  </p:stCondLst>
                                  <p:childTnLst>
                                    <p:animEffect transition="out" filter="fade">
                                      <p:cBhvr>
                                        <p:cTn id="647" dur="2000" tmFilter="0, 0; .2, .5; .8, .5; 1, 0"/>
                                        <p:tgtEl>
                                          <p:spTgt spid="135"/>
                                        </p:tgtEl>
                                      </p:cBhvr>
                                    </p:animEffect>
                                    <p:animScale>
                                      <p:cBhvr>
                                        <p:cTn id="648" dur="1000" autoRev="1" fill="hold"/>
                                        <p:tgtEl>
                                          <p:spTgt spid="135"/>
                                        </p:tgtEl>
                                      </p:cBhvr>
                                      <p:by x="105000" y="105000"/>
                                    </p:animScale>
                                  </p:childTnLst>
                                </p:cTn>
                              </p:par>
                              <p:par>
                                <p:cTn id="649" presetID="26" presetClass="emph" presetSubtype="0" dur="2000" repeatCount="indefinite" fill="hold" grpId="0" nodeType="withEffect">
                                  <p:stCondLst>
                                    <p:cond delay="4250"/>
                                  </p:stCondLst>
                                  <p:childTnLst>
                                    <p:animEffect transition="out" filter="fade">
                                      <p:cBhvr>
                                        <p:cTn id="650" dur="2000" tmFilter="0, 0; .2, .5; .8, .5; 1, 0"/>
                                        <p:tgtEl>
                                          <p:spTgt spid="152"/>
                                        </p:tgtEl>
                                      </p:cBhvr>
                                    </p:animEffect>
                                    <p:animScale>
                                      <p:cBhvr>
                                        <p:cTn id="651" dur="1000" autoRev="1" fill="hold"/>
                                        <p:tgtEl>
                                          <p:spTgt spid="152"/>
                                        </p:tgtEl>
                                      </p:cBhvr>
                                      <p:by x="105000" y="105000"/>
                                    </p:animScale>
                                  </p:childTnLst>
                                </p:cTn>
                              </p:par>
                              <p:par>
                                <p:cTn id="652" presetID="26" presetClass="emph" presetSubtype="0" dur="2000" repeatCount="indefinite" fill="hold" grpId="0" nodeType="withEffect">
                                  <p:stCondLst>
                                    <p:cond delay="4250"/>
                                  </p:stCondLst>
                                  <p:childTnLst>
                                    <p:animEffect transition="out" filter="fade">
                                      <p:cBhvr>
                                        <p:cTn id="653" dur="2000" tmFilter="0, 0; .2, .5; .8, .5; 1, 0"/>
                                        <p:tgtEl>
                                          <p:spTgt spid="169"/>
                                        </p:tgtEl>
                                      </p:cBhvr>
                                    </p:animEffect>
                                    <p:animScale>
                                      <p:cBhvr>
                                        <p:cTn id="654" dur="1000" autoRev="1" fill="hold"/>
                                        <p:tgtEl>
                                          <p:spTgt spid="169"/>
                                        </p:tgtEl>
                                      </p:cBhvr>
                                      <p:by x="105000" y="105000"/>
                                    </p:animScale>
                                  </p:childTnLst>
                                </p:cTn>
                              </p:par>
                              <p:par>
                                <p:cTn id="655" presetID="26" presetClass="emph" presetSubtype="0" dur="2000" repeatCount="indefinite" fill="hold" grpId="0" nodeType="withEffect">
                                  <p:stCondLst>
                                    <p:cond delay="4250"/>
                                  </p:stCondLst>
                                  <p:childTnLst>
                                    <p:animEffect transition="out" filter="fade">
                                      <p:cBhvr>
                                        <p:cTn id="656" dur="2000" tmFilter="0, 0; .2, .5; .8, .5; 1, 0"/>
                                        <p:tgtEl>
                                          <p:spTgt spid="186"/>
                                        </p:tgtEl>
                                      </p:cBhvr>
                                    </p:animEffect>
                                    <p:animScale>
                                      <p:cBhvr>
                                        <p:cTn id="657" dur="1000" autoRev="1" fill="hold"/>
                                        <p:tgtEl>
                                          <p:spTgt spid="186"/>
                                        </p:tgtEl>
                                      </p:cBhvr>
                                      <p:by x="105000" y="105000"/>
                                    </p:animScale>
                                  </p:childTnLst>
                                </p:cTn>
                              </p:par>
                              <p:par>
                                <p:cTn id="658" presetID="26" presetClass="emph" presetSubtype="0" dur="2000" repeatCount="indefinite" fill="hold" grpId="0" nodeType="withEffect">
                                  <p:stCondLst>
                                    <p:cond delay="4500"/>
                                  </p:stCondLst>
                                  <p:childTnLst>
                                    <p:animEffect transition="out" filter="fade">
                                      <p:cBhvr>
                                        <p:cTn id="659" dur="2000" tmFilter="0, 0; .2, .5; .8, .5; 1, 0"/>
                                        <p:tgtEl>
                                          <p:spTgt spid="88"/>
                                        </p:tgtEl>
                                      </p:cBhvr>
                                    </p:animEffect>
                                    <p:animScale>
                                      <p:cBhvr>
                                        <p:cTn id="660" dur="1000" autoRev="1" fill="hold"/>
                                        <p:tgtEl>
                                          <p:spTgt spid="88"/>
                                        </p:tgtEl>
                                      </p:cBhvr>
                                      <p:by x="105000" y="105000"/>
                                    </p:animScale>
                                  </p:childTnLst>
                                </p:cTn>
                              </p:par>
                              <p:par>
                                <p:cTn id="661" presetID="26" presetClass="emph" presetSubtype="0" dur="2000" repeatCount="indefinite" fill="hold" grpId="0" nodeType="withEffect">
                                  <p:stCondLst>
                                    <p:cond delay="4500"/>
                                  </p:stCondLst>
                                  <p:childTnLst>
                                    <p:animEffect transition="out" filter="fade">
                                      <p:cBhvr>
                                        <p:cTn id="662" dur="2000" tmFilter="0, 0; .2, .5; .8, .5; 1, 0"/>
                                        <p:tgtEl>
                                          <p:spTgt spid="104"/>
                                        </p:tgtEl>
                                      </p:cBhvr>
                                    </p:animEffect>
                                    <p:animScale>
                                      <p:cBhvr>
                                        <p:cTn id="663" dur="1000" autoRev="1" fill="hold"/>
                                        <p:tgtEl>
                                          <p:spTgt spid="104"/>
                                        </p:tgtEl>
                                      </p:cBhvr>
                                      <p:by x="105000" y="105000"/>
                                    </p:animScale>
                                  </p:childTnLst>
                                </p:cTn>
                              </p:par>
                              <p:par>
                                <p:cTn id="664" presetID="26" presetClass="emph" presetSubtype="0" dur="2000" repeatCount="indefinite" fill="hold" grpId="0" nodeType="withEffect">
                                  <p:stCondLst>
                                    <p:cond delay="4500"/>
                                  </p:stCondLst>
                                  <p:childTnLst>
                                    <p:animEffect transition="out" filter="fade">
                                      <p:cBhvr>
                                        <p:cTn id="665" dur="2000" tmFilter="0, 0; .2, .5; .8, .5; 1, 0"/>
                                        <p:tgtEl>
                                          <p:spTgt spid="120"/>
                                        </p:tgtEl>
                                      </p:cBhvr>
                                    </p:animEffect>
                                    <p:animScale>
                                      <p:cBhvr>
                                        <p:cTn id="666" dur="1000" autoRev="1" fill="hold"/>
                                        <p:tgtEl>
                                          <p:spTgt spid="120"/>
                                        </p:tgtEl>
                                      </p:cBhvr>
                                      <p:by x="105000" y="105000"/>
                                    </p:animScale>
                                  </p:childTnLst>
                                </p:cTn>
                              </p:par>
                              <p:par>
                                <p:cTn id="667" presetID="26" presetClass="emph" presetSubtype="0" dur="2000" repeatCount="indefinite" fill="hold" grpId="0" nodeType="withEffect">
                                  <p:stCondLst>
                                    <p:cond delay="4500"/>
                                  </p:stCondLst>
                                  <p:childTnLst>
                                    <p:animEffect transition="out" filter="fade">
                                      <p:cBhvr>
                                        <p:cTn id="668" dur="2000" tmFilter="0, 0; .2, .5; .8, .5; 1, 0"/>
                                        <p:tgtEl>
                                          <p:spTgt spid="136"/>
                                        </p:tgtEl>
                                      </p:cBhvr>
                                    </p:animEffect>
                                    <p:animScale>
                                      <p:cBhvr>
                                        <p:cTn id="669" dur="1000" autoRev="1" fill="hold"/>
                                        <p:tgtEl>
                                          <p:spTgt spid="136"/>
                                        </p:tgtEl>
                                      </p:cBhvr>
                                      <p:by x="105000" y="105000"/>
                                    </p:animScale>
                                  </p:childTnLst>
                                </p:cTn>
                              </p:par>
                              <p:par>
                                <p:cTn id="670" presetID="26" presetClass="emph" presetSubtype="0" dur="2000" repeatCount="indefinite" fill="hold" grpId="0" nodeType="withEffect">
                                  <p:stCondLst>
                                    <p:cond delay="4500"/>
                                  </p:stCondLst>
                                  <p:childTnLst>
                                    <p:animEffect transition="out" filter="fade">
                                      <p:cBhvr>
                                        <p:cTn id="671" dur="2000" tmFilter="0, 0; .2, .5; .8, .5; 1, 0"/>
                                        <p:tgtEl>
                                          <p:spTgt spid="153"/>
                                        </p:tgtEl>
                                      </p:cBhvr>
                                    </p:animEffect>
                                    <p:animScale>
                                      <p:cBhvr>
                                        <p:cTn id="672" dur="1000" autoRev="1" fill="hold"/>
                                        <p:tgtEl>
                                          <p:spTgt spid="153"/>
                                        </p:tgtEl>
                                      </p:cBhvr>
                                      <p:by x="105000" y="105000"/>
                                    </p:animScale>
                                  </p:childTnLst>
                                </p:cTn>
                              </p:par>
                              <p:par>
                                <p:cTn id="673" presetID="26" presetClass="emph" presetSubtype="0" dur="2000" repeatCount="indefinite" fill="hold" grpId="0" nodeType="withEffect">
                                  <p:stCondLst>
                                    <p:cond delay="4500"/>
                                  </p:stCondLst>
                                  <p:childTnLst>
                                    <p:animEffect transition="out" filter="fade">
                                      <p:cBhvr>
                                        <p:cTn id="674" dur="2000" tmFilter="0, 0; .2, .5; .8, .5; 1, 0"/>
                                        <p:tgtEl>
                                          <p:spTgt spid="170"/>
                                        </p:tgtEl>
                                      </p:cBhvr>
                                    </p:animEffect>
                                    <p:animScale>
                                      <p:cBhvr>
                                        <p:cTn id="675" dur="1000" autoRev="1" fill="hold"/>
                                        <p:tgtEl>
                                          <p:spTgt spid="170"/>
                                        </p:tgtEl>
                                      </p:cBhvr>
                                      <p:by x="105000" y="105000"/>
                                    </p:animScale>
                                  </p:childTnLst>
                                </p:cTn>
                              </p:par>
                              <p:par>
                                <p:cTn id="676" presetID="26" presetClass="emph" presetSubtype="0" dur="2000" repeatCount="indefinite" fill="hold" grpId="0" nodeType="withEffect">
                                  <p:stCondLst>
                                    <p:cond delay="4750"/>
                                  </p:stCondLst>
                                  <p:childTnLst>
                                    <p:animEffect transition="out" filter="fade">
                                      <p:cBhvr>
                                        <p:cTn id="677" dur="2000" tmFilter="0, 0; .2, .5; .8, .5; 1, 0"/>
                                        <p:tgtEl>
                                          <p:spTgt spid="105"/>
                                        </p:tgtEl>
                                      </p:cBhvr>
                                    </p:animEffect>
                                    <p:animScale>
                                      <p:cBhvr>
                                        <p:cTn id="678" dur="1000" autoRev="1" fill="hold"/>
                                        <p:tgtEl>
                                          <p:spTgt spid="105"/>
                                        </p:tgtEl>
                                      </p:cBhvr>
                                      <p:by x="105000" y="105000"/>
                                    </p:animScale>
                                  </p:childTnLst>
                                </p:cTn>
                              </p:par>
                              <p:par>
                                <p:cTn id="679" presetID="26" presetClass="emph" presetSubtype="0" dur="2000" repeatCount="indefinite" fill="hold" grpId="0" nodeType="withEffect">
                                  <p:stCondLst>
                                    <p:cond delay="4750"/>
                                  </p:stCondLst>
                                  <p:childTnLst>
                                    <p:animEffect transition="out" filter="fade">
                                      <p:cBhvr>
                                        <p:cTn id="680" dur="2000" tmFilter="0, 0; .2, .5; .8, .5; 1, 0"/>
                                        <p:tgtEl>
                                          <p:spTgt spid="121"/>
                                        </p:tgtEl>
                                      </p:cBhvr>
                                    </p:animEffect>
                                    <p:animScale>
                                      <p:cBhvr>
                                        <p:cTn id="681" dur="1000" autoRev="1" fill="hold"/>
                                        <p:tgtEl>
                                          <p:spTgt spid="121"/>
                                        </p:tgtEl>
                                      </p:cBhvr>
                                      <p:by x="105000" y="105000"/>
                                    </p:animScale>
                                  </p:childTnLst>
                                </p:cTn>
                              </p:par>
                              <p:par>
                                <p:cTn id="682" presetID="26" presetClass="emph" presetSubtype="0" dur="2000" repeatCount="indefinite" fill="hold" grpId="0" nodeType="withEffect">
                                  <p:stCondLst>
                                    <p:cond delay="4750"/>
                                  </p:stCondLst>
                                  <p:childTnLst>
                                    <p:animEffect transition="out" filter="fade">
                                      <p:cBhvr>
                                        <p:cTn id="683" dur="2000" tmFilter="0, 0; .2, .5; .8, .5; 1, 0"/>
                                        <p:tgtEl>
                                          <p:spTgt spid="137"/>
                                        </p:tgtEl>
                                      </p:cBhvr>
                                    </p:animEffect>
                                    <p:animScale>
                                      <p:cBhvr>
                                        <p:cTn id="684" dur="1000" autoRev="1" fill="hold"/>
                                        <p:tgtEl>
                                          <p:spTgt spid="137"/>
                                        </p:tgtEl>
                                      </p:cBhvr>
                                      <p:by x="105000" y="105000"/>
                                    </p:animScale>
                                  </p:childTnLst>
                                </p:cTn>
                              </p:par>
                              <p:par>
                                <p:cTn id="685" presetID="26" presetClass="emph" presetSubtype="0" dur="2000" repeatCount="indefinite" fill="hold" grpId="0" nodeType="withEffect">
                                  <p:stCondLst>
                                    <p:cond delay="4750"/>
                                  </p:stCondLst>
                                  <p:childTnLst>
                                    <p:animEffect transition="out" filter="fade">
                                      <p:cBhvr>
                                        <p:cTn id="686" dur="2000" tmFilter="0, 0; .2, .5; .8, .5; 1, 0"/>
                                        <p:tgtEl>
                                          <p:spTgt spid="154"/>
                                        </p:tgtEl>
                                      </p:cBhvr>
                                    </p:animEffect>
                                    <p:animScale>
                                      <p:cBhvr>
                                        <p:cTn id="687" dur="1000" autoRev="1" fill="hold"/>
                                        <p:tgtEl>
                                          <p:spTgt spid="154"/>
                                        </p:tgtEl>
                                      </p:cBhvr>
                                      <p:by x="105000" y="105000"/>
                                    </p:animScale>
                                  </p:childTnLst>
                                </p:cTn>
                              </p:par>
                              <p:par>
                                <p:cTn id="688" presetID="26" presetClass="emph" presetSubtype="0" dur="2000" repeatCount="indefinite" fill="hold" grpId="0" nodeType="withEffect">
                                  <p:stCondLst>
                                    <p:cond delay="5000"/>
                                  </p:stCondLst>
                                  <p:childTnLst>
                                    <p:animEffect transition="out" filter="fade">
                                      <p:cBhvr>
                                        <p:cTn id="689" dur="2000" tmFilter="0, 0; .2, .5; .8, .5; 1, 0"/>
                                        <p:tgtEl>
                                          <p:spTgt spid="122"/>
                                        </p:tgtEl>
                                      </p:cBhvr>
                                    </p:animEffect>
                                    <p:animScale>
                                      <p:cBhvr>
                                        <p:cTn id="690" dur="1000" autoRev="1" fill="hold"/>
                                        <p:tgtEl>
                                          <p:spTgt spid="122"/>
                                        </p:tgtEl>
                                      </p:cBhvr>
                                      <p:by x="105000" y="105000"/>
                                    </p:animScale>
                                  </p:childTnLst>
                                </p:cTn>
                              </p:par>
                              <p:par>
                                <p:cTn id="691" presetID="26" presetClass="emph" presetSubtype="0" dur="2000" repeatCount="indefinite" fill="hold" grpId="0" nodeType="withEffect">
                                  <p:stCondLst>
                                    <p:cond delay="5000"/>
                                  </p:stCondLst>
                                  <p:childTnLst>
                                    <p:animEffect transition="out" filter="fade">
                                      <p:cBhvr>
                                        <p:cTn id="692" dur="2000" tmFilter="0, 0; .2, .5; .8, .5; 1, 0"/>
                                        <p:tgtEl>
                                          <p:spTgt spid="138"/>
                                        </p:tgtEl>
                                      </p:cBhvr>
                                    </p:animEffect>
                                    <p:animScale>
                                      <p:cBhvr>
                                        <p:cTn id="693" dur="1000" autoRev="1" fill="hold"/>
                                        <p:tgtEl>
                                          <p:spTgt spid="138"/>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122" grpId="0" animBg="1"/>
      <p:bldP spid="138" grpId="0" animBg="1"/>
      <p:bldP spid="105" grpId="0" animBg="1"/>
      <p:bldP spid="121" grpId="0" animBg="1"/>
      <p:bldP spid="137" grpId="0" animBg="1"/>
      <p:bldP spid="154" grpId="0" animBg="1"/>
      <p:bldP spid="88" grpId="0" animBg="1"/>
      <p:bldP spid="104" grpId="0" animBg="1"/>
      <p:bldP spid="120" grpId="0" animBg="1"/>
      <p:bldP spid="136" grpId="0" animBg="1"/>
      <p:bldP spid="153" grpId="0" animBg="1"/>
      <p:bldP spid="170" grpId="0" animBg="1"/>
      <p:bldP spid="71" grpId="0" animBg="1"/>
      <p:bldP spid="87" grpId="0" animBg="1"/>
      <p:bldP spid="103" grpId="0" animBg="1"/>
      <p:bldP spid="119" grpId="0" animBg="1"/>
      <p:bldP spid="135" grpId="0" animBg="1"/>
      <p:bldP spid="152" grpId="0" animBg="1"/>
      <p:bldP spid="169" grpId="0" animBg="1"/>
      <p:bldP spid="186" grpId="0" animBg="1"/>
      <p:bldP spid="54" grpId="0" animBg="1"/>
      <p:bldP spid="70" grpId="0" animBg="1"/>
      <p:bldP spid="86" grpId="0" animBg="1"/>
      <p:bldP spid="102" grpId="0" animBg="1"/>
      <p:bldP spid="118" grpId="0" animBg="1"/>
      <p:bldP spid="134" grpId="0" animBg="1"/>
      <p:bldP spid="151" grpId="0" animBg="1"/>
      <p:bldP spid="168" grpId="0" animBg="1"/>
      <p:bldP spid="185" grpId="0" animBg="1"/>
      <p:bldP spid="202" grpId="0" animBg="1"/>
      <p:bldP spid="37" grpId="0" animBg="1"/>
      <p:bldP spid="53" grpId="0" animBg="1"/>
      <p:bldP spid="69" grpId="0" animBg="1"/>
      <p:bldP spid="85" grpId="0" animBg="1"/>
      <p:bldP spid="101" grpId="0" animBg="1"/>
      <p:bldP spid="117" grpId="0" animBg="1"/>
      <p:bldP spid="133" grpId="0" animBg="1"/>
      <p:bldP spid="150" grpId="0" animBg="1"/>
      <p:bldP spid="167" grpId="0" animBg="1"/>
      <p:bldP spid="184" grpId="0" animBg="1"/>
      <p:bldP spid="201" grpId="0" animBg="1"/>
      <p:bldP spid="218" grpId="0" animBg="1"/>
      <p:bldP spid="5" grpId="0" animBg="1"/>
      <p:bldP spid="22" grpId="0" animBg="1"/>
      <p:bldP spid="38" grpId="0" animBg="1"/>
      <p:bldP spid="203" grpId="0" animBg="1"/>
      <p:bldP spid="219" grpId="0" animBg="1"/>
      <p:bldP spid="6" grpId="0" animBg="1"/>
      <p:bldP spid="23" grpId="0" animBg="1"/>
      <p:bldP spid="39" grpId="0" animBg="1"/>
      <p:bldP spid="55" grpId="0" animBg="1"/>
      <p:bldP spid="187" grpId="0" animBg="1"/>
      <p:bldP spid="204" grpId="0" animBg="1"/>
      <p:bldP spid="220" grpId="0" animBg="1"/>
      <p:bldP spid="7" grpId="0" animBg="1"/>
      <p:bldP spid="24" grpId="0" animBg="1"/>
      <p:bldP spid="40" grpId="0" animBg="1"/>
      <p:bldP spid="56" grpId="0" animBg="1"/>
      <p:bldP spid="72" grpId="0" animBg="1"/>
      <p:bldP spid="171" grpId="0" animBg="1"/>
      <p:bldP spid="188" grpId="0" animBg="1"/>
      <p:bldP spid="205" grpId="0" animBg="1"/>
      <p:bldP spid="221" grpId="0" animBg="1"/>
      <p:bldP spid="8" grpId="0" animBg="1"/>
      <p:bldP spid="25" grpId="0" animBg="1"/>
      <p:bldP spid="41" grpId="0" animBg="1"/>
      <p:bldP spid="57" grpId="0" animBg="1"/>
      <p:bldP spid="73" grpId="0" animBg="1"/>
      <p:bldP spid="89" grpId="0" animBg="1"/>
      <p:bldP spid="155" grpId="0" animBg="1"/>
      <p:bldP spid="172" grpId="0" animBg="1"/>
      <p:bldP spid="189" grpId="0" animBg="1"/>
      <p:bldP spid="206" grpId="0" animBg="1"/>
      <p:bldP spid="222" grpId="0" animBg="1"/>
      <p:bldP spid="11" grpId="0" animBg="1"/>
      <p:bldP spid="26" grpId="0" animBg="1"/>
      <p:bldP spid="42" grpId="0" animBg="1"/>
      <p:bldP spid="58" grpId="0" animBg="1"/>
      <p:bldP spid="74" grpId="0" animBg="1"/>
      <p:bldP spid="90" grpId="0" animBg="1"/>
      <p:bldP spid="106" grpId="0" animBg="1"/>
      <p:bldP spid="139" grpId="0" animBg="1"/>
      <p:bldP spid="156" grpId="0" animBg="1"/>
      <p:bldP spid="173" grpId="0" animBg="1"/>
      <p:bldP spid="190" grpId="0" animBg="1"/>
      <p:bldP spid="207" grpId="0" animBg="1"/>
      <p:bldP spid="223" grpId="0" animBg="1"/>
      <p:bldP spid="12" grpId="0" animBg="1"/>
      <p:bldP spid="27" grpId="0" animBg="1"/>
      <p:bldP spid="43" grpId="0" animBg="1"/>
      <p:bldP spid="59" grpId="0" animBg="1"/>
      <p:bldP spid="75" grpId="0" animBg="1"/>
      <p:bldP spid="91" grpId="0" animBg="1"/>
      <p:bldP spid="107" grpId="0" animBg="1"/>
      <p:bldP spid="123" grpId="0" animBg="1"/>
      <p:bldP spid="140" grpId="0" animBg="1"/>
      <p:bldP spid="157" grpId="0" animBg="1"/>
      <p:bldP spid="174" grpId="0" animBg="1"/>
      <p:bldP spid="191" grpId="0" animBg="1"/>
      <p:bldP spid="208" grpId="0" animBg="1"/>
      <p:bldP spid="224" grpId="0" animBg="1"/>
      <p:bldP spid="13" grpId="0" animBg="1"/>
      <p:bldP spid="28" grpId="0" animBg="1"/>
      <p:bldP spid="44" grpId="0" animBg="1"/>
      <p:bldP spid="60" grpId="0" animBg="1"/>
      <p:bldP spid="76" grpId="0" animBg="1"/>
      <p:bldP spid="92" grpId="0" animBg="1"/>
      <p:bldP spid="108" grpId="0" animBg="1"/>
      <p:bldP spid="124" grpId="0" animBg="1"/>
      <p:bldP spid="141" grpId="0" animBg="1"/>
      <p:bldP spid="158" grpId="0" animBg="1"/>
      <p:bldP spid="175" grpId="0" animBg="1"/>
      <p:bldP spid="192" grpId="0" animBg="1"/>
      <p:bldP spid="209" grpId="0" animBg="1"/>
      <p:bldP spid="225" grpId="0" animBg="1"/>
      <p:bldP spid="14" grpId="0" animBg="1"/>
      <p:bldP spid="29" grpId="0" animBg="1"/>
      <p:bldP spid="45" grpId="0" animBg="1"/>
      <p:bldP spid="61" grpId="0" animBg="1"/>
      <p:bldP spid="77" grpId="0" animBg="1"/>
      <p:bldP spid="93" grpId="0" animBg="1"/>
      <p:bldP spid="109" grpId="0" animBg="1"/>
      <p:bldP spid="125" grpId="0" animBg="1"/>
      <p:bldP spid="142" grpId="0" animBg="1"/>
      <p:bldP spid="159" grpId="0" animBg="1"/>
      <p:bldP spid="176" grpId="0" animBg="1"/>
      <p:bldP spid="193" grpId="0" animBg="1"/>
      <p:bldP spid="210" grpId="0" animBg="1"/>
      <p:bldP spid="226" grpId="0" animBg="1"/>
      <p:bldP spid="15" grpId="0" animBg="1"/>
      <p:bldP spid="30" grpId="0" animBg="1"/>
      <p:bldP spid="46" grpId="0" animBg="1"/>
      <p:bldP spid="62" grpId="0" animBg="1"/>
      <p:bldP spid="78" grpId="0" animBg="1"/>
      <p:bldP spid="94" grpId="0" animBg="1"/>
      <p:bldP spid="110" grpId="0" animBg="1"/>
      <p:bldP spid="126" grpId="0" animBg="1"/>
      <p:bldP spid="143" grpId="0" animBg="1"/>
      <p:bldP spid="160" grpId="0" animBg="1"/>
      <p:bldP spid="177" grpId="0" animBg="1"/>
      <p:bldP spid="194" grpId="0" animBg="1"/>
      <p:bldP spid="211" grpId="0" animBg="1"/>
      <p:bldP spid="227" grpId="0" animBg="1"/>
      <p:bldP spid="16" grpId="0" animBg="1"/>
      <p:bldP spid="31" grpId="0" animBg="1"/>
      <p:bldP spid="47" grpId="0" animBg="1"/>
      <p:bldP spid="63" grpId="0" animBg="1"/>
      <p:bldP spid="79" grpId="0" animBg="1"/>
      <p:bldP spid="95" grpId="0" animBg="1"/>
      <p:bldP spid="111" grpId="0" animBg="1"/>
      <p:bldP spid="127" grpId="0" animBg="1"/>
      <p:bldP spid="144" grpId="0" animBg="1"/>
      <p:bldP spid="161" grpId="0" animBg="1"/>
      <p:bldP spid="178" grpId="0" animBg="1"/>
      <p:bldP spid="195" grpId="0" animBg="1"/>
      <p:bldP spid="212" grpId="0" animBg="1"/>
      <p:bldP spid="228" grpId="0" animBg="1"/>
      <p:bldP spid="17" grpId="0" animBg="1"/>
      <p:bldP spid="32" grpId="0" animBg="1"/>
      <p:bldP spid="48" grpId="0" animBg="1"/>
      <p:bldP spid="64" grpId="0" animBg="1"/>
      <p:bldP spid="80" grpId="0" animBg="1"/>
      <p:bldP spid="96" grpId="0" animBg="1"/>
      <p:bldP spid="112" grpId="0" animBg="1"/>
      <p:bldP spid="128" grpId="0" animBg="1"/>
      <p:bldP spid="145" grpId="0" animBg="1"/>
      <p:bldP spid="162" grpId="0" animBg="1"/>
      <p:bldP spid="179" grpId="0" animBg="1"/>
      <p:bldP spid="196" grpId="0" animBg="1"/>
      <p:bldP spid="213" grpId="0" animBg="1"/>
      <p:bldP spid="229" grpId="0" animBg="1"/>
      <p:bldP spid="18" grpId="0" animBg="1"/>
      <p:bldP spid="33" grpId="0" animBg="1"/>
      <p:bldP spid="49" grpId="0" animBg="1"/>
      <p:bldP spid="65" grpId="0" animBg="1"/>
      <p:bldP spid="81" grpId="0" animBg="1"/>
      <p:bldP spid="97" grpId="0" animBg="1"/>
      <p:bldP spid="113" grpId="0" animBg="1"/>
      <p:bldP spid="129" grpId="0" animBg="1"/>
      <p:bldP spid="146" grpId="0" animBg="1"/>
      <p:bldP spid="163" grpId="0" animBg="1"/>
      <p:bldP spid="180" grpId="0" animBg="1"/>
      <p:bldP spid="197" grpId="0" animBg="1"/>
      <p:bldP spid="214" grpId="0" animBg="1"/>
      <p:bldP spid="230" grpId="0" animBg="1"/>
      <p:bldP spid="19" grpId="0" animBg="1"/>
      <p:bldP spid="34" grpId="0" animBg="1"/>
      <p:bldP spid="50" grpId="0" animBg="1"/>
      <p:bldP spid="66" grpId="0" animBg="1"/>
      <p:bldP spid="82" grpId="0" animBg="1"/>
      <p:bldP spid="98" grpId="0" animBg="1"/>
      <p:bldP spid="114" grpId="0" animBg="1"/>
      <p:bldP spid="130" grpId="0" animBg="1"/>
      <p:bldP spid="147" grpId="0" animBg="1"/>
      <p:bldP spid="164" grpId="0" animBg="1"/>
      <p:bldP spid="181" grpId="0" animBg="1"/>
      <p:bldP spid="198" grpId="0" animBg="1"/>
      <p:bldP spid="215" grpId="0" animBg="1"/>
      <p:bldP spid="231" grpId="0" animBg="1"/>
      <p:bldP spid="20" grpId="0" animBg="1"/>
      <p:bldP spid="35" grpId="0" animBg="1"/>
      <p:bldP spid="51" grpId="0" animBg="1"/>
      <p:bldP spid="67" grpId="0" animBg="1"/>
      <p:bldP spid="83" grpId="0" animBg="1"/>
      <p:bldP spid="99" grpId="0" animBg="1"/>
      <p:bldP spid="115" grpId="0" animBg="1"/>
      <p:bldP spid="131" grpId="0" animBg="1"/>
      <p:bldP spid="148" grpId="0" animBg="1"/>
      <p:bldP spid="165" grpId="0" animBg="1"/>
      <p:bldP spid="182" grpId="0" animBg="1"/>
      <p:bldP spid="199" grpId="0" animBg="1"/>
      <p:bldP spid="216" grpId="0" animBg="1"/>
      <p:bldP spid="232" grpId="0" animBg="1"/>
      <p:bldP spid="21" grpId="0" animBg="1"/>
      <p:bldP spid="36" grpId="0" animBg="1"/>
      <p:bldP spid="52" grpId="0" animBg="1"/>
      <p:bldP spid="68" grpId="0" animBg="1"/>
      <p:bldP spid="84" grpId="0" animBg="1"/>
      <p:bldP spid="100" grpId="0" animBg="1"/>
      <p:bldP spid="116" grpId="0" animBg="1"/>
      <p:bldP spid="132" grpId="0" animBg="1"/>
      <p:bldP spid="149" grpId="0" animBg="1"/>
      <p:bldP spid="166" grpId="0" animBg="1"/>
      <p:bldP spid="183" grpId="0" animBg="1"/>
      <p:bldP spid="200" grpId="0" animBg="1"/>
      <p:bldP spid="217" grpId="0" animBg="1"/>
      <p:bldP spid="233" grpId="0" animBg="1"/>
      <p:bldP spid="10" grpId="0">
        <p:tmplLst>
          <p:tmpl>
            <p:tnLst>
              <p:par>
                <p:cTn presetID="2" presetClass="entr" presetSubtype="8" decel="100000" fill="hold" nodeType="withEffect">
                  <p:stCondLst>
                    <p:cond delay="0"/>
                  </p:stCondLst>
                  <p:childTnLst>
                    <p:set>
                      <p:cBhvr>
                        <p:cTn dur="1" fill="hold">
                          <p:stCondLst>
                            <p:cond delay="0"/>
                          </p:stCondLst>
                        </p:cTn>
                        <p:tgtEl>
                          <p:spTgt spid="10"/>
                        </p:tgtEl>
                        <p:attrNameLst>
                          <p:attrName>style.visibility</p:attrName>
                        </p:attrNameLst>
                      </p:cBhvr>
                      <p:to>
                        <p:strVal val="visible"/>
                      </p:to>
                    </p:set>
                    <p:anim calcmode="lin" valueType="num">
                      <p:cBhvr additive="base">
                        <p:cTn dur="1000" fill="hold"/>
                        <p:tgtEl>
                          <p:spTgt spid="10"/>
                        </p:tgtEl>
                        <p:attrNameLst>
                          <p:attrName>ppt_x</p:attrName>
                        </p:attrNameLst>
                      </p:cBhvr>
                      <p:tavLst>
                        <p:tav tm="0">
                          <p:val>
                            <p:strVal val="0-#ppt_w/2"/>
                          </p:val>
                        </p:tav>
                        <p:tav tm="100000">
                          <p:val>
                            <p:strVal val="#ppt_x"/>
                          </p:val>
                        </p:tav>
                      </p:tavLst>
                    </p:anim>
                    <p:anim calcmode="lin" valueType="num">
                      <p:cBhvr additive="base">
                        <p:cTn dur="1000" fill="hold"/>
                        <p:tgtEl>
                          <p:spTgt spid="10"/>
                        </p:tgtEl>
                        <p:attrNameLst>
                          <p:attrName>ppt_y</p:attrName>
                        </p:attrNameLst>
                      </p:cBhvr>
                      <p:tavLst>
                        <p:tav tm="0">
                          <p:val>
                            <p:strVal val="#ppt_y"/>
                          </p:val>
                        </p:tav>
                        <p:tav tm="100000">
                          <p:val>
                            <p:strVal val="#ppt_y"/>
                          </p:val>
                        </p:tav>
                      </p:tavLst>
                    </p:anim>
                  </p:childTnLst>
                </p:cTn>
              </p:par>
            </p:tnLst>
          </p:tmpl>
        </p:tmplLst>
      </p:bldP>
    </p:bld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20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90EE7DA-954F-470F-B4FB-970B10427B29}"/>
              </a:ext>
            </a:extLst>
          </p:cNvPr>
          <p:cNvSpPr>
            <a:spLocks noGrp="1"/>
          </p:cNvSpPr>
          <p:nvPr>
            <p:ph type="pic" sz="quarter" idx="16"/>
          </p:nvPr>
        </p:nvSpPr>
        <p:spPr>
          <a:xfrm>
            <a:off x="4526197" y="1082616"/>
            <a:ext cx="3139606" cy="4692770"/>
          </a:xfrm>
          <a:custGeom>
            <a:avLst/>
            <a:gdLst>
              <a:gd name="connsiteX0" fmla="*/ 0 w 6280030"/>
              <a:gd name="connsiteY0" fmla="*/ 0 h 9385539"/>
              <a:gd name="connsiteX1" fmla="*/ 6280030 w 6280030"/>
              <a:gd name="connsiteY1" fmla="*/ 0 h 9385539"/>
              <a:gd name="connsiteX2" fmla="*/ 6280030 w 6280030"/>
              <a:gd name="connsiteY2" fmla="*/ 9385539 h 9385539"/>
              <a:gd name="connsiteX3" fmla="*/ 0 w 6280030"/>
              <a:gd name="connsiteY3" fmla="*/ 9385539 h 9385539"/>
            </a:gdLst>
            <a:ahLst/>
            <a:cxnLst>
              <a:cxn ang="0">
                <a:pos x="connsiteX0" y="connsiteY0"/>
              </a:cxn>
              <a:cxn ang="0">
                <a:pos x="connsiteX1" y="connsiteY1"/>
              </a:cxn>
              <a:cxn ang="0">
                <a:pos x="connsiteX2" y="connsiteY2"/>
              </a:cxn>
              <a:cxn ang="0">
                <a:pos x="connsiteX3" y="connsiteY3"/>
              </a:cxn>
            </a:cxnLst>
            <a:rect l="l" t="t" r="r" b="b"/>
            <a:pathLst>
              <a:path w="6280030" h="9385539">
                <a:moveTo>
                  <a:pt x="0" y="0"/>
                </a:moveTo>
                <a:lnTo>
                  <a:pt x="6280030" y="0"/>
                </a:lnTo>
                <a:lnTo>
                  <a:pt x="6280030" y="9385539"/>
                </a:lnTo>
                <a:lnTo>
                  <a:pt x="0" y="9385539"/>
                </a:lnTo>
                <a:close/>
              </a:path>
            </a:pathLst>
          </a:custGeom>
          <a:pattFill prst="pct60">
            <a:fgClr>
              <a:schemeClr val="bg1"/>
            </a:fgClr>
            <a:bgClr>
              <a:schemeClr val="bg1">
                <a:lumMod val="85000"/>
              </a:schemeClr>
            </a:bgClr>
          </a:pattFill>
          <a:effectLst>
            <a:outerShdw dist="266700" dir="2700000" algn="tl" rotWithShape="0">
              <a:prstClr val="black">
                <a:alpha val="23000"/>
              </a:prstClr>
            </a:outerShdw>
          </a:effectLst>
        </p:spPr>
        <p:txBody>
          <a:bodyPr wrap="square" anchor="ctr">
            <a:noAutofit/>
          </a:bodyPr>
          <a:lstStyle>
            <a:lvl1pPr marL="0" indent="0" algn="ctr">
              <a:buFontTx/>
              <a:buNone/>
              <a:defRPr sz="1200"/>
            </a:lvl1pPr>
          </a:lstStyle>
          <a:p>
            <a:endParaRPr lang="en-US"/>
          </a:p>
        </p:txBody>
      </p:sp>
    </p:spTree>
    <p:extLst>
      <p:ext uri="{BB962C8B-B14F-4D97-AF65-F5344CB8AC3E}">
        <p14:creationId xmlns:p14="http://schemas.microsoft.com/office/powerpoint/2010/main" val="3614468236"/>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42" presetClass="path" presetSubtype="0" dur="2000" repeatCount="indefinite" accel="50000" decel="50000" autoRev="1" fill="hold" grpId="0" nodeType="withEffect">
                                  <p:stCondLst>
                                    <p:cond delay="0"/>
                                  </p:stCondLst>
                                  <p:childTnLst>
                                    <p:animMotion origin="layout" path="M 5.55112E-17 0 L -0.02246 -0.05093" pathEditMode="relative" rAng="0" ptsTypes="AA">
                                      <p:cBhvr>
                                        <p:cTn id="6" dur="2000" fill="hold"/>
                                        <p:tgtEl>
                                          <p:spTgt spid="4"/>
                                        </p:tgtEl>
                                        <p:attrNameLst>
                                          <p:attrName>ppt_x</p:attrName>
                                          <p:attrName>ppt_y</p:attrName>
                                        </p:attrNameLst>
                                      </p:cBhvr>
                                      <p:rCtr x="-1126" y="-254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21_Custom Layout">
    <p:spTree>
      <p:nvGrpSpPr>
        <p:cNvPr id="1" name=""/>
        <p:cNvGrpSpPr/>
        <p:nvPr/>
      </p:nvGrpSpPr>
      <p:grpSpPr>
        <a:xfrm>
          <a:off x="0" y="0"/>
          <a:ext cx="0" cy="0"/>
          <a:chOff x="0" y="0"/>
          <a:chExt cx="0" cy="0"/>
        </a:xfrm>
      </p:grpSpPr>
      <p:sp>
        <p:nvSpPr>
          <p:cNvPr id="33" name="Picture Placeholder 32">
            <a:extLst>
              <a:ext uri="{FF2B5EF4-FFF2-40B4-BE49-F238E27FC236}">
                <a16:creationId xmlns:a16="http://schemas.microsoft.com/office/drawing/2014/main" id="{8B8D9FE0-2BB0-4951-87E4-EC751C0312CD}"/>
              </a:ext>
            </a:extLst>
          </p:cNvPr>
          <p:cNvSpPr>
            <a:spLocks noGrp="1"/>
          </p:cNvSpPr>
          <p:nvPr>
            <p:ph type="pic" sz="quarter" idx="10"/>
          </p:nvPr>
        </p:nvSpPr>
        <p:spPr>
          <a:xfrm>
            <a:off x="781742" y="647700"/>
            <a:ext cx="5314258" cy="5524500"/>
          </a:xfrm>
          <a:custGeom>
            <a:avLst/>
            <a:gdLst>
              <a:gd name="connsiteX0" fmla="*/ 0 w 10172699"/>
              <a:gd name="connsiteY0" fmla="*/ 0 h 11049000"/>
              <a:gd name="connsiteX1" fmla="*/ 10172699 w 10172699"/>
              <a:gd name="connsiteY1" fmla="*/ 0 h 11049000"/>
              <a:gd name="connsiteX2" fmla="*/ 10172699 w 10172699"/>
              <a:gd name="connsiteY2" fmla="*/ 11049000 h 11049000"/>
              <a:gd name="connsiteX3" fmla="*/ 0 w 10172699"/>
              <a:gd name="connsiteY3" fmla="*/ 11049000 h 11049000"/>
            </a:gdLst>
            <a:ahLst/>
            <a:cxnLst>
              <a:cxn ang="0">
                <a:pos x="connsiteX0" y="connsiteY0"/>
              </a:cxn>
              <a:cxn ang="0">
                <a:pos x="connsiteX1" y="connsiteY1"/>
              </a:cxn>
              <a:cxn ang="0">
                <a:pos x="connsiteX2" y="connsiteY2"/>
              </a:cxn>
              <a:cxn ang="0">
                <a:pos x="connsiteX3" y="connsiteY3"/>
              </a:cxn>
            </a:cxnLst>
            <a:rect l="l" t="t" r="r" b="b"/>
            <a:pathLst>
              <a:path w="10172699" h="11049000">
                <a:moveTo>
                  <a:pt x="0" y="0"/>
                </a:moveTo>
                <a:lnTo>
                  <a:pt x="10172699" y="0"/>
                </a:lnTo>
                <a:lnTo>
                  <a:pt x="10172699" y="11049000"/>
                </a:lnTo>
                <a:lnTo>
                  <a:pt x="0" y="11049000"/>
                </a:lnTo>
                <a:close/>
              </a:path>
            </a:pathLst>
          </a:custGeom>
          <a:pattFill prst="pct60">
            <a:fgClr>
              <a:schemeClr val="bg1"/>
            </a:fgClr>
            <a:bgClr>
              <a:schemeClr val="bg1">
                <a:lumMod val="85000"/>
              </a:schemeClr>
            </a:bgClr>
          </a:pattFill>
        </p:spPr>
        <p:txBody>
          <a:bodyPr wrap="square">
            <a:noAutofit/>
          </a:bodyPr>
          <a:lstStyle/>
          <a:p>
            <a:endParaRPr lang="en-US"/>
          </a:p>
        </p:txBody>
      </p:sp>
      <p:sp>
        <p:nvSpPr>
          <p:cNvPr id="35" name="Picture Placeholder 34">
            <a:extLst>
              <a:ext uri="{FF2B5EF4-FFF2-40B4-BE49-F238E27FC236}">
                <a16:creationId xmlns:a16="http://schemas.microsoft.com/office/drawing/2014/main" id="{A70CBB4C-B5B4-4660-817C-385F23628B9D}"/>
              </a:ext>
            </a:extLst>
          </p:cNvPr>
          <p:cNvSpPr>
            <a:spLocks noGrp="1"/>
          </p:cNvSpPr>
          <p:nvPr>
            <p:ph type="pic" sz="quarter" idx="11"/>
          </p:nvPr>
        </p:nvSpPr>
        <p:spPr>
          <a:xfrm>
            <a:off x="6096000" y="647700"/>
            <a:ext cx="5314258" cy="5524500"/>
          </a:xfrm>
          <a:custGeom>
            <a:avLst/>
            <a:gdLst>
              <a:gd name="connsiteX0" fmla="*/ 0 w 10858500"/>
              <a:gd name="connsiteY0" fmla="*/ 0 h 11049000"/>
              <a:gd name="connsiteX1" fmla="*/ 10858500 w 10858500"/>
              <a:gd name="connsiteY1" fmla="*/ 0 h 11049000"/>
              <a:gd name="connsiteX2" fmla="*/ 10858500 w 10858500"/>
              <a:gd name="connsiteY2" fmla="*/ 11049000 h 11049000"/>
              <a:gd name="connsiteX3" fmla="*/ 0 w 10858500"/>
              <a:gd name="connsiteY3" fmla="*/ 11049000 h 11049000"/>
            </a:gdLst>
            <a:ahLst/>
            <a:cxnLst>
              <a:cxn ang="0">
                <a:pos x="connsiteX0" y="connsiteY0"/>
              </a:cxn>
              <a:cxn ang="0">
                <a:pos x="connsiteX1" y="connsiteY1"/>
              </a:cxn>
              <a:cxn ang="0">
                <a:pos x="connsiteX2" y="connsiteY2"/>
              </a:cxn>
              <a:cxn ang="0">
                <a:pos x="connsiteX3" y="connsiteY3"/>
              </a:cxn>
            </a:cxnLst>
            <a:rect l="l" t="t" r="r" b="b"/>
            <a:pathLst>
              <a:path w="10858500" h="11049000">
                <a:moveTo>
                  <a:pt x="0" y="0"/>
                </a:moveTo>
                <a:lnTo>
                  <a:pt x="10858500" y="0"/>
                </a:lnTo>
                <a:lnTo>
                  <a:pt x="10858500" y="11049000"/>
                </a:lnTo>
                <a:lnTo>
                  <a:pt x="0" y="11049000"/>
                </a:lnTo>
                <a:close/>
              </a:path>
            </a:pathLst>
          </a:custGeom>
          <a:pattFill prst="pct60">
            <a:fgClr>
              <a:schemeClr val="bg1"/>
            </a:fgClr>
            <a:bgClr>
              <a:schemeClr val="bg1">
                <a:lumMod val="85000"/>
              </a:schemeClr>
            </a:bgClr>
          </a:pattFill>
        </p:spPr>
        <p:txBody>
          <a:bodyPr wrap="square">
            <a:noAutofit/>
          </a:bodyPr>
          <a:lstStyle/>
          <a:p>
            <a:endParaRPr lang="en-US"/>
          </a:p>
        </p:txBody>
      </p:sp>
    </p:spTree>
    <p:extLst>
      <p:ext uri="{BB962C8B-B14F-4D97-AF65-F5344CB8AC3E}">
        <p14:creationId xmlns:p14="http://schemas.microsoft.com/office/powerpoint/2010/main" val="958797763"/>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4" dur="1700" decel="100000" fill="hold" grpId="0" nodeType="withEffect">
                                  <p:stCondLst>
                                    <p:cond delay="0"/>
                                  </p:stCondLst>
                                  <p:childTnLst>
                                    <p:set>
                                      <p:cBhvr>
                                        <p:cTn id="6" dur="1" fill="hold">
                                          <p:stCondLst>
                                            <p:cond delay="0"/>
                                          </p:stCondLst>
                                        </p:cTn>
                                        <p:tgtEl>
                                          <p:spTgt spid="33"/>
                                        </p:tgtEl>
                                        <p:attrNameLst>
                                          <p:attrName>style.visibility</p:attrName>
                                        </p:attrNameLst>
                                      </p:cBhvr>
                                      <p:to>
                                        <p:strVal val="visible"/>
                                      </p:to>
                                    </p:set>
                                    <p:anim calcmode="lin" valueType="num">
                                      <p:cBhvr additive="base">
                                        <p:cTn id="7" dur="1700" fill="hold"/>
                                        <p:tgtEl>
                                          <p:spTgt spid="33"/>
                                        </p:tgtEl>
                                        <p:attrNameLst>
                                          <p:attrName>ppt_x</p:attrName>
                                        </p:attrNameLst>
                                      </p:cBhvr>
                                      <p:tavLst>
                                        <p:tav tm="0">
                                          <p:val>
                                            <p:strVal val="#ppt_x"/>
                                          </p:val>
                                        </p:tav>
                                        <p:tav tm="100000">
                                          <p:val>
                                            <p:strVal val="#ppt_x"/>
                                          </p:val>
                                        </p:tav>
                                      </p:tavLst>
                                    </p:anim>
                                    <p:anim calcmode="lin" valueType="num">
                                      <p:cBhvr additive="base">
                                        <p:cTn id="8" dur="1700" fill="hold"/>
                                        <p:tgtEl>
                                          <p:spTgt spid="33"/>
                                        </p:tgtEl>
                                        <p:attrNameLst>
                                          <p:attrName>ppt_y</p:attrName>
                                        </p:attrNameLst>
                                      </p:cBhvr>
                                      <p:tavLst>
                                        <p:tav tm="0">
                                          <p:val>
                                            <p:strVal val="1+#ppt_h/2"/>
                                          </p:val>
                                        </p:tav>
                                        <p:tav tm="100000">
                                          <p:val>
                                            <p:strVal val="#ppt_y"/>
                                          </p:val>
                                        </p:tav>
                                      </p:tavLst>
                                    </p:anim>
                                  </p:childTnLst>
                                </p:cTn>
                              </p:par>
                              <p:par>
                                <p:cTn id="9" presetID="2" presetClass="entr" presetSubtype="1" dur="1700" decel="100000" fill="hold" grpId="0" nodeType="withEffect">
                                  <p:stCondLst>
                                    <p:cond delay="0"/>
                                  </p:stCondLst>
                                  <p:childTnLst>
                                    <p:set>
                                      <p:cBhvr>
                                        <p:cTn id="10" dur="1" fill="hold">
                                          <p:stCondLst>
                                            <p:cond delay="0"/>
                                          </p:stCondLst>
                                        </p:cTn>
                                        <p:tgtEl>
                                          <p:spTgt spid="35"/>
                                        </p:tgtEl>
                                        <p:attrNameLst>
                                          <p:attrName>style.visibility</p:attrName>
                                        </p:attrNameLst>
                                      </p:cBhvr>
                                      <p:to>
                                        <p:strVal val="visible"/>
                                      </p:to>
                                    </p:set>
                                    <p:anim calcmode="lin" valueType="num">
                                      <p:cBhvr additive="base">
                                        <p:cTn id="11" dur="1700" fill="hold"/>
                                        <p:tgtEl>
                                          <p:spTgt spid="35"/>
                                        </p:tgtEl>
                                        <p:attrNameLst>
                                          <p:attrName>ppt_x</p:attrName>
                                        </p:attrNameLst>
                                      </p:cBhvr>
                                      <p:tavLst>
                                        <p:tav tm="0">
                                          <p:val>
                                            <p:strVal val="#ppt_x"/>
                                          </p:val>
                                        </p:tav>
                                        <p:tav tm="100000">
                                          <p:val>
                                            <p:strVal val="#ppt_x"/>
                                          </p:val>
                                        </p:tav>
                                      </p:tavLst>
                                    </p:anim>
                                    <p:anim calcmode="lin" valueType="num">
                                      <p:cBhvr additive="base">
                                        <p:cTn id="12" dur="1700" fill="hold"/>
                                        <p:tgtEl>
                                          <p:spTgt spid="35"/>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animBg="1"/>
      <p:bldP spid="35" grpId="0" animBg="1"/>
    </p:bld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24_Title Slide">
    <p:spTree>
      <p:nvGrpSpPr>
        <p:cNvPr id="1" name=""/>
        <p:cNvGrpSpPr/>
        <p:nvPr/>
      </p:nvGrpSpPr>
      <p:grpSpPr>
        <a:xfrm>
          <a:off x="0" y="0"/>
          <a:ext cx="0" cy="0"/>
          <a:chOff x="0" y="0"/>
          <a:chExt cx="0" cy="0"/>
        </a:xfrm>
      </p:grpSpPr>
      <p:sp>
        <p:nvSpPr>
          <p:cNvPr id="34" name="Picture Placeholder 33">
            <a:extLst>
              <a:ext uri="{FF2B5EF4-FFF2-40B4-BE49-F238E27FC236}">
                <a16:creationId xmlns:a16="http://schemas.microsoft.com/office/drawing/2014/main" id="{2E49EDA7-E0B3-44D6-ADA1-4C6DE88415FD}"/>
              </a:ext>
            </a:extLst>
          </p:cNvPr>
          <p:cNvSpPr>
            <a:spLocks noGrp="1"/>
          </p:cNvSpPr>
          <p:nvPr>
            <p:ph type="pic" sz="quarter" idx="11"/>
          </p:nvPr>
        </p:nvSpPr>
        <p:spPr>
          <a:xfrm>
            <a:off x="781742" y="3429762"/>
            <a:ext cx="3504744" cy="2743200"/>
          </a:xfrm>
          <a:custGeom>
            <a:avLst/>
            <a:gdLst>
              <a:gd name="connsiteX0" fmla="*/ 0 w 7010400"/>
              <a:gd name="connsiteY0" fmla="*/ 0 h 5486400"/>
              <a:gd name="connsiteX1" fmla="*/ 7010400 w 7010400"/>
              <a:gd name="connsiteY1" fmla="*/ 0 h 5486400"/>
              <a:gd name="connsiteX2" fmla="*/ 7010400 w 7010400"/>
              <a:gd name="connsiteY2" fmla="*/ 5486400 h 5486400"/>
              <a:gd name="connsiteX3" fmla="*/ 0 w 7010400"/>
              <a:gd name="connsiteY3" fmla="*/ 5486400 h 5486400"/>
            </a:gdLst>
            <a:ahLst/>
            <a:cxnLst>
              <a:cxn ang="0">
                <a:pos x="connsiteX0" y="connsiteY0"/>
              </a:cxn>
              <a:cxn ang="0">
                <a:pos x="connsiteX1" y="connsiteY1"/>
              </a:cxn>
              <a:cxn ang="0">
                <a:pos x="connsiteX2" y="connsiteY2"/>
              </a:cxn>
              <a:cxn ang="0">
                <a:pos x="connsiteX3" y="connsiteY3"/>
              </a:cxn>
            </a:cxnLst>
            <a:rect l="l" t="t" r="r" b="b"/>
            <a:pathLst>
              <a:path w="7010400" h="5486400">
                <a:moveTo>
                  <a:pt x="0" y="0"/>
                </a:moveTo>
                <a:lnTo>
                  <a:pt x="7010400" y="0"/>
                </a:lnTo>
                <a:lnTo>
                  <a:pt x="7010400" y="5486400"/>
                </a:lnTo>
                <a:lnTo>
                  <a:pt x="0" y="5486400"/>
                </a:lnTo>
                <a:close/>
              </a:path>
            </a:pathLst>
          </a:custGeom>
          <a:pattFill prst="pct60">
            <a:fgClr>
              <a:schemeClr val="bg1"/>
            </a:fgClr>
            <a:bgClr>
              <a:schemeClr val="bg1">
                <a:lumMod val="85000"/>
              </a:schemeClr>
            </a:bgClr>
          </a:pattFill>
        </p:spPr>
        <p:txBody>
          <a:bodyPr wrap="square" anchor="ctr">
            <a:noAutofit/>
          </a:bodyPr>
          <a:lstStyle>
            <a:lvl1pPr>
              <a:defRPr lang="en-US" sz="1200"/>
            </a:lvl1pPr>
          </a:lstStyle>
          <a:p>
            <a:pPr marL="0" lvl="0" indent="0" algn="ctr">
              <a:buFontTx/>
              <a:buNone/>
            </a:pPr>
            <a:endParaRPr lang="en-US"/>
          </a:p>
        </p:txBody>
      </p:sp>
      <p:sp>
        <p:nvSpPr>
          <p:cNvPr id="35" name="Picture Placeholder 34">
            <a:extLst>
              <a:ext uri="{FF2B5EF4-FFF2-40B4-BE49-F238E27FC236}">
                <a16:creationId xmlns:a16="http://schemas.microsoft.com/office/drawing/2014/main" id="{D3A46C86-1D5D-4D5A-81D6-35065A5DB85B}"/>
              </a:ext>
            </a:extLst>
          </p:cNvPr>
          <p:cNvSpPr>
            <a:spLocks noGrp="1"/>
          </p:cNvSpPr>
          <p:nvPr>
            <p:ph type="pic" sz="quarter" idx="12"/>
          </p:nvPr>
        </p:nvSpPr>
        <p:spPr>
          <a:xfrm>
            <a:off x="4343628" y="685038"/>
            <a:ext cx="3504744" cy="2743200"/>
          </a:xfrm>
          <a:custGeom>
            <a:avLst/>
            <a:gdLst>
              <a:gd name="connsiteX0" fmla="*/ 0 w 7010400"/>
              <a:gd name="connsiteY0" fmla="*/ 0 h 5486400"/>
              <a:gd name="connsiteX1" fmla="*/ 7010400 w 7010400"/>
              <a:gd name="connsiteY1" fmla="*/ 0 h 5486400"/>
              <a:gd name="connsiteX2" fmla="*/ 7010400 w 7010400"/>
              <a:gd name="connsiteY2" fmla="*/ 5486400 h 5486400"/>
              <a:gd name="connsiteX3" fmla="*/ 0 w 7010400"/>
              <a:gd name="connsiteY3" fmla="*/ 5486400 h 5486400"/>
            </a:gdLst>
            <a:ahLst/>
            <a:cxnLst>
              <a:cxn ang="0">
                <a:pos x="connsiteX0" y="connsiteY0"/>
              </a:cxn>
              <a:cxn ang="0">
                <a:pos x="connsiteX1" y="connsiteY1"/>
              </a:cxn>
              <a:cxn ang="0">
                <a:pos x="connsiteX2" y="connsiteY2"/>
              </a:cxn>
              <a:cxn ang="0">
                <a:pos x="connsiteX3" y="connsiteY3"/>
              </a:cxn>
            </a:cxnLst>
            <a:rect l="l" t="t" r="r" b="b"/>
            <a:pathLst>
              <a:path w="7010400" h="5486400">
                <a:moveTo>
                  <a:pt x="0" y="0"/>
                </a:moveTo>
                <a:lnTo>
                  <a:pt x="7010400" y="0"/>
                </a:lnTo>
                <a:lnTo>
                  <a:pt x="7010400" y="5486400"/>
                </a:lnTo>
                <a:lnTo>
                  <a:pt x="0" y="5486400"/>
                </a:lnTo>
                <a:close/>
              </a:path>
            </a:pathLst>
          </a:custGeom>
          <a:pattFill prst="pct60">
            <a:fgClr>
              <a:schemeClr val="bg1"/>
            </a:fgClr>
            <a:bgClr>
              <a:schemeClr val="bg1">
                <a:lumMod val="85000"/>
              </a:schemeClr>
            </a:bgClr>
          </a:pattFill>
        </p:spPr>
        <p:txBody>
          <a:bodyPr wrap="square" anchor="ctr">
            <a:noAutofit/>
          </a:bodyPr>
          <a:lstStyle>
            <a:lvl1pPr>
              <a:defRPr lang="en-US" sz="1200"/>
            </a:lvl1pPr>
          </a:lstStyle>
          <a:p>
            <a:pPr marL="0" lvl="0" indent="0" algn="ctr">
              <a:buFontTx/>
              <a:buNone/>
            </a:pPr>
            <a:endParaRPr lang="en-US"/>
          </a:p>
        </p:txBody>
      </p:sp>
      <p:sp>
        <p:nvSpPr>
          <p:cNvPr id="36" name="Picture Placeholder 35">
            <a:extLst>
              <a:ext uri="{FF2B5EF4-FFF2-40B4-BE49-F238E27FC236}">
                <a16:creationId xmlns:a16="http://schemas.microsoft.com/office/drawing/2014/main" id="{E7A46BF3-B94D-4FE7-864C-9D33C80DC724}"/>
              </a:ext>
            </a:extLst>
          </p:cNvPr>
          <p:cNvSpPr>
            <a:spLocks noGrp="1"/>
          </p:cNvSpPr>
          <p:nvPr>
            <p:ph type="pic" sz="quarter" idx="13"/>
          </p:nvPr>
        </p:nvSpPr>
        <p:spPr>
          <a:xfrm>
            <a:off x="7875262" y="3429762"/>
            <a:ext cx="3504744" cy="2743200"/>
          </a:xfrm>
          <a:custGeom>
            <a:avLst/>
            <a:gdLst>
              <a:gd name="connsiteX0" fmla="*/ 0 w 7010400"/>
              <a:gd name="connsiteY0" fmla="*/ 0 h 5486400"/>
              <a:gd name="connsiteX1" fmla="*/ 7010400 w 7010400"/>
              <a:gd name="connsiteY1" fmla="*/ 0 h 5486400"/>
              <a:gd name="connsiteX2" fmla="*/ 7010400 w 7010400"/>
              <a:gd name="connsiteY2" fmla="*/ 5486400 h 5486400"/>
              <a:gd name="connsiteX3" fmla="*/ 0 w 7010400"/>
              <a:gd name="connsiteY3" fmla="*/ 5486400 h 5486400"/>
            </a:gdLst>
            <a:ahLst/>
            <a:cxnLst>
              <a:cxn ang="0">
                <a:pos x="connsiteX0" y="connsiteY0"/>
              </a:cxn>
              <a:cxn ang="0">
                <a:pos x="connsiteX1" y="connsiteY1"/>
              </a:cxn>
              <a:cxn ang="0">
                <a:pos x="connsiteX2" y="connsiteY2"/>
              </a:cxn>
              <a:cxn ang="0">
                <a:pos x="connsiteX3" y="connsiteY3"/>
              </a:cxn>
            </a:cxnLst>
            <a:rect l="l" t="t" r="r" b="b"/>
            <a:pathLst>
              <a:path w="7010400" h="5486400">
                <a:moveTo>
                  <a:pt x="0" y="0"/>
                </a:moveTo>
                <a:lnTo>
                  <a:pt x="7010400" y="0"/>
                </a:lnTo>
                <a:lnTo>
                  <a:pt x="7010400" y="5486400"/>
                </a:lnTo>
                <a:lnTo>
                  <a:pt x="0" y="5486400"/>
                </a:lnTo>
                <a:close/>
              </a:path>
            </a:pathLst>
          </a:custGeom>
          <a:pattFill prst="pct60">
            <a:fgClr>
              <a:schemeClr val="bg1"/>
            </a:fgClr>
            <a:bgClr>
              <a:schemeClr val="bg1">
                <a:lumMod val="85000"/>
              </a:schemeClr>
            </a:bgClr>
          </a:pattFill>
        </p:spPr>
        <p:txBody>
          <a:bodyPr wrap="square" anchor="ctr">
            <a:noAutofit/>
          </a:bodyPr>
          <a:lstStyle>
            <a:lvl1pPr>
              <a:defRPr lang="en-US" sz="1200"/>
            </a:lvl1pPr>
          </a:lstStyle>
          <a:p>
            <a:pPr marL="0" lvl="0" indent="0" algn="ctr">
              <a:buFontTx/>
              <a:buNone/>
            </a:pPr>
            <a:endParaRPr lang="en-US"/>
          </a:p>
        </p:txBody>
      </p:sp>
    </p:spTree>
    <p:extLst>
      <p:ext uri="{BB962C8B-B14F-4D97-AF65-F5344CB8AC3E}">
        <p14:creationId xmlns:p14="http://schemas.microsoft.com/office/powerpoint/2010/main" val="739534064"/>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4" dur="1000" decel="100000" fill="hold" grpId="0" nodeType="withEffect">
                                  <p:stCondLst>
                                    <p:cond delay="0"/>
                                  </p:stCondLst>
                                  <p:childTnLst>
                                    <p:set>
                                      <p:cBhvr>
                                        <p:cTn id="6" dur="1" fill="hold">
                                          <p:stCondLst>
                                            <p:cond delay="0"/>
                                          </p:stCondLst>
                                        </p:cTn>
                                        <p:tgtEl>
                                          <p:spTgt spid="34"/>
                                        </p:tgtEl>
                                        <p:attrNameLst>
                                          <p:attrName>style.visibility</p:attrName>
                                        </p:attrNameLst>
                                      </p:cBhvr>
                                      <p:to>
                                        <p:strVal val="visible"/>
                                      </p:to>
                                    </p:set>
                                    <p:anim calcmode="lin" valueType="num">
                                      <p:cBhvr additive="base">
                                        <p:cTn id="7" dur="1000" fill="hold"/>
                                        <p:tgtEl>
                                          <p:spTgt spid="34"/>
                                        </p:tgtEl>
                                        <p:attrNameLst>
                                          <p:attrName>ppt_x</p:attrName>
                                        </p:attrNameLst>
                                      </p:cBhvr>
                                      <p:tavLst>
                                        <p:tav tm="0">
                                          <p:val>
                                            <p:strVal val="#ppt_x"/>
                                          </p:val>
                                        </p:tav>
                                        <p:tav tm="100000">
                                          <p:val>
                                            <p:strVal val="#ppt_x"/>
                                          </p:val>
                                        </p:tav>
                                      </p:tavLst>
                                    </p:anim>
                                    <p:anim calcmode="lin" valueType="num">
                                      <p:cBhvr additive="base">
                                        <p:cTn id="8" dur="1000" fill="hold"/>
                                        <p:tgtEl>
                                          <p:spTgt spid="34"/>
                                        </p:tgtEl>
                                        <p:attrNameLst>
                                          <p:attrName>ppt_y</p:attrName>
                                        </p:attrNameLst>
                                      </p:cBhvr>
                                      <p:tavLst>
                                        <p:tav tm="0">
                                          <p:val>
                                            <p:strVal val="1+#ppt_h/2"/>
                                          </p:val>
                                        </p:tav>
                                        <p:tav tm="100000">
                                          <p:val>
                                            <p:strVal val="#ppt_y"/>
                                          </p:val>
                                        </p:tav>
                                      </p:tavLst>
                                    </p:anim>
                                  </p:childTnLst>
                                </p:cTn>
                              </p:par>
                              <p:par>
                                <p:cTn id="9" presetID="2" presetClass="entr" presetSubtype="1" dur="1000" decel="100000" fill="hold" grpId="0" nodeType="withEffect">
                                  <p:stCondLst>
                                    <p:cond delay="200"/>
                                  </p:stCondLst>
                                  <p:childTnLst>
                                    <p:set>
                                      <p:cBhvr>
                                        <p:cTn id="10" dur="1" fill="hold">
                                          <p:stCondLst>
                                            <p:cond delay="0"/>
                                          </p:stCondLst>
                                        </p:cTn>
                                        <p:tgtEl>
                                          <p:spTgt spid="35"/>
                                        </p:tgtEl>
                                        <p:attrNameLst>
                                          <p:attrName>style.visibility</p:attrName>
                                        </p:attrNameLst>
                                      </p:cBhvr>
                                      <p:to>
                                        <p:strVal val="visible"/>
                                      </p:to>
                                    </p:set>
                                    <p:anim calcmode="lin" valueType="num">
                                      <p:cBhvr additive="base">
                                        <p:cTn id="11" dur="1000" fill="hold"/>
                                        <p:tgtEl>
                                          <p:spTgt spid="35"/>
                                        </p:tgtEl>
                                        <p:attrNameLst>
                                          <p:attrName>ppt_x</p:attrName>
                                        </p:attrNameLst>
                                      </p:cBhvr>
                                      <p:tavLst>
                                        <p:tav tm="0">
                                          <p:val>
                                            <p:strVal val="#ppt_x"/>
                                          </p:val>
                                        </p:tav>
                                        <p:tav tm="100000">
                                          <p:val>
                                            <p:strVal val="#ppt_x"/>
                                          </p:val>
                                        </p:tav>
                                      </p:tavLst>
                                    </p:anim>
                                    <p:anim calcmode="lin" valueType="num">
                                      <p:cBhvr additive="base">
                                        <p:cTn id="12" dur="1000" fill="hold"/>
                                        <p:tgtEl>
                                          <p:spTgt spid="35"/>
                                        </p:tgtEl>
                                        <p:attrNameLst>
                                          <p:attrName>ppt_y</p:attrName>
                                        </p:attrNameLst>
                                      </p:cBhvr>
                                      <p:tavLst>
                                        <p:tav tm="0">
                                          <p:val>
                                            <p:strVal val="0-#ppt_h/2"/>
                                          </p:val>
                                        </p:tav>
                                        <p:tav tm="100000">
                                          <p:val>
                                            <p:strVal val="#ppt_y"/>
                                          </p:val>
                                        </p:tav>
                                      </p:tavLst>
                                    </p:anim>
                                  </p:childTnLst>
                                </p:cTn>
                              </p:par>
                              <p:par>
                                <p:cTn id="13" presetID="2" presetClass="entr" presetSubtype="4" dur="1000" decel="100000" fill="hold" grpId="0" nodeType="withEffect">
                                  <p:stCondLst>
                                    <p:cond delay="400"/>
                                  </p:stCondLst>
                                  <p:childTnLst>
                                    <p:set>
                                      <p:cBhvr>
                                        <p:cTn id="14" dur="1" fill="hold">
                                          <p:stCondLst>
                                            <p:cond delay="0"/>
                                          </p:stCondLst>
                                        </p:cTn>
                                        <p:tgtEl>
                                          <p:spTgt spid="36"/>
                                        </p:tgtEl>
                                        <p:attrNameLst>
                                          <p:attrName>style.visibility</p:attrName>
                                        </p:attrNameLst>
                                      </p:cBhvr>
                                      <p:to>
                                        <p:strVal val="visible"/>
                                      </p:to>
                                    </p:set>
                                    <p:anim calcmode="lin" valueType="num">
                                      <p:cBhvr additive="base">
                                        <p:cTn id="15" dur="1000" fill="hold"/>
                                        <p:tgtEl>
                                          <p:spTgt spid="36"/>
                                        </p:tgtEl>
                                        <p:attrNameLst>
                                          <p:attrName>ppt_x</p:attrName>
                                        </p:attrNameLst>
                                      </p:cBhvr>
                                      <p:tavLst>
                                        <p:tav tm="0">
                                          <p:val>
                                            <p:strVal val="#ppt_x"/>
                                          </p:val>
                                        </p:tav>
                                        <p:tav tm="100000">
                                          <p:val>
                                            <p:strVal val="#ppt_x"/>
                                          </p:val>
                                        </p:tav>
                                      </p:tavLst>
                                    </p:anim>
                                    <p:anim calcmode="lin" valueType="num">
                                      <p:cBhvr additive="base">
                                        <p:cTn id="16" dur="1000" fill="hold"/>
                                        <p:tgtEl>
                                          <p:spTgt spid="3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P spid="35" grpId="0" animBg="1"/>
      <p:bldP spid="36" grpId="0" animBg="1"/>
    </p:bld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25_Title Slide">
    <p:spTree>
      <p:nvGrpSpPr>
        <p:cNvPr id="1" name=""/>
        <p:cNvGrpSpPr/>
        <p:nvPr/>
      </p:nvGrpSpPr>
      <p:grpSpPr>
        <a:xfrm>
          <a:off x="0" y="0"/>
          <a:ext cx="0" cy="0"/>
          <a:chOff x="0" y="0"/>
          <a:chExt cx="0" cy="0"/>
        </a:xfrm>
      </p:grpSpPr>
      <p:sp>
        <p:nvSpPr>
          <p:cNvPr id="37" name="Picture Placeholder 36">
            <a:extLst>
              <a:ext uri="{FF2B5EF4-FFF2-40B4-BE49-F238E27FC236}">
                <a16:creationId xmlns:a16="http://schemas.microsoft.com/office/drawing/2014/main" id="{0244A630-990B-44C6-B5C2-E447990CE8E6}"/>
              </a:ext>
            </a:extLst>
          </p:cNvPr>
          <p:cNvSpPr>
            <a:spLocks noGrp="1"/>
          </p:cNvSpPr>
          <p:nvPr>
            <p:ph type="pic" sz="quarter" idx="11"/>
          </p:nvPr>
        </p:nvSpPr>
        <p:spPr>
          <a:xfrm>
            <a:off x="781742" y="667131"/>
            <a:ext cx="3504744" cy="2762631"/>
          </a:xfrm>
          <a:custGeom>
            <a:avLst/>
            <a:gdLst>
              <a:gd name="connsiteX0" fmla="*/ 0 w 7010400"/>
              <a:gd name="connsiteY0" fmla="*/ 0 h 5525261"/>
              <a:gd name="connsiteX1" fmla="*/ 7010400 w 7010400"/>
              <a:gd name="connsiteY1" fmla="*/ 0 h 5525261"/>
              <a:gd name="connsiteX2" fmla="*/ 7010400 w 7010400"/>
              <a:gd name="connsiteY2" fmla="*/ 5525261 h 5525261"/>
              <a:gd name="connsiteX3" fmla="*/ 0 w 7010400"/>
              <a:gd name="connsiteY3" fmla="*/ 5525261 h 5525261"/>
            </a:gdLst>
            <a:ahLst/>
            <a:cxnLst>
              <a:cxn ang="0">
                <a:pos x="connsiteX0" y="connsiteY0"/>
              </a:cxn>
              <a:cxn ang="0">
                <a:pos x="connsiteX1" y="connsiteY1"/>
              </a:cxn>
              <a:cxn ang="0">
                <a:pos x="connsiteX2" y="connsiteY2"/>
              </a:cxn>
              <a:cxn ang="0">
                <a:pos x="connsiteX3" y="connsiteY3"/>
              </a:cxn>
            </a:cxnLst>
            <a:rect l="l" t="t" r="r" b="b"/>
            <a:pathLst>
              <a:path w="7010400" h="5525261">
                <a:moveTo>
                  <a:pt x="0" y="0"/>
                </a:moveTo>
                <a:lnTo>
                  <a:pt x="7010400" y="0"/>
                </a:lnTo>
                <a:lnTo>
                  <a:pt x="7010400" y="5525261"/>
                </a:lnTo>
                <a:lnTo>
                  <a:pt x="0" y="5525261"/>
                </a:lnTo>
                <a:close/>
              </a:path>
            </a:pathLst>
          </a:custGeom>
          <a:pattFill prst="pct60">
            <a:fgClr>
              <a:schemeClr val="bg1"/>
            </a:fgClr>
            <a:bgClr>
              <a:schemeClr val="bg1">
                <a:lumMod val="85000"/>
              </a:schemeClr>
            </a:bgClr>
          </a:pattFill>
        </p:spPr>
        <p:txBody>
          <a:bodyPr wrap="square" anchor="ctr">
            <a:noAutofit/>
          </a:bodyPr>
          <a:lstStyle>
            <a:lvl1pPr>
              <a:defRPr lang="en-US" sz="1200"/>
            </a:lvl1pPr>
          </a:lstStyle>
          <a:p>
            <a:pPr marL="0" lvl="0" indent="0" algn="ctr">
              <a:buFontTx/>
              <a:buNone/>
            </a:pPr>
            <a:endParaRPr lang="en-US"/>
          </a:p>
        </p:txBody>
      </p:sp>
      <p:sp>
        <p:nvSpPr>
          <p:cNvPr id="38" name="Picture Placeholder 37">
            <a:extLst>
              <a:ext uri="{FF2B5EF4-FFF2-40B4-BE49-F238E27FC236}">
                <a16:creationId xmlns:a16="http://schemas.microsoft.com/office/drawing/2014/main" id="{937581DB-28D0-4142-B51E-CE474A5445BA}"/>
              </a:ext>
            </a:extLst>
          </p:cNvPr>
          <p:cNvSpPr>
            <a:spLocks noGrp="1"/>
          </p:cNvSpPr>
          <p:nvPr>
            <p:ph type="pic" sz="quarter" idx="12"/>
          </p:nvPr>
        </p:nvSpPr>
        <p:spPr>
          <a:xfrm>
            <a:off x="781742" y="3429761"/>
            <a:ext cx="7123771" cy="2743200"/>
          </a:xfrm>
          <a:custGeom>
            <a:avLst/>
            <a:gdLst>
              <a:gd name="connsiteX0" fmla="*/ 0 w 14020799"/>
              <a:gd name="connsiteY0" fmla="*/ 0 h 5486400"/>
              <a:gd name="connsiteX1" fmla="*/ 14020799 w 14020799"/>
              <a:gd name="connsiteY1" fmla="*/ 0 h 5486400"/>
              <a:gd name="connsiteX2" fmla="*/ 14020799 w 14020799"/>
              <a:gd name="connsiteY2" fmla="*/ 5486400 h 5486400"/>
              <a:gd name="connsiteX3" fmla="*/ 0 w 14020799"/>
              <a:gd name="connsiteY3" fmla="*/ 5486400 h 5486400"/>
            </a:gdLst>
            <a:ahLst/>
            <a:cxnLst>
              <a:cxn ang="0">
                <a:pos x="connsiteX0" y="connsiteY0"/>
              </a:cxn>
              <a:cxn ang="0">
                <a:pos x="connsiteX1" y="connsiteY1"/>
              </a:cxn>
              <a:cxn ang="0">
                <a:pos x="connsiteX2" y="connsiteY2"/>
              </a:cxn>
              <a:cxn ang="0">
                <a:pos x="connsiteX3" y="connsiteY3"/>
              </a:cxn>
            </a:cxnLst>
            <a:rect l="l" t="t" r="r" b="b"/>
            <a:pathLst>
              <a:path w="14020799" h="5486400">
                <a:moveTo>
                  <a:pt x="0" y="0"/>
                </a:moveTo>
                <a:lnTo>
                  <a:pt x="14020799" y="0"/>
                </a:lnTo>
                <a:lnTo>
                  <a:pt x="14020799" y="5486400"/>
                </a:lnTo>
                <a:lnTo>
                  <a:pt x="0" y="5486400"/>
                </a:lnTo>
                <a:close/>
              </a:path>
            </a:pathLst>
          </a:custGeom>
          <a:pattFill prst="pct60">
            <a:fgClr>
              <a:schemeClr val="bg1"/>
            </a:fgClr>
            <a:bgClr>
              <a:schemeClr val="bg1">
                <a:lumMod val="85000"/>
              </a:schemeClr>
            </a:bgClr>
          </a:pattFill>
        </p:spPr>
        <p:txBody>
          <a:bodyPr wrap="square" anchor="ctr">
            <a:noAutofit/>
          </a:bodyPr>
          <a:lstStyle>
            <a:lvl1pPr>
              <a:defRPr lang="en-US" sz="1200"/>
            </a:lvl1pPr>
          </a:lstStyle>
          <a:p>
            <a:pPr marL="0" lvl="0" indent="0" algn="ctr">
              <a:buFontTx/>
              <a:buNone/>
            </a:pPr>
            <a:endParaRPr lang="en-US"/>
          </a:p>
        </p:txBody>
      </p:sp>
      <p:sp>
        <p:nvSpPr>
          <p:cNvPr id="39" name="Picture Placeholder 38">
            <a:extLst>
              <a:ext uri="{FF2B5EF4-FFF2-40B4-BE49-F238E27FC236}">
                <a16:creationId xmlns:a16="http://schemas.microsoft.com/office/drawing/2014/main" id="{1B605010-9C23-46F9-B058-970E7275A1D0}"/>
              </a:ext>
            </a:extLst>
          </p:cNvPr>
          <p:cNvSpPr>
            <a:spLocks noGrp="1"/>
          </p:cNvSpPr>
          <p:nvPr>
            <p:ph type="pic" sz="quarter" idx="13"/>
          </p:nvPr>
        </p:nvSpPr>
        <p:spPr>
          <a:xfrm>
            <a:off x="7905514" y="647700"/>
            <a:ext cx="3504744" cy="5525261"/>
          </a:xfrm>
          <a:custGeom>
            <a:avLst/>
            <a:gdLst>
              <a:gd name="connsiteX0" fmla="*/ 0 w 7010401"/>
              <a:gd name="connsiteY0" fmla="*/ 0 h 11050522"/>
              <a:gd name="connsiteX1" fmla="*/ 7010401 w 7010401"/>
              <a:gd name="connsiteY1" fmla="*/ 0 h 11050522"/>
              <a:gd name="connsiteX2" fmla="*/ 7010401 w 7010401"/>
              <a:gd name="connsiteY2" fmla="*/ 11050522 h 11050522"/>
              <a:gd name="connsiteX3" fmla="*/ 0 w 7010401"/>
              <a:gd name="connsiteY3" fmla="*/ 11050522 h 11050522"/>
            </a:gdLst>
            <a:ahLst/>
            <a:cxnLst>
              <a:cxn ang="0">
                <a:pos x="connsiteX0" y="connsiteY0"/>
              </a:cxn>
              <a:cxn ang="0">
                <a:pos x="connsiteX1" y="connsiteY1"/>
              </a:cxn>
              <a:cxn ang="0">
                <a:pos x="connsiteX2" y="connsiteY2"/>
              </a:cxn>
              <a:cxn ang="0">
                <a:pos x="connsiteX3" y="connsiteY3"/>
              </a:cxn>
            </a:cxnLst>
            <a:rect l="l" t="t" r="r" b="b"/>
            <a:pathLst>
              <a:path w="7010401" h="11050522">
                <a:moveTo>
                  <a:pt x="0" y="0"/>
                </a:moveTo>
                <a:lnTo>
                  <a:pt x="7010401" y="0"/>
                </a:lnTo>
                <a:lnTo>
                  <a:pt x="7010401" y="11050522"/>
                </a:lnTo>
                <a:lnTo>
                  <a:pt x="0" y="11050522"/>
                </a:lnTo>
                <a:close/>
              </a:path>
            </a:pathLst>
          </a:custGeom>
          <a:pattFill prst="pct60">
            <a:fgClr>
              <a:schemeClr val="bg1"/>
            </a:fgClr>
            <a:bgClr>
              <a:schemeClr val="bg1">
                <a:lumMod val="85000"/>
              </a:schemeClr>
            </a:bgClr>
          </a:pattFill>
        </p:spPr>
        <p:txBody>
          <a:bodyPr wrap="square" anchor="ctr">
            <a:noAutofit/>
          </a:bodyPr>
          <a:lstStyle>
            <a:lvl1pPr>
              <a:defRPr lang="en-US" sz="1200"/>
            </a:lvl1pPr>
          </a:lstStyle>
          <a:p>
            <a:pPr marL="0" lvl="0" indent="0" algn="ctr">
              <a:buFontTx/>
              <a:buNone/>
            </a:pPr>
            <a:endParaRPr lang="en-US"/>
          </a:p>
        </p:txBody>
      </p:sp>
    </p:spTree>
    <p:extLst>
      <p:ext uri="{BB962C8B-B14F-4D97-AF65-F5344CB8AC3E}">
        <p14:creationId xmlns:p14="http://schemas.microsoft.com/office/powerpoint/2010/main" val="744439276"/>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8" dur="1000" decel="100000" fill="hold" grpId="0" nodeType="withEffect">
                                  <p:stCondLst>
                                    <p:cond delay="0"/>
                                  </p:stCondLst>
                                  <p:childTnLst>
                                    <p:set>
                                      <p:cBhvr>
                                        <p:cTn id="6" dur="1" fill="hold">
                                          <p:stCondLst>
                                            <p:cond delay="0"/>
                                          </p:stCondLst>
                                        </p:cTn>
                                        <p:tgtEl>
                                          <p:spTgt spid="37"/>
                                        </p:tgtEl>
                                        <p:attrNameLst>
                                          <p:attrName>style.visibility</p:attrName>
                                        </p:attrNameLst>
                                      </p:cBhvr>
                                      <p:to>
                                        <p:strVal val="visible"/>
                                      </p:to>
                                    </p:set>
                                    <p:anim calcmode="lin" valueType="num">
                                      <p:cBhvr additive="base">
                                        <p:cTn id="7" dur="1000" fill="hold"/>
                                        <p:tgtEl>
                                          <p:spTgt spid="37"/>
                                        </p:tgtEl>
                                        <p:attrNameLst>
                                          <p:attrName>ppt_x</p:attrName>
                                        </p:attrNameLst>
                                      </p:cBhvr>
                                      <p:tavLst>
                                        <p:tav tm="0">
                                          <p:val>
                                            <p:strVal val="0-#ppt_w/2"/>
                                          </p:val>
                                        </p:tav>
                                        <p:tav tm="100000">
                                          <p:val>
                                            <p:strVal val="#ppt_x"/>
                                          </p:val>
                                        </p:tav>
                                      </p:tavLst>
                                    </p:anim>
                                    <p:anim calcmode="lin" valueType="num">
                                      <p:cBhvr additive="base">
                                        <p:cTn id="8" dur="1000" fill="hold"/>
                                        <p:tgtEl>
                                          <p:spTgt spid="37"/>
                                        </p:tgtEl>
                                        <p:attrNameLst>
                                          <p:attrName>ppt_y</p:attrName>
                                        </p:attrNameLst>
                                      </p:cBhvr>
                                      <p:tavLst>
                                        <p:tav tm="0">
                                          <p:val>
                                            <p:strVal val="#ppt_y"/>
                                          </p:val>
                                        </p:tav>
                                        <p:tav tm="100000">
                                          <p:val>
                                            <p:strVal val="#ppt_y"/>
                                          </p:val>
                                        </p:tav>
                                      </p:tavLst>
                                    </p:anim>
                                  </p:childTnLst>
                                </p:cTn>
                              </p:par>
                              <p:par>
                                <p:cTn id="9" presetID="2" presetClass="entr" presetSubtype="4" dur="1000" decel="100000" fill="hold" grpId="0" nodeType="withEffect">
                                  <p:stCondLst>
                                    <p:cond delay="200"/>
                                  </p:stCondLst>
                                  <p:childTnLst>
                                    <p:set>
                                      <p:cBhvr>
                                        <p:cTn id="10" dur="1" fill="hold">
                                          <p:stCondLst>
                                            <p:cond delay="0"/>
                                          </p:stCondLst>
                                        </p:cTn>
                                        <p:tgtEl>
                                          <p:spTgt spid="38"/>
                                        </p:tgtEl>
                                        <p:attrNameLst>
                                          <p:attrName>style.visibility</p:attrName>
                                        </p:attrNameLst>
                                      </p:cBhvr>
                                      <p:to>
                                        <p:strVal val="visible"/>
                                      </p:to>
                                    </p:set>
                                    <p:anim calcmode="lin" valueType="num">
                                      <p:cBhvr additive="base">
                                        <p:cTn id="11" dur="1000" fill="hold"/>
                                        <p:tgtEl>
                                          <p:spTgt spid="38"/>
                                        </p:tgtEl>
                                        <p:attrNameLst>
                                          <p:attrName>ppt_x</p:attrName>
                                        </p:attrNameLst>
                                      </p:cBhvr>
                                      <p:tavLst>
                                        <p:tav tm="0">
                                          <p:val>
                                            <p:strVal val="#ppt_x"/>
                                          </p:val>
                                        </p:tav>
                                        <p:tav tm="100000">
                                          <p:val>
                                            <p:strVal val="#ppt_x"/>
                                          </p:val>
                                        </p:tav>
                                      </p:tavLst>
                                    </p:anim>
                                    <p:anim calcmode="lin" valueType="num">
                                      <p:cBhvr additive="base">
                                        <p:cTn id="12" dur="1000" fill="hold"/>
                                        <p:tgtEl>
                                          <p:spTgt spid="38"/>
                                        </p:tgtEl>
                                        <p:attrNameLst>
                                          <p:attrName>ppt_y</p:attrName>
                                        </p:attrNameLst>
                                      </p:cBhvr>
                                      <p:tavLst>
                                        <p:tav tm="0">
                                          <p:val>
                                            <p:strVal val="1+#ppt_h/2"/>
                                          </p:val>
                                        </p:tav>
                                        <p:tav tm="100000">
                                          <p:val>
                                            <p:strVal val="#ppt_y"/>
                                          </p:val>
                                        </p:tav>
                                      </p:tavLst>
                                    </p:anim>
                                  </p:childTnLst>
                                </p:cTn>
                              </p:par>
                              <p:par>
                                <p:cTn id="13" presetID="2" presetClass="entr" presetSubtype="2" dur="1000" decel="100000" fill="hold" grpId="0" nodeType="withEffect">
                                  <p:stCondLst>
                                    <p:cond delay="400"/>
                                  </p:stCondLst>
                                  <p:childTnLst>
                                    <p:set>
                                      <p:cBhvr>
                                        <p:cTn id="14" dur="1" fill="hold">
                                          <p:stCondLst>
                                            <p:cond delay="0"/>
                                          </p:stCondLst>
                                        </p:cTn>
                                        <p:tgtEl>
                                          <p:spTgt spid="39"/>
                                        </p:tgtEl>
                                        <p:attrNameLst>
                                          <p:attrName>style.visibility</p:attrName>
                                        </p:attrNameLst>
                                      </p:cBhvr>
                                      <p:to>
                                        <p:strVal val="visible"/>
                                      </p:to>
                                    </p:set>
                                    <p:anim calcmode="lin" valueType="num">
                                      <p:cBhvr additive="base">
                                        <p:cTn id="15" dur="1000" fill="hold"/>
                                        <p:tgtEl>
                                          <p:spTgt spid="39"/>
                                        </p:tgtEl>
                                        <p:attrNameLst>
                                          <p:attrName>ppt_x</p:attrName>
                                        </p:attrNameLst>
                                      </p:cBhvr>
                                      <p:tavLst>
                                        <p:tav tm="0">
                                          <p:val>
                                            <p:strVal val="1+#ppt_w/2"/>
                                          </p:val>
                                        </p:tav>
                                        <p:tav tm="100000">
                                          <p:val>
                                            <p:strVal val="#ppt_x"/>
                                          </p:val>
                                        </p:tav>
                                      </p:tavLst>
                                    </p:anim>
                                    <p:anim calcmode="lin" valueType="num">
                                      <p:cBhvr additive="base">
                                        <p:cTn id="16" dur="1000" fill="hold"/>
                                        <p:tgtEl>
                                          <p:spTgt spid="3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animBg="1"/>
      <p:bldP spid="38" grpId="0" animBg="1"/>
      <p:bldP spid="39" grpId="0" animBg="1"/>
    </p:bld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26_Title Slide">
    <p:spTree>
      <p:nvGrpSpPr>
        <p:cNvPr id="1" name=""/>
        <p:cNvGrpSpPr/>
        <p:nvPr/>
      </p:nvGrpSpPr>
      <p:grpSpPr>
        <a:xfrm>
          <a:off x="0" y="0"/>
          <a:ext cx="0" cy="0"/>
          <a:chOff x="0" y="0"/>
          <a:chExt cx="0" cy="0"/>
        </a:xfrm>
      </p:grpSpPr>
      <p:sp>
        <p:nvSpPr>
          <p:cNvPr id="35" name="Picture Placeholder 34">
            <a:extLst>
              <a:ext uri="{FF2B5EF4-FFF2-40B4-BE49-F238E27FC236}">
                <a16:creationId xmlns:a16="http://schemas.microsoft.com/office/drawing/2014/main" id="{55541C4D-A1D1-493A-8547-B708240F2F00}"/>
              </a:ext>
            </a:extLst>
          </p:cNvPr>
          <p:cNvSpPr>
            <a:spLocks noGrp="1"/>
          </p:cNvSpPr>
          <p:nvPr>
            <p:ph type="pic" sz="quarter" idx="11"/>
          </p:nvPr>
        </p:nvSpPr>
        <p:spPr>
          <a:xfrm>
            <a:off x="848968" y="4357771"/>
            <a:ext cx="3504744" cy="2619375"/>
          </a:xfrm>
          <a:custGeom>
            <a:avLst/>
            <a:gdLst>
              <a:gd name="connsiteX0" fmla="*/ 0 w 7010400"/>
              <a:gd name="connsiteY0" fmla="*/ 0 h 5238750"/>
              <a:gd name="connsiteX1" fmla="*/ 7010400 w 7010400"/>
              <a:gd name="connsiteY1" fmla="*/ 0 h 5238750"/>
              <a:gd name="connsiteX2" fmla="*/ 7010400 w 7010400"/>
              <a:gd name="connsiteY2" fmla="*/ 5238750 h 5238750"/>
              <a:gd name="connsiteX3" fmla="*/ 0 w 7010400"/>
              <a:gd name="connsiteY3" fmla="*/ 5238750 h 5238750"/>
            </a:gdLst>
            <a:ahLst/>
            <a:cxnLst>
              <a:cxn ang="0">
                <a:pos x="connsiteX0" y="connsiteY0"/>
              </a:cxn>
              <a:cxn ang="0">
                <a:pos x="connsiteX1" y="connsiteY1"/>
              </a:cxn>
              <a:cxn ang="0">
                <a:pos x="connsiteX2" y="connsiteY2"/>
              </a:cxn>
              <a:cxn ang="0">
                <a:pos x="connsiteX3" y="connsiteY3"/>
              </a:cxn>
            </a:cxnLst>
            <a:rect l="l" t="t" r="r" b="b"/>
            <a:pathLst>
              <a:path w="7010400" h="5238750">
                <a:moveTo>
                  <a:pt x="0" y="0"/>
                </a:moveTo>
                <a:lnTo>
                  <a:pt x="7010400" y="0"/>
                </a:lnTo>
                <a:lnTo>
                  <a:pt x="7010400" y="5238750"/>
                </a:lnTo>
                <a:lnTo>
                  <a:pt x="0" y="5238750"/>
                </a:lnTo>
                <a:close/>
              </a:path>
            </a:pathLst>
          </a:custGeom>
          <a:pattFill prst="pct60">
            <a:fgClr>
              <a:schemeClr val="bg1"/>
            </a:fgClr>
            <a:bgClr>
              <a:schemeClr val="bg1">
                <a:lumMod val="85000"/>
              </a:schemeClr>
            </a:bgClr>
          </a:pattFill>
        </p:spPr>
        <p:txBody>
          <a:bodyPr wrap="square" anchor="ctr">
            <a:noAutofit/>
          </a:bodyPr>
          <a:lstStyle>
            <a:lvl1pPr>
              <a:defRPr lang="en-US" sz="1200"/>
            </a:lvl1pPr>
          </a:lstStyle>
          <a:p>
            <a:pPr marL="0" lvl="0" indent="0" algn="ctr">
              <a:buFontTx/>
              <a:buNone/>
            </a:pPr>
            <a:endParaRPr lang="en-US"/>
          </a:p>
        </p:txBody>
      </p:sp>
      <p:sp>
        <p:nvSpPr>
          <p:cNvPr id="38" name="Picture Placeholder 37">
            <a:extLst>
              <a:ext uri="{FF2B5EF4-FFF2-40B4-BE49-F238E27FC236}">
                <a16:creationId xmlns:a16="http://schemas.microsoft.com/office/drawing/2014/main" id="{10323BDD-FDAD-4B17-9EC0-CBB895127DE2}"/>
              </a:ext>
            </a:extLst>
          </p:cNvPr>
          <p:cNvSpPr>
            <a:spLocks noGrp="1"/>
          </p:cNvSpPr>
          <p:nvPr>
            <p:ph type="pic" sz="quarter" idx="12"/>
          </p:nvPr>
        </p:nvSpPr>
        <p:spPr>
          <a:xfrm>
            <a:off x="4353711" y="4357772"/>
            <a:ext cx="3504744" cy="2619375"/>
          </a:xfrm>
          <a:custGeom>
            <a:avLst/>
            <a:gdLst>
              <a:gd name="connsiteX0" fmla="*/ 0 w 7010400"/>
              <a:gd name="connsiteY0" fmla="*/ 0 h 5238750"/>
              <a:gd name="connsiteX1" fmla="*/ 7010400 w 7010400"/>
              <a:gd name="connsiteY1" fmla="*/ 0 h 5238750"/>
              <a:gd name="connsiteX2" fmla="*/ 7010400 w 7010400"/>
              <a:gd name="connsiteY2" fmla="*/ 5238750 h 5238750"/>
              <a:gd name="connsiteX3" fmla="*/ 0 w 7010400"/>
              <a:gd name="connsiteY3" fmla="*/ 5238750 h 5238750"/>
            </a:gdLst>
            <a:ahLst/>
            <a:cxnLst>
              <a:cxn ang="0">
                <a:pos x="connsiteX0" y="connsiteY0"/>
              </a:cxn>
              <a:cxn ang="0">
                <a:pos x="connsiteX1" y="connsiteY1"/>
              </a:cxn>
              <a:cxn ang="0">
                <a:pos x="connsiteX2" y="connsiteY2"/>
              </a:cxn>
              <a:cxn ang="0">
                <a:pos x="connsiteX3" y="connsiteY3"/>
              </a:cxn>
            </a:cxnLst>
            <a:rect l="l" t="t" r="r" b="b"/>
            <a:pathLst>
              <a:path w="7010400" h="5238750">
                <a:moveTo>
                  <a:pt x="0" y="0"/>
                </a:moveTo>
                <a:lnTo>
                  <a:pt x="7010400" y="0"/>
                </a:lnTo>
                <a:lnTo>
                  <a:pt x="7010400" y="5238750"/>
                </a:lnTo>
                <a:lnTo>
                  <a:pt x="0" y="5238750"/>
                </a:lnTo>
                <a:close/>
              </a:path>
            </a:pathLst>
          </a:custGeom>
          <a:pattFill prst="pct60">
            <a:fgClr>
              <a:schemeClr val="bg1"/>
            </a:fgClr>
            <a:bgClr>
              <a:schemeClr val="bg1">
                <a:lumMod val="85000"/>
              </a:schemeClr>
            </a:bgClr>
          </a:pattFill>
        </p:spPr>
        <p:txBody>
          <a:bodyPr wrap="square" anchor="ctr">
            <a:noAutofit/>
          </a:bodyPr>
          <a:lstStyle>
            <a:lvl1pPr>
              <a:defRPr lang="en-US" sz="1200"/>
            </a:lvl1pPr>
          </a:lstStyle>
          <a:p>
            <a:pPr marL="0" lvl="0" indent="0" algn="ctr">
              <a:buFontTx/>
              <a:buNone/>
            </a:pPr>
            <a:endParaRPr lang="en-US"/>
          </a:p>
        </p:txBody>
      </p:sp>
      <p:sp>
        <p:nvSpPr>
          <p:cNvPr id="39" name="Picture Placeholder 38">
            <a:extLst>
              <a:ext uri="{FF2B5EF4-FFF2-40B4-BE49-F238E27FC236}">
                <a16:creationId xmlns:a16="http://schemas.microsoft.com/office/drawing/2014/main" id="{7B9D4458-5A68-4C82-9759-3F61B7D6A093}"/>
              </a:ext>
            </a:extLst>
          </p:cNvPr>
          <p:cNvSpPr>
            <a:spLocks noGrp="1"/>
          </p:cNvSpPr>
          <p:nvPr>
            <p:ph type="pic" sz="quarter" idx="13"/>
          </p:nvPr>
        </p:nvSpPr>
        <p:spPr>
          <a:xfrm>
            <a:off x="7858455" y="4357772"/>
            <a:ext cx="3504744" cy="2619375"/>
          </a:xfrm>
          <a:custGeom>
            <a:avLst/>
            <a:gdLst>
              <a:gd name="connsiteX0" fmla="*/ 0 w 7010400"/>
              <a:gd name="connsiteY0" fmla="*/ 0 h 5238750"/>
              <a:gd name="connsiteX1" fmla="*/ 7010400 w 7010400"/>
              <a:gd name="connsiteY1" fmla="*/ 0 h 5238750"/>
              <a:gd name="connsiteX2" fmla="*/ 7010400 w 7010400"/>
              <a:gd name="connsiteY2" fmla="*/ 5238750 h 5238750"/>
              <a:gd name="connsiteX3" fmla="*/ 0 w 7010400"/>
              <a:gd name="connsiteY3" fmla="*/ 5238750 h 5238750"/>
            </a:gdLst>
            <a:ahLst/>
            <a:cxnLst>
              <a:cxn ang="0">
                <a:pos x="connsiteX0" y="connsiteY0"/>
              </a:cxn>
              <a:cxn ang="0">
                <a:pos x="connsiteX1" y="connsiteY1"/>
              </a:cxn>
              <a:cxn ang="0">
                <a:pos x="connsiteX2" y="connsiteY2"/>
              </a:cxn>
              <a:cxn ang="0">
                <a:pos x="connsiteX3" y="connsiteY3"/>
              </a:cxn>
            </a:cxnLst>
            <a:rect l="l" t="t" r="r" b="b"/>
            <a:pathLst>
              <a:path w="7010400" h="5238750">
                <a:moveTo>
                  <a:pt x="0" y="0"/>
                </a:moveTo>
                <a:lnTo>
                  <a:pt x="7010400" y="0"/>
                </a:lnTo>
                <a:lnTo>
                  <a:pt x="7010400" y="5238750"/>
                </a:lnTo>
                <a:lnTo>
                  <a:pt x="0" y="5238750"/>
                </a:lnTo>
                <a:close/>
              </a:path>
            </a:pathLst>
          </a:custGeom>
          <a:pattFill prst="pct60">
            <a:fgClr>
              <a:schemeClr val="bg1"/>
            </a:fgClr>
            <a:bgClr>
              <a:schemeClr val="bg1">
                <a:lumMod val="85000"/>
              </a:schemeClr>
            </a:bgClr>
          </a:pattFill>
        </p:spPr>
        <p:txBody>
          <a:bodyPr wrap="square" anchor="ctr">
            <a:noAutofit/>
          </a:bodyPr>
          <a:lstStyle>
            <a:lvl1pPr>
              <a:defRPr lang="en-US" sz="1200"/>
            </a:lvl1pPr>
          </a:lstStyle>
          <a:p>
            <a:pPr marL="0" lvl="0" indent="0" algn="ctr">
              <a:buFontTx/>
              <a:buNone/>
            </a:pPr>
            <a:endParaRPr lang="en-US"/>
          </a:p>
        </p:txBody>
      </p:sp>
    </p:spTree>
    <p:extLst>
      <p:ext uri="{BB962C8B-B14F-4D97-AF65-F5344CB8AC3E}">
        <p14:creationId xmlns:p14="http://schemas.microsoft.com/office/powerpoint/2010/main" val="1374698057"/>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4" dur="1000" decel="100000" fill="hold" grpId="0" nodeType="withEffect">
                                  <p:stCondLst>
                                    <p:cond delay="100"/>
                                  </p:stCondLst>
                                  <p:childTnLst>
                                    <p:set>
                                      <p:cBhvr>
                                        <p:cTn id="6" dur="1" fill="hold">
                                          <p:stCondLst>
                                            <p:cond delay="0"/>
                                          </p:stCondLst>
                                        </p:cTn>
                                        <p:tgtEl>
                                          <p:spTgt spid="35"/>
                                        </p:tgtEl>
                                        <p:attrNameLst>
                                          <p:attrName>style.visibility</p:attrName>
                                        </p:attrNameLst>
                                      </p:cBhvr>
                                      <p:to>
                                        <p:strVal val="visible"/>
                                      </p:to>
                                    </p:set>
                                    <p:anim calcmode="lin" valueType="num">
                                      <p:cBhvr additive="base">
                                        <p:cTn id="7" dur="1000" fill="hold"/>
                                        <p:tgtEl>
                                          <p:spTgt spid="35"/>
                                        </p:tgtEl>
                                        <p:attrNameLst>
                                          <p:attrName>ppt_x</p:attrName>
                                        </p:attrNameLst>
                                      </p:cBhvr>
                                      <p:tavLst>
                                        <p:tav tm="0">
                                          <p:val>
                                            <p:strVal val="#ppt_x"/>
                                          </p:val>
                                        </p:tav>
                                        <p:tav tm="100000">
                                          <p:val>
                                            <p:strVal val="#ppt_x"/>
                                          </p:val>
                                        </p:tav>
                                      </p:tavLst>
                                    </p:anim>
                                    <p:anim calcmode="lin" valueType="num">
                                      <p:cBhvr additive="base">
                                        <p:cTn id="8" dur="1000" fill="hold"/>
                                        <p:tgtEl>
                                          <p:spTgt spid="35"/>
                                        </p:tgtEl>
                                        <p:attrNameLst>
                                          <p:attrName>ppt_y</p:attrName>
                                        </p:attrNameLst>
                                      </p:cBhvr>
                                      <p:tavLst>
                                        <p:tav tm="0">
                                          <p:val>
                                            <p:strVal val="1+#ppt_h/2"/>
                                          </p:val>
                                        </p:tav>
                                        <p:tav tm="100000">
                                          <p:val>
                                            <p:strVal val="#ppt_y"/>
                                          </p:val>
                                        </p:tav>
                                      </p:tavLst>
                                    </p:anim>
                                  </p:childTnLst>
                                </p:cTn>
                              </p:par>
                              <p:par>
                                <p:cTn id="9" presetID="2" presetClass="entr" presetSubtype="4" dur="1000" decel="100000" fill="hold" grpId="0" nodeType="withEffect">
                                  <p:stCondLst>
                                    <p:cond delay="300"/>
                                  </p:stCondLst>
                                  <p:childTnLst>
                                    <p:set>
                                      <p:cBhvr>
                                        <p:cTn id="10" dur="1" fill="hold">
                                          <p:stCondLst>
                                            <p:cond delay="0"/>
                                          </p:stCondLst>
                                        </p:cTn>
                                        <p:tgtEl>
                                          <p:spTgt spid="38"/>
                                        </p:tgtEl>
                                        <p:attrNameLst>
                                          <p:attrName>style.visibility</p:attrName>
                                        </p:attrNameLst>
                                      </p:cBhvr>
                                      <p:to>
                                        <p:strVal val="visible"/>
                                      </p:to>
                                    </p:set>
                                    <p:anim calcmode="lin" valueType="num">
                                      <p:cBhvr additive="base">
                                        <p:cTn id="11" dur="1000" fill="hold"/>
                                        <p:tgtEl>
                                          <p:spTgt spid="38"/>
                                        </p:tgtEl>
                                        <p:attrNameLst>
                                          <p:attrName>ppt_x</p:attrName>
                                        </p:attrNameLst>
                                      </p:cBhvr>
                                      <p:tavLst>
                                        <p:tav tm="0">
                                          <p:val>
                                            <p:strVal val="#ppt_x"/>
                                          </p:val>
                                        </p:tav>
                                        <p:tav tm="100000">
                                          <p:val>
                                            <p:strVal val="#ppt_x"/>
                                          </p:val>
                                        </p:tav>
                                      </p:tavLst>
                                    </p:anim>
                                    <p:anim calcmode="lin" valueType="num">
                                      <p:cBhvr additive="base">
                                        <p:cTn id="12" dur="1000" fill="hold"/>
                                        <p:tgtEl>
                                          <p:spTgt spid="38"/>
                                        </p:tgtEl>
                                        <p:attrNameLst>
                                          <p:attrName>ppt_y</p:attrName>
                                        </p:attrNameLst>
                                      </p:cBhvr>
                                      <p:tavLst>
                                        <p:tav tm="0">
                                          <p:val>
                                            <p:strVal val="1+#ppt_h/2"/>
                                          </p:val>
                                        </p:tav>
                                        <p:tav tm="100000">
                                          <p:val>
                                            <p:strVal val="#ppt_y"/>
                                          </p:val>
                                        </p:tav>
                                      </p:tavLst>
                                    </p:anim>
                                  </p:childTnLst>
                                </p:cTn>
                              </p:par>
                              <p:par>
                                <p:cTn id="13" presetID="2" presetClass="entr" presetSubtype="4" dur="1000" decel="100000" fill="hold" grpId="0" nodeType="withEffect">
                                  <p:stCondLst>
                                    <p:cond delay="500"/>
                                  </p:stCondLst>
                                  <p:childTnLst>
                                    <p:set>
                                      <p:cBhvr>
                                        <p:cTn id="14" dur="1" fill="hold">
                                          <p:stCondLst>
                                            <p:cond delay="0"/>
                                          </p:stCondLst>
                                        </p:cTn>
                                        <p:tgtEl>
                                          <p:spTgt spid="39"/>
                                        </p:tgtEl>
                                        <p:attrNameLst>
                                          <p:attrName>style.visibility</p:attrName>
                                        </p:attrNameLst>
                                      </p:cBhvr>
                                      <p:to>
                                        <p:strVal val="visible"/>
                                      </p:to>
                                    </p:set>
                                    <p:anim calcmode="lin" valueType="num">
                                      <p:cBhvr additive="base">
                                        <p:cTn id="15" dur="1000" fill="hold"/>
                                        <p:tgtEl>
                                          <p:spTgt spid="39"/>
                                        </p:tgtEl>
                                        <p:attrNameLst>
                                          <p:attrName>ppt_x</p:attrName>
                                        </p:attrNameLst>
                                      </p:cBhvr>
                                      <p:tavLst>
                                        <p:tav tm="0">
                                          <p:val>
                                            <p:strVal val="#ppt_x"/>
                                          </p:val>
                                        </p:tav>
                                        <p:tav tm="100000">
                                          <p:val>
                                            <p:strVal val="#ppt_x"/>
                                          </p:val>
                                        </p:tav>
                                      </p:tavLst>
                                    </p:anim>
                                    <p:anim calcmode="lin" valueType="num">
                                      <p:cBhvr additive="base">
                                        <p:cTn id="16" dur="1000" fill="hold"/>
                                        <p:tgtEl>
                                          <p:spTgt spid="3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animBg="1"/>
      <p:bldP spid="38" grpId="0" animBg="1"/>
      <p:bldP spid="39" grpId="0" animBg="1"/>
    </p:bld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10_Title Slide">
    <p:spTree>
      <p:nvGrpSpPr>
        <p:cNvPr id="1" name=""/>
        <p:cNvGrpSpPr/>
        <p:nvPr/>
      </p:nvGrpSpPr>
      <p:grpSpPr>
        <a:xfrm>
          <a:off x="0" y="0"/>
          <a:ext cx="0" cy="0"/>
          <a:chOff x="0" y="0"/>
          <a:chExt cx="0" cy="0"/>
        </a:xfrm>
      </p:grpSpPr>
      <p:sp>
        <p:nvSpPr>
          <p:cNvPr id="2" name="Rectangle: Diagonal Corners Rounded 1">
            <a:extLst>
              <a:ext uri="{FF2B5EF4-FFF2-40B4-BE49-F238E27FC236}">
                <a16:creationId xmlns:a16="http://schemas.microsoft.com/office/drawing/2014/main" id="{9B7649B2-2893-4336-9F6A-E261B8C7C7DB}"/>
              </a:ext>
            </a:extLst>
          </p:cNvPr>
          <p:cNvSpPr/>
          <p:nvPr userDrawn="1"/>
        </p:nvSpPr>
        <p:spPr>
          <a:xfrm>
            <a:off x="812800" y="728662"/>
            <a:ext cx="10566400" cy="5589588"/>
          </a:xfrm>
          <a:prstGeom prst="round2DiagRect">
            <a:avLst>
              <a:gd name="adj1" fmla="val 4770"/>
              <a:gd name="adj2" fmla="val 0"/>
            </a:avLst>
          </a:prstGeom>
          <a:solidFill>
            <a:schemeClr val="accent1">
              <a:alpha val="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Tree>
    <p:extLst>
      <p:ext uri="{BB962C8B-B14F-4D97-AF65-F5344CB8AC3E}">
        <p14:creationId xmlns:p14="http://schemas.microsoft.com/office/powerpoint/2010/main" val="165567599"/>
      </p:ext>
    </p:extLst>
  </p:cSld>
  <p:clrMapOvr>
    <a:masterClrMapping/>
  </p:clrMapOvr>
  <p:transition/>
  <p:extLst>
    <p:ext uri="{DCECCB84-F9BA-43D5-87BE-67443E8EF086}">
      <p15:sldGuideLst xmlns:p15="http://schemas.microsoft.com/office/powerpoint/2012/main">
        <p15:guide id="1" orient="horz" pos="4320">
          <p15:clr>
            <a:srgbClr val="FBAE40"/>
          </p15:clr>
        </p15:guide>
        <p15:guide id="2" pos="7681">
          <p15:clr>
            <a:srgbClr val="FBAE40"/>
          </p15:clr>
        </p15:guide>
        <p15:guide id="3" pos="985">
          <p15:clr>
            <a:srgbClr val="FBAE40"/>
          </p15:clr>
        </p15:guide>
        <p15:guide id="4" pos="14377">
          <p15:clr>
            <a:srgbClr val="FBAE4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41_Custom Layou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D623F710-3A2E-425B-A333-5A92DAD13EA9}"/>
              </a:ext>
            </a:extLst>
          </p:cNvPr>
          <p:cNvSpPr>
            <a:spLocks noGrp="1" noChangeAspect="1"/>
          </p:cNvSpPr>
          <p:nvPr>
            <p:ph type="pic" sz="quarter" idx="13" hasCustomPrompt="1"/>
          </p:nvPr>
        </p:nvSpPr>
        <p:spPr>
          <a:xfrm>
            <a:off x="2910374" y="2477150"/>
            <a:ext cx="2103841" cy="4689762"/>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rot lat="19634922" lon="19414224" rev="3362221"/>
            </a:camera>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
        <p:nvSpPr>
          <p:cNvPr id="6" name="Picture Placeholder 4">
            <a:extLst>
              <a:ext uri="{FF2B5EF4-FFF2-40B4-BE49-F238E27FC236}">
                <a16:creationId xmlns:a16="http://schemas.microsoft.com/office/drawing/2014/main" id="{A28F13BA-1910-4632-AD0A-D7B0A4CE4C4D}"/>
              </a:ext>
            </a:extLst>
          </p:cNvPr>
          <p:cNvSpPr>
            <a:spLocks noGrp="1" noChangeAspect="1"/>
          </p:cNvSpPr>
          <p:nvPr>
            <p:ph type="pic" sz="quarter" idx="14" hasCustomPrompt="1"/>
          </p:nvPr>
        </p:nvSpPr>
        <p:spPr>
          <a:xfrm>
            <a:off x="5003114" y="956923"/>
            <a:ext cx="2103841" cy="4689762"/>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rot lat="19634922" lon="19414224" rev="3362221"/>
            </a:camera>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
        <p:nvSpPr>
          <p:cNvPr id="7" name="Picture Placeholder 4">
            <a:extLst>
              <a:ext uri="{FF2B5EF4-FFF2-40B4-BE49-F238E27FC236}">
                <a16:creationId xmlns:a16="http://schemas.microsoft.com/office/drawing/2014/main" id="{4DD410A9-9FE3-4789-A7BC-46C85AFCD272}"/>
              </a:ext>
            </a:extLst>
          </p:cNvPr>
          <p:cNvSpPr>
            <a:spLocks noGrp="1" noChangeAspect="1"/>
          </p:cNvSpPr>
          <p:nvPr>
            <p:ph type="pic" sz="quarter" idx="15" hasCustomPrompt="1"/>
          </p:nvPr>
        </p:nvSpPr>
        <p:spPr>
          <a:xfrm>
            <a:off x="7128261" y="-473642"/>
            <a:ext cx="2103841" cy="4689762"/>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rot lat="19634922" lon="19414224" rev="3362221"/>
            </a:camera>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Tree>
    <p:extLst>
      <p:ext uri="{BB962C8B-B14F-4D97-AF65-F5344CB8AC3E}">
        <p14:creationId xmlns:p14="http://schemas.microsoft.com/office/powerpoint/2010/main" val="1081383774"/>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10" presetClass="entr" presetSubtype="0" dur="500" fill="hold" grpId="0" nodeType="withEffect">
                                  <p:stCondLst>
                                    <p:cond delay="140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dur="500" fill="hold" grpId="0" nodeType="withEffect">
                                  <p:stCondLst>
                                    <p:cond delay="160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par>
                                <p:cTn id="11" presetID="10" presetClass="entr" presetSubtype="0" dur="500" fill="hold" grpId="0" nodeType="withEffect">
                                  <p:stCondLst>
                                    <p:cond delay="180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42_Custom Layout">
    <p:spTree>
      <p:nvGrpSpPr>
        <p:cNvPr id="1" name=""/>
        <p:cNvGrpSpPr/>
        <p:nvPr/>
      </p:nvGrpSpPr>
      <p:grpSpPr>
        <a:xfrm>
          <a:off x="0" y="0"/>
          <a:ext cx="0" cy="0"/>
          <a:chOff x="0" y="0"/>
          <a:chExt cx="0" cy="0"/>
        </a:xfrm>
      </p:grpSpPr>
      <p:sp>
        <p:nvSpPr>
          <p:cNvPr id="7" name="Picture Placeholder 4">
            <a:extLst>
              <a:ext uri="{FF2B5EF4-FFF2-40B4-BE49-F238E27FC236}">
                <a16:creationId xmlns:a16="http://schemas.microsoft.com/office/drawing/2014/main" id="{4DD410A9-9FE3-4789-A7BC-46C85AFCD272}"/>
              </a:ext>
            </a:extLst>
          </p:cNvPr>
          <p:cNvSpPr>
            <a:spLocks noGrp="1" noChangeAspect="1"/>
          </p:cNvSpPr>
          <p:nvPr>
            <p:ph type="pic" sz="quarter" idx="15" hasCustomPrompt="1"/>
          </p:nvPr>
        </p:nvSpPr>
        <p:spPr>
          <a:xfrm>
            <a:off x="6012984" y="-254938"/>
            <a:ext cx="2103841" cy="4689762"/>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rot lat="19634922" lon="19414224" rev="3362221"/>
            </a:camera>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
        <p:nvSpPr>
          <p:cNvPr id="16" name="Picture Placeholder 4">
            <a:extLst>
              <a:ext uri="{FF2B5EF4-FFF2-40B4-BE49-F238E27FC236}">
                <a16:creationId xmlns:a16="http://schemas.microsoft.com/office/drawing/2014/main" id="{7A52C93F-F0CC-4A4A-ABA9-5A30489F2F8E}"/>
              </a:ext>
            </a:extLst>
          </p:cNvPr>
          <p:cNvSpPr>
            <a:spLocks noGrp="1" noChangeAspect="1"/>
          </p:cNvSpPr>
          <p:nvPr>
            <p:ph type="pic" sz="quarter" idx="16" hasCustomPrompt="1"/>
          </p:nvPr>
        </p:nvSpPr>
        <p:spPr>
          <a:xfrm>
            <a:off x="5311719" y="2240621"/>
            <a:ext cx="2103841" cy="4689762"/>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rot lat="19634922" lon="19414224" rev="3362221"/>
            </a:camera>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
        <p:nvSpPr>
          <p:cNvPr id="17" name="Picture Placeholder 4">
            <a:extLst>
              <a:ext uri="{FF2B5EF4-FFF2-40B4-BE49-F238E27FC236}">
                <a16:creationId xmlns:a16="http://schemas.microsoft.com/office/drawing/2014/main" id="{DAA3E768-26D8-4B93-883E-2190238146FB}"/>
              </a:ext>
            </a:extLst>
          </p:cNvPr>
          <p:cNvSpPr>
            <a:spLocks noGrp="1" noChangeAspect="1"/>
          </p:cNvSpPr>
          <p:nvPr>
            <p:ph type="pic" sz="quarter" idx="17" hasCustomPrompt="1"/>
          </p:nvPr>
        </p:nvSpPr>
        <p:spPr>
          <a:xfrm>
            <a:off x="1322508" y="-438770"/>
            <a:ext cx="2103841" cy="4689762"/>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rot lat="19634922" lon="19414224" rev="3362221"/>
            </a:camera>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
        <p:nvSpPr>
          <p:cNvPr id="18" name="Picture Placeholder 4">
            <a:extLst>
              <a:ext uri="{FF2B5EF4-FFF2-40B4-BE49-F238E27FC236}">
                <a16:creationId xmlns:a16="http://schemas.microsoft.com/office/drawing/2014/main" id="{9A96855E-0C0B-42CE-91C9-AE3C8F1221FD}"/>
              </a:ext>
            </a:extLst>
          </p:cNvPr>
          <p:cNvSpPr>
            <a:spLocks noGrp="1" noChangeAspect="1"/>
          </p:cNvSpPr>
          <p:nvPr>
            <p:ph type="pic" sz="quarter" idx="18" hasCustomPrompt="1"/>
          </p:nvPr>
        </p:nvSpPr>
        <p:spPr>
          <a:xfrm>
            <a:off x="9304707" y="4906796"/>
            <a:ext cx="2103841" cy="4689762"/>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rot lat="19634922" lon="19414224" rev="3362221"/>
            </a:camera>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
        <p:nvSpPr>
          <p:cNvPr id="19" name="Picture Placeholder 4">
            <a:extLst>
              <a:ext uri="{FF2B5EF4-FFF2-40B4-BE49-F238E27FC236}">
                <a16:creationId xmlns:a16="http://schemas.microsoft.com/office/drawing/2014/main" id="{931DAE40-C18E-4237-B28F-25D660550E74}"/>
              </a:ext>
            </a:extLst>
          </p:cNvPr>
          <p:cNvSpPr>
            <a:spLocks noGrp="1" noChangeAspect="1"/>
          </p:cNvSpPr>
          <p:nvPr>
            <p:ph type="pic" sz="quarter" idx="19" hasCustomPrompt="1"/>
          </p:nvPr>
        </p:nvSpPr>
        <p:spPr>
          <a:xfrm>
            <a:off x="10020490" y="2447842"/>
            <a:ext cx="2103841" cy="4689762"/>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rot lat="19634922" lon="19414224" rev="3362221"/>
            </a:camera>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
        <p:nvSpPr>
          <p:cNvPr id="20" name="Picture Placeholder 4">
            <a:extLst>
              <a:ext uri="{FF2B5EF4-FFF2-40B4-BE49-F238E27FC236}">
                <a16:creationId xmlns:a16="http://schemas.microsoft.com/office/drawing/2014/main" id="{02AD1624-5BD6-4E5E-B307-26317D0BDFEC}"/>
              </a:ext>
            </a:extLst>
          </p:cNvPr>
          <p:cNvSpPr>
            <a:spLocks noGrp="1" noChangeAspect="1"/>
          </p:cNvSpPr>
          <p:nvPr>
            <p:ph type="pic" sz="quarter" idx="20" hasCustomPrompt="1"/>
          </p:nvPr>
        </p:nvSpPr>
        <p:spPr>
          <a:xfrm>
            <a:off x="9899782" y="-558075"/>
            <a:ext cx="2103841" cy="4689762"/>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rot lat="19634922" lon="19414224" rev="3362221"/>
            </a:camera>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
        <p:nvSpPr>
          <p:cNvPr id="21" name="Picture Placeholder 4">
            <a:extLst>
              <a:ext uri="{FF2B5EF4-FFF2-40B4-BE49-F238E27FC236}">
                <a16:creationId xmlns:a16="http://schemas.microsoft.com/office/drawing/2014/main" id="{F76A9713-42A3-4558-AF3C-975E68B3604A}"/>
              </a:ext>
            </a:extLst>
          </p:cNvPr>
          <p:cNvSpPr>
            <a:spLocks noGrp="1" noChangeAspect="1"/>
          </p:cNvSpPr>
          <p:nvPr>
            <p:ph type="pic" sz="quarter" idx="21" hasCustomPrompt="1"/>
          </p:nvPr>
        </p:nvSpPr>
        <p:spPr>
          <a:xfrm>
            <a:off x="5917772" y="-3236375"/>
            <a:ext cx="2103841" cy="4689762"/>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rot lat="19634922" lon="19414224" rev="3362221"/>
            </a:camera>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
        <p:nvSpPr>
          <p:cNvPr id="22" name="Picture Placeholder 4">
            <a:extLst>
              <a:ext uri="{FF2B5EF4-FFF2-40B4-BE49-F238E27FC236}">
                <a16:creationId xmlns:a16="http://schemas.microsoft.com/office/drawing/2014/main" id="{AFD2B53B-0A07-43BF-9BEA-C72C900E6505}"/>
              </a:ext>
            </a:extLst>
          </p:cNvPr>
          <p:cNvSpPr>
            <a:spLocks noGrp="1" noChangeAspect="1"/>
          </p:cNvSpPr>
          <p:nvPr>
            <p:ph type="pic" sz="quarter" idx="22" hasCustomPrompt="1"/>
          </p:nvPr>
        </p:nvSpPr>
        <p:spPr>
          <a:xfrm>
            <a:off x="2027017" y="-2899146"/>
            <a:ext cx="2103841" cy="4689762"/>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rot lat="19634922" lon="19414224" rev="3362221"/>
            </a:camera>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Tree>
    <p:extLst>
      <p:ext uri="{BB962C8B-B14F-4D97-AF65-F5344CB8AC3E}">
        <p14:creationId xmlns:p14="http://schemas.microsoft.com/office/powerpoint/2010/main" val="719280755"/>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10" presetClass="entr" presetSubtype="0" dur="300" fill="hold" grpId="0" nodeType="withEffect">
                                  <p:stCondLst>
                                    <p:cond delay="140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300"/>
                                        <p:tgtEl>
                                          <p:spTgt spid="17"/>
                                        </p:tgtEl>
                                      </p:cBhvr>
                                    </p:animEffect>
                                  </p:childTnLst>
                                </p:cTn>
                              </p:par>
                              <p:par>
                                <p:cTn id="8" presetID="10" presetClass="entr" presetSubtype="0" dur="300" fill="hold" grpId="0" nodeType="withEffect">
                                  <p:stCondLst>
                                    <p:cond delay="160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300"/>
                                        <p:tgtEl>
                                          <p:spTgt spid="16"/>
                                        </p:tgtEl>
                                      </p:cBhvr>
                                    </p:animEffect>
                                  </p:childTnLst>
                                </p:cTn>
                              </p:par>
                              <p:par>
                                <p:cTn id="11" presetID="10" presetClass="entr" presetSubtype="0" dur="300" fill="hold" grpId="0" nodeType="withEffect">
                                  <p:stCondLst>
                                    <p:cond delay="1800"/>
                                  </p:stCondLst>
                                  <p:childTnLst>
                                    <p:set>
                                      <p:cBhvr>
                                        <p:cTn id="12" dur="1" fill="hold">
                                          <p:stCondLst>
                                            <p:cond delay="0"/>
                                          </p:stCondLst>
                                        </p:cTn>
                                        <p:tgtEl>
                                          <p:spTgt spid="18"/>
                                        </p:tgtEl>
                                        <p:attrNameLst>
                                          <p:attrName>style.visibility</p:attrName>
                                        </p:attrNameLst>
                                      </p:cBhvr>
                                      <p:to>
                                        <p:strVal val="visible"/>
                                      </p:to>
                                    </p:set>
                                    <p:animEffect transition="in" filter="fade">
                                      <p:cBhvr>
                                        <p:cTn id="13" dur="300"/>
                                        <p:tgtEl>
                                          <p:spTgt spid="18"/>
                                        </p:tgtEl>
                                      </p:cBhvr>
                                    </p:animEffect>
                                  </p:childTnLst>
                                </p:cTn>
                              </p:par>
                              <p:par>
                                <p:cTn id="14" presetID="10" presetClass="entr" presetSubtype="0" dur="300" fill="hold" grpId="0" nodeType="withEffect">
                                  <p:stCondLst>
                                    <p:cond delay="2000"/>
                                  </p:stCondLst>
                                  <p:childTnLst>
                                    <p:set>
                                      <p:cBhvr>
                                        <p:cTn id="15" dur="1" fill="hold">
                                          <p:stCondLst>
                                            <p:cond delay="0"/>
                                          </p:stCondLst>
                                        </p:cTn>
                                        <p:tgtEl>
                                          <p:spTgt spid="22"/>
                                        </p:tgtEl>
                                        <p:attrNameLst>
                                          <p:attrName>style.visibility</p:attrName>
                                        </p:attrNameLst>
                                      </p:cBhvr>
                                      <p:to>
                                        <p:strVal val="visible"/>
                                      </p:to>
                                    </p:set>
                                    <p:animEffect transition="in" filter="fade">
                                      <p:cBhvr>
                                        <p:cTn id="16" dur="300"/>
                                        <p:tgtEl>
                                          <p:spTgt spid="22"/>
                                        </p:tgtEl>
                                      </p:cBhvr>
                                    </p:animEffect>
                                  </p:childTnLst>
                                </p:cTn>
                              </p:par>
                              <p:par>
                                <p:cTn id="17" presetID="10" presetClass="entr" presetSubtype="0" dur="300" fill="hold" grpId="0" nodeType="withEffect">
                                  <p:stCondLst>
                                    <p:cond delay="220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300"/>
                                        <p:tgtEl>
                                          <p:spTgt spid="7"/>
                                        </p:tgtEl>
                                      </p:cBhvr>
                                    </p:animEffect>
                                  </p:childTnLst>
                                </p:cTn>
                              </p:par>
                              <p:par>
                                <p:cTn id="20" presetID="10" presetClass="entr" presetSubtype="0" dur="300" fill="hold" grpId="0" nodeType="withEffect">
                                  <p:stCondLst>
                                    <p:cond delay="2400"/>
                                  </p:stCondLst>
                                  <p:childTnLst>
                                    <p:set>
                                      <p:cBhvr>
                                        <p:cTn id="21" dur="1" fill="hold">
                                          <p:stCondLst>
                                            <p:cond delay="0"/>
                                          </p:stCondLst>
                                        </p:cTn>
                                        <p:tgtEl>
                                          <p:spTgt spid="19"/>
                                        </p:tgtEl>
                                        <p:attrNameLst>
                                          <p:attrName>style.visibility</p:attrName>
                                        </p:attrNameLst>
                                      </p:cBhvr>
                                      <p:to>
                                        <p:strVal val="visible"/>
                                      </p:to>
                                    </p:set>
                                    <p:animEffect transition="in" filter="fade">
                                      <p:cBhvr>
                                        <p:cTn id="22" dur="300"/>
                                        <p:tgtEl>
                                          <p:spTgt spid="19"/>
                                        </p:tgtEl>
                                      </p:cBhvr>
                                    </p:animEffect>
                                  </p:childTnLst>
                                </p:cTn>
                              </p:par>
                              <p:par>
                                <p:cTn id="23" presetID="10" presetClass="entr" presetSubtype="0" dur="300" fill="hold" grpId="0" nodeType="withEffect">
                                  <p:stCondLst>
                                    <p:cond delay="2600"/>
                                  </p:stCondLst>
                                  <p:childTnLst>
                                    <p:set>
                                      <p:cBhvr>
                                        <p:cTn id="24" dur="1" fill="hold">
                                          <p:stCondLst>
                                            <p:cond delay="0"/>
                                          </p:stCondLst>
                                        </p:cTn>
                                        <p:tgtEl>
                                          <p:spTgt spid="21"/>
                                        </p:tgtEl>
                                        <p:attrNameLst>
                                          <p:attrName>style.visibility</p:attrName>
                                        </p:attrNameLst>
                                      </p:cBhvr>
                                      <p:to>
                                        <p:strVal val="visible"/>
                                      </p:to>
                                    </p:set>
                                    <p:animEffect transition="in" filter="fade">
                                      <p:cBhvr>
                                        <p:cTn id="25" dur="300"/>
                                        <p:tgtEl>
                                          <p:spTgt spid="21"/>
                                        </p:tgtEl>
                                      </p:cBhvr>
                                    </p:animEffect>
                                  </p:childTnLst>
                                </p:cTn>
                              </p:par>
                              <p:par>
                                <p:cTn id="26" presetID="10" presetClass="entr" presetSubtype="0" dur="300" fill="hold" grpId="0" nodeType="withEffect">
                                  <p:stCondLst>
                                    <p:cond delay="2800"/>
                                  </p:stCondLst>
                                  <p:childTnLst>
                                    <p:set>
                                      <p:cBhvr>
                                        <p:cTn id="27" dur="1" fill="hold">
                                          <p:stCondLst>
                                            <p:cond delay="0"/>
                                          </p:stCondLst>
                                        </p:cTn>
                                        <p:tgtEl>
                                          <p:spTgt spid="20"/>
                                        </p:tgtEl>
                                        <p:attrNameLst>
                                          <p:attrName>style.visibility</p:attrName>
                                        </p:attrNameLst>
                                      </p:cBhvr>
                                      <p:to>
                                        <p:strVal val="visible"/>
                                      </p:to>
                                    </p:set>
                                    <p:animEffect transition="in" filter="fade">
                                      <p:cBhvr>
                                        <p:cTn id="28" dur="3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6" grpId="0" animBg="1"/>
      <p:bldP spid="17" grpId="0" animBg="1"/>
      <p:bldP spid="18" grpId="0" animBg="1"/>
      <p:bldP spid="19" grpId="0" animBg="1"/>
      <p:bldP spid="20" grpId="0" animBg="1"/>
      <p:bldP spid="21" grpId="0" animBg="1"/>
      <p:bldP spid="22" grpId="0" animBg="1"/>
    </p:bldLst>
  </p:timing>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49_Custom Layout">
    <p:spTree>
      <p:nvGrpSpPr>
        <p:cNvPr id="1" name=""/>
        <p:cNvGrpSpPr/>
        <p:nvPr/>
      </p:nvGrpSpPr>
      <p:grpSpPr>
        <a:xfrm>
          <a:off x="0" y="0"/>
          <a:ext cx="0" cy="0"/>
          <a:chOff x="0" y="0"/>
          <a:chExt cx="0" cy="0"/>
        </a:xfrm>
      </p:grpSpPr>
      <p:sp>
        <p:nvSpPr>
          <p:cNvPr id="7" name="Picture Placeholder 4">
            <a:extLst>
              <a:ext uri="{FF2B5EF4-FFF2-40B4-BE49-F238E27FC236}">
                <a16:creationId xmlns:a16="http://schemas.microsoft.com/office/drawing/2014/main" id="{4DD410A9-9FE3-4789-A7BC-46C85AFCD272}"/>
              </a:ext>
            </a:extLst>
          </p:cNvPr>
          <p:cNvSpPr>
            <a:spLocks noGrp="1" noChangeAspect="1"/>
          </p:cNvSpPr>
          <p:nvPr>
            <p:ph type="pic" sz="quarter" idx="15" hasCustomPrompt="1"/>
          </p:nvPr>
        </p:nvSpPr>
        <p:spPr>
          <a:xfrm>
            <a:off x="4527312" y="33960"/>
            <a:ext cx="3080233" cy="6866281"/>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rot lat="19634922" lon="19414224" rev="3362221"/>
            </a:camera>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Tree>
    <p:extLst>
      <p:ext uri="{BB962C8B-B14F-4D97-AF65-F5344CB8AC3E}">
        <p14:creationId xmlns:p14="http://schemas.microsoft.com/office/powerpoint/2010/main" val="2483761650"/>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10" presetClass="entr" presetSubtype="0" dur="300" fill="hold" grpId="0" nodeType="withEffect">
                                  <p:stCondLst>
                                    <p:cond delay="15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3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44_Custom Layout">
    <p:spTree>
      <p:nvGrpSpPr>
        <p:cNvPr id="1" name=""/>
        <p:cNvGrpSpPr/>
        <p:nvPr/>
      </p:nvGrpSpPr>
      <p:grpSpPr>
        <a:xfrm>
          <a:off x="0" y="0"/>
          <a:ext cx="0" cy="0"/>
          <a:chOff x="0" y="0"/>
          <a:chExt cx="0" cy="0"/>
        </a:xfrm>
      </p:grpSpPr>
      <p:sp>
        <p:nvSpPr>
          <p:cNvPr id="4" name="Picture Placeholder 4">
            <a:extLst>
              <a:ext uri="{FF2B5EF4-FFF2-40B4-BE49-F238E27FC236}">
                <a16:creationId xmlns:a16="http://schemas.microsoft.com/office/drawing/2014/main" id="{14A02EFB-B385-47FF-9B8B-D0AF70EB0ACA}"/>
              </a:ext>
            </a:extLst>
          </p:cNvPr>
          <p:cNvSpPr>
            <a:spLocks noGrp="1"/>
          </p:cNvSpPr>
          <p:nvPr>
            <p:ph type="pic" sz="quarter" idx="14" hasCustomPrompt="1"/>
          </p:nvPr>
        </p:nvSpPr>
        <p:spPr>
          <a:xfrm>
            <a:off x="3288140" y="625268"/>
            <a:ext cx="2757066" cy="5607464"/>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rot lat="21156044" lon="19471222" rev="2142000"/>
            </a:camera>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Tree>
    <p:extLst>
      <p:ext uri="{BB962C8B-B14F-4D97-AF65-F5344CB8AC3E}">
        <p14:creationId xmlns:p14="http://schemas.microsoft.com/office/powerpoint/2010/main" val="3008803067"/>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10" presetClass="entr" presetSubtype="0" dur="500" fill="hold" grpId="0" nodeType="withEffect">
                                  <p:stCondLst>
                                    <p:cond delay="140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5B327254-466C-4606-8589-BCC72CBDADDF}"/>
              </a:ext>
            </a:extLst>
          </p:cNvPr>
          <p:cNvSpPr>
            <a:spLocks noGrp="1"/>
          </p:cNvSpPr>
          <p:nvPr>
            <p:ph type="sldNum" sz="quarter" idx="10"/>
          </p:nvPr>
        </p:nvSpPr>
        <p:spPr/>
        <p:txBody>
          <a:bodyPr/>
          <a:lstStyle/>
          <a:p>
            <a:fld id="{A04BEB4F-8CE1-4F18-986F-6CE0A0BE9470}" type="slidenum">
              <a:rPr lang="de-DE" smtClean="0"/>
              <a:t>‹#›</a:t>
            </a:fld>
            <a:endParaRPr lang="de-DE"/>
          </a:p>
        </p:txBody>
      </p:sp>
      <p:sp>
        <p:nvSpPr>
          <p:cNvPr id="4" name="Textfeld 3">
            <a:extLst>
              <a:ext uri="{FF2B5EF4-FFF2-40B4-BE49-F238E27FC236}">
                <a16:creationId xmlns:a16="http://schemas.microsoft.com/office/drawing/2014/main" id="{1F1512C8-A5D3-4625-93D0-A51172C5F58F}"/>
              </a:ext>
            </a:extLst>
          </p:cNvPr>
          <p:cNvSpPr txBox="1"/>
          <p:nvPr userDrawn="1"/>
        </p:nvSpPr>
        <p:spPr>
          <a:xfrm>
            <a:off x="815951" y="1076602"/>
            <a:ext cx="2303253" cy="430887"/>
          </a:xfrm>
          <a:prstGeom prst="rect">
            <a:avLst/>
          </a:prstGeom>
          <a:noFill/>
        </p:spPr>
        <p:txBody>
          <a:bodyPr wrap="square" lIns="0" tIns="0" rIns="0" bIns="0" rtlCol="0">
            <a:spAutoFit/>
          </a:bodyPr>
          <a:lstStyle/>
          <a:p>
            <a:pPr algn="l"/>
            <a:r>
              <a:rPr lang="de-DE" sz="2800" kern="1200">
                <a:solidFill>
                  <a:schemeClr val="tx2"/>
                </a:solidFill>
                <a:latin typeface="+mj-lt"/>
                <a:ea typeface="+mj-ea"/>
                <a:cs typeface="+mj-cs"/>
              </a:rPr>
              <a:t>Agenda</a:t>
            </a:r>
          </a:p>
        </p:txBody>
      </p:sp>
      <p:sp>
        <p:nvSpPr>
          <p:cNvPr id="122" name="Freihandform: Form 121">
            <a:extLst>
              <a:ext uri="{FF2B5EF4-FFF2-40B4-BE49-F238E27FC236}">
                <a16:creationId xmlns:a16="http://schemas.microsoft.com/office/drawing/2014/main" id="{BC43029A-5265-4954-A3A5-CD3CB5C7478D}"/>
              </a:ext>
            </a:extLst>
          </p:cNvPr>
          <p:cNvSpPr/>
          <p:nvPr/>
        </p:nvSpPr>
        <p:spPr>
          <a:xfrm>
            <a:off x="11841261" y="4050916"/>
            <a:ext cx="347243" cy="376374"/>
          </a:xfrm>
          <a:custGeom>
            <a:avLst/>
            <a:gdLst>
              <a:gd name="connsiteX0" fmla="*/ 158473 w 347243"/>
              <a:gd name="connsiteY0" fmla="*/ 376375 h 376374"/>
              <a:gd name="connsiteX1" fmla="*/ 0 w 347243"/>
              <a:gd name="connsiteY1" fmla="*/ 376375 h 376374"/>
              <a:gd name="connsiteX2" fmla="*/ 185274 w 347243"/>
              <a:gd name="connsiteY2" fmla="*/ 189935 h 376374"/>
              <a:gd name="connsiteX3" fmla="*/ 0 w 347243"/>
              <a:gd name="connsiteY3" fmla="*/ 0 h 376374"/>
              <a:gd name="connsiteX4" fmla="*/ 161969 w 347243"/>
              <a:gd name="connsiteY4" fmla="*/ 0 h 376374"/>
              <a:gd name="connsiteX5" fmla="*/ 347244 w 347243"/>
              <a:gd name="connsiteY5" fmla="*/ 185274 h 376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7243" h="376374">
                <a:moveTo>
                  <a:pt x="158473" y="376375"/>
                </a:moveTo>
                <a:lnTo>
                  <a:pt x="0" y="376375"/>
                </a:lnTo>
                <a:lnTo>
                  <a:pt x="185274" y="189935"/>
                </a:lnTo>
                <a:lnTo>
                  <a:pt x="0" y="0"/>
                </a:lnTo>
                <a:lnTo>
                  <a:pt x="161969" y="0"/>
                </a:lnTo>
                <a:lnTo>
                  <a:pt x="347244" y="185274"/>
                </a:lnTo>
                <a:close/>
              </a:path>
            </a:pathLst>
          </a:custGeom>
          <a:solidFill>
            <a:srgbClr val="EEF2F5"/>
          </a:solidFill>
          <a:ln w="11643" cap="flat">
            <a:noFill/>
            <a:prstDash val="solid"/>
            <a:miter/>
          </a:ln>
        </p:spPr>
        <p:txBody>
          <a:bodyPr rtlCol="0" anchor="ctr"/>
          <a:lstStyle/>
          <a:p>
            <a:endParaRPr lang="de-DE"/>
          </a:p>
        </p:txBody>
      </p:sp>
      <p:sp>
        <p:nvSpPr>
          <p:cNvPr id="138" name="Freihandform: Form 137">
            <a:extLst>
              <a:ext uri="{FF2B5EF4-FFF2-40B4-BE49-F238E27FC236}">
                <a16:creationId xmlns:a16="http://schemas.microsoft.com/office/drawing/2014/main" id="{5B458F82-191F-4A0B-9761-26D447FE3BDA}"/>
              </a:ext>
            </a:extLst>
          </p:cNvPr>
          <p:cNvSpPr/>
          <p:nvPr/>
        </p:nvSpPr>
        <p:spPr>
          <a:xfrm>
            <a:off x="11841261" y="4405152"/>
            <a:ext cx="347243" cy="377540"/>
          </a:xfrm>
          <a:custGeom>
            <a:avLst/>
            <a:gdLst>
              <a:gd name="connsiteX0" fmla="*/ 158473 w 347243"/>
              <a:gd name="connsiteY0" fmla="*/ 377540 h 377540"/>
              <a:gd name="connsiteX1" fmla="*/ 0 w 347243"/>
              <a:gd name="connsiteY1" fmla="*/ 377540 h 377540"/>
              <a:gd name="connsiteX2" fmla="*/ 185274 w 347243"/>
              <a:gd name="connsiteY2" fmla="*/ 189935 h 377540"/>
              <a:gd name="connsiteX3" fmla="*/ 0 w 347243"/>
              <a:gd name="connsiteY3" fmla="*/ 0 h 377540"/>
              <a:gd name="connsiteX4" fmla="*/ 161969 w 347243"/>
              <a:gd name="connsiteY4" fmla="*/ 0 h 377540"/>
              <a:gd name="connsiteX5" fmla="*/ 347244 w 347243"/>
              <a:gd name="connsiteY5" fmla="*/ 185274 h 377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7243" h="377540">
                <a:moveTo>
                  <a:pt x="158473" y="377540"/>
                </a:moveTo>
                <a:lnTo>
                  <a:pt x="0" y="377540"/>
                </a:lnTo>
                <a:lnTo>
                  <a:pt x="185274" y="189935"/>
                </a:lnTo>
                <a:lnTo>
                  <a:pt x="0" y="0"/>
                </a:lnTo>
                <a:lnTo>
                  <a:pt x="161969" y="0"/>
                </a:lnTo>
                <a:lnTo>
                  <a:pt x="347244" y="185274"/>
                </a:lnTo>
                <a:close/>
              </a:path>
            </a:pathLst>
          </a:custGeom>
          <a:solidFill>
            <a:srgbClr val="EEF2F5"/>
          </a:solidFill>
          <a:ln w="11643" cap="flat">
            <a:noFill/>
            <a:prstDash val="solid"/>
            <a:miter/>
          </a:ln>
        </p:spPr>
        <p:txBody>
          <a:bodyPr rtlCol="0" anchor="ctr"/>
          <a:lstStyle/>
          <a:p>
            <a:endParaRPr lang="de-DE"/>
          </a:p>
        </p:txBody>
      </p:sp>
      <p:sp>
        <p:nvSpPr>
          <p:cNvPr id="105" name="Freihandform: Form 104">
            <a:extLst>
              <a:ext uri="{FF2B5EF4-FFF2-40B4-BE49-F238E27FC236}">
                <a16:creationId xmlns:a16="http://schemas.microsoft.com/office/drawing/2014/main" id="{5C4533A5-54AE-4D76-A4AF-E6486B2E759F}"/>
              </a:ext>
            </a:extLst>
          </p:cNvPr>
          <p:cNvSpPr/>
          <p:nvPr/>
        </p:nvSpPr>
        <p:spPr>
          <a:xfrm>
            <a:off x="11494017" y="3704837"/>
            <a:ext cx="330930" cy="358896"/>
          </a:xfrm>
          <a:custGeom>
            <a:avLst/>
            <a:gdLst>
              <a:gd name="connsiteX0" fmla="*/ 151482 w 330930"/>
              <a:gd name="connsiteY0" fmla="*/ 358896 h 358896"/>
              <a:gd name="connsiteX1" fmla="*/ 0 w 330930"/>
              <a:gd name="connsiteY1" fmla="*/ 358896 h 358896"/>
              <a:gd name="connsiteX2" fmla="*/ 177118 w 330930"/>
              <a:gd name="connsiteY2" fmla="*/ 180613 h 358896"/>
              <a:gd name="connsiteX3" fmla="*/ 0 w 330930"/>
              <a:gd name="connsiteY3" fmla="*/ 0 h 358896"/>
              <a:gd name="connsiteX4" fmla="*/ 154979 w 330930"/>
              <a:gd name="connsiteY4" fmla="*/ 0 h 358896"/>
              <a:gd name="connsiteX5" fmla="*/ 330931 w 330930"/>
              <a:gd name="connsiteY5" fmla="*/ 175953 h 358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930" h="358896">
                <a:moveTo>
                  <a:pt x="151482" y="358896"/>
                </a:moveTo>
                <a:lnTo>
                  <a:pt x="0" y="358896"/>
                </a:lnTo>
                <a:lnTo>
                  <a:pt x="177118" y="180613"/>
                </a:lnTo>
                <a:lnTo>
                  <a:pt x="0" y="0"/>
                </a:lnTo>
                <a:lnTo>
                  <a:pt x="154979" y="0"/>
                </a:lnTo>
                <a:lnTo>
                  <a:pt x="330931" y="175953"/>
                </a:lnTo>
                <a:close/>
              </a:path>
            </a:pathLst>
          </a:custGeom>
          <a:solidFill>
            <a:srgbClr val="EEF2F5"/>
          </a:solidFill>
          <a:ln w="11643" cap="flat">
            <a:noFill/>
            <a:prstDash val="solid"/>
            <a:miter/>
          </a:ln>
        </p:spPr>
        <p:txBody>
          <a:bodyPr rtlCol="0" anchor="ctr"/>
          <a:lstStyle/>
          <a:p>
            <a:endParaRPr lang="de-DE"/>
          </a:p>
        </p:txBody>
      </p:sp>
      <p:sp>
        <p:nvSpPr>
          <p:cNvPr id="121" name="Freihandform: Form 120">
            <a:extLst>
              <a:ext uri="{FF2B5EF4-FFF2-40B4-BE49-F238E27FC236}">
                <a16:creationId xmlns:a16="http://schemas.microsoft.com/office/drawing/2014/main" id="{2C765BDB-0971-4930-98E2-992157EFF29E}"/>
              </a:ext>
            </a:extLst>
          </p:cNvPr>
          <p:cNvSpPr/>
          <p:nvPr/>
        </p:nvSpPr>
        <p:spPr>
          <a:xfrm>
            <a:off x="11494017" y="4059073"/>
            <a:ext cx="330930" cy="360061"/>
          </a:xfrm>
          <a:custGeom>
            <a:avLst/>
            <a:gdLst>
              <a:gd name="connsiteX0" fmla="*/ 151482 w 330930"/>
              <a:gd name="connsiteY0" fmla="*/ 360062 h 360061"/>
              <a:gd name="connsiteX1" fmla="*/ 0 w 330930"/>
              <a:gd name="connsiteY1" fmla="*/ 360062 h 360061"/>
              <a:gd name="connsiteX2" fmla="*/ 177118 w 330930"/>
              <a:gd name="connsiteY2" fmla="*/ 181779 h 360061"/>
              <a:gd name="connsiteX3" fmla="*/ 0 w 330930"/>
              <a:gd name="connsiteY3" fmla="*/ 0 h 360061"/>
              <a:gd name="connsiteX4" fmla="*/ 154979 w 330930"/>
              <a:gd name="connsiteY4" fmla="*/ 0 h 360061"/>
              <a:gd name="connsiteX5" fmla="*/ 330931 w 330930"/>
              <a:gd name="connsiteY5" fmla="*/ 177118 h 360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930" h="360061">
                <a:moveTo>
                  <a:pt x="151482" y="360062"/>
                </a:moveTo>
                <a:lnTo>
                  <a:pt x="0" y="360062"/>
                </a:lnTo>
                <a:lnTo>
                  <a:pt x="177118" y="181779"/>
                </a:lnTo>
                <a:lnTo>
                  <a:pt x="0" y="0"/>
                </a:lnTo>
                <a:lnTo>
                  <a:pt x="154979" y="0"/>
                </a:lnTo>
                <a:lnTo>
                  <a:pt x="330931" y="177118"/>
                </a:lnTo>
                <a:close/>
              </a:path>
            </a:pathLst>
          </a:custGeom>
          <a:solidFill>
            <a:srgbClr val="EEF2F5"/>
          </a:solidFill>
          <a:ln w="11643" cap="flat">
            <a:noFill/>
            <a:prstDash val="solid"/>
            <a:miter/>
          </a:ln>
        </p:spPr>
        <p:txBody>
          <a:bodyPr rtlCol="0" anchor="ctr"/>
          <a:lstStyle/>
          <a:p>
            <a:endParaRPr lang="de-DE"/>
          </a:p>
        </p:txBody>
      </p:sp>
      <p:sp>
        <p:nvSpPr>
          <p:cNvPr id="137" name="Freihandform: Form 136">
            <a:extLst>
              <a:ext uri="{FF2B5EF4-FFF2-40B4-BE49-F238E27FC236}">
                <a16:creationId xmlns:a16="http://schemas.microsoft.com/office/drawing/2014/main" id="{FFF7FEBD-DC05-4243-8288-65567FB9B1FC}"/>
              </a:ext>
            </a:extLst>
          </p:cNvPr>
          <p:cNvSpPr/>
          <p:nvPr/>
        </p:nvSpPr>
        <p:spPr>
          <a:xfrm>
            <a:off x="11494017" y="4414474"/>
            <a:ext cx="330930" cy="358896"/>
          </a:xfrm>
          <a:custGeom>
            <a:avLst/>
            <a:gdLst>
              <a:gd name="connsiteX0" fmla="*/ 151482 w 330930"/>
              <a:gd name="connsiteY0" fmla="*/ 358896 h 358896"/>
              <a:gd name="connsiteX1" fmla="*/ 0 w 330930"/>
              <a:gd name="connsiteY1" fmla="*/ 358896 h 358896"/>
              <a:gd name="connsiteX2" fmla="*/ 177118 w 330930"/>
              <a:gd name="connsiteY2" fmla="*/ 180613 h 358896"/>
              <a:gd name="connsiteX3" fmla="*/ 0 w 330930"/>
              <a:gd name="connsiteY3" fmla="*/ 0 h 358896"/>
              <a:gd name="connsiteX4" fmla="*/ 154979 w 330930"/>
              <a:gd name="connsiteY4" fmla="*/ 0 h 358896"/>
              <a:gd name="connsiteX5" fmla="*/ 330931 w 330930"/>
              <a:gd name="connsiteY5" fmla="*/ 175952 h 358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930" h="358896">
                <a:moveTo>
                  <a:pt x="151482" y="358896"/>
                </a:moveTo>
                <a:lnTo>
                  <a:pt x="0" y="358896"/>
                </a:lnTo>
                <a:lnTo>
                  <a:pt x="177118" y="180613"/>
                </a:lnTo>
                <a:lnTo>
                  <a:pt x="0" y="0"/>
                </a:lnTo>
                <a:lnTo>
                  <a:pt x="154979" y="0"/>
                </a:lnTo>
                <a:lnTo>
                  <a:pt x="330931" y="175952"/>
                </a:lnTo>
                <a:close/>
              </a:path>
            </a:pathLst>
          </a:custGeom>
          <a:solidFill>
            <a:srgbClr val="EEF2F5"/>
          </a:solidFill>
          <a:ln w="11643" cap="flat">
            <a:noFill/>
            <a:prstDash val="solid"/>
            <a:miter/>
          </a:ln>
        </p:spPr>
        <p:txBody>
          <a:bodyPr rtlCol="0" anchor="ctr"/>
          <a:lstStyle/>
          <a:p>
            <a:endParaRPr lang="de-DE"/>
          </a:p>
        </p:txBody>
      </p:sp>
      <p:sp>
        <p:nvSpPr>
          <p:cNvPr id="154" name="Freihandform: Form 153">
            <a:extLst>
              <a:ext uri="{FF2B5EF4-FFF2-40B4-BE49-F238E27FC236}">
                <a16:creationId xmlns:a16="http://schemas.microsoft.com/office/drawing/2014/main" id="{46119847-314D-4401-B853-7CDAC232D928}"/>
              </a:ext>
            </a:extLst>
          </p:cNvPr>
          <p:cNvSpPr/>
          <p:nvPr/>
        </p:nvSpPr>
        <p:spPr>
          <a:xfrm>
            <a:off x="11494017" y="4768709"/>
            <a:ext cx="330930" cy="360061"/>
          </a:xfrm>
          <a:custGeom>
            <a:avLst/>
            <a:gdLst>
              <a:gd name="connsiteX0" fmla="*/ 151482 w 330930"/>
              <a:gd name="connsiteY0" fmla="*/ 360062 h 360061"/>
              <a:gd name="connsiteX1" fmla="*/ 0 w 330930"/>
              <a:gd name="connsiteY1" fmla="*/ 360062 h 360061"/>
              <a:gd name="connsiteX2" fmla="*/ 177118 w 330930"/>
              <a:gd name="connsiteY2" fmla="*/ 181779 h 360061"/>
              <a:gd name="connsiteX3" fmla="*/ 0 w 330930"/>
              <a:gd name="connsiteY3" fmla="*/ 0 h 360061"/>
              <a:gd name="connsiteX4" fmla="*/ 154979 w 330930"/>
              <a:gd name="connsiteY4" fmla="*/ 0 h 360061"/>
              <a:gd name="connsiteX5" fmla="*/ 330931 w 330930"/>
              <a:gd name="connsiteY5" fmla="*/ 177118 h 360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930" h="360061">
                <a:moveTo>
                  <a:pt x="151482" y="360062"/>
                </a:moveTo>
                <a:lnTo>
                  <a:pt x="0" y="360062"/>
                </a:lnTo>
                <a:lnTo>
                  <a:pt x="177118" y="181779"/>
                </a:lnTo>
                <a:lnTo>
                  <a:pt x="0" y="0"/>
                </a:lnTo>
                <a:lnTo>
                  <a:pt x="154979" y="0"/>
                </a:lnTo>
                <a:lnTo>
                  <a:pt x="330931" y="177118"/>
                </a:lnTo>
                <a:close/>
              </a:path>
            </a:pathLst>
          </a:custGeom>
          <a:solidFill>
            <a:srgbClr val="EEF2F5"/>
          </a:solidFill>
          <a:ln w="11643" cap="flat">
            <a:noFill/>
            <a:prstDash val="solid"/>
            <a:miter/>
          </a:ln>
        </p:spPr>
        <p:txBody>
          <a:bodyPr rtlCol="0" anchor="ctr"/>
          <a:lstStyle/>
          <a:p>
            <a:endParaRPr lang="de-DE"/>
          </a:p>
        </p:txBody>
      </p:sp>
      <p:sp>
        <p:nvSpPr>
          <p:cNvPr id="88" name="Freihandform: Form 87">
            <a:extLst>
              <a:ext uri="{FF2B5EF4-FFF2-40B4-BE49-F238E27FC236}">
                <a16:creationId xmlns:a16="http://schemas.microsoft.com/office/drawing/2014/main" id="{021EABD8-89C7-4331-9946-CAAC34E3DC2D}"/>
              </a:ext>
            </a:extLst>
          </p:cNvPr>
          <p:cNvSpPr/>
          <p:nvPr/>
        </p:nvSpPr>
        <p:spPr>
          <a:xfrm>
            <a:off x="11147939" y="3358759"/>
            <a:ext cx="314616" cy="341417"/>
          </a:xfrm>
          <a:custGeom>
            <a:avLst/>
            <a:gdLst>
              <a:gd name="connsiteX0" fmla="*/ 143325 w 314616"/>
              <a:gd name="connsiteY0" fmla="*/ 341418 h 341417"/>
              <a:gd name="connsiteX1" fmla="*/ 0 w 314616"/>
              <a:gd name="connsiteY1" fmla="*/ 341418 h 341417"/>
              <a:gd name="connsiteX2" fmla="*/ 167795 w 314616"/>
              <a:gd name="connsiteY2" fmla="*/ 172457 h 341417"/>
              <a:gd name="connsiteX3" fmla="*/ 0 w 314616"/>
              <a:gd name="connsiteY3" fmla="*/ 0 h 341417"/>
              <a:gd name="connsiteX4" fmla="*/ 146821 w 314616"/>
              <a:gd name="connsiteY4" fmla="*/ 0 h 341417"/>
              <a:gd name="connsiteX5" fmla="*/ 314617 w 314616"/>
              <a:gd name="connsiteY5" fmla="*/ 167796 h 341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4616" h="341417">
                <a:moveTo>
                  <a:pt x="143325" y="341418"/>
                </a:moveTo>
                <a:lnTo>
                  <a:pt x="0" y="341418"/>
                </a:lnTo>
                <a:lnTo>
                  <a:pt x="167795" y="172457"/>
                </a:lnTo>
                <a:lnTo>
                  <a:pt x="0" y="0"/>
                </a:lnTo>
                <a:lnTo>
                  <a:pt x="146821" y="0"/>
                </a:lnTo>
                <a:lnTo>
                  <a:pt x="314617" y="167796"/>
                </a:lnTo>
                <a:close/>
              </a:path>
            </a:pathLst>
          </a:custGeom>
          <a:solidFill>
            <a:srgbClr val="EEF2F5"/>
          </a:solidFill>
          <a:ln w="11643" cap="flat">
            <a:noFill/>
            <a:prstDash val="solid"/>
            <a:miter/>
          </a:ln>
        </p:spPr>
        <p:txBody>
          <a:bodyPr rtlCol="0" anchor="ctr"/>
          <a:lstStyle/>
          <a:p>
            <a:endParaRPr lang="de-DE"/>
          </a:p>
        </p:txBody>
      </p:sp>
      <p:sp>
        <p:nvSpPr>
          <p:cNvPr id="104" name="Freihandform: Form 103">
            <a:extLst>
              <a:ext uri="{FF2B5EF4-FFF2-40B4-BE49-F238E27FC236}">
                <a16:creationId xmlns:a16="http://schemas.microsoft.com/office/drawing/2014/main" id="{2DAD8994-DFB7-4D8A-B3A1-95AEBE830246}"/>
              </a:ext>
            </a:extLst>
          </p:cNvPr>
          <p:cNvSpPr/>
          <p:nvPr/>
        </p:nvSpPr>
        <p:spPr>
          <a:xfrm>
            <a:off x="11147939" y="3714159"/>
            <a:ext cx="314616" cy="340252"/>
          </a:xfrm>
          <a:custGeom>
            <a:avLst/>
            <a:gdLst>
              <a:gd name="connsiteX0" fmla="*/ 143325 w 314616"/>
              <a:gd name="connsiteY0" fmla="*/ 340252 h 340252"/>
              <a:gd name="connsiteX1" fmla="*/ 0 w 314616"/>
              <a:gd name="connsiteY1" fmla="*/ 340252 h 340252"/>
              <a:gd name="connsiteX2" fmla="*/ 167795 w 314616"/>
              <a:gd name="connsiteY2" fmla="*/ 171291 h 340252"/>
              <a:gd name="connsiteX3" fmla="*/ 0 w 314616"/>
              <a:gd name="connsiteY3" fmla="*/ 0 h 340252"/>
              <a:gd name="connsiteX4" fmla="*/ 146821 w 314616"/>
              <a:gd name="connsiteY4" fmla="*/ 0 h 340252"/>
              <a:gd name="connsiteX5" fmla="*/ 314617 w 314616"/>
              <a:gd name="connsiteY5" fmla="*/ 166631 h 340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4616" h="340252">
                <a:moveTo>
                  <a:pt x="143325" y="340252"/>
                </a:moveTo>
                <a:lnTo>
                  <a:pt x="0" y="340252"/>
                </a:lnTo>
                <a:lnTo>
                  <a:pt x="167795" y="171291"/>
                </a:lnTo>
                <a:lnTo>
                  <a:pt x="0" y="0"/>
                </a:lnTo>
                <a:lnTo>
                  <a:pt x="146821" y="0"/>
                </a:lnTo>
                <a:lnTo>
                  <a:pt x="314617" y="166631"/>
                </a:lnTo>
                <a:close/>
              </a:path>
            </a:pathLst>
          </a:custGeom>
          <a:solidFill>
            <a:srgbClr val="EEF2F5"/>
          </a:solidFill>
          <a:ln w="11643" cap="flat">
            <a:noFill/>
            <a:prstDash val="solid"/>
            <a:miter/>
          </a:ln>
        </p:spPr>
        <p:txBody>
          <a:bodyPr rtlCol="0" anchor="ctr"/>
          <a:lstStyle/>
          <a:p>
            <a:endParaRPr lang="de-DE"/>
          </a:p>
        </p:txBody>
      </p:sp>
      <p:sp>
        <p:nvSpPr>
          <p:cNvPr id="120" name="Freihandform: Form 119">
            <a:extLst>
              <a:ext uri="{FF2B5EF4-FFF2-40B4-BE49-F238E27FC236}">
                <a16:creationId xmlns:a16="http://schemas.microsoft.com/office/drawing/2014/main" id="{9CAC8A30-61AB-4046-B8E4-22F4EC6F7681}"/>
              </a:ext>
            </a:extLst>
          </p:cNvPr>
          <p:cNvSpPr/>
          <p:nvPr/>
        </p:nvSpPr>
        <p:spPr>
          <a:xfrm>
            <a:off x="11147939" y="4068395"/>
            <a:ext cx="314616" cy="341417"/>
          </a:xfrm>
          <a:custGeom>
            <a:avLst/>
            <a:gdLst>
              <a:gd name="connsiteX0" fmla="*/ 143325 w 314616"/>
              <a:gd name="connsiteY0" fmla="*/ 341418 h 341417"/>
              <a:gd name="connsiteX1" fmla="*/ 0 w 314616"/>
              <a:gd name="connsiteY1" fmla="*/ 341418 h 341417"/>
              <a:gd name="connsiteX2" fmla="*/ 167795 w 314616"/>
              <a:gd name="connsiteY2" fmla="*/ 172457 h 341417"/>
              <a:gd name="connsiteX3" fmla="*/ 0 w 314616"/>
              <a:gd name="connsiteY3" fmla="*/ 0 h 341417"/>
              <a:gd name="connsiteX4" fmla="*/ 146821 w 314616"/>
              <a:gd name="connsiteY4" fmla="*/ 0 h 341417"/>
              <a:gd name="connsiteX5" fmla="*/ 314617 w 314616"/>
              <a:gd name="connsiteY5" fmla="*/ 167796 h 341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4616" h="341417">
                <a:moveTo>
                  <a:pt x="143325" y="341418"/>
                </a:moveTo>
                <a:lnTo>
                  <a:pt x="0" y="341418"/>
                </a:lnTo>
                <a:lnTo>
                  <a:pt x="167795" y="172457"/>
                </a:lnTo>
                <a:lnTo>
                  <a:pt x="0" y="0"/>
                </a:lnTo>
                <a:lnTo>
                  <a:pt x="146821" y="0"/>
                </a:lnTo>
                <a:lnTo>
                  <a:pt x="314617" y="167796"/>
                </a:lnTo>
                <a:close/>
              </a:path>
            </a:pathLst>
          </a:custGeom>
          <a:solidFill>
            <a:srgbClr val="EEF2F5"/>
          </a:solidFill>
          <a:ln w="11643" cap="flat">
            <a:noFill/>
            <a:prstDash val="solid"/>
            <a:miter/>
          </a:ln>
        </p:spPr>
        <p:txBody>
          <a:bodyPr rtlCol="0" anchor="ctr"/>
          <a:lstStyle/>
          <a:p>
            <a:endParaRPr lang="de-DE"/>
          </a:p>
        </p:txBody>
      </p:sp>
      <p:sp>
        <p:nvSpPr>
          <p:cNvPr id="136" name="Freihandform: Form 135">
            <a:extLst>
              <a:ext uri="{FF2B5EF4-FFF2-40B4-BE49-F238E27FC236}">
                <a16:creationId xmlns:a16="http://schemas.microsoft.com/office/drawing/2014/main" id="{514370C7-4CF6-451C-90DF-3B79CA5A0A59}"/>
              </a:ext>
            </a:extLst>
          </p:cNvPr>
          <p:cNvSpPr/>
          <p:nvPr/>
        </p:nvSpPr>
        <p:spPr>
          <a:xfrm>
            <a:off x="11147939" y="4423796"/>
            <a:ext cx="314616" cy="340252"/>
          </a:xfrm>
          <a:custGeom>
            <a:avLst/>
            <a:gdLst>
              <a:gd name="connsiteX0" fmla="*/ 143325 w 314616"/>
              <a:gd name="connsiteY0" fmla="*/ 340252 h 340252"/>
              <a:gd name="connsiteX1" fmla="*/ 0 w 314616"/>
              <a:gd name="connsiteY1" fmla="*/ 340252 h 340252"/>
              <a:gd name="connsiteX2" fmla="*/ 167795 w 314616"/>
              <a:gd name="connsiteY2" fmla="*/ 171291 h 340252"/>
              <a:gd name="connsiteX3" fmla="*/ 0 w 314616"/>
              <a:gd name="connsiteY3" fmla="*/ 0 h 340252"/>
              <a:gd name="connsiteX4" fmla="*/ 146821 w 314616"/>
              <a:gd name="connsiteY4" fmla="*/ 0 h 340252"/>
              <a:gd name="connsiteX5" fmla="*/ 314617 w 314616"/>
              <a:gd name="connsiteY5" fmla="*/ 167796 h 340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4616" h="340252">
                <a:moveTo>
                  <a:pt x="143325" y="340252"/>
                </a:moveTo>
                <a:lnTo>
                  <a:pt x="0" y="340252"/>
                </a:lnTo>
                <a:lnTo>
                  <a:pt x="167795" y="171291"/>
                </a:lnTo>
                <a:lnTo>
                  <a:pt x="0" y="0"/>
                </a:lnTo>
                <a:lnTo>
                  <a:pt x="146821" y="0"/>
                </a:lnTo>
                <a:lnTo>
                  <a:pt x="314617" y="167796"/>
                </a:lnTo>
                <a:close/>
              </a:path>
            </a:pathLst>
          </a:custGeom>
          <a:solidFill>
            <a:srgbClr val="EEF2F5"/>
          </a:solidFill>
          <a:ln w="11643" cap="flat">
            <a:noFill/>
            <a:prstDash val="solid"/>
            <a:miter/>
          </a:ln>
        </p:spPr>
        <p:txBody>
          <a:bodyPr rtlCol="0" anchor="ctr"/>
          <a:lstStyle/>
          <a:p>
            <a:endParaRPr lang="de-DE"/>
          </a:p>
        </p:txBody>
      </p:sp>
      <p:sp>
        <p:nvSpPr>
          <p:cNvPr id="153" name="Freihandform: Form 152">
            <a:extLst>
              <a:ext uri="{FF2B5EF4-FFF2-40B4-BE49-F238E27FC236}">
                <a16:creationId xmlns:a16="http://schemas.microsoft.com/office/drawing/2014/main" id="{6D62BA37-26ED-4588-AD4A-3F0CC1E972FD}"/>
              </a:ext>
            </a:extLst>
          </p:cNvPr>
          <p:cNvSpPr/>
          <p:nvPr/>
        </p:nvSpPr>
        <p:spPr>
          <a:xfrm>
            <a:off x="11147939" y="4778031"/>
            <a:ext cx="314616" cy="341417"/>
          </a:xfrm>
          <a:custGeom>
            <a:avLst/>
            <a:gdLst>
              <a:gd name="connsiteX0" fmla="*/ 143325 w 314616"/>
              <a:gd name="connsiteY0" fmla="*/ 341418 h 341417"/>
              <a:gd name="connsiteX1" fmla="*/ 0 w 314616"/>
              <a:gd name="connsiteY1" fmla="*/ 341418 h 341417"/>
              <a:gd name="connsiteX2" fmla="*/ 167795 w 314616"/>
              <a:gd name="connsiteY2" fmla="*/ 172457 h 341417"/>
              <a:gd name="connsiteX3" fmla="*/ 0 w 314616"/>
              <a:gd name="connsiteY3" fmla="*/ 0 h 341417"/>
              <a:gd name="connsiteX4" fmla="*/ 146821 w 314616"/>
              <a:gd name="connsiteY4" fmla="*/ 0 h 341417"/>
              <a:gd name="connsiteX5" fmla="*/ 314617 w 314616"/>
              <a:gd name="connsiteY5" fmla="*/ 167796 h 341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4616" h="341417">
                <a:moveTo>
                  <a:pt x="143325" y="341418"/>
                </a:moveTo>
                <a:lnTo>
                  <a:pt x="0" y="341418"/>
                </a:lnTo>
                <a:lnTo>
                  <a:pt x="167795" y="172457"/>
                </a:lnTo>
                <a:lnTo>
                  <a:pt x="0" y="0"/>
                </a:lnTo>
                <a:lnTo>
                  <a:pt x="146821" y="0"/>
                </a:lnTo>
                <a:lnTo>
                  <a:pt x="314617" y="167796"/>
                </a:lnTo>
                <a:close/>
              </a:path>
            </a:pathLst>
          </a:custGeom>
          <a:solidFill>
            <a:srgbClr val="EEF2F5"/>
          </a:solidFill>
          <a:ln w="11643" cap="flat">
            <a:noFill/>
            <a:prstDash val="solid"/>
            <a:miter/>
          </a:ln>
        </p:spPr>
        <p:txBody>
          <a:bodyPr rtlCol="0" anchor="ctr"/>
          <a:lstStyle/>
          <a:p>
            <a:endParaRPr lang="de-DE"/>
          </a:p>
        </p:txBody>
      </p:sp>
      <p:sp>
        <p:nvSpPr>
          <p:cNvPr id="170" name="Freihandform: Form 169">
            <a:extLst>
              <a:ext uri="{FF2B5EF4-FFF2-40B4-BE49-F238E27FC236}">
                <a16:creationId xmlns:a16="http://schemas.microsoft.com/office/drawing/2014/main" id="{6E70AB4A-6E36-4A08-8730-471DDB749A6F}"/>
              </a:ext>
            </a:extLst>
          </p:cNvPr>
          <p:cNvSpPr/>
          <p:nvPr/>
        </p:nvSpPr>
        <p:spPr>
          <a:xfrm>
            <a:off x="11147939" y="5133432"/>
            <a:ext cx="314616" cy="341417"/>
          </a:xfrm>
          <a:custGeom>
            <a:avLst/>
            <a:gdLst>
              <a:gd name="connsiteX0" fmla="*/ 143325 w 314616"/>
              <a:gd name="connsiteY0" fmla="*/ 341418 h 341417"/>
              <a:gd name="connsiteX1" fmla="*/ 0 w 314616"/>
              <a:gd name="connsiteY1" fmla="*/ 341418 h 341417"/>
              <a:gd name="connsiteX2" fmla="*/ 167795 w 314616"/>
              <a:gd name="connsiteY2" fmla="*/ 171292 h 341417"/>
              <a:gd name="connsiteX3" fmla="*/ 0 w 314616"/>
              <a:gd name="connsiteY3" fmla="*/ 0 h 341417"/>
              <a:gd name="connsiteX4" fmla="*/ 146821 w 314616"/>
              <a:gd name="connsiteY4" fmla="*/ 0 h 341417"/>
              <a:gd name="connsiteX5" fmla="*/ 314617 w 314616"/>
              <a:gd name="connsiteY5" fmla="*/ 167796 h 341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4616" h="341417">
                <a:moveTo>
                  <a:pt x="143325" y="341418"/>
                </a:moveTo>
                <a:lnTo>
                  <a:pt x="0" y="341418"/>
                </a:lnTo>
                <a:lnTo>
                  <a:pt x="167795" y="171292"/>
                </a:lnTo>
                <a:lnTo>
                  <a:pt x="0" y="0"/>
                </a:lnTo>
                <a:lnTo>
                  <a:pt x="146821" y="0"/>
                </a:lnTo>
                <a:lnTo>
                  <a:pt x="314617" y="167796"/>
                </a:lnTo>
                <a:close/>
              </a:path>
            </a:pathLst>
          </a:custGeom>
          <a:solidFill>
            <a:srgbClr val="EEF2F5"/>
          </a:solidFill>
          <a:ln w="11643" cap="flat">
            <a:noFill/>
            <a:prstDash val="solid"/>
            <a:miter/>
          </a:ln>
        </p:spPr>
        <p:txBody>
          <a:bodyPr rtlCol="0" anchor="ctr"/>
          <a:lstStyle/>
          <a:p>
            <a:endParaRPr lang="de-DE"/>
          </a:p>
        </p:txBody>
      </p:sp>
      <p:sp>
        <p:nvSpPr>
          <p:cNvPr id="71" name="Freihandform: Form 70">
            <a:extLst>
              <a:ext uri="{FF2B5EF4-FFF2-40B4-BE49-F238E27FC236}">
                <a16:creationId xmlns:a16="http://schemas.microsoft.com/office/drawing/2014/main" id="{EC37F69B-71A5-4B22-89E2-2B86538897C6}"/>
              </a:ext>
            </a:extLst>
          </p:cNvPr>
          <p:cNvSpPr/>
          <p:nvPr/>
        </p:nvSpPr>
        <p:spPr>
          <a:xfrm>
            <a:off x="10801860" y="3012680"/>
            <a:ext cx="297138" cy="323938"/>
          </a:xfrm>
          <a:custGeom>
            <a:avLst/>
            <a:gdLst>
              <a:gd name="connsiteX0" fmla="*/ 135168 w 297138"/>
              <a:gd name="connsiteY0" fmla="*/ 323939 h 323938"/>
              <a:gd name="connsiteX1" fmla="*/ 0 w 297138"/>
              <a:gd name="connsiteY1" fmla="*/ 323939 h 323938"/>
              <a:gd name="connsiteX2" fmla="*/ 158473 w 297138"/>
              <a:gd name="connsiteY2" fmla="*/ 163135 h 323938"/>
              <a:gd name="connsiteX3" fmla="*/ 0 w 297138"/>
              <a:gd name="connsiteY3" fmla="*/ 0 h 323938"/>
              <a:gd name="connsiteX4" fmla="*/ 138664 w 297138"/>
              <a:gd name="connsiteY4" fmla="*/ 0 h 323938"/>
              <a:gd name="connsiteX5" fmla="*/ 297138 w 297138"/>
              <a:gd name="connsiteY5" fmla="*/ 159639 h 323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3938">
                <a:moveTo>
                  <a:pt x="135168" y="323939"/>
                </a:moveTo>
                <a:lnTo>
                  <a:pt x="0" y="323939"/>
                </a:lnTo>
                <a:lnTo>
                  <a:pt x="158473" y="163135"/>
                </a:lnTo>
                <a:lnTo>
                  <a:pt x="0" y="0"/>
                </a:lnTo>
                <a:lnTo>
                  <a:pt x="138664" y="0"/>
                </a:lnTo>
                <a:lnTo>
                  <a:pt x="297138" y="159639"/>
                </a:lnTo>
                <a:close/>
              </a:path>
            </a:pathLst>
          </a:custGeom>
          <a:solidFill>
            <a:srgbClr val="EEF2F5"/>
          </a:solidFill>
          <a:ln w="11643" cap="flat">
            <a:noFill/>
            <a:prstDash val="solid"/>
            <a:miter/>
          </a:ln>
        </p:spPr>
        <p:txBody>
          <a:bodyPr rtlCol="0" anchor="ctr"/>
          <a:lstStyle/>
          <a:p>
            <a:endParaRPr lang="de-DE"/>
          </a:p>
        </p:txBody>
      </p:sp>
      <p:sp>
        <p:nvSpPr>
          <p:cNvPr id="87" name="Freihandform: Form 86">
            <a:extLst>
              <a:ext uri="{FF2B5EF4-FFF2-40B4-BE49-F238E27FC236}">
                <a16:creationId xmlns:a16="http://schemas.microsoft.com/office/drawing/2014/main" id="{6027B9E1-4632-4B82-9FA3-1E60661DE0B8}"/>
              </a:ext>
            </a:extLst>
          </p:cNvPr>
          <p:cNvSpPr/>
          <p:nvPr/>
        </p:nvSpPr>
        <p:spPr>
          <a:xfrm>
            <a:off x="10801860" y="3368081"/>
            <a:ext cx="297138" cy="322773"/>
          </a:xfrm>
          <a:custGeom>
            <a:avLst/>
            <a:gdLst>
              <a:gd name="connsiteX0" fmla="*/ 135168 w 297138"/>
              <a:gd name="connsiteY0" fmla="*/ 322774 h 322773"/>
              <a:gd name="connsiteX1" fmla="*/ 0 w 297138"/>
              <a:gd name="connsiteY1" fmla="*/ 322774 h 322773"/>
              <a:gd name="connsiteX2" fmla="*/ 158473 w 297138"/>
              <a:gd name="connsiteY2" fmla="*/ 163135 h 322773"/>
              <a:gd name="connsiteX3" fmla="*/ 0 w 297138"/>
              <a:gd name="connsiteY3" fmla="*/ 0 h 322773"/>
              <a:gd name="connsiteX4" fmla="*/ 138664 w 297138"/>
              <a:gd name="connsiteY4" fmla="*/ 0 h 322773"/>
              <a:gd name="connsiteX5" fmla="*/ 297138 w 297138"/>
              <a:gd name="connsiteY5" fmla="*/ 158474 h 322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2773">
                <a:moveTo>
                  <a:pt x="135168" y="322774"/>
                </a:moveTo>
                <a:lnTo>
                  <a:pt x="0" y="322774"/>
                </a:lnTo>
                <a:lnTo>
                  <a:pt x="158473" y="163135"/>
                </a:lnTo>
                <a:lnTo>
                  <a:pt x="0" y="0"/>
                </a:lnTo>
                <a:lnTo>
                  <a:pt x="138664" y="0"/>
                </a:lnTo>
                <a:lnTo>
                  <a:pt x="297138" y="158474"/>
                </a:lnTo>
                <a:close/>
              </a:path>
            </a:pathLst>
          </a:custGeom>
          <a:solidFill>
            <a:srgbClr val="EEF2F5"/>
          </a:solidFill>
          <a:ln w="11643" cap="flat">
            <a:noFill/>
            <a:prstDash val="solid"/>
            <a:miter/>
          </a:ln>
        </p:spPr>
        <p:txBody>
          <a:bodyPr rtlCol="0" anchor="ctr"/>
          <a:lstStyle/>
          <a:p>
            <a:endParaRPr lang="de-DE"/>
          </a:p>
        </p:txBody>
      </p:sp>
      <p:sp>
        <p:nvSpPr>
          <p:cNvPr id="103" name="Freihandform: Form 102">
            <a:extLst>
              <a:ext uri="{FF2B5EF4-FFF2-40B4-BE49-F238E27FC236}">
                <a16:creationId xmlns:a16="http://schemas.microsoft.com/office/drawing/2014/main" id="{A133033E-1247-4F36-9A54-C51B13CBD1CE}"/>
              </a:ext>
            </a:extLst>
          </p:cNvPr>
          <p:cNvSpPr/>
          <p:nvPr/>
        </p:nvSpPr>
        <p:spPr>
          <a:xfrm>
            <a:off x="10801860" y="3722316"/>
            <a:ext cx="297138" cy="323938"/>
          </a:xfrm>
          <a:custGeom>
            <a:avLst/>
            <a:gdLst>
              <a:gd name="connsiteX0" fmla="*/ 135168 w 297138"/>
              <a:gd name="connsiteY0" fmla="*/ 323939 h 323938"/>
              <a:gd name="connsiteX1" fmla="*/ 0 w 297138"/>
              <a:gd name="connsiteY1" fmla="*/ 323939 h 323938"/>
              <a:gd name="connsiteX2" fmla="*/ 158473 w 297138"/>
              <a:gd name="connsiteY2" fmla="*/ 163135 h 323938"/>
              <a:gd name="connsiteX3" fmla="*/ 0 w 297138"/>
              <a:gd name="connsiteY3" fmla="*/ 0 h 323938"/>
              <a:gd name="connsiteX4" fmla="*/ 138664 w 297138"/>
              <a:gd name="connsiteY4" fmla="*/ 0 h 323938"/>
              <a:gd name="connsiteX5" fmla="*/ 297138 w 297138"/>
              <a:gd name="connsiteY5" fmla="*/ 159639 h 323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3938">
                <a:moveTo>
                  <a:pt x="135168" y="323939"/>
                </a:moveTo>
                <a:lnTo>
                  <a:pt x="0" y="323939"/>
                </a:lnTo>
                <a:lnTo>
                  <a:pt x="158473" y="163135"/>
                </a:lnTo>
                <a:lnTo>
                  <a:pt x="0" y="0"/>
                </a:lnTo>
                <a:lnTo>
                  <a:pt x="138664" y="0"/>
                </a:lnTo>
                <a:lnTo>
                  <a:pt x="297138" y="159639"/>
                </a:lnTo>
                <a:close/>
              </a:path>
            </a:pathLst>
          </a:custGeom>
          <a:solidFill>
            <a:srgbClr val="EEF2F5"/>
          </a:solidFill>
          <a:ln w="11643" cap="flat">
            <a:noFill/>
            <a:prstDash val="solid"/>
            <a:miter/>
          </a:ln>
        </p:spPr>
        <p:txBody>
          <a:bodyPr rtlCol="0" anchor="ctr"/>
          <a:lstStyle/>
          <a:p>
            <a:endParaRPr lang="de-DE"/>
          </a:p>
        </p:txBody>
      </p:sp>
      <p:sp>
        <p:nvSpPr>
          <p:cNvPr id="119" name="Freihandform: Form 118">
            <a:extLst>
              <a:ext uri="{FF2B5EF4-FFF2-40B4-BE49-F238E27FC236}">
                <a16:creationId xmlns:a16="http://schemas.microsoft.com/office/drawing/2014/main" id="{48E055C3-701A-4F5A-8DFA-C4FA735748CE}"/>
              </a:ext>
            </a:extLst>
          </p:cNvPr>
          <p:cNvSpPr/>
          <p:nvPr/>
        </p:nvSpPr>
        <p:spPr>
          <a:xfrm>
            <a:off x="10801860" y="4077717"/>
            <a:ext cx="297138" cy="322773"/>
          </a:xfrm>
          <a:custGeom>
            <a:avLst/>
            <a:gdLst>
              <a:gd name="connsiteX0" fmla="*/ 135168 w 297138"/>
              <a:gd name="connsiteY0" fmla="*/ 322774 h 322773"/>
              <a:gd name="connsiteX1" fmla="*/ 0 w 297138"/>
              <a:gd name="connsiteY1" fmla="*/ 322774 h 322773"/>
              <a:gd name="connsiteX2" fmla="*/ 158473 w 297138"/>
              <a:gd name="connsiteY2" fmla="*/ 163135 h 322773"/>
              <a:gd name="connsiteX3" fmla="*/ 0 w 297138"/>
              <a:gd name="connsiteY3" fmla="*/ 0 h 322773"/>
              <a:gd name="connsiteX4" fmla="*/ 138664 w 297138"/>
              <a:gd name="connsiteY4" fmla="*/ 0 h 322773"/>
              <a:gd name="connsiteX5" fmla="*/ 297138 w 297138"/>
              <a:gd name="connsiteY5" fmla="*/ 158474 h 322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2773">
                <a:moveTo>
                  <a:pt x="135168" y="322774"/>
                </a:moveTo>
                <a:lnTo>
                  <a:pt x="0" y="322774"/>
                </a:lnTo>
                <a:lnTo>
                  <a:pt x="158473" y="163135"/>
                </a:lnTo>
                <a:lnTo>
                  <a:pt x="0" y="0"/>
                </a:lnTo>
                <a:lnTo>
                  <a:pt x="138664" y="0"/>
                </a:lnTo>
                <a:lnTo>
                  <a:pt x="297138" y="158474"/>
                </a:lnTo>
                <a:close/>
              </a:path>
            </a:pathLst>
          </a:custGeom>
          <a:solidFill>
            <a:srgbClr val="EEF2F5"/>
          </a:solidFill>
          <a:ln w="11643" cap="flat">
            <a:noFill/>
            <a:prstDash val="solid"/>
            <a:miter/>
          </a:ln>
        </p:spPr>
        <p:txBody>
          <a:bodyPr rtlCol="0" anchor="ctr"/>
          <a:lstStyle/>
          <a:p>
            <a:endParaRPr lang="de-DE"/>
          </a:p>
        </p:txBody>
      </p:sp>
      <p:sp>
        <p:nvSpPr>
          <p:cNvPr id="135" name="Freihandform: Form 134">
            <a:extLst>
              <a:ext uri="{FF2B5EF4-FFF2-40B4-BE49-F238E27FC236}">
                <a16:creationId xmlns:a16="http://schemas.microsoft.com/office/drawing/2014/main" id="{BCADBC01-33BC-4B7C-9DB7-FA73F490E349}"/>
              </a:ext>
            </a:extLst>
          </p:cNvPr>
          <p:cNvSpPr/>
          <p:nvPr/>
        </p:nvSpPr>
        <p:spPr>
          <a:xfrm>
            <a:off x="10801860" y="4431952"/>
            <a:ext cx="297138" cy="323938"/>
          </a:xfrm>
          <a:custGeom>
            <a:avLst/>
            <a:gdLst>
              <a:gd name="connsiteX0" fmla="*/ 135168 w 297138"/>
              <a:gd name="connsiteY0" fmla="*/ 323939 h 323938"/>
              <a:gd name="connsiteX1" fmla="*/ 0 w 297138"/>
              <a:gd name="connsiteY1" fmla="*/ 323939 h 323938"/>
              <a:gd name="connsiteX2" fmla="*/ 158473 w 297138"/>
              <a:gd name="connsiteY2" fmla="*/ 163135 h 323938"/>
              <a:gd name="connsiteX3" fmla="*/ 0 w 297138"/>
              <a:gd name="connsiteY3" fmla="*/ 0 h 323938"/>
              <a:gd name="connsiteX4" fmla="*/ 138664 w 297138"/>
              <a:gd name="connsiteY4" fmla="*/ 0 h 323938"/>
              <a:gd name="connsiteX5" fmla="*/ 297138 w 297138"/>
              <a:gd name="connsiteY5" fmla="*/ 159639 h 323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3938">
                <a:moveTo>
                  <a:pt x="135168" y="323939"/>
                </a:moveTo>
                <a:lnTo>
                  <a:pt x="0" y="323939"/>
                </a:lnTo>
                <a:lnTo>
                  <a:pt x="158473" y="163135"/>
                </a:lnTo>
                <a:lnTo>
                  <a:pt x="0" y="0"/>
                </a:lnTo>
                <a:lnTo>
                  <a:pt x="138664" y="0"/>
                </a:lnTo>
                <a:lnTo>
                  <a:pt x="297138" y="159639"/>
                </a:lnTo>
                <a:close/>
              </a:path>
            </a:pathLst>
          </a:custGeom>
          <a:solidFill>
            <a:srgbClr val="EEF2F5"/>
          </a:solidFill>
          <a:ln w="11643" cap="flat">
            <a:noFill/>
            <a:prstDash val="solid"/>
            <a:miter/>
          </a:ln>
        </p:spPr>
        <p:txBody>
          <a:bodyPr rtlCol="0" anchor="ctr"/>
          <a:lstStyle/>
          <a:p>
            <a:endParaRPr lang="de-DE"/>
          </a:p>
        </p:txBody>
      </p:sp>
      <p:sp>
        <p:nvSpPr>
          <p:cNvPr id="152" name="Freihandform: Form 151">
            <a:extLst>
              <a:ext uri="{FF2B5EF4-FFF2-40B4-BE49-F238E27FC236}">
                <a16:creationId xmlns:a16="http://schemas.microsoft.com/office/drawing/2014/main" id="{5F12261A-EADD-41CA-AC37-DF4EAA94F5DA}"/>
              </a:ext>
            </a:extLst>
          </p:cNvPr>
          <p:cNvSpPr/>
          <p:nvPr/>
        </p:nvSpPr>
        <p:spPr>
          <a:xfrm>
            <a:off x="10801860" y="4787353"/>
            <a:ext cx="297138" cy="322773"/>
          </a:xfrm>
          <a:custGeom>
            <a:avLst/>
            <a:gdLst>
              <a:gd name="connsiteX0" fmla="*/ 135168 w 297138"/>
              <a:gd name="connsiteY0" fmla="*/ 322774 h 322773"/>
              <a:gd name="connsiteX1" fmla="*/ 0 w 297138"/>
              <a:gd name="connsiteY1" fmla="*/ 322774 h 322773"/>
              <a:gd name="connsiteX2" fmla="*/ 158473 w 297138"/>
              <a:gd name="connsiteY2" fmla="*/ 163135 h 322773"/>
              <a:gd name="connsiteX3" fmla="*/ 0 w 297138"/>
              <a:gd name="connsiteY3" fmla="*/ 0 h 322773"/>
              <a:gd name="connsiteX4" fmla="*/ 138664 w 297138"/>
              <a:gd name="connsiteY4" fmla="*/ 0 h 322773"/>
              <a:gd name="connsiteX5" fmla="*/ 297138 w 297138"/>
              <a:gd name="connsiteY5" fmla="*/ 158474 h 322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2773">
                <a:moveTo>
                  <a:pt x="135168" y="322774"/>
                </a:moveTo>
                <a:lnTo>
                  <a:pt x="0" y="322774"/>
                </a:lnTo>
                <a:lnTo>
                  <a:pt x="158473" y="163135"/>
                </a:lnTo>
                <a:lnTo>
                  <a:pt x="0" y="0"/>
                </a:lnTo>
                <a:lnTo>
                  <a:pt x="138664" y="0"/>
                </a:lnTo>
                <a:lnTo>
                  <a:pt x="297138" y="158474"/>
                </a:lnTo>
                <a:close/>
              </a:path>
            </a:pathLst>
          </a:custGeom>
          <a:solidFill>
            <a:srgbClr val="EEF2F5"/>
          </a:solidFill>
          <a:ln w="11643" cap="flat">
            <a:noFill/>
            <a:prstDash val="solid"/>
            <a:miter/>
          </a:ln>
        </p:spPr>
        <p:txBody>
          <a:bodyPr rtlCol="0" anchor="ctr"/>
          <a:lstStyle/>
          <a:p>
            <a:endParaRPr lang="de-DE"/>
          </a:p>
        </p:txBody>
      </p:sp>
      <p:sp>
        <p:nvSpPr>
          <p:cNvPr id="169" name="Freihandform: Form 168">
            <a:extLst>
              <a:ext uri="{FF2B5EF4-FFF2-40B4-BE49-F238E27FC236}">
                <a16:creationId xmlns:a16="http://schemas.microsoft.com/office/drawing/2014/main" id="{2684278A-133A-44B1-BD42-3154900841C6}"/>
              </a:ext>
            </a:extLst>
          </p:cNvPr>
          <p:cNvSpPr/>
          <p:nvPr/>
        </p:nvSpPr>
        <p:spPr>
          <a:xfrm>
            <a:off x="10801860" y="5141588"/>
            <a:ext cx="297138" cy="323938"/>
          </a:xfrm>
          <a:custGeom>
            <a:avLst/>
            <a:gdLst>
              <a:gd name="connsiteX0" fmla="*/ 135168 w 297138"/>
              <a:gd name="connsiteY0" fmla="*/ 323939 h 323938"/>
              <a:gd name="connsiteX1" fmla="*/ 0 w 297138"/>
              <a:gd name="connsiteY1" fmla="*/ 323939 h 323938"/>
              <a:gd name="connsiteX2" fmla="*/ 158473 w 297138"/>
              <a:gd name="connsiteY2" fmla="*/ 163135 h 323938"/>
              <a:gd name="connsiteX3" fmla="*/ 0 w 297138"/>
              <a:gd name="connsiteY3" fmla="*/ 0 h 323938"/>
              <a:gd name="connsiteX4" fmla="*/ 138664 w 297138"/>
              <a:gd name="connsiteY4" fmla="*/ 0 h 323938"/>
              <a:gd name="connsiteX5" fmla="*/ 297138 w 297138"/>
              <a:gd name="connsiteY5" fmla="*/ 159639 h 323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3938">
                <a:moveTo>
                  <a:pt x="135168" y="323939"/>
                </a:moveTo>
                <a:lnTo>
                  <a:pt x="0" y="323939"/>
                </a:lnTo>
                <a:lnTo>
                  <a:pt x="158473" y="163135"/>
                </a:lnTo>
                <a:lnTo>
                  <a:pt x="0" y="0"/>
                </a:lnTo>
                <a:lnTo>
                  <a:pt x="138664" y="0"/>
                </a:lnTo>
                <a:lnTo>
                  <a:pt x="297138" y="159639"/>
                </a:lnTo>
                <a:close/>
              </a:path>
            </a:pathLst>
          </a:custGeom>
          <a:solidFill>
            <a:srgbClr val="EEF2F5"/>
          </a:solidFill>
          <a:ln w="11643" cap="flat">
            <a:noFill/>
            <a:prstDash val="solid"/>
            <a:miter/>
          </a:ln>
        </p:spPr>
        <p:txBody>
          <a:bodyPr rtlCol="0" anchor="ctr"/>
          <a:lstStyle/>
          <a:p>
            <a:endParaRPr lang="de-DE"/>
          </a:p>
        </p:txBody>
      </p:sp>
      <p:sp>
        <p:nvSpPr>
          <p:cNvPr id="186" name="Freihandform: Form 185">
            <a:extLst>
              <a:ext uri="{FF2B5EF4-FFF2-40B4-BE49-F238E27FC236}">
                <a16:creationId xmlns:a16="http://schemas.microsoft.com/office/drawing/2014/main" id="{51341657-6CDA-48E4-A038-7E086040DA70}"/>
              </a:ext>
            </a:extLst>
          </p:cNvPr>
          <p:cNvSpPr/>
          <p:nvPr/>
        </p:nvSpPr>
        <p:spPr>
          <a:xfrm>
            <a:off x="10801860" y="5496989"/>
            <a:ext cx="297138" cy="322773"/>
          </a:xfrm>
          <a:custGeom>
            <a:avLst/>
            <a:gdLst>
              <a:gd name="connsiteX0" fmla="*/ 135168 w 297138"/>
              <a:gd name="connsiteY0" fmla="*/ 322773 h 322773"/>
              <a:gd name="connsiteX1" fmla="*/ 0 w 297138"/>
              <a:gd name="connsiteY1" fmla="*/ 322773 h 322773"/>
              <a:gd name="connsiteX2" fmla="*/ 158473 w 297138"/>
              <a:gd name="connsiteY2" fmla="*/ 163135 h 322773"/>
              <a:gd name="connsiteX3" fmla="*/ 0 w 297138"/>
              <a:gd name="connsiteY3" fmla="*/ 0 h 322773"/>
              <a:gd name="connsiteX4" fmla="*/ 138664 w 297138"/>
              <a:gd name="connsiteY4" fmla="*/ 0 h 322773"/>
              <a:gd name="connsiteX5" fmla="*/ 297138 w 297138"/>
              <a:gd name="connsiteY5" fmla="*/ 158473 h 322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2773">
                <a:moveTo>
                  <a:pt x="135168" y="322773"/>
                </a:moveTo>
                <a:lnTo>
                  <a:pt x="0" y="322773"/>
                </a:lnTo>
                <a:lnTo>
                  <a:pt x="158473" y="163135"/>
                </a:lnTo>
                <a:lnTo>
                  <a:pt x="0" y="0"/>
                </a:lnTo>
                <a:lnTo>
                  <a:pt x="138664" y="0"/>
                </a:lnTo>
                <a:lnTo>
                  <a:pt x="297138" y="158473"/>
                </a:lnTo>
                <a:close/>
              </a:path>
            </a:pathLst>
          </a:custGeom>
          <a:solidFill>
            <a:srgbClr val="EEF2F5"/>
          </a:solidFill>
          <a:ln w="11643" cap="flat">
            <a:noFill/>
            <a:prstDash val="solid"/>
            <a:miter/>
          </a:ln>
        </p:spPr>
        <p:txBody>
          <a:bodyPr rtlCol="0" anchor="ctr"/>
          <a:lstStyle/>
          <a:p>
            <a:endParaRPr lang="de-DE"/>
          </a:p>
        </p:txBody>
      </p:sp>
      <p:sp>
        <p:nvSpPr>
          <p:cNvPr id="54" name="Freihandform: Form 53">
            <a:extLst>
              <a:ext uri="{FF2B5EF4-FFF2-40B4-BE49-F238E27FC236}">
                <a16:creationId xmlns:a16="http://schemas.microsoft.com/office/drawing/2014/main" id="{7C58B8B7-C0D0-45C0-A524-368D9D8EC1A1}"/>
              </a:ext>
            </a:extLst>
          </p:cNvPr>
          <p:cNvSpPr/>
          <p:nvPr/>
        </p:nvSpPr>
        <p:spPr>
          <a:xfrm>
            <a:off x="10454616" y="2667767"/>
            <a:ext cx="280824" cy="304129"/>
          </a:xfrm>
          <a:custGeom>
            <a:avLst/>
            <a:gdLst>
              <a:gd name="connsiteX0" fmla="*/ 129343 w 280824"/>
              <a:gd name="connsiteY0" fmla="*/ 304130 h 304129"/>
              <a:gd name="connsiteX1" fmla="*/ 0 w 280824"/>
              <a:gd name="connsiteY1" fmla="*/ 304130 h 304129"/>
              <a:gd name="connsiteX2" fmla="*/ 150317 w 280824"/>
              <a:gd name="connsiteY2" fmla="*/ 153813 h 304129"/>
              <a:gd name="connsiteX3" fmla="*/ 0 w 280824"/>
              <a:gd name="connsiteY3" fmla="*/ 0 h 304129"/>
              <a:gd name="connsiteX4" fmla="*/ 131673 w 280824"/>
              <a:gd name="connsiteY4" fmla="*/ 0 h 304129"/>
              <a:gd name="connsiteX5" fmla="*/ 280825 w 280824"/>
              <a:gd name="connsiteY5" fmla="*/ 149152 h 304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4129">
                <a:moveTo>
                  <a:pt x="129343" y="304130"/>
                </a:moveTo>
                <a:lnTo>
                  <a:pt x="0" y="304130"/>
                </a:lnTo>
                <a:lnTo>
                  <a:pt x="150317" y="153813"/>
                </a:lnTo>
                <a:lnTo>
                  <a:pt x="0" y="0"/>
                </a:lnTo>
                <a:lnTo>
                  <a:pt x="131673" y="0"/>
                </a:lnTo>
                <a:lnTo>
                  <a:pt x="280825" y="149152"/>
                </a:lnTo>
                <a:close/>
              </a:path>
            </a:pathLst>
          </a:custGeom>
          <a:solidFill>
            <a:srgbClr val="EEF2F5"/>
          </a:solidFill>
          <a:ln w="11643" cap="flat">
            <a:noFill/>
            <a:prstDash val="solid"/>
            <a:miter/>
          </a:ln>
        </p:spPr>
        <p:txBody>
          <a:bodyPr rtlCol="0" anchor="ctr"/>
          <a:lstStyle/>
          <a:p>
            <a:endParaRPr lang="de-DE"/>
          </a:p>
        </p:txBody>
      </p:sp>
      <p:sp>
        <p:nvSpPr>
          <p:cNvPr id="70" name="Freihandform: Form 69">
            <a:extLst>
              <a:ext uri="{FF2B5EF4-FFF2-40B4-BE49-F238E27FC236}">
                <a16:creationId xmlns:a16="http://schemas.microsoft.com/office/drawing/2014/main" id="{B108D00B-F584-45AE-88D7-637B206C908C}"/>
              </a:ext>
            </a:extLst>
          </p:cNvPr>
          <p:cNvSpPr/>
          <p:nvPr/>
        </p:nvSpPr>
        <p:spPr>
          <a:xfrm>
            <a:off x="10454616" y="3022002"/>
            <a:ext cx="280824" cy="305294"/>
          </a:xfrm>
          <a:custGeom>
            <a:avLst/>
            <a:gdLst>
              <a:gd name="connsiteX0" fmla="*/ 129343 w 280824"/>
              <a:gd name="connsiteY0" fmla="*/ 305295 h 305294"/>
              <a:gd name="connsiteX1" fmla="*/ 0 w 280824"/>
              <a:gd name="connsiteY1" fmla="*/ 305295 h 305294"/>
              <a:gd name="connsiteX2" fmla="*/ 150317 w 280824"/>
              <a:gd name="connsiteY2" fmla="*/ 153813 h 305294"/>
              <a:gd name="connsiteX3" fmla="*/ 0 w 280824"/>
              <a:gd name="connsiteY3" fmla="*/ 0 h 305294"/>
              <a:gd name="connsiteX4" fmla="*/ 131673 w 280824"/>
              <a:gd name="connsiteY4" fmla="*/ 0 h 305294"/>
              <a:gd name="connsiteX5" fmla="*/ 280825 w 280824"/>
              <a:gd name="connsiteY5" fmla="*/ 150317 h 305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5294">
                <a:moveTo>
                  <a:pt x="129343" y="305295"/>
                </a:moveTo>
                <a:lnTo>
                  <a:pt x="0" y="305295"/>
                </a:lnTo>
                <a:lnTo>
                  <a:pt x="150317" y="153813"/>
                </a:lnTo>
                <a:lnTo>
                  <a:pt x="0" y="0"/>
                </a:lnTo>
                <a:lnTo>
                  <a:pt x="131673" y="0"/>
                </a:lnTo>
                <a:lnTo>
                  <a:pt x="280825" y="150317"/>
                </a:lnTo>
                <a:close/>
              </a:path>
            </a:pathLst>
          </a:custGeom>
          <a:solidFill>
            <a:srgbClr val="EEF2F5"/>
          </a:solidFill>
          <a:ln w="11643" cap="flat">
            <a:noFill/>
            <a:prstDash val="solid"/>
            <a:miter/>
          </a:ln>
        </p:spPr>
        <p:txBody>
          <a:bodyPr rtlCol="0" anchor="ctr"/>
          <a:lstStyle/>
          <a:p>
            <a:endParaRPr lang="de-DE"/>
          </a:p>
        </p:txBody>
      </p:sp>
      <p:sp>
        <p:nvSpPr>
          <p:cNvPr id="86" name="Freihandform: Form 85">
            <a:extLst>
              <a:ext uri="{FF2B5EF4-FFF2-40B4-BE49-F238E27FC236}">
                <a16:creationId xmlns:a16="http://schemas.microsoft.com/office/drawing/2014/main" id="{63D6ECD9-E964-4D15-AC74-F1865C75FC49}"/>
              </a:ext>
            </a:extLst>
          </p:cNvPr>
          <p:cNvSpPr/>
          <p:nvPr/>
        </p:nvSpPr>
        <p:spPr>
          <a:xfrm>
            <a:off x="10454616" y="3377403"/>
            <a:ext cx="280824" cy="304129"/>
          </a:xfrm>
          <a:custGeom>
            <a:avLst/>
            <a:gdLst>
              <a:gd name="connsiteX0" fmla="*/ 129343 w 280824"/>
              <a:gd name="connsiteY0" fmla="*/ 304130 h 304129"/>
              <a:gd name="connsiteX1" fmla="*/ 0 w 280824"/>
              <a:gd name="connsiteY1" fmla="*/ 304130 h 304129"/>
              <a:gd name="connsiteX2" fmla="*/ 150317 w 280824"/>
              <a:gd name="connsiteY2" fmla="*/ 153813 h 304129"/>
              <a:gd name="connsiteX3" fmla="*/ 0 w 280824"/>
              <a:gd name="connsiteY3" fmla="*/ 0 h 304129"/>
              <a:gd name="connsiteX4" fmla="*/ 131673 w 280824"/>
              <a:gd name="connsiteY4" fmla="*/ 0 h 304129"/>
              <a:gd name="connsiteX5" fmla="*/ 280825 w 280824"/>
              <a:gd name="connsiteY5" fmla="*/ 149152 h 304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4129">
                <a:moveTo>
                  <a:pt x="129343" y="304130"/>
                </a:moveTo>
                <a:lnTo>
                  <a:pt x="0" y="304130"/>
                </a:lnTo>
                <a:lnTo>
                  <a:pt x="150317" y="153813"/>
                </a:lnTo>
                <a:lnTo>
                  <a:pt x="0" y="0"/>
                </a:lnTo>
                <a:lnTo>
                  <a:pt x="131673" y="0"/>
                </a:lnTo>
                <a:lnTo>
                  <a:pt x="280825" y="149152"/>
                </a:lnTo>
                <a:close/>
              </a:path>
            </a:pathLst>
          </a:custGeom>
          <a:solidFill>
            <a:srgbClr val="EEF2F5"/>
          </a:solidFill>
          <a:ln w="11643" cap="flat">
            <a:noFill/>
            <a:prstDash val="solid"/>
            <a:miter/>
          </a:ln>
        </p:spPr>
        <p:txBody>
          <a:bodyPr rtlCol="0" anchor="ctr"/>
          <a:lstStyle/>
          <a:p>
            <a:endParaRPr lang="de-DE"/>
          </a:p>
        </p:txBody>
      </p:sp>
      <p:sp>
        <p:nvSpPr>
          <p:cNvPr id="102" name="Freihandform: Form 101">
            <a:extLst>
              <a:ext uri="{FF2B5EF4-FFF2-40B4-BE49-F238E27FC236}">
                <a16:creationId xmlns:a16="http://schemas.microsoft.com/office/drawing/2014/main" id="{1A517635-BE85-4E6F-8720-FFD3AE9C8A9E}"/>
              </a:ext>
            </a:extLst>
          </p:cNvPr>
          <p:cNvSpPr/>
          <p:nvPr/>
        </p:nvSpPr>
        <p:spPr>
          <a:xfrm>
            <a:off x="10454616" y="3731638"/>
            <a:ext cx="280824" cy="305294"/>
          </a:xfrm>
          <a:custGeom>
            <a:avLst/>
            <a:gdLst>
              <a:gd name="connsiteX0" fmla="*/ 129343 w 280824"/>
              <a:gd name="connsiteY0" fmla="*/ 305295 h 305294"/>
              <a:gd name="connsiteX1" fmla="*/ 0 w 280824"/>
              <a:gd name="connsiteY1" fmla="*/ 305295 h 305294"/>
              <a:gd name="connsiteX2" fmla="*/ 150317 w 280824"/>
              <a:gd name="connsiteY2" fmla="*/ 153813 h 305294"/>
              <a:gd name="connsiteX3" fmla="*/ 0 w 280824"/>
              <a:gd name="connsiteY3" fmla="*/ 0 h 305294"/>
              <a:gd name="connsiteX4" fmla="*/ 131673 w 280824"/>
              <a:gd name="connsiteY4" fmla="*/ 0 h 305294"/>
              <a:gd name="connsiteX5" fmla="*/ 280825 w 280824"/>
              <a:gd name="connsiteY5" fmla="*/ 150317 h 305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5294">
                <a:moveTo>
                  <a:pt x="129343" y="305295"/>
                </a:moveTo>
                <a:lnTo>
                  <a:pt x="0" y="305295"/>
                </a:lnTo>
                <a:lnTo>
                  <a:pt x="150317" y="153813"/>
                </a:lnTo>
                <a:lnTo>
                  <a:pt x="0" y="0"/>
                </a:lnTo>
                <a:lnTo>
                  <a:pt x="131673" y="0"/>
                </a:lnTo>
                <a:lnTo>
                  <a:pt x="280825" y="150317"/>
                </a:lnTo>
                <a:close/>
              </a:path>
            </a:pathLst>
          </a:custGeom>
          <a:solidFill>
            <a:srgbClr val="EEF2F5"/>
          </a:solidFill>
          <a:ln w="11643" cap="flat">
            <a:noFill/>
            <a:prstDash val="solid"/>
            <a:miter/>
          </a:ln>
        </p:spPr>
        <p:txBody>
          <a:bodyPr rtlCol="0" anchor="ctr"/>
          <a:lstStyle/>
          <a:p>
            <a:endParaRPr lang="de-DE"/>
          </a:p>
        </p:txBody>
      </p:sp>
      <p:sp>
        <p:nvSpPr>
          <p:cNvPr id="118" name="Freihandform: Form 117">
            <a:extLst>
              <a:ext uri="{FF2B5EF4-FFF2-40B4-BE49-F238E27FC236}">
                <a16:creationId xmlns:a16="http://schemas.microsoft.com/office/drawing/2014/main" id="{107FD09D-7EF2-4E43-8333-1BB41EE81E8C}"/>
              </a:ext>
            </a:extLst>
          </p:cNvPr>
          <p:cNvSpPr/>
          <p:nvPr/>
        </p:nvSpPr>
        <p:spPr>
          <a:xfrm>
            <a:off x="10454616" y="4087039"/>
            <a:ext cx="280824" cy="304129"/>
          </a:xfrm>
          <a:custGeom>
            <a:avLst/>
            <a:gdLst>
              <a:gd name="connsiteX0" fmla="*/ 129343 w 280824"/>
              <a:gd name="connsiteY0" fmla="*/ 304130 h 304129"/>
              <a:gd name="connsiteX1" fmla="*/ 0 w 280824"/>
              <a:gd name="connsiteY1" fmla="*/ 304130 h 304129"/>
              <a:gd name="connsiteX2" fmla="*/ 150317 w 280824"/>
              <a:gd name="connsiteY2" fmla="*/ 153813 h 304129"/>
              <a:gd name="connsiteX3" fmla="*/ 0 w 280824"/>
              <a:gd name="connsiteY3" fmla="*/ 0 h 304129"/>
              <a:gd name="connsiteX4" fmla="*/ 131673 w 280824"/>
              <a:gd name="connsiteY4" fmla="*/ 0 h 304129"/>
              <a:gd name="connsiteX5" fmla="*/ 280825 w 280824"/>
              <a:gd name="connsiteY5" fmla="*/ 149152 h 304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4129">
                <a:moveTo>
                  <a:pt x="129343" y="304130"/>
                </a:moveTo>
                <a:lnTo>
                  <a:pt x="0" y="304130"/>
                </a:lnTo>
                <a:lnTo>
                  <a:pt x="150317" y="153813"/>
                </a:lnTo>
                <a:lnTo>
                  <a:pt x="0" y="0"/>
                </a:lnTo>
                <a:lnTo>
                  <a:pt x="131673" y="0"/>
                </a:lnTo>
                <a:lnTo>
                  <a:pt x="280825" y="149152"/>
                </a:lnTo>
                <a:close/>
              </a:path>
            </a:pathLst>
          </a:custGeom>
          <a:solidFill>
            <a:srgbClr val="EEF2F5"/>
          </a:solidFill>
          <a:ln w="11643" cap="flat">
            <a:noFill/>
            <a:prstDash val="solid"/>
            <a:miter/>
          </a:ln>
        </p:spPr>
        <p:txBody>
          <a:bodyPr rtlCol="0" anchor="ctr"/>
          <a:lstStyle/>
          <a:p>
            <a:endParaRPr lang="de-DE"/>
          </a:p>
        </p:txBody>
      </p:sp>
      <p:sp>
        <p:nvSpPr>
          <p:cNvPr id="134" name="Freihandform: Form 133">
            <a:extLst>
              <a:ext uri="{FF2B5EF4-FFF2-40B4-BE49-F238E27FC236}">
                <a16:creationId xmlns:a16="http://schemas.microsoft.com/office/drawing/2014/main" id="{D630C772-EA61-4CD9-88F3-B5A40C068A2C}"/>
              </a:ext>
            </a:extLst>
          </p:cNvPr>
          <p:cNvSpPr/>
          <p:nvPr/>
        </p:nvSpPr>
        <p:spPr>
          <a:xfrm>
            <a:off x="10454616" y="4441274"/>
            <a:ext cx="280824" cy="305294"/>
          </a:xfrm>
          <a:custGeom>
            <a:avLst/>
            <a:gdLst>
              <a:gd name="connsiteX0" fmla="*/ 129343 w 280824"/>
              <a:gd name="connsiteY0" fmla="*/ 305295 h 305294"/>
              <a:gd name="connsiteX1" fmla="*/ 0 w 280824"/>
              <a:gd name="connsiteY1" fmla="*/ 305295 h 305294"/>
              <a:gd name="connsiteX2" fmla="*/ 150317 w 280824"/>
              <a:gd name="connsiteY2" fmla="*/ 153813 h 305294"/>
              <a:gd name="connsiteX3" fmla="*/ 0 w 280824"/>
              <a:gd name="connsiteY3" fmla="*/ 0 h 305294"/>
              <a:gd name="connsiteX4" fmla="*/ 131673 w 280824"/>
              <a:gd name="connsiteY4" fmla="*/ 0 h 305294"/>
              <a:gd name="connsiteX5" fmla="*/ 280825 w 280824"/>
              <a:gd name="connsiteY5" fmla="*/ 150317 h 305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5294">
                <a:moveTo>
                  <a:pt x="129343" y="305295"/>
                </a:moveTo>
                <a:lnTo>
                  <a:pt x="0" y="305295"/>
                </a:lnTo>
                <a:lnTo>
                  <a:pt x="150317" y="153813"/>
                </a:lnTo>
                <a:lnTo>
                  <a:pt x="0" y="0"/>
                </a:lnTo>
                <a:lnTo>
                  <a:pt x="131673" y="0"/>
                </a:lnTo>
                <a:lnTo>
                  <a:pt x="280825" y="150317"/>
                </a:lnTo>
                <a:close/>
              </a:path>
            </a:pathLst>
          </a:custGeom>
          <a:solidFill>
            <a:srgbClr val="EEF2F5"/>
          </a:solidFill>
          <a:ln w="11643" cap="flat">
            <a:noFill/>
            <a:prstDash val="solid"/>
            <a:miter/>
          </a:ln>
        </p:spPr>
        <p:txBody>
          <a:bodyPr rtlCol="0" anchor="ctr"/>
          <a:lstStyle/>
          <a:p>
            <a:endParaRPr lang="de-DE"/>
          </a:p>
        </p:txBody>
      </p:sp>
      <p:sp>
        <p:nvSpPr>
          <p:cNvPr id="151" name="Freihandform: Form 150">
            <a:extLst>
              <a:ext uri="{FF2B5EF4-FFF2-40B4-BE49-F238E27FC236}">
                <a16:creationId xmlns:a16="http://schemas.microsoft.com/office/drawing/2014/main" id="{B58FDE5A-4CC1-4494-B722-D4785E2E9E92}"/>
              </a:ext>
            </a:extLst>
          </p:cNvPr>
          <p:cNvSpPr/>
          <p:nvPr/>
        </p:nvSpPr>
        <p:spPr>
          <a:xfrm>
            <a:off x="10454616" y="4796675"/>
            <a:ext cx="280824" cy="304129"/>
          </a:xfrm>
          <a:custGeom>
            <a:avLst/>
            <a:gdLst>
              <a:gd name="connsiteX0" fmla="*/ 129343 w 280824"/>
              <a:gd name="connsiteY0" fmla="*/ 304130 h 304129"/>
              <a:gd name="connsiteX1" fmla="*/ 0 w 280824"/>
              <a:gd name="connsiteY1" fmla="*/ 304130 h 304129"/>
              <a:gd name="connsiteX2" fmla="*/ 150317 w 280824"/>
              <a:gd name="connsiteY2" fmla="*/ 153813 h 304129"/>
              <a:gd name="connsiteX3" fmla="*/ 0 w 280824"/>
              <a:gd name="connsiteY3" fmla="*/ 0 h 304129"/>
              <a:gd name="connsiteX4" fmla="*/ 131673 w 280824"/>
              <a:gd name="connsiteY4" fmla="*/ 0 h 304129"/>
              <a:gd name="connsiteX5" fmla="*/ 280825 w 280824"/>
              <a:gd name="connsiteY5" fmla="*/ 149152 h 304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4129">
                <a:moveTo>
                  <a:pt x="129343" y="304130"/>
                </a:moveTo>
                <a:lnTo>
                  <a:pt x="0" y="304130"/>
                </a:lnTo>
                <a:lnTo>
                  <a:pt x="150317" y="153813"/>
                </a:lnTo>
                <a:lnTo>
                  <a:pt x="0" y="0"/>
                </a:lnTo>
                <a:lnTo>
                  <a:pt x="131673" y="0"/>
                </a:lnTo>
                <a:lnTo>
                  <a:pt x="280825" y="149152"/>
                </a:lnTo>
                <a:close/>
              </a:path>
            </a:pathLst>
          </a:custGeom>
          <a:solidFill>
            <a:srgbClr val="EEF2F5"/>
          </a:solidFill>
          <a:ln w="11643" cap="flat">
            <a:noFill/>
            <a:prstDash val="solid"/>
            <a:miter/>
          </a:ln>
        </p:spPr>
        <p:txBody>
          <a:bodyPr rtlCol="0" anchor="ctr"/>
          <a:lstStyle/>
          <a:p>
            <a:endParaRPr lang="de-DE"/>
          </a:p>
        </p:txBody>
      </p:sp>
      <p:sp>
        <p:nvSpPr>
          <p:cNvPr id="168" name="Freihandform: Form 167">
            <a:extLst>
              <a:ext uri="{FF2B5EF4-FFF2-40B4-BE49-F238E27FC236}">
                <a16:creationId xmlns:a16="http://schemas.microsoft.com/office/drawing/2014/main" id="{0AC8C872-76B8-4053-8B0A-1A7AAE0AA7A1}"/>
              </a:ext>
            </a:extLst>
          </p:cNvPr>
          <p:cNvSpPr/>
          <p:nvPr/>
        </p:nvSpPr>
        <p:spPr>
          <a:xfrm>
            <a:off x="10454616" y="5150910"/>
            <a:ext cx="280824" cy="305295"/>
          </a:xfrm>
          <a:custGeom>
            <a:avLst/>
            <a:gdLst>
              <a:gd name="connsiteX0" fmla="*/ 129343 w 280824"/>
              <a:gd name="connsiteY0" fmla="*/ 305295 h 305295"/>
              <a:gd name="connsiteX1" fmla="*/ 0 w 280824"/>
              <a:gd name="connsiteY1" fmla="*/ 305295 h 305295"/>
              <a:gd name="connsiteX2" fmla="*/ 150317 w 280824"/>
              <a:gd name="connsiteY2" fmla="*/ 153813 h 305295"/>
              <a:gd name="connsiteX3" fmla="*/ 0 w 280824"/>
              <a:gd name="connsiteY3" fmla="*/ 0 h 305295"/>
              <a:gd name="connsiteX4" fmla="*/ 131673 w 280824"/>
              <a:gd name="connsiteY4" fmla="*/ 0 h 305295"/>
              <a:gd name="connsiteX5" fmla="*/ 280825 w 280824"/>
              <a:gd name="connsiteY5" fmla="*/ 150317 h 305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5295">
                <a:moveTo>
                  <a:pt x="129343" y="305295"/>
                </a:moveTo>
                <a:lnTo>
                  <a:pt x="0" y="305295"/>
                </a:lnTo>
                <a:lnTo>
                  <a:pt x="150317" y="153813"/>
                </a:lnTo>
                <a:lnTo>
                  <a:pt x="0" y="0"/>
                </a:lnTo>
                <a:lnTo>
                  <a:pt x="131673" y="0"/>
                </a:lnTo>
                <a:lnTo>
                  <a:pt x="280825" y="150317"/>
                </a:lnTo>
                <a:close/>
              </a:path>
            </a:pathLst>
          </a:custGeom>
          <a:solidFill>
            <a:srgbClr val="EEF2F5"/>
          </a:solidFill>
          <a:ln w="11643" cap="flat">
            <a:noFill/>
            <a:prstDash val="solid"/>
            <a:miter/>
          </a:ln>
        </p:spPr>
        <p:txBody>
          <a:bodyPr rtlCol="0" anchor="ctr"/>
          <a:lstStyle/>
          <a:p>
            <a:endParaRPr lang="de-DE"/>
          </a:p>
        </p:txBody>
      </p:sp>
      <p:sp>
        <p:nvSpPr>
          <p:cNvPr id="185" name="Freihandform: Form 184">
            <a:extLst>
              <a:ext uri="{FF2B5EF4-FFF2-40B4-BE49-F238E27FC236}">
                <a16:creationId xmlns:a16="http://schemas.microsoft.com/office/drawing/2014/main" id="{0A1E16EF-F3A1-4575-8F8F-D7FE734A79FD}"/>
              </a:ext>
            </a:extLst>
          </p:cNvPr>
          <p:cNvSpPr/>
          <p:nvPr/>
        </p:nvSpPr>
        <p:spPr>
          <a:xfrm>
            <a:off x="10454616" y="5506311"/>
            <a:ext cx="280824" cy="305295"/>
          </a:xfrm>
          <a:custGeom>
            <a:avLst/>
            <a:gdLst>
              <a:gd name="connsiteX0" fmla="*/ 129343 w 280824"/>
              <a:gd name="connsiteY0" fmla="*/ 305295 h 305295"/>
              <a:gd name="connsiteX1" fmla="*/ 0 w 280824"/>
              <a:gd name="connsiteY1" fmla="*/ 305295 h 305295"/>
              <a:gd name="connsiteX2" fmla="*/ 150317 w 280824"/>
              <a:gd name="connsiteY2" fmla="*/ 153813 h 305295"/>
              <a:gd name="connsiteX3" fmla="*/ 0 w 280824"/>
              <a:gd name="connsiteY3" fmla="*/ 0 h 305295"/>
              <a:gd name="connsiteX4" fmla="*/ 131673 w 280824"/>
              <a:gd name="connsiteY4" fmla="*/ 0 h 305295"/>
              <a:gd name="connsiteX5" fmla="*/ 280825 w 280824"/>
              <a:gd name="connsiteY5" fmla="*/ 149152 h 305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5295">
                <a:moveTo>
                  <a:pt x="129343" y="305295"/>
                </a:moveTo>
                <a:lnTo>
                  <a:pt x="0" y="305295"/>
                </a:lnTo>
                <a:lnTo>
                  <a:pt x="150317" y="153813"/>
                </a:lnTo>
                <a:lnTo>
                  <a:pt x="0" y="0"/>
                </a:lnTo>
                <a:lnTo>
                  <a:pt x="131673" y="0"/>
                </a:lnTo>
                <a:lnTo>
                  <a:pt x="280825" y="149152"/>
                </a:lnTo>
                <a:close/>
              </a:path>
            </a:pathLst>
          </a:custGeom>
          <a:solidFill>
            <a:srgbClr val="EEF2F5"/>
          </a:solidFill>
          <a:ln w="11643" cap="flat">
            <a:noFill/>
            <a:prstDash val="solid"/>
            <a:miter/>
          </a:ln>
        </p:spPr>
        <p:txBody>
          <a:bodyPr rtlCol="0" anchor="ctr"/>
          <a:lstStyle/>
          <a:p>
            <a:endParaRPr lang="de-DE"/>
          </a:p>
        </p:txBody>
      </p:sp>
      <p:sp>
        <p:nvSpPr>
          <p:cNvPr id="202" name="Freihandform: Form 201">
            <a:extLst>
              <a:ext uri="{FF2B5EF4-FFF2-40B4-BE49-F238E27FC236}">
                <a16:creationId xmlns:a16="http://schemas.microsoft.com/office/drawing/2014/main" id="{C2091647-BDE3-4497-8513-4EEAA0FFCE88}"/>
              </a:ext>
            </a:extLst>
          </p:cNvPr>
          <p:cNvSpPr/>
          <p:nvPr/>
        </p:nvSpPr>
        <p:spPr>
          <a:xfrm>
            <a:off x="10454616" y="5860546"/>
            <a:ext cx="280824" cy="305295"/>
          </a:xfrm>
          <a:custGeom>
            <a:avLst/>
            <a:gdLst>
              <a:gd name="connsiteX0" fmla="*/ 129343 w 280824"/>
              <a:gd name="connsiteY0" fmla="*/ 305295 h 305295"/>
              <a:gd name="connsiteX1" fmla="*/ 0 w 280824"/>
              <a:gd name="connsiteY1" fmla="*/ 305295 h 305295"/>
              <a:gd name="connsiteX2" fmla="*/ 150317 w 280824"/>
              <a:gd name="connsiteY2" fmla="*/ 153813 h 305295"/>
              <a:gd name="connsiteX3" fmla="*/ 0 w 280824"/>
              <a:gd name="connsiteY3" fmla="*/ 0 h 305295"/>
              <a:gd name="connsiteX4" fmla="*/ 131673 w 280824"/>
              <a:gd name="connsiteY4" fmla="*/ 0 h 305295"/>
              <a:gd name="connsiteX5" fmla="*/ 280825 w 280824"/>
              <a:gd name="connsiteY5" fmla="*/ 150317 h 305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5295">
                <a:moveTo>
                  <a:pt x="129343" y="305295"/>
                </a:moveTo>
                <a:lnTo>
                  <a:pt x="0" y="305295"/>
                </a:lnTo>
                <a:lnTo>
                  <a:pt x="150317" y="153813"/>
                </a:lnTo>
                <a:lnTo>
                  <a:pt x="0" y="0"/>
                </a:lnTo>
                <a:lnTo>
                  <a:pt x="131673" y="0"/>
                </a:lnTo>
                <a:lnTo>
                  <a:pt x="280825" y="150317"/>
                </a:lnTo>
                <a:close/>
              </a:path>
            </a:pathLst>
          </a:custGeom>
          <a:solidFill>
            <a:srgbClr val="EEF2F5"/>
          </a:solidFill>
          <a:ln w="11643" cap="flat">
            <a:noFill/>
            <a:prstDash val="solid"/>
            <a:miter/>
          </a:ln>
        </p:spPr>
        <p:txBody>
          <a:bodyPr rtlCol="0" anchor="ctr"/>
          <a:lstStyle/>
          <a:p>
            <a:endParaRPr lang="de-DE"/>
          </a:p>
        </p:txBody>
      </p:sp>
      <p:sp>
        <p:nvSpPr>
          <p:cNvPr id="37" name="Freihandform: Form 36">
            <a:extLst>
              <a:ext uri="{FF2B5EF4-FFF2-40B4-BE49-F238E27FC236}">
                <a16:creationId xmlns:a16="http://schemas.microsoft.com/office/drawing/2014/main" id="{0197700D-5496-490A-8DC7-CB8C17414912}"/>
              </a:ext>
            </a:extLst>
          </p:cNvPr>
          <p:cNvSpPr/>
          <p:nvPr/>
        </p:nvSpPr>
        <p:spPr>
          <a:xfrm>
            <a:off x="10108537" y="2321688"/>
            <a:ext cx="264511" cy="286650"/>
          </a:xfrm>
          <a:custGeom>
            <a:avLst/>
            <a:gdLst>
              <a:gd name="connsiteX0" fmla="*/ 121186 w 264511"/>
              <a:gd name="connsiteY0" fmla="*/ 286651 h 286650"/>
              <a:gd name="connsiteX1" fmla="*/ 0 w 264511"/>
              <a:gd name="connsiteY1" fmla="*/ 286651 h 286650"/>
              <a:gd name="connsiteX2" fmla="*/ 140995 w 264511"/>
              <a:gd name="connsiteY2" fmla="*/ 144491 h 286650"/>
              <a:gd name="connsiteX3" fmla="*/ 0 w 264511"/>
              <a:gd name="connsiteY3" fmla="*/ 0 h 286650"/>
              <a:gd name="connsiteX4" fmla="*/ 123516 w 264511"/>
              <a:gd name="connsiteY4" fmla="*/ 0 h 286650"/>
              <a:gd name="connsiteX5" fmla="*/ 264511 w 264511"/>
              <a:gd name="connsiteY5" fmla="*/ 140995 h 28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0">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53" name="Freihandform: Form 52">
            <a:extLst>
              <a:ext uri="{FF2B5EF4-FFF2-40B4-BE49-F238E27FC236}">
                <a16:creationId xmlns:a16="http://schemas.microsoft.com/office/drawing/2014/main" id="{76A9C547-A085-4B5D-B3A0-6461D8694E0B}"/>
              </a:ext>
            </a:extLst>
          </p:cNvPr>
          <p:cNvSpPr/>
          <p:nvPr/>
        </p:nvSpPr>
        <p:spPr>
          <a:xfrm>
            <a:off x="10108537" y="2675924"/>
            <a:ext cx="264511" cy="286650"/>
          </a:xfrm>
          <a:custGeom>
            <a:avLst/>
            <a:gdLst>
              <a:gd name="connsiteX0" fmla="*/ 121186 w 264511"/>
              <a:gd name="connsiteY0" fmla="*/ 286651 h 286650"/>
              <a:gd name="connsiteX1" fmla="*/ 0 w 264511"/>
              <a:gd name="connsiteY1" fmla="*/ 286651 h 286650"/>
              <a:gd name="connsiteX2" fmla="*/ 140995 w 264511"/>
              <a:gd name="connsiteY2" fmla="*/ 144491 h 286650"/>
              <a:gd name="connsiteX3" fmla="*/ 0 w 264511"/>
              <a:gd name="connsiteY3" fmla="*/ 0 h 286650"/>
              <a:gd name="connsiteX4" fmla="*/ 123516 w 264511"/>
              <a:gd name="connsiteY4" fmla="*/ 0 h 286650"/>
              <a:gd name="connsiteX5" fmla="*/ 264511 w 264511"/>
              <a:gd name="connsiteY5" fmla="*/ 140995 h 28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0">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69" name="Freihandform: Form 68">
            <a:extLst>
              <a:ext uri="{FF2B5EF4-FFF2-40B4-BE49-F238E27FC236}">
                <a16:creationId xmlns:a16="http://schemas.microsoft.com/office/drawing/2014/main" id="{60D25080-D9B9-4692-9129-2C6183DC021A}"/>
              </a:ext>
            </a:extLst>
          </p:cNvPr>
          <p:cNvSpPr/>
          <p:nvPr/>
        </p:nvSpPr>
        <p:spPr>
          <a:xfrm>
            <a:off x="10108537" y="3031324"/>
            <a:ext cx="264511" cy="286650"/>
          </a:xfrm>
          <a:custGeom>
            <a:avLst/>
            <a:gdLst>
              <a:gd name="connsiteX0" fmla="*/ 121186 w 264511"/>
              <a:gd name="connsiteY0" fmla="*/ 286651 h 286650"/>
              <a:gd name="connsiteX1" fmla="*/ 0 w 264511"/>
              <a:gd name="connsiteY1" fmla="*/ 286651 h 286650"/>
              <a:gd name="connsiteX2" fmla="*/ 140995 w 264511"/>
              <a:gd name="connsiteY2" fmla="*/ 144491 h 286650"/>
              <a:gd name="connsiteX3" fmla="*/ 0 w 264511"/>
              <a:gd name="connsiteY3" fmla="*/ 0 h 286650"/>
              <a:gd name="connsiteX4" fmla="*/ 123516 w 264511"/>
              <a:gd name="connsiteY4" fmla="*/ 0 h 286650"/>
              <a:gd name="connsiteX5" fmla="*/ 264511 w 264511"/>
              <a:gd name="connsiteY5" fmla="*/ 140995 h 28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0">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85" name="Freihandform: Form 84">
            <a:extLst>
              <a:ext uri="{FF2B5EF4-FFF2-40B4-BE49-F238E27FC236}">
                <a16:creationId xmlns:a16="http://schemas.microsoft.com/office/drawing/2014/main" id="{2A48DA5F-5A65-4484-99B7-06DB28D0E54D}"/>
              </a:ext>
            </a:extLst>
          </p:cNvPr>
          <p:cNvSpPr/>
          <p:nvPr/>
        </p:nvSpPr>
        <p:spPr>
          <a:xfrm>
            <a:off x="10108537" y="3385560"/>
            <a:ext cx="264511" cy="287816"/>
          </a:xfrm>
          <a:custGeom>
            <a:avLst/>
            <a:gdLst>
              <a:gd name="connsiteX0" fmla="*/ 121186 w 264511"/>
              <a:gd name="connsiteY0" fmla="*/ 287816 h 287816"/>
              <a:gd name="connsiteX1" fmla="*/ 0 w 264511"/>
              <a:gd name="connsiteY1" fmla="*/ 287816 h 287816"/>
              <a:gd name="connsiteX2" fmla="*/ 140995 w 264511"/>
              <a:gd name="connsiteY2" fmla="*/ 145656 h 287816"/>
              <a:gd name="connsiteX3" fmla="*/ 0 w 264511"/>
              <a:gd name="connsiteY3" fmla="*/ 0 h 287816"/>
              <a:gd name="connsiteX4" fmla="*/ 123516 w 264511"/>
              <a:gd name="connsiteY4" fmla="*/ 0 h 287816"/>
              <a:gd name="connsiteX5" fmla="*/ 264511 w 264511"/>
              <a:gd name="connsiteY5" fmla="*/ 140995 h 287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7816">
                <a:moveTo>
                  <a:pt x="121186" y="287816"/>
                </a:moveTo>
                <a:lnTo>
                  <a:pt x="0" y="287816"/>
                </a:lnTo>
                <a:lnTo>
                  <a:pt x="140995" y="145656"/>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101" name="Freihandform: Form 100">
            <a:extLst>
              <a:ext uri="{FF2B5EF4-FFF2-40B4-BE49-F238E27FC236}">
                <a16:creationId xmlns:a16="http://schemas.microsoft.com/office/drawing/2014/main" id="{44A6A546-5137-4093-9C59-F32093CD42C4}"/>
              </a:ext>
            </a:extLst>
          </p:cNvPr>
          <p:cNvSpPr/>
          <p:nvPr/>
        </p:nvSpPr>
        <p:spPr>
          <a:xfrm>
            <a:off x="10108537" y="3740960"/>
            <a:ext cx="264511" cy="286651"/>
          </a:xfrm>
          <a:custGeom>
            <a:avLst/>
            <a:gdLst>
              <a:gd name="connsiteX0" fmla="*/ 121186 w 264511"/>
              <a:gd name="connsiteY0" fmla="*/ 286651 h 286651"/>
              <a:gd name="connsiteX1" fmla="*/ 0 w 264511"/>
              <a:gd name="connsiteY1" fmla="*/ 286651 h 286651"/>
              <a:gd name="connsiteX2" fmla="*/ 140995 w 264511"/>
              <a:gd name="connsiteY2" fmla="*/ 144491 h 286651"/>
              <a:gd name="connsiteX3" fmla="*/ 0 w 264511"/>
              <a:gd name="connsiteY3" fmla="*/ 0 h 286651"/>
              <a:gd name="connsiteX4" fmla="*/ 123516 w 264511"/>
              <a:gd name="connsiteY4" fmla="*/ 0 h 286651"/>
              <a:gd name="connsiteX5" fmla="*/ 264511 w 264511"/>
              <a:gd name="connsiteY5" fmla="*/ 140995 h 286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1">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117" name="Freihandform: Form 116">
            <a:extLst>
              <a:ext uri="{FF2B5EF4-FFF2-40B4-BE49-F238E27FC236}">
                <a16:creationId xmlns:a16="http://schemas.microsoft.com/office/drawing/2014/main" id="{AB7F8976-AA8B-4089-A252-6E621A6336A0}"/>
              </a:ext>
            </a:extLst>
          </p:cNvPr>
          <p:cNvSpPr/>
          <p:nvPr/>
        </p:nvSpPr>
        <p:spPr>
          <a:xfrm>
            <a:off x="10108537" y="4095195"/>
            <a:ext cx="264511" cy="287816"/>
          </a:xfrm>
          <a:custGeom>
            <a:avLst/>
            <a:gdLst>
              <a:gd name="connsiteX0" fmla="*/ 121186 w 264511"/>
              <a:gd name="connsiteY0" fmla="*/ 287816 h 287816"/>
              <a:gd name="connsiteX1" fmla="*/ 0 w 264511"/>
              <a:gd name="connsiteY1" fmla="*/ 287816 h 287816"/>
              <a:gd name="connsiteX2" fmla="*/ 140995 w 264511"/>
              <a:gd name="connsiteY2" fmla="*/ 145656 h 287816"/>
              <a:gd name="connsiteX3" fmla="*/ 0 w 264511"/>
              <a:gd name="connsiteY3" fmla="*/ 0 h 287816"/>
              <a:gd name="connsiteX4" fmla="*/ 123516 w 264511"/>
              <a:gd name="connsiteY4" fmla="*/ 0 h 287816"/>
              <a:gd name="connsiteX5" fmla="*/ 264511 w 264511"/>
              <a:gd name="connsiteY5" fmla="*/ 140995 h 287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7816">
                <a:moveTo>
                  <a:pt x="121186" y="287816"/>
                </a:moveTo>
                <a:lnTo>
                  <a:pt x="0" y="287816"/>
                </a:lnTo>
                <a:lnTo>
                  <a:pt x="140995" y="145656"/>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133" name="Freihandform: Form 132">
            <a:extLst>
              <a:ext uri="{FF2B5EF4-FFF2-40B4-BE49-F238E27FC236}">
                <a16:creationId xmlns:a16="http://schemas.microsoft.com/office/drawing/2014/main" id="{83F4FE5F-E30B-4C91-B22F-C67DA72E3DB6}"/>
              </a:ext>
            </a:extLst>
          </p:cNvPr>
          <p:cNvSpPr/>
          <p:nvPr/>
        </p:nvSpPr>
        <p:spPr>
          <a:xfrm>
            <a:off x="10108537" y="4450596"/>
            <a:ext cx="264511" cy="286651"/>
          </a:xfrm>
          <a:custGeom>
            <a:avLst/>
            <a:gdLst>
              <a:gd name="connsiteX0" fmla="*/ 121186 w 264511"/>
              <a:gd name="connsiteY0" fmla="*/ 286651 h 286651"/>
              <a:gd name="connsiteX1" fmla="*/ 0 w 264511"/>
              <a:gd name="connsiteY1" fmla="*/ 286651 h 286651"/>
              <a:gd name="connsiteX2" fmla="*/ 140995 w 264511"/>
              <a:gd name="connsiteY2" fmla="*/ 144491 h 286651"/>
              <a:gd name="connsiteX3" fmla="*/ 0 w 264511"/>
              <a:gd name="connsiteY3" fmla="*/ 0 h 286651"/>
              <a:gd name="connsiteX4" fmla="*/ 123516 w 264511"/>
              <a:gd name="connsiteY4" fmla="*/ 0 h 286651"/>
              <a:gd name="connsiteX5" fmla="*/ 264511 w 264511"/>
              <a:gd name="connsiteY5" fmla="*/ 140995 h 286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1">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150" name="Freihandform: Form 149">
            <a:extLst>
              <a:ext uri="{FF2B5EF4-FFF2-40B4-BE49-F238E27FC236}">
                <a16:creationId xmlns:a16="http://schemas.microsoft.com/office/drawing/2014/main" id="{A0F76902-2111-4900-A1DA-A0A919DABDFD}"/>
              </a:ext>
            </a:extLst>
          </p:cNvPr>
          <p:cNvSpPr/>
          <p:nvPr/>
        </p:nvSpPr>
        <p:spPr>
          <a:xfrm>
            <a:off x="10108537" y="4805997"/>
            <a:ext cx="264511" cy="286651"/>
          </a:xfrm>
          <a:custGeom>
            <a:avLst/>
            <a:gdLst>
              <a:gd name="connsiteX0" fmla="*/ 121186 w 264511"/>
              <a:gd name="connsiteY0" fmla="*/ 286651 h 286651"/>
              <a:gd name="connsiteX1" fmla="*/ 0 w 264511"/>
              <a:gd name="connsiteY1" fmla="*/ 286651 h 286651"/>
              <a:gd name="connsiteX2" fmla="*/ 140995 w 264511"/>
              <a:gd name="connsiteY2" fmla="*/ 144491 h 286651"/>
              <a:gd name="connsiteX3" fmla="*/ 0 w 264511"/>
              <a:gd name="connsiteY3" fmla="*/ 0 h 286651"/>
              <a:gd name="connsiteX4" fmla="*/ 123516 w 264511"/>
              <a:gd name="connsiteY4" fmla="*/ 0 h 286651"/>
              <a:gd name="connsiteX5" fmla="*/ 264511 w 264511"/>
              <a:gd name="connsiteY5" fmla="*/ 139830 h 286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1">
                <a:moveTo>
                  <a:pt x="121186" y="286651"/>
                </a:moveTo>
                <a:lnTo>
                  <a:pt x="0" y="286651"/>
                </a:lnTo>
                <a:lnTo>
                  <a:pt x="140995" y="144491"/>
                </a:lnTo>
                <a:lnTo>
                  <a:pt x="0" y="0"/>
                </a:lnTo>
                <a:lnTo>
                  <a:pt x="123516" y="0"/>
                </a:lnTo>
                <a:lnTo>
                  <a:pt x="264511" y="139830"/>
                </a:lnTo>
                <a:close/>
              </a:path>
            </a:pathLst>
          </a:custGeom>
          <a:solidFill>
            <a:srgbClr val="EEF2F5"/>
          </a:solidFill>
          <a:ln w="11643" cap="flat">
            <a:noFill/>
            <a:prstDash val="solid"/>
            <a:miter/>
          </a:ln>
        </p:spPr>
        <p:txBody>
          <a:bodyPr rtlCol="0" anchor="ctr"/>
          <a:lstStyle/>
          <a:p>
            <a:endParaRPr lang="de-DE"/>
          </a:p>
        </p:txBody>
      </p:sp>
      <p:sp>
        <p:nvSpPr>
          <p:cNvPr id="167" name="Freihandform: Form 166">
            <a:extLst>
              <a:ext uri="{FF2B5EF4-FFF2-40B4-BE49-F238E27FC236}">
                <a16:creationId xmlns:a16="http://schemas.microsoft.com/office/drawing/2014/main" id="{9C3904EA-5E6B-4F77-8FB0-BFFAE9C65946}"/>
              </a:ext>
            </a:extLst>
          </p:cNvPr>
          <p:cNvSpPr/>
          <p:nvPr/>
        </p:nvSpPr>
        <p:spPr>
          <a:xfrm>
            <a:off x="10108537" y="5160232"/>
            <a:ext cx="264511" cy="286651"/>
          </a:xfrm>
          <a:custGeom>
            <a:avLst/>
            <a:gdLst>
              <a:gd name="connsiteX0" fmla="*/ 121186 w 264511"/>
              <a:gd name="connsiteY0" fmla="*/ 286651 h 286651"/>
              <a:gd name="connsiteX1" fmla="*/ 0 w 264511"/>
              <a:gd name="connsiteY1" fmla="*/ 286651 h 286651"/>
              <a:gd name="connsiteX2" fmla="*/ 140995 w 264511"/>
              <a:gd name="connsiteY2" fmla="*/ 144491 h 286651"/>
              <a:gd name="connsiteX3" fmla="*/ 0 w 264511"/>
              <a:gd name="connsiteY3" fmla="*/ 0 h 286651"/>
              <a:gd name="connsiteX4" fmla="*/ 123516 w 264511"/>
              <a:gd name="connsiteY4" fmla="*/ 0 h 286651"/>
              <a:gd name="connsiteX5" fmla="*/ 264511 w 264511"/>
              <a:gd name="connsiteY5" fmla="*/ 140995 h 286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1">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184" name="Freihandform: Form 183">
            <a:extLst>
              <a:ext uri="{FF2B5EF4-FFF2-40B4-BE49-F238E27FC236}">
                <a16:creationId xmlns:a16="http://schemas.microsoft.com/office/drawing/2014/main" id="{99280CAD-3553-4542-850A-90F0AD935DFE}"/>
              </a:ext>
            </a:extLst>
          </p:cNvPr>
          <p:cNvSpPr/>
          <p:nvPr/>
        </p:nvSpPr>
        <p:spPr>
          <a:xfrm>
            <a:off x="10108537" y="5515633"/>
            <a:ext cx="264511" cy="286651"/>
          </a:xfrm>
          <a:custGeom>
            <a:avLst/>
            <a:gdLst>
              <a:gd name="connsiteX0" fmla="*/ 121186 w 264511"/>
              <a:gd name="connsiteY0" fmla="*/ 286651 h 286651"/>
              <a:gd name="connsiteX1" fmla="*/ 0 w 264511"/>
              <a:gd name="connsiteY1" fmla="*/ 286651 h 286651"/>
              <a:gd name="connsiteX2" fmla="*/ 140995 w 264511"/>
              <a:gd name="connsiteY2" fmla="*/ 144491 h 286651"/>
              <a:gd name="connsiteX3" fmla="*/ 0 w 264511"/>
              <a:gd name="connsiteY3" fmla="*/ 0 h 286651"/>
              <a:gd name="connsiteX4" fmla="*/ 123516 w 264511"/>
              <a:gd name="connsiteY4" fmla="*/ 0 h 286651"/>
              <a:gd name="connsiteX5" fmla="*/ 264511 w 264511"/>
              <a:gd name="connsiteY5" fmla="*/ 140995 h 286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1">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201" name="Freihandform: Form 200">
            <a:extLst>
              <a:ext uri="{FF2B5EF4-FFF2-40B4-BE49-F238E27FC236}">
                <a16:creationId xmlns:a16="http://schemas.microsoft.com/office/drawing/2014/main" id="{E8A013AF-F105-4965-95B7-AC96F227E824}"/>
              </a:ext>
            </a:extLst>
          </p:cNvPr>
          <p:cNvSpPr/>
          <p:nvPr/>
        </p:nvSpPr>
        <p:spPr>
          <a:xfrm>
            <a:off x="10108537" y="5869868"/>
            <a:ext cx="264511" cy="286650"/>
          </a:xfrm>
          <a:custGeom>
            <a:avLst/>
            <a:gdLst>
              <a:gd name="connsiteX0" fmla="*/ 121186 w 264511"/>
              <a:gd name="connsiteY0" fmla="*/ 286651 h 286650"/>
              <a:gd name="connsiteX1" fmla="*/ 0 w 264511"/>
              <a:gd name="connsiteY1" fmla="*/ 286651 h 286650"/>
              <a:gd name="connsiteX2" fmla="*/ 140995 w 264511"/>
              <a:gd name="connsiteY2" fmla="*/ 144491 h 286650"/>
              <a:gd name="connsiteX3" fmla="*/ 0 w 264511"/>
              <a:gd name="connsiteY3" fmla="*/ 0 h 286650"/>
              <a:gd name="connsiteX4" fmla="*/ 123516 w 264511"/>
              <a:gd name="connsiteY4" fmla="*/ 0 h 286650"/>
              <a:gd name="connsiteX5" fmla="*/ 264511 w 264511"/>
              <a:gd name="connsiteY5" fmla="*/ 140995 h 28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0">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218" name="Freihandform: Form 217">
            <a:extLst>
              <a:ext uri="{FF2B5EF4-FFF2-40B4-BE49-F238E27FC236}">
                <a16:creationId xmlns:a16="http://schemas.microsoft.com/office/drawing/2014/main" id="{7F42F650-844E-4C84-9059-2EC117988F05}"/>
              </a:ext>
            </a:extLst>
          </p:cNvPr>
          <p:cNvSpPr/>
          <p:nvPr/>
        </p:nvSpPr>
        <p:spPr>
          <a:xfrm>
            <a:off x="10108537" y="6225269"/>
            <a:ext cx="264511" cy="286650"/>
          </a:xfrm>
          <a:custGeom>
            <a:avLst/>
            <a:gdLst>
              <a:gd name="connsiteX0" fmla="*/ 121186 w 264511"/>
              <a:gd name="connsiteY0" fmla="*/ 286651 h 286650"/>
              <a:gd name="connsiteX1" fmla="*/ 0 w 264511"/>
              <a:gd name="connsiteY1" fmla="*/ 286651 h 286650"/>
              <a:gd name="connsiteX2" fmla="*/ 140995 w 264511"/>
              <a:gd name="connsiteY2" fmla="*/ 144491 h 286650"/>
              <a:gd name="connsiteX3" fmla="*/ 0 w 264511"/>
              <a:gd name="connsiteY3" fmla="*/ 0 h 286650"/>
              <a:gd name="connsiteX4" fmla="*/ 123516 w 264511"/>
              <a:gd name="connsiteY4" fmla="*/ 0 h 286650"/>
              <a:gd name="connsiteX5" fmla="*/ 264511 w 264511"/>
              <a:gd name="connsiteY5" fmla="*/ 140995 h 28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0">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5" name="Freihandform: Form 4">
            <a:extLst>
              <a:ext uri="{FF2B5EF4-FFF2-40B4-BE49-F238E27FC236}">
                <a16:creationId xmlns:a16="http://schemas.microsoft.com/office/drawing/2014/main" id="{37FF9268-487B-457F-B2C7-1E1C142BF17B}"/>
              </a:ext>
            </a:extLst>
          </p:cNvPr>
          <p:cNvSpPr/>
          <p:nvPr/>
        </p:nvSpPr>
        <p:spPr>
          <a:xfrm>
            <a:off x="4909201" y="2101456"/>
            <a:ext cx="16313" cy="17478"/>
          </a:xfrm>
          <a:custGeom>
            <a:avLst/>
            <a:gdLst>
              <a:gd name="connsiteX0" fmla="*/ 8157 w 16313"/>
              <a:gd name="connsiteY0" fmla="*/ 17479 h 17478"/>
              <a:gd name="connsiteX1" fmla="*/ 0 w 16313"/>
              <a:gd name="connsiteY1" fmla="*/ 17479 h 17478"/>
              <a:gd name="connsiteX2" fmla="*/ 9322 w 16313"/>
              <a:gd name="connsiteY2" fmla="*/ 8157 h 17478"/>
              <a:gd name="connsiteX3" fmla="*/ 0 w 16313"/>
              <a:gd name="connsiteY3" fmla="*/ 0 h 17478"/>
              <a:gd name="connsiteX4" fmla="*/ 8157 w 16313"/>
              <a:gd name="connsiteY4" fmla="*/ 0 h 17478"/>
              <a:gd name="connsiteX5" fmla="*/ 16313 w 16313"/>
              <a:gd name="connsiteY5" fmla="*/ 8157 h 17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13" h="17478">
                <a:moveTo>
                  <a:pt x="8157" y="17479"/>
                </a:moveTo>
                <a:lnTo>
                  <a:pt x="0" y="17479"/>
                </a:lnTo>
                <a:lnTo>
                  <a:pt x="9322" y="8157"/>
                </a:lnTo>
                <a:lnTo>
                  <a:pt x="0" y="0"/>
                </a:lnTo>
                <a:lnTo>
                  <a:pt x="8157" y="0"/>
                </a:lnTo>
                <a:lnTo>
                  <a:pt x="16313" y="8157"/>
                </a:lnTo>
                <a:close/>
              </a:path>
            </a:pathLst>
          </a:custGeom>
          <a:solidFill>
            <a:srgbClr val="EEF2F5"/>
          </a:solidFill>
          <a:ln w="11643" cap="flat">
            <a:noFill/>
            <a:prstDash val="solid"/>
            <a:miter/>
          </a:ln>
        </p:spPr>
        <p:txBody>
          <a:bodyPr rtlCol="0" anchor="ctr"/>
          <a:lstStyle/>
          <a:p>
            <a:endParaRPr lang="de-DE"/>
          </a:p>
        </p:txBody>
      </p:sp>
      <p:sp>
        <p:nvSpPr>
          <p:cNvPr id="22" name="Freihandform: Form 21">
            <a:extLst>
              <a:ext uri="{FF2B5EF4-FFF2-40B4-BE49-F238E27FC236}">
                <a16:creationId xmlns:a16="http://schemas.microsoft.com/office/drawing/2014/main" id="{67427BC4-9149-4C28-A507-8AD1464E8243}"/>
              </a:ext>
            </a:extLst>
          </p:cNvPr>
          <p:cNvSpPr/>
          <p:nvPr/>
        </p:nvSpPr>
        <p:spPr>
          <a:xfrm>
            <a:off x="4909201" y="2455692"/>
            <a:ext cx="16313" cy="18643"/>
          </a:xfrm>
          <a:custGeom>
            <a:avLst/>
            <a:gdLst>
              <a:gd name="connsiteX0" fmla="*/ 8157 w 16313"/>
              <a:gd name="connsiteY0" fmla="*/ 18644 h 18643"/>
              <a:gd name="connsiteX1" fmla="*/ 0 w 16313"/>
              <a:gd name="connsiteY1" fmla="*/ 18644 h 18643"/>
              <a:gd name="connsiteX2" fmla="*/ 9322 w 16313"/>
              <a:gd name="connsiteY2" fmla="*/ 9322 h 18643"/>
              <a:gd name="connsiteX3" fmla="*/ 0 w 16313"/>
              <a:gd name="connsiteY3" fmla="*/ 0 h 18643"/>
              <a:gd name="connsiteX4" fmla="*/ 8157 w 16313"/>
              <a:gd name="connsiteY4" fmla="*/ 0 h 18643"/>
              <a:gd name="connsiteX5" fmla="*/ 16313 w 16313"/>
              <a:gd name="connsiteY5" fmla="*/ 9322 h 18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13" h="18643">
                <a:moveTo>
                  <a:pt x="8157" y="18644"/>
                </a:moveTo>
                <a:lnTo>
                  <a:pt x="0" y="18644"/>
                </a:lnTo>
                <a:lnTo>
                  <a:pt x="9322" y="9322"/>
                </a:lnTo>
                <a:lnTo>
                  <a:pt x="0" y="0"/>
                </a:lnTo>
                <a:lnTo>
                  <a:pt x="8157" y="0"/>
                </a:lnTo>
                <a:lnTo>
                  <a:pt x="16313" y="9322"/>
                </a:lnTo>
                <a:close/>
              </a:path>
            </a:pathLst>
          </a:custGeom>
          <a:solidFill>
            <a:srgbClr val="EEF2F5"/>
          </a:solidFill>
          <a:ln w="11643" cap="flat">
            <a:noFill/>
            <a:prstDash val="solid"/>
            <a:miter/>
          </a:ln>
        </p:spPr>
        <p:txBody>
          <a:bodyPr rtlCol="0" anchor="ctr"/>
          <a:lstStyle/>
          <a:p>
            <a:endParaRPr lang="de-DE"/>
          </a:p>
        </p:txBody>
      </p:sp>
      <p:sp>
        <p:nvSpPr>
          <p:cNvPr id="38" name="Freihandform: Form 37">
            <a:extLst>
              <a:ext uri="{FF2B5EF4-FFF2-40B4-BE49-F238E27FC236}">
                <a16:creationId xmlns:a16="http://schemas.microsoft.com/office/drawing/2014/main" id="{86AC6BBB-1E60-4206-8581-A22FBBC2FD4E}"/>
              </a:ext>
            </a:extLst>
          </p:cNvPr>
          <p:cNvSpPr/>
          <p:nvPr/>
        </p:nvSpPr>
        <p:spPr>
          <a:xfrm>
            <a:off x="4909201" y="2811092"/>
            <a:ext cx="16313" cy="17478"/>
          </a:xfrm>
          <a:custGeom>
            <a:avLst/>
            <a:gdLst>
              <a:gd name="connsiteX0" fmla="*/ 8157 w 16313"/>
              <a:gd name="connsiteY0" fmla="*/ 17479 h 17478"/>
              <a:gd name="connsiteX1" fmla="*/ 0 w 16313"/>
              <a:gd name="connsiteY1" fmla="*/ 17479 h 17478"/>
              <a:gd name="connsiteX2" fmla="*/ 9322 w 16313"/>
              <a:gd name="connsiteY2" fmla="*/ 8157 h 17478"/>
              <a:gd name="connsiteX3" fmla="*/ 0 w 16313"/>
              <a:gd name="connsiteY3" fmla="*/ 0 h 17478"/>
              <a:gd name="connsiteX4" fmla="*/ 8157 w 16313"/>
              <a:gd name="connsiteY4" fmla="*/ 0 h 17478"/>
              <a:gd name="connsiteX5" fmla="*/ 16313 w 16313"/>
              <a:gd name="connsiteY5" fmla="*/ 8157 h 17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13" h="17478">
                <a:moveTo>
                  <a:pt x="8157" y="17479"/>
                </a:moveTo>
                <a:lnTo>
                  <a:pt x="0" y="17479"/>
                </a:lnTo>
                <a:lnTo>
                  <a:pt x="9322" y="8157"/>
                </a:lnTo>
                <a:lnTo>
                  <a:pt x="0" y="0"/>
                </a:lnTo>
                <a:lnTo>
                  <a:pt x="8157" y="0"/>
                </a:lnTo>
                <a:lnTo>
                  <a:pt x="16313" y="8157"/>
                </a:lnTo>
                <a:close/>
              </a:path>
            </a:pathLst>
          </a:custGeom>
          <a:solidFill>
            <a:srgbClr val="EEF2F5"/>
          </a:solidFill>
          <a:ln w="11643" cap="flat">
            <a:noFill/>
            <a:prstDash val="solid"/>
            <a:miter/>
          </a:ln>
        </p:spPr>
        <p:txBody>
          <a:bodyPr rtlCol="0" anchor="ctr"/>
          <a:lstStyle/>
          <a:p>
            <a:endParaRPr lang="de-DE"/>
          </a:p>
        </p:txBody>
      </p:sp>
      <p:sp>
        <p:nvSpPr>
          <p:cNvPr id="203" name="Freihandform: Form 202">
            <a:extLst>
              <a:ext uri="{FF2B5EF4-FFF2-40B4-BE49-F238E27FC236}">
                <a16:creationId xmlns:a16="http://schemas.microsoft.com/office/drawing/2014/main" id="{A954D734-5BDB-4F7E-8A7B-09593EE1C30A}"/>
              </a:ext>
            </a:extLst>
          </p:cNvPr>
          <p:cNvSpPr/>
          <p:nvPr/>
        </p:nvSpPr>
        <p:spPr>
          <a:xfrm>
            <a:off x="4909201" y="6359273"/>
            <a:ext cx="16313" cy="18643"/>
          </a:xfrm>
          <a:custGeom>
            <a:avLst/>
            <a:gdLst>
              <a:gd name="connsiteX0" fmla="*/ 8157 w 16313"/>
              <a:gd name="connsiteY0" fmla="*/ 18644 h 18643"/>
              <a:gd name="connsiteX1" fmla="*/ 0 w 16313"/>
              <a:gd name="connsiteY1" fmla="*/ 18644 h 18643"/>
              <a:gd name="connsiteX2" fmla="*/ 9322 w 16313"/>
              <a:gd name="connsiteY2" fmla="*/ 9322 h 18643"/>
              <a:gd name="connsiteX3" fmla="*/ 0 w 16313"/>
              <a:gd name="connsiteY3" fmla="*/ 0 h 18643"/>
              <a:gd name="connsiteX4" fmla="*/ 8157 w 16313"/>
              <a:gd name="connsiteY4" fmla="*/ 0 h 18643"/>
              <a:gd name="connsiteX5" fmla="*/ 16313 w 16313"/>
              <a:gd name="connsiteY5" fmla="*/ 9322 h 18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13" h="18643">
                <a:moveTo>
                  <a:pt x="8157" y="18644"/>
                </a:moveTo>
                <a:lnTo>
                  <a:pt x="0" y="18644"/>
                </a:lnTo>
                <a:lnTo>
                  <a:pt x="9322" y="9322"/>
                </a:lnTo>
                <a:lnTo>
                  <a:pt x="0" y="0"/>
                </a:lnTo>
                <a:lnTo>
                  <a:pt x="8157" y="0"/>
                </a:lnTo>
                <a:lnTo>
                  <a:pt x="16313" y="9322"/>
                </a:lnTo>
                <a:close/>
              </a:path>
            </a:pathLst>
          </a:custGeom>
          <a:solidFill>
            <a:srgbClr val="EEF2F5"/>
          </a:solidFill>
          <a:ln w="11643" cap="flat">
            <a:noFill/>
            <a:prstDash val="solid"/>
            <a:miter/>
          </a:ln>
        </p:spPr>
        <p:txBody>
          <a:bodyPr rtlCol="0" anchor="ctr"/>
          <a:lstStyle/>
          <a:p>
            <a:endParaRPr lang="de-DE"/>
          </a:p>
        </p:txBody>
      </p:sp>
      <p:sp>
        <p:nvSpPr>
          <p:cNvPr id="219" name="Freihandform: Form 218">
            <a:extLst>
              <a:ext uri="{FF2B5EF4-FFF2-40B4-BE49-F238E27FC236}">
                <a16:creationId xmlns:a16="http://schemas.microsoft.com/office/drawing/2014/main" id="{11ACA275-0A27-41DD-8AD0-A37EF069B3DC}"/>
              </a:ext>
            </a:extLst>
          </p:cNvPr>
          <p:cNvSpPr/>
          <p:nvPr/>
        </p:nvSpPr>
        <p:spPr>
          <a:xfrm>
            <a:off x="4909201" y="6714673"/>
            <a:ext cx="16313" cy="17478"/>
          </a:xfrm>
          <a:custGeom>
            <a:avLst/>
            <a:gdLst>
              <a:gd name="connsiteX0" fmla="*/ 8157 w 16313"/>
              <a:gd name="connsiteY0" fmla="*/ 17479 h 17478"/>
              <a:gd name="connsiteX1" fmla="*/ 0 w 16313"/>
              <a:gd name="connsiteY1" fmla="*/ 17479 h 17478"/>
              <a:gd name="connsiteX2" fmla="*/ 9322 w 16313"/>
              <a:gd name="connsiteY2" fmla="*/ 8157 h 17478"/>
              <a:gd name="connsiteX3" fmla="*/ 0 w 16313"/>
              <a:gd name="connsiteY3" fmla="*/ 0 h 17478"/>
              <a:gd name="connsiteX4" fmla="*/ 8157 w 16313"/>
              <a:gd name="connsiteY4" fmla="*/ 0 h 17478"/>
              <a:gd name="connsiteX5" fmla="*/ 16313 w 16313"/>
              <a:gd name="connsiteY5" fmla="*/ 8157 h 17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13" h="17478">
                <a:moveTo>
                  <a:pt x="8157" y="17479"/>
                </a:moveTo>
                <a:lnTo>
                  <a:pt x="0" y="17479"/>
                </a:lnTo>
                <a:lnTo>
                  <a:pt x="9322" y="8157"/>
                </a:lnTo>
                <a:lnTo>
                  <a:pt x="0" y="0"/>
                </a:lnTo>
                <a:lnTo>
                  <a:pt x="8157" y="0"/>
                </a:lnTo>
                <a:lnTo>
                  <a:pt x="16313" y="8157"/>
                </a:lnTo>
                <a:close/>
              </a:path>
            </a:pathLst>
          </a:custGeom>
          <a:solidFill>
            <a:srgbClr val="EEF2F5"/>
          </a:solidFill>
          <a:ln w="11643" cap="flat">
            <a:noFill/>
            <a:prstDash val="solid"/>
            <a:miter/>
          </a:ln>
        </p:spPr>
        <p:txBody>
          <a:bodyPr rtlCol="0" anchor="ctr"/>
          <a:lstStyle/>
          <a:p>
            <a:endParaRPr lang="de-DE"/>
          </a:p>
        </p:txBody>
      </p:sp>
      <p:sp>
        <p:nvSpPr>
          <p:cNvPr id="6" name="Freihandform: Form 5">
            <a:extLst>
              <a:ext uri="{FF2B5EF4-FFF2-40B4-BE49-F238E27FC236}">
                <a16:creationId xmlns:a16="http://schemas.microsoft.com/office/drawing/2014/main" id="{8A4E51D5-9A40-4C2C-A7AF-1757E2BA77A0}"/>
              </a:ext>
            </a:extLst>
          </p:cNvPr>
          <p:cNvSpPr/>
          <p:nvPr/>
        </p:nvSpPr>
        <p:spPr>
          <a:xfrm>
            <a:off x="5255279" y="2092134"/>
            <a:ext cx="33792" cy="36122"/>
          </a:xfrm>
          <a:custGeom>
            <a:avLst/>
            <a:gdLst>
              <a:gd name="connsiteX0" fmla="*/ 15148 w 33792"/>
              <a:gd name="connsiteY0" fmla="*/ 36123 h 36122"/>
              <a:gd name="connsiteX1" fmla="*/ 0 w 33792"/>
              <a:gd name="connsiteY1" fmla="*/ 36123 h 36122"/>
              <a:gd name="connsiteX2" fmla="*/ 18644 w 33792"/>
              <a:gd name="connsiteY2" fmla="*/ 17479 h 36122"/>
              <a:gd name="connsiteX3" fmla="*/ 0 w 33792"/>
              <a:gd name="connsiteY3" fmla="*/ 0 h 36122"/>
              <a:gd name="connsiteX4" fmla="*/ 16313 w 33792"/>
              <a:gd name="connsiteY4" fmla="*/ 0 h 36122"/>
              <a:gd name="connsiteX5" fmla="*/ 33792 w 33792"/>
              <a:gd name="connsiteY5" fmla="*/ 17479 h 3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92" h="36122">
                <a:moveTo>
                  <a:pt x="15148" y="36123"/>
                </a:moveTo>
                <a:lnTo>
                  <a:pt x="0" y="36123"/>
                </a:lnTo>
                <a:lnTo>
                  <a:pt x="18644" y="17479"/>
                </a:lnTo>
                <a:lnTo>
                  <a:pt x="0" y="0"/>
                </a:lnTo>
                <a:lnTo>
                  <a:pt x="16313" y="0"/>
                </a:lnTo>
                <a:lnTo>
                  <a:pt x="33792" y="17479"/>
                </a:lnTo>
                <a:close/>
              </a:path>
            </a:pathLst>
          </a:custGeom>
          <a:solidFill>
            <a:srgbClr val="EEF2F5"/>
          </a:solidFill>
          <a:ln w="11643" cap="flat">
            <a:noFill/>
            <a:prstDash val="solid"/>
            <a:miter/>
          </a:ln>
        </p:spPr>
        <p:txBody>
          <a:bodyPr rtlCol="0" anchor="ctr"/>
          <a:lstStyle/>
          <a:p>
            <a:endParaRPr lang="de-DE"/>
          </a:p>
        </p:txBody>
      </p:sp>
      <p:sp>
        <p:nvSpPr>
          <p:cNvPr id="23" name="Freihandform: Form 22">
            <a:extLst>
              <a:ext uri="{FF2B5EF4-FFF2-40B4-BE49-F238E27FC236}">
                <a16:creationId xmlns:a16="http://schemas.microsoft.com/office/drawing/2014/main" id="{EFF8D231-0526-443F-B572-FBC0C0A7C2F2}"/>
              </a:ext>
            </a:extLst>
          </p:cNvPr>
          <p:cNvSpPr/>
          <p:nvPr/>
        </p:nvSpPr>
        <p:spPr>
          <a:xfrm>
            <a:off x="5255279" y="2446370"/>
            <a:ext cx="33792" cy="36122"/>
          </a:xfrm>
          <a:custGeom>
            <a:avLst/>
            <a:gdLst>
              <a:gd name="connsiteX0" fmla="*/ 15148 w 33792"/>
              <a:gd name="connsiteY0" fmla="*/ 36123 h 36122"/>
              <a:gd name="connsiteX1" fmla="*/ 0 w 33792"/>
              <a:gd name="connsiteY1" fmla="*/ 36123 h 36122"/>
              <a:gd name="connsiteX2" fmla="*/ 18644 w 33792"/>
              <a:gd name="connsiteY2" fmla="*/ 18644 h 36122"/>
              <a:gd name="connsiteX3" fmla="*/ 0 w 33792"/>
              <a:gd name="connsiteY3" fmla="*/ 0 h 36122"/>
              <a:gd name="connsiteX4" fmla="*/ 16313 w 33792"/>
              <a:gd name="connsiteY4" fmla="*/ 0 h 36122"/>
              <a:gd name="connsiteX5" fmla="*/ 33792 w 33792"/>
              <a:gd name="connsiteY5" fmla="*/ 18644 h 3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92" h="36122">
                <a:moveTo>
                  <a:pt x="15148" y="36123"/>
                </a:moveTo>
                <a:lnTo>
                  <a:pt x="0" y="36123"/>
                </a:lnTo>
                <a:lnTo>
                  <a:pt x="18644" y="18644"/>
                </a:lnTo>
                <a:lnTo>
                  <a:pt x="0" y="0"/>
                </a:lnTo>
                <a:lnTo>
                  <a:pt x="16313" y="0"/>
                </a:lnTo>
                <a:lnTo>
                  <a:pt x="33792" y="18644"/>
                </a:lnTo>
                <a:close/>
              </a:path>
            </a:pathLst>
          </a:custGeom>
          <a:solidFill>
            <a:srgbClr val="EEF2F5"/>
          </a:solidFill>
          <a:ln w="11643" cap="flat">
            <a:noFill/>
            <a:prstDash val="solid"/>
            <a:miter/>
          </a:ln>
        </p:spPr>
        <p:txBody>
          <a:bodyPr rtlCol="0" anchor="ctr"/>
          <a:lstStyle/>
          <a:p>
            <a:endParaRPr lang="de-DE"/>
          </a:p>
        </p:txBody>
      </p:sp>
      <p:sp>
        <p:nvSpPr>
          <p:cNvPr id="39" name="Freihandform: Form 38">
            <a:extLst>
              <a:ext uri="{FF2B5EF4-FFF2-40B4-BE49-F238E27FC236}">
                <a16:creationId xmlns:a16="http://schemas.microsoft.com/office/drawing/2014/main" id="{4663B524-8E70-411B-AF82-46000FF0D969}"/>
              </a:ext>
            </a:extLst>
          </p:cNvPr>
          <p:cNvSpPr/>
          <p:nvPr/>
        </p:nvSpPr>
        <p:spPr>
          <a:xfrm>
            <a:off x="5255279" y="2801770"/>
            <a:ext cx="33792" cy="36122"/>
          </a:xfrm>
          <a:custGeom>
            <a:avLst/>
            <a:gdLst>
              <a:gd name="connsiteX0" fmla="*/ 15148 w 33792"/>
              <a:gd name="connsiteY0" fmla="*/ 36123 h 36122"/>
              <a:gd name="connsiteX1" fmla="*/ 0 w 33792"/>
              <a:gd name="connsiteY1" fmla="*/ 36123 h 36122"/>
              <a:gd name="connsiteX2" fmla="*/ 18644 w 33792"/>
              <a:gd name="connsiteY2" fmla="*/ 17479 h 36122"/>
              <a:gd name="connsiteX3" fmla="*/ 0 w 33792"/>
              <a:gd name="connsiteY3" fmla="*/ 0 h 36122"/>
              <a:gd name="connsiteX4" fmla="*/ 16313 w 33792"/>
              <a:gd name="connsiteY4" fmla="*/ 0 h 36122"/>
              <a:gd name="connsiteX5" fmla="*/ 33792 w 33792"/>
              <a:gd name="connsiteY5" fmla="*/ 17479 h 3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92" h="36122">
                <a:moveTo>
                  <a:pt x="15148" y="36123"/>
                </a:moveTo>
                <a:lnTo>
                  <a:pt x="0" y="36123"/>
                </a:lnTo>
                <a:lnTo>
                  <a:pt x="18644" y="17479"/>
                </a:lnTo>
                <a:lnTo>
                  <a:pt x="0" y="0"/>
                </a:lnTo>
                <a:lnTo>
                  <a:pt x="16313" y="0"/>
                </a:lnTo>
                <a:lnTo>
                  <a:pt x="33792" y="17479"/>
                </a:lnTo>
                <a:close/>
              </a:path>
            </a:pathLst>
          </a:custGeom>
          <a:solidFill>
            <a:srgbClr val="EEF2F5"/>
          </a:solidFill>
          <a:ln w="11643" cap="flat">
            <a:noFill/>
            <a:prstDash val="solid"/>
            <a:miter/>
          </a:ln>
        </p:spPr>
        <p:txBody>
          <a:bodyPr rtlCol="0" anchor="ctr"/>
          <a:lstStyle/>
          <a:p>
            <a:endParaRPr lang="de-DE"/>
          </a:p>
        </p:txBody>
      </p:sp>
      <p:sp>
        <p:nvSpPr>
          <p:cNvPr id="55" name="Freihandform: Form 54">
            <a:extLst>
              <a:ext uri="{FF2B5EF4-FFF2-40B4-BE49-F238E27FC236}">
                <a16:creationId xmlns:a16="http://schemas.microsoft.com/office/drawing/2014/main" id="{F4D09A89-D99B-46C8-9144-5A77F64C551B}"/>
              </a:ext>
            </a:extLst>
          </p:cNvPr>
          <p:cNvSpPr/>
          <p:nvPr/>
        </p:nvSpPr>
        <p:spPr>
          <a:xfrm>
            <a:off x="5255279" y="3156006"/>
            <a:ext cx="33792" cy="36122"/>
          </a:xfrm>
          <a:custGeom>
            <a:avLst/>
            <a:gdLst>
              <a:gd name="connsiteX0" fmla="*/ 15148 w 33792"/>
              <a:gd name="connsiteY0" fmla="*/ 36123 h 36122"/>
              <a:gd name="connsiteX1" fmla="*/ 0 w 33792"/>
              <a:gd name="connsiteY1" fmla="*/ 36123 h 36122"/>
              <a:gd name="connsiteX2" fmla="*/ 18644 w 33792"/>
              <a:gd name="connsiteY2" fmla="*/ 18644 h 36122"/>
              <a:gd name="connsiteX3" fmla="*/ 0 w 33792"/>
              <a:gd name="connsiteY3" fmla="*/ 0 h 36122"/>
              <a:gd name="connsiteX4" fmla="*/ 16313 w 33792"/>
              <a:gd name="connsiteY4" fmla="*/ 0 h 36122"/>
              <a:gd name="connsiteX5" fmla="*/ 33792 w 33792"/>
              <a:gd name="connsiteY5" fmla="*/ 18644 h 3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92" h="36122">
                <a:moveTo>
                  <a:pt x="15148" y="36123"/>
                </a:moveTo>
                <a:lnTo>
                  <a:pt x="0" y="36123"/>
                </a:lnTo>
                <a:lnTo>
                  <a:pt x="18644" y="18644"/>
                </a:lnTo>
                <a:lnTo>
                  <a:pt x="0" y="0"/>
                </a:lnTo>
                <a:lnTo>
                  <a:pt x="16313" y="0"/>
                </a:lnTo>
                <a:lnTo>
                  <a:pt x="33792" y="18644"/>
                </a:lnTo>
                <a:close/>
              </a:path>
            </a:pathLst>
          </a:custGeom>
          <a:solidFill>
            <a:srgbClr val="EEF2F5"/>
          </a:solidFill>
          <a:ln w="11643" cap="flat">
            <a:noFill/>
            <a:prstDash val="solid"/>
            <a:miter/>
          </a:ln>
        </p:spPr>
        <p:txBody>
          <a:bodyPr rtlCol="0" anchor="ctr"/>
          <a:lstStyle/>
          <a:p>
            <a:endParaRPr lang="de-DE"/>
          </a:p>
        </p:txBody>
      </p:sp>
      <p:sp>
        <p:nvSpPr>
          <p:cNvPr id="187" name="Freihandform: Form 186">
            <a:extLst>
              <a:ext uri="{FF2B5EF4-FFF2-40B4-BE49-F238E27FC236}">
                <a16:creationId xmlns:a16="http://schemas.microsoft.com/office/drawing/2014/main" id="{9405F1EC-B6AA-4E71-9517-3317B5730FD9}"/>
              </a:ext>
            </a:extLst>
          </p:cNvPr>
          <p:cNvSpPr/>
          <p:nvPr/>
        </p:nvSpPr>
        <p:spPr>
          <a:xfrm>
            <a:off x="5255279" y="5995715"/>
            <a:ext cx="33792" cy="36122"/>
          </a:xfrm>
          <a:custGeom>
            <a:avLst/>
            <a:gdLst>
              <a:gd name="connsiteX0" fmla="*/ 15148 w 33792"/>
              <a:gd name="connsiteY0" fmla="*/ 36123 h 36122"/>
              <a:gd name="connsiteX1" fmla="*/ 0 w 33792"/>
              <a:gd name="connsiteY1" fmla="*/ 36123 h 36122"/>
              <a:gd name="connsiteX2" fmla="*/ 18644 w 33792"/>
              <a:gd name="connsiteY2" fmla="*/ 17479 h 36122"/>
              <a:gd name="connsiteX3" fmla="*/ 0 w 33792"/>
              <a:gd name="connsiteY3" fmla="*/ 0 h 36122"/>
              <a:gd name="connsiteX4" fmla="*/ 16313 w 33792"/>
              <a:gd name="connsiteY4" fmla="*/ 0 h 36122"/>
              <a:gd name="connsiteX5" fmla="*/ 33792 w 33792"/>
              <a:gd name="connsiteY5" fmla="*/ 17479 h 3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92" h="36122">
                <a:moveTo>
                  <a:pt x="15148" y="36123"/>
                </a:moveTo>
                <a:lnTo>
                  <a:pt x="0" y="36123"/>
                </a:lnTo>
                <a:lnTo>
                  <a:pt x="18644" y="17479"/>
                </a:lnTo>
                <a:lnTo>
                  <a:pt x="0" y="0"/>
                </a:lnTo>
                <a:lnTo>
                  <a:pt x="16313" y="0"/>
                </a:lnTo>
                <a:lnTo>
                  <a:pt x="33792" y="17479"/>
                </a:lnTo>
                <a:close/>
              </a:path>
            </a:pathLst>
          </a:custGeom>
          <a:solidFill>
            <a:srgbClr val="EEF2F5"/>
          </a:solidFill>
          <a:ln w="11643" cap="flat">
            <a:noFill/>
            <a:prstDash val="solid"/>
            <a:miter/>
          </a:ln>
        </p:spPr>
        <p:txBody>
          <a:bodyPr rtlCol="0" anchor="ctr"/>
          <a:lstStyle/>
          <a:p>
            <a:endParaRPr lang="de-DE"/>
          </a:p>
        </p:txBody>
      </p:sp>
      <p:sp>
        <p:nvSpPr>
          <p:cNvPr id="204" name="Freihandform: Form 203">
            <a:extLst>
              <a:ext uri="{FF2B5EF4-FFF2-40B4-BE49-F238E27FC236}">
                <a16:creationId xmlns:a16="http://schemas.microsoft.com/office/drawing/2014/main" id="{455ED072-A29F-4FE5-8724-C330B2893FE8}"/>
              </a:ext>
            </a:extLst>
          </p:cNvPr>
          <p:cNvSpPr/>
          <p:nvPr/>
        </p:nvSpPr>
        <p:spPr>
          <a:xfrm>
            <a:off x="5255279" y="6349950"/>
            <a:ext cx="33792" cy="36122"/>
          </a:xfrm>
          <a:custGeom>
            <a:avLst/>
            <a:gdLst>
              <a:gd name="connsiteX0" fmla="*/ 15148 w 33792"/>
              <a:gd name="connsiteY0" fmla="*/ 36123 h 36122"/>
              <a:gd name="connsiteX1" fmla="*/ 0 w 33792"/>
              <a:gd name="connsiteY1" fmla="*/ 36123 h 36122"/>
              <a:gd name="connsiteX2" fmla="*/ 18644 w 33792"/>
              <a:gd name="connsiteY2" fmla="*/ 18644 h 36122"/>
              <a:gd name="connsiteX3" fmla="*/ 0 w 33792"/>
              <a:gd name="connsiteY3" fmla="*/ 0 h 36122"/>
              <a:gd name="connsiteX4" fmla="*/ 16313 w 33792"/>
              <a:gd name="connsiteY4" fmla="*/ 0 h 36122"/>
              <a:gd name="connsiteX5" fmla="*/ 33792 w 33792"/>
              <a:gd name="connsiteY5" fmla="*/ 17479 h 3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92" h="36122">
                <a:moveTo>
                  <a:pt x="15148" y="36123"/>
                </a:moveTo>
                <a:lnTo>
                  <a:pt x="0" y="36123"/>
                </a:lnTo>
                <a:lnTo>
                  <a:pt x="18644" y="18644"/>
                </a:lnTo>
                <a:lnTo>
                  <a:pt x="0" y="0"/>
                </a:lnTo>
                <a:lnTo>
                  <a:pt x="16313" y="0"/>
                </a:lnTo>
                <a:lnTo>
                  <a:pt x="33792" y="17479"/>
                </a:lnTo>
                <a:close/>
              </a:path>
            </a:pathLst>
          </a:custGeom>
          <a:solidFill>
            <a:srgbClr val="EEF2F5"/>
          </a:solidFill>
          <a:ln w="11643" cap="flat">
            <a:noFill/>
            <a:prstDash val="solid"/>
            <a:miter/>
          </a:ln>
        </p:spPr>
        <p:txBody>
          <a:bodyPr rtlCol="0" anchor="ctr"/>
          <a:lstStyle/>
          <a:p>
            <a:endParaRPr lang="de-DE"/>
          </a:p>
        </p:txBody>
      </p:sp>
      <p:sp>
        <p:nvSpPr>
          <p:cNvPr id="220" name="Freihandform: Form 219">
            <a:extLst>
              <a:ext uri="{FF2B5EF4-FFF2-40B4-BE49-F238E27FC236}">
                <a16:creationId xmlns:a16="http://schemas.microsoft.com/office/drawing/2014/main" id="{99942471-7679-49B5-9D52-AEDAA896BBEA}"/>
              </a:ext>
            </a:extLst>
          </p:cNvPr>
          <p:cNvSpPr/>
          <p:nvPr/>
        </p:nvSpPr>
        <p:spPr>
          <a:xfrm>
            <a:off x="5255279" y="6705351"/>
            <a:ext cx="33792" cy="36122"/>
          </a:xfrm>
          <a:custGeom>
            <a:avLst/>
            <a:gdLst>
              <a:gd name="connsiteX0" fmla="*/ 15148 w 33792"/>
              <a:gd name="connsiteY0" fmla="*/ 36123 h 36122"/>
              <a:gd name="connsiteX1" fmla="*/ 0 w 33792"/>
              <a:gd name="connsiteY1" fmla="*/ 36123 h 36122"/>
              <a:gd name="connsiteX2" fmla="*/ 18644 w 33792"/>
              <a:gd name="connsiteY2" fmla="*/ 17479 h 36122"/>
              <a:gd name="connsiteX3" fmla="*/ 0 w 33792"/>
              <a:gd name="connsiteY3" fmla="*/ 0 h 36122"/>
              <a:gd name="connsiteX4" fmla="*/ 16313 w 33792"/>
              <a:gd name="connsiteY4" fmla="*/ 0 h 36122"/>
              <a:gd name="connsiteX5" fmla="*/ 33792 w 33792"/>
              <a:gd name="connsiteY5" fmla="*/ 17479 h 3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92" h="36122">
                <a:moveTo>
                  <a:pt x="15148" y="36123"/>
                </a:moveTo>
                <a:lnTo>
                  <a:pt x="0" y="36123"/>
                </a:lnTo>
                <a:lnTo>
                  <a:pt x="18644" y="17479"/>
                </a:lnTo>
                <a:lnTo>
                  <a:pt x="0" y="0"/>
                </a:lnTo>
                <a:lnTo>
                  <a:pt x="16313" y="0"/>
                </a:lnTo>
                <a:lnTo>
                  <a:pt x="33792" y="17479"/>
                </a:lnTo>
                <a:close/>
              </a:path>
            </a:pathLst>
          </a:custGeom>
          <a:solidFill>
            <a:srgbClr val="EEF2F5"/>
          </a:solidFill>
          <a:ln w="11643" cap="flat">
            <a:noFill/>
            <a:prstDash val="solid"/>
            <a:miter/>
          </a:ln>
        </p:spPr>
        <p:txBody>
          <a:bodyPr rtlCol="0" anchor="ctr"/>
          <a:lstStyle/>
          <a:p>
            <a:endParaRPr lang="de-DE"/>
          </a:p>
        </p:txBody>
      </p:sp>
      <p:sp>
        <p:nvSpPr>
          <p:cNvPr id="7" name="Freihandform: Form 6">
            <a:extLst>
              <a:ext uri="{FF2B5EF4-FFF2-40B4-BE49-F238E27FC236}">
                <a16:creationId xmlns:a16="http://schemas.microsoft.com/office/drawing/2014/main" id="{4036A95C-4698-466B-86BD-E5C4BEBC8F14}"/>
              </a:ext>
            </a:extLst>
          </p:cNvPr>
          <p:cNvSpPr/>
          <p:nvPr/>
        </p:nvSpPr>
        <p:spPr>
          <a:xfrm>
            <a:off x="5602523" y="2082812"/>
            <a:ext cx="50105" cy="54766"/>
          </a:xfrm>
          <a:custGeom>
            <a:avLst/>
            <a:gdLst>
              <a:gd name="connsiteX0" fmla="*/ 22140 w 50105"/>
              <a:gd name="connsiteY0" fmla="*/ 54767 h 54766"/>
              <a:gd name="connsiteX1" fmla="*/ 0 w 50105"/>
              <a:gd name="connsiteY1" fmla="*/ 54767 h 54766"/>
              <a:gd name="connsiteX2" fmla="*/ 26801 w 50105"/>
              <a:gd name="connsiteY2" fmla="*/ 27966 h 54766"/>
              <a:gd name="connsiteX3" fmla="*/ 0 w 50105"/>
              <a:gd name="connsiteY3" fmla="*/ 0 h 54766"/>
              <a:gd name="connsiteX4" fmla="*/ 23305 w 50105"/>
              <a:gd name="connsiteY4" fmla="*/ 0 h 54766"/>
              <a:gd name="connsiteX5" fmla="*/ 50106 w 50105"/>
              <a:gd name="connsiteY5" fmla="*/ 26801 h 5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4765">
                <a:moveTo>
                  <a:pt x="22140" y="54767"/>
                </a:moveTo>
                <a:lnTo>
                  <a:pt x="0" y="54767"/>
                </a:lnTo>
                <a:lnTo>
                  <a:pt x="26801" y="27966"/>
                </a:lnTo>
                <a:lnTo>
                  <a:pt x="0" y="0"/>
                </a:lnTo>
                <a:lnTo>
                  <a:pt x="23305" y="0"/>
                </a:lnTo>
                <a:lnTo>
                  <a:pt x="50106" y="26801"/>
                </a:lnTo>
                <a:close/>
              </a:path>
            </a:pathLst>
          </a:custGeom>
          <a:solidFill>
            <a:srgbClr val="EEF2F5"/>
          </a:solidFill>
          <a:ln w="11643" cap="flat">
            <a:noFill/>
            <a:prstDash val="solid"/>
            <a:miter/>
          </a:ln>
        </p:spPr>
        <p:txBody>
          <a:bodyPr rtlCol="0" anchor="ctr"/>
          <a:lstStyle/>
          <a:p>
            <a:endParaRPr lang="de-DE"/>
          </a:p>
        </p:txBody>
      </p:sp>
      <p:sp>
        <p:nvSpPr>
          <p:cNvPr id="24" name="Freihandform: Form 23">
            <a:extLst>
              <a:ext uri="{FF2B5EF4-FFF2-40B4-BE49-F238E27FC236}">
                <a16:creationId xmlns:a16="http://schemas.microsoft.com/office/drawing/2014/main" id="{BF542F85-6793-447F-ABC7-4DD68400D714}"/>
              </a:ext>
            </a:extLst>
          </p:cNvPr>
          <p:cNvSpPr/>
          <p:nvPr/>
        </p:nvSpPr>
        <p:spPr>
          <a:xfrm>
            <a:off x="5602523" y="2438213"/>
            <a:ext cx="50105" cy="53601"/>
          </a:xfrm>
          <a:custGeom>
            <a:avLst/>
            <a:gdLst>
              <a:gd name="connsiteX0" fmla="*/ 22140 w 50105"/>
              <a:gd name="connsiteY0" fmla="*/ 53601 h 53601"/>
              <a:gd name="connsiteX1" fmla="*/ 0 w 50105"/>
              <a:gd name="connsiteY1" fmla="*/ 53601 h 53601"/>
              <a:gd name="connsiteX2" fmla="*/ 26801 w 50105"/>
              <a:gd name="connsiteY2" fmla="*/ 26801 h 53601"/>
              <a:gd name="connsiteX3" fmla="*/ 0 w 50105"/>
              <a:gd name="connsiteY3" fmla="*/ 0 h 53601"/>
              <a:gd name="connsiteX4" fmla="*/ 23305 w 50105"/>
              <a:gd name="connsiteY4" fmla="*/ 0 h 53601"/>
              <a:gd name="connsiteX5" fmla="*/ 50106 w 50105"/>
              <a:gd name="connsiteY5" fmla="*/ 25635 h 53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3601">
                <a:moveTo>
                  <a:pt x="22140" y="53601"/>
                </a:moveTo>
                <a:lnTo>
                  <a:pt x="0" y="53601"/>
                </a:lnTo>
                <a:lnTo>
                  <a:pt x="26801" y="26801"/>
                </a:lnTo>
                <a:lnTo>
                  <a:pt x="0" y="0"/>
                </a:lnTo>
                <a:lnTo>
                  <a:pt x="23305" y="0"/>
                </a:lnTo>
                <a:lnTo>
                  <a:pt x="50106" y="25635"/>
                </a:lnTo>
                <a:close/>
              </a:path>
            </a:pathLst>
          </a:custGeom>
          <a:solidFill>
            <a:srgbClr val="EEF2F5"/>
          </a:solidFill>
          <a:ln w="11643" cap="flat">
            <a:noFill/>
            <a:prstDash val="solid"/>
            <a:miter/>
          </a:ln>
        </p:spPr>
        <p:txBody>
          <a:bodyPr rtlCol="0" anchor="ctr"/>
          <a:lstStyle/>
          <a:p>
            <a:endParaRPr lang="de-DE"/>
          </a:p>
        </p:txBody>
      </p:sp>
      <p:sp>
        <p:nvSpPr>
          <p:cNvPr id="40" name="Freihandform: Form 39">
            <a:extLst>
              <a:ext uri="{FF2B5EF4-FFF2-40B4-BE49-F238E27FC236}">
                <a16:creationId xmlns:a16="http://schemas.microsoft.com/office/drawing/2014/main" id="{740F153C-C05E-494B-8276-37D3E8653A98}"/>
              </a:ext>
            </a:extLst>
          </p:cNvPr>
          <p:cNvSpPr/>
          <p:nvPr/>
        </p:nvSpPr>
        <p:spPr>
          <a:xfrm>
            <a:off x="5602523" y="2792448"/>
            <a:ext cx="50105" cy="54766"/>
          </a:xfrm>
          <a:custGeom>
            <a:avLst/>
            <a:gdLst>
              <a:gd name="connsiteX0" fmla="*/ 22140 w 50105"/>
              <a:gd name="connsiteY0" fmla="*/ 54767 h 54766"/>
              <a:gd name="connsiteX1" fmla="*/ 0 w 50105"/>
              <a:gd name="connsiteY1" fmla="*/ 54767 h 54766"/>
              <a:gd name="connsiteX2" fmla="*/ 26801 w 50105"/>
              <a:gd name="connsiteY2" fmla="*/ 27966 h 54766"/>
              <a:gd name="connsiteX3" fmla="*/ 0 w 50105"/>
              <a:gd name="connsiteY3" fmla="*/ 0 h 54766"/>
              <a:gd name="connsiteX4" fmla="*/ 23305 w 50105"/>
              <a:gd name="connsiteY4" fmla="*/ 0 h 54766"/>
              <a:gd name="connsiteX5" fmla="*/ 50106 w 50105"/>
              <a:gd name="connsiteY5" fmla="*/ 26801 h 5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4765">
                <a:moveTo>
                  <a:pt x="22140" y="54767"/>
                </a:moveTo>
                <a:lnTo>
                  <a:pt x="0" y="54767"/>
                </a:lnTo>
                <a:lnTo>
                  <a:pt x="26801" y="27966"/>
                </a:lnTo>
                <a:lnTo>
                  <a:pt x="0" y="0"/>
                </a:lnTo>
                <a:lnTo>
                  <a:pt x="23305" y="0"/>
                </a:lnTo>
                <a:lnTo>
                  <a:pt x="50106" y="26801"/>
                </a:lnTo>
                <a:close/>
              </a:path>
            </a:pathLst>
          </a:custGeom>
          <a:solidFill>
            <a:srgbClr val="EEF2F5"/>
          </a:solidFill>
          <a:ln w="11643" cap="flat">
            <a:noFill/>
            <a:prstDash val="solid"/>
            <a:miter/>
          </a:ln>
        </p:spPr>
        <p:txBody>
          <a:bodyPr rtlCol="0" anchor="ctr"/>
          <a:lstStyle/>
          <a:p>
            <a:endParaRPr lang="de-DE"/>
          </a:p>
        </p:txBody>
      </p:sp>
      <p:sp>
        <p:nvSpPr>
          <p:cNvPr id="56" name="Freihandform: Form 55">
            <a:extLst>
              <a:ext uri="{FF2B5EF4-FFF2-40B4-BE49-F238E27FC236}">
                <a16:creationId xmlns:a16="http://schemas.microsoft.com/office/drawing/2014/main" id="{6DC9BB73-A50E-4E7E-85F9-1EC71DEC332C}"/>
              </a:ext>
            </a:extLst>
          </p:cNvPr>
          <p:cNvSpPr/>
          <p:nvPr/>
        </p:nvSpPr>
        <p:spPr>
          <a:xfrm>
            <a:off x="5602523" y="3147849"/>
            <a:ext cx="50105" cy="53601"/>
          </a:xfrm>
          <a:custGeom>
            <a:avLst/>
            <a:gdLst>
              <a:gd name="connsiteX0" fmla="*/ 22140 w 50105"/>
              <a:gd name="connsiteY0" fmla="*/ 53601 h 53601"/>
              <a:gd name="connsiteX1" fmla="*/ 0 w 50105"/>
              <a:gd name="connsiteY1" fmla="*/ 53601 h 53601"/>
              <a:gd name="connsiteX2" fmla="*/ 26801 w 50105"/>
              <a:gd name="connsiteY2" fmla="*/ 26801 h 53601"/>
              <a:gd name="connsiteX3" fmla="*/ 0 w 50105"/>
              <a:gd name="connsiteY3" fmla="*/ 0 h 53601"/>
              <a:gd name="connsiteX4" fmla="*/ 23305 w 50105"/>
              <a:gd name="connsiteY4" fmla="*/ 0 h 53601"/>
              <a:gd name="connsiteX5" fmla="*/ 50106 w 50105"/>
              <a:gd name="connsiteY5" fmla="*/ 26801 h 53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3601">
                <a:moveTo>
                  <a:pt x="22140" y="53601"/>
                </a:moveTo>
                <a:lnTo>
                  <a:pt x="0" y="53601"/>
                </a:lnTo>
                <a:lnTo>
                  <a:pt x="26801" y="26801"/>
                </a:lnTo>
                <a:lnTo>
                  <a:pt x="0" y="0"/>
                </a:lnTo>
                <a:lnTo>
                  <a:pt x="23305" y="0"/>
                </a:lnTo>
                <a:lnTo>
                  <a:pt x="50106" y="26801"/>
                </a:lnTo>
                <a:close/>
              </a:path>
            </a:pathLst>
          </a:custGeom>
          <a:solidFill>
            <a:srgbClr val="EEF2F5"/>
          </a:solidFill>
          <a:ln w="11643" cap="flat">
            <a:noFill/>
            <a:prstDash val="solid"/>
            <a:miter/>
          </a:ln>
        </p:spPr>
        <p:txBody>
          <a:bodyPr rtlCol="0" anchor="ctr"/>
          <a:lstStyle/>
          <a:p>
            <a:endParaRPr lang="de-DE"/>
          </a:p>
        </p:txBody>
      </p:sp>
      <p:sp>
        <p:nvSpPr>
          <p:cNvPr id="72" name="Freihandform: Form 71">
            <a:extLst>
              <a:ext uri="{FF2B5EF4-FFF2-40B4-BE49-F238E27FC236}">
                <a16:creationId xmlns:a16="http://schemas.microsoft.com/office/drawing/2014/main" id="{15AE0A81-8164-4015-8158-36F576D4E31D}"/>
              </a:ext>
            </a:extLst>
          </p:cNvPr>
          <p:cNvSpPr/>
          <p:nvPr/>
        </p:nvSpPr>
        <p:spPr>
          <a:xfrm>
            <a:off x="5602523" y="3502084"/>
            <a:ext cx="50105" cy="54766"/>
          </a:xfrm>
          <a:custGeom>
            <a:avLst/>
            <a:gdLst>
              <a:gd name="connsiteX0" fmla="*/ 22140 w 50105"/>
              <a:gd name="connsiteY0" fmla="*/ 54767 h 54766"/>
              <a:gd name="connsiteX1" fmla="*/ 0 w 50105"/>
              <a:gd name="connsiteY1" fmla="*/ 54767 h 54766"/>
              <a:gd name="connsiteX2" fmla="*/ 26801 w 50105"/>
              <a:gd name="connsiteY2" fmla="*/ 27966 h 54766"/>
              <a:gd name="connsiteX3" fmla="*/ 0 w 50105"/>
              <a:gd name="connsiteY3" fmla="*/ 0 h 54766"/>
              <a:gd name="connsiteX4" fmla="*/ 23305 w 50105"/>
              <a:gd name="connsiteY4" fmla="*/ 0 h 54766"/>
              <a:gd name="connsiteX5" fmla="*/ 50106 w 50105"/>
              <a:gd name="connsiteY5" fmla="*/ 26801 h 5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4765">
                <a:moveTo>
                  <a:pt x="22140" y="54767"/>
                </a:moveTo>
                <a:lnTo>
                  <a:pt x="0" y="54767"/>
                </a:lnTo>
                <a:lnTo>
                  <a:pt x="26801" y="27966"/>
                </a:lnTo>
                <a:lnTo>
                  <a:pt x="0" y="0"/>
                </a:lnTo>
                <a:lnTo>
                  <a:pt x="23305" y="0"/>
                </a:lnTo>
                <a:lnTo>
                  <a:pt x="50106" y="26801"/>
                </a:lnTo>
                <a:close/>
              </a:path>
            </a:pathLst>
          </a:custGeom>
          <a:solidFill>
            <a:srgbClr val="EEF2F5"/>
          </a:solidFill>
          <a:ln w="11643" cap="flat">
            <a:noFill/>
            <a:prstDash val="solid"/>
            <a:miter/>
          </a:ln>
        </p:spPr>
        <p:txBody>
          <a:bodyPr rtlCol="0" anchor="ctr"/>
          <a:lstStyle/>
          <a:p>
            <a:endParaRPr lang="de-DE"/>
          </a:p>
        </p:txBody>
      </p:sp>
      <p:sp>
        <p:nvSpPr>
          <p:cNvPr id="171" name="Freihandform: Form 170">
            <a:extLst>
              <a:ext uri="{FF2B5EF4-FFF2-40B4-BE49-F238E27FC236}">
                <a16:creationId xmlns:a16="http://schemas.microsoft.com/office/drawing/2014/main" id="{F7E7E68A-1C17-4FA5-88E2-BA53C7F9EC18}"/>
              </a:ext>
            </a:extLst>
          </p:cNvPr>
          <p:cNvSpPr/>
          <p:nvPr/>
        </p:nvSpPr>
        <p:spPr>
          <a:xfrm>
            <a:off x="5602523" y="5630993"/>
            <a:ext cx="50105" cy="54766"/>
          </a:xfrm>
          <a:custGeom>
            <a:avLst/>
            <a:gdLst>
              <a:gd name="connsiteX0" fmla="*/ 22140 w 50105"/>
              <a:gd name="connsiteY0" fmla="*/ 54766 h 54766"/>
              <a:gd name="connsiteX1" fmla="*/ 0 w 50105"/>
              <a:gd name="connsiteY1" fmla="*/ 54766 h 54766"/>
              <a:gd name="connsiteX2" fmla="*/ 26801 w 50105"/>
              <a:gd name="connsiteY2" fmla="*/ 27966 h 54766"/>
              <a:gd name="connsiteX3" fmla="*/ 0 w 50105"/>
              <a:gd name="connsiteY3" fmla="*/ 0 h 54766"/>
              <a:gd name="connsiteX4" fmla="*/ 23305 w 50105"/>
              <a:gd name="connsiteY4" fmla="*/ 0 h 54766"/>
              <a:gd name="connsiteX5" fmla="*/ 50106 w 50105"/>
              <a:gd name="connsiteY5" fmla="*/ 26801 h 5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4765">
                <a:moveTo>
                  <a:pt x="22140" y="54766"/>
                </a:moveTo>
                <a:lnTo>
                  <a:pt x="0" y="54766"/>
                </a:lnTo>
                <a:lnTo>
                  <a:pt x="26801" y="27966"/>
                </a:lnTo>
                <a:lnTo>
                  <a:pt x="0" y="0"/>
                </a:lnTo>
                <a:lnTo>
                  <a:pt x="23305" y="0"/>
                </a:lnTo>
                <a:lnTo>
                  <a:pt x="50106" y="26801"/>
                </a:lnTo>
                <a:close/>
              </a:path>
            </a:pathLst>
          </a:custGeom>
          <a:solidFill>
            <a:srgbClr val="EEF2F5"/>
          </a:solidFill>
          <a:ln w="11643" cap="flat">
            <a:noFill/>
            <a:prstDash val="solid"/>
            <a:miter/>
          </a:ln>
        </p:spPr>
        <p:txBody>
          <a:bodyPr rtlCol="0" anchor="ctr"/>
          <a:lstStyle/>
          <a:p>
            <a:endParaRPr lang="de-DE"/>
          </a:p>
        </p:txBody>
      </p:sp>
      <p:sp>
        <p:nvSpPr>
          <p:cNvPr id="188" name="Freihandform: Form 187">
            <a:extLst>
              <a:ext uri="{FF2B5EF4-FFF2-40B4-BE49-F238E27FC236}">
                <a16:creationId xmlns:a16="http://schemas.microsoft.com/office/drawing/2014/main" id="{D858DCE1-2FBD-4D17-8C06-66D6048D5493}"/>
              </a:ext>
            </a:extLst>
          </p:cNvPr>
          <p:cNvSpPr/>
          <p:nvPr/>
        </p:nvSpPr>
        <p:spPr>
          <a:xfrm>
            <a:off x="5602523" y="5986393"/>
            <a:ext cx="50105" cy="54766"/>
          </a:xfrm>
          <a:custGeom>
            <a:avLst/>
            <a:gdLst>
              <a:gd name="connsiteX0" fmla="*/ 22140 w 50105"/>
              <a:gd name="connsiteY0" fmla="*/ 54766 h 54766"/>
              <a:gd name="connsiteX1" fmla="*/ 0 w 50105"/>
              <a:gd name="connsiteY1" fmla="*/ 54766 h 54766"/>
              <a:gd name="connsiteX2" fmla="*/ 26801 w 50105"/>
              <a:gd name="connsiteY2" fmla="*/ 26801 h 54766"/>
              <a:gd name="connsiteX3" fmla="*/ 0 w 50105"/>
              <a:gd name="connsiteY3" fmla="*/ 0 h 54766"/>
              <a:gd name="connsiteX4" fmla="*/ 23305 w 50105"/>
              <a:gd name="connsiteY4" fmla="*/ 0 h 54766"/>
              <a:gd name="connsiteX5" fmla="*/ 50106 w 50105"/>
              <a:gd name="connsiteY5" fmla="*/ 26801 h 5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4765">
                <a:moveTo>
                  <a:pt x="22140" y="54766"/>
                </a:moveTo>
                <a:lnTo>
                  <a:pt x="0" y="54766"/>
                </a:lnTo>
                <a:lnTo>
                  <a:pt x="26801" y="26801"/>
                </a:lnTo>
                <a:lnTo>
                  <a:pt x="0" y="0"/>
                </a:lnTo>
                <a:lnTo>
                  <a:pt x="23305" y="0"/>
                </a:lnTo>
                <a:lnTo>
                  <a:pt x="50106" y="26801"/>
                </a:lnTo>
                <a:close/>
              </a:path>
            </a:pathLst>
          </a:custGeom>
          <a:solidFill>
            <a:srgbClr val="EEF2F5"/>
          </a:solidFill>
          <a:ln w="11643" cap="flat">
            <a:noFill/>
            <a:prstDash val="solid"/>
            <a:miter/>
          </a:ln>
        </p:spPr>
        <p:txBody>
          <a:bodyPr rtlCol="0" anchor="ctr"/>
          <a:lstStyle/>
          <a:p>
            <a:endParaRPr lang="de-DE"/>
          </a:p>
        </p:txBody>
      </p:sp>
      <p:sp>
        <p:nvSpPr>
          <p:cNvPr id="205" name="Freihandform: Form 204">
            <a:extLst>
              <a:ext uri="{FF2B5EF4-FFF2-40B4-BE49-F238E27FC236}">
                <a16:creationId xmlns:a16="http://schemas.microsoft.com/office/drawing/2014/main" id="{A776D8C8-F6BD-495D-AE14-B62B445F9D30}"/>
              </a:ext>
            </a:extLst>
          </p:cNvPr>
          <p:cNvSpPr/>
          <p:nvPr/>
        </p:nvSpPr>
        <p:spPr>
          <a:xfrm>
            <a:off x="5602523" y="6340628"/>
            <a:ext cx="50105" cy="54766"/>
          </a:xfrm>
          <a:custGeom>
            <a:avLst/>
            <a:gdLst>
              <a:gd name="connsiteX0" fmla="*/ 22140 w 50105"/>
              <a:gd name="connsiteY0" fmla="*/ 54766 h 54766"/>
              <a:gd name="connsiteX1" fmla="*/ 0 w 50105"/>
              <a:gd name="connsiteY1" fmla="*/ 54766 h 54766"/>
              <a:gd name="connsiteX2" fmla="*/ 26801 w 50105"/>
              <a:gd name="connsiteY2" fmla="*/ 27966 h 54766"/>
              <a:gd name="connsiteX3" fmla="*/ 0 w 50105"/>
              <a:gd name="connsiteY3" fmla="*/ 0 h 54766"/>
              <a:gd name="connsiteX4" fmla="*/ 23305 w 50105"/>
              <a:gd name="connsiteY4" fmla="*/ 0 h 54766"/>
              <a:gd name="connsiteX5" fmla="*/ 50106 w 50105"/>
              <a:gd name="connsiteY5" fmla="*/ 26801 h 5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4765">
                <a:moveTo>
                  <a:pt x="22140" y="54766"/>
                </a:moveTo>
                <a:lnTo>
                  <a:pt x="0" y="54766"/>
                </a:lnTo>
                <a:lnTo>
                  <a:pt x="26801" y="27966"/>
                </a:lnTo>
                <a:lnTo>
                  <a:pt x="0" y="0"/>
                </a:lnTo>
                <a:lnTo>
                  <a:pt x="23305" y="0"/>
                </a:lnTo>
                <a:lnTo>
                  <a:pt x="50106" y="26801"/>
                </a:lnTo>
                <a:close/>
              </a:path>
            </a:pathLst>
          </a:custGeom>
          <a:solidFill>
            <a:srgbClr val="EEF2F5"/>
          </a:solidFill>
          <a:ln w="11643" cap="flat">
            <a:noFill/>
            <a:prstDash val="solid"/>
            <a:miter/>
          </a:ln>
        </p:spPr>
        <p:txBody>
          <a:bodyPr rtlCol="0" anchor="ctr"/>
          <a:lstStyle/>
          <a:p>
            <a:endParaRPr lang="de-DE"/>
          </a:p>
        </p:txBody>
      </p:sp>
      <p:sp>
        <p:nvSpPr>
          <p:cNvPr id="221" name="Freihandform: Form 220">
            <a:extLst>
              <a:ext uri="{FF2B5EF4-FFF2-40B4-BE49-F238E27FC236}">
                <a16:creationId xmlns:a16="http://schemas.microsoft.com/office/drawing/2014/main" id="{335AC205-F15B-44A8-85C9-E62E3F81F25D}"/>
              </a:ext>
            </a:extLst>
          </p:cNvPr>
          <p:cNvSpPr/>
          <p:nvPr/>
        </p:nvSpPr>
        <p:spPr>
          <a:xfrm>
            <a:off x="5602523" y="6696029"/>
            <a:ext cx="50105" cy="54766"/>
          </a:xfrm>
          <a:custGeom>
            <a:avLst/>
            <a:gdLst>
              <a:gd name="connsiteX0" fmla="*/ 22140 w 50105"/>
              <a:gd name="connsiteY0" fmla="*/ 54766 h 54766"/>
              <a:gd name="connsiteX1" fmla="*/ 0 w 50105"/>
              <a:gd name="connsiteY1" fmla="*/ 54766 h 54766"/>
              <a:gd name="connsiteX2" fmla="*/ 26801 w 50105"/>
              <a:gd name="connsiteY2" fmla="*/ 27966 h 54766"/>
              <a:gd name="connsiteX3" fmla="*/ 0 w 50105"/>
              <a:gd name="connsiteY3" fmla="*/ 0 h 54766"/>
              <a:gd name="connsiteX4" fmla="*/ 23305 w 50105"/>
              <a:gd name="connsiteY4" fmla="*/ 0 h 54766"/>
              <a:gd name="connsiteX5" fmla="*/ 50106 w 50105"/>
              <a:gd name="connsiteY5" fmla="*/ 26801 h 5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4765">
                <a:moveTo>
                  <a:pt x="22140" y="54766"/>
                </a:moveTo>
                <a:lnTo>
                  <a:pt x="0" y="54766"/>
                </a:lnTo>
                <a:lnTo>
                  <a:pt x="26801" y="27966"/>
                </a:lnTo>
                <a:lnTo>
                  <a:pt x="0" y="0"/>
                </a:lnTo>
                <a:lnTo>
                  <a:pt x="23305" y="0"/>
                </a:lnTo>
                <a:lnTo>
                  <a:pt x="50106" y="26801"/>
                </a:lnTo>
                <a:close/>
              </a:path>
            </a:pathLst>
          </a:custGeom>
          <a:solidFill>
            <a:srgbClr val="EEF2F5"/>
          </a:solidFill>
          <a:ln w="11643" cap="flat">
            <a:noFill/>
            <a:prstDash val="solid"/>
            <a:miter/>
          </a:ln>
        </p:spPr>
        <p:txBody>
          <a:bodyPr rtlCol="0" anchor="ctr"/>
          <a:lstStyle/>
          <a:p>
            <a:endParaRPr lang="de-DE"/>
          </a:p>
        </p:txBody>
      </p:sp>
      <p:sp>
        <p:nvSpPr>
          <p:cNvPr id="8" name="Freihandform: Form 7">
            <a:extLst>
              <a:ext uri="{FF2B5EF4-FFF2-40B4-BE49-F238E27FC236}">
                <a16:creationId xmlns:a16="http://schemas.microsoft.com/office/drawing/2014/main" id="{D0D01710-DC2E-4828-86F6-D324528021A5}"/>
              </a:ext>
            </a:extLst>
          </p:cNvPr>
          <p:cNvSpPr/>
          <p:nvPr/>
        </p:nvSpPr>
        <p:spPr>
          <a:xfrm>
            <a:off x="5948602" y="2073490"/>
            <a:ext cx="66419" cy="72245"/>
          </a:xfrm>
          <a:custGeom>
            <a:avLst/>
            <a:gdLst>
              <a:gd name="connsiteX0" fmla="*/ 30297 w 66419"/>
              <a:gd name="connsiteY0" fmla="*/ 72245 h 72245"/>
              <a:gd name="connsiteX1" fmla="*/ 0 w 66419"/>
              <a:gd name="connsiteY1" fmla="*/ 72245 h 72245"/>
              <a:gd name="connsiteX2" fmla="*/ 36123 w 66419"/>
              <a:gd name="connsiteY2" fmla="*/ 37288 h 72245"/>
              <a:gd name="connsiteX3" fmla="*/ 0 w 66419"/>
              <a:gd name="connsiteY3" fmla="*/ 0 h 72245"/>
              <a:gd name="connsiteX4" fmla="*/ 31462 w 66419"/>
              <a:gd name="connsiteY4" fmla="*/ 0 h 72245"/>
              <a:gd name="connsiteX5" fmla="*/ 66419 w 66419"/>
              <a:gd name="connsiteY5" fmla="*/ 36123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5"/>
                </a:moveTo>
                <a:lnTo>
                  <a:pt x="0" y="72245"/>
                </a:lnTo>
                <a:lnTo>
                  <a:pt x="36123" y="37288"/>
                </a:lnTo>
                <a:lnTo>
                  <a:pt x="0" y="0"/>
                </a:lnTo>
                <a:lnTo>
                  <a:pt x="31462" y="0"/>
                </a:lnTo>
                <a:lnTo>
                  <a:pt x="66419" y="36123"/>
                </a:lnTo>
                <a:close/>
              </a:path>
            </a:pathLst>
          </a:custGeom>
          <a:solidFill>
            <a:srgbClr val="EEF2F5"/>
          </a:solidFill>
          <a:ln w="11643" cap="flat">
            <a:noFill/>
            <a:prstDash val="solid"/>
            <a:miter/>
          </a:ln>
        </p:spPr>
        <p:txBody>
          <a:bodyPr rtlCol="0" anchor="ctr"/>
          <a:lstStyle/>
          <a:p>
            <a:endParaRPr lang="de-DE"/>
          </a:p>
        </p:txBody>
      </p:sp>
      <p:sp>
        <p:nvSpPr>
          <p:cNvPr id="25" name="Freihandform: Form 24">
            <a:extLst>
              <a:ext uri="{FF2B5EF4-FFF2-40B4-BE49-F238E27FC236}">
                <a16:creationId xmlns:a16="http://schemas.microsoft.com/office/drawing/2014/main" id="{31123F88-1002-4B81-B9C6-413FE13BBA3A}"/>
              </a:ext>
            </a:extLst>
          </p:cNvPr>
          <p:cNvSpPr/>
          <p:nvPr/>
        </p:nvSpPr>
        <p:spPr>
          <a:xfrm>
            <a:off x="5948602" y="2428891"/>
            <a:ext cx="66419" cy="72245"/>
          </a:xfrm>
          <a:custGeom>
            <a:avLst/>
            <a:gdLst>
              <a:gd name="connsiteX0" fmla="*/ 30297 w 66419"/>
              <a:gd name="connsiteY0" fmla="*/ 72245 h 72245"/>
              <a:gd name="connsiteX1" fmla="*/ 0 w 66419"/>
              <a:gd name="connsiteY1" fmla="*/ 72245 h 72245"/>
              <a:gd name="connsiteX2" fmla="*/ 36123 w 66419"/>
              <a:gd name="connsiteY2" fmla="*/ 36123 h 72245"/>
              <a:gd name="connsiteX3" fmla="*/ 0 w 66419"/>
              <a:gd name="connsiteY3" fmla="*/ 0 h 72245"/>
              <a:gd name="connsiteX4" fmla="*/ 31462 w 66419"/>
              <a:gd name="connsiteY4" fmla="*/ 0 h 72245"/>
              <a:gd name="connsiteX5" fmla="*/ 66419 w 66419"/>
              <a:gd name="connsiteY5" fmla="*/ 34957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5"/>
                </a:moveTo>
                <a:lnTo>
                  <a:pt x="0" y="72245"/>
                </a:lnTo>
                <a:lnTo>
                  <a:pt x="36123" y="36123"/>
                </a:lnTo>
                <a:lnTo>
                  <a:pt x="0" y="0"/>
                </a:lnTo>
                <a:lnTo>
                  <a:pt x="31462" y="0"/>
                </a:lnTo>
                <a:lnTo>
                  <a:pt x="66419" y="34957"/>
                </a:lnTo>
                <a:close/>
              </a:path>
            </a:pathLst>
          </a:custGeom>
          <a:solidFill>
            <a:srgbClr val="EEF2F5"/>
          </a:solidFill>
          <a:ln w="11643" cap="flat">
            <a:noFill/>
            <a:prstDash val="solid"/>
            <a:miter/>
          </a:ln>
        </p:spPr>
        <p:txBody>
          <a:bodyPr rtlCol="0" anchor="ctr"/>
          <a:lstStyle/>
          <a:p>
            <a:endParaRPr lang="de-DE"/>
          </a:p>
        </p:txBody>
      </p:sp>
      <p:sp>
        <p:nvSpPr>
          <p:cNvPr id="41" name="Freihandform: Form 40">
            <a:extLst>
              <a:ext uri="{FF2B5EF4-FFF2-40B4-BE49-F238E27FC236}">
                <a16:creationId xmlns:a16="http://schemas.microsoft.com/office/drawing/2014/main" id="{BA5C8D95-A4B2-4EE7-814A-A5E3649F4137}"/>
              </a:ext>
            </a:extLst>
          </p:cNvPr>
          <p:cNvSpPr/>
          <p:nvPr/>
        </p:nvSpPr>
        <p:spPr>
          <a:xfrm>
            <a:off x="5948602" y="2783126"/>
            <a:ext cx="66419" cy="72245"/>
          </a:xfrm>
          <a:custGeom>
            <a:avLst/>
            <a:gdLst>
              <a:gd name="connsiteX0" fmla="*/ 30297 w 66419"/>
              <a:gd name="connsiteY0" fmla="*/ 72245 h 72245"/>
              <a:gd name="connsiteX1" fmla="*/ 0 w 66419"/>
              <a:gd name="connsiteY1" fmla="*/ 72245 h 72245"/>
              <a:gd name="connsiteX2" fmla="*/ 36123 w 66419"/>
              <a:gd name="connsiteY2" fmla="*/ 37288 h 72245"/>
              <a:gd name="connsiteX3" fmla="*/ 0 w 66419"/>
              <a:gd name="connsiteY3" fmla="*/ 0 h 72245"/>
              <a:gd name="connsiteX4" fmla="*/ 31462 w 66419"/>
              <a:gd name="connsiteY4" fmla="*/ 0 h 72245"/>
              <a:gd name="connsiteX5" fmla="*/ 66419 w 66419"/>
              <a:gd name="connsiteY5" fmla="*/ 36123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5"/>
                </a:moveTo>
                <a:lnTo>
                  <a:pt x="0" y="72245"/>
                </a:lnTo>
                <a:lnTo>
                  <a:pt x="36123" y="37288"/>
                </a:lnTo>
                <a:lnTo>
                  <a:pt x="0" y="0"/>
                </a:lnTo>
                <a:lnTo>
                  <a:pt x="31462" y="0"/>
                </a:lnTo>
                <a:lnTo>
                  <a:pt x="66419" y="36123"/>
                </a:lnTo>
                <a:close/>
              </a:path>
            </a:pathLst>
          </a:custGeom>
          <a:solidFill>
            <a:srgbClr val="EEF2F5"/>
          </a:solidFill>
          <a:ln w="11643" cap="flat">
            <a:noFill/>
            <a:prstDash val="solid"/>
            <a:miter/>
          </a:ln>
        </p:spPr>
        <p:txBody>
          <a:bodyPr rtlCol="0" anchor="ctr"/>
          <a:lstStyle/>
          <a:p>
            <a:endParaRPr lang="de-DE"/>
          </a:p>
        </p:txBody>
      </p:sp>
      <p:sp>
        <p:nvSpPr>
          <p:cNvPr id="57" name="Freihandform: Form 56">
            <a:extLst>
              <a:ext uri="{FF2B5EF4-FFF2-40B4-BE49-F238E27FC236}">
                <a16:creationId xmlns:a16="http://schemas.microsoft.com/office/drawing/2014/main" id="{636D7BF9-1E35-425E-994B-CE960B642C82}"/>
              </a:ext>
            </a:extLst>
          </p:cNvPr>
          <p:cNvSpPr/>
          <p:nvPr/>
        </p:nvSpPr>
        <p:spPr>
          <a:xfrm>
            <a:off x="5948602" y="3138527"/>
            <a:ext cx="66419" cy="72245"/>
          </a:xfrm>
          <a:custGeom>
            <a:avLst/>
            <a:gdLst>
              <a:gd name="connsiteX0" fmla="*/ 30297 w 66419"/>
              <a:gd name="connsiteY0" fmla="*/ 72245 h 72245"/>
              <a:gd name="connsiteX1" fmla="*/ 0 w 66419"/>
              <a:gd name="connsiteY1" fmla="*/ 72245 h 72245"/>
              <a:gd name="connsiteX2" fmla="*/ 36123 w 66419"/>
              <a:gd name="connsiteY2" fmla="*/ 36123 h 72245"/>
              <a:gd name="connsiteX3" fmla="*/ 0 w 66419"/>
              <a:gd name="connsiteY3" fmla="*/ 0 h 72245"/>
              <a:gd name="connsiteX4" fmla="*/ 31462 w 66419"/>
              <a:gd name="connsiteY4" fmla="*/ 0 h 72245"/>
              <a:gd name="connsiteX5" fmla="*/ 66419 w 66419"/>
              <a:gd name="connsiteY5" fmla="*/ 34957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5"/>
                </a:moveTo>
                <a:lnTo>
                  <a:pt x="0" y="72245"/>
                </a:lnTo>
                <a:lnTo>
                  <a:pt x="36123" y="36123"/>
                </a:lnTo>
                <a:lnTo>
                  <a:pt x="0" y="0"/>
                </a:lnTo>
                <a:lnTo>
                  <a:pt x="31462" y="0"/>
                </a:lnTo>
                <a:lnTo>
                  <a:pt x="66419" y="34957"/>
                </a:lnTo>
                <a:close/>
              </a:path>
            </a:pathLst>
          </a:custGeom>
          <a:solidFill>
            <a:srgbClr val="EEF2F5"/>
          </a:solidFill>
          <a:ln w="11643" cap="flat">
            <a:noFill/>
            <a:prstDash val="solid"/>
            <a:miter/>
          </a:ln>
        </p:spPr>
        <p:txBody>
          <a:bodyPr rtlCol="0" anchor="ctr"/>
          <a:lstStyle/>
          <a:p>
            <a:endParaRPr lang="de-DE"/>
          </a:p>
        </p:txBody>
      </p:sp>
      <p:sp>
        <p:nvSpPr>
          <p:cNvPr id="73" name="Freihandform: Form 72">
            <a:extLst>
              <a:ext uri="{FF2B5EF4-FFF2-40B4-BE49-F238E27FC236}">
                <a16:creationId xmlns:a16="http://schemas.microsoft.com/office/drawing/2014/main" id="{DFBDD53B-EB0E-4F44-B437-1C679A10EA5C}"/>
              </a:ext>
            </a:extLst>
          </p:cNvPr>
          <p:cNvSpPr/>
          <p:nvPr/>
        </p:nvSpPr>
        <p:spPr>
          <a:xfrm>
            <a:off x="5948602" y="3492762"/>
            <a:ext cx="66419" cy="73410"/>
          </a:xfrm>
          <a:custGeom>
            <a:avLst/>
            <a:gdLst>
              <a:gd name="connsiteX0" fmla="*/ 30297 w 66419"/>
              <a:gd name="connsiteY0" fmla="*/ 73411 h 73410"/>
              <a:gd name="connsiteX1" fmla="*/ 0 w 66419"/>
              <a:gd name="connsiteY1" fmla="*/ 73411 h 73410"/>
              <a:gd name="connsiteX2" fmla="*/ 36123 w 66419"/>
              <a:gd name="connsiteY2" fmla="*/ 37288 h 73410"/>
              <a:gd name="connsiteX3" fmla="*/ 0 w 66419"/>
              <a:gd name="connsiteY3" fmla="*/ 0 h 73410"/>
              <a:gd name="connsiteX4" fmla="*/ 31462 w 66419"/>
              <a:gd name="connsiteY4" fmla="*/ 0 h 73410"/>
              <a:gd name="connsiteX5" fmla="*/ 66419 w 66419"/>
              <a:gd name="connsiteY5" fmla="*/ 36123 h 73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3410">
                <a:moveTo>
                  <a:pt x="30297" y="73411"/>
                </a:moveTo>
                <a:lnTo>
                  <a:pt x="0" y="73411"/>
                </a:lnTo>
                <a:lnTo>
                  <a:pt x="36123" y="37288"/>
                </a:lnTo>
                <a:lnTo>
                  <a:pt x="0" y="0"/>
                </a:lnTo>
                <a:lnTo>
                  <a:pt x="31462" y="0"/>
                </a:lnTo>
                <a:lnTo>
                  <a:pt x="66419" y="36123"/>
                </a:lnTo>
                <a:close/>
              </a:path>
            </a:pathLst>
          </a:custGeom>
          <a:solidFill>
            <a:srgbClr val="EEF2F5"/>
          </a:solidFill>
          <a:ln w="11643" cap="flat">
            <a:noFill/>
            <a:prstDash val="solid"/>
            <a:miter/>
          </a:ln>
        </p:spPr>
        <p:txBody>
          <a:bodyPr rtlCol="0" anchor="ctr"/>
          <a:lstStyle/>
          <a:p>
            <a:endParaRPr lang="de-DE"/>
          </a:p>
        </p:txBody>
      </p:sp>
      <p:sp>
        <p:nvSpPr>
          <p:cNvPr id="89" name="Freihandform: Form 88">
            <a:extLst>
              <a:ext uri="{FF2B5EF4-FFF2-40B4-BE49-F238E27FC236}">
                <a16:creationId xmlns:a16="http://schemas.microsoft.com/office/drawing/2014/main" id="{3107BFD1-BB04-45D5-9901-72F67CE0736C}"/>
              </a:ext>
            </a:extLst>
          </p:cNvPr>
          <p:cNvSpPr/>
          <p:nvPr/>
        </p:nvSpPr>
        <p:spPr>
          <a:xfrm>
            <a:off x="5948602" y="3848163"/>
            <a:ext cx="66419" cy="72245"/>
          </a:xfrm>
          <a:custGeom>
            <a:avLst/>
            <a:gdLst>
              <a:gd name="connsiteX0" fmla="*/ 30297 w 66419"/>
              <a:gd name="connsiteY0" fmla="*/ 72245 h 72245"/>
              <a:gd name="connsiteX1" fmla="*/ 0 w 66419"/>
              <a:gd name="connsiteY1" fmla="*/ 72245 h 72245"/>
              <a:gd name="connsiteX2" fmla="*/ 36123 w 66419"/>
              <a:gd name="connsiteY2" fmla="*/ 36123 h 72245"/>
              <a:gd name="connsiteX3" fmla="*/ 0 w 66419"/>
              <a:gd name="connsiteY3" fmla="*/ 0 h 72245"/>
              <a:gd name="connsiteX4" fmla="*/ 31462 w 66419"/>
              <a:gd name="connsiteY4" fmla="*/ 0 h 72245"/>
              <a:gd name="connsiteX5" fmla="*/ 66419 w 66419"/>
              <a:gd name="connsiteY5" fmla="*/ 34957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5"/>
                </a:moveTo>
                <a:lnTo>
                  <a:pt x="0" y="72245"/>
                </a:lnTo>
                <a:lnTo>
                  <a:pt x="36123" y="36123"/>
                </a:lnTo>
                <a:lnTo>
                  <a:pt x="0" y="0"/>
                </a:lnTo>
                <a:lnTo>
                  <a:pt x="31462" y="0"/>
                </a:lnTo>
                <a:lnTo>
                  <a:pt x="66419" y="34957"/>
                </a:lnTo>
                <a:close/>
              </a:path>
            </a:pathLst>
          </a:custGeom>
          <a:solidFill>
            <a:srgbClr val="EEF2F5"/>
          </a:solidFill>
          <a:ln w="11643" cap="flat">
            <a:noFill/>
            <a:prstDash val="solid"/>
            <a:miter/>
          </a:ln>
        </p:spPr>
        <p:txBody>
          <a:bodyPr rtlCol="0" anchor="ctr"/>
          <a:lstStyle/>
          <a:p>
            <a:endParaRPr lang="de-DE"/>
          </a:p>
        </p:txBody>
      </p:sp>
      <p:sp>
        <p:nvSpPr>
          <p:cNvPr id="155" name="Freihandform: Form 154">
            <a:extLst>
              <a:ext uri="{FF2B5EF4-FFF2-40B4-BE49-F238E27FC236}">
                <a16:creationId xmlns:a16="http://schemas.microsoft.com/office/drawing/2014/main" id="{0476C6FA-89C7-4150-9910-3BE37EF8061B}"/>
              </a:ext>
            </a:extLst>
          </p:cNvPr>
          <p:cNvSpPr/>
          <p:nvPr/>
        </p:nvSpPr>
        <p:spPr>
          <a:xfrm>
            <a:off x="5948602" y="5267435"/>
            <a:ext cx="66419" cy="72245"/>
          </a:xfrm>
          <a:custGeom>
            <a:avLst/>
            <a:gdLst>
              <a:gd name="connsiteX0" fmla="*/ 30297 w 66419"/>
              <a:gd name="connsiteY0" fmla="*/ 72246 h 72245"/>
              <a:gd name="connsiteX1" fmla="*/ 0 w 66419"/>
              <a:gd name="connsiteY1" fmla="*/ 72246 h 72245"/>
              <a:gd name="connsiteX2" fmla="*/ 36123 w 66419"/>
              <a:gd name="connsiteY2" fmla="*/ 36123 h 72245"/>
              <a:gd name="connsiteX3" fmla="*/ 0 w 66419"/>
              <a:gd name="connsiteY3" fmla="*/ 0 h 72245"/>
              <a:gd name="connsiteX4" fmla="*/ 31462 w 66419"/>
              <a:gd name="connsiteY4" fmla="*/ 0 h 72245"/>
              <a:gd name="connsiteX5" fmla="*/ 66419 w 66419"/>
              <a:gd name="connsiteY5" fmla="*/ 36123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6"/>
                </a:moveTo>
                <a:lnTo>
                  <a:pt x="0" y="72246"/>
                </a:lnTo>
                <a:lnTo>
                  <a:pt x="36123" y="36123"/>
                </a:lnTo>
                <a:lnTo>
                  <a:pt x="0" y="0"/>
                </a:lnTo>
                <a:lnTo>
                  <a:pt x="31462" y="0"/>
                </a:lnTo>
                <a:lnTo>
                  <a:pt x="66419" y="36123"/>
                </a:lnTo>
                <a:close/>
              </a:path>
            </a:pathLst>
          </a:custGeom>
          <a:solidFill>
            <a:srgbClr val="EEF2F5"/>
          </a:solidFill>
          <a:ln w="11643" cap="flat">
            <a:noFill/>
            <a:prstDash val="solid"/>
            <a:miter/>
          </a:ln>
        </p:spPr>
        <p:txBody>
          <a:bodyPr rtlCol="0" anchor="ctr"/>
          <a:lstStyle/>
          <a:p>
            <a:endParaRPr lang="de-DE"/>
          </a:p>
        </p:txBody>
      </p:sp>
      <p:sp>
        <p:nvSpPr>
          <p:cNvPr id="172" name="Freihandform: Form 171">
            <a:extLst>
              <a:ext uri="{FF2B5EF4-FFF2-40B4-BE49-F238E27FC236}">
                <a16:creationId xmlns:a16="http://schemas.microsoft.com/office/drawing/2014/main" id="{B7EA1921-A21C-4EEA-AF29-44E0ABBF486B}"/>
              </a:ext>
            </a:extLst>
          </p:cNvPr>
          <p:cNvSpPr/>
          <p:nvPr/>
        </p:nvSpPr>
        <p:spPr>
          <a:xfrm>
            <a:off x="5948602" y="5622836"/>
            <a:ext cx="66419" cy="72245"/>
          </a:xfrm>
          <a:custGeom>
            <a:avLst/>
            <a:gdLst>
              <a:gd name="connsiteX0" fmla="*/ 30297 w 66419"/>
              <a:gd name="connsiteY0" fmla="*/ 72246 h 72245"/>
              <a:gd name="connsiteX1" fmla="*/ 0 w 66419"/>
              <a:gd name="connsiteY1" fmla="*/ 72246 h 72245"/>
              <a:gd name="connsiteX2" fmla="*/ 36123 w 66419"/>
              <a:gd name="connsiteY2" fmla="*/ 36123 h 72245"/>
              <a:gd name="connsiteX3" fmla="*/ 0 w 66419"/>
              <a:gd name="connsiteY3" fmla="*/ 0 h 72245"/>
              <a:gd name="connsiteX4" fmla="*/ 31462 w 66419"/>
              <a:gd name="connsiteY4" fmla="*/ 0 h 72245"/>
              <a:gd name="connsiteX5" fmla="*/ 66419 w 66419"/>
              <a:gd name="connsiteY5" fmla="*/ 34957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6"/>
                </a:moveTo>
                <a:lnTo>
                  <a:pt x="0" y="72246"/>
                </a:lnTo>
                <a:lnTo>
                  <a:pt x="36123" y="36123"/>
                </a:lnTo>
                <a:lnTo>
                  <a:pt x="0" y="0"/>
                </a:lnTo>
                <a:lnTo>
                  <a:pt x="31462" y="0"/>
                </a:lnTo>
                <a:lnTo>
                  <a:pt x="66419" y="34957"/>
                </a:lnTo>
                <a:close/>
              </a:path>
            </a:pathLst>
          </a:custGeom>
          <a:solidFill>
            <a:srgbClr val="EEF2F5"/>
          </a:solidFill>
          <a:ln w="11643" cap="flat">
            <a:noFill/>
            <a:prstDash val="solid"/>
            <a:miter/>
          </a:ln>
        </p:spPr>
        <p:txBody>
          <a:bodyPr rtlCol="0" anchor="ctr"/>
          <a:lstStyle/>
          <a:p>
            <a:endParaRPr lang="de-DE"/>
          </a:p>
        </p:txBody>
      </p:sp>
      <p:sp>
        <p:nvSpPr>
          <p:cNvPr id="189" name="Freihandform: Form 188">
            <a:extLst>
              <a:ext uri="{FF2B5EF4-FFF2-40B4-BE49-F238E27FC236}">
                <a16:creationId xmlns:a16="http://schemas.microsoft.com/office/drawing/2014/main" id="{4B73D56C-9773-4937-82D9-0C129B27FB09}"/>
              </a:ext>
            </a:extLst>
          </p:cNvPr>
          <p:cNvSpPr/>
          <p:nvPr/>
        </p:nvSpPr>
        <p:spPr>
          <a:xfrm>
            <a:off x="5948602" y="5977071"/>
            <a:ext cx="66419" cy="72245"/>
          </a:xfrm>
          <a:custGeom>
            <a:avLst/>
            <a:gdLst>
              <a:gd name="connsiteX0" fmla="*/ 30297 w 66419"/>
              <a:gd name="connsiteY0" fmla="*/ 72246 h 72245"/>
              <a:gd name="connsiteX1" fmla="*/ 0 w 66419"/>
              <a:gd name="connsiteY1" fmla="*/ 72246 h 72245"/>
              <a:gd name="connsiteX2" fmla="*/ 36123 w 66419"/>
              <a:gd name="connsiteY2" fmla="*/ 36123 h 72245"/>
              <a:gd name="connsiteX3" fmla="*/ 0 w 66419"/>
              <a:gd name="connsiteY3" fmla="*/ 0 h 72245"/>
              <a:gd name="connsiteX4" fmla="*/ 31462 w 66419"/>
              <a:gd name="connsiteY4" fmla="*/ 0 h 72245"/>
              <a:gd name="connsiteX5" fmla="*/ 66419 w 66419"/>
              <a:gd name="connsiteY5" fmla="*/ 36123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6"/>
                </a:moveTo>
                <a:lnTo>
                  <a:pt x="0" y="72246"/>
                </a:lnTo>
                <a:lnTo>
                  <a:pt x="36123" y="36123"/>
                </a:lnTo>
                <a:lnTo>
                  <a:pt x="0" y="0"/>
                </a:lnTo>
                <a:lnTo>
                  <a:pt x="31462" y="0"/>
                </a:lnTo>
                <a:lnTo>
                  <a:pt x="66419" y="36123"/>
                </a:lnTo>
                <a:close/>
              </a:path>
            </a:pathLst>
          </a:custGeom>
          <a:solidFill>
            <a:srgbClr val="EEF2F5"/>
          </a:solidFill>
          <a:ln w="11643" cap="flat">
            <a:noFill/>
            <a:prstDash val="solid"/>
            <a:miter/>
          </a:ln>
        </p:spPr>
        <p:txBody>
          <a:bodyPr rtlCol="0" anchor="ctr"/>
          <a:lstStyle/>
          <a:p>
            <a:endParaRPr lang="de-DE"/>
          </a:p>
        </p:txBody>
      </p:sp>
      <p:sp>
        <p:nvSpPr>
          <p:cNvPr id="206" name="Freihandform: Form 205">
            <a:extLst>
              <a:ext uri="{FF2B5EF4-FFF2-40B4-BE49-F238E27FC236}">
                <a16:creationId xmlns:a16="http://schemas.microsoft.com/office/drawing/2014/main" id="{A2EEDBB3-F918-4A6E-A412-B8C8B911DDD3}"/>
              </a:ext>
            </a:extLst>
          </p:cNvPr>
          <p:cNvSpPr/>
          <p:nvPr/>
        </p:nvSpPr>
        <p:spPr>
          <a:xfrm>
            <a:off x="5948602" y="6332472"/>
            <a:ext cx="66419" cy="72245"/>
          </a:xfrm>
          <a:custGeom>
            <a:avLst/>
            <a:gdLst>
              <a:gd name="connsiteX0" fmla="*/ 30297 w 66419"/>
              <a:gd name="connsiteY0" fmla="*/ 72246 h 72245"/>
              <a:gd name="connsiteX1" fmla="*/ 0 w 66419"/>
              <a:gd name="connsiteY1" fmla="*/ 72246 h 72245"/>
              <a:gd name="connsiteX2" fmla="*/ 36123 w 66419"/>
              <a:gd name="connsiteY2" fmla="*/ 36123 h 72245"/>
              <a:gd name="connsiteX3" fmla="*/ 0 w 66419"/>
              <a:gd name="connsiteY3" fmla="*/ 0 h 72245"/>
              <a:gd name="connsiteX4" fmla="*/ 31462 w 66419"/>
              <a:gd name="connsiteY4" fmla="*/ 0 h 72245"/>
              <a:gd name="connsiteX5" fmla="*/ 66419 w 66419"/>
              <a:gd name="connsiteY5" fmla="*/ 34957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6"/>
                </a:moveTo>
                <a:lnTo>
                  <a:pt x="0" y="72246"/>
                </a:lnTo>
                <a:lnTo>
                  <a:pt x="36123" y="36123"/>
                </a:lnTo>
                <a:lnTo>
                  <a:pt x="0" y="0"/>
                </a:lnTo>
                <a:lnTo>
                  <a:pt x="31462" y="0"/>
                </a:lnTo>
                <a:lnTo>
                  <a:pt x="66419" y="34957"/>
                </a:lnTo>
                <a:close/>
              </a:path>
            </a:pathLst>
          </a:custGeom>
          <a:solidFill>
            <a:srgbClr val="EEF2F5"/>
          </a:solidFill>
          <a:ln w="11643" cap="flat">
            <a:noFill/>
            <a:prstDash val="solid"/>
            <a:miter/>
          </a:ln>
        </p:spPr>
        <p:txBody>
          <a:bodyPr rtlCol="0" anchor="ctr"/>
          <a:lstStyle/>
          <a:p>
            <a:endParaRPr lang="de-DE"/>
          </a:p>
        </p:txBody>
      </p:sp>
      <p:sp>
        <p:nvSpPr>
          <p:cNvPr id="222" name="Freihandform: Form 221">
            <a:extLst>
              <a:ext uri="{FF2B5EF4-FFF2-40B4-BE49-F238E27FC236}">
                <a16:creationId xmlns:a16="http://schemas.microsoft.com/office/drawing/2014/main" id="{E783B07A-D7A5-49D0-8D6F-D0064E121D70}"/>
              </a:ext>
            </a:extLst>
          </p:cNvPr>
          <p:cNvSpPr/>
          <p:nvPr/>
        </p:nvSpPr>
        <p:spPr>
          <a:xfrm>
            <a:off x="5948602" y="6686707"/>
            <a:ext cx="66419" cy="72245"/>
          </a:xfrm>
          <a:custGeom>
            <a:avLst/>
            <a:gdLst>
              <a:gd name="connsiteX0" fmla="*/ 30297 w 66419"/>
              <a:gd name="connsiteY0" fmla="*/ 72246 h 72245"/>
              <a:gd name="connsiteX1" fmla="*/ 0 w 66419"/>
              <a:gd name="connsiteY1" fmla="*/ 72246 h 72245"/>
              <a:gd name="connsiteX2" fmla="*/ 36123 w 66419"/>
              <a:gd name="connsiteY2" fmla="*/ 37288 h 72245"/>
              <a:gd name="connsiteX3" fmla="*/ 0 w 66419"/>
              <a:gd name="connsiteY3" fmla="*/ 0 h 72245"/>
              <a:gd name="connsiteX4" fmla="*/ 31462 w 66419"/>
              <a:gd name="connsiteY4" fmla="*/ 0 h 72245"/>
              <a:gd name="connsiteX5" fmla="*/ 66419 w 66419"/>
              <a:gd name="connsiteY5" fmla="*/ 36123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6"/>
                </a:moveTo>
                <a:lnTo>
                  <a:pt x="0" y="72246"/>
                </a:lnTo>
                <a:lnTo>
                  <a:pt x="36123" y="37288"/>
                </a:lnTo>
                <a:lnTo>
                  <a:pt x="0" y="0"/>
                </a:lnTo>
                <a:lnTo>
                  <a:pt x="31462" y="0"/>
                </a:lnTo>
                <a:lnTo>
                  <a:pt x="66419" y="36123"/>
                </a:lnTo>
                <a:close/>
              </a:path>
            </a:pathLst>
          </a:custGeom>
          <a:solidFill>
            <a:srgbClr val="EEF2F5"/>
          </a:solidFill>
          <a:ln w="11643" cap="flat">
            <a:noFill/>
            <a:prstDash val="solid"/>
            <a:miter/>
          </a:ln>
        </p:spPr>
        <p:txBody>
          <a:bodyPr rtlCol="0" anchor="ctr"/>
          <a:lstStyle/>
          <a:p>
            <a:endParaRPr lang="de-DE"/>
          </a:p>
        </p:txBody>
      </p:sp>
      <p:sp>
        <p:nvSpPr>
          <p:cNvPr id="11" name="Freihandform: Form 10">
            <a:extLst>
              <a:ext uri="{FF2B5EF4-FFF2-40B4-BE49-F238E27FC236}">
                <a16:creationId xmlns:a16="http://schemas.microsoft.com/office/drawing/2014/main" id="{75FBD411-81D5-40D9-85F5-17F8ADC51855}"/>
              </a:ext>
            </a:extLst>
          </p:cNvPr>
          <p:cNvSpPr/>
          <p:nvPr/>
        </p:nvSpPr>
        <p:spPr>
          <a:xfrm>
            <a:off x="6294680" y="2064168"/>
            <a:ext cx="83897" cy="90889"/>
          </a:xfrm>
          <a:custGeom>
            <a:avLst/>
            <a:gdLst>
              <a:gd name="connsiteX0" fmla="*/ 38453 w 83897"/>
              <a:gd name="connsiteY0" fmla="*/ 90889 h 90889"/>
              <a:gd name="connsiteX1" fmla="*/ 0 w 83897"/>
              <a:gd name="connsiteY1" fmla="*/ 90889 h 90889"/>
              <a:gd name="connsiteX2" fmla="*/ 45445 w 83897"/>
              <a:gd name="connsiteY2" fmla="*/ 46610 h 90889"/>
              <a:gd name="connsiteX3" fmla="*/ 0 w 83897"/>
              <a:gd name="connsiteY3" fmla="*/ 0 h 90889"/>
              <a:gd name="connsiteX4" fmla="*/ 39618 w 83897"/>
              <a:gd name="connsiteY4" fmla="*/ 0 h 90889"/>
              <a:gd name="connsiteX5" fmla="*/ 83898 w 83897"/>
              <a:gd name="connsiteY5" fmla="*/ 45445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6610"/>
                </a:lnTo>
                <a:lnTo>
                  <a:pt x="0" y="0"/>
                </a:lnTo>
                <a:lnTo>
                  <a:pt x="39618" y="0"/>
                </a:lnTo>
                <a:lnTo>
                  <a:pt x="83898" y="45445"/>
                </a:lnTo>
                <a:close/>
              </a:path>
            </a:pathLst>
          </a:custGeom>
          <a:solidFill>
            <a:srgbClr val="EEF2F5"/>
          </a:solidFill>
          <a:ln w="11643" cap="flat">
            <a:noFill/>
            <a:prstDash val="solid"/>
            <a:miter/>
          </a:ln>
        </p:spPr>
        <p:txBody>
          <a:bodyPr rtlCol="0" anchor="ctr"/>
          <a:lstStyle/>
          <a:p>
            <a:endParaRPr lang="de-DE"/>
          </a:p>
        </p:txBody>
      </p:sp>
      <p:sp>
        <p:nvSpPr>
          <p:cNvPr id="26" name="Freihandform: Form 25">
            <a:extLst>
              <a:ext uri="{FF2B5EF4-FFF2-40B4-BE49-F238E27FC236}">
                <a16:creationId xmlns:a16="http://schemas.microsoft.com/office/drawing/2014/main" id="{1BE891D4-79E8-4F6F-87F1-0D4367D86BBB}"/>
              </a:ext>
            </a:extLst>
          </p:cNvPr>
          <p:cNvSpPr/>
          <p:nvPr/>
        </p:nvSpPr>
        <p:spPr>
          <a:xfrm>
            <a:off x="6294680" y="2419569"/>
            <a:ext cx="83897" cy="90889"/>
          </a:xfrm>
          <a:custGeom>
            <a:avLst/>
            <a:gdLst>
              <a:gd name="connsiteX0" fmla="*/ 38453 w 83897"/>
              <a:gd name="connsiteY0" fmla="*/ 90889 h 90889"/>
              <a:gd name="connsiteX1" fmla="*/ 0 w 83897"/>
              <a:gd name="connsiteY1" fmla="*/ 90889 h 90889"/>
              <a:gd name="connsiteX2" fmla="*/ 45445 w 83897"/>
              <a:gd name="connsiteY2" fmla="*/ 45445 h 90889"/>
              <a:gd name="connsiteX3" fmla="*/ 0 w 83897"/>
              <a:gd name="connsiteY3" fmla="*/ 0 h 90889"/>
              <a:gd name="connsiteX4" fmla="*/ 39618 w 83897"/>
              <a:gd name="connsiteY4" fmla="*/ 0 h 90889"/>
              <a:gd name="connsiteX5" fmla="*/ 83898 w 83897"/>
              <a:gd name="connsiteY5" fmla="*/ 44279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endParaRPr lang="de-DE"/>
          </a:p>
        </p:txBody>
      </p:sp>
      <p:sp>
        <p:nvSpPr>
          <p:cNvPr id="42" name="Freihandform: Form 41">
            <a:extLst>
              <a:ext uri="{FF2B5EF4-FFF2-40B4-BE49-F238E27FC236}">
                <a16:creationId xmlns:a16="http://schemas.microsoft.com/office/drawing/2014/main" id="{3840402F-0CB7-4700-AB86-312936B9375A}"/>
              </a:ext>
            </a:extLst>
          </p:cNvPr>
          <p:cNvSpPr/>
          <p:nvPr/>
        </p:nvSpPr>
        <p:spPr>
          <a:xfrm>
            <a:off x="6294680" y="2773804"/>
            <a:ext cx="83897" cy="90889"/>
          </a:xfrm>
          <a:custGeom>
            <a:avLst/>
            <a:gdLst>
              <a:gd name="connsiteX0" fmla="*/ 38453 w 83897"/>
              <a:gd name="connsiteY0" fmla="*/ 90889 h 90889"/>
              <a:gd name="connsiteX1" fmla="*/ 0 w 83897"/>
              <a:gd name="connsiteY1" fmla="*/ 90889 h 90889"/>
              <a:gd name="connsiteX2" fmla="*/ 45445 w 83897"/>
              <a:gd name="connsiteY2" fmla="*/ 46610 h 90889"/>
              <a:gd name="connsiteX3" fmla="*/ 0 w 83897"/>
              <a:gd name="connsiteY3" fmla="*/ 0 h 90889"/>
              <a:gd name="connsiteX4" fmla="*/ 39618 w 83897"/>
              <a:gd name="connsiteY4" fmla="*/ 0 h 90889"/>
              <a:gd name="connsiteX5" fmla="*/ 83898 w 83897"/>
              <a:gd name="connsiteY5" fmla="*/ 45445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6610"/>
                </a:lnTo>
                <a:lnTo>
                  <a:pt x="0" y="0"/>
                </a:lnTo>
                <a:lnTo>
                  <a:pt x="39618" y="0"/>
                </a:lnTo>
                <a:lnTo>
                  <a:pt x="83898" y="45445"/>
                </a:lnTo>
                <a:close/>
              </a:path>
            </a:pathLst>
          </a:custGeom>
          <a:solidFill>
            <a:srgbClr val="EEF2F5"/>
          </a:solidFill>
          <a:ln w="11643" cap="flat">
            <a:noFill/>
            <a:prstDash val="solid"/>
            <a:miter/>
          </a:ln>
        </p:spPr>
        <p:txBody>
          <a:bodyPr rtlCol="0" anchor="ctr"/>
          <a:lstStyle/>
          <a:p>
            <a:endParaRPr lang="de-DE"/>
          </a:p>
        </p:txBody>
      </p:sp>
      <p:sp>
        <p:nvSpPr>
          <p:cNvPr id="58" name="Freihandform: Form 57">
            <a:extLst>
              <a:ext uri="{FF2B5EF4-FFF2-40B4-BE49-F238E27FC236}">
                <a16:creationId xmlns:a16="http://schemas.microsoft.com/office/drawing/2014/main" id="{C92817E7-21F5-4822-9D42-BC3A22B20F43}"/>
              </a:ext>
            </a:extLst>
          </p:cNvPr>
          <p:cNvSpPr/>
          <p:nvPr/>
        </p:nvSpPr>
        <p:spPr>
          <a:xfrm>
            <a:off x="6294680" y="3129205"/>
            <a:ext cx="83897" cy="90889"/>
          </a:xfrm>
          <a:custGeom>
            <a:avLst/>
            <a:gdLst>
              <a:gd name="connsiteX0" fmla="*/ 38453 w 83897"/>
              <a:gd name="connsiteY0" fmla="*/ 90889 h 90889"/>
              <a:gd name="connsiteX1" fmla="*/ 0 w 83897"/>
              <a:gd name="connsiteY1" fmla="*/ 90889 h 90889"/>
              <a:gd name="connsiteX2" fmla="*/ 45445 w 83897"/>
              <a:gd name="connsiteY2" fmla="*/ 45445 h 90889"/>
              <a:gd name="connsiteX3" fmla="*/ 0 w 83897"/>
              <a:gd name="connsiteY3" fmla="*/ 0 h 90889"/>
              <a:gd name="connsiteX4" fmla="*/ 39618 w 83897"/>
              <a:gd name="connsiteY4" fmla="*/ 0 h 90889"/>
              <a:gd name="connsiteX5" fmla="*/ 83898 w 83897"/>
              <a:gd name="connsiteY5" fmla="*/ 44279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endParaRPr lang="de-DE"/>
          </a:p>
        </p:txBody>
      </p:sp>
      <p:sp>
        <p:nvSpPr>
          <p:cNvPr id="74" name="Freihandform: Form 73">
            <a:extLst>
              <a:ext uri="{FF2B5EF4-FFF2-40B4-BE49-F238E27FC236}">
                <a16:creationId xmlns:a16="http://schemas.microsoft.com/office/drawing/2014/main" id="{B9D0716B-8D9A-4338-AEA4-79A7EEDD478B}"/>
              </a:ext>
            </a:extLst>
          </p:cNvPr>
          <p:cNvSpPr/>
          <p:nvPr/>
        </p:nvSpPr>
        <p:spPr>
          <a:xfrm>
            <a:off x="6294680" y="3484606"/>
            <a:ext cx="83897" cy="89724"/>
          </a:xfrm>
          <a:custGeom>
            <a:avLst/>
            <a:gdLst>
              <a:gd name="connsiteX0" fmla="*/ 38453 w 83897"/>
              <a:gd name="connsiteY0" fmla="*/ 89724 h 89724"/>
              <a:gd name="connsiteX1" fmla="*/ 0 w 83897"/>
              <a:gd name="connsiteY1" fmla="*/ 89724 h 89724"/>
              <a:gd name="connsiteX2" fmla="*/ 45445 w 83897"/>
              <a:gd name="connsiteY2" fmla="*/ 45445 h 89724"/>
              <a:gd name="connsiteX3" fmla="*/ 0 w 83897"/>
              <a:gd name="connsiteY3" fmla="*/ 0 h 89724"/>
              <a:gd name="connsiteX4" fmla="*/ 39618 w 83897"/>
              <a:gd name="connsiteY4" fmla="*/ 0 h 89724"/>
              <a:gd name="connsiteX5" fmla="*/ 83898 w 83897"/>
              <a:gd name="connsiteY5" fmla="*/ 44279 h 89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89724">
                <a:moveTo>
                  <a:pt x="38453" y="89724"/>
                </a:moveTo>
                <a:lnTo>
                  <a:pt x="0" y="89724"/>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endParaRPr lang="de-DE"/>
          </a:p>
        </p:txBody>
      </p:sp>
      <p:sp>
        <p:nvSpPr>
          <p:cNvPr id="90" name="Freihandform: Form 89">
            <a:extLst>
              <a:ext uri="{FF2B5EF4-FFF2-40B4-BE49-F238E27FC236}">
                <a16:creationId xmlns:a16="http://schemas.microsoft.com/office/drawing/2014/main" id="{9161924B-A7F2-4DF3-B909-33BF43FA25EF}"/>
              </a:ext>
            </a:extLst>
          </p:cNvPr>
          <p:cNvSpPr/>
          <p:nvPr/>
        </p:nvSpPr>
        <p:spPr>
          <a:xfrm>
            <a:off x="6294680" y="3838841"/>
            <a:ext cx="83897" cy="90889"/>
          </a:xfrm>
          <a:custGeom>
            <a:avLst/>
            <a:gdLst>
              <a:gd name="connsiteX0" fmla="*/ 38453 w 83897"/>
              <a:gd name="connsiteY0" fmla="*/ 90889 h 90889"/>
              <a:gd name="connsiteX1" fmla="*/ 0 w 83897"/>
              <a:gd name="connsiteY1" fmla="*/ 90889 h 90889"/>
              <a:gd name="connsiteX2" fmla="*/ 45445 w 83897"/>
              <a:gd name="connsiteY2" fmla="*/ 45445 h 90889"/>
              <a:gd name="connsiteX3" fmla="*/ 0 w 83897"/>
              <a:gd name="connsiteY3" fmla="*/ 0 h 90889"/>
              <a:gd name="connsiteX4" fmla="*/ 39618 w 83897"/>
              <a:gd name="connsiteY4" fmla="*/ 0 h 90889"/>
              <a:gd name="connsiteX5" fmla="*/ 83898 w 83897"/>
              <a:gd name="connsiteY5" fmla="*/ 44279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endParaRPr lang="de-DE"/>
          </a:p>
        </p:txBody>
      </p:sp>
      <p:sp>
        <p:nvSpPr>
          <p:cNvPr id="106" name="Freihandform: Form 105">
            <a:extLst>
              <a:ext uri="{FF2B5EF4-FFF2-40B4-BE49-F238E27FC236}">
                <a16:creationId xmlns:a16="http://schemas.microsoft.com/office/drawing/2014/main" id="{9F04DFFC-EA40-46F4-8195-B5F7E353EE2A}"/>
              </a:ext>
            </a:extLst>
          </p:cNvPr>
          <p:cNvSpPr/>
          <p:nvPr/>
        </p:nvSpPr>
        <p:spPr>
          <a:xfrm>
            <a:off x="6294680" y="4194242"/>
            <a:ext cx="83897" cy="89724"/>
          </a:xfrm>
          <a:custGeom>
            <a:avLst/>
            <a:gdLst>
              <a:gd name="connsiteX0" fmla="*/ 38453 w 83897"/>
              <a:gd name="connsiteY0" fmla="*/ 89724 h 89724"/>
              <a:gd name="connsiteX1" fmla="*/ 0 w 83897"/>
              <a:gd name="connsiteY1" fmla="*/ 89724 h 89724"/>
              <a:gd name="connsiteX2" fmla="*/ 45445 w 83897"/>
              <a:gd name="connsiteY2" fmla="*/ 45445 h 89724"/>
              <a:gd name="connsiteX3" fmla="*/ 0 w 83897"/>
              <a:gd name="connsiteY3" fmla="*/ 0 h 89724"/>
              <a:gd name="connsiteX4" fmla="*/ 39618 w 83897"/>
              <a:gd name="connsiteY4" fmla="*/ 0 h 89724"/>
              <a:gd name="connsiteX5" fmla="*/ 83898 w 83897"/>
              <a:gd name="connsiteY5" fmla="*/ 44279 h 89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89724">
                <a:moveTo>
                  <a:pt x="38453" y="89724"/>
                </a:moveTo>
                <a:lnTo>
                  <a:pt x="0" y="89724"/>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endParaRPr lang="de-DE"/>
          </a:p>
        </p:txBody>
      </p:sp>
      <p:sp>
        <p:nvSpPr>
          <p:cNvPr id="139" name="Freihandform: Form 138">
            <a:extLst>
              <a:ext uri="{FF2B5EF4-FFF2-40B4-BE49-F238E27FC236}">
                <a16:creationId xmlns:a16="http://schemas.microsoft.com/office/drawing/2014/main" id="{5362CBB1-E50A-41B7-8ED0-9FCFE213E9A5}"/>
              </a:ext>
            </a:extLst>
          </p:cNvPr>
          <p:cNvSpPr/>
          <p:nvPr/>
        </p:nvSpPr>
        <p:spPr>
          <a:xfrm>
            <a:off x="6294680" y="4903878"/>
            <a:ext cx="83897" cy="89724"/>
          </a:xfrm>
          <a:custGeom>
            <a:avLst/>
            <a:gdLst>
              <a:gd name="connsiteX0" fmla="*/ 38453 w 83897"/>
              <a:gd name="connsiteY0" fmla="*/ 89724 h 89724"/>
              <a:gd name="connsiteX1" fmla="*/ 0 w 83897"/>
              <a:gd name="connsiteY1" fmla="*/ 89724 h 89724"/>
              <a:gd name="connsiteX2" fmla="*/ 45445 w 83897"/>
              <a:gd name="connsiteY2" fmla="*/ 45445 h 89724"/>
              <a:gd name="connsiteX3" fmla="*/ 0 w 83897"/>
              <a:gd name="connsiteY3" fmla="*/ 0 h 89724"/>
              <a:gd name="connsiteX4" fmla="*/ 39618 w 83897"/>
              <a:gd name="connsiteY4" fmla="*/ 0 h 89724"/>
              <a:gd name="connsiteX5" fmla="*/ 83898 w 83897"/>
              <a:gd name="connsiteY5" fmla="*/ 44279 h 89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89724">
                <a:moveTo>
                  <a:pt x="38453" y="89724"/>
                </a:moveTo>
                <a:lnTo>
                  <a:pt x="0" y="89724"/>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endParaRPr lang="de-DE"/>
          </a:p>
        </p:txBody>
      </p:sp>
      <p:sp>
        <p:nvSpPr>
          <p:cNvPr id="156" name="Freihandform: Form 155">
            <a:extLst>
              <a:ext uri="{FF2B5EF4-FFF2-40B4-BE49-F238E27FC236}">
                <a16:creationId xmlns:a16="http://schemas.microsoft.com/office/drawing/2014/main" id="{2508847B-61E4-41D1-A3A0-A411189F6767}"/>
              </a:ext>
            </a:extLst>
          </p:cNvPr>
          <p:cNvSpPr/>
          <p:nvPr/>
        </p:nvSpPr>
        <p:spPr>
          <a:xfrm>
            <a:off x="6294680" y="5258113"/>
            <a:ext cx="83897" cy="90889"/>
          </a:xfrm>
          <a:custGeom>
            <a:avLst/>
            <a:gdLst>
              <a:gd name="connsiteX0" fmla="*/ 38453 w 83897"/>
              <a:gd name="connsiteY0" fmla="*/ 90889 h 90889"/>
              <a:gd name="connsiteX1" fmla="*/ 0 w 83897"/>
              <a:gd name="connsiteY1" fmla="*/ 90889 h 90889"/>
              <a:gd name="connsiteX2" fmla="*/ 45445 w 83897"/>
              <a:gd name="connsiteY2" fmla="*/ 45445 h 90889"/>
              <a:gd name="connsiteX3" fmla="*/ 0 w 83897"/>
              <a:gd name="connsiteY3" fmla="*/ 0 h 90889"/>
              <a:gd name="connsiteX4" fmla="*/ 39618 w 83897"/>
              <a:gd name="connsiteY4" fmla="*/ 0 h 90889"/>
              <a:gd name="connsiteX5" fmla="*/ 83898 w 83897"/>
              <a:gd name="connsiteY5" fmla="*/ 44279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endParaRPr lang="de-DE"/>
          </a:p>
        </p:txBody>
      </p:sp>
      <p:sp>
        <p:nvSpPr>
          <p:cNvPr id="173" name="Freihandform: Form 172">
            <a:extLst>
              <a:ext uri="{FF2B5EF4-FFF2-40B4-BE49-F238E27FC236}">
                <a16:creationId xmlns:a16="http://schemas.microsoft.com/office/drawing/2014/main" id="{E2A7CA26-A6FF-4830-89D6-0AE49ECECB52}"/>
              </a:ext>
            </a:extLst>
          </p:cNvPr>
          <p:cNvSpPr/>
          <p:nvPr/>
        </p:nvSpPr>
        <p:spPr>
          <a:xfrm>
            <a:off x="6294680" y="5613514"/>
            <a:ext cx="83897" cy="90889"/>
          </a:xfrm>
          <a:custGeom>
            <a:avLst/>
            <a:gdLst>
              <a:gd name="connsiteX0" fmla="*/ 38453 w 83897"/>
              <a:gd name="connsiteY0" fmla="*/ 90889 h 90889"/>
              <a:gd name="connsiteX1" fmla="*/ 0 w 83897"/>
              <a:gd name="connsiteY1" fmla="*/ 90889 h 90889"/>
              <a:gd name="connsiteX2" fmla="*/ 45445 w 83897"/>
              <a:gd name="connsiteY2" fmla="*/ 45445 h 90889"/>
              <a:gd name="connsiteX3" fmla="*/ 0 w 83897"/>
              <a:gd name="connsiteY3" fmla="*/ 0 h 90889"/>
              <a:gd name="connsiteX4" fmla="*/ 39618 w 83897"/>
              <a:gd name="connsiteY4" fmla="*/ 0 h 90889"/>
              <a:gd name="connsiteX5" fmla="*/ 83898 w 83897"/>
              <a:gd name="connsiteY5" fmla="*/ 44279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endParaRPr lang="de-DE"/>
          </a:p>
        </p:txBody>
      </p:sp>
      <p:sp>
        <p:nvSpPr>
          <p:cNvPr id="190" name="Freihandform: Form 189">
            <a:extLst>
              <a:ext uri="{FF2B5EF4-FFF2-40B4-BE49-F238E27FC236}">
                <a16:creationId xmlns:a16="http://schemas.microsoft.com/office/drawing/2014/main" id="{0D910AA1-D94C-4927-9F7F-6AE33C84B359}"/>
              </a:ext>
            </a:extLst>
          </p:cNvPr>
          <p:cNvSpPr/>
          <p:nvPr/>
        </p:nvSpPr>
        <p:spPr>
          <a:xfrm>
            <a:off x="6294680" y="5967749"/>
            <a:ext cx="83897" cy="90889"/>
          </a:xfrm>
          <a:custGeom>
            <a:avLst/>
            <a:gdLst>
              <a:gd name="connsiteX0" fmla="*/ 38453 w 83897"/>
              <a:gd name="connsiteY0" fmla="*/ 90889 h 90889"/>
              <a:gd name="connsiteX1" fmla="*/ 0 w 83897"/>
              <a:gd name="connsiteY1" fmla="*/ 90889 h 90889"/>
              <a:gd name="connsiteX2" fmla="*/ 45445 w 83897"/>
              <a:gd name="connsiteY2" fmla="*/ 46610 h 90889"/>
              <a:gd name="connsiteX3" fmla="*/ 0 w 83897"/>
              <a:gd name="connsiteY3" fmla="*/ 0 h 90889"/>
              <a:gd name="connsiteX4" fmla="*/ 39618 w 83897"/>
              <a:gd name="connsiteY4" fmla="*/ 0 h 90889"/>
              <a:gd name="connsiteX5" fmla="*/ 83898 w 83897"/>
              <a:gd name="connsiteY5" fmla="*/ 45445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6610"/>
                </a:lnTo>
                <a:lnTo>
                  <a:pt x="0" y="0"/>
                </a:lnTo>
                <a:lnTo>
                  <a:pt x="39618" y="0"/>
                </a:lnTo>
                <a:lnTo>
                  <a:pt x="83898" y="45445"/>
                </a:lnTo>
                <a:close/>
              </a:path>
            </a:pathLst>
          </a:custGeom>
          <a:solidFill>
            <a:srgbClr val="EEF2F5"/>
          </a:solidFill>
          <a:ln w="11643" cap="flat">
            <a:noFill/>
            <a:prstDash val="solid"/>
            <a:miter/>
          </a:ln>
        </p:spPr>
        <p:txBody>
          <a:bodyPr rtlCol="0" anchor="ctr"/>
          <a:lstStyle/>
          <a:p>
            <a:endParaRPr lang="de-DE"/>
          </a:p>
        </p:txBody>
      </p:sp>
      <p:sp>
        <p:nvSpPr>
          <p:cNvPr id="207" name="Freihandform: Form 206">
            <a:extLst>
              <a:ext uri="{FF2B5EF4-FFF2-40B4-BE49-F238E27FC236}">
                <a16:creationId xmlns:a16="http://schemas.microsoft.com/office/drawing/2014/main" id="{21DCF3C4-698C-4A65-960C-FC9526795073}"/>
              </a:ext>
            </a:extLst>
          </p:cNvPr>
          <p:cNvSpPr/>
          <p:nvPr/>
        </p:nvSpPr>
        <p:spPr>
          <a:xfrm>
            <a:off x="6294680" y="6323150"/>
            <a:ext cx="83897" cy="90889"/>
          </a:xfrm>
          <a:custGeom>
            <a:avLst/>
            <a:gdLst>
              <a:gd name="connsiteX0" fmla="*/ 38453 w 83897"/>
              <a:gd name="connsiteY0" fmla="*/ 90889 h 90889"/>
              <a:gd name="connsiteX1" fmla="*/ 0 w 83897"/>
              <a:gd name="connsiteY1" fmla="*/ 90889 h 90889"/>
              <a:gd name="connsiteX2" fmla="*/ 45445 w 83897"/>
              <a:gd name="connsiteY2" fmla="*/ 45445 h 90889"/>
              <a:gd name="connsiteX3" fmla="*/ 0 w 83897"/>
              <a:gd name="connsiteY3" fmla="*/ 0 h 90889"/>
              <a:gd name="connsiteX4" fmla="*/ 39618 w 83897"/>
              <a:gd name="connsiteY4" fmla="*/ 0 h 90889"/>
              <a:gd name="connsiteX5" fmla="*/ 83898 w 83897"/>
              <a:gd name="connsiteY5" fmla="*/ 44279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endParaRPr lang="de-DE"/>
          </a:p>
        </p:txBody>
      </p:sp>
      <p:sp>
        <p:nvSpPr>
          <p:cNvPr id="223" name="Freihandform: Form 222">
            <a:extLst>
              <a:ext uri="{FF2B5EF4-FFF2-40B4-BE49-F238E27FC236}">
                <a16:creationId xmlns:a16="http://schemas.microsoft.com/office/drawing/2014/main" id="{E38105B6-8D3F-48F3-9F5F-2328382B7C38}"/>
              </a:ext>
            </a:extLst>
          </p:cNvPr>
          <p:cNvSpPr/>
          <p:nvPr/>
        </p:nvSpPr>
        <p:spPr>
          <a:xfrm>
            <a:off x="6294680" y="6677385"/>
            <a:ext cx="83897" cy="90889"/>
          </a:xfrm>
          <a:custGeom>
            <a:avLst/>
            <a:gdLst>
              <a:gd name="connsiteX0" fmla="*/ 38453 w 83897"/>
              <a:gd name="connsiteY0" fmla="*/ 90889 h 90889"/>
              <a:gd name="connsiteX1" fmla="*/ 0 w 83897"/>
              <a:gd name="connsiteY1" fmla="*/ 90889 h 90889"/>
              <a:gd name="connsiteX2" fmla="*/ 45445 w 83897"/>
              <a:gd name="connsiteY2" fmla="*/ 46610 h 90889"/>
              <a:gd name="connsiteX3" fmla="*/ 0 w 83897"/>
              <a:gd name="connsiteY3" fmla="*/ 0 h 90889"/>
              <a:gd name="connsiteX4" fmla="*/ 39618 w 83897"/>
              <a:gd name="connsiteY4" fmla="*/ 0 h 90889"/>
              <a:gd name="connsiteX5" fmla="*/ 83898 w 83897"/>
              <a:gd name="connsiteY5" fmla="*/ 45445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6610"/>
                </a:lnTo>
                <a:lnTo>
                  <a:pt x="0" y="0"/>
                </a:lnTo>
                <a:lnTo>
                  <a:pt x="39618" y="0"/>
                </a:lnTo>
                <a:lnTo>
                  <a:pt x="83898" y="45445"/>
                </a:lnTo>
                <a:close/>
              </a:path>
            </a:pathLst>
          </a:custGeom>
          <a:solidFill>
            <a:srgbClr val="EEF2F5"/>
          </a:solidFill>
          <a:ln w="11643" cap="flat">
            <a:noFill/>
            <a:prstDash val="solid"/>
            <a:miter/>
          </a:ln>
        </p:spPr>
        <p:txBody>
          <a:bodyPr rtlCol="0" anchor="ctr"/>
          <a:lstStyle/>
          <a:p>
            <a:endParaRPr lang="de-DE"/>
          </a:p>
        </p:txBody>
      </p:sp>
      <p:sp>
        <p:nvSpPr>
          <p:cNvPr id="12" name="Freihandform: Form 11">
            <a:extLst>
              <a:ext uri="{FF2B5EF4-FFF2-40B4-BE49-F238E27FC236}">
                <a16:creationId xmlns:a16="http://schemas.microsoft.com/office/drawing/2014/main" id="{583AB347-5EFD-45EC-837F-436640EC31BF}"/>
              </a:ext>
            </a:extLst>
          </p:cNvPr>
          <p:cNvSpPr/>
          <p:nvPr/>
        </p:nvSpPr>
        <p:spPr>
          <a:xfrm>
            <a:off x="6641924" y="2056012"/>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3601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27" name="Freihandform: Form 26">
            <a:extLst>
              <a:ext uri="{FF2B5EF4-FFF2-40B4-BE49-F238E27FC236}">
                <a16:creationId xmlns:a16="http://schemas.microsoft.com/office/drawing/2014/main" id="{2C9F6191-45F4-4549-838F-728D0F86DCCC}"/>
              </a:ext>
            </a:extLst>
          </p:cNvPr>
          <p:cNvSpPr/>
          <p:nvPr/>
        </p:nvSpPr>
        <p:spPr>
          <a:xfrm>
            <a:off x="6641924" y="2410247"/>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3601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43" name="Freihandform: Form 42">
            <a:extLst>
              <a:ext uri="{FF2B5EF4-FFF2-40B4-BE49-F238E27FC236}">
                <a16:creationId xmlns:a16="http://schemas.microsoft.com/office/drawing/2014/main" id="{58997C67-D006-44A2-AD3D-33F34BD464B4}"/>
              </a:ext>
            </a:extLst>
          </p:cNvPr>
          <p:cNvSpPr/>
          <p:nvPr/>
        </p:nvSpPr>
        <p:spPr>
          <a:xfrm>
            <a:off x="6641924" y="2765648"/>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3601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59" name="Freihandform: Form 58">
            <a:extLst>
              <a:ext uri="{FF2B5EF4-FFF2-40B4-BE49-F238E27FC236}">
                <a16:creationId xmlns:a16="http://schemas.microsoft.com/office/drawing/2014/main" id="{C4E89A45-8CD6-4F72-A3FF-464AD5125F97}"/>
              </a:ext>
            </a:extLst>
          </p:cNvPr>
          <p:cNvSpPr/>
          <p:nvPr/>
        </p:nvSpPr>
        <p:spPr>
          <a:xfrm>
            <a:off x="6641924" y="3119883"/>
            <a:ext cx="100211" cy="109533"/>
          </a:xfrm>
          <a:custGeom>
            <a:avLst/>
            <a:gdLst>
              <a:gd name="connsiteX0" fmla="*/ 45445 w 100211"/>
              <a:gd name="connsiteY0" fmla="*/ 109533 h 109533"/>
              <a:gd name="connsiteX1" fmla="*/ 0 w 100211"/>
              <a:gd name="connsiteY1" fmla="*/ 109533 h 109533"/>
              <a:gd name="connsiteX2" fmla="*/ 53601 w 100211"/>
              <a:gd name="connsiteY2" fmla="*/ 54767 h 109533"/>
              <a:gd name="connsiteX3" fmla="*/ 0 w 100211"/>
              <a:gd name="connsiteY3" fmla="*/ 0 h 109533"/>
              <a:gd name="connsiteX4" fmla="*/ 46610 w 100211"/>
              <a:gd name="connsiteY4" fmla="*/ 0 h 109533"/>
              <a:gd name="connsiteX5" fmla="*/ 100211 w 100211"/>
              <a:gd name="connsiteY5" fmla="*/ 53601 h 109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9533">
                <a:moveTo>
                  <a:pt x="45445" y="109533"/>
                </a:moveTo>
                <a:lnTo>
                  <a:pt x="0" y="109533"/>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75" name="Freihandform: Form 74">
            <a:extLst>
              <a:ext uri="{FF2B5EF4-FFF2-40B4-BE49-F238E27FC236}">
                <a16:creationId xmlns:a16="http://schemas.microsoft.com/office/drawing/2014/main" id="{B9D7B804-0A3A-4555-AA49-BAAC4D841F25}"/>
              </a:ext>
            </a:extLst>
          </p:cNvPr>
          <p:cNvSpPr/>
          <p:nvPr/>
        </p:nvSpPr>
        <p:spPr>
          <a:xfrm>
            <a:off x="6641924" y="3475284"/>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3601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91" name="Freihandform: Form 90">
            <a:extLst>
              <a:ext uri="{FF2B5EF4-FFF2-40B4-BE49-F238E27FC236}">
                <a16:creationId xmlns:a16="http://schemas.microsoft.com/office/drawing/2014/main" id="{E186CBFA-7613-4BC9-8990-21E472FC7476}"/>
              </a:ext>
            </a:extLst>
          </p:cNvPr>
          <p:cNvSpPr/>
          <p:nvPr/>
        </p:nvSpPr>
        <p:spPr>
          <a:xfrm>
            <a:off x="6641924" y="3829519"/>
            <a:ext cx="100211" cy="109533"/>
          </a:xfrm>
          <a:custGeom>
            <a:avLst/>
            <a:gdLst>
              <a:gd name="connsiteX0" fmla="*/ 45445 w 100211"/>
              <a:gd name="connsiteY0" fmla="*/ 109533 h 109533"/>
              <a:gd name="connsiteX1" fmla="*/ 0 w 100211"/>
              <a:gd name="connsiteY1" fmla="*/ 109533 h 109533"/>
              <a:gd name="connsiteX2" fmla="*/ 53601 w 100211"/>
              <a:gd name="connsiteY2" fmla="*/ 54767 h 109533"/>
              <a:gd name="connsiteX3" fmla="*/ 0 w 100211"/>
              <a:gd name="connsiteY3" fmla="*/ 0 h 109533"/>
              <a:gd name="connsiteX4" fmla="*/ 46610 w 100211"/>
              <a:gd name="connsiteY4" fmla="*/ 0 h 109533"/>
              <a:gd name="connsiteX5" fmla="*/ 100211 w 100211"/>
              <a:gd name="connsiteY5" fmla="*/ 53601 h 109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9533">
                <a:moveTo>
                  <a:pt x="45445" y="109533"/>
                </a:moveTo>
                <a:lnTo>
                  <a:pt x="0" y="109533"/>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107" name="Freihandform: Form 106">
            <a:extLst>
              <a:ext uri="{FF2B5EF4-FFF2-40B4-BE49-F238E27FC236}">
                <a16:creationId xmlns:a16="http://schemas.microsoft.com/office/drawing/2014/main" id="{431E1B18-1EEB-4090-9700-F9FE3C0FED51}"/>
              </a:ext>
            </a:extLst>
          </p:cNvPr>
          <p:cNvSpPr/>
          <p:nvPr/>
        </p:nvSpPr>
        <p:spPr>
          <a:xfrm>
            <a:off x="6641924" y="4184920"/>
            <a:ext cx="100211" cy="108367"/>
          </a:xfrm>
          <a:custGeom>
            <a:avLst/>
            <a:gdLst>
              <a:gd name="connsiteX0" fmla="*/ 45445 w 100211"/>
              <a:gd name="connsiteY0" fmla="*/ 108368 h 108367"/>
              <a:gd name="connsiteX1" fmla="*/ 0 w 100211"/>
              <a:gd name="connsiteY1" fmla="*/ 108368 h 108367"/>
              <a:gd name="connsiteX2" fmla="*/ 53601 w 100211"/>
              <a:gd name="connsiteY2" fmla="*/ 54767 h 108367"/>
              <a:gd name="connsiteX3" fmla="*/ 0 w 100211"/>
              <a:gd name="connsiteY3" fmla="*/ 0 h 108367"/>
              <a:gd name="connsiteX4" fmla="*/ 46610 w 100211"/>
              <a:gd name="connsiteY4" fmla="*/ 0 h 108367"/>
              <a:gd name="connsiteX5" fmla="*/ 100211 w 100211"/>
              <a:gd name="connsiteY5" fmla="*/ 53601 h 108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7">
                <a:moveTo>
                  <a:pt x="45445" y="108368"/>
                </a:moveTo>
                <a:lnTo>
                  <a:pt x="0" y="108368"/>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123" name="Freihandform: Form 122">
            <a:extLst>
              <a:ext uri="{FF2B5EF4-FFF2-40B4-BE49-F238E27FC236}">
                <a16:creationId xmlns:a16="http://schemas.microsoft.com/office/drawing/2014/main" id="{DC2F5F31-D8DD-48D9-A875-60890175F7E1}"/>
              </a:ext>
            </a:extLst>
          </p:cNvPr>
          <p:cNvSpPr/>
          <p:nvPr/>
        </p:nvSpPr>
        <p:spPr>
          <a:xfrm>
            <a:off x="6641924" y="4539155"/>
            <a:ext cx="100211" cy="109533"/>
          </a:xfrm>
          <a:custGeom>
            <a:avLst/>
            <a:gdLst>
              <a:gd name="connsiteX0" fmla="*/ 45445 w 100211"/>
              <a:gd name="connsiteY0" fmla="*/ 109533 h 109533"/>
              <a:gd name="connsiteX1" fmla="*/ 0 w 100211"/>
              <a:gd name="connsiteY1" fmla="*/ 109533 h 109533"/>
              <a:gd name="connsiteX2" fmla="*/ 53601 w 100211"/>
              <a:gd name="connsiteY2" fmla="*/ 54767 h 109533"/>
              <a:gd name="connsiteX3" fmla="*/ 0 w 100211"/>
              <a:gd name="connsiteY3" fmla="*/ 0 h 109533"/>
              <a:gd name="connsiteX4" fmla="*/ 46610 w 100211"/>
              <a:gd name="connsiteY4" fmla="*/ 0 h 109533"/>
              <a:gd name="connsiteX5" fmla="*/ 100211 w 100211"/>
              <a:gd name="connsiteY5" fmla="*/ 53601 h 109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9533">
                <a:moveTo>
                  <a:pt x="45445" y="109533"/>
                </a:moveTo>
                <a:lnTo>
                  <a:pt x="0" y="109533"/>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140" name="Freihandform: Form 139">
            <a:extLst>
              <a:ext uri="{FF2B5EF4-FFF2-40B4-BE49-F238E27FC236}">
                <a16:creationId xmlns:a16="http://schemas.microsoft.com/office/drawing/2014/main" id="{76442F10-6EC9-4E34-AAE4-0D75456E4698}"/>
              </a:ext>
            </a:extLst>
          </p:cNvPr>
          <p:cNvSpPr/>
          <p:nvPr/>
        </p:nvSpPr>
        <p:spPr>
          <a:xfrm>
            <a:off x="6641924" y="4894556"/>
            <a:ext cx="100211" cy="108367"/>
          </a:xfrm>
          <a:custGeom>
            <a:avLst/>
            <a:gdLst>
              <a:gd name="connsiteX0" fmla="*/ 45445 w 100211"/>
              <a:gd name="connsiteY0" fmla="*/ 108368 h 108367"/>
              <a:gd name="connsiteX1" fmla="*/ 0 w 100211"/>
              <a:gd name="connsiteY1" fmla="*/ 108368 h 108367"/>
              <a:gd name="connsiteX2" fmla="*/ 53601 w 100211"/>
              <a:gd name="connsiteY2" fmla="*/ 54767 h 108367"/>
              <a:gd name="connsiteX3" fmla="*/ 0 w 100211"/>
              <a:gd name="connsiteY3" fmla="*/ 0 h 108367"/>
              <a:gd name="connsiteX4" fmla="*/ 46610 w 100211"/>
              <a:gd name="connsiteY4" fmla="*/ 0 h 108367"/>
              <a:gd name="connsiteX5" fmla="*/ 100211 w 100211"/>
              <a:gd name="connsiteY5" fmla="*/ 53601 h 108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7">
                <a:moveTo>
                  <a:pt x="45445" y="108368"/>
                </a:moveTo>
                <a:lnTo>
                  <a:pt x="0" y="108368"/>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157" name="Freihandform: Form 156">
            <a:extLst>
              <a:ext uri="{FF2B5EF4-FFF2-40B4-BE49-F238E27FC236}">
                <a16:creationId xmlns:a16="http://schemas.microsoft.com/office/drawing/2014/main" id="{3F3DF7DA-74D8-4504-A71D-F774354EAB93}"/>
              </a:ext>
            </a:extLst>
          </p:cNvPr>
          <p:cNvSpPr/>
          <p:nvPr/>
        </p:nvSpPr>
        <p:spPr>
          <a:xfrm>
            <a:off x="6641924" y="5249956"/>
            <a:ext cx="100211" cy="108367"/>
          </a:xfrm>
          <a:custGeom>
            <a:avLst/>
            <a:gdLst>
              <a:gd name="connsiteX0" fmla="*/ 45445 w 100211"/>
              <a:gd name="connsiteY0" fmla="*/ 108368 h 108367"/>
              <a:gd name="connsiteX1" fmla="*/ 0 w 100211"/>
              <a:gd name="connsiteY1" fmla="*/ 108368 h 108367"/>
              <a:gd name="connsiteX2" fmla="*/ 53601 w 100211"/>
              <a:gd name="connsiteY2" fmla="*/ 54767 h 108367"/>
              <a:gd name="connsiteX3" fmla="*/ 0 w 100211"/>
              <a:gd name="connsiteY3" fmla="*/ 0 h 108367"/>
              <a:gd name="connsiteX4" fmla="*/ 46610 w 100211"/>
              <a:gd name="connsiteY4" fmla="*/ 0 h 108367"/>
              <a:gd name="connsiteX5" fmla="*/ 100211 w 100211"/>
              <a:gd name="connsiteY5" fmla="*/ 52436 h 108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7">
                <a:moveTo>
                  <a:pt x="45445" y="108368"/>
                </a:moveTo>
                <a:lnTo>
                  <a:pt x="0" y="108368"/>
                </a:lnTo>
                <a:lnTo>
                  <a:pt x="53601" y="54767"/>
                </a:lnTo>
                <a:lnTo>
                  <a:pt x="0" y="0"/>
                </a:lnTo>
                <a:lnTo>
                  <a:pt x="46610" y="0"/>
                </a:lnTo>
                <a:lnTo>
                  <a:pt x="100211" y="52436"/>
                </a:lnTo>
                <a:close/>
              </a:path>
            </a:pathLst>
          </a:custGeom>
          <a:solidFill>
            <a:srgbClr val="EEF2F5"/>
          </a:solidFill>
          <a:ln w="11643" cap="flat">
            <a:noFill/>
            <a:prstDash val="solid"/>
            <a:miter/>
          </a:ln>
        </p:spPr>
        <p:txBody>
          <a:bodyPr rtlCol="0" anchor="ctr"/>
          <a:lstStyle/>
          <a:p>
            <a:endParaRPr lang="de-DE"/>
          </a:p>
        </p:txBody>
      </p:sp>
      <p:sp>
        <p:nvSpPr>
          <p:cNvPr id="174" name="Freihandform: Form 173">
            <a:extLst>
              <a:ext uri="{FF2B5EF4-FFF2-40B4-BE49-F238E27FC236}">
                <a16:creationId xmlns:a16="http://schemas.microsoft.com/office/drawing/2014/main" id="{89F7D4C0-B771-4BD2-8BB9-46691BD63CD6}"/>
              </a:ext>
            </a:extLst>
          </p:cNvPr>
          <p:cNvSpPr/>
          <p:nvPr/>
        </p:nvSpPr>
        <p:spPr>
          <a:xfrm>
            <a:off x="6641924" y="5604192"/>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3601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191" name="Freihandform: Form 190">
            <a:extLst>
              <a:ext uri="{FF2B5EF4-FFF2-40B4-BE49-F238E27FC236}">
                <a16:creationId xmlns:a16="http://schemas.microsoft.com/office/drawing/2014/main" id="{5A593B9A-6E44-429E-AEBA-35E20D56B0CE}"/>
              </a:ext>
            </a:extLst>
          </p:cNvPr>
          <p:cNvSpPr/>
          <p:nvPr/>
        </p:nvSpPr>
        <p:spPr>
          <a:xfrm>
            <a:off x="6641924" y="5959592"/>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2436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2436"/>
                </a:lnTo>
                <a:close/>
              </a:path>
            </a:pathLst>
          </a:custGeom>
          <a:solidFill>
            <a:srgbClr val="EEF2F5"/>
          </a:solidFill>
          <a:ln w="11643" cap="flat">
            <a:noFill/>
            <a:prstDash val="solid"/>
            <a:miter/>
          </a:ln>
        </p:spPr>
        <p:txBody>
          <a:bodyPr rtlCol="0" anchor="ctr"/>
          <a:lstStyle/>
          <a:p>
            <a:endParaRPr lang="de-DE"/>
          </a:p>
        </p:txBody>
      </p:sp>
      <p:sp>
        <p:nvSpPr>
          <p:cNvPr id="208" name="Freihandform: Form 207">
            <a:extLst>
              <a:ext uri="{FF2B5EF4-FFF2-40B4-BE49-F238E27FC236}">
                <a16:creationId xmlns:a16="http://schemas.microsoft.com/office/drawing/2014/main" id="{DF218C48-5CF6-4B07-AF60-4DE0F6FD1BC1}"/>
              </a:ext>
            </a:extLst>
          </p:cNvPr>
          <p:cNvSpPr/>
          <p:nvPr/>
        </p:nvSpPr>
        <p:spPr>
          <a:xfrm>
            <a:off x="6641924" y="6313828"/>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3601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224" name="Freihandform: Form 223">
            <a:extLst>
              <a:ext uri="{FF2B5EF4-FFF2-40B4-BE49-F238E27FC236}">
                <a16:creationId xmlns:a16="http://schemas.microsoft.com/office/drawing/2014/main" id="{AA5BC021-58DD-4FE3-BDC3-0802A56E539C}"/>
              </a:ext>
            </a:extLst>
          </p:cNvPr>
          <p:cNvSpPr/>
          <p:nvPr/>
        </p:nvSpPr>
        <p:spPr>
          <a:xfrm>
            <a:off x="6641924" y="6669228"/>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2436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2436"/>
                </a:lnTo>
                <a:close/>
              </a:path>
            </a:pathLst>
          </a:custGeom>
          <a:solidFill>
            <a:srgbClr val="EEF2F5"/>
          </a:solidFill>
          <a:ln w="11643" cap="flat">
            <a:noFill/>
            <a:prstDash val="solid"/>
            <a:miter/>
          </a:ln>
        </p:spPr>
        <p:txBody>
          <a:bodyPr rtlCol="0" anchor="ctr"/>
          <a:lstStyle/>
          <a:p>
            <a:endParaRPr lang="de-DE"/>
          </a:p>
        </p:txBody>
      </p:sp>
      <p:sp>
        <p:nvSpPr>
          <p:cNvPr id="13" name="Freihandform: Form 12">
            <a:extLst>
              <a:ext uri="{FF2B5EF4-FFF2-40B4-BE49-F238E27FC236}">
                <a16:creationId xmlns:a16="http://schemas.microsoft.com/office/drawing/2014/main" id="{41B3CD6E-4668-431E-B52B-BEFAFA264BED}"/>
              </a:ext>
            </a:extLst>
          </p:cNvPr>
          <p:cNvSpPr/>
          <p:nvPr/>
        </p:nvSpPr>
        <p:spPr>
          <a:xfrm>
            <a:off x="6988003" y="2046690"/>
            <a:ext cx="117690" cy="127012"/>
          </a:xfrm>
          <a:custGeom>
            <a:avLst/>
            <a:gdLst>
              <a:gd name="connsiteX0" fmla="*/ 53601 w 117690"/>
              <a:gd name="connsiteY0" fmla="*/ 127012 h 127012"/>
              <a:gd name="connsiteX1" fmla="*/ 0 w 117690"/>
              <a:gd name="connsiteY1" fmla="*/ 127012 h 127012"/>
              <a:gd name="connsiteX2" fmla="*/ 62924 w 117690"/>
              <a:gd name="connsiteY2" fmla="*/ 64089 h 127012"/>
              <a:gd name="connsiteX3" fmla="*/ 0 w 117690"/>
              <a:gd name="connsiteY3" fmla="*/ 0 h 127012"/>
              <a:gd name="connsiteX4" fmla="*/ 54767 w 117690"/>
              <a:gd name="connsiteY4" fmla="*/ 0 h 127012"/>
              <a:gd name="connsiteX5" fmla="*/ 117690 w 117690"/>
              <a:gd name="connsiteY5" fmla="*/ 61758 h 12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2">
                <a:moveTo>
                  <a:pt x="53601" y="127012"/>
                </a:moveTo>
                <a:lnTo>
                  <a:pt x="0" y="127012"/>
                </a:lnTo>
                <a:lnTo>
                  <a:pt x="62924" y="64089"/>
                </a:lnTo>
                <a:lnTo>
                  <a:pt x="0" y="0"/>
                </a:lnTo>
                <a:lnTo>
                  <a:pt x="54767" y="0"/>
                </a:lnTo>
                <a:lnTo>
                  <a:pt x="117690" y="61758"/>
                </a:lnTo>
                <a:close/>
              </a:path>
            </a:pathLst>
          </a:custGeom>
          <a:solidFill>
            <a:srgbClr val="EEF2F5"/>
          </a:solidFill>
          <a:ln w="11643" cap="flat">
            <a:noFill/>
            <a:prstDash val="solid"/>
            <a:miter/>
          </a:ln>
        </p:spPr>
        <p:txBody>
          <a:bodyPr rtlCol="0" anchor="ctr"/>
          <a:lstStyle/>
          <a:p>
            <a:endParaRPr lang="de-DE"/>
          </a:p>
        </p:txBody>
      </p:sp>
      <p:sp>
        <p:nvSpPr>
          <p:cNvPr id="28" name="Freihandform: Form 27">
            <a:extLst>
              <a:ext uri="{FF2B5EF4-FFF2-40B4-BE49-F238E27FC236}">
                <a16:creationId xmlns:a16="http://schemas.microsoft.com/office/drawing/2014/main" id="{44ADAD78-1959-4CDE-A14A-2F7982F10CE6}"/>
              </a:ext>
            </a:extLst>
          </p:cNvPr>
          <p:cNvSpPr/>
          <p:nvPr/>
        </p:nvSpPr>
        <p:spPr>
          <a:xfrm>
            <a:off x="6988003" y="2400925"/>
            <a:ext cx="117690" cy="127012"/>
          </a:xfrm>
          <a:custGeom>
            <a:avLst/>
            <a:gdLst>
              <a:gd name="connsiteX0" fmla="*/ 53601 w 117690"/>
              <a:gd name="connsiteY0" fmla="*/ 127012 h 127012"/>
              <a:gd name="connsiteX1" fmla="*/ 0 w 117690"/>
              <a:gd name="connsiteY1" fmla="*/ 127012 h 127012"/>
              <a:gd name="connsiteX2" fmla="*/ 62924 w 117690"/>
              <a:gd name="connsiteY2" fmla="*/ 64089 h 127012"/>
              <a:gd name="connsiteX3" fmla="*/ 0 w 117690"/>
              <a:gd name="connsiteY3" fmla="*/ 0 h 127012"/>
              <a:gd name="connsiteX4" fmla="*/ 54767 w 117690"/>
              <a:gd name="connsiteY4" fmla="*/ 0 h 127012"/>
              <a:gd name="connsiteX5" fmla="*/ 117690 w 117690"/>
              <a:gd name="connsiteY5" fmla="*/ 62923 h 12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2">
                <a:moveTo>
                  <a:pt x="53601" y="127012"/>
                </a:moveTo>
                <a:lnTo>
                  <a:pt x="0" y="127012"/>
                </a:lnTo>
                <a:lnTo>
                  <a:pt x="62924" y="64089"/>
                </a:lnTo>
                <a:lnTo>
                  <a:pt x="0" y="0"/>
                </a:lnTo>
                <a:lnTo>
                  <a:pt x="54767" y="0"/>
                </a:lnTo>
                <a:lnTo>
                  <a:pt x="117690" y="62923"/>
                </a:lnTo>
                <a:close/>
              </a:path>
            </a:pathLst>
          </a:custGeom>
          <a:solidFill>
            <a:srgbClr val="EEF2F5"/>
          </a:solidFill>
          <a:ln w="11643" cap="flat">
            <a:noFill/>
            <a:prstDash val="solid"/>
            <a:miter/>
          </a:ln>
        </p:spPr>
        <p:txBody>
          <a:bodyPr rtlCol="0" anchor="ctr"/>
          <a:lstStyle/>
          <a:p>
            <a:endParaRPr lang="de-DE"/>
          </a:p>
        </p:txBody>
      </p:sp>
      <p:sp>
        <p:nvSpPr>
          <p:cNvPr id="44" name="Freihandform: Form 43">
            <a:extLst>
              <a:ext uri="{FF2B5EF4-FFF2-40B4-BE49-F238E27FC236}">
                <a16:creationId xmlns:a16="http://schemas.microsoft.com/office/drawing/2014/main" id="{187A0A4D-77CA-456F-91F4-F6F8704B8154}"/>
              </a:ext>
            </a:extLst>
          </p:cNvPr>
          <p:cNvSpPr/>
          <p:nvPr/>
        </p:nvSpPr>
        <p:spPr>
          <a:xfrm>
            <a:off x="6988003" y="2756326"/>
            <a:ext cx="117690" cy="127012"/>
          </a:xfrm>
          <a:custGeom>
            <a:avLst/>
            <a:gdLst>
              <a:gd name="connsiteX0" fmla="*/ 53601 w 117690"/>
              <a:gd name="connsiteY0" fmla="*/ 127012 h 127012"/>
              <a:gd name="connsiteX1" fmla="*/ 0 w 117690"/>
              <a:gd name="connsiteY1" fmla="*/ 127012 h 127012"/>
              <a:gd name="connsiteX2" fmla="*/ 62924 w 117690"/>
              <a:gd name="connsiteY2" fmla="*/ 64089 h 127012"/>
              <a:gd name="connsiteX3" fmla="*/ 0 w 117690"/>
              <a:gd name="connsiteY3" fmla="*/ 0 h 127012"/>
              <a:gd name="connsiteX4" fmla="*/ 54767 w 117690"/>
              <a:gd name="connsiteY4" fmla="*/ 0 h 127012"/>
              <a:gd name="connsiteX5" fmla="*/ 117690 w 117690"/>
              <a:gd name="connsiteY5" fmla="*/ 61758 h 12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2">
                <a:moveTo>
                  <a:pt x="53601" y="127012"/>
                </a:moveTo>
                <a:lnTo>
                  <a:pt x="0" y="127012"/>
                </a:lnTo>
                <a:lnTo>
                  <a:pt x="62924" y="64089"/>
                </a:lnTo>
                <a:lnTo>
                  <a:pt x="0" y="0"/>
                </a:lnTo>
                <a:lnTo>
                  <a:pt x="54767" y="0"/>
                </a:lnTo>
                <a:lnTo>
                  <a:pt x="117690" y="61758"/>
                </a:lnTo>
                <a:close/>
              </a:path>
            </a:pathLst>
          </a:custGeom>
          <a:solidFill>
            <a:srgbClr val="EEF2F5"/>
          </a:solidFill>
          <a:ln w="11643" cap="flat">
            <a:noFill/>
            <a:prstDash val="solid"/>
            <a:miter/>
          </a:ln>
        </p:spPr>
        <p:txBody>
          <a:bodyPr rtlCol="0" anchor="ctr"/>
          <a:lstStyle/>
          <a:p>
            <a:endParaRPr lang="de-DE"/>
          </a:p>
        </p:txBody>
      </p:sp>
      <p:sp>
        <p:nvSpPr>
          <p:cNvPr id="60" name="Freihandform: Form 59">
            <a:extLst>
              <a:ext uri="{FF2B5EF4-FFF2-40B4-BE49-F238E27FC236}">
                <a16:creationId xmlns:a16="http://schemas.microsoft.com/office/drawing/2014/main" id="{CB07603B-B3CF-406B-8F49-C88DDBDF26D2}"/>
              </a:ext>
            </a:extLst>
          </p:cNvPr>
          <p:cNvSpPr/>
          <p:nvPr/>
        </p:nvSpPr>
        <p:spPr>
          <a:xfrm>
            <a:off x="6988003" y="3111726"/>
            <a:ext cx="117690" cy="125846"/>
          </a:xfrm>
          <a:custGeom>
            <a:avLst/>
            <a:gdLst>
              <a:gd name="connsiteX0" fmla="*/ 53601 w 117690"/>
              <a:gd name="connsiteY0" fmla="*/ 125847 h 125846"/>
              <a:gd name="connsiteX1" fmla="*/ 0 w 117690"/>
              <a:gd name="connsiteY1" fmla="*/ 125847 h 125846"/>
              <a:gd name="connsiteX2" fmla="*/ 62924 w 117690"/>
              <a:gd name="connsiteY2" fmla="*/ 62923 h 125846"/>
              <a:gd name="connsiteX3" fmla="*/ 0 w 117690"/>
              <a:gd name="connsiteY3" fmla="*/ 0 h 125846"/>
              <a:gd name="connsiteX4" fmla="*/ 54767 w 117690"/>
              <a:gd name="connsiteY4" fmla="*/ 0 h 125846"/>
              <a:gd name="connsiteX5" fmla="*/ 117690 w 117690"/>
              <a:gd name="connsiteY5" fmla="*/ 61758 h 125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5846">
                <a:moveTo>
                  <a:pt x="53601" y="125847"/>
                </a:moveTo>
                <a:lnTo>
                  <a:pt x="0" y="125847"/>
                </a:lnTo>
                <a:lnTo>
                  <a:pt x="62924" y="62923"/>
                </a:lnTo>
                <a:lnTo>
                  <a:pt x="0" y="0"/>
                </a:lnTo>
                <a:lnTo>
                  <a:pt x="54767" y="0"/>
                </a:lnTo>
                <a:lnTo>
                  <a:pt x="117690" y="61758"/>
                </a:lnTo>
                <a:close/>
              </a:path>
            </a:pathLst>
          </a:custGeom>
          <a:solidFill>
            <a:srgbClr val="EEF2F5"/>
          </a:solidFill>
          <a:ln w="11643" cap="flat">
            <a:noFill/>
            <a:prstDash val="solid"/>
            <a:miter/>
          </a:ln>
        </p:spPr>
        <p:txBody>
          <a:bodyPr rtlCol="0" anchor="ctr"/>
          <a:lstStyle/>
          <a:p>
            <a:endParaRPr lang="de-DE"/>
          </a:p>
        </p:txBody>
      </p:sp>
      <p:sp>
        <p:nvSpPr>
          <p:cNvPr id="76" name="Freihandform: Form 75">
            <a:extLst>
              <a:ext uri="{FF2B5EF4-FFF2-40B4-BE49-F238E27FC236}">
                <a16:creationId xmlns:a16="http://schemas.microsoft.com/office/drawing/2014/main" id="{C87C0BBB-E201-45AD-A8CC-B6DF36C9BFCA}"/>
              </a:ext>
            </a:extLst>
          </p:cNvPr>
          <p:cNvSpPr/>
          <p:nvPr/>
        </p:nvSpPr>
        <p:spPr>
          <a:xfrm>
            <a:off x="6988003" y="3465962"/>
            <a:ext cx="117690" cy="127012"/>
          </a:xfrm>
          <a:custGeom>
            <a:avLst/>
            <a:gdLst>
              <a:gd name="connsiteX0" fmla="*/ 53601 w 117690"/>
              <a:gd name="connsiteY0" fmla="*/ 127012 h 127012"/>
              <a:gd name="connsiteX1" fmla="*/ 0 w 117690"/>
              <a:gd name="connsiteY1" fmla="*/ 127012 h 127012"/>
              <a:gd name="connsiteX2" fmla="*/ 62924 w 117690"/>
              <a:gd name="connsiteY2" fmla="*/ 64089 h 127012"/>
              <a:gd name="connsiteX3" fmla="*/ 0 w 117690"/>
              <a:gd name="connsiteY3" fmla="*/ 0 h 127012"/>
              <a:gd name="connsiteX4" fmla="*/ 54767 w 117690"/>
              <a:gd name="connsiteY4" fmla="*/ 0 h 127012"/>
              <a:gd name="connsiteX5" fmla="*/ 117690 w 117690"/>
              <a:gd name="connsiteY5" fmla="*/ 62923 h 12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2">
                <a:moveTo>
                  <a:pt x="53601" y="127012"/>
                </a:moveTo>
                <a:lnTo>
                  <a:pt x="0" y="127012"/>
                </a:lnTo>
                <a:lnTo>
                  <a:pt x="62924" y="64089"/>
                </a:lnTo>
                <a:lnTo>
                  <a:pt x="0" y="0"/>
                </a:lnTo>
                <a:lnTo>
                  <a:pt x="54767" y="0"/>
                </a:lnTo>
                <a:lnTo>
                  <a:pt x="117690" y="62923"/>
                </a:lnTo>
                <a:close/>
              </a:path>
            </a:pathLst>
          </a:custGeom>
          <a:solidFill>
            <a:srgbClr val="EEF2F5"/>
          </a:solidFill>
          <a:ln w="11643" cap="flat">
            <a:noFill/>
            <a:prstDash val="solid"/>
            <a:miter/>
          </a:ln>
        </p:spPr>
        <p:txBody>
          <a:bodyPr rtlCol="0" anchor="ctr"/>
          <a:lstStyle/>
          <a:p>
            <a:endParaRPr lang="de-DE"/>
          </a:p>
        </p:txBody>
      </p:sp>
      <p:sp>
        <p:nvSpPr>
          <p:cNvPr id="92" name="Freihandform: Form 91">
            <a:extLst>
              <a:ext uri="{FF2B5EF4-FFF2-40B4-BE49-F238E27FC236}">
                <a16:creationId xmlns:a16="http://schemas.microsoft.com/office/drawing/2014/main" id="{E84E584C-AD1A-4283-9393-9ADAC5705999}"/>
              </a:ext>
            </a:extLst>
          </p:cNvPr>
          <p:cNvSpPr/>
          <p:nvPr/>
        </p:nvSpPr>
        <p:spPr>
          <a:xfrm>
            <a:off x="6988003" y="3821362"/>
            <a:ext cx="117690" cy="125846"/>
          </a:xfrm>
          <a:custGeom>
            <a:avLst/>
            <a:gdLst>
              <a:gd name="connsiteX0" fmla="*/ 53601 w 117690"/>
              <a:gd name="connsiteY0" fmla="*/ 125847 h 125846"/>
              <a:gd name="connsiteX1" fmla="*/ 0 w 117690"/>
              <a:gd name="connsiteY1" fmla="*/ 125847 h 125846"/>
              <a:gd name="connsiteX2" fmla="*/ 62924 w 117690"/>
              <a:gd name="connsiteY2" fmla="*/ 62923 h 125846"/>
              <a:gd name="connsiteX3" fmla="*/ 0 w 117690"/>
              <a:gd name="connsiteY3" fmla="*/ 0 h 125846"/>
              <a:gd name="connsiteX4" fmla="*/ 54767 w 117690"/>
              <a:gd name="connsiteY4" fmla="*/ 0 h 125846"/>
              <a:gd name="connsiteX5" fmla="*/ 117690 w 117690"/>
              <a:gd name="connsiteY5" fmla="*/ 61758 h 125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5846">
                <a:moveTo>
                  <a:pt x="53601" y="125847"/>
                </a:moveTo>
                <a:lnTo>
                  <a:pt x="0" y="125847"/>
                </a:lnTo>
                <a:lnTo>
                  <a:pt x="62924" y="62923"/>
                </a:lnTo>
                <a:lnTo>
                  <a:pt x="0" y="0"/>
                </a:lnTo>
                <a:lnTo>
                  <a:pt x="54767" y="0"/>
                </a:lnTo>
                <a:lnTo>
                  <a:pt x="117690" y="61758"/>
                </a:lnTo>
                <a:close/>
              </a:path>
            </a:pathLst>
          </a:custGeom>
          <a:solidFill>
            <a:srgbClr val="EEF2F5"/>
          </a:solidFill>
          <a:ln w="11643" cap="flat">
            <a:noFill/>
            <a:prstDash val="solid"/>
            <a:miter/>
          </a:ln>
        </p:spPr>
        <p:txBody>
          <a:bodyPr rtlCol="0" anchor="ctr"/>
          <a:lstStyle/>
          <a:p>
            <a:endParaRPr lang="de-DE"/>
          </a:p>
        </p:txBody>
      </p:sp>
      <p:sp>
        <p:nvSpPr>
          <p:cNvPr id="108" name="Freihandform: Form 107">
            <a:extLst>
              <a:ext uri="{FF2B5EF4-FFF2-40B4-BE49-F238E27FC236}">
                <a16:creationId xmlns:a16="http://schemas.microsoft.com/office/drawing/2014/main" id="{821A23CA-DB65-474C-8F4A-71EDD9066EAA}"/>
              </a:ext>
            </a:extLst>
          </p:cNvPr>
          <p:cNvSpPr/>
          <p:nvPr/>
        </p:nvSpPr>
        <p:spPr>
          <a:xfrm>
            <a:off x="6988003" y="4175598"/>
            <a:ext cx="117690" cy="127011"/>
          </a:xfrm>
          <a:custGeom>
            <a:avLst/>
            <a:gdLst>
              <a:gd name="connsiteX0" fmla="*/ 53601 w 117690"/>
              <a:gd name="connsiteY0" fmla="*/ 127012 h 127011"/>
              <a:gd name="connsiteX1" fmla="*/ 0 w 117690"/>
              <a:gd name="connsiteY1" fmla="*/ 127012 h 127011"/>
              <a:gd name="connsiteX2" fmla="*/ 62924 w 117690"/>
              <a:gd name="connsiteY2" fmla="*/ 64089 h 127011"/>
              <a:gd name="connsiteX3" fmla="*/ 0 w 117690"/>
              <a:gd name="connsiteY3" fmla="*/ 0 h 127011"/>
              <a:gd name="connsiteX4" fmla="*/ 54767 w 117690"/>
              <a:gd name="connsiteY4" fmla="*/ 0 h 127011"/>
              <a:gd name="connsiteX5" fmla="*/ 117690 w 117690"/>
              <a:gd name="connsiteY5" fmla="*/ 62923 h 12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1">
                <a:moveTo>
                  <a:pt x="53601" y="127012"/>
                </a:moveTo>
                <a:lnTo>
                  <a:pt x="0" y="127012"/>
                </a:lnTo>
                <a:lnTo>
                  <a:pt x="62924" y="64089"/>
                </a:lnTo>
                <a:lnTo>
                  <a:pt x="0" y="0"/>
                </a:lnTo>
                <a:lnTo>
                  <a:pt x="54767" y="0"/>
                </a:lnTo>
                <a:lnTo>
                  <a:pt x="117690" y="62923"/>
                </a:lnTo>
                <a:close/>
              </a:path>
            </a:pathLst>
          </a:custGeom>
          <a:solidFill>
            <a:srgbClr val="EEF2F5"/>
          </a:solidFill>
          <a:ln w="11643" cap="flat">
            <a:noFill/>
            <a:prstDash val="solid"/>
            <a:miter/>
          </a:ln>
        </p:spPr>
        <p:txBody>
          <a:bodyPr rtlCol="0" anchor="ctr"/>
          <a:lstStyle/>
          <a:p>
            <a:endParaRPr lang="de-DE"/>
          </a:p>
        </p:txBody>
      </p:sp>
      <p:sp>
        <p:nvSpPr>
          <p:cNvPr id="124" name="Freihandform: Form 123">
            <a:extLst>
              <a:ext uri="{FF2B5EF4-FFF2-40B4-BE49-F238E27FC236}">
                <a16:creationId xmlns:a16="http://schemas.microsoft.com/office/drawing/2014/main" id="{A21B059E-24B7-45F6-86CA-657F48380E87}"/>
              </a:ext>
            </a:extLst>
          </p:cNvPr>
          <p:cNvSpPr/>
          <p:nvPr/>
        </p:nvSpPr>
        <p:spPr>
          <a:xfrm>
            <a:off x="6988003" y="4530998"/>
            <a:ext cx="117690" cy="125846"/>
          </a:xfrm>
          <a:custGeom>
            <a:avLst/>
            <a:gdLst>
              <a:gd name="connsiteX0" fmla="*/ 53601 w 117690"/>
              <a:gd name="connsiteY0" fmla="*/ 125847 h 125846"/>
              <a:gd name="connsiteX1" fmla="*/ 0 w 117690"/>
              <a:gd name="connsiteY1" fmla="*/ 125847 h 125846"/>
              <a:gd name="connsiteX2" fmla="*/ 62924 w 117690"/>
              <a:gd name="connsiteY2" fmla="*/ 64089 h 125846"/>
              <a:gd name="connsiteX3" fmla="*/ 0 w 117690"/>
              <a:gd name="connsiteY3" fmla="*/ 0 h 125846"/>
              <a:gd name="connsiteX4" fmla="*/ 54767 w 117690"/>
              <a:gd name="connsiteY4" fmla="*/ 0 h 125846"/>
              <a:gd name="connsiteX5" fmla="*/ 117690 w 117690"/>
              <a:gd name="connsiteY5" fmla="*/ 61758 h 125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5846">
                <a:moveTo>
                  <a:pt x="53601" y="125847"/>
                </a:moveTo>
                <a:lnTo>
                  <a:pt x="0" y="125847"/>
                </a:lnTo>
                <a:lnTo>
                  <a:pt x="62924" y="64089"/>
                </a:lnTo>
                <a:lnTo>
                  <a:pt x="0" y="0"/>
                </a:lnTo>
                <a:lnTo>
                  <a:pt x="54767" y="0"/>
                </a:lnTo>
                <a:lnTo>
                  <a:pt x="117690" y="61758"/>
                </a:lnTo>
                <a:close/>
              </a:path>
            </a:pathLst>
          </a:custGeom>
          <a:solidFill>
            <a:srgbClr val="EEF2F5"/>
          </a:solidFill>
          <a:ln w="11643" cap="flat">
            <a:noFill/>
            <a:prstDash val="solid"/>
            <a:miter/>
          </a:ln>
        </p:spPr>
        <p:txBody>
          <a:bodyPr rtlCol="0" anchor="ctr"/>
          <a:lstStyle/>
          <a:p>
            <a:endParaRPr lang="de-DE"/>
          </a:p>
        </p:txBody>
      </p:sp>
      <p:sp>
        <p:nvSpPr>
          <p:cNvPr id="141" name="Freihandform: Form 140">
            <a:extLst>
              <a:ext uri="{FF2B5EF4-FFF2-40B4-BE49-F238E27FC236}">
                <a16:creationId xmlns:a16="http://schemas.microsoft.com/office/drawing/2014/main" id="{B826AAAD-4F78-48CC-8D7F-6FF66CB56257}"/>
              </a:ext>
            </a:extLst>
          </p:cNvPr>
          <p:cNvSpPr/>
          <p:nvPr/>
        </p:nvSpPr>
        <p:spPr>
          <a:xfrm>
            <a:off x="6988003" y="4885234"/>
            <a:ext cx="117690" cy="127012"/>
          </a:xfrm>
          <a:custGeom>
            <a:avLst/>
            <a:gdLst>
              <a:gd name="connsiteX0" fmla="*/ 53601 w 117690"/>
              <a:gd name="connsiteY0" fmla="*/ 127012 h 127012"/>
              <a:gd name="connsiteX1" fmla="*/ 0 w 117690"/>
              <a:gd name="connsiteY1" fmla="*/ 127012 h 127012"/>
              <a:gd name="connsiteX2" fmla="*/ 62924 w 117690"/>
              <a:gd name="connsiteY2" fmla="*/ 64089 h 127012"/>
              <a:gd name="connsiteX3" fmla="*/ 0 w 117690"/>
              <a:gd name="connsiteY3" fmla="*/ 0 h 127012"/>
              <a:gd name="connsiteX4" fmla="*/ 54767 w 117690"/>
              <a:gd name="connsiteY4" fmla="*/ 0 h 127012"/>
              <a:gd name="connsiteX5" fmla="*/ 117690 w 117690"/>
              <a:gd name="connsiteY5" fmla="*/ 62923 h 12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2">
                <a:moveTo>
                  <a:pt x="53601" y="127012"/>
                </a:moveTo>
                <a:lnTo>
                  <a:pt x="0" y="127012"/>
                </a:lnTo>
                <a:lnTo>
                  <a:pt x="62924" y="64089"/>
                </a:lnTo>
                <a:lnTo>
                  <a:pt x="0" y="0"/>
                </a:lnTo>
                <a:lnTo>
                  <a:pt x="54767" y="0"/>
                </a:lnTo>
                <a:lnTo>
                  <a:pt x="117690" y="62923"/>
                </a:lnTo>
                <a:close/>
              </a:path>
            </a:pathLst>
          </a:custGeom>
          <a:solidFill>
            <a:srgbClr val="EEF2F5"/>
          </a:solidFill>
          <a:ln w="11643" cap="flat">
            <a:noFill/>
            <a:prstDash val="solid"/>
            <a:miter/>
          </a:ln>
        </p:spPr>
        <p:txBody>
          <a:bodyPr rtlCol="0" anchor="ctr"/>
          <a:lstStyle/>
          <a:p>
            <a:endParaRPr lang="de-DE"/>
          </a:p>
        </p:txBody>
      </p:sp>
      <p:sp>
        <p:nvSpPr>
          <p:cNvPr id="158" name="Freihandform: Form 157">
            <a:extLst>
              <a:ext uri="{FF2B5EF4-FFF2-40B4-BE49-F238E27FC236}">
                <a16:creationId xmlns:a16="http://schemas.microsoft.com/office/drawing/2014/main" id="{52E552E0-7863-4113-BBA5-301C77EAF452}"/>
              </a:ext>
            </a:extLst>
          </p:cNvPr>
          <p:cNvSpPr/>
          <p:nvPr/>
        </p:nvSpPr>
        <p:spPr>
          <a:xfrm>
            <a:off x="6988003" y="5240634"/>
            <a:ext cx="117690" cy="127011"/>
          </a:xfrm>
          <a:custGeom>
            <a:avLst/>
            <a:gdLst>
              <a:gd name="connsiteX0" fmla="*/ 53601 w 117690"/>
              <a:gd name="connsiteY0" fmla="*/ 127012 h 127011"/>
              <a:gd name="connsiteX1" fmla="*/ 0 w 117690"/>
              <a:gd name="connsiteY1" fmla="*/ 127012 h 127011"/>
              <a:gd name="connsiteX2" fmla="*/ 62924 w 117690"/>
              <a:gd name="connsiteY2" fmla="*/ 64089 h 127011"/>
              <a:gd name="connsiteX3" fmla="*/ 0 w 117690"/>
              <a:gd name="connsiteY3" fmla="*/ 0 h 127011"/>
              <a:gd name="connsiteX4" fmla="*/ 54767 w 117690"/>
              <a:gd name="connsiteY4" fmla="*/ 0 h 127011"/>
              <a:gd name="connsiteX5" fmla="*/ 117690 w 117690"/>
              <a:gd name="connsiteY5" fmla="*/ 61758 h 12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1">
                <a:moveTo>
                  <a:pt x="53601" y="127012"/>
                </a:moveTo>
                <a:lnTo>
                  <a:pt x="0" y="127012"/>
                </a:lnTo>
                <a:lnTo>
                  <a:pt x="62924" y="64089"/>
                </a:lnTo>
                <a:lnTo>
                  <a:pt x="0" y="0"/>
                </a:lnTo>
                <a:lnTo>
                  <a:pt x="54767" y="0"/>
                </a:lnTo>
                <a:lnTo>
                  <a:pt x="117690" y="61758"/>
                </a:lnTo>
                <a:close/>
              </a:path>
            </a:pathLst>
          </a:custGeom>
          <a:solidFill>
            <a:srgbClr val="EEF2F5"/>
          </a:solidFill>
          <a:ln w="11643" cap="flat">
            <a:noFill/>
            <a:prstDash val="solid"/>
            <a:miter/>
          </a:ln>
        </p:spPr>
        <p:txBody>
          <a:bodyPr rtlCol="0" anchor="ctr"/>
          <a:lstStyle/>
          <a:p>
            <a:endParaRPr lang="de-DE"/>
          </a:p>
        </p:txBody>
      </p:sp>
      <p:sp>
        <p:nvSpPr>
          <p:cNvPr id="175" name="Freihandform: Form 174">
            <a:extLst>
              <a:ext uri="{FF2B5EF4-FFF2-40B4-BE49-F238E27FC236}">
                <a16:creationId xmlns:a16="http://schemas.microsoft.com/office/drawing/2014/main" id="{B682B6CF-0860-48B1-8C00-95D42CF736E9}"/>
              </a:ext>
            </a:extLst>
          </p:cNvPr>
          <p:cNvSpPr/>
          <p:nvPr/>
        </p:nvSpPr>
        <p:spPr>
          <a:xfrm>
            <a:off x="6988003" y="5594870"/>
            <a:ext cx="117690" cy="127011"/>
          </a:xfrm>
          <a:custGeom>
            <a:avLst/>
            <a:gdLst>
              <a:gd name="connsiteX0" fmla="*/ 53601 w 117690"/>
              <a:gd name="connsiteY0" fmla="*/ 127012 h 127011"/>
              <a:gd name="connsiteX1" fmla="*/ 0 w 117690"/>
              <a:gd name="connsiteY1" fmla="*/ 127012 h 127011"/>
              <a:gd name="connsiteX2" fmla="*/ 62924 w 117690"/>
              <a:gd name="connsiteY2" fmla="*/ 64089 h 127011"/>
              <a:gd name="connsiteX3" fmla="*/ 0 w 117690"/>
              <a:gd name="connsiteY3" fmla="*/ 0 h 127011"/>
              <a:gd name="connsiteX4" fmla="*/ 54767 w 117690"/>
              <a:gd name="connsiteY4" fmla="*/ 0 h 127011"/>
              <a:gd name="connsiteX5" fmla="*/ 117690 w 117690"/>
              <a:gd name="connsiteY5" fmla="*/ 62923 h 12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1">
                <a:moveTo>
                  <a:pt x="53601" y="127012"/>
                </a:moveTo>
                <a:lnTo>
                  <a:pt x="0" y="127012"/>
                </a:lnTo>
                <a:lnTo>
                  <a:pt x="62924" y="64089"/>
                </a:lnTo>
                <a:lnTo>
                  <a:pt x="0" y="0"/>
                </a:lnTo>
                <a:lnTo>
                  <a:pt x="54767" y="0"/>
                </a:lnTo>
                <a:lnTo>
                  <a:pt x="117690" y="62923"/>
                </a:lnTo>
                <a:close/>
              </a:path>
            </a:pathLst>
          </a:custGeom>
          <a:solidFill>
            <a:srgbClr val="EEF2F5"/>
          </a:solidFill>
          <a:ln w="11643" cap="flat">
            <a:noFill/>
            <a:prstDash val="solid"/>
            <a:miter/>
          </a:ln>
        </p:spPr>
        <p:txBody>
          <a:bodyPr rtlCol="0" anchor="ctr"/>
          <a:lstStyle/>
          <a:p>
            <a:endParaRPr lang="de-DE"/>
          </a:p>
        </p:txBody>
      </p:sp>
      <p:sp>
        <p:nvSpPr>
          <p:cNvPr id="192" name="Freihandform: Form 191">
            <a:extLst>
              <a:ext uri="{FF2B5EF4-FFF2-40B4-BE49-F238E27FC236}">
                <a16:creationId xmlns:a16="http://schemas.microsoft.com/office/drawing/2014/main" id="{454B7B92-8F20-486A-A2F6-3D352B2C3337}"/>
              </a:ext>
            </a:extLst>
          </p:cNvPr>
          <p:cNvSpPr/>
          <p:nvPr/>
        </p:nvSpPr>
        <p:spPr>
          <a:xfrm>
            <a:off x="6988003" y="5950270"/>
            <a:ext cx="117690" cy="127011"/>
          </a:xfrm>
          <a:custGeom>
            <a:avLst/>
            <a:gdLst>
              <a:gd name="connsiteX0" fmla="*/ 53601 w 117690"/>
              <a:gd name="connsiteY0" fmla="*/ 127012 h 127011"/>
              <a:gd name="connsiteX1" fmla="*/ 0 w 117690"/>
              <a:gd name="connsiteY1" fmla="*/ 127012 h 127011"/>
              <a:gd name="connsiteX2" fmla="*/ 62924 w 117690"/>
              <a:gd name="connsiteY2" fmla="*/ 64089 h 127011"/>
              <a:gd name="connsiteX3" fmla="*/ 0 w 117690"/>
              <a:gd name="connsiteY3" fmla="*/ 0 h 127011"/>
              <a:gd name="connsiteX4" fmla="*/ 54767 w 117690"/>
              <a:gd name="connsiteY4" fmla="*/ 0 h 127011"/>
              <a:gd name="connsiteX5" fmla="*/ 117690 w 117690"/>
              <a:gd name="connsiteY5" fmla="*/ 61758 h 12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1">
                <a:moveTo>
                  <a:pt x="53601" y="127012"/>
                </a:moveTo>
                <a:lnTo>
                  <a:pt x="0" y="127012"/>
                </a:lnTo>
                <a:lnTo>
                  <a:pt x="62924" y="64089"/>
                </a:lnTo>
                <a:lnTo>
                  <a:pt x="0" y="0"/>
                </a:lnTo>
                <a:lnTo>
                  <a:pt x="54767" y="0"/>
                </a:lnTo>
                <a:lnTo>
                  <a:pt x="117690" y="61758"/>
                </a:lnTo>
                <a:close/>
              </a:path>
            </a:pathLst>
          </a:custGeom>
          <a:solidFill>
            <a:srgbClr val="EEF2F5"/>
          </a:solidFill>
          <a:ln w="11643" cap="flat">
            <a:noFill/>
            <a:prstDash val="solid"/>
            <a:miter/>
          </a:ln>
        </p:spPr>
        <p:txBody>
          <a:bodyPr rtlCol="0" anchor="ctr"/>
          <a:lstStyle/>
          <a:p>
            <a:endParaRPr lang="de-DE"/>
          </a:p>
        </p:txBody>
      </p:sp>
      <p:sp>
        <p:nvSpPr>
          <p:cNvPr id="209" name="Freihandform: Form 208">
            <a:extLst>
              <a:ext uri="{FF2B5EF4-FFF2-40B4-BE49-F238E27FC236}">
                <a16:creationId xmlns:a16="http://schemas.microsoft.com/office/drawing/2014/main" id="{731C9EF6-821F-43D3-AF27-A0A6EE4233B2}"/>
              </a:ext>
            </a:extLst>
          </p:cNvPr>
          <p:cNvSpPr/>
          <p:nvPr/>
        </p:nvSpPr>
        <p:spPr>
          <a:xfrm>
            <a:off x="6988003" y="6304506"/>
            <a:ext cx="117690" cy="127011"/>
          </a:xfrm>
          <a:custGeom>
            <a:avLst/>
            <a:gdLst>
              <a:gd name="connsiteX0" fmla="*/ 53601 w 117690"/>
              <a:gd name="connsiteY0" fmla="*/ 127012 h 127011"/>
              <a:gd name="connsiteX1" fmla="*/ 0 w 117690"/>
              <a:gd name="connsiteY1" fmla="*/ 127012 h 127011"/>
              <a:gd name="connsiteX2" fmla="*/ 62924 w 117690"/>
              <a:gd name="connsiteY2" fmla="*/ 64089 h 127011"/>
              <a:gd name="connsiteX3" fmla="*/ 0 w 117690"/>
              <a:gd name="connsiteY3" fmla="*/ 0 h 127011"/>
              <a:gd name="connsiteX4" fmla="*/ 54767 w 117690"/>
              <a:gd name="connsiteY4" fmla="*/ 0 h 127011"/>
              <a:gd name="connsiteX5" fmla="*/ 117690 w 117690"/>
              <a:gd name="connsiteY5" fmla="*/ 62923 h 12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1">
                <a:moveTo>
                  <a:pt x="53601" y="127012"/>
                </a:moveTo>
                <a:lnTo>
                  <a:pt x="0" y="127012"/>
                </a:lnTo>
                <a:lnTo>
                  <a:pt x="62924" y="64089"/>
                </a:lnTo>
                <a:lnTo>
                  <a:pt x="0" y="0"/>
                </a:lnTo>
                <a:lnTo>
                  <a:pt x="54767" y="0"/>
                </a:lnTo>
                <a:lnTo>
                  <a:pt x="117690" y="62923"/>
                </a:lnTo>
                <a:close/>
              </a:path>
            </a:pathLst>
          </a:custGeom>
          <a:solidFill>
            <a:srgbClr val="EEF2F5"/>
          </a:solidFill>
          <a:ln w="11643" cap="flat">
            <a:noFill/>
            <a:prstDash val="solid"/>
            <a:miter/>
          </a:ln>
        </p:spPr>
        <p:txBody>
          <a:bodyPr rtlCol="0" anchor="ctr"/>
          <a:lstStyle/>
          <a:p>
            <a:endParaRPr lang="de-DE"/>
          </a:p>
        </p:txBody>
      </p:sp>
      <p:sp>
        <p:nvSpPr>
          <p:cNvPr id="225" name="Freihandform: Form 224">
            <a:extLst>
              <a:ext uri="{FF2B5EF4-FFF2-40B4-BE49-F238E27FC236}">
                <a16:creationId xmlns:a16="http://schemas.microsoft.com/office/drawing/2014/main" id="{E9AB3220-DE9C-44AE-ADC2-AF15E390E82D}"/>
              </a:ext>
            </a:extLst>
          </p:cNvPr>
          <p:cNvSpPr/>
          <p:nvPr/>
        </p:nvSpPr>
        <p:spPr>
          <a:xfrm>
            <a:off x="6988003" y="6659906"/>
            <a:ext cx="117690" cy="127011"/>
          </a:xfrm>
          <a:custGeom>
            <a:avLst/>
            <a:gdLst>
              <a:gd name="connsiteX0" fmla="*/ 53601 w 117690"/>
              <a:gd name="connsiteY0" fmla="*/ 127012 h 127011"/>
              <a:gd name="connsiteX1" fmla="*/ 0 w 117690"/>
              <a:gd name="connsiteY1" fmla="*/ 127012 h 127011"/>
              <a:gd name="connsiteX2" fmla="*/ 62924 w 117690"/>
              <a:gd name="connsiteY2" fmla="*/ 64089 h 127011"/>
              <a:gd name="connsiteX3" fmla="*/ 0 w 117690"/>
              <a:gd name="connsiteY3" fmla="*/ 0 h 127011"/>
              <a:gd name="connsiteX4" fmla="*/ 54767 w 117690"/>
              <a:gd name="connsiteY4" fmla="*/ 0 h 127011"/>
              <a:gd name="connsiteX5" fmla="*/ 117690 w 117690"/>
              <a:gd name="connsiteY5" fmla="*/ 61758 h 12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1">
                <a:moveTo>
                  <a:pt x="53601" y="127012"/>
                </a:moveTo>
                <a:lnTo>
                  <a:pt x="0" y="127012"/>
                </a:lnTo>
                <a:lnTo>
                  <a:pt x="62924" y="64089"/>
                </a:lnTo>
                <a:lnTo>
                  <a:pt x="0" y="0"/>
                </a:lnTo>
                <a:lnTo>
                  <a:pt x="54767" y="0"/>
                </a:lnTo>
                <a:lnTo>
                  <a:pt x="117690" y="61758"/>
                </a:lnTo>
                <a:close/>
              </a:path>
            </a:pathLst>
          </a:custGeom>
          <a:solidFill>
            <a:srgbClr val="EEF2F5"/>
          </a:solidFill>
          <a:ln w="11643" cap="flat">
            <a:noFill/>
            <a:prstDash val="solid"/>
            <a:miter/>
          </a:ln>
        </p:spPr>
        <p:txBody>
          <a:bodyPr rtlCol="0" anchor="ctr"/>
          <a:lstStyle/>
          <a:p>
            <a:endParaRPr lang="de-DE"/>
          </a:p>
        </p:txBody>
      </p:sp>
      <p:sp>
        <p:nvSpPr>
          <p:cNvPr id="14" name="Freihandform: Form 13">
            <a:extLst>
              <a:ext uri="{FF2B5EF4-FFF2-40B4-BE49-F238E27FC236}">
                <a16:creationId xmlns:a16="http://schemas.microsoft.com/office/drawing/2014/main" id="{EFAF6EFC-5984-485E-8562-F3C5B1286F10}"/>
              </a:ext>
            </a:extLst>
          </p:cNvPr>
          <p:cNvSpPr/>
          <p:nvPr/>
        </p:nvSpPr>
        <p:spPr>
          <a:xfrm>
            <a:off x="7335247" y="2038533"/>
            <a:ext cx="132838" cy="143325"/>
          </a:xfrm>
          <a:custGeom>
            <a:avLst/>
            <a:gdLst>
              <a:gd name="connsiteX0" fmla="*/ 60593 w 132838"/>
              <a:gd name="connsiteY0" fmla="*/ 143326 h 143325"/>
              <a:gd name="connsiteX1" fmla="*/ 0 w 132838"/>
              <a:gd name="connsiteY1" fmla="*/ 143326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6"/>
                </a:moveTo>
                <a:lnTo>
                  <a:pt x="0" y="143326"/>
                </a:lnTo>
                <a:lnTo>
                  <a:pt x="71080" y="72245"/>
                </a:lnTo>
                <a:lnTo>
                  <a:pt x="0" y="0"/>
                </a:lnTo>
                <a:lnTo>
                  <a:pt x="61758" y="0"/>
                </a:lnTo>
                <a:lnTo>
                  <a:pt x="132838" y="69915"/>
                </a:lnTo>
                <a:close/>
              </a:path>
            </a:pathLst>
          </a:custGeom>
          <a:solidFill>
            <a:srgbClr val="EEF2F5"/>
          </a:solidFill>
          <a:ln w="11643" cap="flat">
            <a:noFill/>
            <a:prstDash val="solid"/>
            <a:miter/>
          </a:ln>
        </p:spPr>
        <p:txBody>
          <a:bodyPr rtlCol="0" anchor="ctr"/>
          <a:lstStyle/>
          <a:p>
            <a:endParaRPr lang="de-DE"/>
          </a:p>
        </p:txBody>
      </p:sp>
      <p:sp>
        <p:nvSpPr>
          <p:cNvPr id="29" name="Freihandform: Form 28">
            <a:extLst>
              <a:ext uri="{FF2B5EF4-FFF2-40B4-BE49-F238E27FC236}">
                <a16:creationId xmlns:a16="http://schemas.microsoft.com/office/drawing/2014/main" id="{C38B5C98-4ABA-4DD0-92EE-6AE4E7466D1F}"/>
              </a:ext>
            </a:extLst>
          </p:cNvPr>
          <p:cNvSpPr/>
          <p:nvPr/>
        </p:nvSpPr>
        <p:spPr>
          <a:xfrm>
            <a:off x="7335247" y="2392768"/>
            <a:ext cx="132838" cy="143325"/>
          </a:xfrm>
          <a:custGeom>
            <a:avLst/>
            <a:gdLst>
              <a:gd name="connsiteX0" fmla="*/ 60593 w 132838"/>
              <a:gd name="connsiteY0" fmla="*/ 143325 h 143325"/>
              <a:gd name="connsiteX1" fmla="*/ 0 w 132838"/>
              <a:gd name="connsiteY1" fmla="*/ 143325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71080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5"/>
                </a:moveTo>
                <a:lnTo>
                  <a:pt x="0" y="143325"/>
                </a:lnTo>
                <a:lnTo>
                  <a:pt x="71080" y="72245"/>
                </a:lnTo>
                <a:lnTo>
                  <a:pt x="0" y="0"/>
                </a:lnTo>
                <a:lnTo>
                  <a:pt x="61758" y="0"/>
                </a:lnTo>
                <a:lnTo>
                  <a:pt x="132838" y="71080"/>
                </a:lnTo>
                <a:close/>
              </a:path>
            </a:pathLst>
          </a:custGeom>
          <a:solidFill>
            <a:srgbClr val="EEF2F5"/>
          </a:solidFill>
          <a:ln w="11643" cap="flat">
            <a:noFill/>
            <a:prstDash val="solid"/>
            <a:miter/>
          </a:ln>
        </p:spPr>
        <p:txBody>
          <a:bodyPr rtlCol="0" anchor="ctr"/>
          <a:lstStyle/>
          <a:p>
            <a:endParaRPr lang="de-DE"/>
          </a:p>
        </p:txBody>
      </p:sp>
      <p:sp>
        <p:nvSpPr>
          <p:cNvPr id="45" name="Freihandform: Form 44">
            <a:extLst>
              <a:ext uri="{FF2B5EF4-FFF2-40B4-BE49-F238E27FC236}">
                <a16:creationId xmlns:a16="http://schemas.microsoft.com/office/drawing/2014/main" id="{79F3C30E-5951-4096-8825-BA1A1F523534}"/>
              </a:ext>
            </a:extLst>
          </p:cNvPr>
          <p:cNvSpPr/>
          <p:nvPr/>
        </p:nvSpPr>
        <p:spPr>
          <a:xfrm>
            <a:off x="7335247" y="2748169"/>
            <a:ext cx="132838" cy="143325"/>
          </a:xfrm>
          <a:custGeom>
            <a:avLst/>
            <a:gdLst>
              <a:gd name="connsiteX0" fmla="*/ 60593 w 132838"/>
              <a:gd name="connsiteY0" fmla="*/ 143325 h 143325"/>
              <a:gd name="connsiteX1" fmla="*/ 0 w 132838"/>
              <a:gd name="connsiteY1" fmla="*/ 143325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5"/>
                </a:moveTo>
                <a:lnTo>
                  <a:pt x="0" y="143325"/>
                </a:lnTo>
                <a:lnTo>
                  <a:pt x="71080" y="72245"/>
                </a:lnTo>
                <a:lnTo>
                  <a:pt x="0" y="0"/>
                </a:lnTo>
                <a:lnTo>
                  <a:pt x="61758" y="0"/>
                </a:lnTo>
                <a:lnTo>
                  <a:pt x="132838" y="69915"/>
                </a:lnTo>
                <a:close/>
              </a:path>
            </a:pathLst>
          </a:custGeom>
          <a:solidFill>
            <a:srgbClr val="EEF2F5"/>
          </a:solidFill>
          <a:ln w="11643" cap="flat">
            <a:noFill/>
            <a:prstDash val="solid"/>
            <a:miter/>
          </a:ln>
        </p:spPr>
        <p:txBody>
          <a:bodyPr rtlCol="0" anchor="ctr"/>
          <a:lstStyle/>
          <a:p>
            <a:endParaRPr lang="de-DE"/>
          </a:p>
        </p:txBody>
      </p:sp>
      <p:sp>
        <p:nvSpPr>
          <p:cNvPr id="61" name="Freihandform: Form 60">
            <a:extLst>
              <a:ext uri="{FF2B5EF4-FFF2-40B4-BE49-F238E27FC236}">
                <a16:creationId xmlns:a16="http://schemas.microsoft.com/office/drawing/2014/main" id="{72D38BC9-A038-42F1-84CC-8FE548646FD4}"/>
              </a:ext>
            </a:extLst>
          </p:cNvPr>
          <p:cNvSpPr/>
          <p:nvPr/>
        </p:nvSpPr>
        <p:spPr>
          <a:xfrm>
            <a:off x="7335247" y="3102404"/>
            <a:ext cx="132838" cy="143325"/>
          </a:xfrm>
          <a:custGeom>
            <a:avLst/>
            <a:gdLst>
              <a:gd name="connsiteX0" fmla="*/ 60593 w 132838"/>
              <a:gd name="connsiteY0" fmla="*/ 143326 h 143325"/>
              <a:gd name="connsiteX1" fmla="*/ 0 w 132838"/>
              <a:gd name="connsiteY1" fmla="*/ 143326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71080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6"/>
                </a:moveTo>
                <a:lnTo>
                  <a:pt x="0" y="143326"/>
                </a:lnTo>
                <a:lnTo>
                  <a:pt x="71080" y="72245"/>
                </a:lnTo>
                <a:lnTo>
                  <a:pt x="0" y="0"/>
                </a:lnTo>
                <a:lnTo>
                  <a:pt x="61758" y="0"/>
                </a:lnTo>
                <a:lnTo>
                  <a:pt x="132838" y="71080"/>
                </a:lnTo>
                <a:close/>
              </a:path>
            </a:pathLst>
          </a:custGeom>
          <a:solidFill>
            <a:srgbClr val="EEF2F5"/>
          </a:solidFill>
          <a:ln w="11643" cap="flat">
            <a:noFill/>
            <a:prstDash val="solid"/>
            <a:miter/>
          </a:ln>
        </p:spPr>
        <p:txBody>
          <a:bodyPr rtlCol="0" anchor="ctr"/>
          <a:lstStyle/>
          <a:p>
            <a:endParaRPr lang="de-DE"/>
          </a:p>
        </p:txBody>
      </p:sp>
      <p:sp>
        <p:nvSpPr>
          <p:cNvPr id="77" name="Freihandform: Form 76">
            <a:extLst>
              <a:ext uri="{FF2B5EF4-FFF2-40B4-BE49-F238E27FC236}">
                <a16:creationId xmlns:a16="http://schemas.microsoft.com/office/drawing/2014/main" id="{4C23EFB8-6839-469E-BA4B-6EBF505449D2}"/>
              </a:ext>
            </a:extLst>
          </p:cNvPr>
          <p:cNvSpPr/>
          <p:nvPr/>
        </p:nvSpPr>
        <p:spPr>
          <a:xfrm>
            <a:off x="7335247" y="3457805"/>
            <a:ext cx="132838" cy="143325"/>
          </a:xfrm>
          <a:custGeom>
            <a:avLst/>
            <a:gdLst>
              <a:gd name="connsiteX0" fmla="*/ 60593 w 132838"/>
              <a:gd name="connsiteY0" fmla="*/ 143326 h 143325"/>
              <a:gd name="connsiteX1" fmla="*/ 0 w 132838"/>
              <a:gd name="connsiteY1" fmla="*/ 143326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6"/>
                </a:moveTo>
                <a:lnTo>
                  <a:pt x="0" y="143326"/>
                </a:lnTo>
                <a:lnTo>
                  <a:pt x="71080" y="72245"/>
                </a:lnTo>
                <a:lnTo>
                  <a:pt x="0" y="0"/>
                </a:lnTo>
                <a:lnTo>
                  <a:pt x="61758" y="0"/>
                </a:lnTo>
                <a:lnTo>
                  <a:pt x="132838" y="69915"/>
                </a:lnTo>
                <a:close/>
              </a:path>
            </a:pathLst>
          </a:custGeom>
          <a:solidFill>
            <a:srgbClr val="EEF2F5"/>
          </a:solidFill>
          <a:ln w="11643" cap="flat">
            <a:noFill/>
            <a:prstDash val="solid"/>
            <a:miter/>
          </a:ln>
        </p:spPr>
        <p:txBody>
          <a:bodyPr rtlCol="0" anchor="ctr"/>
          <a:lstStyle/>
          <a:p>
            <a:endParaRPr lang="de-DE"/>
          </a:p>
        </p:txBody>
      </p:sp>
      <p:sp>
        <p:nvSpPr>
          <p:cNvPr id="93" name="Freihandform: Form 92">
            <a:extLst>
              <a:ext uri="{FF2B5EF4-FFF2-40B4-BE49-F238E27FC236}">
                <a16:creationId xmlns:a16="http://schemas.microsoft.com/office/drawing/2014/main" id="{45EE2EBC-AC9B-4F66-BE0E-F697842CD09A}"/>
              </a:ext>
            </a:extLst>
          </p:cNvPr>
          <p:cNvSpPr/>
          <p:nvPr/>
        </p:nvSpPr>
        <p:spPr>
          <a:xfrm>
            <a:off x="7335247" y="3812040"/>
            <a:ext cx="132838" cy="144490"/>
          </a:xfrm>
          <a:custGeom>
            <a:avLst/>
            <a:gdLst>
              <a:gd name="connsiteX0" fmla="*/ 60593 w 132838"/>
              <a:gd name="connsiteY0" fmla="*/ 144491 h 144490"/>
              <a:gd name="connsiteX1" fmla="*/ 0 w 132838"/>
              <a:gd name="connsiteY1" fmla="*/ 144491 h 144490"/>
              <a:gd name="connsiteX2" fmla="*/ 71080 w 132838"/>
              <a:gd name="connsiteY2" fmla="*/ 73410 h 144490"/>
              <a:gd name="connsiteX3" fmla="*/ 0 w 132838"/>
              <a:gd name="connsiteY3" fmla="*/ 0 h 144490"/>
              <a:gd name="connsiteX4" fmla="*/ 61758 w 132838"/>
              <a:gd name="connsiteY4" fmla="*/ 0 h 144490"/>
              <a:gd name="connsiteX5" fmla="*/ 132838 w 132838"/>
              <a:gd name="connsiteY5" fmla="*/ 71080 h 144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4490">
                <a:moveTo>
                  <a:pt x="60593" y="144491"/>
                </a:moveTo>
                <a:lnTo>
                  <a:pt x="0" y="144491"/>
                </a:lnTo>
                <a:lnTo>
                  <a:pt x="71080" y="73410"/>
                </a:lnTo>
                <a:lnTo>
                  <a:pt x="0" y="0"/>
                </a:lnTo>
                <a:lnTo>
                  <a:pt x="61758" y="0"/>
                </a:lnTo>
                <a:lnTo>
                  <a:pt x="132838" y="71080"/>
                </a:lnTo>
                <a:close/>
              </a:path>
            </a:pathLst>
          </a:custGeom>
          <a:solidFill>
            <a:srgbClr val="EEF2F5"/>
          </a:solidFill>
          <a:ln w="11643" cap="flat">
            <a:noFill/>
            <a:prstDash val="solid"/>
            <a:miter/>
          </a:ln>
        </p:spPr>
        <p:txBody>
          <a:bodyPr rtlCol="0" anchor="ctr"/>
          <a:lstStyle/>
          <a:p>
            <a:endParaRPr lang="de-DE"/>
          </a:p>
        </p:txBody>
      </p:sp>
      <p:sp>
        <p:nvSpPr>
          <p:cNvPr id="109" name="Freihandform: Form 108">
            <a:extLst>
              <a:ext uri="{FF2B5EF4-FFF2-40B4-BE49-F238E27FC236}">
                <a16:creationId xmlns:a16="http://schemas.microsoft.com/office/drawing/2014/main" id="{23A8A58E-C664-472A-80B9-B34A798D133E}"/>
              </a:ext>
            </a:extLst>
          </p:cNvPr>
          <p:cNvSpPr/>
          <p:nvPr/>
        </p:nvSpPr>
        <p:spPr>
          <a:xfrm>
            <a:off x="7335247" y="4167441"/>
            <a:ext cx="132838" cy="143325"/>
          </a:xfrm>
          <a:custGeom>
            <a:avLst/>
            <a:gdLst>
              <a:gd name="connsiteX0" fmla="*/ 60593 w 132838"/>
              <a:gd name="connsiteY0" fmla="*/ 143325 h 143325"/>
              <a:gd name="connsiteX1" fmla="*/ 0 w 132838"/>
              <a:gd name="connsiteY1" fmla="*/ 143325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5"/>
                </a:moveTo>
                <a:lnTo>
                  <a:pt x="0" y="143325"/>
                </a:lnTo>
                <a:lnTo>
                  <a:pt x="71080" y="72245"/>
                </a:lnTo>
                <a:lnTo>
                  <a:pt x="0" y="0"/>
                </a:lnTo>
                <a:lnTo>
                  <a:pt x="61758" y="0"/>
                </a:lnTo>
                <a:lnTo>
                  <a:pt x="132838" y="69915"/>
                </a:lnTo>
                <a:close/>
              </a:path>
            </a:pathLst>
          </a:custGeom>
          <a:solidFill>
            <a:srgbClr val="EEF2F5"/>
          </a:solidFill>
          <a:ln w="11643" cap="flat">
            <a:noFill/>
            <a:prstDash val="solid"/>
            <a:miter/>
          </a:ln>
        </p:spPr>
        <p:txBody>
          <a:bodyPr rtlCol="0" anchor="ctr"/>
          <a:lstStyle/>
          <a:p>
            <a:endParaRPr lang="de-DE"/>
          </a:p>
        </p:txBody>
      </p:sp>
      <p:sp>
        <p:nvSpPr>
          <p:cNvPr id="125" name="Freihandform: Form 124">
            <a:extLst>
              <a:ext uri="{FF2B5EF4-FFF2-40B4-BE49-F238E27FC236}">
                <a16:creationId xmlns:a16="http://schemas.microsoft.com/office/drawing/2014/main" id="{C3B2D139-38F0-4A0D-927D-BDFD81D0A329}"/>
              </a:ext>
            </a:extLst>
          </p:cNvPr>
          <p:cNvSpPr/>
          <p:nvPr/>
        </p:nvSpPr>
        <p:spPr>
          <a:xfrm>
            <a:off x="7335247" y="4522842"/>
            <a:ext cx="132838" cy="143325"/>
          </a:xfrm>
          <a:custGeom>
            <a:avLst/>
            <a:gdLst>
              <a:gd name="connsiteX0" fmla="*/ 60593 w 132838"/>
              <a:gd name="connsiteY0" fmla="*/ 143325 h 143325"/>
              <a:gd name="connsiteX1" fmla="*/ 0 w 132838"/>
              <a:gd name="connsiteY1" fmla="*/ 143325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5"/>
                </a:moveTo>
                <a:lnTo>
                  <a:pt x="0" y="143325"/>
                </a:lnTo>
                <a:lnTo>
                  <a:pt x="71080" y="72245"/>
                </a:lnTo>
                <a:lnTo>
                  <a:pt x="0" y="0"/>
                </a:lnTo>
                <a:lnTo>
                  <a:pt x="61758" y="0"/>
                </a:lnTo>
                <a:lnTo>
                  <a:pt x="132838" y="69915"/>
                </a:lnTo>
                <a:close/>
              </a:path>
            </a:pathLst>
          </a:custGeom>
          <a:solidFill>
            <a:srgbClr val="EEF2F5"/>
          </a:solidFill>
          <a:ln w="11643" cap="flat">
            <a:noFill/>
            <a:prstDash val="solid"/>
            <a:miter/>
          </a:ln>
        </p:spPr>
        <p:txBody>
          <a:bodyPr rtlCol="0" anchor="ctr"/>
          <a:lstStyle/>
          <a:p>
            <a:endParaRPr lang="de-DE"/>
          </a:p>
        </p:txBody>
      </p:sp>
      <p:sp>
        <p:nvSpPr>
          <p:cNvPr id="142" name="Freihandform: Form 141">
            <a:extLst>
              <a:ext uri="{FF2B5EF4-FFF2-40B4-BE49-F238E27FC236}">
                <a16:creationId xmlns:a16="http://schemas.microsoft.com/office/drawing/2014/main" id="{B85C4BDF-6D64-4824-8953-A0E638E3F3C2}"/>
              </a:ext>
            </a:extLst>
          </p:cNvPr>
          <p:cNvSpPr/>
          <p:nvPr/>
        </p:nvSpPr>
        <p:spPr>
          <a:xfrm>
            <a:off x="7335247" y="4877077"/>
            <a:ext cx="132838" cy="143325"/>
          </a:xfrm>
          <a:custGeom>
            <a:avLst/>
            <a:gdLst>
              <a:gd name="connsiteX0" fmla="*/ 60593 w 132838"/>
              <a:gd name="connsiteY0" fmla="*/ 143325 h 143325"/>
              <a:gd name="connsiteX1" fmla="*/ 0 w 132838"/>
              <a:gd name="connsiteY1" fmla="*/ 143325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71080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5"/>
                </a:moveTo>
                <a:lnTo>
                  <a:pt x="0" y="143325"/>
                </a:lnTo>
                <a:lnTo>
                  <a:pt x="71080" y="72245"/>
                </a:lnTo>
                <a:lnTo>
                  <a:pt x="0" y="0"/>
                </a:lnTo>
                <a:lnTo>
                  <a:pt x="61758" y="0"/>
                </a:lnTo>
                <a:lnTo>
                  <a:pt x="132838" y="71080"/>
                </a:lnTo>
                <a:close/>
              </a:path>
            </a:pathLst>
          </a:custGeom>
          <a:solidFill>
            <a:srgbClr val="EEF2F5"/>
          </a:solidFill>
          <a:ln w="11643" cap="flat">
            <a:noFill/>
            <a:prstDash val="solid"/>
            <a:miter/>
          </a:ln>
        </p:spPr>
        <p:txBody>
          <a:bodyPr rtlCol="0" anchor="ctr"/>
          <a:lstStyle/>
          <a:p>
            <a:endParaRPr lang="de-DE"/>
          </a:p>
        </p:txBody>
      </p:sp>
      <p:sp>
        <p:nvSpPr>
          <p:cNvPr id="159" name="Freihandform: Form 158">
            <a:extLst>
              <a:ext uri="{FF2B5EF4-FFF2-40B4-BE49-F238E27FC236}">
                <a16:creationId xmlns:a16="http://schemas.microsoft.com/office/drawing/2014/main" id="{847A43FF-6A21-4A02-A0F3-7A25CB4C4A3E}"/>
              </a:ext>
            </a:extLst>
          </p:cNvPr>
          <p:cNvSpPr/>
          <p:nvPr/>
        </p:nvSpPr>
        <p:spPr>
          <a:xfrm>
            <a:off x="7335247" y="5232478"/>
            <a:ext cx="132838" cy="143325"/>
          </a:xfrm>
          <a:custGeom>
            <a:avLst/>
            <a:gdLst>
              <a:gd name="connsiteX0" fmla="*/ 60593 w 132838"/>
              <a:gd name="connsiteY0" fmla="*/ 143325 h 143325"/>
              <a:gd name="connsiteX1" fmla="*/ 0 w 132838"/>
              <a:gd name="connsiteY1" fmla="*/ 143325 h 143325"/>
              <a:gd name="connsiteX2" fmla="*/ 71080 w 132838"/>
              <a:gd name="connsiteY2" fmla="*/ 72246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5"/>
                </a:moveTo>
                <a:lnTo>
                  <a:pt x="0" y="143325"/>
                </a:lnTo>
                <a:lnTo>
                  <a:pt x="71080" y="72246"/>
                </a:lnTo>
                <a:lnTo>
                  <a:pt x="0" y="0"/>
                </a:lnTo>
                <a:lnTo>
                  <a:pt x="61758" y="0"/>
                </a:lnTo>
                <a:lnTo>
                  <a:pt x="132838" y="69915"/>
                </a:lnTo>
                <a:close/>
              </a:path>
            </a:pathLst>
          </a:custGeom>
          <a:solidFill>
            <a:srgbClr val="EEF2F5"/>
          </a:solidFill>
          <a:ln w="11643" cap="flat">
            <a:noFill/>
            <a:prstDash val="solid"/>
            <a:miter/>
          </a:ln>
        </p:spPr>
        <p:txBody>
          <a:bodyPr rtlCol="0" anchor="ctr"/>
          <a:lstStyle/>
          <a:p>
            <a:endParaRPr lang="de-DE"/>
          </a:p>
        </p:txBody>
      </p:sp>
      <p:sp>
        <p:nvSpPr>
          <p:cNvPr id="176" name="Freihandform: Form 175">
            <a:extLst>
              <a:ext uri="{FF2B5EF4-FFF2-40B4-BE49-F238E27FC236}">
                <a16:creationId xmlns:a16="http://schemas.microsoft.com/office/drawing/2014/main" id="{5F6F18CA-B559-43C7-A028-9927FEF76A9E}"/>
              </a:ext>
            </a:extLst>
          </p:cNvPr>
          <p:cNvSpPr/>
          <p:nvPr/>
        </p:nvSpPr>
        <p:spPr>
          <a:xfrm>
            <a:off x="7335247" y="5586713"/>
            <a:ext cx="132838" cy="143325"/>
          </a:xfrm>
          <a:custGeom>
            <a:avLst/>
            <a:gdLst>
              <a:gd name="connsiteX0" fmla="*/ 60593 w 132838"/>
              <a:gd name="connsiteY0" fmla="*/ 143326 h 143325"/>
              <a:gd name="connsiteX1" fmla="*/ 0 w 132838"/>
              <a:gd name="connsiteY1" fmla="*/ 143326 h 143325"/>
              <a:gd name="connsiteX2" fmla="*/ 71080 w 132838"/>
              <a:gd name="connsiteY2" fmla="*/ 72246 h 143325"/>
              <a:gd name="connsiteX3" fmla="*/ 0 w 132838"/>
              <a:gd name="connsiteY3" fmla="*/ 0 h 143325"/>
              <a:gd name="connsiteX4" fmla="*/ 61758 w 132838"/>
              <a:gd name="connsiteY4" fmla="*/ 0 h 143325"/>
              <a:gd name="connsiteX5" fmla="*/ 132838 w 132838"/>
              <a:gd name="connsiteY5" fmla="*/ 71080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6"/>
                </a:moveTo>
                <a:lnTo>
                  <a:pt x="0" y="143326"/>
                </a:lnTo>
                <a:lnTo>
                  <a:pt x="71080" y="72246"/>
                </a:lnTo>
                <a:lnTo>
                  <a:pt x="0" y="0"/>
                </a:lnTo>
                <a:lnTo>
                  <a:pt x="61758" y="0"/>
                </a:lnTo>
                <a:lnTo>
                  <a:pt x="132838" y="71080"/>
                </a:lnTo>
                <a:close/>
              </a:path>
            </a:pathLst>
          </a:custGeom>
          <a:solidFill>
            <a:srgbClr val="EEF2F5"/>
          </a:solidFill>
          <a:ln w="11643" cap="flat">
            <a:noFill/>
            <a:prstDash val="solid"/>
            <a:miter/>
          </a:ln>
        </p:spPr>
        <p:txBody>
          <a:bodyPr rtlCol="0" anchor="ctr"/>
          <a:lstStyle/>
          <a:p>
            <a:endParaRPr lang="de-DE"/>
          </a:p>
        </p:txBody>
      </p:sp>
      <p:sp>
        <p:nvSpPr>
          <p:cNvPr id="193" name="Freihandform: Form 192">
            <a:extLst>
              <a:ext uri="{FF2B5EF4-FFF2-40B4-BE49-F238E27FC236}">
                <a16:creationId xmlns:a16="http://schemas.microsoft.com/office/drawing/2014/main" id="{CA0955FD-7B34-49C4-9B74-6CBFAD6AC0D2}"/>
              </a:ext>
            </a:extLst>
          </p:cNvPr>
          <p:cNvSpPr/>
          <p:nvPr/>
        </p:nvSpPr>
        <p:spPr>
          <a:xfrm>
            <a:off x="7335247" y="5942114"/>
            <a:ext cx="132838" cy="143325"/>
          </a:xfrm>
          <a:custGeom>
            <a:avLst/>
            <a:gdLst>
              <a:gd name="connsiteX0" fmla="*/ 60593 w 132838"/>
              <a:gd name="connsiteY0" fmla="*/ 143326 h 143325"/>
              <a:gd name="connsiteX1" fmla="*/ 0 w 132838"/>
              <a:gd name="connsiteY1" fmla="*/ 143326 h 143325"/>
              <a:gd name="connsiteX2" fmla="*/ 71080 w 132838"/>
              <a:gd name="connsiteY2" fmla="*/ 72246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6"/>
                </a:moveTo>
                <a:lnTo>
                  <a:pt x="0" y="143326"/>
                </a:lnTo>
                <a:lnTo>
                  <a:pt x="71080" y="72246"/>
                </a:lnTo>
                <a:lnTo>
                  <a:pt x="0" y="0"/>
                </a:lnTo>
                <a:lnTo>
                  <a:pt x="61758" y="0"/>
                </a:lnTo>
                <a:lnTo>
                  <a:pt x="132838" y="69915"/>
                </a:lnTo>
                <a:close/>
              </a:path>
            </a:pathLst>
          </a:custGeom>
          <a:solidFill>
            <a:srgbClr val="EEF2F5"/>
          </a:solidFill>
          <a:ln w="11643" cap="flat">
            <a:noFill/>
            <a:prstDash val="solid"/>
            <a:miter/>
          </a:ln>
        </p:spPr>
        <p:txBody>
          <a:bodyPr rtlCol="0" anchor="ctr"/>
          <a:lstStyle/>
          <a:p>
            <a:endParaRPr lang="de-DE"/>
          </a:p>
        </p:txBody>
      </p:sp>
      <p:sp>
        <p:nvSpPr>
          <p:cNvPr id="210" name="Freihandform: Form 209">
            <a:extLst>
              <a:ext uri="{FF2B5EF4-FFF2-40B4-BE49-F238E27FC236}">
                <a16:creationId xmlns:a16="http://schemas.microsoft.com/office/drawing/2014/main" id="{D68D90D4-26AA-4477-A0C9-8263189B58F9}"/>
              </a:ext>
            </a:extLst>
          </p:cNvPr>
          <p:cNvSpPr/>
          <p:nvPr/>
        </p:nvSpPr>
        <p:spPr>
          <a:xfrm>
            <a:off x="7335247" y="6296349"/>
            <a:ext cx="132838" cy="143325"/>
          </a:xfrm>
          <a:custGeom>
            <a:avLst/>
            <a:gdLst>
              <a:gd name="connsiteX0" fmla="*/ 60593 w 132838"/>
              <a:gd name="connsiteY0" fmla="*/ 143326 h 143325"/>
              <a:gd name="connsiteX1" fmla="*/ 0 w 132838"/>
              <a:gd name="connsiteY1" fmla="*/ 143326 h 143325"/>
              <a:gd name="connsiteX2" fmla="*/ 71080 w 132838"/>
              <a:gd name="connsiteY2" fmla="*/ 72246 h 143325"/>
              <a:gd name="connsiteX3" fmla="*/ 0 w 132838"/>
              <a:gd name="connsiteY3" fmla="*/ 0 h 143325"/>
              <a:gd name="connsiteX4" fmla="*/ 61758 w 132838"/>
              <a:gd name="connsiteY4" fmla="*/ 0 h 143325"/>
              <a:gd name="connsiteX5" fmla="*/ 132838 w 132838"/>
              <a:gd name="connsiteY5" fmla="*/ 71080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6"/>
                </a:moveTo>
                <a:lnTo>
                  <a:pt x="0" y="143326"/>
                </a:lnTo>
                <a:lnTo>
                  <a:pt x="71080" y="72246"/>
                </a:lnTo>
                <a:lnTo>
                  <a:pt x="0" y="0"/>
                </a:lnTo>
                <a:lnTo>
                  <a:pt x="61758" y="0"/>
                </a:lnTo>
                <a:lnTo>
                  <a:pt x="132838" y="71080"/>
                </a:lnTo>
                <a:close/>
              </a:path>
            </a:pathLst>
          </a:custGeom>
          <a:solidFill>
            <a:srgbClr val="EEF2F5"/>
          </a:solidFill>
          <a:ln w="11643" cap="flat">
            <a:noFill/>
            <a:prstDash val="solid"/>
            <a:miter/>
          </a:ln>
        </p:spPr>
        <p:txBody>
          <a:bodyPr rtlCol="0" anchor="ctr"/>
          <a:lstStyle/>
          <a:p>
            <a:endParaRPr lang="de-DE"/>
          </a:p>
        </p:txBody>
      </p:sp>
      <p:sp>
        <p:nvSpPr>
          <p:cNvPr id="226" name="Freihandform: Form 225">
            <a:extLst>
              <a:ext uri="{FF2B5EF4-FFF2-40B4-BE49-F238E27FC236}">
                <a16:creationId xmlns:a16="http://schemas.microsoft.com/office/drawing/2014/main" id="{97640BFA-E4AC-482E-B26E-9BE22B98A669}"/>
              </a:ext>
            </a:extLst>
          </p:cNvPr>
          <p:cNvSpPr/>
          <p:nvPr/>
        </p:nvSpPr>
        <p:spPr>
          <a:xfrm>
            <a:off x="7335247" y="6651749"/>
            <a:ext cx="132838" cy="143325"/>
          </a:xfrm>
          <a:custGeom>
            <a:avLst/>
            <a:gdLst>
              <a:gd name="connsiteX0" fmla="*/ 60593 w 132838"/>
              <a:gd name="connsiteY0" fmla="*/ 143326 h 143325"/>
              <a:gd name="connsiteX1" fmla="*/ 0 w 132838"/>
              <a:gd name="connsiteY1" fmla="*/ 143326 h 143325"/>
              <a:gd name="connsiteX2" fmla="*/ 71080 w 132838"/>
              <a:gd name="connsiteY2" fmla="*/ 72246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6"/>
                </a:moveTo>
                <a:lnTo>
                  <a:pt x="0" y="143326"/>
                </a:lnTo>
                <a:lnTo>
                  <a:pt x="71080" y="72246"/>
                </a:lnTo>
                <a:lnTo>
                  <a:pt x="0" y="0"/>
                </a:lnTo>
                <a:lnTo>
                  <a:pt x="61758" y="0"/>
                </a:lnTo>
                <a:lnTo>
                  <a:pt x="132838" y="69915"/>
                </a:lnTo>
                <a:close/>
              </a:path>
            </a:pathLst>
          </a:custGeom>
          <a:solidFill>
            <a:srgbClr val="EEF2F5"/>
          </a:solidFill>
          <a:ln w="11643" cap="flat">
            <a:noFill/>
            <a:prstDash val="solid"/>
            <a:miter/>
          </a:ln>
        </p:spPr>
        <p:txBody>
          <a:bodyPr rtlCol="0" anchor="ctr"/>
          <a:lstStyle/>
          <a:p>
            <a:endParaRPr lang="de-DE"/>
          </a:p>
        </p:txBody>
      </p:sp>
      <p:sp>
        <p:nvSpPr>
          <p:cNvPr id="15" name="Freihandform: Form 14">
            <a:extLst>
              <a:ext uri="{FF2B5EF4-FFF2-40B4-BE49-F238E27FC236}">
                <a16:creationId xmlns:a16="http://schemas.microsoft.com/office/drawing/2014/main" id="{F336D4C3-F14F-4477-B07F-E766912B6926}"/>
              </a:ext>
            </a:extLst>
          </p:cNvPr>
          <p:cNvSpPr/>
          <p:nvPr/>
        </p:nvSpPr>
        <p:spPr>
          <a:xfrm>
            <a:off x="7682491" y="2029211"/>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30" name="Freihandform: Form 29">
            <a:extLst>
              <a:ext uri="{FF2B5EF4-FFF2-40B4-BE49-F238E27FC236}">
                <a16:creationId xmlns:a16="http://schemas.microsoft.com/office/drawing/2014/main" id="{34D4DA1D-8EE2-4188-AE9C-9791ECBC66C5}"/>
              </a:ext>
            </a:extLst>
          </p:cNvPr>
          <p:cNvSpPr/>
          <p:nvPr/>
        </p:nvSpPr>
        <p:spPr>
          <a:xfrm>
            <a:off x="7682491" y="2384612"/>
            <a:ext cx="147986" cy="160804"/>
          </a:xfrm>
          <a:custGeom>
            <a:avLst/>
            <a:gdLst>
              <a:gd name="connsiteX0" fmla="*/ 67584 w 147986"/>
              <a:gd name="connsiteY0" fmla="*/ 160804 h 160804"/>
              <a:gd name="connsiteX1" fmla="*/ 0 w 147986"/>
              <a:gd name="connsiteY1" fmla="*/ 160804 h 160804"/>
              <a:gd name="connsiteX2" fmla="*/ 79237 w 147986"/>
              <a:gd name="connsiteY2" fmla="*/ 80402 h 160804"/>
              <a:gd name="connsiteX3" fmla="*/ 0 w 147986"/>
              <a:gd name="connsiteY3" fmla="*/ 0 h 160804"/>
              <a:gd name="connsiteX4" fmla="*/ 68750 w 147986"/>
              <a:gd name="connsiteY4" fmla="*/ 0 h 160804"/>
              <a:gd name="connsiteX5" fmla="*/ 147986 w 147986"/>
              <a:gd name="connsiteY5" fmla="*/ 79237 h 160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0804">
                <a:moveTo>
                  <a:pt x="67584" y="160804"/>
                </a:moveTo>
                <a:lnTo>
                  <a:pt x="0" y="160804"/>
                </a:lnTo>
                <a:lnTo>
                  <a:pt x="79237" y="80402"/>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46" name="Freihandform: Form 45">
            <a:extLst>
              <a:ext uri="{FF2B5EF4-FFF2-40B4-BE49-F238E27FC236}">
                <a16:creationId xmlns:a16="http://schemas.microsoft.com/office/drawing/2014/main" id="{ADAD204A-493D-4101-A53B-41343EE7F6DE}"/>
              </a:ext>
            </a:extLst>
          </p:cNvPr>
          <p:cNvSpPr/>
          <p:nvPr/>
        </p:nvSpPr>
        <p:spPr>
          <a:xfrm>
            <a:off x="7682491" y="2738847"/>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62" name="Freihandform: Form 61">
            <a:extLst>
              <a:ext uri="{FF2B5EF4-FFF2-40B4-BE49-F238E27FC236}">
                <a16:creationId xmlns:a16="http://schemas.microsoft.com/office/drawing/2014/main" id="{0605F07B-22A0-4571-A9A8-F5DA3A1756E5}"/>
              </a:ext>
            </a:extLst>
          </p:cNvPr>
          <p:cNvSpPr/>
          <p:nvPr/>
        </p:nvSpPr>
        <p:spPr>
          <a:xfrm>
            <a:off x="7682491" y="3094248"/>
            <a:ext cx="147986" cy="160804"/>
          </a:xfrm>
          <a:custGeom>
            <a:avLst/>
            <a:gdLst>
              <a:gd name="connsiteX0" fmla="*/ 67584 w 147986"/>
              <a:gd name="connsiteY0" fmla="*/ 160804 h 160804"/>
              <a:gd name="connsiteX1" fmla="*/ 0 w 147986"/>
              <a:gd name="connsiteY1" fmla="*/ 160804 h 160804"/>
              <a:gd name="connsiteX2" fmla="*/ 79237 w 147986"/>
              <a:gd name="connsiteY2" fmla="*/ 81567 h 160804"/>
              <a:gd name="connsiteX3" fmla="*/ 0 w 147986"/>
              <a:gd name="connsiteY3" fmla="*/ 0 h 160804"/>
              <a:gd name="connsiteX4" fmla="*/ 68750 w 147986"/>
              <a:gd name="connsiteY4" fmla="*/ 0 h 160804"/>
              <a:gd name="connsiteX5" fmla="*/ 147986 w 147986"/>
              <a:gd name="connsiteY5" fmla="*/ 79237 h 160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0804">
                <a:moveTo>
                  <a:pt x="67584" y="160804"/>
                </a:moveTo>
                <a:lnTo>
                  <a:pt x="0" y="160804"/>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78" name="Freihandform: Form 77">
            <a:extLst>
              <a:ext uri="{FF2B5EF4-FFF2-40B4-BE49-F238E27FC236}">
                <a16:creationId xmlns:a16="http://schemas.microsoft.com/office/drawing/2014/main" id="{3EC20671-A11E-46B3-BAE0-32B973030757}"/>
              </a:ext>
            </a:extLst>
          </p:cNvPr>
          <p:cNvSpPr/>
          <p:nvPr/>
        </p:nvSpPr>
        <p:spPr>
          <a:xfrm>
            <a:off x="7682491" y="3448483"/>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94" name="Freihandform: Form 93">
            <a:extLst>
              <a:ext uri="{FF2B5EF4-FFF2-40B4-BE49-F238E27FC236}">
                <a16:creationId xmlns:a16="http://schemas.microsoft.com/office/drawing/2014/main" id="{A30F4723-63CF-4B8C-9113-E2531A8EBC72}"/>
              </a:ext>
            </a:extLst>
          </p:cNvPr>
          <p:cNvSpPr/>
          <p:nvPr/>
        </p:nvSpPr>
        <p:spPr>
          <a:xfrm>
            <a:off x="7682491" y="3803883"/>
            <a:ext cx="147986" cy="160804"/>
          </a:xfrm>
          <a:custGeom>
            <a:avLst/>
            <a:gdLst>
              <a:gd name="connsiteX0" fmla="*/ 67584 w 147986"/>
              <a:gd name="connsiteY0" fmla="*/ 160804 h 160804"/>
              <a:gd name="connsiteX1" fmla="*/ 0 w 147986"/>
              <a:gd name="connsiteY1" fmla="*/ 160804 h 160804"/>
              <a:gd name="connsiteX2" fmla="*/ 79237 w 147986"/>
              <a:gd name="connsiteY2" fmla="*/ 81567 h 160804"/>
              <a:gd name="connsiteX3" fmla="*/ 0 w 147986"/>
              <a:gd name="connsiteY3" fmla="*/ 0 h 160804"/>
              <a:gd name="connsiteX4" fmla="*/ 68750 w 147986"/>
              <a:gd name="connsiteY4" fmla="*/ 0 h 160804"/>
              <a:gd name="connsiteX5" fmla="*/ 147986 w 147986"/>
              <a:gd name="connsiteY5" fmla="*/ 79237 h 160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0804">
                <a:moveTo>
                  <a:pt x="67584" y="160804"/>
                </a:moveTo>
                <a:lnTo>
                  <a:pt x="0" y="160804"/>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110" name="Freihandform: Form 109">
            <a:extLst>
              <a:ext uri="{FF2B5EF4-FFF2-40B4-BE49-F238E27FC236}">
                <a16:creationId xmlns:a16="http://schemas.microsoft.com/office/drawing/2014/main" id="{0B073543-0431-463D-BD2B-670537378FD9}"/>
              </a:ext>
            </a:extLst>
          </p:cNvPr>
          <p:cNvSpPr/>
          <p:nvPr/>
        </p:nvSpPr>
        <p:spPr>
          <a:xfrm>
            <a:off x="7682491" y="4158119"/>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126" name="Freihandform: Form 125">
            <a:extLst>
              <a:ext uri="{FF2B5EF4-FFF2-40B4-BE49-F238E27FC236}">
                <a16:creationId xmlns:a16="http://schemas.microsoft.com/office/drawing/2014/main" id="{D645C434-6F6D-4B2F-9987-6BA4C184BDAD}"/>
              </a:ext>
            </a:extLst>
          </p:cNvPr>
          <p:cNvSpPr/>
          <p:nvPr/>
        </p:nvSpPr>
        <p:spPr>
          <a:xfrm>
            <a:off x="7682491" y="4513520"/>
            <a:ext cx="147986" cy="160804"/>
          </a:xfrm>
          <a:custGeom>
            <a:avLst/>
            <a:gdLst>
              <a:gd name="connsiteX0" fmla="*/ 67584 w 147986"/>
              <a:gd name="connsiteY0" fmla="*/ 160804 h 160804"/>
              <a:gd name="connsiteX1" fmla="*/ 0 w 147986"/>
              <a:gd name="connsiteY1" fmla="*/ 160804 h 160804"/>
              <a:gd name="connsiteX2" fmla="*/ 79237 w 147986"/>
              <a:gd name="connsiteY2" fmla="*/ 81567 h 160804"/>
              <a:gd name="connsiteX3" fmla="*/ 0 w 147986"/>
              <a:gd name="connsiteY3" fmla="*/ 0 h 160804"/>
              <a:gd name="connsiteX4" fmla="*/ 68750 w 147986"/>
              <a:gd name="connsiteY4" fmla="*/ 0 h 160804"/>
              <a:gd name="connsiteX5" fmla="*/ 147986 w 147986"/>
              <a:gd name="connsiteY5" fmla="*/ 79237 h 160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0804">
                <a:moveTo>
                  <a:pt x="67584" y="160804"/>
                </a:moveTo>
                <a:lnTo>
                  <a:pt x="0" y="160804"/>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143" name="Freihandform: Form 142">
            <a:extLst>
              <a:ext uri="{FF2B5EF4-FFF2-40B4-BE49-F238E27FC236}">
                <a16:creationId xmlns:a16="http://schemas.microsoft.com/office/drawing/2014/main" id="{78C199F1-38D6-4003-B23F-FB1D901A96D0}"/>
              </a:ext>
            </a:extLst>
          </p:cNvPr>
          <p:cNvSpPr/>
          <p:nvPr/>
        </p:nvSpPr>
        <p:spPr>
          <a:xfrm>
            <a:off x="7682491" y="4867755"/>
            <a:ext cx="147986" cy="161969"/>
          </a:xfrm>
          <a:custGeom>
            <a:avLst/>
            <a:gdLst>
              <a:gd name="connsiteX0" fmla="*/ 67584 w 147986"/>
              <a:gd name="connsiteY0" fmla="*/ 161970 h 161969"/>
              <a:gd name="connsiteX1" fmla="*/ 0 w 147986"/>
              <a:gd name="connsiteY1" fmla="*/ 161970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70"/>
                </a:moveTo>
                <a:lnTo>
                  <a:pt x="0" y="161970"/>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160" name="Freihandform: Form 159">
            <a:extLst>
              <a:ext uri="{FF2B5EF4-FFF2-40B4-BE49-F238E27FC236}">
                <a16:creationId xmlns:a16="http://schemas.microsoft.com/office/drawing/2014/main" id="{88794CE9-C4AD-447D-ADEB-D45D8252050B}"/>
              </a:ext>
            </a:extLst>
          </p:cNvPr>
          <p:cNvSpPr/>
          <p:nvPr/>
        </p:nvSpPr>
        <p:spPr>
          <a:xfrm>
            <a:off x="7682491" y="5223156"/>
            <a:ext cx="147986" cy="160804"/>
          </a:xfrm>
          <a:custGeom>
            <a:avLst/>
            <a:gdLst>
              <a:gd name="connsiteX0" fmla="*/ 67584 w 147986"/>
              <a:gd name="connsiteY0" fmla="*/ 160804 h 160804"/>
              <a:gd name="connsiteX1" fmla="*/ 0 w 147986"/>
              <a:gd name="connsiteY1" fmla="*/ 160804 h 160804"/>
              <a:gd name="connsiteX2" fmla="*/ 79237 w 147986"/>
              <a:gd name="connsiteY2" fmla="*/ 81567 h 160804"/>
              <a:gd name="connsiteX3" fmla="*/ 0 w 147986"/>
              <a:gd name="connsiteY3" fmla="*/ 0 h 160804"/>
              <a:gd name="connsiteX4" fmla="*/ 68750 w 147986"/>
              <a:gd name="connsiteY4" fmla="*/ 0 h 160804"/>
              <a:gd name="connsiteX5" fmla="*/ 147986 w 147986"/>
              <a:gd name="connsiteY5" fmla="*/ 79237 h 160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0804">
                <a:moveTo>
                  <a:pt x="67584" y="160804"/>
                </a:moveTo>
                <a:lnTo>
                  <a:pt x="0" y="160804"/>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177" name="Freihandform: Form 176">
            <a:extLst>
              <a:ext uri="{FF2B5EF4-FFF2-40B4-BE49-F238E27FC236}">
                <a16:creationId xmlns:a16="http://schemas.microsoft.com/office/drawing/2014/main" id="{FB39A232-82A2-4ED2-B532-B8247CC2812D}"/>
              </a:ext>
            </a:extLst>
          </p:cNvPr>
          <p:cNvSpPr/>
          <p:nvPr/>
        </p:nvSpPr>
        <p:spPr>
          <a:xfrm>
            <a:off x="7682491" y="5577391"/>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194" name="Freihandform: Form 193">
            <a:extLst>
              <a:ext uri="{FF2B5EF4-FFF2-40B4-BE49-F238E27FC236}">
                <a16:creationId xmlns:a16="http://schemas.microsoft.com/office/drawing/2014/main" id="{B5F8FABB-7522-42DB-BB0F-06A4420A79B1}"/>
              </a:ext>
            </a:extLst>
          </p:cNvPr>
          <p:cNvSpPr/>
          <p:nvPr/>
        </p:nvSpPr>
        <p:spPr>
          <a:xfrm>
            <a:off x="7682491" y="5932792"/>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211" name="Freihandform: Form 210">
            <a:extLst>
              <a:ext uri="{FF2B5EF4-FFF2-40B4-BE49-F238E27FC236}">
                <a16:creationId xmlns:a16="http://schemas.microsoft.com/office/drawing/2014/main" id="{D1F73513-4E28-4A8A-BEBF-47911EDB513A}"/>
              </a:ext>
            </a:extLst>
          </p:cNvPr>
          <p:cNvSpPr/>
          <p:nvPr/>
        </p:nvSpPr>
        <p:spPr>
          <a:xfrm>
            <a:off x="7682491" y="6287027"/>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80402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80402"/>
                </a:lnTo>
                <a:close/>
              </a:path>
            </a:pathLst>
          </a:custGeom>
          <a:solidFill>
            <a:srgbClr val="EEF2F5"/>
          </a:solidFill>
          <a:ln w="11643" cap="flat">
            <a:noFill/>
            <a:prstDash val="solid"/>
            <a:miter/>
          </a:ln>
        </p:spPr>
        <p:txBody>
          <a:bodyPr rtlCol="0" anchor="ctr"/>
          <a:lstStyle/>
          <a:p>
            <a:endParaRPr lang="de-DE"/>
          </a:p>
        </p:txBody>
      </p:sp>
      <p:sp>
        <p:nvSpPr>
          <p:cNvPr id="227" name="Freihandform: Form 226">
            <a:extLst>
              <a:ext uri="{FF2B5EF4-FFF2-40B4-BE49-F238E27FC236}">
                <a16:creationId xmlns:a16="http://schemas.microsoft.com/office/drawing/2014/main" id="{4D6DE079-31CD-44BD-8304-6E69A15E3218}"/>
              </a:ext>
            </a:extLst>
          </p:cNvPr>
          <p:cNvSpPr/>
          <p:nvPr/>
        </p:nvSpPr>
        <p:spPr>
          <a:xfrm>
            <a:off x="7682491" y="6642428"/>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16" name="Freihandform: Form 15">
            <a:extLst>
              <a:ext uri="{FF2B5EF4-FFF2-40B4-BE49-F238E27FC236}">
                <a16:creationId xmlns:a16="http://schemas.microsoft.com/office/drawing/2014/main" id="{AA2702D7-FFC1-412B-9F48-632A7CE520AC}"/>
              </a:ext>
            </a:extLst>
          </p:cNvPr>
          <p:cNvSpPr/>
          <p:nvPr/>
        </p:nvSpPr>
        <p:spPr>
          <a:xfrm>
            <a:off x="8028570" y="2019889"/>
            <a:ext cx="165465" cy="179448"/>
          </a:xfrm>
          <a:custGeom>
            <a:avLst/>
            <a:gdLst>
              <a:gd name="connsiteX0" fmla="*/ 75741 w 165465"/>
              <a:gd name="connsiteY0" fmla="*/ 179448 h 179448"/>
              <a:gd name="connsiteX1" fmla="*/ 0 w 165465"/>
              <a:gd name="connsiteY1" fmla="*/ 179448 h 179448"/>
              <a:gd name="connsiteX2" fmla="*/ 88559 w 165465"/>
              <a:gd name="connsiteY2" fmla="*/ 90889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31" name="Freihandform: Form 30">
            <a:extLst>
              <a:ext uri="{FF2B5EF4-FFF2-40B4-BE49-F238E27FC236}">
                <a16:creationId xmlns:a16="http://schemas.microsoft.com/office/drawing/2014/main" id="{648C99A7-3678-4CC0-AF16-855FE8DF6A83}"/>
              </a:ext>
            </a:extLst>
          </p:cNvPr>
          <p:cNvSpPr/>
          <p:nvPr/>
        </p:nvSpPr>
        <p:spPr>
          <a:xfrm>
            <a:off x="8028570" y="2375290"/>
            <a:ext cx="165465" cy="179448"/>
          </a:xfrm>
          <a:custGeom>
            <a:avLst/>
            <a:gdLst>
              <a:gd name="connsiteX0" fmla="*/ 75741 w 165465"/>
              <a:gd name="connsiteY0" fmla="*/ 179448 h 179448"/>
              <a:gd name="connsiteX1" fmla="*/ 0 w 165465"/>
              <a:gd name="connsiteY1" fmla="*/ 179448 h 179448"/>
              <a:gd name="connsiteX2" fmla="*/ 88559 w 165465"/>
              <a:gd name="connsiteY2" fmla="*/ 90889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47" name="Freihandform: Form 46">
            <a:extLst>
              <a:ext uri="{FF2B5EF4-FFF2-40B4-BE49-F238E27FC236}">
                <a16:creationId xmlns:a16="http://schemas.microsoft.com/office/drawing/2014/main" id="{0E3F6CC1-3FE3-4CB0-8193-8A547CA4FB4E}"/>
              </a:ext>
            </a:extLst>
          </p:cNvPr>
          <p:cNvSpPr/>
          <p:nvPr/>
        </p:nvSpPr>
        <p:spPr>
          <a:xfrm>
            <a:off x="8028570" y="2729525"/>
            <a:ext cx="165465" cy="179448"/>
          </a:xfrm>
          <a:custGeom>
            <a:avLst/>
            <a:gdLst>
              <a:gd name="connsiteX0" fmla="*/ 75741 w 165465"/>
              <a:gd name="connsiteY0" fmla="*/ 179448 h 179448"/>
              <a:gd name="connsiteX1" fmla="*/ 0 w 165465"/>
              <a:gd name="connsiteY1" fmla="*/ 179448 h 179448"/>
              <a:gd name="connsiteX2" fmla="*/ 88559 w 165465"/>
              <a:gd name="connsiteY2" fmla="*/ 90889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63" name="Freihandform: Form 62">
            <a:extLst>
              <a:ext uri="{FF2B5EF4-FFF2-40B4-BE49-F238E27FC236}">
                <a16:creationId xmlns:a16="http://schemas.microsoft.com/office/drawing/2014/main" id="{49D6FD09-D76C-4E44-8667-31EAE0B38FB7}"/>
              </a:ext>
            </a:extLst>
          </p:cNvPr>
          <p:cNvSpPr/>
          <p:nvPr/>
        </p:nvSpPr>
        <p:spPr>
          <a:xfrm>
            <a:off x="8028570" y="3084926"/>
            <a:ext cx="165465" cy="179448"/>
          </a:xfrm>
          <a:custGeom>
            <a:avLst/>
            <a:gdLst>
              <a:gd name="connsiteX0" fmla="*/ 75741 w 165465"/>
              <a:gd name="connsiteY0" fmla="*/ 179448 h 179448"/>
              <a:gd name="connsiteX1" fmla="*/ 0 w 165465"/>
              <a:gd name="connsiteY1" fmla="*/ 179448 h 179448"/>
              <a:gd name="connsiteX2" fmla="*/ 88559 w 165465"/>
              <a:gd name="connsiteY2" fmla="*/ 90889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79" name="Freihandform: Form 78">
            <a:extLst>
              <a:ext uri="{FF2B5EF4-FFF2-40B4-BE49-F238E27FC236}">
                <a16:creationId xmlns:a16="http://schemas.microsoft.com/office/drawing/2014/main" id="{92A2F530-7C00-4840-A5DC-15FB5F070BFC}"/>
              </a:ext>
            </a:extLst>
          </p:cNvPr>
          <p:cNvSpPr/>
          <p:nvPr/>
        </p:nvSpPr>
        <p:spPr>
          <a:xfrm>
            <a:off x="8028570" y="3439161"/>
            <a:ext cx="165465" cy="180613"/>
          </a:xfrm>
          <a:custGeom>
            <a:avLst/>
            <a:gdLst>
              <a:gd name="connsiteX0" fmla="*/ 75741 w 165465"/>
              <a:gd name="connsiteY0" fmla="*/ 180614 h 180613"/>
              <a:gd name="connsiteX1" fmla="*/ 0 w 165465"/>
              <a:gd name="connsiteY1" fmla="*/ 180614 h 180613"/>
              <a:gd name="connsiteX2" fmla="*/ 88559 w 165465"/>
              <a:gd name="connsiteY2" fmla="*/ 90889 h 180613"/>
              <a:gd name="connsiteX3" fmla="*/ 0 w 165465"/>
              <a:gd name="connsiteY3" fmla="*/ 0 h 180613"/>
              <a:gd name="connsiteX4" fmla="*/ 76906 w 165465"/>
              <a:gd name="connsiteY4" fmla="*/ 0 h 180613"/>
              <a:gd name="connsiteX5" fmla="*/ 165465 w 165465"/>
              <a:gd name="connsiteY5" fmla="*/ 88559 h 180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80613">
                <a:moveTo>
                  <a:pt x="75741" y="180614"/>
                </a:moveTo>
                <a:lnTo>
                  <a:pt x="0" y="180614"/>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95" name="Freihandform: Form 94">
            <a:extLst>
              <a:ext uri="{FF2B5EF4-FFF2-40B4-BE49-F238E27FC236}">
                <a16:creationId xmlns:a16="http://schemas.microsoft.com/office/drawing/2014/main" id="{6D26EBCB-8FC5-402E-8D7D-BBB49F3CFCC5}"/>
              </a:ext>
            </a:extLst>
          </p:cNvPr>
          <p:cNvSpPr/>
          <p:nvPr/>
        </p:nvSpPr>
        <p:spPr>
          <a:xfrm>
            <a:off x="8028570" y="3794562"/>
            <a:ext cx="165465" cy="179448"/>
          </a:xfrm>
          <a:custGeom>
            <a:avLst/>
            <a:gdLst>
              <a:gd name="connsiteX0" fmla="*/ 75741 w 165465"/>
              <a:gd name="connsiteY0" fmla="*/ 179448 h 179448"/>
              <a:gd name="connsiteX1" fmla="*/ 0 w 165465"/>
              <a:gd name="connsiteY1" fmla="*/ 179448 h 179448"/>
              <a:gd name="connsiteX2" fmla="*/ 88559 w 165465"/>
              <a:gd name="connsiteY2" fmla="*/ 90889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111" name="Freihandform: Form 110">
            <a:extLst>
              <a:ext uri="{FF2B5EF4-FFF2-40B4-BE49-F238E27FC236}">
                <a16:creationId xmlns:a16="http://schemas.microsoft.com/office/drawing/2014/main" id="{CCAAEEA3-A150-4712-ACA6-4E1DDCA0F471}"/>
              </a:ext>
            </a:extLst>
          </p:cNvPr>
          <p:cNvSpPr/>
          <p:nvPr/>
        </p:nvSpPr>
        <p:spPr>
          <a:xfrm>
            <a:off x="8028570" y="4148797"/>
            <a:ext cx="165465" cy="180613"/>
          </a:xfrm>
          <a:custGeom>
            <a:avLst/>
            <a:gdLst>
              <a:gd name="connsiteX0" fmla="*/ 75741 w 165465"/>
              <a:gd name="connsiteY0" fmla="*/ 180613 h 180613"/>
              <a:gd name="connsiteX1" fmla="*/ 0 w 165465"/>
              <a:gd name="connsiteY1" fmla="*/ 180613 h 180613"/>
              <a:gd name="connsiteX2" fmla="*/ 88559 w 165465"/>
              <a:gd name="connsiteY2" fmla="*/ 90889 h 180613"/>
              <a:gd name="connsiteX3" fmla="*/ 0 w 165465"/>
              <a:gd name="connsiteY3" fmla="*/ 0 h 180613"/>
              <a:gd name="connsiteX4" fmla="*/ 76906 w 165465"/>
              <a:gd name="connsiteY4" fmla="*/ 0 h 180613"/>
              <a:gd name="connsiteX5" fmla="*/ 165465 w 165465"/>
              <a:gd name="connsiteY5" fmla="*/ 88559 h 180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80613">
                <a:moveTo>
                  <a:pt x="75741" y="180613"/>
                </a:moveTo>
                <a:lnTo>
                  <a:pt x="0" y="180613"/>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127" name="Freihandform: Form 126">
            <a:extLst>
              <a:ext uri="{FF2B5EF4-FFF2-40B4-BE49-F238E27FC236}">
                <a16:creationId xmlns:a16="http://schemas.microsoft.com/office/drawing/2014/main" id="{4836B90C-7140-46A6-8E06-F6F443FAF626}"/>
              </a:ext>
            </a:extLst>
          </p:cNvPr>
          <p:cNvSpPr/>
          <p:nvPr/>
        </p:nvSpPr>
        <p:spPr>
          <a:xfrm>
            <a:off x="8028570" y="4504198"/>
            <a:ext cx="165465" cy="179448"/>
          </a:xfrm>
          <a:custGeom>
            <a:avLst/>
            <a:gdLst>
              <a:gd name="connsiteX0" fmla="*/ 75741 w 165465"/>
              <a:gd name="connsiteY0" fmla="*/ 179448 h 179448"/>
              <a:gd name="connsiteX1" fmla="*/ 0 w 165465"/>
              <a:gd name="connsiteY1" fmla="*/ 179448 h 179448"/>
              <a:gd name="connsiteX2" fmla="*/ 88559 w 165465"/>
              <a:gd name="connsiteY2" fmla="*/ 90889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144" name="Freihandform: Form 143">
            <a:extLst>
              <a:ext uri="{FF2B5EF4-FFF2-40B4-BE49-F238E27FC236}">
                <a16:creationId xmlns:a16="http://schemas.microsoft.com/office/drawing/2014/main" id="{3BBFE07D-6FDD-4238-9402-B3F281DCA33E}"/>
              </a:ext>
            </a:extLst>
          </p:cNvPr>
          <p:cNvSpPr/>
          <p:nvPr/>
        </p:nvSpPr>
        <p:spPr>
          <a:xfrm>
            <a:off x="8028570" y="4859598"/>
            <a:ext cx="165465" cy="179448"/>
          </a:xfrm>
          <a:custGeom>
            <a:avLst/>
            <a:gdLst>
              <a:gd name="connsiteX0" fmla="*/ 75741 w 165465"/>
              <a:gd name="connsiteY0" fmla="*/ 179448 h 179448"/>
              <a:gd name="connsiteX1" fmla="*/ 0 w 165465"/>
              <a:gd name="connsiteY1" fmla="*/ 179448 h 179448"/>
              <a:gd name="connsiteX2" fmla="*/ 88559 w 165465"/>
              <a:gd name="connsiteY2" fmla="*/ 89724 h 179448"/>
              <a:gd name="connsiteX3" fmla="*/ 0 w 165465"/>
              <a:gd name="connsiteY3" fmla="*/ 0 h 179448"/>
              <a:gd name="connsiteX4" fmla="*/ 76906 w 165465"/>
              <a:gd name="connsiteY4" fmla="*/ 0 h 179448"/>
              <a:gd name="connsiteX5" fmla="*/ 165465 w 165465"/>
              <a:gd name="connsiteY5" fmla="*/ 87394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89724"/>
                </a:lnTo>
                <a:lnTo>
                  <a:pt x="0" y="0"/>
                </a:lnTo>
                <a:lnTo>
                  <a:pt x="76906" y="0"/>
                </a:lnTo>
                <a:lnTo>
                  <a:pt x="165465" y="87394"/>
                </a:lnTo>
                <a:close/>
              </a:path>
            </a:pathLst>
          </a:custGeom>
          <a:solidFill>
            <a:srgbClr val="EEF2F5"/>
          </a:solidFill>
          <a:ln w="11643" cap="flat">
            <a:noFill/>
            <a:prstDash val="solid"/>
            <a:miter/>
          </a:ln>
        </p:spPr>
        <p:txBody>
          <a:bodyPr rtlCol="0" anchor="ctr"/>
          <a:lstStyle/>
          <a:p>
            <a:endParaRPr lang="de-DE"/>
          </a:p>
        </p:txBody>
      </p:sp>
      <p:sp>
        <p:nvSpPr>
          <p:cNvPr id="161" name="Freihandform: Form 160">
            <a:extLst>
              <a:ext uri="{FF2B5EF4-FFF2-40B4-BE49-F238E27FC236}">
                <a16:creationId xmlns:a16="http://schemas.microsoft.com/office/drawing/2014/main" id="{9F4D763A-5B43-4FAB-9B68-52F7F446418E}"/>
              </a:ext>
            </a:extLst>
          </p:cNvPr>
          <p:cNvSpPr/>
          <p:nvPr/>
        </p:nvSpPr>
        <p:spPr>
          <a:xfrm>
            <a:off x="8028570" y="5213834"/>
            <a:ext cx="165465" cy="179448"/>
          </a:xfrm>
          <a:custGeom>
            <a:avLst/>
            <a:gdLst>
              <a:gd name="connsiteX0" fmla="*/ 75741 w 165465"/>
              <a:gd name="connsiteY0" fmla="*/ 179448 h 179448"/>
              <a:gd name="connsiteX1" fmla="*/ 0 w 165465"/>
              <a:gd name="connsiteY1" fmla="*/ 179448 h 179448"/>
              <a:gd name="connsiteX2" fmla="*/ 88559 w 165465"/>
              <a:gd name="connsiteY2" fmla="*/ 90890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90"/>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178" name="Freihandform: Form 177">
            <a:extLst>
              <a:ext uri="{FF2B5EF4-FFF2-40B4-BE49-F238E27FC236}">
                <a16:creationId xmlns:a16="http://schemas.microsoft.com/office/drawing/2014/main" id="{41FB849E-381E-41F8-9504-EDE13E3D8055}"/>
              </a:ext>
            </a:extLst>
          </p:cNvPr>
          <p:cNvSpPr/>
          <p:nvPr/>
        </p:nvSpPr>
        <p:spPr>
          <a:xfrm>
            <a:off x="8028570" y="5569234"/>
            <a:ext cx="165465" cy="179448"/>
          </a:xfrm>
          <a:custGeom>
            <a:avLst/>
            <a:gdLst>
              <a:gd name="connsiteX0" fmla="*/ 75741 w 165465"/>
              <a:gd name="connsiteY0" fmla="*/ 179448 h 179448"/>
              <a:gd name="connsiteX1" fmla="*/ 0 w 165465"/>
              <a:gd name="connsiteY1" fmla="*/ 179448 h 179448"/>
              <a:gd name="connsiteX2" fmla="*/ 88559 w 165465"/>
              <a:gd name="connsiteY2" fmla="*/ 89724 h 179448"/>
              <a:gd name="connsiteX3" fmla="*/ 0 w 165465"/>
              <a:gd name="connsiteY3" fmla="*/ 0 h 179448"/>
              <a:gd name="connsiteX4" fmla="*/ 76906 w 165465"/>
              <a:gd name="connsiteY4" fmla="*/ 0 h 179448"/>
              <a:gd name="connsiteX5" fmla="*/ 165465 w 165465"/>
              <a:gd name="connsiteY5" fmla="*/ 87394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89724"/>
                </a:lnTo>
                <a:lnTo>
                  <a:pt x="0" y="0"/>
                </a:lnTo>
                <a:lnTo>
                  <a:pt x="76906" y="0"/>
                </a:lnTo>
                <a:lnTo>
                  <a:pt x="165465" y="87394"/>
                </a:lnTo>
                <a:close/>
              </a:path>
            </a:pathLst>
          </a:custGeom>
          <a:solidFill>
            <a:srgbClr val="EEF2F5"/>
          </a:solidFill>
          <a:ln w="11643" cap="flat">
            <a:noFill/>
            <a:prstDash val="solid"/>
            <a:miter/>
          </a:ln>
        </p:spPr>
        <p:txBody>
          <a:bodyPr rtlCol="0" anchor="ctr"/>
          <a:lstStyle/>
          <a:p>
            <a:endParaRPr lang="de-DE"/>
          </a:p>
        </p:txBody>
      </p:sp>
      <p:sp>
        <p:nvSpPr>
          <p:cNvPr id="195" name="Freihandform: Form 194">
            <a:extLst>
              <a:ext uri="{FF2B5EF4-FFF2-40B4-BE49-F238E27FC236}">
                <a16:creationId xmlns:a16="http://schemas.microsoft.com/office/drawing/2014/main" id="{5427778E-AAB9-42E1-BC64-75764828EDB0}"/>
              </a:ext>
            </a:extLst>
          </p:cNvPr>
          <p:cNvSpPr/>
          <p:nvPr/>
        </p:nvSpPr>
        <p:spPr>
          <a:xfrm>
            <a:off x="8028570" y="5923469"/>
            <a:ext cx="165465" cy="179448"/>
          </a:xfrm>
          <a:custGeom>
            <a:avLst/>
            <a:gdLst>
              <a:gd name="connsiteX0" fmla="*/ 75741 w 165465"/>
              <a:gd name="connsiteY0" fmla="*/ 179448 h 179448"/>
              <a:gd name="connsiteX1" fmla="*/ 0 w 165465"/>
              <a:gd name="connsiteY1" fmla="*/ 179448 h 179448"/>
              <a:gd name="connsiteX2" fmla="*/ 88559 w 165465"/>
              <a:gd name="connsiteY2" fmla="*/ 90890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90"/>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212" name="Freihandform: Form 211">
            <a:extLst>
              <a:ext uri="{FF2B5EF4-FFF2-40B4-BE49-F238E27FC236}">
                <a16:creationId xmlns:a16="http://schemas.microsoft.com/office/drawing/2014/main" id="{E72C56CD-8028-4274-A62F-5994CAF54FEF}"/>
              </a:ext>
            </a:extLst>
          </p:cNvPr>
          <p:cNvSpPr/>
          <p:nvPr/>
        </p:nvSpPr>
        <p:spPr>
          <a:xfrm>
            <a:off x="8028570" y="6278870"/>
            <a:ext cx="165465" cy="179448"/>
          </a:xfrm>
          <a:custGeom>
            <a:avLst/>
            <a:gdLst>
              <a:gd name="connsiteX0" fmla="*/ 75741 w 165465"/>
              <a:gd name="connsiteY0" fmla="*/ 179448 h 179448"/>
              <a:gd name="connsiteX1" fmla="*/ 0 w 165465"/>
              <a:gd name="connsiteY1" fmla="*/ 179448 h 179448"/>
              <a:gd name="connsiteX2" fmla="*/ 88559 w 165465"/>
              <a:gd name="connsiteY2" fmla="*/ 89724 h 179448"/>
              <a:gd name="connsiteX3" fmla="*/ 0 w 165465"/>
              <a:gd name="connsiteY3" fmla="*/ 0 h 179448"/>
              <a:gd name="connsiteX4" fmla="*/ 76906 w 165465"/>
              <a:gd name="connsiteY4" fmla="*/ 0 h 179448"/>
              <a:gd name="connsiteX5" fmla="*/ 165465 w 165465"/>
              <a:gd name="connsiteY5" fmla="*/ 87394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89724"/>
                </a:lnTo>
                <a:lnTo>
                  <a:pt x="0" y="0"/>
                </a:lnTo>
                <a:lnTo>
                  <a:pt x="76906" y="0"/>
                </a:lnTo>
                <a:lnTo>
                  <a:pt x="165465" y="87394"/>
                </a:lnTo>
                <a:close/>
              </a:path>
            </a:pathLst>
          </a:custGeom>
          <a:solidFill>
            <a:srgbClr val="EEF2F5"/>
          </a:solidFill>
          <a:ln w="11643" cap="flat">
            <a:noFill/>
            <a:prstDash val="solid"/>
            <a:miter/>
          </a:ln>
        </p:spPr>
        <p:txBody>
          <a:bodyPr rtlCol="0" anchor="ctr"/>
          <a:lstStyle/>
          <a:p>
            <a:endParaRPr lang="de-DE"/>
          </a:p>
        </p:txBody>
      </p:sp>
      <p:sp>
        <p:nvSpPr>
          <p:cNvPr id="228" name="Freihandform: Form 227">
            <a:extLst>
              <a:ext uri="{FF2B5EF4-FFF2-40B4-BE49-F238E27FC236}">
                <a16:creationId xmlns:a16="http://schemas.microsoft.com/office/drawing/2014/main" id="{6D995F94-547B-4E8B-8F80-D2C01332D74E}"/>
              </a:ext>
            </a:extLst>
          </p:cNvPr>
          <p:cNvSpPr/>
          <p:nvPr/>
        </p:nvSpPr>
        <p:spPr>
          <a:xfrm>
            <a:off x="8028570" y="6633106"/>
            <a:ext cx="165465" cy="179448"/>
          </a:xfrm>
          <a:custGeom>
            <a:avLst/>
            <a:gdLst>
              <a:gd name="connsiteX0" fmla="*/ 75741 w 165465"/>
              <a:gd name="connsiteY0" fmla="*/ 179448 h 179448"/>
              <a:gd name="connsiteX1" fmla="*/ 0 w 165465"/>
              <a:gd name="connsiteY1" fmla="*/ 179448 h 179448"/>
              <a:gd name="connsiteX2" fmla="*/ 88559 w 165465"/>
              <a:gd name="connsiteY2" fmla="*/ 90889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17" name="Freihandform: Form 16">
            <a:extLst>
              <a:ext uri="{FF2B5EF4-FFF2-40B4-BE49-F238E27FC236}">
                <a16:creationId xmlns:a16="http://schemas.microsoft.com/office/drawing/2014/main" id="{FBFA7DD1-6DE8-48E2-BB35-DCE366E698C5}"/>
              </a:ext>
            </a:extLst>
          </p:cNvPr>
          <p:cNvSpPr/>
          <p:nvPr/>
        </p:nvSpPr>
        <p:spPr>
          <a:xfrm>
            <a:off x="8375813" y="2011732"/>
            <a:ext cx="180613" cy="196926"/>
          </a:xfrm>
          <a:custGeom>
            <a:avLst/>
            <a:gdLst>
              <a:gd name="connsiteX0" fmla="*/ 82733 w 180613"/>
              <a:gd name="connsiteY0" fmla="*/ 196927 h 196926"/>
              <a:gd name="connsiteX1" fmla="*/ 0 w 180613"/>
              <a:gd name="connsiteY1" fmla="*/ 196927 h 196926"/>
              <a:gd name="connsiteX2" fmla="*/ 96715 w 180613"/>
              <a:gd name="connsiteY2" fmla="*/ 99046 h 196926"/>
              <a:gd name="connsiteX3" fmla="*/ 0 w 180613"/>
              <a:gd name="connsiteY3" fmla="*/ 0 h 196926"/>
              <a:gd name="connsiteX4" fmla="*/ 83898 w 180613"/>
              <a:gd name="connsiteY4" fmla="*/ 0 h 196926"/>
              <a:gd name="connsiteX5" fmla="*/ 180613 w 180613"/>
              <a:gd name="connsiteY5" fmla="*/ 96716 h 196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6926">
                <a:moveTo>
                  <a:pt x="82733" y="196927"/>
                </a:moveTo>
                <a:lnTo>
                  <a:pt x="0" y="196927"/>
                </a:lnTo>
                <a:lnTo>
                  <a:pt x="96715" y="99046"/>
                </a:lnTo>
                <a:lnTo>
                  <a:pt x="0" y="0"/>
                </a:lnTo>
                <a:lnTo>
                  <a:pt x="83898" y="0"/>
                </a:lnTo>
                <a:lnTo>
                  <a:pt x="180613" y="96716"/>
                </a:lnTo>
                <a:close/>
              </a:path>
            </a:pathLst>
          </a:custGeom>
          <a:solidFill>
            <a:srgbClr val="EEF2F5"/>
          </a:solidFill>
          <a:ln w="11643" cap="flat">
            <a:noFill/>
            <a:prstDash val="solid"/>
            <a:miter/>
          </a:ln>
        </p:spPr>
        <p:txBody>
          <a:bodyPr rtlCol="0" anchor="ctr"/>
          <a:lstStyle/>
          <a:p>
            <a:endParaRPr lang="de-DE"/>
          </a:p>
        </p:txBody>
      </p:sp>
      <p:sp>
        <p:nvSpPr>
          <p:cNvPr id="32" name="Freihandform: Form 31">
            <a:extLst>
              <a:ext uri="{FF2B5EF4-FFF2-40B4-BE49-F238E27FC236}">
                <a16:creationId xmlns:a16="http://schemas.microsoft.com/office/drawing/2014/main" id="{7C08602B-27E1-4F5C-B2BA-86218542705A}"/>
              </a:ext>
            </a:extLst>
          </p:cNvPr>
          <p:cNvSpPr/>
          <p:nvPr/>
        </p:nvSpPr>
        <p:spPr>
          <a:xfrm>
            <a:off x="8375813" y="2367133"/>
            <a:ext cx="180613" cy="195761"/>
          </a:xfrm>
          <a:custGeom>
            <a:avLst/>
            <a:gdLst>
              <a:gd name="connsiteX0" fmla="*/ 82733 w 180613"/>
              <a:gd name="connsiteY0" fmla="*/ 195762 h 195761"/>
              <a:gd name="connsiteX1" fmla="*/ 0 w 180613"/>
              <a:gd name="connsiteY1" fmla="*/ 195762 h 195761"/>
              <a:gd name="connsiteX2" fmla="*/ 96715 w 180613"/>
              <a:gd name="connsiteY2" fmla="*/ 99046 h 195761"/>
              <a:gd name="connsiteX3" fmla="*/ 0 w 180613"/>
              <a:gd name="connsiteY3" fmla="*/ 0 h 195761"/>
              <a:gd name="connsiteX4" fmla="*/ 83898 w 180613"/>
              <a:gd name="connsiteY4" fmla="*/ 0 h 195761"/>
              <a:gd name="connsiteX5" fmla="*/ 180613 w 180613"/>
              <a:gd name="connsiteY5" fmla="*/ 95550 h 19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5761">
                <a:moveTo>
                  <a:pt x="82733" y="195762"/>
                </a:moveTo>
                <a:lnTo>
                  <a:pt x="0" y="195762"/>
                </a:lnTo>
                <a:lnTo>
                  <a:pt x="96715" y="99046"/>
                </a:lnTo>
                <a:lnTo>
                  <a:pt x="0" y="0"/>
                </a:lnTo>
                <a:lnTo>
                  <a:pt x="83898" y="0"/>
                </a:lnTo>
                <a:lnTo>
                  <a:pt x="180613" y="95550"/>
                </a:lnTo>
                <a:close/>
              </a:path>
            </a:pathLst>
          </a:custGeom>
          <a:solidFill>
            <a:srgbClr val="EEF2F5"/>
          </a:solidFill>
          <a:ln w="11643" cap="flat">
            <a:noFill/>
            <a:prstDash val="solid"/>
            <a:miter/>
          </a:ln>
        </p:spPr>
        <p:txBody>
          <a:bodyPr rtlCol="0" anchor="ctr"/>
          <a:lstStyle/>
          <a:p>
            <a:endParaRPr lang="de-DE"/>
          </a:p>
        </p:txBody>
      </p:sp>
      <p:sp>
        <p:nvSpPr>
          <p:cNvPr id="48" name="Freihandform: Form 47">
            <a:extLst>
              <a:ext uri="{FF2B5EF4-FFF2-40B4-BE49-F238E27FC236}">
                <a16:creationId xmlns:a16="http://schemas.microsoft.com/office/drawing/2014/main" id="{B3543F06-832E-4301-879E-B06B3D8A1139}"/>
              </a:ext>
            </a:extLst>
          </p:cNvPr>
          <p:cNvSpPr/>
          <p:nvPr/>
        </p:nvSpPr>
        <p:spPr>
          <a:xfrm>
            <a:off x="8375813" y="2721368"/>
            <a:ext cx="180613" cy="196926"/>
          </a:xfrm>
          <a:custGeom>
            <a:avLst/>
            <a:gdLst>
              <a:gd name="connsiteX0" fmla="*/ 82733 w 180613"/>
              <a:gd name="connsiteY0" fmla="*/ 196927 h 196926"/>
              <a:gd name="connsiteX1" fmla="*/ 0 w 180613"/>
              <a:gd name="connsiteY1" fmla="*/ 196927 h 196926"/>
              <a:gd name="connsiteX2" fmla="*/ 96715 w 180613"/>
              <a:gd name="connsiteY2" fmla="*/ 99046 h 196926"/>
              <a:gd name="connsiteX3" fmla="*/ 0 w 180613"/>
              <a:gd name="connsiteY3" fmla="*/ 0 h 196926"/>
              <a:gd name="connsiteX4" fmla="*/ 83898 w 180613"/>
              <a:gd name="connsiteY4" fmla="*/ 0 h 196926"/>
              <a:gd name="connsiteX5" fmla="*/ 180613 w 180613"/>
              <a:gd name="connsiteY5" fmla="*/ 96716 h 196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6926">
                <a:moveTo>
                  <a:pt x="82733" y="196927"/>
                </a:moveTo>
                <a:lnTo>
                  <a:pt x="0" y="196927"/>
                </a:lnTo>
                <a:lnTo>
                  <a:pt x="96715" y="99046"/>
                </a:lnTo>
                <a:lnTo>
                  <a:pt x="0" y="0"/>
                </a:lnTo>
                <a:lnTo>
                  <a:pt x="83898" y="0"/>
                </a:lnTo>
                <a:lnTo>
                  <a:pt x="180613" y="96716"/>
                </a:lnTo>
                <a:close/>
              </a:path>
            </a:pathLst>
          </a:custGeom>
          <a:solidFill>
            <a:srgbClr val="EEF2F5"/>
          </a:solidFill>
          <a:ln w="11643" cap="flat">
            <a:noFill/>
            <a:prstDash val="solid"/>
            <a:miter/>
          </a:ln>
        </p:spPr>
        <p:txBody>
          <a:bodyPr rtlCol="0" anchor="ctr"/>
          <a:lstStyle/>
          <a:p>
            <a:endParaRPr lang="de-DE"/>
          </a:p>
        </p:txBody>
      </p:sp>
      <p:sp>
        <p:nvSpPr>
          <p:cNvPr id="64" name="Freihandform: Form 63">
            <a:extLst>
              <a:ext uri="{FF2B5EF4-FFF2-40B4-BE49-F238E27FC236}">
                <a16:creationId xmlns:a16="http://schemas.microsoft.com/office/drawing/2014/main" id="{448857AA-F125-42A1-8BA3-8AC5BA3389BB}"/>
              </a:ext>
            </a:extLst>
          </p:cNvPr>
          <p:cNvSpPr/>
          <p:nvPr/>
        </p:nvSpPr>
        <p:spPr>
          <a:xfrm>
            <a:off x="8375813" y="3076769"/>
            <a:ext cx="180613" cy="195761"/>
          </a:xfrm>
          <a:custGeom>
            <a:avLst/>
            <a:gdLst>
              <a:gd name="connsiteX0" fmla="*/ 82733 w 180613"/>
              <a:gd name="connsiteY0" fmla="*/ 195762 h 195761"/>
              <a:gd name="connsiteX1" fmla="*/ 0 w 180613"/>
              <a:gd name="connsiteY1" fmla="*/ 195762 h 195761"/>
              <a:gd name="connsiteX2" fmla="*/ 96715 w 180613"/>
              <a:gd name="connsiteY2" fmla="*/ 99046 h 195761"/>
              <a:gd name="connsiteX3" fmla="*/ 0 w 180613"/>
              <a:gd name="connsiteY3" fmla="*/ 0 h 195761"/>
              <a:gd name="connsiteX4" fmla="*/ 83898 w 180613"/>
              <a:gd name="connsiteY4" fmla="*/ 0 h 195761"/>
              <a:gd name="connsiteX5" fmla="*/ 180613 w 180613"/>
              <a:gd name="connsiteY5" fmla="*/ 95550 h 19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5761">
                <a:moveTo>
                  <a:pt x="82733" y="195762"/>
                </a:moveTo>
                <a:lnTo>
                  <a:pt x="0" y="195762"/>
                </a:lnTo>
                <a:lnTo>
                  <a:pt x="96715" y="99046"/>
                </a:lnTo>
                <a:lnTo>
                  <a:pt x="0" y="0"/>
                </a:lnTo>
                <a:lnTo>
                  <a:pt x="83898" y="0"/>
                </a:lnTo>
                <a:lnTo>
                  <a:pt x="180613" y="95550"/>
                </a:lnTo>
                <a:close/>
              </a:path>
            </a:pathLst>
          </a:custGeom>
          <a:solidFill>
            <a:srgbClr val="EEF2F5"/>
          </a:solidFill>
          <a:ln w="11643" cap="flat">
            <a:noFill/>
            <a:prstDash val="solid"/>
            <a:miter/>
          </a:ln>
        </p:spPr>
        <p:txBody>
          <a:bodyPr rtlCol="0" anchor="ctr"/>
          <a:lstStyle/>
          <a:p>
            <a:endParaRPr lang="de-DE"/>
          </a:p>
        </p:txBody>
      </p:sp>
      <p:sp>
        <p:nvSpPr>
          <p:cNvPr id="80" name="Freihandform: Form 79">
            <a:extLst>
              <a:ext uri="{FF2B5EF4-FFF2-40B4-BE49-F238E27FC236}">
                <a16:creationId xmlns:a16="http://schemas.microsoft.com/office/drawing/2014/main" id="{4D03B1F2-B454-4805-B554-BE60EE27F881}"/>
              </a:ext>
            </a:extLst>
          </p:cNvPr>
          <p:cNvSpPr/>
          <p:nvPr/>
        </p:nvSpPr>
        <p:spPr>
          <a:xfrm>
            <a:off x="8375813" y="3431004"/>
            <a:ext cx="180613" cy="196926"/>
          </a:xfrm>
          <a:custGeom>
            <a:avLst/>
            <a:gdLst>
              <a:gd name="connsiteX0" fmla="*/ 82733 w 180613"/>
              <a:gd name="connsiteY0" fmla="*/ 196927 h 196926"/>
              <a:gd name="connsiteX1" fmla="*/ 0 w 180613"/>
              <a:gd name="connsiteY1" fmla="*/ 196927 h 196926"/>
              <a:gd name="connsiteX2" fmla="*/ 96715 w 180613"/>
              <a:gd name="connsiteY2" fmla="*/ 99046 h 196926"/>
              <a:gd name="connsiteX3" fmla="*/ 0 w 180613"/>
              <a:gd name="connsiteY3" fmla="*/ 0 h 196926"/>
              <a:gd name="connsiteX4" fmla="*/ 83898 w 180613"/>
              <a:gd name="connsiteY4" fmla="*/ 0 h 196926"/>
              <a:gd name="connsiteX5" fmla="*/ 180613 w 180613"/>
              <a:gd name="connsiteY5" fmla="*/ 96716 h 196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6926">
                <a:moveTo>
                  <a:pt x="82733" y="196927"/>
                </a:moveTo>
                <a:lnTo>
                  <a:pt x="0" y="196927"/>
                </a:lnTo>
                <a:lnTo>
                  <a:pt x="96715" y="99046"/>
                </a:lnTo>
                <a:lnTo>
                  <a:pt x="0" y="0"/>
                </a:lnTo>
                <a:lnTo>
                  <a:pt x="83898" y="0"/>
                </a:lnTo>
                <a:lnTo>
                  <a:pt x="180613" y="96716"/>
                </a:lnTo>
                <a:close/>
              </a:path>
            </a:pathLst>
          </a:custGeom>
          <a:solidFill>
            <a:srgbClr val="EEF2F5"/>
          </a:solidFill>
          <a:ln w="11643" cap="flat">
            <a:noFill/>
            <a:prstDash val="solid"/>
            <a:miter/>
          </a:ln>
        </p:spPr>
        <p:txBody>
          <a:bodyPr rtlCol="0" anchor="ctr"/>
          <a:lstStyle/>
          <a:p>
            <a:endParaRPr lang="de-DE"/>
          </a:p>
        </p:txBody>
      </p:sp>
      <p:sp>
        <p:nvSpPr>
          <p:cNvPr id="96" name="Freihandform: Form 95">
            <a:extLst>
              <a:ext uri="{FF2B5EF4-FFF2-40B4-BE49-F238E27FC236}">
                <a16:creationId xmlns:a16="http://schemas.microsoft.com/office/drawing/2014/main" id="{FFDA75BC-562C-4970-A5BF-655AB3F5011C}"/>
              </a:ext>
            </a:extLst>
          </p:cNvPr>
          <p:cNvSpPr/>
          <p:nvPr/>
        </p:nvSpPr>
        <p:spPr>
          <a:xfrm>
            <a:off x="8375813" y="3786405"/>
            <a:ext cx="180613" cy="195761"/>
          </a:xfrm>
          <a:custGeom>
            <a:avLst/>
            <a:gdLst>
              <a:gd name="connsiteX0" fmla="*/ 82733 w 180613"/>
              <a:gd name="connsiteY0" fmla="*/ 195762 h 195761"/>
              <a:gd name="connsiteX1" fmla="*/ 0 w 180613"/>
              <a:gd name="connsiteY1" fmla="*/ 195762 h 195761"/>
              <a:gd name="connsiteX2" fmla="*/ 96715 w 180613"/>
              <a:gd name="connsiteY2" fmla="*/ 99046 h 195761"/>
              <a:gd name="connsiteX3" fmla="*/ 0 w 180613"/>
              <a:gd name="connsiteY3" fmla="*/ 0 h 195761"/>
              <a:gd name="connsiteX4" fmla="*/ 83898 w 180613"/>
              <a:gd name="connsiteY4" fmla="*/ 0 h 195761"/>
              <a:gd name="connsiteX5" fmla="*/ 180613 w 180613"/>
              <a:gd name="connsiteY5" fmla="*/ 96716 h 19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5761">
                <a:moveTo>
                  <a:pt x="82733" y="195762"/>
                </a:moveTo>
                <a:lnTo>
                  <a:pt x="0" y="195762"/>
                </a:lnTo>
                <a:lnTo>
                  <a:pt x="96715" y="99046"/>
                </a:lnTo>
                <a:lnTo>
                  <a:pt x="0" y="0"/>
                </a:lnTo>
                <a:lnTo>
                  <a:pt x="83898" y="0"/>
                </a:lnTo>
                <a:lnTo>
                  <a:pt x="180613" y="96716"/>
                </a:lnTo>
                <a:close/>
              </a:path>
            </a:pathLst>
          </a:custGeom>
          <a:solidFill>
            <a:srgbClr val="EEF2F5"/>
          </a:solidFill>
          <a:ln w="11643" cap="flat">
            <a:noFill/>
            <a:prstDash val="solid"/>
            <a:miter/>
          </a:ln>
        </p:spPr>
        <p:txBody>
          <a:bodyPr rtlCol="0" anchor="ctr"/>
          <a:lstStyle/>
          <a:p>
            <a:endParaRPr lang="de-DE"/>
          </a:p>
        </p:txBody>
      </p:sp>
      <p:sp>
        <p:nvSpPr>
          <p:cNvPr id="112" name="Freihandform: Form 111">
            <a:extLst>
              <a:ext uri="{FF2B5EF4-FFF2-40B4-BE49-F238E27FC236}">
                <a16:creationId xmlns:a16="http://schemas.microsoft.com/office/drawing/2014/main" id="{D5FBE564-C560-47E5-B3B3-465A98E51447}"/>
              </a:ext>
            </a:extLst>
          </p:cNvPr>
          <p:cNvSpPr/>
          <p:nvPr/>
        </p:nvSpPr>
        <p:spPr>
          <a:xfrm>
            <a:off x="8375813" y="4140640"/>
            <a:ext cx="180613" cy="196926"/>
          </a:xfrm>
          <a:custGeom>
            <a:avLst/>
            <a:gdLst>
              <a:gd name="connsiteX0" fmla="*/ 82733 w 180613"/>
              <a:gd name="connsiteY0" fmla="*/ 196927 h 196926"/>
              <a:gd name="connsiteX1" fmla="*/ 0 w 180613"/>
              <a:gd name="connsiteY1" fmla="*/ 196927 h 196926"/>
              <a:gd name="connsiteX2" fmla="*/ 96715 w 180613"/>
              <a:gd name="connsiteY2" fmla="*/ 99046 h 196926"/>
              <a:gd name="connsiteX3" fmla="*/ 0 w 180613"/>
              <a:gd name="connsiteY3" fmla="*/ 0 h 196926"/>
              <a:gd name="connsiteX4" fmla="*/ 83898 w 180613"/>
              <a:gd name="connsiteY4" fmla="*/ 0 h 196926"/>
              <a:gd name="connsiteX5" fmla="*/ 180613 w 180613"/>
              <a:gd name="connsiteY5" fmla="*/ 96716 h 196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6926">
                <a:moveTo>
                  <a:pt x="82733" y="196927"/>
                </a:moveTo>
                <a:lnTo>
                  <a:pt x="0" y="196927"/>
                </a:lnTo>
                <a:lnTo>
                  <a:pt x="96715" y="99046"/>
                </a:lnTo>
                <a:lnTo>
                  <a:pt x="0" y="0"/>
                </a:lnTo>
                <a:lnTo>
                  <a:pt x="83898" y="0"/>
                </a:lnTo>
                <a:lnTo>
                  <a:pt x="180613" y="96716"/>
                </a:lnTo>
                <a:close/>
              </a:path>
            </a:pathLst>
          </a:custGeom>
          <a:solidFill>
            <a:srgbClr val="EEF2F5"/>
          </a:solidFill>
          <a:ln w="11643" cap="flat">
            <a:noFill/>
            <a:prstDash val="solid"/>
            <a:miter/>
          </a:ln>
        </p:spPr>
        <p:txBody>
          <a:bodyPr rtlCol="0" anchor="ctr"/>
          <a:lstStyle/>
          <a:p>
            <a:endParaRPr lang="de-DE"/>
          </a:p>
        </p:txBody>
      </p:sp>
      <p:sp>
        <p:nvSpPr>
          <p:cNvPr id="128" name="Freihandform: Form 127">
            <a:extLst>
              <a:ext uri="{FF2B5EF4-FFF2-40B4-BE49-F238E27FC236}">
                <a16:creationId xmlns:a16="http://schemas.microsoft.com/office/drawing/2014/main" id="{CF51EF18-4B1E-42D2-850F-FFA6C258A83C}"/>
              </a:ext>
            </a:extLst>
          </p:cNvPr>
          <p:cNvSpPr/>
          <p:nvPr/>
        </p:nvSpPr>
        <p:spPr>
          <a:xfrm>
            <a:off x="8375813" y="4496041"/>
            <a:ext cx="180613" cy="195761"/>
          </a:xfrm>
          <a:custGeom>
            <a:avLst/>
            <a:gdLst>
              <a:gd name="connsiteX0" fmla="*/ 82733 w 180613"/>
              <a:gd name="connsiteY0" fmla="*/ 195762 h 195761"/>
              <a:gd name="connsiteX1" fmla="*/ 0 w 180613"/>
              <a:gd name="connsiteY1" fmla="*/ 195762 h 195761"/>
              <a:gd name="connsiteX2" fmla="*/ 96715 w 180613"/>
              <a:gd name="connsiteY2" fmla="*/ 99046 h 195761"/>
              <a:gd name="connsiteX3" fmla="*/ 0 w 180613"/>
              <a:gd name="connsiteY3" fmla="*/ 0 h 195761"/>
              <a:gd name="connsiteX4" fmla="*/ 83898 w 180613"/>
              <a:gd name="connsiteY4" fmla="*/ 0 h 195761"/>
              <a:gd name="connsiteX5" fmla="*/ 180613 w 180613"/>
              <a:gd name="connsiteY5" fmla="*/ 96716 h 19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5761">
                <a:moveTo>
                  <a:pt x="82733" y="195762"/>
                </a:moveTo>
                <a:lnTo>
                  <a:pt x="0" y="195762"/>
                </a:lnTo>
                <a:lnTo>
                  <a:pt x="96715" y="99046"/>
                </a:lnTo>
                <a:lnTo>
                  <a:pt x="0" y="0"/>
                </a:lnTo>
                <a:lnTo>
                  <a:pt x="83898" y="0"/>
                </a:lnTo>
                <a:lnTo>
                  <a:pt x="180613" y="96716"/>
                </a:lnTo>
                <a:close/>
              </a:path>
            </a:pathLst>
          </a:custGeom>
          <a:solidFill>
            <a:srgbClr val="EEF2F5"/>
          </a:solidFill>
          <a:ln w="11643" cap="flat">
            <a:noFill/>
            <a:prstDash val="solid"/>
            <a:miter/>
          </a:ln>
        </p:spPr>
        <p:txBody>
          <a:bodyPr rtlCol="0" anchor="ctr"/>
          <a:lstStyle/>
          <a:p>
            <a:endParaRPr lang="de-DE"/>
          </a:p>
        </p:txBody>
      </p:sp>
      <p:sp>
        <p:nvSpPr>
          <p:cNvPr id="145" name="Freihandform: Form 144">
            <a:extLst>
              <a:ext uri="{FF2B5EF4-FFF2-40B4-BE49-F238E27FC236}">
                <a16:creationId xmlns:a16="http://schemas.microsoft.com/office/drawing/2014/main" id="{56E41581-3FC6-4323-9C89-CF91773848F3}"/>
              </a:ext>
            </a:extLst>
          </p:cNvPr>
          <p:cNvSpPr/>
          <p:nvPr/>
        </p:nvSpPr>
        <p:spPr>
          <a:xfrm>
            <a:off x="8375813" y="4850276"/>
            <a:ext cx="180613" cy="196927"/>
          </a:xfrm>
          <a:custGeom>
            <a:avLst/>
            <a:gdLst>
              <a:gd name="connsiteX0" fmla="*/ 82733 w 180613"/>
              <a:gd name="connsiteY0" fmla="*/ 196927 h 196927"/>
              <a:gd name="connsiteX1" fmla="*/ 0 w 180613"/>
              <a:gd name="connsiteY1" fmla="*/ 196927 h 196927"/>
              <a:gd name="connsiteX2" fmla="*/ 96715 w 180613"/>
              <a:gd name="connsiteY2" fmla="*/ 99046 h 196927"/>
              <a:gd name="connsiteX3" fmla="*/ 0 w 180613"/>
              <a:gd name="connsiteY3" fmla="*/ 0 h 196927"/>
              <a:gd name="connsiteX4" fmla="*/ 83898 w 180613"/>
              <a:gd name="connsiteY4" fmla="*/ 0 h 196927"/>
              <a:gd name="connsiteX5" fmla="*/ 180613 w 180613"/>
              <a:gd name="connsiteY5" fmla="*/ 96716 h 196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6927">
                <a:moveTo>
                  <a:pt x="82733" y="196927"/>
                </a:moveTo>
                <a:lnTo>
                  <a:pt x="0" y="196927"/>
                </a:lnTo>
                <a:lnTo>
                  <a:pt x="96715" y="99046"/>
                </a:lnTo>
                <a:lnTo>
                  <a:pt x="0" y="0"/>
                </a:lnTo>
                <a:lnTo>
                  <a:pt x="83898" y="0"/>
                </a:lnTo>
                <a:lnTo>
                  <a:pt x="180613" y="96716"/>
                </a:lnTo>
                <a:close/>
              </a:path>
            </a:pathLst>
          </a:custGeom>
          <a:solidFill>
            <a:srgbClr val="EEF2F5"/>
          </a:solidFill>
          <a:ln w="11643" cap="flat">
            <a:noFill/>
            <a:prstDash val="solid"/>
            <a:miter/>
          </a:ln>
        </p:spPr>
        <p:txBody>
          <a:bodyPr rtlCol="0" anchor="ctr"/>
          <a:lstStyle/>
          <a:p>
            <a:endParaRPr lang="de-DE"/>
          </a:p>
        </p:txBody>
      </p:sp>
      <p:sp>
        <p:nvSpPr>
          <p:cNvPr id="162" name="Freihandform: Form 161">
            <a:extLst>
              <a:ext uri="{FF2B5EF4-FFF2-40B4-BE49-F238E27FC236}">
                <a16:creationId xmlns:a16="http://schemas.microsoft.com/office/drawing/2014/main" id="{D57C87CD-CA7C-4C12-80C4-9130A88B17BE}"/>
              </a:ext>
            </a:extLst>
          </p:cNvPr>
          <p:cNvSpPr/>
          <p:nvPr/>
        </p:nvSpPr>
        <p:spPr>
          <a:xfrm>
            <a:off x="8375813" y="5205677"/>
            <a:ext cx="180613" cy="195761"/>
          </a:xfrm>
          <a:custGeom>
            <a:avLst/>
            <a:gdLst>
              <a:gd name="connsiteX0" fmla="*/ 82733 w 180613"/>
              <a:gd name="connsiteY0" fmla="*/ 195762 h 195761"/>
              <a:gd name="connsiteX1" fmla="*/ 0 w 180613"/>
              <a:gd name="connsiteY1" fmla="*/ 195762 h 195761"/>
              <a:gd name="connsiteX2" fmla="*/ 96715 w 180613"/>
              <a:gd name="connsiteY2" fmla="*/ 99046 h 195761"/>
              <a:gd name="connsiteX3" fmla="*/ 0 w 180613"/>
              <a:gd name="connsiteY3" fmla="*/ 0 h 195761"/>
              <a:gd name="connsiteX4" fmla="*/ 83898 w 180613"/>
              <a:gd name="connsiteY4" fmla="*/ 0 h 195761"/>
              <a:gd name="connsiteX5" fmla="*/ 180613 w 180613"/>
              <a:gd name="connsiteY5" fmla="*/ 96715 h 19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5761">
                <a:moveTo>
                  <a:pt x="82733" y="195762"/>
                </a:moveTo>
                <a:lnTo>
                  <a:pt x="0" y="195762"/>
                </a:lnTo>
                <a:lnTo>
                  <a:pt x="96715" y="99046"/>
                </a:lnTo>
                <a:lnTo>
                  <a:pt x="0" y="0"/>
                </a:lnTo>
                <a:lnTo>
                  <a:pt x="83898" y="0"/>
                </a:lnTo>
                <a:lnTo>
                  <a:pt x="180613" y="96715"/>
                </a:lnTo>
                <a:close/>
              </a:path>
            </a:pathLst>
          </a:custGeom>
          <a:solidFill>
            <a:srgbClr val="EEF2F5"/>
          </a:solidFill>
          <a:ln w="11643" cap="flat">
            <a:noFill/>
            <a:prstDash val="solid"/>
            <a:miter/>
          </a:ln>
        </p:spPr>
        <p:txBody>
          <a:bodyPr rtlCol="0" anchor="ctr"/>
          <a:lstStyle/>
          <a:p>
            <a:endParaRPr lang="de-DE"/>
          </a:p>
        </p:txBody>
      </p:sp>
      <p:sp>
        <p:nvSpPr>
          <p:cNvPr id="179" name="Freihandform: Form 178">
            <a:extLst>
              <a:ext uri="{FF2B5EF4-FFF2-40B4-BE49-F238E27FC236}">
                <a16:creationId xmlns:a16="http://schemas.microsoft.com/office/drawing/2014/main" id="{DB846A0F-C8EB-418A-9689-60A3F1E0344D}"/>
              </a:ext>
            </a:extLst>
          </p:cNvPr>
          <p:cNvSpPr/>
          <p:nvPr/>
        </p:nvSpPr>
        <p:spPr>
          <a:xfrm>
            <a:off x="8375813" y="5559912"/>
            <a:ext cx="180613" cy="196926"/>
          </a:xfrm>
          <a:custGeom>
            <a:avLst/>
            <a:gdLst>
              <a:gd name="connsiteX0" fmla="*/ 82733 w 180613"/>
              <a:gd name="connsiteY0" fmla="*/ 196927 h 196926"/>
              <a:gd name="connsiteX1" fmla="*/ 0 w 180613"/>
              <a:gd name="connsiteY1" fmla="*/ 196927 h 196926"/>
              <a:gd name="connsiteX2" fmla="*/ 96715 w 180613"/>
              <a:gd name="connsiteY2" fmla="*/ 99046 h 196926"/>
              <a:gd name="connsiteX3" fmla="*/ 0 w 180613"/>
              <a:gd name="connsiteY3" fmla="*/ 0 h 196926"/>
              <a:gd name="connsiteX4" fmla="*/ 83898 w 180613"/>
              <a:gd name="connsiteY4" fmla="*/ 0 h 196926"/>
              <a:gd name="connsiteX5" fmla="*/ 180613 w 180613"/>
              <a:gd name="connsiteY5" fmla="*/ 96715 h 196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6926">
                <a:moveTo>
                  <a:pt x="82733" y="196927"/>
                </a:moveTo>
                <a:lnTo>
                  <a:pt x="0" y="196927"/>
                </a:lnTo>
                <a:lnTo>
                  <a:pt x="96715" y="99046"/>
                </a:lnTo>
                <a:lnTo>
                  <a:pt x="0" y="0"/>
                </a:lnTo>
                <a:lnTo>
                  <a:pt x="83898" y="0"/>
                </a:lnTo>
                <a:lnTo>
                  <a:pt x="180613" y="96715"/>
                </a:lnTo>
                <a:close/>
              </a:path>
            </a:pathLst>
          </a:custGeom>
          <a:solidFill>
            <a:srgbClr val="EEF2F5"/>
          </a:solidFill>
          <a:ln w="11643" cap="flat">
            <a:noFill/>
            <a:prstDash val="solid"/>
            <a:miter/>
          </a:ln>
        </p:spPr>
        <p:txBody>
          <a:bodyPr rtlCol="0" anchor="ctr"/>
          <a:lstStyle/>
          <a:p>
            <a:endParaRPr lang="de-DE"/>
          </a:p>
        </p:txBody>
      </p:sp>
      <p:sp>
        <p:nvSpPr>
          <p:cNvPr id="196" name="Freihandform: Form 195">
            <a:extLst>
              <a:ext uri="{FF2B5EF4-FFF2-40B4-BE49-F238E27FC236}">
                <a16:creationId xmlns:a16="http://schemas.microsoft.com/office/drawing/2014/main" id="{4CB58DF8-2ADA-40F9-A585-F61E28EAC1FD}"/>
              </a:ext>
            </a:extLst>
          </p:cNvPr>
          <p:cNvSpPr/>
          <p:nvPr/>
        </p:nvSpPr>
        <p:spPr>
          <a:xfrm>
            <a:off x="8375813" y="5915313"/>
            <a:ext cx="180613" cy="195761"/>
          </a:xfrm>
          <a:custGeom>
            <a:avLst/>
            <a:gdLst>
              <a:gd name="connsiteX0" fmla="*/ 82733 w 180613"/>
              <a:gd name="connsiteY0" fmla="*/ 195762 h 195761"/>
              <a:gd name="connsiteX1" fmla="*/ 0 w 180613"/>
              <a:gd name="connsiteY1" fmla="*/ 195762 h 195761"/>
              <a:gd name="connsiteX2" fmla="*/ 96715 w 180613"/>
              <a:gd name="connsiteY2" fmla="*/ 99046 h 195761"/>
              <a:gd name="connsiteX3" fmla="*/ 0 w 180613"/>
              <a:gd name="connsiteY3" fmla="*/ 0 h 195761"/>
              <a:gd name="connsiteX4" fmla="*/ 83898 w 180613"/>
              <a:gd name="connsiteY4" fmla="*/ 0 h 195761"/>
              <a:gd name="connsiteX5" fmla="*/ 180613 w 180613"/>
              <a:gd name="connsiteY5" fmla="*/ 96715 h 19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5761">
                <a:moveTo>
                  <a:pt x="82733" y="195762"/>
                </a:moveTo>
                <a:lnTo>
                  <a:pt x="0" y="195762"/>
                </a:lnTo>
                <a:lnTo>
                  <a:pt x="96715" y="99046"/>
                </a:lnTo>
                <a:lnTo>
                  <a:pt x="0" y="0"/>
                </a:lnTo>
                <a:lnTo>
                  <a:pt x="83898" y="0"/>
                </a:lnTo>
                <a:lnTo>
                  <a:pt x="180613" y="96715"/>
                </a:lnTo>
                <a:close/>
              </a:path>
            </a:pathLst>
          </a:custGeom>
          <a:solidFill>
            <a:srgbClr val="EEF2F5"/>
          </a:solidFill>
          <a:ln w="11643" cap="flat">
            <a:noFill/>
            <a:prstDash val="solid"/>
            <a:miter/>
          </a:ln>
        </p:spPr>
        <p:txBody>
          <a:bodyPr rtlCol="0" anchor="ctr"/>
          <a:lstStyle/>
          <a:p>
            <a:endParaRPr lang="de-DE"/>
          </a:p>
        </p:txBody>
      </p:sp>
      <p:sp>
        <p:nvSpPr>
          <p:cNvPr id="213" name="Freihandform: Form 212">
            <a:extLst>
              <a:ext uri="{FF2B5EF4-FFF2-40B4-BE49-F238E27FC236}">
                <a16:creationId xmlns:a16="http://schemas.microsoft.com/office/drawing/2014/main" id="{57028041-D229-4433-B39C-C3F33483B647}"/>
              </a:ext>
            </a:extLst>
          </p:cNvPr>
          <p:cNvSpPr/>
          <p:nvPr/>
        </p:nvSpPr>
        <p:spPr>
          <a:xfrm>
            <a:off x="8375813" y="6270714"/>
            <a:ext cx="180613" cy="195761"/>
          </a:xfrm>
          <a:custGeom>
            <a:avLst/>
            <a:gdLst>
              <a:gd name="connsiteX0" fmla="*/ 82733 w 180613"/>
              <a:gd name="connsiteY0" fmla="*/ 195762 h 195761"/>
              <a:gd name="connsiteX1" fmla="*/ 0 w 180613"/>
              <a:gd name="connsiteY1" fmla="*/ 195762 h 195761"/>
              <a:gd name="connsiteX2" fmla="*/ 96715 w 180613"/>
              <a:gd name="connsiteY2" fmla="*/ 97881 h 195761"/>
              <a:gd name="connsiteX3" fmla="*/ 0 w 180613"/>
              <a:gd name="connsiteY3" fmla="*/ 0 h 195761"/>
              <a:gd name="connsiteX4" fmla="*/ 83898 w 180613"/>
              <a:gd name="connsiteY4" fmla="*/ 0 h 195761"/>
              <a:gd name="connsiteX5" fmla="*/ 180613 w 180613"/>
              <a:gd name="connsiteY5" fmla="*/ 95550 h 19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5761">
                <a:moveTo>
                  <a:pt x="82733" y="195762"/>
                </a:moveTo>
                <a:lnTo>
                  <a:pt x="0" y="195762"/>
                </a:lnTo>
                <a:lnTo>
                  <a:pt x="96715" y="97881"/>
                </a:lnTo>
                <a:lnTo>
                  <a:pt x="0" y="0"/>
                </a:lnTo>
                <a:lnTo>
                  <a:pt x="83898" y="0"/>
                </a:lnTo>
                <a:lnTo>
                  <a:pt x="180613" y="95550"/>
                </a:lnTo>
                <a:close/>
              </a:path>
            </a:pathLst>
          </a:custGeom>
          <a:solidFill>
            <a:srgbClr val="EEF2F5"/>
          </a:solidFill>
          <a:ln w="11643" cap="flat">
            <a:noFill/>
            <a:prstDash val="solid"/>
            <a:miter/>
          </a:ln>
        </p:spPr>
        <p:txBody>
          <a:bodyPr rtlCol="0" anchor="ctr"/>
          <a:lstStyle/>
          <a:p>
            <a:endParaRPr lang="de-DE"/>
          </a:p>
        </p:txBody>
      </p:sp>
      <p:sp>
        <p:nvSpPr>
          <p:cNvPr id="229" name="Freihandform: Form 228">
            <a:extLst>
              <a:ext uri="{FF2B5EF4-FFF2-40B4-BE49-F238E27FC236}">
                <a16:creationId xmlns:a16="http://schemas.microsoft.com/office/drawing/2014/main" id="{9B8DB432-5722-4DDC-9DA4-82611DB7AF21}"/>
              </a:ext>
            </a:extLst>
          </p:cNvPr>
          <p:cNvSpPr/>
          <p:nvPr/>
        </p:nvSpPr>
        <p:spPr>
          <a:xfrm>
            <a:off x="8375813" y="6624949"/>
            <a:ext cx="180613" cy="196926"/>
          </a:xfrm>
          <a:custGeom>
            <a:avLst/>
            <a:gdLst>
              <a:gd name="connsiteX0" fmla="*/ 82733 w 180613"/>
              <a:gd name="connsiteY0" fmla="*/ 196927 h 196926"/>
              <a:gd name="connsiteX1" fmla="*/ 0 w 180613"/>
              <a:gd name="connsiteY1" fmla="*/ 196927 h 196926"/>
              <a:gd name="connsiteX2" fmla="*/ 96715 w 180613"/>
              <a:gd name="connsiteY2" fmla="*/ 99046 h 196926"/>
              <a:gd name="connsiteX3" fmla="*/ 0 w 180613"/>
              <a:gd name="connsiteY3" fmla="*/ 0 h 196926"/>
              <a:gd name="connsiteX4" fmla="*/ 83898 w 180613"/>
              <a:gd name="connsiteY4" fmla="*/ 0 h 196926"/>
              <a:gd name="connsiteX5" fmla="*/ 180613 w 180613"/>
              <a:gd name="connsiteY5" fmla="*/ 96715 h 196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6926">
                <a:moveTo>
                  <a:pt x="82733" y="196927"/>
                </a:moveTo>
                <a:lnTo>
                  <a:pt x="0" y="196927"/>
                </a:lnTo>
                <a:lnTo>
                  <a:pt x="96715" y="99046"/>
                </a:lnTo>
                <a:lnTo>
                  <a:pt x="0" y="0"/>
                </a:lnTo>
                <a:lnTo>
                  <a:pt x="83898" y="0"/>
                </a:lnTo>
                <a:lnTo>
                  <a:pt x="180613" y="96715"/>
                </a:lnTo>
                <a:close/>
              </a:path>
            </a:pathLst>
          </a:custGeom>
          <a:solidFill>
            <a:srgbClr val="EEF2F5"/>
          </a:solidFill>
          <a:ln w="11643" cap="flat">
            <a:noFill/>
            <a:prstDash val="solid"/>
            <a:miter/>
          </a:ln>
        </p:spPr>
        <p:txBody>
          <a:bodyPr rtlCol="0" anchor="ctr"/>
          <a:lstStyle/>
          <a:p>
            <a:endParaRPr lang="de-DE"/>
          </a:p>
        </p:txBody>
      </p:sp>
      <p:sp>
        <p:nvSpPr>
          <p:cNvPr id="18" name="Freihandform: Form 17">
            <a:extLst>
              <a:ext uri="{FF2B5EF4-FFF2-40B4-BE49-F238E27FC236}">
                <a16:creationId xmlns:a16="http://schemas.microsoft.com/office/drawing/2014/main" id="{5D717E25-D335-4E65-A411-45D9057ED87F}"/>
              </a:ext>
            </a:extLst>
          </p:cNvPr>
          <p:cNvSpPr/>
          <p:nvPr/>
        </p:nvSpPr>
        <p:spPr>
          <a:xfrm>
            <a:off x="8721892" y="2002410"/>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6038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6038"/>
                </a:lnTo>
                <a:close/>
              </a:path>
            </a:pathLst>
          </a:custGeom>
          <a:solidFill>
            <a:srgbClr val="EEF2F5"/>
          </a:solidFill>
          <a:ln w="11643" cap="flat">
            <a:noFill/>
            <a:prstDash val="solid"/>
            <a:miter/>
          </a:ln>
        </p:spPr>
        <p:txBody>
          <a:bodyPr rtlCol="0" anchor="ctr"/>
          <a:lstStyle/>
          <a:p>
            <a:endParaRPr lang="de-DE"/>
          </a:p>
        </p:txBody>
      </p:sp>
      <p:sp>
        <p:nvSpPr>
          <p:cNvPr id="33" name="Freihandform: Form 32">
            <a:extLst>
              <a:ext uri="{FF2B5EF4-FFF2-40B4-BE49-F238E27FC236}">
                <a16:creationId xmlns:a16="http://schemas.microsoft.com/office/drawing/2014/main" id="{8191837C-2D2D-4E7E-BB7B-2C536FE31ED3}"/>
              </a:ext>
            </a:extLst>
          </p:cNvPr>
          <p:cNvSpPr/>
          <p:nvPr/>
        </p:nvSpPr>
        <p:spPr>
          <a:xfrm>
            <a:off x="8721892" y="2357811"/>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4872"/>
                </a:lnTo>
                <a:close/>
              </a:path>
            </a:pathLst>
          </a:custGeom>
          <a:solidFill>
            <a:srgbClr val="EEF2F5"/>
          </a:solidFill>
          <a:ln w="11643" cap="flat">
            <a:noFill/>
            <a:prstDash val="solid"/>
            <a:miter/>
          </a:ln>
        </p:spPr>
        <p:txBody>
          <a:bodyPr rtlCol="0" anchor="ctr"/>
          <a:lstStyle/>
          <a:p>
            <a:endParaRPr lang="de-DE"/>
          </a:p>
        </p:txBody>
      </p:sp>
      <p:sp>
        <p:nvSpPr>
          <p:cNvPr id="49" name="Freihandform: Form 48">
            <a:extLst>
              <a:ext uri="{FF2B5EF4-FFF2-40B4-BE49-F238E27FC236}">
                <a16:creationId xmlns:a16="http://schemas.microsoft.com/office/drawing/2014/main" id="{7C3E3047-07A6-44AE-A863-B14D0E91E9D2}"/>
              </a:ext>
            </a:extLst>
          </p:cNvPr>
          <p:cNvSpPr/>
          <p:nvPr/>
        </p:nvSpPr>
        <p:spPr>
          <a:xfrm>
            <a:off x="8721892" y="2712046"/>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6038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6038"/>
                </a:lnTo>
                <a:close/>
              </a:path>
            </a:pathLst>
          </a:custGeom>
          <a:solidFill>
            <a:srgbClr val="EEF2F5"/>
          </a:solidFill>
          <a:ln w="11643" cap="flat">
            <a:noFill/>
            <a:prstDash val="solid"/>
            <a:miter/>
          </a:ln>
        </p:spPr>
        <p:txBody>
          <a:bodyPr rtlCol="0" anchor="ctr"/>
          <a:lstStyle/>
          <a:p>
            <a:endParaRPr lang="de-DE"/>
          </a:p>
        </p:txBody>
      </p:sp>
      <p:sp>
        <p:nvSpPr>
          <p:cNvPr id="65" name="Freihandform: Form 64">
            <a:extLst>
              <a:ext uri="{FF2B5EF4-FFF2-40B4-BE49-F238E27FC236}">
                <a16:creationId xmlns:a16="http://schemas.microsoft.com/office/drawing/2014/main" id="{A33D910C-FE80-4271-80EB-43FB226FC311}"/>
              </a:ext>
            </a:extLst>
          </p:cNvPr>
          <p:cNvSpPr/>
          <p:nvPr/>
        </p:nvSpPr>
        <p:spPr>
          <a:xfrm>
            <a:off x="8721892" y="3067447"/>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4872"/>
                </a:lnTo>
                <a:close/>
              </a:path>
            </a:pathLst>
          </a:custGeom>
          <a:solidFill>
            <a:srgbClr val="EEF2F5"/>
          </a:solidFill>
          <a:ln w="11643" cap="flat">
            <a:noFill/>
            <a:prstDash val="solid"/>
            <a:miter/>
          </a:ln>
        </p:spPr>
        <p:txBody>
          <a:bodyPr rtlCol="0" anchor="ctr"/>
          <a:lstStyle/>
          <a:p>
            <a:endParaRPr lang="de-DE"/>
          </a:p>
        </p:txBody>
      </p:sp>
      <p:sp>
        <p:nvSpPr>
          <p:cNvPr id="81" name="Freihandform: Form 80">
            <a:extLst>
              <a:ext uri="{FF2B5EF4-FFF2-40B4-BE49-F238E27FC236}">
                <a16:creationId xmlns:a16="http://schemas.microsoft.com/office/drawing/2014/main" id="{3C2ACAE0-E8A8-4FC5-919A-02F70B7D5438}"/>
              </a:ext>
            </a:extLst>
          </p:cNvPr>
          <p:cNvSpPr/>
          <p:nvPr/>
        </p:nvSpPr>
        <p:spPr>
          <a:xfrm>
            <a:off x="8721892" y="3421682"/>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6038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6038"/>
                </a:lnTo>
                <a:close/>
              </a:path>
            </a:pathLst>
          </a:custGeom>
          <a:solidFill>
            <a:srgbClr val="EEF2F5"/>
          </a:solidFill>
          <a:ln w="11643" cap="flat">
            <a:noFill/>
            <a:prstDash val="solid"/>
            <a:miter/>
          </a:ln>
        </p:spPr>
        <p:txBody>
          <a:bodyPr rtlCol="0" anchor="ctr"/>
          <a:lstStyle/>
          <a:p>
            <a:endParaRPr lang="de-DE"/>
          </a:p>
        </p:txBody>
      </p:sp>
      <p:sp>
        <p:nvSpPr>
          <p:cNvPr id="97" name="Freihandform: Form 96">
            <a:extLst>
              <a:ext uri="{FF2B5EF4-FFF2-40B4-BE49-F238E27FC236}">
                <a16:creationId xmlns:a16="http://schemas.microsoft.com/office/drawing/2014/main" id="{49C7B20E-CBCC-427C-8257-9EDB4B177C6A}"/>
              </a:ext>
            </a:extLst>
          </p:cNvPr>
          <p:cNvSpPr/>
          <p:nvPr/>
        </p:nvSpPr>
        <p:spPr>
          <a:xfrm>
            <a:off x="8721892" y="3777083"/>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4872"/>
                </a:lnTo>
                <a:close/>
              </a:path>
            </a:pathLst>
          </a:custGeom>
          <a:solidFill>
            <a:srgbClr val="EEF2F5"/>
          </a:solidFill>
          <a:ln w="11643" cap="flat">
            <a:noFill/>
            <a:prstDash val="solid"/>
            <a:miter/>
          </a:ln>
        </p:spPr>
        <p:txBody>
          <a:bodyPr rtlCol="0" anchor="ctr"/>
          <a:lstStyle/>
          <a:p>
            <a:endParaRPr lang="de-DE"/>
          </a:p>
        </p:txBody>
      </p:sp>
      <p:sp>
        <p:nvSpPr>
          <p:cNvPr id="113" name="Freihandform: Form 112">
            <a:extLst>
              <a:ext uri="{FF2B5EF4-FFF2-40B4-BE49-F238E27FC236}">
                <a16:creationId xmlns:a16="http://schemas.microsoft.com/office/drawing/2014/main" id="{AA929FBA-3B60-4B90-A12C-EEB1A0A8CF38}"/>
              </a:ext>
            </a:extLst>
          </p:cNvPr>
          <p:cNvSpPr/>
          <p:nvPr/>
        </p:nvSpPr>
        <p:spPr>
          <a:xfrm>
            <a:off x="8721892" y="4132484"/>
            <a:ext cx="198092" cy="214405"/>
          </a:xfrm>
          <a:custGeom>
            <a:avLst/>
            <a:gdLst>
              <a:gd name="connsiteX0" fmla="*/ 90889 w 198092"/>
              <a:gd name="connsiteY0" fmla="*/ 214406 h 214405"/>
              <a:gd name="connsiteX1" fmla="*/ 0 w 198092"/>
              <a:gd name="connsiteY1" fmla="*/ 214406 h 214405"/>
              <a:gd name="connsiteX2" fmla="*/ 106037 w 198092"/>
              <a:gd name="connsiteY2" fmla="*/ 107203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7203"/>
                </a:lnTo>
                <a:lnTo>
                  <a:pt x="0" y="0"/>
                </a:lnTo>
                <a:lnTo>
                  <a:pt x="92055" y="0"/>
                </a:lnTo>
                <a:lnTo>
                  <a:pt x="198092" y="104872"/>
                </a:lnTo>
                <a:close/>
              </a:path>
            </a:pathLst>
          </a:custGeom>
          <a:solidFill>
            <a:srgbClr val="EEF2F5"/>
          </a:solidFill>
          <a:ln w="11643" cap="flat">
            <a:noFill/>
            <a:prstDash val="solid"/>
            <a:miter/>
          </a:ln>
        </p:spPr>
        <p:txBody>
          <a:bodyPr rtlCol="0" anchor="ctr"/>
          <a:lstStyle/>
          <a:p>
            <a:endParaRPr lang="de-DE"/>
          </a:p>
        </p:txBody>
      </p:sp>
      <p:sp>
        <p:nvSpPr>
          <p:cNvPr id="129" name="Freihandform: Form 128">
            <a:extLst>
              <a:ext uri="{FF2B5EF4-FFF2-40B4-BE49-F238E27FC236}">
                <a16:creationId xmlns:a16="http://schemas.microsoft.com/office/drawing/2014/main" id="{2A2E02AC-BFFD-44C8-869B-053E6C74FD2B}"/>
              </a:ext>
            </a:extLst>
          </p:cNvPr>
          <p:cNvSpPr/>
          <p:nvPr/>
        </p:nvSpPr>
        <p:spPr>
          <a:xfrm>
            <a:off x="8721892" y="4486719"/>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4872"/>
                </a:lnTo>
                <a:close/>
              </a:path>
            </a:pathLst>
          </a:custGeom>
          <a:solidFill>
            <a:srgbClr val="EEF2F5"/>
          </a:solidFill>
          <a:ln w="11643" cap="flat">
            <a:noFill/>
            <a:prstDash val="solid"/>
            <a:miter/>
          </a:ln>
        </p:spPr>
        <p:txBody>
          <a:bodyPr rtlCol="0" anchor="ctr"/>
          <a:lstStyle/>
          <a:p>
            <a:endParaRPr lang="de-DE"/>
          </a:p>
        </p:txBody>
      </p:sp>
      <p:sp>
        <p:nvSpPr>
          <p:cNvPr id="146" name="Freihandform: Form 145">
            <a:extLst>
              <a:ext uri="{FF2B5EF4-FFF2-40B4-BE49-F238E27FC236}">
                <a16:creationId xmlns:a16="http://schemas.microsoft.com/office/drawing/2014/main" id="{05AC39C3-CD17-42BE-BFB8-C8A94809F9BF}"/>
              </a:ext>
            </a:extLst>
          </p:cNvPr>
          <p:cNvSpPr/>
          <p:nvPr/>
        </p:nvSpPr>
        <p:spPr>
          <a:xfrm>
            <a:off x="8721892" y="4842120"/>
            <a:ext cx="198092" cy="214405"/>
          </a:xfrm>
          <a:custGeom>
            <a:avLst/>
            <a:gdLst>
              <a:gd name="connsiteX0" fmla="*/ 90889 w 198092"/>
              <a:gd name="connsiteY0" fmla="*/ 214406 h 214405"/>
              <a:gd name="connsiteX1" fmla="*/ 0 w 198092"/>
              <a:gd name="connsiteY1" fmla="*/ 214406 h 214405"/>
              <a:gd name="connsiteX2" fmla="*/ 106037 w 198092"/>
              <a:gd name="connsiteY2" fmla="*/ 107203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7203"/>
                </a:lnTo>
                <a:lnTo>
                  <a:pt x="0" y="0"/>
                </a:lnTo>
                <a:lnTo>
                  <a:pt x="92055" y="0"/>
                </a:lnTo>
                <a:lnTo>
                  <a:pt x="198092" y="104872"/>
                </a:lnTo>
                <a:close/>
              </a:path>
            </a:pathLst>
          </a:custGeom>
          <a:solidFill>
            <a:srgbClr val="EEF2F5"/>
          </a:solidFill>
          <a:ln w="11643" cap="flat">
            <a:noFill/>
            <a:prstDash val="solid"/>
            <a:miter/>
          </a:ln>
        </p:spPr>
        <p:txBody>
          <a:bodyPr rtlCol="0" anchor="ctr"/>
          <a:lstStyle/>
          <a:p>
            <a:endParaRPr lang="de-DE"/>
          </a:p>
        </p:txBody>
      </p:sp>
      <p:sp>
        <p:nvSpPr>
          <p:cNvPr id="163" name="Freihandform: Form 162">
            <a:extLst>
              <a:ext uri="{FF2B5EF4-FFF2-40B4-BE49-F238E27FC236}">
                <a16:creationId xmlns:a16="http://schemas.microsoft.com/office/drawing/2014/main" id="{88E84DF2-6EB7-427E-A4CB-C71E9DB80B42}"/>
              </a:ext>
            </a:extLst>
          </p:cNvPr>
          <p:cNvSpPr/>
          <p:nvPr/>
        </p:nvSpPr>
        <p:spPr>
          <a:xfrm>
            <a:off x="8721892" y="5196355"/>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6038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6038"/>
                </a:lnTo>
                <a:close/>
              </a:path>
            </a:pathLst>
          </a:custGeom>
          <a:solidFill>
            <a:srgbClr val="EEF2F5"/>
          </a:solidFill>
          <a:ln w="11643" cap="flat">
            <a:noFill/>
            <a:prstDash val="solid"/>
            <a:miter/>
          </a:ln>
        </p:spPr>
        <p:txBody>
          <a:bodyPr rtlCol="0" anchor="ctr"/>
          <a:lstStyle/>
          <a:p>
            <a:endParaRPr lang="de-DE"/>
          </a:p>
        </p:txBody>
      </p:sp>
      <p:sp>
        <p:nvSpPr>
          <p:cNvPr id="180" name="Freihandform: Form 179">
            <a:extLst>
              <a:ext uri="{FF2B5EF4-FFF2-40B4-BE49-F238E27FC236}">
                <a16:creationId xmlns:a16="http://schemas.microsoft.com/office/drawing/2014/main" id="{73606A8C-ADFE-479C-B34E-C91AE8F14BDF}"/>
              </a:ext>
            </a:extLst>
          </p:cNvPr>
          <p:cNvSpPr/>
          <p:nvPr/>
        </p:nvSpPr>
        <p:spPr>
          <a:xfrm>
            <a:off x="8721892" y="5551755"/>
            <a:ext cx="198092" cy="214405"/>
          </a:xfrm>
          <a:custGeom>
            <a:avLst/>
            <a:gdLst>
              <a:gd name="connsiteX0" fmla="*/ 90889 w 198092"/>
              <a:gd name="connsiteY0" fmla="*/ 214406 h 214405"/>
              <a:gd name="connsiteX1" fmla="*/ 0 w 198092"/>
              <a:gd name="connsiteY1" fmla="*/ 214406 h 214405"/>
              <a:gd name="connsiteX2" fmla="*/ 106037 w 198092"/>
              <a:gd name="connsiteY2" fmla="*/ 107203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7203"/>
                </a:lnTo>
                <a:lnTo>
                  <a:pt x="0" y="0"/>
                </a:lnTo>
                <a:lnTo>
                  <a:pt x="92055" y="0"/>
                </a:lnTo>
                <a:lnTo>
                  <a:pt x="198092" y="104872"/>
                </a:lnTo>
                <a:close/>
              </a:path>
            </a:pathLst>
          </a:custGeom>
          <a:solidFill>
            <a:srgbClr val="EEF2F5"/>
          </a:solidFill>
          <a:ln w="11643" cap="flat">
            <a:noFill/>
            <a:prstDash val="solid"/>
            <a:miter/>
          </a:ln>
        </p:spPr>
        <p:txBody>
          <a:bodyPr rtlCol="0" anchor="ctr"/>
          <a:lstStyle/>
          <a:p>
            <a:endParaRPr lang="de-DE"/>
          </a:p>
        </p:txBody>
      </p:sp>
      <p:sp>
        <p:nvSpPr>
          <p:cNvPr id="197" name="Freihandform: Form 196">
            <a:extLst>
              <a:ext uri="{FF2B5EF4-FFF2-40B4-BE49-F238E27FC236}">
                <a16:creationId xmlns:a16="http://schemas.microsoft.com/office/drawing/2014/main" id="{FC296AC6-E750-4BE9-BDD1-981A05C08FF5}"/>
              </a:ext>
            </a:extLst>
          </p:cNvPr>
          <p:cNvSpPr/>
          <p:nvPr/>
        </p:nvSpPr>
        <p:spPr>
          <a:xfrm>
            <a:off x="8721892" y="5905991"/>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6038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6038"/>
                </a:lnTo>
                <a:close/>
              </a:path>
            </a:pathLst>
          </a:custGeom>
          <a:solidFill>
            <a:srgbClr val="EEF2F5"/>
          </a:solidFill>
          <a:ln w="11643" cap="flat">
            <a:noFill/>
            <a:prstDash val="solid"/>
            <a:miter/>
          </a:ln>
        </p:spPr>
        <p:txBody>
          <a:bodyPr rtlCol="0" anchor="ctr"/>
          <a:lstStyle/>
          <a:p>
            <a:endParaRPr lang="de-DE"/>
          </a:p>
        </p:txBody>
      </p:sp>
      <p:sp>
        <p:nvSpPr>
          <p:cNvPr id="214" name="Freihandform: Form 213">
            <a:extLst>
              <a:ext uri="{FF2B5EF4-FFF2-40B4-BE49-F238E27FC236}">
                <a16:creationId xmlns:a16="http://schemas.microsoft.com/office/drawing/2014/main" id="{C03E7333-2F83-4C83-832A-36CD5A0C1B61}"/>
              </a:ext>
            </a:extLst>
          </p:cNvPr>
          <p:cNvSpPr/>
          <p:nvPr/>
        </p:nvSpPr>
        <p:spPr>
          <a:xfrm>
            <a:off x="8721892" y="6261391"/>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4872"/>
                </a:lnTo>
                <a:close/>
              </a:path>
            </a:pathLst>
          </a:custGeom>
          <a:solidFill>
            <a:srgbClr val="EEF2F5"/>
          </a:solidFill>
          <a:ln w="11643" cap="flat">
            <a:noFill/>
            <a:prstDash val="solid"/>
            <a:miter/>
          </a:ln>
        </p:spPr>
        <p:txBody>
          <a:bodyPr rtlCol="0" anchor="ctr"/>
          <a:lstStyle/>
          <a:p>
            <a:endParaRPr lang="de-DE"/>
          </a:p>
        </p:txBody>
      </p:sp>
      <p:sp>
        <p:nvSpPr>
          <p:cNvPr id="230" name="Freihandform: Form 229">
            <a:extLst>
              <a:ext uri="{FF2B5EF4-FFF2-40B4-BE49-F238E27FC236}">
                <a16:creationId xmlns:a16="http://schemas.microsoft.com/office/drawing/2014/main" id="{83AA4FB9-F340-4ECE-A8B5-BF0225383456}"/>
              </a:ext>
            </a:extLst>
          </p:cNvPr>
          <p:cNvSpPr/>
          <p:nvPr/>
        </p:nvSpPr>
        <p:spPr>
          <a:xfrm>
            <a:off x="8721892" y="6615627"/>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6037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6037"/>
                </a:lnTo>
                <a:close/>
              </a:path>
            </a:pathLst>
          </a:custGeom>
          <a:solidFill>
            <a:srgbClr val="EEF2F5"/>
          </a:solidFill>
          <a:ln w="11643" cap="flat">
            <a:noFill/>
            <a:prstDash val="solid"/>
            <a:miter/>
          </a:ln>
        </p:spPr>
        <p:txBody>
          <a:bodyPr rtlCol="0" anchor="ctr"/>
          <a:lstStyle/>
          <a:p>
            <a:endParaRPr lang="de-DE"/>
          </a:p>
        </p:txBody>
      </p:sp>
      <p:sp>
        <p:nvSpPr>
          <p:cNvPr id="19" name="Freihandform: Form 18">
            <a:extLst>
              <a:ext uri="{FF2B5EF4-FFF2-40B4-BE49-F238E27FC236}">
                <a16:creationId xmlns:a16="http://schemas.microsoft.com/office/drawing/2014/main" id="{9DB76664-FCBB-4E4F-B5E6-C249AA6B44D0}"/>
              </a:ext>
            </a:extLst>
          </p:cNvPr>
          <p:cNvSpPr/>
          <p:nvPr/>
        </p:nvSpPr>
        <p:spPr>
          <a:xfrm>
            <a:off x="9069136" y="1994253"/>
            <a:ext cx="214405" cy="231884"/>
          </a:xfrm>
          <a:custGeom>
            <a:avLst/>
            <a:gdLst>
              <a:gd name="connsiteX0" fmla="*/ 97881 w 214405"/>
              <a:gd name="connsiteY0" fmla="*/ 231884 h 231884"/>
              <a:gd name="connsiteX1" fmla="*/ 0 w 214405"/>
              <a:gd name="connsiteY1" fmla="*/ 231884 h 231884"/>
              <a:gd name="connsiteX2" fmla="*/ 114194 w 214405"/>
              <a:gd name="connsiteY2" fmla="*/ 116525 h 231884"/>
              <a:gd name="connsiteX3" fmla="*/ 0 w 214405"/>
              <a:gd name="connsiteY3" fmla="*/ 0 h 231884"/>
              <a:gd name="connsiteX4" fmla="*/ 100211 w 214405"/>
              <a:gd name="connsiteY4" fmla="*/ 0 h 231884"/>
              <a:gd name="connsiteX5" fmla="*/ 214406 w 214405"/>
              <a:gd name="connsiteY5" fmla="*/ 114194 h 23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1884">
                <a:moveTo>
                  <a:pt x="97881" y="231884"/>
                </a:moveTo>
                <a:lnTo>
                  <a:pt x="0" y="231884"/>
                </a:lnTo>
                <a:lnTo>
                  <a:pt x="114194" y="116525"/>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34" name="Freihandform: Form 33">
            <a:extLst>
              <a:ext uri="{FF2B5EF4-FFF2-40B4-BE49-F238E27FC236}">
                <a16:creationId xmlns:a16="http://schemas.microsoft.com/office/drawing/2014/main" id="{1C9E837E-20C0-4E65-AB7F-E12A38184389}"/>
              </a:ext>
            </a:extLst>
          </p:cNvPr>
          <p:cNvSpPr/>
          <p:nvPr/>
        </p:nvSpPr>
        <p:spPr>
          <a:xfrm>
            <a:off x="9069136" y="2348489"/>
            <a:ext cx="214405" cy="233049"/>
          </a:xfrm>
          <a:custGeom>
            <a:avLst/>
            <a:gdLst>
              <a:gd name="connsiteX0" fmla="*/ 97881 w 214405"/>
              <a:gd name="connsiteY0" fmla="*/ 233050 h 233049"/>
              <a:gd name="connsiteX1" fmla="*/ 0 w 214405"/>
              <a:gd name="connsiteY1" fmla="*/ 233050 h 233049"/>
              <a:gd name="connsiteX2" fmla="*/ 114194 w 214405"/>
              <a:gd name="connsiteY2" fmla="*/ 117690 h 233049"/>
              <a:gd name="connsiteX3" fmla="*/ 0 w 214405"/>
              <a:gd name="connsiteY3" fmla="*/ 0 h 233049"/>
              <a:gd name="connsiteX4" fmla="*/ 100211 w 214405"/>
              <a:gd name="connsiteY4" fmla="*/ 0 h 233049"/>
              <a:gd name="connsiteX5" fmla="*/ 214406 w 214405"/>
              <a:gd name="connsiteY5" fmla="*/ 114194 h 23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3047">
                <a:moveTo>
                  <a:pt x="97881" y="233050"/>
                </a:moveTo>
                <a:lnTo>
                  <a:pt x="0" y="233050"/>
                </a:lnTo>
                <a:lnTo>
                  <a:pt x="114194" y="117690"/>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50" name="Freihandform: Form 49">
            <a:extLst>
              <a:ext uri="{FF2B5EF4-FFF2-40B4-BE49-F238E27FC236}">
                <a16:creationId xmlns:a16="http://schemas.microsoft.com/office/drawing/2014/main" id="{8113F30E-6E8E-4B5D-82C9-BD00E85422E7}"/>
              </a:ext>
            </a:extLst>
          </p:cNvPr>
          <p:cNvSpPr/>
          <p:nvPr/>
        </p:nvSpPr>
        <p:spPr>
          <a:xfrm>
            <a:off x="9069136" y="2703889"/>
            <a:ext cx="214405" cy="231884"/>
          </a:xfrm>
          <a:custGeom>
            <a:avLst/>
            <a:gdLst>
              <a:gd name="connsiteX0" fmla="*/ 97881 w 214405"/>
              <a:gd name="connsiteY0" fmla="*/ 231884 h 231884"/>
              <a:gd name="connsiteX1" fmla="*/ 0 w 214405"/>
              <a:gd name="connsiteY1" fmla="*/ 231884 h 231884"/>
              <a:gd name="connsiteX2" fmla="*/ 114194 w 214405"/>
              <a:gd name="connsiteY2" fmla="*/ 116525 h 231884"/>
              <a:gd name="connsiteX3" fmla="*/ 0 w 214405"/>
              <a:gd name="connsiteY3" fmla="*/ 0 h 231884"/>
              <a:gd name="connsiteX4" fmla="*/ 100211 w 214405"/>
              <a:gd name="connsiteY4" fmla="*/ 0 h 231884"/>
              <a:gd name="connsiteX5" fmla="*/ 214406 w 214405"/>
              <a:gd name="connsiteY5" fmla="*/ 114194 h 23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1884">
                <a:moveTo>
                  <a:pt x="97881" y="231884"/>
                </a:moveTo>
                <a:lnTo>
                  <a:pt x="0" y="231884"/>
                </a:lnTo>
                <a:lnTo>
                  <a:pt x="114194" y="116525"/>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66" name="Freihandform: Form 65">
            <a:extLst>
              <a:ext uri="{FF2B5EF4-FFF2-40B4-BE49-F238E27FC236}">
                <a16:creationId xmlns:a16="http://schemas.microsoft.com/office/drawing/2014/main" id="{83CF9041-D1BF-47E7-A660-B0728CA7416C}"/>
              </a:ext>
            </a:extLst>
          </p:cNvPr>
          <p:cNvSpPr/>
          <p:nvPr/>
        </p:nvSpPr>
        <p:spPr>
          <a:xfrm>
            <a:off x="9069136" y="3058125"/>
            <a:ext cx="214405" cy="233049"/>
          </a:xfrm>
          <a:custGeom>
            <a:avLst/>
            <a:gdLst>
              <a:gd name="connsiteX0" fmla="*/ 97881 w 214405"/>
              <a:gd name="connsiteY0" fmla="*/ 233050 h 233049"/>
              <a:gd name="connsiteX1" fmla="*/ 0 w 214405"/>
              <a:gd name="connsiteY1" fmla="*/ 233050 h 233049"/>
              <a:gd name="connsiteX2" fmla="*/ 114194 w 214405"/>
              <a:gd name="connsiteY2" fmla="*/ 117690 h 233049"/>
              <a:gd name="connsiteX3" fmla="*/ 0 w 214405"/>
              <a:gd name="connsiteY3" fmla="*/ 0 h 233049"/>
              <a:gd name="connsiteX4" fmla="*/ 100211 w 214405"/>
              <a:gd name="connsiteY4" fmla="*/ 0 h 233049"/>
              <a:gd name="connsiteX5" fmla="*/ 214406 w 214405"/>
              <a:gd name="connsiteY5" fmla="*/ 114194 h 23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3047">
                <a:moveTo>
                  <a:pt x="97881" y="233050"/>
                </a:moveTo>
                <a:lnTo>
                  <a:pt x="0" y="233050"/>
                </a:lnTo>
                <a:lnTo>
                  <a:pt x="114194" y="117690"/>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82" name="Freihandform: Form 81">
            <a:extLst>
              <a:ext uri="{FF2B5EF4-FFF2-40B4-BE49-F238E27FC236}">
                <a16:creationId xmlns:a16="http://schemas.microsoft.com/office/drawing/2014/main" id="{5E3A187E-D2FD-43A2-AA3C-854C35701E6E}"/>
              </a:ext>
            </a:extLst>
          </p:cNvPr>
          <p:cNvSpPr/>
          <p:nvPr/>
        </p:nvSpPr>
        <p:spPr>
          <a:xfrm>
            <a:off x="9069136" y="3413526"/>
            <a:ext cx="214405" cy="231884"/>
          </a:xfrm>
          <a:custGeom>
            <a:avLst/>
            <a:gdLst>
              <a:gd name="connsiteX0" fmla="*/ 97881 w 214405"/>
              <a:gd name="connsiteY0" fmla="*/ 231884 h 231884"/>
              <a:gd name="connsiteX1" fmla="*/ 0 w 214405"/>
              <a:gd name="connsiteY1" fmla="*/ 231884 h 231884"/>
              <a:gd name="connsiteX2" fmla="*/ 114194 w 214405"/>
              <a:gd name="connsiteY2" fmla="*/ 116525 h 231884"/>
              <a:gd name="connsiteX3" fmla="*/ 0 w 214405"/>
              <a:gd name="connsiteY3" fmla="*/ 0 h 231884"/>
              <a:gd name="connsiteX4" fmla="*/ 100211 w 214405"/>
              <a:gd name="connsiteY4" fmla="*/ 0 h 231884"/>
              <a:gd name="connsiteX5" fmla="*/ 214406 w 214405"/>
              <a:gd name="connsiteY5" fmla="*/ 114194 h 23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1884">
                <a:moveTo>
                  <a:pt x="97881" y="231884"/>
                </a:moveTo>
                <a:lnTo>
                  <a:pt x="0" y="231884"/>
                </a:lnTo>
                <a:lnTo>
                  <a:pt x="114194" y="116525"/>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98" name="Freihandform: Form 97">
            <a:extLst>
              <a:ext uri="{FF2B5EF4-FFF2-40B4-BE49-F238E27FC236}">
                <a16:creationId xmlns:a16="http://schemas.microsoft.com/office/drawing/2014/main" id="{D3A81AAA-9E9E-4B15-AAC7-1E1DC2995BB7}"/>
              </a:ext>
            </a:extLst>
          </p:cNvPr>
          <p:cNvSpPr/>
          <p:nvPr/>
        </p:nvSpPr>
        <p:spPr>
          <a:xfrm>
            <a:off x="9069136" y="3767761"/>
            <a:ext cx="214405" cy="233049"/>
          </a:xfrm>
          <a:custGeom>
            <a:avLst/>
            <a:gdLst>
              <a:gd name="connsiteX0" fmla="*/ 97881 w 214405"/>
              <a:gd name="connsiteY0" fmla="*/ 233050 h 233049"/>
              <a:gd name="connsiteX1" fmla="*/ 0 w 214405"/>
              <a:gd name="connsiteY1" fmla="*/ 233050 h 233049"/>
              <a:gd name="connsiteX2" fmla="*/ 114194 w 214405"/>
              <a:gd name="connsiteY2" fmla="*/ 117690 h 233049"/>
              <a:gd name="connsiteX3" fmla="*/ 0 w 214405"/>
              <a:gd name="connsiteY3" fmla="*/ 0 h 233049"/>
              <a:gd name="connsiteX4" fmla="*/ 100211 w 214405"/>
              <a:gd name="connsiteY4" fmla="*/ 0 h 233049"/>
              <a:gd name="connsiteX5" fmla="*/ 214406 w 214405"/>
              <a:gd name="connsiteY5" fmla="*/ 114194 h 23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3047">
                <a:moveTo>
                  <a:pt x="97881" y="233050"/>
                </a:moveTo>
                <a:lnTo>
                  <a:pt x="0" y="233050"/>
                </a:lnTo>
                <a:lnTo>
                  <a:pt x="114194" y="117690"/>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114" name="Freihandform: Form 113">
            <a:extLst>
              <a:ext uri="{FF2B5EF4-FFF2-40B4-BE49-F238E27FC236}">
                <a16:creationId xmlns:a16="http://schemas.microsoft.com/office/drawing/2014/main" id="{D7414768-9244-413F-B790-A52513170C11}"/>
              </a:ext>
            </a:extLst>
          </p:cNvPr>
          <p:cNvSpPr/>
          <p:nvPr/>
        </p:nvSpPr>
        <p:spPr>
          <a:xfrm>
            <a:off x="9069136" y="4123162"/>
            <a:ext cx="214405" cy="231884"/>
          </a:xfrm>
          <a:custGeom>
            <a:avLst/>
            <a:gdLst>
              <a:gd name="connsiteX0" fmla="*/ 97881 w 214405"/>
              <a:gd name="connsiteY0" fmla="*/ 231884 h 231884"/>
              <a:gd name="connsiteX1" fmla="*/ 0 w 214405"/>
              <a:gd name="connsiteY1" fmla="*/ 231884 h 231884"/>
              <a:gd name="connsiteX2" fmla="*/ 114194 w 214405"/>
              <a:gd name="connsiteY2" fmla="*/ 116525 h 231884"/>
              <a:gd name="connsiteX3" fmla="*/ 0 w 214405"/>
              <a:gd name="connsiteY3" fmla="*/ 0 h 231884"/>
              <a:gd name="connsiteX4" fmla="*/ 100211 w 214405"/>
              <a:gd name="connsiteY4" fmla="*/ 0 h 231884"/>
              <a:gd name="connsiteX5" fmla="*/ 214406 w 214405"/>
              <a:gd name="connsiteY5" fmla="*/ 114194 h 23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1884">
                <a:moveTo>
                  <a:pt x="97881" y="231884"/>
                </a:moveTo>
                <a:lnTo>
                  <a:pt x="0" y="231884"/>
                </a:lnTo>
                <a:lnTo>
                  <a:pt x="114194" y="116525"/>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130" name="Freihandform: Form 129">
            <a:extLst>
              <a:ext uri="{FF2B5EF4-FFF2-40B4-BE49-F238E27FC236}">
                <a16:creationId xmlns:a16="http://schemas.microsoft.com/office/drawing/2014/main" id="{401AC1C2-779B-43DF-BA19-77977887DF48}"/>
              </a:ext>
            </a:extLst>
          </p:cNvPr>
          <p:cNvSpPr/>
          <p:nvPr/>
        </p:nvSpPr>
        <p:spPr>
          <a:xfrm>
            <a:off x="9069136" y="4477397"/>
            <a:ext cx="214405" cy="233049"/>
          </a:xfrm>
          <a:custGeom>
            <a:avLst/>
            <a:gdLst>
              <a:gd name="connsiteX0" fmla="*/ 97881 w 214405"/>
              <a:gd name="connsiteY0" fmla="*/ 233050 h 233049"/>
              <a:gd name="connsiteX1" fmla="*/ 0 w 214405"/>
              <a:gd name="connsiteY1" fmla="*/ 233050 h 233049"/>
              <a:gd name="connsiteX2" fmla="*/ 114194 w 214405"/>
              <a:gd name="connsiteY2" fmla="*/ 117690 h 233049"/>
              <a:gd name="connsiteX3" fmla="*/ 0 w 214405"/>
              <a:gd name="connsiteY3" fmla="*/ 0 h 233049"/>
              <a:gd name="connsiteX4" fmla="*/ 100211 w 214405"/>
              <a:gd name="connsiteY4" fmla="*/ 0 h 233049"/>
              <a:gd name="connsiteX5" fmla="*/ 214406 w 214405"/>
              <a:gd name="connsiteY5" fmla="*/ 114194 h 23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3047">
                <a:moveTo>
                  <a:pt x="97881" y="233050"/>
                </a:moveTo>
                <a:lnTo>
                  <a:pt x="0" y="233050"/>
                </a:lnTo>
                <a:lnTo>
                  <a:pt x="114194" y="117690"/>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147" name="Freihandform: Form 146">
            <a:extLst>
              <a:ext uri="{FF2B5EF4-FFF2-40B4-BE49-F238E27FC236}">
                <a16:creationId xmlns:a16="http://schemas.microsoft.com/office/drawing/2014/main" id="{828616FB-ED5E-4EBB-AE8B-F4FB143D7DA7}"/>
              </a:ext>
            </a:extLst>
          </p:cNvPr>
          <p:cNvSpPr/>
          <p:nvPr/>
        </p:nvSpPr>
        <p:spPr>
          <a:xfrm>
            <a:off x="9069136" y="4832797"/>
            <a:ext cx="214405" cy="231884"/>
          </a:xfrm>
          <a:custGeom>
            <a:avLst/>
            <a:gdLst>
              <a:gd name="connsiteX0" fmla="*/ 97881 w 214405"/>
              <a:gd name="connsiteY0" fmla="*/ 231884 h 231884"/>
              <a:gd name="connsiteX1" fmla="*/ 0 w 214405"/>
              <a:gd name="connsiteY1" fmla="*/ 231884 h 231884"/>
              <a:gd name="connsiteX2" fmla="*/ 114194 w 214405"/>
              <a:gd name="connsiteY2" fmla="*/ 116525 h 231884"/>
              <a:gd name="connsiteX3" fmla="*/ 0 w 214405"/>
              <a:gd name="connsiteY3" fmla="*/ 0 h 231884"/>
              <a:gd name="connsiteX4" fmla="*/ 100211 w 214405"/>
              <a:gd name="connsiteY4" fmla="*/ 0 h 231884"/>
              <a:gd name="connsiteX5" fmla="*/ 214406 w 214405"/>
              <a:gd name="connsiteY5" fmla="*/ 114194 h 23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1884">
                <a:moveTo>
                  <a:pt x="97881" y="231884"/>
                </a:moveTo>
                <a:lnTo>
                  <a:pt x="0" y="231884"/>
                </a:lnTo>
                <a:lnTo>
                  <a:pt x="114194" y="116525"/>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164" name="Freihandform: Form 163">
            <a:extLst>
              <a:ext uri="{FF2B5EF4-FFF2-40B4-BE49-F238E27FC236}">
                <a16:creationId xmlns:a16="http://schemas.microsoft.com/office/drawing/2014/main" id="{1552BFC2-885E-488D-9178-E4EF0A480D27}"/>
              </a:ext>
            </a:extLst>
          </p:cNvPr>
          <p:cNvSpPr/>
          <p:nvPr/>
        </p:nvSpPr>
        <p:spPr>
          <a:xfrm>
            <a:off x="9069136" y="5187033"/>
            <a:ext cx="214405" cy="233049"/>
          </a:xfrm>
          <a:custGeom>
            <a:avLst/>
            <a:gdLst>
              <a:gd name="connsiteX0" fmla="*/ 97881 w 214405"/>
              <a:gd name="connsiteY0" fmla="*/ 233050 h 233049"/>
              <a:gd name="connsiteX1" fmla="*/ 0 w 214405"/>
              <a:gd name="connsiteY1" fmla="*/ 233050 h 233049"/>
              <a:gd name="connsiteX2" fmla="*/ 114194 w 214405"/>
              <a:gd name="connsiteY2" fmla="*/ 117690 h 233049"/>
              <a:gd name="connsiteX3" fmla="*/ 0 w 214405"/>
              <a:gd name="connsiteY3" fmla="*/ 0 h 233049"/>
              <a:gd name="connsiteX4" fmla="*/ 100211 w 214405"/>
              <a:gd name="connsiteY4" fmla="*/ 0 h 233049"/>
              <a:gd name="connsiteX5" fmla="*/ 214406 w 214405"/>
              <a:gd name="connsiteY5" fmla="*/ 114194 h 23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3047">
                <a:moveTo>
                  <a:pt x="97881" y="233050"/>
                </a:moveTo>
                <a:lnTo>
                  <a:pt x="0" y="233050"/>
                </a:lnTo>
                <a:lnTo>
                  <a:pt x="114194" y="117690"/>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181" name="Freihandform: Form 180">
            <a:extLst>
              <a:ext uri="{FF2B5EF4-FFF2-40B4-BE49-F238E27FC236}">
                <a16:creationId xmlns:a16="http://schemas.microsoft.com/office/drawing/2014/main" id="{80648966-F9E2-4B5F-ABE6-533E21207054}"/>
              </a:ext>
            </a:extLst>
          </p:cNvPr>
          <p:cNvSpPr/>
          <p:nvPr/>
        </p:nvSpPr>
        <p:spPr>
          <a:xfrm>
            <a:off x="9069136" y="5542434"/>
            <a:ext cx="214405" cy="231884"/>
          </a:xfrm>
          <a:custGeom>
            <a:avLst/>
            <a:gdLst>
              <a:gd name="connsiteX0" fmla="*/ 97881 w 214405"/>
              <a:gd name="connsiteY0" fmla="*/ 231884 h 231884"/>
              <a:gd name="connsiteX1" fmla="*/ 0 w 214405"/>
              <a:gd name="connsiteY1" fmla="*/ 231884 h 231884"/>
              <a:gd name="connsiteX2" fmla="*/ 114194 w 214405"/>
              <a:gd name="connsiteY2" fmla="*/ 117690 h 231884"/>
              <a:gd name="connsiteX3" fmla="*/ 0 w 214405"/>
              <a:gd name="connsiteY3" fmla="*/ 0 h 231884"/>
              <a:gd name="connsiteX4" fmla="*/ 100211 w 214405"/>
              <a:gd name="connsiteY4" fmla="*/ 0 h 231884"/>
              <a:gd name="connsiteX5" fmla="*/ 214406 w 214405"/>
              <a:gd name="connsiteY5" fmla="*/ 114194 h 23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1884">
                <a:moveTo>
                  <a:pt x="97881" y="231884"/>
                </a:moveTo>
                <a:lnTo>
                  <a:pt x="0" y="231884"/>
                </a:lnTo>
                <a:lnTo>
                  <a:pt x="114194" y="117690"/>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198" name="Freihandform: Form 197">
            <a:extLst>
              <a:ext uri="{FF2B5EF4-FFF2-40B4-BE49-F238E27FC236}">
                <a16:creationId xmlns:a16="http://schemas.microsoft.com/office/drawing/2014/main" id="{8C7041C5-0B5B-4AF4-9E5A-19A8C4C12F42}"/>
              </a:ext>
            </a:extLst>
          </p:cNvPr>
          <p:cNvSpPr/>
          <p:nvPr/>
        </p:nvSpPr>
        <p:spPr>
          <a:xfrm>
            <a:off x="9069136" y="5896669"/>
            <a:ext cx="214405" cy="233049"/>
          </a:xfrm>
          <a:custGeom>
            <a:avLst/>
            <a:gdLst>
              <a:gd name="connsiteX0" fmla="*/ 97881 w 214405"/>
              <a:gd name="connsiteY0" fmla="*/ 233050 h 233049"/>
              <a:gd name="connsiteX1" fmla="*/ 0 w 214405"/>
              <a:gd name="connsiteY1" fmla="*/ 233050 h 233049"/>
              <a:gd name="connsiteX2" fmla="*/ 114194 w 214405"/>
              <a:gd name="connsiteY2" fmla="*/ 117690 h 233049"/>
              <a:gd name="connsiteX3" fmla="*/ 0 w 214405"/>
              <a:gd name="connsiteY3" fmla="*/ 0 h 233049"/>
              <a:gd name="connsiteX4" fmla="*/ 100211 w 214405"/>
              <a:gd name="connsiteY4" fmla="*/ 0 h 233049"/>
              <a:gd name="connsiteX5" fmla="*/ 214406 w 214405"/>
              <a:gd name="connsiteY5" fmla="*/ 114194 h 23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3047">
                <a:moveTo>
                  <a:pt x="97881" y="233050"/>
                </a:moveTo>
                <a:lnTo>
                  <a:pt x="0" y="233050"/>
                </a:lnTo>
                <a:lnTo>
                  <a:pt x="114194" y="117690"/>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215" name="Freihandform: Form 214">
            <a:extLst>
              <a:ext uri="{FF2B5EF4-FFF2-40B4-BE49-F238E27FC236}">
                <a16:creationId xmlns:a16="http://schemas.microsoft.com/office/drawing/2014/main" id="{DC129505-58A5-42E7-B349-A205FB83331A}"/>
              </a:ext>
            </a:extLst>
          </p:cNvPr>
          <p:cNvSpPr/>
          <p:nvPr/>
        </p:nvSpPr>
        <p:spPr>
          <a:xfrm>
            <a:off x="9069136" y="6252070"/>
            <a:ext cx="214405" cy="233049"/>
          </a:xfrm>
          <a:custGeom>
            <a:avLst/>
            <a:gdLst>
              <a:gd name="connsiteX0" fmla="*/ 97881 w 214405"/>
              <a:gd name="connsiteY0" fmla="*/ 233050 h 233049"/>
              <a:gd name="connsiteX1" fmla="*/ 0 w 214405"/>
              <a:gd name="connsiteY1" fmla="*/ 233050 h 233049"/>
              <a:gd name="connsiteX2" fmla="*/ 114194 w 214405"/>
              <a:gd name="connsiteY2" fmla="*/ 117690 h 233049"/>
              <a:gd name="connsiteX3" fmla="*/ 0 w 214405"/>
              <a:gd name="connsiteY3" fmla="*/ 0 h 233049"/>
              <a:gd name="connsiteX4" fmla="*/ 100211 w 214405"/>
              <a:gd name="connsiteY4" fmla="*/ 0 h 233049"/>
              <a:gd name="connsiteX5" fmla="*/ 214406 w 214405"/>
              <a:gd name="connsiteY5" fmla="*/ 114194 h 23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3047">
                <a:moveTo>
                  <a:pt x="97881" y="233050"/>
                </a:moveTo>
                <a:lnTo>
                  <a:pt x="0" y="233050"/>
                </a:lnTo>
                <a:lnTo>
                  <a:pt x="114194" y="117690"/>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231" name="Freihandform: Form 230">
            <a:extLst>
              <a:ext uri="{FF2B5EF4-FFF2-40B4-BE49-F238E27FC236}">
                <a16:creationId xmlns:a16="http://schemas.microsoft.com/office/drawing/2014/main" id="{7D437321-278E-41CD-A64F-B829FA8D7F6A}"/>
              </a:ext>
            </a:extLst>
          </p:cNvPr>
          <p:cNvSpPr/>
          <p:nvPr/>
        </p:nvSpPr>
        <p:spPr>
          <a:xfrm>
            <a:off x="9069136" y="6607470"/>
            <a:ext cx="214405" cy="231884"/>
          </a:xfrm>
          <a:custGeom>
            <a:avLst/>
            <a:gdLst>
              <a:gd name="connsiteX0" fmla="*/ 97881 w 214405"/>
              <a:gd name="connsiteY0" fmla="*/ 231884 h 231884"/>
              <a:gd name="connsiteX1" fmla="*/ 0 w 214405"/>
              <a:gd name="connsiteY1" fmla="*/ 231884 h 231884"/>
              <a:gd name="connsiteX2" fmla="*/ 114194 w 214405"/>
              <a:gd name="connsiteY2" fmla="*/ 116525 h 231884"/>
              <a:gd name="connsiteX3" fmla="*/ 0 w 214405"/>
              <a:gd name="connsiteY3" fmla="*/ 0 h 231884"/>
              <a:gd name="connsiteX4" fmla="*/ 100211 w 214405"/>
              <a:gd name="connsiteY4" fmla="*/ 0 h 231884"/>
              <a:gd name="connsiteX5" fmla="*/ 214406 w 214405"/>
              <a:gd name="connsiteY5" fmla="*/ 114194 h 23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1884">
                <a:moveTo>
                  <a:pt x="97881" y="231884"/>
                </a:moveTo>
                <a:lnTo>
                  <a:pt x="0" y="231884"/>
                </a:lnTo>
                <a:lnTo>
                  <a:pt x="114194" y="116525"/>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20" name="Freihandform: Form 19">
            <a:extLst>
              <a:ext uri="{FF2B5EF4-FFF2-40B4-BE49-F238E27FC236}">
                <a16:creationId xmlns:a16="http://schemas.microsoft.com/office/drawing/2014/main" id="{59C6ABB5-FB82-4897-A910-6DBB4D07120E}"/>
              </a:ext>
            </a:extLst>
          </p:cNvPr>
          <p:cNvSpPr/>
          <p:nvPr/>
        </p:nvSpPr>
        <p:spPr>
          <a:xfrm>
            <a:off x="9415215" y="1984931"/>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2351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6">
                <a:moveTo>
                  <a:pt x="106037" y="250528"/>
                </a:moveTo>
                <a:lnTo>
                  <a:pt x="0" y="250528"/>
                </a:lnTo>
                <a:lnTo>
                  <a:pt x="123516" y="125847"/>
                </a:lnTo>
                <a:lnTo>
                  <a:pt x="0" y="0"/>
                </a:lnTo>
                <a:lnTo>
                  <a:pt x="108368" y="0"/>
                </a:lnTo>
                <a:lnTo>
                  <a:pt x="230719" y="122351"/>
                </a:lnTo>
                <a:close/>
              </a:path>
            </a:pathLst>
          </a:custGeom>
          <a:solidFill>
            <a:srgbClr val="EEF2F5"/>
          </a:solidFill>
          <a:ln w="11643" cap="flat">
            <a:noFill/>
            <a:prstDash val="solid"/>
            <a:miter/>
          </a:ln>
        </p:spPr>
        <p:txBody>
          <a:bodyPr rtlCol="0" anchor="ctr"/>
          <a:lstStyle/>
          <a:p>
            <a:endParaRPr lang="de-DE"/>
          </a:p>
        </p:txBody>
      </p:sp>
      <p:sp>
        <p:nvSpPr>
          <p:cNvPr id="35" name="Freihandform: Form 34">
            <a:extLst>
              <a:ext uri="{FF2B5EF4-FFF2-40B4-BE49-F238E27FC236}">
                <a16:creationId xmlns:a16="http://schemas.microsoft.com/office/drawing/2014/main" id="{4B50BF8D-98A0-4C91-8957-BC9FDA550D32}"/>
              </a:ext>
            </a:extLst>
          </p:cNvPr>
          <p:cNvSpPr/>
          <p:nvPr/>
        </p:nvSpPr>
        <p:spPr>
          <a:xfrm>
            <a:off x="9415215" y="2339167"/>
            <a:ext cx="230718" cy="250528"/>
          </a:xfrm>
          <a:custGeom>
            <a:avLst/>
            <a:gdLst>
              <a:gd name="connsiteX0" fmla="*/ 106037 w 230718"/>
              <a:gd name="connsiteY0" fmla="*/ 250528 h 250528"/>
              <a:gd name="connsiteX1" fmla="*/ 0 w 230718"/>
              <a:gd name="connsiteY1" fmla="*/ 250528 h 250528"/>
              <a:gd name="connsiteX2" fmla="*/ 123516 w 230718"/>
              <a:gd name="connsiteY2" fmla="*/ 127012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6">
                <a:moveTo>
                  <a:pt x="106037" y="250528"/>
                </a:moveTo>
                <a:lnTo>
                  <a:pt x="0" y="250528"/>
                </a:lnTo>
                <a:lnTo>
                  <a:pt x="123516" y="127012"/>
                </a:lnTo>
                <a:lnTo>
                  <a:pt x="0" y="0"/>
                </a:lnTo>
                <a:lnTo>
                  <a:pt x="108368" y="0"/>
                </a:lnTo>
                <a:lnTo>
                  <a:pt x="230719" y="123516"/>
                </a:lnTo>
                <a:close/>
              </a:path>
            </a:pathLst>
          </a:custGeom>
          <a:solidFill>
            <a:srgbClr val="EEF2F5"/>
          </a:solidFill>
          <a:ln w="11643" cap="flat">
            <a:noFill/>
            <a:prstDash val="solid"/>
            <a:miter/>
          </a:ln>
        </p:spPr>
        <p:txBody>
          <a:bodyPr rtlCol="0" anchor="ctr"/>
          <a:lstStyle/>
          <a:p>
            <a:endParaRPr lang="de-DE"/>
          </a:p>
        </p:txBody>
      </p:sp>
      <p:sp>
        <p:nvSpPr>
          <p:cNvPr id="51" name="Freihandform: Form 50">
            <a:extLst>
              <a:ext uri="{FF2B5EF4-FFF2-40B4-BE49-F238E27FC236}">
                <a16:creationId xmlns:a16="http://schemas.microsoft.com/office/drawing/2014/main" id="{D1B3B4E3-CEF5-496B-A094-E4A3B0CD5519}"/>
              </a:ext>
            </a:extLst>
          </p:cNvPr>
          <p:cNvSpPr/>
          <p:nvPr/>
        </p:nvSpPr>
        <p:spPr>
          <a:xfrm>
            <a:off x="9415215" y="2694568"/>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6">
                <a:moveTo>
                  <a:pt x="106037" y="250528"/>
                </a:moveTo>
                <a:lnTo>
                  <a:pt x="0" y="250528"/>
                </a:lnTo>
                <a:lnTo>
                  <a:pt x="123516" y="125847"/>
                </a:lnTo>
                <a:lnTo>
                  <a:pt x="0" y="0"/>
                </a:lnTo>
                <a:lnTo>
                  <a:pt x="108368" y="0"/>
                </a:lnTo>
                <a:lnTo>
                  <a:pt x="230719" y="123516"/>
                </a:lnTo>
                <a:close/>
              </a:path>
            </a:pathLst>
          </a:custGeom>
          <a:solidFill>
            <a:srgbClr val="EEF2F5"/>
          </a:solidFill>
          <a:ln w="11643" cap="flat">
            <a:noFill/>
            <a:prstDash val="solid"/>
            <a:miter/>
          </a:ln>
        </p:spPr>
        <p:txBody>
          <a:bodyPr rtlCol="0" anchor="ctr"/>
          <a:lstStyle/>
          <a:p>
            <a:endParaRPr lang="de-DE"/>
          </a:p>
        </p:txBody>
      </p:sp>
      <p:sp>
        <p:nvSpPr>
          <p:cNvPr id="67" name="Freihandform: Form 66">
            <a:extLst>
              <a:ext uri="{FF2B5EF4-FFF2-40B4-BE49-F238E27FC236}">
                <a16:creationId xmlns:a16="http://schemas.microsoft.com/office/drawing/2014/main" id="{03766B2F-D62E-4376-B19A-E9A0137C9FF8}"/>
              </a:ext>
            </a:extLst>
          </p:cNvPr>
          <p:cNvSpPr/>
          <p:nvPr/>
        </p:nvSpPr>
        <p:spPr>
          <a:xfrm>
            <a:off x="9415215" y="3048803"/>
            <a:ext cx="230718" cy="250528"/>
          </a:xfrm>
          <a:custGeom>
            <a:avLst/>
            <a:gdLst>
              <a:gd name="connsiteX0" fmla="*/ 106037 w 230718"/>
              <a:gd name="connsiteY0" fmla="*/ 250528 h 250528"/>
              <a:gd name="connsiteX1" fmla="*/ 0 w 230718"/>
              <a:gd name="connsiteY1" fmla="*/ 250528 h 250528"/>
              <a:gd name="connsiteX2" fmla="*/ 123516 w 230718"/>
              <a:gd name="connsiteY2" fmla="*/ 127012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6">
                <a:moveTo>
                  <a:pt x="106037" y="250528"/>
                </a:moveTo>
                <a:lnTo>
                  <a:pt x="0" y="250528"/>
                </a:lnTo>
                <a:lnTo>
                  <a:pt x="123516" y="127012"/>
                </a:lnTo>
                <a:lnTo>
                  <a:pt x="0" y="0"/>
                </a:lnTo>
                <a:lnTo>
                  <a:pt x="108368" y="0"/>
                </a:lnTo>
                <a:lnTo>
                  <a:pt x="230719" y="123516"/>
                </a:lnTo>
                <a:close/>
              </a:path>
            </a:pathLst>
          </a:custGeom>
          <a:solidFill>
            <a:srgbClr val="EEF2F5"/>
          </a:solidFill>
          <a:ln w="11643" cap="flat">
            <a:noFill/>
            <a:prstDash val="solid"/>
            <a:miter/>
          </a:ln>
        </p:spPr>
        <p:txBody>
          <a:bodyPr rtlCol="0" anchor="ctr"/>
          <a:lstStyle/>
          <a:p>
            <a:endParaRPr lang="de-DE"/>
          </a:p>
        </p:txBody>
      </p:sp>
      <p:sp>
        <p:nvSpPr>
          <p:cNvPr id="83" name="Freihandform: Form 82">
            <a:extLst>
              <a:ext uri="{FF2B5EF4-FFF2-40B4-BE49-F238E27FC236}">
                <a16:creationId xmlns:a16="http://schemas.microsoft.com/office/drawing/2014/main" id="{AF30F1BC-BAAD-4C43-8F77-BAF589EBE37F}"/>
              </a:ext>
            </a:extLst>
          </p:cNvPr>
          <p:cNvSpPr/>
          <p:nvPr/>
        </p:nvSpPr>
        <p:spPr>
          <a:xfrm>
            <a:off x="9415215" y="3404203"/>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6">
                <a:moveTo>
                  <a:pt x="106037" y="250528"/>
                </a:moveTo>
                <a:lnTo>
                  <a:pt x="0" y="250528"/>
                </a:lnTo>
                <a:lnTo>
                  <a:pt x="123516" y="125847"/>
                </a:lnTo>
                <a:lnTo>
                  <a:pt x="0" y="0"/>
                </a:lnTo>
                <a:lnTo>
                  <a:pt x="108368" y="0"/>
                </a:lnTo>
                <a:lnTo>
                  <a:pt x="230719" y="123516"/>
                </a:lnTo>
                <a:close/>
              </a:path>
            </a:pathLst>
          </a:custGeom>
          <a:solidFill>
            <a:srgbClr val="EEF2F5"/>
          </a:solidFill>
          <a:ln w="11643" cap="flat">
            <a:noFill/>
            <a:prstDash val="solid"/>
            <a:miter/>
          </a:ln>
        </p:spPr>
        <p:txBody>
          <a:bodyPr rtlCol="0" anchor="ctr"/>
          <a:lstStyle/>
          <a:p>
            <a:endParaRPr lang="de-DE"/>
          </a:p>
        </p:txBody>
      </p:sp>
      <p:sp>
        <p:nvSpPr>
          <p:cNvPr id="99" name="Freihandform: Form 98">
            <a:extLst>
              <a:ext uri="{FF2B5EF4-FFF2-40B4-BE49-F238E27FC236}">
                <a16:creationId xmlns:a16="http://schemas.microsoft.com/office/drawing/2014/main" id="{EB01FE63-3ABC-4A0B-B6A7-BC06FBCD3820}"/>
              </a:ext>
            </a:extLst>
          </p:cNvPr>
          <p:cNvSpPr/>
          <p:nvPr/>
        </p:nvSpPr>
        <p:spPr>
          <a:xfrm>
            <a:off x="9415215" y="3758439"/>
            <a:ext cx="230718" cy="251693"/>
          </a:xfrm>
          <a:custGeom>
            <a:avLst/>
            <a:gdLst>
              <a:gd name="connsiteX0" fmla="*/ 106037 w 230718"/>
              <a:gd name="connsiteY0" fmla="*/ 251694 h 251693"/>
              <a:gd name="connsiteX1" fmla="*/ 0 w 230718"/>
              <a:gd name="connsiteY1" fmla="*/ 251694 h 251693"/>
              <a:gd name="connsiteX2" fmla="*/ 123516 w 230718"/>
              <a:gd name="connsiteY2" fmla="*/ 127012 h 251693"/>
              <a:gd name="connsiteX3" fmla="*/ 0 w 230718"/>
              <a:gd name="connsiteY3" fmla="*/ 0 h 251693"/>
              <a:gd name="connsiteX4" fmla="*/ 108368 w 230718"/>
              <a:gd name="connsiteY4" fmla="*/ 0 h 251693"/>
              <a:gd name="connsiteX5" fmla="*/ 230719 w 230718"/>
              <a:gd name="connsiteY5" fmla="*/ 123516 h 251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1693">
                <a:moveTo>
                  <a:pt x="106037" y="251694"/>
                </a:moveTo>
                <a:lnTo>
                  <a:pt x="0" y="251694"/>
                </a:lnTo>
                <a:lnTo>
                  <a:pt x="123516" y="127012"/>
                </a:lnTo>
                <a:lnTo>
                  <a:pt x="0" y="0"/>
                </a:lnTo>
                <a:lnTo>
                  <a:pt x="108368" y="0"/>
                </a:lnTo>
                <a:lnTo>
                  <a:pt x="230719" y="123516"/>
                </a:lnTo>
                <a:close/>
              </a:path>
            </a:pathLst>
          </a:custGeom>
          <a:solidFill>
            <a:srgbClr val="EEF2F5"/>
          </a:solidFill>
          <a:ln w="11643" cap="flat">
            <a:noFill/>
            <a:prstDash val="solid"/>
            <a:miter/>
          </a:ln>
        </p:spPr>
        <p:txBody>
          <a:bodyPr rtlCol="0" anchor="ctr"/>
          <a:lstStyle/>
          <a:p>
            <a:endParaRPr lang="de-DE"/>
          </a:p>
        </p:txBody>
      </p:sp>
      <p:sp>
        <p:nvSpPr>
          <p:cNvPr id="115" name="Freihandform: Form 114">
            <a:extLst>
              <a:ext uri="{FF2B5EF4-FFF2-40B4-BE49-F238E27FC236}">
                <a16:creationId xmlns:a16="http://schemas.microsoft.com/office/drawing/2014/main" id="{A88CE84F-0A79-46B8-839D-DEE0DC50B30B}"/>
              </a:ext>
            </a:extLst>
          </p:cNvPr>
          <p:cNvSpPr/>
          <p:nvPr/>
        </p:nvSpPr>
        <p:spPr>
          <a:xfrm>
            <a:off x="9415215" y="4113840"/>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6">
                <a:moveTo>
                  <a:pt x="106037" y="250528"/>
                </a:moveTo>
                <a:lnTo>
                  <a:pt x="0" y="250528"/>
                </a:lnTo>
                <a:lnTo>
                  <a:pt x="123516" y="125847"/>
                </a:lnTo>
                <a:lnTo>
                  <a:pt x="0" y="0"/>
                </a:lnTo>
                <a:lnTo>
                  <a:pt x="108368" y="0"/>
                </a:lnTo>
                <a:lnTo>
                  <a:pt x="230719" y="123516"/>
                </a:lnTo>
                <a:close/>
              </a:path>
            </a:pathLst>
          </a:custGeom>
          <a:solidFill>
            <a:srgbClr val="EEF2F5"/>
          </a:solidFill>
          <a:ln w="11643" cap="flat">
            <a:noFill/>
            <a:prstDash val="solid"/>
            <a:miter/>
          </a:ln>
        </p:spPr>
        <p:txBody>
          <a:bodyPr rtlCol="0" anchor="ctr"/>
          <a:lstStyle/>
          <a:p>
            <a:endParaRPr lang="de-DE"/>
          </a:p>
        </p:txBody>
      </p:sp>
      <p:sp>
        <p:nvSpPr>
          <p:cNvPr id="131" name="Freihandform: Form 130">
            <a:extLst>
              <a:ext uri="{FF2B5EF4-FFF2-40B4-BE49-F238E27FC236}">
                <a16:creationId xmlns:a16="http://schemas.microsoft.com/office/drawing/2014/main" id="{F56B8540-4A40-448B-96CE-F13FEB89FE24}"/>
              </a:ext>
            </a:extLst>
          </p:cNvPr>
          <p:cNvSpPr/>
          <p:nvPr/>
        </p:nvSpPr>
        <p:spPr>
          <a:xfrm>
            <a:off x="9415215" y="4469240"/>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2351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6">
                <a:moveTo>
                  <a:pt x="106037" y="250528"/>
                </a:moveTo>
                <a:lnTo>
                  <a:pt x="0" y="250528"/>
                </a:lnTo>
                <a:lnTo>
                  <a:pt x="123516" y="125847"/>
                </a:lnTo>
                <a:lnTo>
                  <a:pt x="0" y="0"/>
                </a:lnTo>
                <a:lnTo>
                  <a:pt x="108368" y="0"/>
                </a:lnTo>
                <a:lnTo>
                  <a:pt x="230719" y="122351"/>
                </a:lnTo>
                <a:close/>
              </a:path>
            </a:pathLst>
          </a:custGeom>
          <a:solidFill>
            <a:srgbClr val="EEF2F5"/>
          </a:solidFill>
          <a:ln w="11643" cap="flat">
            <a:noFill/>
            <a:prstDash val="solid"/>
            <a:miter/>
          </a:ln>
        </p:spPr>
        <p:txBody>
          <a:bodyPr rtlCol="0" anchor="ctr"/>
          <a:lstStyle/>
          <a:p>
            <a:endParaRPr lang="de-DE"/>
          </a:p>
        </p:txBody>
      </p:sp>
      <p:sp>
        <p:nvSpPr>
          <p:cNvPr id="148" name="Freihandform: Form 147">
            <a:extLst>
              <a:ext uri="{FF2B5EF4-FFF2-40B4-BE49-F238E27FC236}">
                <a16:creationId xmlns:a16="http://schemas.microsoft.com/office/drawing/2014/main" id="{FA4D92A2-824B-4123-BA21-136199CED582}"/>
              </a:ext>
            </a:extLst>
          </p:cNvPr>
          <p:cNvSpPr/>
          <p:nvPr/>
        </p:nvSpPr>
        <p:spPr>
          <a:xfrm>
            <a:off x="9415215" y="4823475"/>
            <a:ext cx="230718" cy="250528"/>
          </a:xfrm>
          <a:custGeom>
            <a:avLst/>
            <a:gdLst>
              <a:gd name="connsiteX0" fmla="*/ 106037 w 230718"/>
              <a:gd name="connsiteY0" fmla="*/ 250528 h 250528"/>
              <a:gd name="connsiteX1" fmla="*/ 0 w 230718"/>
              <a:gd name="connsiteY1" fmla="*/ 250528 h 250528"/>
              <a:gd name="connsiteX2" fmla="*/ 123516 w 230718"/>
              <a:gd name="connsiteY2" fmla="*/ 127012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6">
                <a:moveTo>
                  <a:pt x="106037" y="250528"/>
                </a:moveTo>
                <a:lnTo>
                  <a:pt x="0" y="250528"/>
                </a:lnTo>
                <a:lnTo>
                  <a:pt x="123516" y="127012"/>
                </a:lnTo>
                <a:lnTo>
                  <a:pt x="0" y="0"/>
                </a:lnTo>
                <a:lnTo>
                  <a:pt x="108368" y="0"/>
                </a:lnTo>
                <a:lnTo>
                  <a:pt x="230719" y="123516"/>
                </a:lnTo>
                <a:close/>
              </a:path>
            </a:pathLst>
          </a:custGeom>
          <a:solidFill>
            <a:srgbClr val="EEF2F5"/>
          </a:solidFill>
          <a:ln w="11643" cap="flat">
            <a:noFill/>
            <a:prstDash val="solid"/>
            <a:miter/>
          </a:ln>
        </p:spPr>
        <p:txBody>
          <a:bodyPr rtlCol="0" anchor="ctr"/>
          <a:lstStyle/>
          <a:p>
            <a:endParaRPr lang="de-DE"/>
          </a:p>
        </p:txBody>
      </p:sp>
      <p:sp>
        <p:nvSpPr>
          <p:cNvPr id="165" name="Freihandform: Form 164">
            <a:extLst>
              <a:ext uri="{FF2B5EF4-FFF2-40B4-BE49-F238E27FC236}">
                <a16:creationId xmlns:a16="http://schemas.microsoft.com/office/drawing/2014/main" id="{B480051A-E4BB-4D8D-9463-F9DC0CB12BA8}"/>
              </a:ext>
            </a:extLst>
          </p:cNvPr>
          <p:cNvSpPr/>
          <p:nvPr/>
        </p:nvSpPr>
        <p:spPr>
          <a:xfrm>
            <a:off x="9415215" y="5178876"/>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2351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6">
                <a:moveTo>
                  <a:pt x="106037" y="250528"/>
                </a:moveTo>
                <a:lnTo>
                  <a:pt x="0" y="250528"/>
                </a:lnTo>
                <a:lnTo>
                  <a:pt x="123516" y="125847"/>
                </a:lnTo>
                <a:lnTo>
                  <a:pt x="0" y="0"/>
                </a:lnTo>
                <a:lnTo>
                  <a:pt x="108368" y="0"/>
                </a:lnTo>
                <a:lnTo>
                  <a:pt x="230719" y="122351"/>
                </a:lnTo>
                <a:close/>
              </a:path>
            </a:pathLst>
          </a:custGeom>
          <a:solidFill>
            <a:srgbClr val="EEF2F5"/>
          </a:solidFill>
          <a:ln w="11643" cap="flat">
            <a:noFill/>
            <a:prstDash val="solid"/>
            <a:miter/>
          </a:ln>
        </p:spPr>
        <p:txBody>
          <a:bodyPr rtlCol="0" anchor="ctr"/>
          <a:lstStyle/>
          <a:p>
            <a:endParaRPr lang="de-DE"/>
          </a:p>
        </p:txBody>
      </p:sp>
      <p:sp>
        <p:nvSpPr>
          <p:cNvPr id="182" name="Freihandform: Form 181">
            <a:extLst>
              <a:ext uri="{FF2B5EF4-FFF2-40B4-BE49-F238E27FC236}">
                <a16:creationId xmlns:a16="http://schemas.microsoft.com/office/drawing/2014/main" id="{8B9C7922-A46C-4300-8536-75C60F1BDA2A}"/>
              </a:ext>
            </a:extLst>
          </p:cNvPr>
          <p:cNvSpPr/>
          <p:nvPr/>
        </p:nvSpPr>
        <p:spPr>
          <a:xfrm>
            <a:off x="9415215" y="5533111"/>
            <a:ext cx="230718" cy="250528"/>
          </a:xfrm>
          <a:custGeom>
            <a:avLst/>
            <a:gdLst>
              <a:gd name="connsiteX0" fmla="*/ 106037 w 230718"/>
              <a:gd name="connsiteY0" fmla="*/ 250528 h 250528"/>
              <a:gd name="connsiteX1" fmla="*/ 0 w 230718"/>
              <a:gd name="connsiteY1" fmla="*/ 250528 h 250528"/>
              <a:gd name="connsiteX2" fmla="*/ 123516 w 230718"/>
              <a:gd name="connsiteY2" fmla="*/ 127012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6">
                <a:moveTo>
                  <a:pt x="106037" y="250528"/>
                </a:moveTo>
                <a:lnTo>
                  <a:pt x="0" y="250528"/>
                </a:lnTo>
                <a:lnTo>
                  <a:pt x="123516" y="127012"/>
                </a:lnTo>
                <a:lnTo>
                  <a:pt x="0" y="0"/>
                </a:lnTo>
                <a:lnTo>
                  <a:pt x="108368" y="0"/>
                </a:lnTo>
                <a:lnTo>
                  <a:pt x="230719" y="123516"/>
                </a:lnTo>
                <a:close/>
              </a:path>
            </a:pathLst>
          </a:custGeom>
          <a:solidFill>
            <a:srgbClr val="EEF2F5"/>
          </a:solidFill>
          <a:ln w="11643" cap="flat">
            <a:noFill/>
            <a:prstDash val="solid"/>
            <a:miter/>
          </a:ln>
        </p:spPr>
        <p:txBody>
          <a:bodyPr rtlCol="0" anchor="ctr"/>
          <a:lstStyle/>
          <a:p>
            <a:endParaRPr lang="de-DE"/>
          </a:p>
        </p:txBody>
      </p:sp>
      <p:sp>
        <p:nvSpPr>
          <p:cNvPr id="199" name="Freihandform: Form 198">
            <a:extLst>
              <a:ext uri="{FF2B5EF4-FFF2-40B4-BE49-F238E27FC236}">
                <a16:creationId xmlns:a16="http://schemas.microsoft.com/office/drawing/2014/main" id="{808E1183-99E4-4B7F-B544-06366CD89D96}"/>
              </a:ext>
            </a:extLst>
          </p:cNvPr>
          <p:cNvSpPr/>
          <p:nvPr/>
        </p:nvSpPr>
        <p:spPr>
          <a:xfrm>
            <a:off x="9415215" y="5888512"/>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2351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6">
                <a:moveTo>
                  <a:pt x="106037" y="250528"/>
                </a:moveTo>
                <a:lnTo>
                  <a:pt x="0" y="250528"/>
                </a:lnTo>
                <a:lnTo>
                  <a:pt x="123516" y="125847"/>
                </a:lnTo>
                <a:lnTo>
                  <a:pt x="0" y="0"/>
                </a:lnTo>
                <a:lnTo>
                  <a:pt x="108368" y="0"/>
                </a:lnTo>
                <a:lnTo>
                  <a:pt x="230719" y="122351"/>
                </a:lnTo>
                <a:close/>
              </a:path>
            </a:pathLst>
          </a:custGeom>
          <a:solidFill>
            <a:srgbClr val="EEF2F5"/>
          </a:solidFill>
          <a:ln w="11643" cap="flat">
            <a:noFill/>
            <a:prstDash val="solid"/>
            <a:miter/>
          </a:ln>
        </p:spPr>
        <p:txBody>
          <a:bodyPr rtlCol="0" anchor="ctr"/>
          <a:lstStyle/>
          <a:p>
            <a:endParaRPr lang="de-DE"/>
          </a:p>
        </p:txBody>
      </p:sp>
      <p:sp>
        <p:nvSpPr>
          <p:cNvPr id="216" name="Freihandform: Form 215">
            <a:extLst>
              <a:ext uri="{FF2B5EF4-FFF2-40B4-BE49-F238E27FC236}">
                <a16:creationId xmlns:a16="http://schemas.microsoft.com/office/drawing/2014/main" id="{CD034923-4C0A-4423-8672-AB74CD3F1B7B}"/>
              </a:ext>
            </a:extLst>
          </p:cNvPr>
          <p:cNvSpPr/>
          <p:nvPr/>
        </p:nvSpPr>
        <p:spPr>
          <a:xfrm>
            <a:off x="9415215" y="6242748"/>
            <a:ext cx="230718" cy="250528"/>
          </a:xfrm>
          <a:custGeom>
            <a:avLst/>
            <a:gdLst>
              <a:gd name="connsiteX0" fmla="*/ 106037 w 230718"/>
              <a:gd name="connsiteY0" fmla="*/ 250528 h 250528"/>
              <a:gd name="connsiteX1" fmla="*/ 0 w 230718"/>
              <a:gd name="connsiteY1" fmla="*/ 250528 h 250528"/>
              <a:gd name="connsiteX2" fmla="*/ 123516 w 230718"/>
              <a:gd name="connsiteY2" fmla="*/ 127012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6">
                <a:moveTo>
                  <a:pt x="106037" y="250528"/>
                </a:moveTo>
                <a:lnTo>
                  <a:pt x="0" y="250528"/>
                </a:lnTo>
                <a:lnTo>
                  <a:pt x="123516" y="127012"/>
                </a:lnTo>
                <a:lnTo>
                  <a:pt x="0" y="0"/>
                </a:lnTo>
                <a:lnTo>
                  <a:pt x="108368" y="0"/>
                </a:lnTo>
                <a:lnTo>
                  <a:pt x="230719" y="123516"/>
                </a:lnTo>
                <a:close/>
              </a:path>
            </a:pathLst>
          </a:custGeom>
          <a:solidFill>
            <a:srgbClr val="EEF2F5"/>
          </a:solidFill>
          <a:ln w="11643" cap="flat">
            <a:noFill/>
            <a:prstDash val="solid"/>
            <a:miter/>
          </a:ln>
        </p:spPr>
        <p:txBody>
          <a:bodyPr rtlCol="0" anchor="ctr"/>
          <a:lstStyle/>
          <a:p>
            <a:endParaRPr lang="de-DE"/>
          </a:p>
        </p:txBody>
      </p:sp>
      <p:sp>
        <p:nvSpPr>
          <p:cNvPr id="232" name="Freihandform: Form 231">
            <a:extLst>
              <a:ext uri="{FF2B5EF4-FFF2-40B4-BE49-F238E27FC236}">
                <a16:creationId xmlns:a16="http://schemas.microsoft.com/office/drawing/2014/main" id="{B9006F61-C8F9-435F-8E25-867EF66AB2C0}"/>
              </a:ext>
            </a:extLst>
          </p:cNvPr>
          <p:cNvSpPr/>
          <p:nvPr/>
        </p:nvSpPr>
        <p:spPr>
          <a:xfrm>
            <a:off x="9415215" y="6598148"/>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2351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6">
                <a:moveTo>
                  <a:pt x="106037" y="250528"/>
                </a:moveTo>
                <a:lnTo>
                  <a:pt x="0" y="250528"/>
                </a:lnTo>
                <a:lnTo>
                  <a:pt x="123516" y="125847"/>
                </a:lnTo>
                <a:lnTo>
                  <a:pt x="0" y="0"/>
                </a:lnTo>
                <a:lnTo>
                  <a:pt x="108368" y="0"/>
                </a:lnTo>
                <a:lnTo>
                  <a:pt x="230719" y="122351"/>
                </a:lnTo>
                <a:close/>
              </a:path>
            </a:pathLst>
          </a:custGeom>
          <a:solidFill>
            <a:srgbClr val="EEF2F5"/>
          </a:solidFill>
          <a:ln w="11643" cap="flat">
            <a:noFill/>
            <a:prstDash val="solid"/>
            <a:miter/>
          </a:ln>
        </p:spPr>
        <p:txBody>
          <a:bodyPr rtlCol="0" anchor="ctr"/>
          <a:lstStyle/>
          <a:p>
            <a:endParaRPr lang="de-DE"/>
          </a:p>
        </p:txBody>
      </p:sp>
      <p:sp>
        <p:nvSpPr>
          <p:cNvPr id="21" name="Freihandform: Form 20">
            <a:extLst>
              <a:ext uri="{FF2B5EF4-FFF2-40B4-BE49-F238E27FC236}">
                <a16:creationId xmlns:a16="http://schemas.microsoft.com/office/drawing/2014/main" id="{FA010AB3-93D2-478F-82A2-79D3EAB3E973}"/>
              </a:ext>
            </a:extLst>
          </p:cNvPr>
          <p:cNvSpPr/>
          <p:nvPr/>
        </p:nvSpPr>
        <p:spPr>
          <a:xfrm>
            <a:off x="9761293" y="1975610"/>
            <a:ext cx="248198" cy="269172"/>
          </a:xfrm>
          <a:custGeom>
            <a:avLst/>
            <a:gdLst>
              <a:gd name="connsiteX0" fmla="*/ 114195 w 248198"/>
              <a:gd name="connsiteY0" fmla="*/ 269172 h 269172"/>
              <a:gd name="connsiteX1" fmla="*/ 0 w 248198"/>
              <a:gd name="connsiteY1" fmla="*/ 269172 h 269172"/>
              <a:gd name="connsiteX2" fmla="*/ 132838 w 248198"/>
              <a:gd name="connsiteY2" fmla="*/ 135169 h 269172"/>
              <a:gd name="connsiteX3" fmla="*/ 0 w 248198"/>
              <a:gd name="connsiteY3" fmla="*/ 0 h 269172"/>
              <a:gd name="connsiteX4" fmla="*/ 116525 w 248198"/>
              <a:gd name="connsiteY4" fmla="*/ 0 h 269172"/>
              <a:gd name="connsiteX5" fmla="*/ 248198 w 248198"/>
              <a:gd name="connsiteY5" fmla="*/ 131673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endParaRPr lang="de-DE"/>
          </a:p>
        </p:txBody>
      </p:sp>
      <p:sp>
        <p:nvSpPr>
          <p:cNvPr id="36" name="Freihandform: Form 35">
            <a:extLst>
              <a:ext uri="{FF2B5EF4-FFF2-40B4-BE49-F238E27FC236}">
                <a16:creationId xmlns:a16="http://schemas.microsoft.com/office/drawing/2014/main" id="{E7957182-0D78-447E-AD11-155CFFA4EFCF}"/>
              </a:ext>
            </a:extLst>
          </p:cNvPr>
          <p:cNvSpPr/>
          <p:nvPr/>
        </p:nvSpPr>
        <p:spPr>
          <a:xfrm>
            <a:off x="9761293" y="2331010"/>
            <a:ext cx="248198" cy="268007"/>
          </a:xfrm>
          <a:custGeom>
            <a:avLst/>
            <a:gdLst>
              <a:gd name="connsiteX0" fmla="*/ 114195 w 248198"/>
              <a:gd name="connsiteY0" fmla="*/ 268007 h 268007"/>
              <a:gd name="connsiteX1" fmla="*/ 0 w 248198"/>
              <a:gd name="connsiteY1" fmla="*/ 268007 h 268007"/>
              <a:gd name="connsiteX2" fmla="*/ 132838 w 248198"/>
              <a:gd name="connsiteY2" fmla="*/ 135169 h 268007"/>
              <a:gd name="connsiteX3" fmla="*/ 0 w 248198"/>
              <a:gd name="connsiteY3" fmla="*/ 0 h 268007"/>
              <a:gd name="connsiteX4" fmla="*/ 116525 w 248198"/>
              <a:gd name="connsiteY4" fmla="*/ 0 h 268007"/>
              <a:gd name="connsiteX5" fmla="*/ 248198 w 248198"/>
              <a:gd name="connsiteY5" fmla="*/ 131673 h 268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8007">
                <a:moveTo>
                  <a:pt x="114195" y="268007"/>
                </a:moveTo>
                <a:lnTo>
                  <a:pt x="0" y="268007"/>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endParaRPr lang="de-DE"/>
          </a:p>
        </p:txBody>
      </p:sp>
      <p:sp>
        <p:nvSpPr>
          <p:cNvPr id="52" name="Freihandform: Form 51">
            <a:extLst>
              <a:ext uri="{FF2B5EF4-FFF2-40B4-BE49-F238E27FC236}">
                <a16:creationId xmlns:a16="http://schemas.microsoft.com/office/drawing/2014/main" id="{D00B278C-4E10-45E8-A202-B55CBB4B885E}"/>
              </a:ext>
            </a:extLst>
          </p:cNvPr>
          <p:cNvSpPr/>
          <p:nvPr/>
        </p:nvSpPr>
        <p:spPr>
          <a:xfrm>
            <a:off x="9761293" y="2685246"/>
            <a:ext cx="248198" cy="269172"/>
          </a:xfrm>
          <a:custGeom>
            <a:avLst/>
            <a:gdLst>
              <a:gd name="connsiteX0" fmla="*/ 114195 w 248198"/>
              <a:gd name="connsiteY0" fmla="*/ 269172 h 269172"/>
              <a:gd name="connsiteX1" fmla="*/ 0 w 248198"/>
              <a:gd name="connsiteY1" fmla="*/ 269172 h 269172"/>
              <a:gd name="connsiteX2" fmla="*/ 132838 w 248198"/>
              <a:gd name="connsiteY2" fmla="*/ 135169 h 269172"/>
              <a:gd name="connsiteX3" fmla="*/ 0 w 248198"/>
              <a:gd name="connsiteY3" fmla="*/ 0 h 269172"/>
              <a:gd name="connsiteX4" fmla="*/ 116525 w 248198"/>
              <a:gd name="connsiteY4" fmla="*/ 0 h 269172"/>
              <a:gd name="connsiteX5" fmla="*/ 248198 w 248198"/>
              <a:gd name="connsiteY5" fmla="*/ 131673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endParaRPr lang="de-DE"/>
          </a:p>
        </p:txBody>
      </p:sp>
      <p:sp>
        <p:nvSpPr>
          <p:cNvPr id="68" name="Freihandform: Form 67">
            <a:extLst>
              <a:ext uri="{FF2B5EF4-FFF2-40B4-BE49-F238E27FC236}">
                <a16:creationId xmlns:a16="http://schemas.microsoft.com/office/drawing/2014/main" id="{0496EBBE-CFB1-46AA-A6F5-690502856668}"/>
              </a:ext>
            </a:extLst>
          </p:cNvPr>
          <p:cNvSpPr/>
          <p:nvPr/>
        </p:nvSpPr>
        <p:spPr>
          <a:xfrm>
            <a:off x="9761293" y="3040646"/>
            <a:ext cx="248198" cy="268007"/>
          </a:xfrm>
          <a:custGeom>
            <a:avLst/>
            <a:gdLst>
              <a:gd name="connsiteX0" fmla="*/ 114195 w 248198"/>
              <a:gd name="connsiteY0" fmla="*/ 268007 h 268007"/>
              <a:gd name="connsiteX1" fmla="*/ 0 w 248198"/>
              <a:gd name="connsiteY1" fmla="*/ 268007 h 268007"/>
              <a:gd name="connsiteX2" fmla="*/ 132838 w 248198"/>
              <a:gd name="connsiteY2" fmla="*/ 135169 h 268007"/>
              <a:gd name="connsiteX3" fmla="*/ 0 w 248198"/>
              <a:gd name="connsiteY3" fmla="*/ 0 h 268007"/>
              <a:gd name="connsiteX4" fmla="*/ 116525 w 248198"/>
              <a:gd name="connsiteY4" fmla="*/ 0 h 268007"/>
              <a:gd name="connsiteX5" fmla="*/ 248198 w 248198"/>
              <a:gd name="connsiteY5" fmla="*/ 131673 h 268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8007">
                <a:moveTo>
                  <a:pt x="114195" y="268007"/>
                </a:moveTo>
                <a:lnTo>
                  <a:pt x="0" y="268007"/>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endParaRPr lang="de-DE"/>
          </a:p>
        </p:txBody>
      </p:sp>
      <p:sp>
        <p:nvSpPr>
          <p:cNvPr id="84" name="Freihandform: Form 83">
            <a:extLst>
              <a:ext uri="{FF2B5EF4-FFF2-40B4-BE49-F238E27FC236}">
                <a16:creationId xmlns:a16="http://schemas.microsoft.com/office/drawing/2014/main" id="{A40B40D6-E2B0-405B-8866-4C365074F335}"/>
              </a:ext>
            </a:extLst>
          </p:cNvPr>
          <p:cNvSpPr/>
          <p:nvPr/>
        </p:nvSpPr>
        <p:spPr>
          <a:xfrm>
            <a:off x="9761293" y="3394882"/>
            <a:ext cx="248198" cy="269172"/>
          </a:xfrm>
          <a:custGeom>
            <a:avLst/>
            <a:gdLst>
              <a:gd name="connsiteX0" fmla="*/ 114195 w 248198"/>
              <a:gd name="connsiteY0" fmla="*/ 269172 h 269172"/>
              <a:gd name="connsiteX1" fmla="*/ 0 w 248198"/>
              <a:gd name="connsiteY1" fmla="*/ 269172 h 269172"/>
              <a:gd name="connsiteX2" fmla="*/ 132838 w 248198"/>
              <a:gd name="connsiteY2" fmla="*/ 135169 h 269172"/>
              <a:gd name="connsiteX3" fmla="*/ 0 w 248198"/>
              <a:gd name="connsiteY3" fmla="*/ 0 h 269172"/>
              <a:gd name="connsiteX4" fmla="*/ 116525 w 248198"/>
              <a:gd name="connsiteY4" fmla="*/ 0 h 269172"/>
              <a:gd name="connsiteX5" fmla="*/ 248198 w 248198"/>
              <a:gd name="connsiteY5" fmla="*/ 131673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endParaRPr lang="de-DE"/>
          </a:p>
        </p:txBody>
      </p:sp>
      <p:sp>
        <p:nvSpPr>
          <p:cNvPr id="100" name="Freihandform: Form 99">
            <a:extLst>
              <a:ext uri="{FF2B5EF4-FFF2-40B4-BE49-F238E27FC236}">
                <a16:creationId xmlns:a16="http://schemas.microsoft.com/office/drawing/2014/main" id="{B976F48C-00EC-49CD-AA95-7B3C97644278}"/>
              </a:ext>
            </a:extLst>
          </p:cNvPr>
          <p:cNvSpPr/>
          <p:nvPr/>
        </p:nvSpPr>
        <p:spPr>
          <a:xfrm>
            <a:off x="9761293" y="3750282"/>
            <a:ext cx="248198" cy="268007"/>
          </a:xfrm>
          <a:custGeom>
            <a:avLst/>
            <a:gdLst>
              <a:gd name="connsiteX0" fmla="*/ 114195 w 248198"/>
              <a:gd name="connsiteY0" fmla="*/ 268007 h 268007"/>
              <a:gd name="connsiteX1" fmla="*/ 0 w 248198"/>
              <a:gd name="connsiteY1" fmla="*/ 268007 h 268007"/>
              <a:gd name="connsiteX2" fmla="*/ 132838 w 248198"/>
              <a:gd name="connsiteY2" fmla="*/ 135169 h 268007"/>
              <a:gd name="connsiteX3" fmla="*/ 0 w 248198"/>
              <a:gd name="connsiteY3" fmla="*/ 0 h 268007"/>
              <a:gd name="connsiteX4" fmla="*/ 116525 w 248198"/>
              <a:gd name="connsiteY4" fmla="*/ 0 h 268007"/>
              <a:gd name="connsiteX5" fmla="*/ 248198 w 248198"/>
              <a:gd name="connsiteY5" fmla="*/ 131673 h 268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8007">
                <a:moveTo>
                  <a:pt x="114195" y="268007"/>
                </a:moveTo>
                <a:lnTo>
                  <a:pt x="0" y="268007"/>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endParaRPr lang="de-DE"/>
          </a:p>
        </p:txBody>
      </p:sp>
      <p:sp>
        <p:nvSpPr>
          <p:cNvPr id="116" name="Freihandform: Form 115">
            <a:extLst>
              <a:ext uri="{FF2B5EF4-FFF2-40B4-BE49-F238E27FC236}">
                <a16:creationId xmlns:a16="http://schemas.microsoft.com/office/drawing/2014/main" id="{DFC41532-B3AB-4B18-A81F-7D2CA52826B2}"/>
              </a:ext>
            </a:extLst>
          </p:cNvPr>
          <p:cNvSpPr/>
          <p:nvPr/>
        </p:nvSpPr>
        <p:spPr>
          <a:xfrm>
            <a:off x="9761293" y="4104518"/>
            <a:ext cx="248198" cy="269172"/>
          </a:xfrm>
          <a:custGeom>
            <a:avLst/>
            <a:gdLst>
              <a:gd name="connsiteX0" fmla="*/ 114195 w 248198"/>
              <a:gd name="connsiteY0" fmla="*/ 269172 h 269172"/>
              <a:gd name="connsiteX1" fmla="*/ 0 w 248198"/>
              <a:gd name="connsiteY1" fmla="*/ 269172 h 269172"/>
              <a:gd name="connsiteX2" fmla="*/ 132838 w 248198"/>
              <a:gd name="connsiteY2" fmla="*/ 136334 h 269172"/>
              <a:gd name="connsiteX3" fmla="*/ 0 w 248198"/>
              <a:gd name="connsiteY3" fmla="*/ 0 h 269172"/>
              <a:gd name="connsiteX4" fmla="*/ 116525 w 248198"/>
              <a:gd name="connsiteY4" fmla="*/ 0 h 269172"/>
              <a:gd name="connsiteX5" fmla="*/ 248198 w 248198"/>
              <a:gd name="connsiteY5" fmla="*/ 132838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6334"/>
                </a:lnTo>
                <a:lnTo>
                  <a:pt x="0" y="0"/>
                </a:lnTo>
                <a:lnTo>
                  <a:pt x="116525" y="0"/>
                </a:lnTo>
                <a:lnTo>
                  <a:pt x="248198" y="132838"/>
                </a:lnTo>
                <a:close/>
              </a:path>
            </a:pathLst>
          </a:custGeom>
          <a:solidFill>
            <a:srgbClr val="EEF2F5"/>
          </a:solidFill>
          <a:ln w="11643" cap="flat">
            <a:noFill/>
            <a:prstDash val="solid"/>
            <a:miter/>
          </a:ln>
        </p:spPr>
        <p:txBody>
          <a:bodyPr rtlCol="0" anchor="ctr"/>
          <a:lstStyle/>
          <a:p>
            <a:endParaRPr lang="de-DE"/>
          </a:p>
        </p:txBody>
      </p:sp>
      <p:sp>
        <p:nvSpPr>
          <p:cNvPr id="132" name="Freihandform: Form 131">
            <a:extLst>
              <a:ext uri="{FF2B5EF4-FFF2-40B4-BE49-F238E27FC236}">
                <a16:creationId xmlns:a16="http://schemas.microsoft.com/office/drawing/2014/main" id="{ADC8DAC7-8942-46EB-9D62-4E4C4662A9C7}"/>
              </a:ext>
            </a:extLst>
          </p:cNvPr>
          <p:cNvSpPr/>
          <p:nvPr/>
        </p:nvSpPr>
        <p:spPr>
          <a:xfrm>
            <a:off x="9761293" y="4459918"/>
            <a:ext cx="248198" cy="268007"/>
          </a:xfrm>
          <a:custGeom>
            <a:avLst/>
            <a:gdLst>
              <a:gd name="connsiteX0" fmla="*/ 114195 w 248198"/>
              <a:gd name="connsiteY0" fmla="*/ 268007 h 268007"/>
              <a:gd name="connsiteX1" fmla="*/ 0 w 248198"/>
              <a:gd name="connsiteY1" fmla="*/ 268007 h 268007"/>
              <a:gd name="connsiteX2" fmla="*/ 132838 w 248198"/>
              <a:gd name="connsiteY2" fmla="*/ 135169 h 268007"/>
              <a:gd name="connsiteX3" fmla="*/ 0 w 248198"/>
              <a:gd name="connsiteY3" fmla="*/ 0 h 268007"/>
              <a:gd name="connsiteX4" fmla="*/ 116525 w 248198"/>
              <a:gd name="connsiteY4" fmla="*/ 0 h 268007"/>
              <a:gd name="connsiteX5" fmla="*/ 248198 w 248198"/>
              <a:gd name="connsiteY5" fmla="*/ 131673 h 268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8007">
                <a:moveTo>
                  <a:pt x="114195" y="268007"/>
                </a:moveTo>
                <a:lnTo>
                  <a:pt x="0" y="268007"/>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endParaRPr lang="de-DE"/>
          </a:p>
        </p:txBody>
      </p:sp>
      <p:sp>
        <p:nvSpPr>
          <p:cNvPr id="149" name="Freihandform: Form 148">
            <a:extLst>
              <a:ext uri="{FF2B5EF4-FFF2-40B4-BE49-F238E27FC236}">
                <a16:creationId xmlns:a16="http://schemas.microsoft.com/office/drawing/2014/main" id="{83716F88-9554-4FCB-B2C3-8BD6193695E2}"/>
              </a:ext>
            </a:extLst>
          </p:cNvPr>
          <p:cNvSpPr/>
          <p:nvPr/>
        </p:nvSpPr>
        <p:spPr>
          <a:xfrm>
            <a:off x="9761293" y="4814154"/>
            <a:ext cx="248198" cy="269172"/>
          </a:xfrm>
          <a:custGeom>
            <a:avLst/>
            <a:gdLst>
              <a:gd name="connsiteX0" fmla="*/ 114195 w 248198"/>
              <a:gd name="connsiteY0" fmla="*/ 269172 h 269172"/>
              <a:gd name="connsiteX1" fmla="*/ 0 w 248198"/>
              <a:gd name="connsiteY1" fmla="*/ 269172 h 269172"/>
              <a:gd name="connsiteX2" fmla="*/ 132838 w 248198"/>
              <a:gd name="connsiteY2" fmla="*/ 136334 h 269172"/>
              <a:gd name="connsiteX3" fmla="*/ 0 w 248198"/>
              <a:gd name="connsiteY3" fmla="*/ 0 h 269172"/>
              <a:gd name="connsiteX4" fmla="*/ 116525 w 248198"/>
              <a:gd name="connsiteY4" fmla="*/ 0 h 269172"/>
              <a:gd name="connsiteX5" fmla="*/ 248198 w 248198"/>
              <a:gd name="connsiteY5" fmla="*/ 132838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6334"/>
                </a:lnTo>
                <a:lnTo>
                  <a:pt x="0" y="0"/>
                </a:lnTo>
                <a:lnTo>
                  <a:pt x="116525" y="0"/>
                </a:lnTo>
                <a:lnTo>
                  <a:pt x="248198" y="132838"/>
                </a:lnTo>
                <a:close/>
              </a:path>
            </a:pathLst>
          </a:custGeom>
          <a:solidFill>
            <a:srgbClr val="EEF2F5"/>
          </a:solidFill>
          <a:ln w="11643" cap="flat">
            <a:noFill/>
            <a:prstDash val="solid"/>
            <a:miter/>
          </a:ln>
        </p:spPr>
        <p:txBody>
          <a:bodyPr rtlCol="0" anchor="ctr"/>
          <a:lstStyle/>
          <a:p>
            <a:endParaRPr lang="de-DE"/>
          </a:p>
        </p:txBody>
      </p:sp>
      <p:sp>
        <p:nvSpPr>
          <p:cNvPr id="166" name="Freihandform: Form 165">
            <a:extLst>
              <a:ext uri="{FF2B5EF4-FFF2-40B4-BE49-F238E27FC236}">
                <a16:creationId xmlns:a16="http://schemas.microsoft.com/office/drawing/2014/main" id="{AEC95E7D-635D-425A-9F1A-DEBC1F5484DB}"/>
              </a:ext>
            </a:extLst>
          </p:cNvPr>
          <p:cNvSpPr/>
          <p:nvPr/>
        </p:nvSpPr>
        <p:spPr>
          <a:xfrm>
            <a:off x="9761293" y="5169554"/>
            <a:ext cx="248198" cy="268007"/>
          </a:xfrm>
          <a:custGeom>
            <a:avLst/>
            <a:gdLst>
              <a:gd name="connsiteX0" fmla="*/ 114195 w 248198"/>
              <a:gd name="connsiteY0" fmla="*/ 268007 h 268007"/>
              <a:gd name="connsiteX1" fmla="*/ 0 w 248198"/>
              <a:gd name="connsiteY1" fmla="*/ 268007 h 268007"/>
              <a:gd name="connsiteX2" fmla="*/ 132838 w 248198"/>
              <a:gd name="connsiteY2" fmla="*/ 135169 h 268007"/>
              <a:gd name="connsiteX3" fmla="*/ 0 w 248198"/>
              <a:gd name="connsiteY3" fmla="*/ 0 h 268007"/>
              <a:gd name="connsiteX4" fmla="*/ 116525 w 248198"/>
              <a:gd name="connsiteY4" fmla="*/ 0 h 268007"/>
              <a:gd name="connsiteX5" fmla="*/ 248198 w 248198"/>
              <a:gd name="connsiteY5" fmla="*/ 131673 h 268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8007">
                <a:moveTo>
                  <a:pt x="114195" y="268007"/>
                </a:moveTo>
                <a:lnTo>
                  <a:pt x="0" y="268007"/>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endParaRPr lang="de-DE"/>
          </a:p>
        </p:txBody>
      </p:sp>
      <p:sp>
        <p:nvSpPr>
          <p:cNvPr id="183" name="Freihandform: Form 182">
            <a:extLst>
              <a:ext uri="{FF2B5EF4-FFF2-40B4-BE49-F238E27FC236}">
                <a16:creationId xmlns:a16="http://schemas.microsoft.com/office/drawing/2014/main" id="{C1CCBBCB-A182-4421-8619-C206846375DB}"/>
              </a:ext>
            </a:extLst>
          </p:cNvPr>
          <p:cNvSpPr/>
          <p:nvPr/>
        </p:nvSpPr>
        <p:spPr>
          <a:xfrm>
            <a:off x="9761293" y="5523790"/>
            <a:ext cx="248198" cy="269172"/>
          </a:xfrm>
          <a:custGeom>
            <a:avLst/>
            <a:gdLst>
              <a:gd name="connsiteX0" fmla="*/ 114195 w 248198"/>
              <a:gd name="connsiteY0" fmla="*/ 269172 h 269172"/>
              <a:gd name="connsiteX1" fmla="*/ 0 w 248198"/>
              <a:gd name="connsiteY1" fmla="*/ 269172 h 269172"/>
              <a:gd name="connsiteX2" fmla="*/ 132838 w 248198"/>
              <a:gd name="connsiteY2" fmla="*/ 136334 h 269172"/>
              <a:gd name="connsiteX3" fmla="*/ 0 w 248198"/>
              <a:gd name="connsiteY3" fmla="*/ 0 h 269172"/>
              <a:gd name="connsiteX4" fmla="*/ 116525 w 248198"/>
              <a:gd name="connsiteY4" fmla="*/ 0 h 269172"/>
              <a:gd name="connsiteX5" fmla="*/ 248198 w 248198"/>
              <a:gd name="connsiteY5" fmla="*/ 132838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6334"/>
                </a:lnTo>
                <a:lnTo>
                  <a:pt x="0" y="0"/>
                </a:lnTo>
                <a:lnTo>
                  <a:pt x="116525" y="0"/>
                </a:lnTo>
                <a:lnTo>
                  <a:pt x="248198" y="132838"/>
                </a:lnTo>
                <a:close/>
              </a:path>
            </a:pathLst>
          </a:custGeom>
          <a:solidFill>
            <a:srgbClr val="EEF2F5"/>
          </a:solidFill>
          <a:ln w="11643" cap="flat">
            <a:noFill/>
            <a:prstDash val="solid"/>
            <a:miter/>
          </a:ln>
        </p:spPr>
        <p:txBody>
          <a:bodyPr rtlCol="0" anchor="ctr"/>
          <a:lstStyle/>
          <a:p>
            <a:endParaRPr lang="de-DE"/>
          </a:p>
        </p:txBody>
      </p:sp>
      <p:sp>
        <p:nvSpPr>
          <p:cNvPr id="200" name="Freihandform: Form 199">
            <a:extLst>
              <a:ext uri="{FF2B5EF4-FFF2-40B4-BE49-F238E27FC236}">
                <a16:creationId xmlns:a16="http://schemas.microsoft.com/office/drawing/2014/main" id="{D91A4514-348C-465D-A689-222304D82209}"/>
              </a:ext>
            </a:extLst>
          </p:cNvPr>
          <p:cNvSpPr/>
          <p:nvPr/>
        </p:nvSpPr>
        <p:spPr>
          <a:xfrm>
            <a:off x="9761293" y="5879190"/>
            <a:ext cx="248198" cy="269172"/>
          </a:xfrm>
          <a:custGeom>
            <a:avLst/>
            <a:gdLst>
              <a:gd name="connsiteX0" fmla="*/ 114195 w 248198"/>
              <a:gd name="connsiteY0" fmla="*/ 269172 h 269172"/>
              <a:gd name="connsiteX1" fmla="*/ 0 w 248198"/>
              <a:gd name="connsiteY1" fmla="*/ 269172 h 269172"/>
              <a:gd name="connsiteX2" fmla="*/ 132838 w 248198"/>
              <a:gd name="connsiteY2" fmla="*/ 135169 h 269172"/>
              <a:gd name="connsiteX3" fmla="*/ 0 w 248198"/>
              <a:gd name="connsiteY3" fmla="*/ 0 h 269172"/>
              <a:gd name="connsiteX4" fmla="*/ 116525 w 248198"/>
              <a:gd name="connsiteY4" fmla="*/ 0 h 269172"/>
              <a:gd name="connsiteX5" fmla="*/ 248198 w 248198"/>
              <a:gd name="connsiteY5" fmla="*/ 131673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endParaRPr lang="de-DE"/>
          </a:p>
        </p:txBody>
      </p:sp>
      <p:sp>
        <p:nvSpPr>
          <p:cNvPr id="217" name="Freihandform: Form 216">
            <a:extLst>
              <a:ext uri="{FF2B5EF4-FFF2-40B4-BE49-F238E27FC236}">
                <a16:creationId xmlns:a16="http://schemas.microsoft.com/office/drawing/2014/main" id="{1B4C065C-ED4E-40BF-AA0C-B75D23AF7B43}"/>
              </a:ext>
            </a:extLst>
          </p:cNvPr>
          <p:cNvSpPr/>
          <p:nvPr/>
        </p:nvSpPr>
        <p:spPr>
          <a:xfrm>
            <a:off x="9761293" y="6233426"/>
            <a:ext cx="248198" cy="269172"/>
          </a:xfrm>
          <a:custGeom>
            <a:avLst/>
            <a:gdLst>
              <a:gd name="connsiteX0" fmla="*/ 114195 w 248198"/>
              <a:gd name="connsiteY0" fmla="*/ 269172 h 269172"/>
              <a:gd name="connsiteX1" fmla="*/ 0 w 248198"/>
              <a:gd name="connsiteY1" fmla="*/ 269172 h 269172"/>
              <a:gd name="connsiteX2" fmla="*/ 132838 w 248198"/>
              <a:gd name="connsiteY2" fmla="*/ 136334 h 269172"/>
              <a:gd name="connsiteX3" fmla="*/ 0 w 248198"/>
              <a:gd name="connsiteY3" fmla="*/ 0 h 269172"/>
              <a:gd name="connsiteX4" fmla="*/ 116525 w 248198"/>
              <a:gd name="connsiteY4" fmla="*/ 0 h 269172"/>
              <a:gd name="connsiteX5" fmla="*/ 248198 w 248198"/>
              <a:gd name="connsiteY5" fmla="*/ 132838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6334"/>
                </a:lnTo>
                <a:lnTo>
                  <a:pt x="0" y="0"/>
                </a:lnTo>
                <a:lnTo>
                  <a:pt x="116525" y="0"/>
                </a:lnTo>
                <a:lnTo>
                  <a:pt x="248198" y="132838"/>
                </a:lnTo>
                <a:close/>
              </a:path>
            </a:pathLst>
          </a:custGeom>
          <a:solidFill>
            <a:srgbClr val="EEF2F5"/>
          </a:solidFill>
          <a:ln w="11643" cap="flat">
            <a:noFill/>
            <a:prstDash val="solid"/>
            <a:miter/>
          </a:ln>
        </p:spPr>
        <p:txBody>
          <a:bodyPr rtlCol="0" anchor="ctr"/>
          <a:lstStyle/>
          <a:p>
            <a:endParaRPr lang="de-DE"/>
          </a:p>
        </p:txBody>
      </p:sp>
      <p:sp>
        <p:nvSpPr>
          <p:cNvPr id="233" name="Freihandform: Form 232">
            <a:extLst>
              <a:ext uri="{FF2B5EF4-FFF2-40B4-BE49-F238E27FC236}">
                <a16:creationId xmlns:a16="http://schemas.microsoft.com/office/drawing/2014/main" id="{26A7552F-9339-4F13-B25C-D2F62499E1D6}"/>
              </a:ext>
            </a:extLst>
          </p:cNvPr>
          <p:cNvSpPr/>
          <p:nvPr/>
        </p:nvSpPr>
        <p:spPr>
          <a:xfrm>
            <a:off x="9761293" y="6588826"/>
            <a:ext cx="248198" cy="269172"/>
          </a:xfrm>
          <a:custGeom>
            <a:avLst/>
            <a:gdLst>
              <a:gd name="connsiteX0" fmla="*/ 114195 w 248198"/>
              <a:gd name="connsiteY0" fmla="*/ 269172 h 269172"/>
              <a:gd name="connsiteX1" fmla="*/ 0 w 248198"/>
              <a:gd name="connsiteY1" fmla="*/ 269172 h 269172"/>
              <a:gd name="connsiteX2" fmla="*/ 132838 w 248198"/>
              <a:gd name="connsiteY2" fmla="*/ 135169 h 269172"/>
              <a:gd name="connsiteX3" fmla="*/ 0 w 248198"/>
              <a:gd name="connsiteY3" fmla="*/ 0 h 269172"/>
              <a:gd name="connsiteX4" fmla="*/ 116525 w 248198"/>
              <a:gd name="connsiteY4" fmla="*/ 0 h 269172"/>
              <a:gd name="connsiteX5" fmla="*/ 248198 w 248198"/>
              <a:gd name="connsiteY5" fmla="*/ 131673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endParaRPr lang="de-DE"/>
          </a:p>
        </p:txBody>
      </p:sp>
      <p:sp>
        <p:nvSpPr>
          <p:cNvPr id="10" name="Textplatzhalter 9">
            <a:extLst>
              <a:ext uri="{FF2B5EF4-FFF2-40B4-BE49-F238E27FC236}">
                <a16:creationId xmlns:a16="http://schemas.microsoft.com/office/drawing/2014/main" id="{87105EF2-AC01-455D-9C26-5D6999587D6D}"/>
              </a:ext>
            </a:extLst>
          </p:cNvPr>
          <p:cNvSpPr>
            <a:spLocks noGrp="1"/>
          </p:cNvSpPr>
          <p:nvPr userDrawn="1">
            <p:ph type="body" sz="quarter" idx="11"/>
          </p:nvPr>
        </p:nvSpPr>
        <p:spPr>
          <a:xfrm>
            <a:off x="815951" y="1979612"/>
            <a:ext cx="10560096" cy="4338638"/>
          </a:xfrm>
          <a:prstGeom prst="rect">
            <a:avLst/>
          </a:prstGeom>
        </p:spPr>
        <p:txBody>
          <a:bodyPr>
            <a:normAutofit/>
          </a:bodyPr>
          <a:lstStyle>
            <a:lvl1pPr marL="266700" indent="-266700">
              <a:buSzPct val="120000"/>
              <a:buFontTx/>
              <a:buBlip>
                <a:blip r:embed="rId2"/>
              </a:buBlip>
              <a:defRPr sz="1800"/>
            </a:lvl1pPr>
            <a:lvl2pPr marL="630238" indent="-268288">
              <a:buSzPct val="120000"/>
              <a:buFontTx/>
              <a:buBlip>
                <a:blip r:embed="rId2"/>
              </a:buBlip>
              <a:defRPr sz="1800"/>
            </a:lvl2pPr>
            <a:lvl3pPr marL="990600" indent="-274638">
              <a:buSzPct val="120000"/>
              <a:buFontTx/>
              <a:buBlip>
                <a:blip r:embed="rId2"/>
              </a:buBlip>
              <a:defRPr sz="1800"/>
            </a:lvl3pPr>
            <a:lvl4pPr marL="1343025" indent="-263525">
              <a:buSzPct val="120000"/>
              <a:buFontTx/>
              <a:buBlip>
                <a:blip r:embed="rId2"/>
              </a:buBlip>
              <a:defRPr sz="1800"/>
            </a:lvl4pPr>
            <a:lvl5pPr marL="1704975" indent="-271463">
              <a:buSzPct val="120000"/>
              <a:buFontTx/>
              <a:buBlip>
                <a:blip r:embed="rId2"/>
              </a:buBlip>
              <a:defRPr sz="18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2506827352"/>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8" dur="1000" decel="10000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000" fill="hold"/>
                                        <p:tgtEl>
                                          <p:spTgt spid="4"/>
                                        </p:tgtEl>
                                        <p:attrNameLst>
                                          <p:attrName>ppt_x</p:attrName>
                                        </p:attrNameLst>
                                      </p:cBhvr>
                                      <p:tavLst>
                                        <p:tav tm="0">
                                          <p:val>
                                            <p:strVal val="0-#ppt_w/2"/>
                                          </p:val>
                                        </p:tav>
                                        <p:tav tm="100000">
                                          <p:val>
                                            <p:strVal val="#ppt_x"/>
                                          </p:val>
                                        </p:tav>
                                      </p:tavLst>
                                    </p:anim>
                                    <p:anim calcmode="lin" valueType="num">
                                      <p:cBhvr additive="base">
                                        <p:cTn id="8" dur="1000" fill="hold"/>
                                        <p:tgtEl>
                                          <p:spTgt spid="4"/>
                                        </p:tgtEl>
                                        <p:attrNameLst>
                                          <p:attrName>ppt_y</p:attrName>
                                        </p:attrNameLst>
                                      </p:cBhvr>
                                      <p:tavLst>
                                        <p:tav tm="0">
                                          <p:val>
                                            <p:strVal val="#ppt_y"/>
                                          </p:val>
                                        </p:tav>
                                        <p:tav tm="100000">
                                          <p:val>
                                            <p:strVal val="#ppt_y"/>
                                          </p:val>
                                        </p:tav>
                                      </p:tavLst>
                                    </p:anim>
                                  </p:childTnLst>
                                </p:cTn>
                              </p:par>
                              <p:par>
                                <p:cTn id="9" presetID="2" presetClass="entr" presetSubtype="8" dur="1000" decel="100000" fill="hold" grpId="0" nodeType="withEffect">
                                  <p:stCondLst>
                                    <p:cond delay="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1000" fill="hold"/>
                                        <p:tgtEl>
                                          <p:spTgt spid="10"/>
                                        </p:tgtEl>
                                        <p:attrNameLst>
                                          <p:attrName>ppt_x</p:attrName>
                                        </p:attrNameLst>
                                      </p:cBhvr>
                                      <p:tavLst>
                                        <p:tav tm="0">
                                          <p:val>
                                            <p:strVal val="0-#ppt_w/2"/>
                                          </p:val>
                                        </p:tav>
                                        <p:tav tm="100000">
                                          <p:val>
                                            <p:strVal val="#ppt_x"/>
                                          </p:val>
                                        </p:tav>
                                      </p:tavLst>
                                    </p:anim>
                                    <p:anim calcmode="lin" valueType="num">
                                      <p:cBhvr additive="base">
                                        <p:cTn id="12" dur="1000" fill="hold"/>
                                        <p:tgtEl>
                                          <p:spTgt spid="10"/>
                                        </p:tgtEl>
                                        <p:attrNameLst>
                                          <p:attrName>ppt_y</p:attrName>
                                        </p:attrNameLst>
                                      </p:cBhvr>
                                      <p:tavLst>
                                        <p:tav tm="0">
                                          <p:val>
                                            <p:strVal val="#ppt_y"/>
                                          </p:val>
                                        </p:tav>
                                        <p:tav tm="100000">
                                          <p:val>
                                            <p:strVal val="#ppt_y"/>
                                          </p:val>
                                        </p:tav>
                                      </p:tavLst>
                                    </p:anim>
                                  </p:childTnLst>
                                </p:cTn>
                              </p:par>
                              <p:par>
                                <p:cTn id="13" presetID="26" presetClass="emph" presetSubtype="0" dur="2000" repeatCount="indefinite" fill="hold" grpId="0" nodeType="withEffect">
                                  <p:stCondLst>
                                    <p:cond delay="0"/>
                                  </p:stCondLst>
                                  <p:childTnLst>
                                    <p:animEffect transition="out" filter="fade">
                                      <p:cBhvr>
                                        <p:cTn id="14" dur="2000" tmFilter="0, 0; .2, .5; .8, .5; 1, 0"/>
                                        <p:tgtEl>
                                          <p:spTgt spid="5"/>
                                        </p:tgtEl>
                                      </p:cBhvr>
                                    </p:animEffect>
                                    <p:animScale>
                                      <p:cBhvr>
                                        <p:cTn id="15" dur="1000" autoRev="1" fill="hold"/>
                                        <p:tgtEl>
                                          <p:spTgt spid="5"/>
                                        </p:tgtEl>
                                      </p:cBhvr>
                                      <p:by x="105000" y="105000"/>
                                    </p:animScale>
                                  </p:childTnLst>
                                </p:cTn>
                              </p:par>
                              <p:par>
                                <p:cTn id="16" presetID="26" presetClass="emph" presetSubtype="0" dur="2000" repeatCount="indefinite" fill="hold" grpId="0" nodeType="withEffect">
                                  <p:stCondLst>
                                    <p:cond delay="0"/>
                                  </p:stCondLst>
                                  <p:childTnLst>
                                    <p:animEffect transition="out" filter="fade">
                                      <p:cBhvr>
                                        <p:cTn id="17" dur="2000" tmFilter="0, 0; .2, .5; .8, .5; 1, 0"/>
                                        <p:tgtEl>
                                          <p:spTgt spid="22"/>
                                        </p:tgtEl>
                                      </p:cBhvr>
                                    </p:animEffect>
                                    <p:animScale>
                                      <p:cBhvr>
                                        <p:cTn id="18" dur="1000" autoRev="1" fill="hold"/>
                                        <p:tgtEl>
                                          <p:spTgt spid="22"/>
                                        </p:tgtEl>
                                      </p:cBhvr>
                                      <p:by x="105000" y="105000"/>
                                    </p:animScale>
                                  </p:childTnLst>
                                </p:cTn>
                              </p:par>
                              <p:par>
                                <p:cTn id="19" presetID="26" presetClass="emph" presetSubtype="0" dur="2000" repeatCount="indefinite" fill="hold" grpId="0" nodeType="withEffect">
                                  <p:stCondLst>
                                    <p:cond delay="0"/>
                                  </p:stCondLst>
                                  <p:childTnLst>
                                    <p:animEffect transition="out" filter="fade">
                                      <p:cBhvr>
                                        <p:cTn id="20" dur="2000" tmFilter="0, 0; .2, .5; .8, .5; 1, 0"/>
                                        <p:tgtEl>
                                          <p:spTgt spid="38"/>
                                        </p:tgtEl>
                                      </p:cBhvr>
                                    </p:animEffect>
                                    <p:animScale>
                                      <p:cBhvr>
                                        <p:cTn id="21" dur="1000" autoRev="1" fill="hold"/>
                                        <p:tgtEl>
                                          <p:spTgt spid="38"/>
                                        </p:tgtEl>
                                      </p:cBhvr>
                                      <p:by x="105000" y="105000"/>
                                    </p:animScale>
                                  </p:childTnLst>
                                </p:cTn>
                              </p:par>
                              <p:par>
                                <p:cTn id="22" presetID="26" presetClass="emph" presetSubtype="0" dur="2000" repeatCount="indefinite" fill="hold" grpId="0" nodeType="withEffect">
                                  <p:stCondLst>
                                    <p:cond delay="0"/>
                                  </p:stCondLst>
                                  <p:childTnLst>
                                    <p:animEffect transition="out" filter="fade">
                                      <p:cBhvr>
                                        <p:cTn id="23" dur="2000" tmFilter="0, 0; .2, .5; .8, .5; 1, 0"/>
                                        <p:tgtEl>
                                          <p:spTgt spid="203"/>
                                        </p:tgtEl>
                                      </p:cBhvr>
                                    </p:animEffect>
                                    <p:animScale>
                                      <p:cBhvr>
                                        <p:cTn id="24" dur="1000" autoRev="1" fill="hold"/>
                                        <p:tgtEl>
                                          <p:spTgt spid="203"/>
                                        </p:tgtEl>
                                      </p:cBhvr>
                                      <p:by x="105000" y="105000"/>
                                    </p:animScale>
                                  </p:childTnLst>
                                </p:cTn>
                              </p:par>
                              <p:par>
                                <p:cTn id="25" presetID="26" presetClass="emph" presetSubtype="0" dur="2000" repeatCount="indefinite" fill="hold" grpId="0" nodeType="withEffect">
                                  <p:stCondLst>
                                    <p:cond delay="0"/>
                                  </p:stCondLst>
                                  <p:childTnLst>
                                    <p:animEffect transition="out" filter="fade">
                                      <p:cBhvr>
                                        <p:cTn id="26" dur="2000" tmFilter="0, 0; .2, .5; .8, .5; 1, 0"/>
                                        <p:tgtEl>
                                          <p:spTgt spid="219"/>
                                        </p:tgtEl>
                                      </p:cBhvr>
                                    </p:animEffect>
                                    <p:animScale>
                                      <p:cBhvr>
                                        <p:cTn id="27" dur="1000" autoRev="1" fill="hold"/>
                                        <p:tgtEl>
                                          <p:spTgt spid="219"/>
                                        </p:tgtEl>
                                      </p:cBhvr>
                                      <p:by x="105000" y="105000"/>
                                    </p:animScale>
                                  </p:childTnLst>
                                </p:cTn>
                              </p:par>
                              <p:par>
                                <p:cTn id="28" presetID="26" presetClass="emph" presetSubtype="0" dur="2000" repeatCount="indefinite" fill="hold" grpId="0" nodeType="withEffect">
                                  <p:stCondLst>
                                    <p:cond delay="250"/>
                                  </p:stCondLst>
                                  <p:childTnLst>
                                    <p:animEffect transition="out" filter="fade">
                                      <p:cBhvr>
                                        <p:cTn id="29" dur="2000" tmFilter="0, 0; .2, .5; .8, .5; 1, 0"/>
                                        <p:tgtEl>
                                          <p:spTgt spid="6"/>
                                        </p:tgtEl>
                                      </p:cBhvr>
                                    </p:animEffect>
                                    <p:animScale>
                                      <p:cBhvr>
                                        <p:cTn id="30" dur="1000" autoRev="1" fill="hold"/>
                                        <p:tgtEl>
                                          <p:spTgt spid="6"/>
                                        </p:tgtEl>
                                      </p:cBhvr>
                                      <p:by x="105000" y="105000"/>
                                    </p:animScale>
                                  </p:childTnLst>
                                </p:cTn>
                              </p:par>
                              <p:par>
                                <p:cTn id="31" presetID="26" presetClass="emph" presetSubtype="0" dur="2000" repeatCount="indefinite" fill="hold" grpId="0" nodeType="withEffect">
                                  <p:stCondLst>
                                    <p:cond delay="250"/>
                                  </p:stCondLst>
                                  <p:childTnLst>
                                    <p:animEffect transition="out" filter="fade">
                                      <p:cBhvr>
                                        <p:cTn id="32" dur="2000" tmFilter="0, 0; .2, .5; .8, .5; 1, 0"/>
                                        <p:tgtEl>
                                          <p:spTgt spid="23"/>
                                        </p:tgtEl>
                                      </p:cBhvr>
                                    </p:animEffect>
                                    <p:animScale>
                                      <p:cBhvr>
                                        <p:cTn id="33" dur="1000" autoRev="1" fill="hold"/>
                                        <p:tgtEl>
                                          <p:spTgt spid="23"/>
                                        </p:tgtEl>
                                      </p:cBhvr>
                                      <p:by x="105000" y="105000"/>
                                    </p:animScale>
                                  </p:childTnLst>
                                </p:cTn>
                              </p:par>
                              <p:par>
                                <p:cTn id="34" presetID="26" presetClass="emph" presetSubtype="0" dur="2000" repeatCount="indefinite" fill="hold" grpId="0" nodeType="withEffect">
                                  <p:stCondLst>
                                    <p:cond delay="250"/>
                                  </p:stCondLst>
                                  <p:childTnLst>
                                    <p:animEffect transition="out" filter="fade">
                                      <p:cBhvr>
                                        <p:cTn id="35" dur="2000" tmFilter="0, 0; .2, .5; .8, .5; 1, 0"/>
                                        <p:tgtEl>
                                          <p:spTgt spid="39"/>
                                        </p:tgtEl>
                                      </p:cBhvr>
                                    </p:animEffect>
                                    <p:animScale>
                                      <p:cBhvr>
                                        <p:cTn id="36" dur="1000" autoRev="1" fill="hold"/>
                                        <p:tgtEl>
                                          <p:spTgt spid="39"/>
                                        </p:tgtEl>
                                      </p:cBhvr>
                                      <p:by x="105000" y="105000"/>
                                    </p:animScale>
                                  </p:childTnLst>
                                </p:cTn>
                              </p:par>
                              <p:par>
                                <p:cTn id="37" presetID="26" presetClass="emph" presetSubtype="0" dur="2000" repeatCount="indefinite" fill="hold" grpId="0" nodeType="withEffect">
                                  <p:stCondLst>
                                    <p:cond delay="250"/>
                                  </p:stCondLst>
                                  <p:childTnLst>
                                    <p:animEffect transition="out" filter="fade">
                                      <p:cBhvr>
                                        <p:cTn id="38" dur="2000" tmFilter="0, 0; .2, .5; .8, .5; 1, 0"/>
                                        <p:tgtEl>
                                          <p:spTgt spid="55"/>
                                        </p:tgtEl>
                                      </p:cBhvr>
                                    </p:animEffect>
                                    <p:animScale>
                                      <p:cBhvr>
                                        <p:cTn id="39" dur="1000" autoRev="1" fill="hold"/>
                                        <p:tgtEl>
                                          <p:spTgt spid="55"/>
                                        </p:tgtEl>
                                      </p:cBhvr>
                                      <p:by x="105000" y="105000"/>
                                    </p:animScale>
                                  </p:childTnLst>
                                </p:cTn>
                              </p:par>
                              <p:par>
                                <p:cTn id="40" presetID="26" presetClass="emph" presetSubtype="0" dur="2000" repeatCount="indefinite" fill="hold" grpId="0" nodeType="withEffect">
                                  <p:stCondLst>
                                    <p:cond delay="250"/>
                                  </p:stCondLst>
                                  <p:childTnLst>
                                    <p:animEffect transition="out" filter="fade">
                                      <p:cBhvr>
                                        <p:cTn id="41" dur="2000" tmFilter="0, 0; .2, .5; .8, .5; 1, 0"/>
                                        <p:tgtEl>
                                          <p:spTgt spid="187"/>
                                        </p:tgtEl>
                                      </p:cBhvr>
                                    </p:animEffect>
                                    <p:animScale>
                                      <p:cBhvr>
                                        <p:cTn id="42" dur="1000" autoRev="1" fill="hold"/>
                                        <p:tgtEl>
                                          <p:spTgt spid="187"/>
                                        </p:tgtEl>
                                      </p:cBhvr>
                                      <p:by x="105000" y="105000"/>
                                    </p:animScale>
                                  </p:childTnLst>
                                </p:cTn>
                              </p:par>
                              <p:par>
                                <p:cTn id="43" presetID="26" presetClass="emph" presetSubtype="0" dur="2000" repeatCount="indefinite" fill="hold" grpId="0" nodeType="withEffect">
                                  <p:stCondLst>
                                    <p:cond delay="250"/>
                                  </p:stCondLst>
                                  <p:childTnLst>
                                    <p:animEffect transition="out" filter="fade">
                                      <p:cBhvr>
                                        <p:cTn id="44" dur="2000" tmFilter="0, 0; .2, .5; .8, .5; 1, 0"/>
                                        <p:tgtEl>
                                          <p:spTgt spid="204"/>
                                        </p:tgtEl>
                                      </p:cBhvr>
                                    </p:animEffect>
                                    <p:animScale>
                                      <p:cBhvr>
                                        <p:cTn id="45" dur="1000" autoRev="1" fill="hold"/>
                                        <p:tgtEl>
                                          <p:spTgt spid="204"/>
                                        </p:tgtEl>
                                      </p:cBhvr>
                                      <p:by x="105000" y="105000"/>
                                    </p:animScale>
                                  </p:childTnLst>
                                </p:cTn>
                              </p:par>
                              <p:par>
                                <p:cTn id="46" presetID="26" presetClass="emph" presetSubtype="0" dur="2000" repeatCount="indefinite" fill="hold" grpId="0" nodeType="withEffect">
                                  <p:stCondLst>
                                    <p:cond delay="250"/>
                                  </p:stCondLst>
                                  <p:childTnLst>
                                    <p:animEffect transition="out" filter="fade">
                                      <p:cBhvr>
                                        <p:cTn id="47" dur="2000" tmFilter="0, 0; .2, .5; .8, .5; 1, 0"/>
                                        <p:tgtEl>
                                          <p:spTgt spid="220"/>
                                        </p:tgtEl>
                                      </p:cBhvr>
                                    </p:animEffect>
                                    <p:animScale>
                                      <p:cBhvr>
                                        <p:cTn id="48" dur="1000" autoRev="1" fill="hold"/>
                                        <p:tgtEl>
                                          <p:spTgt spid="220"/>
                                        </p:tgtEl>
                                      </p:cBhvr>
                                      <p:by x="105000" y="105000"/>
                                    </p:animScale>
                                  </p:childTnLst>
                                </p:cTn>
                              </p:par>
                              <p:par>
                                <p:cTn id="49" presetID="26" presetClass="emph" presetSubtype="0" dur="2000" repeatCount="indefinite" fill="hold" grpId="0" nodeType="withEffect">
                                  <p:stCondLst>
                                    <p:cond delay="500"/>
                                  </p:stCondLst>
                                  <p:childTnLst>
                                    <p:animEffect transition="out" filter="fade">
                                      <p:cBhvr>
                                        <p:cTn id="50" dur="2000" tmFilter="0, 0; .2, .5; .8, .5; 1, 0"/>
                                        <p:tgtEl>
                                          <p:spTgt spid="7"/>
                                        </p:tgtEl>
                                      </p:cBhvr>
                                    </p:animEffect>
                                    <p:animScale>
                                      <p:cBhvr>
                                        <p:cTn id="51" dur="1000" autoRev="1" fill="hold"/>
                                        <p:tgtEl>
                                          <p:spTgt spid="7"/>
                                        </p:tgtEl>
                                      </p:cBhvr>
                                      <p:by x="105000" y="105000"/>
                                    </p:animScale>
                                  </p:childTnLst>
                                </p:cTn>
                              </p:par>
                              <p:par>
                                <p:cTn id="52" presetID="26" presetClass="emph" presetSubtype="0" dur="2000" repeatCount="indefinite" fill="hold" grpId="0" nodeType="withEffect">
                                  <p:stCondLst>
                                    <p:cond delay="500"/>
                                  </p:stCondLst>
                                  <p:childTnLst>
                                    <p:animEffect transition="out" filter="fade">
                                      <p:cBhvr>
                                        <p:cTn id="53" dur="2000" tmFilter="0, 0; .2, .5; .8, .5; 1, 0"/>
                                        <p:tgtEl>
                                          <p:spTgt spid="24"/>
                                        </p:tgtEl>
                                      </p:cBhvr>
                                    </p:animEffect>
                                    <p:animScale>
                                      <p:cBhvr>
                                        <p:cTn id="54" dur="1000" autoRev="1" fill="hold"/>
                                        <p:tgtEl>
                                          <p:spTgt spid="24"/>
                                        </p:tgtEl>
                                      </p:cBhvr>
                                      <p:by x="105000" y="105000"/>
                                    </p:animScale>
                                  </p:childTnLst>
                                </p:cTn>
                              </p:par>
                              <p:par>
                                <p:cTn id="55" presetID="26" presetClass="emph" presetSubtype="0" dur="2000" repeatCount="indefinite" fill="hold" grpId="0" nodeType="withEffect">
                                  <p:stCondLst>
                                    <p:cond delay="500"/>
                                  </p:stCondLst>
                                  <p:childTnLst>
                                    <p:animEffect transition="out" filter="fade">
                                      <p:cBhvr>
                                        <p:cTn id="56" dur="2000" tmFilter="0, 0; .2, .5; .8, .5; 1, 0"/>
                                        <p:tgtEl>
                                          <p:spTgt spid="40"/>
                                        </p:tgtEl>
                                      </p:cBhvr>
                                    </p:animEffect>
                                    <p:animScale>
                                      <p:cBhvr>
                                        <p:cTn id="57" dur="1000" autoRev="1" fill="hold"/>
                                        <p:tgtEl>
                                          <p:spTgt spid="40"/>
                                        </p:tgtEl>
                                      </p:cBhvr>
                                      <p:by x="105000" y="105000"/>
                                    </p:animScale>
                                  </p:childTnLst>
                                </p:cTn>
                              </p:par>
                              <p:par>
                                <p:cTn id="58" presetID="26" presetClass="emph" presetSubtype="0" dur="2000" repeatCount="indefinite" fill="hold" grpId="0" nodeType="withEffect">
                                  <p:stCondLst>
                                    <p:cond delay="500"/>
                                  </p:stCondLst>
                                  <p:childTnLst>
                                    <p:animEffect transition="out" filter="fade">
                                      <p:cBhvr>
                                        <p:cTn id="59" dur="2000" tmFilter="0, 0; .2, .5; .8, .5; 1, 0"/>
                                        <p:tgtEl>
                                          <p:spTgt spid="56"/>
                                        </p:tgtEl>
                                      </p:cBhvr>
                                    </p:animEffect>
                                    <p:animScale>
                                      <p:cBhvr>
                                        <p:cTn id="60" dur="1000" autoRev="1" fill="hold"/>
                                        <p:tgtEl>
                                          <p:spTgt spid="56"/>
                                        </p:tgtEl>
                                      </p:cBhvr>
                                      <p:by x="105000" y="105000"/>
                                    </p:animScale>
                                  </p:childTnLst>
                                </p:cTn>
                              </p:par>
                              <p:par>
                                <p:cTn id="61" presetID="26" presetClass="emph" presetSubtype="0" dur="2000" repeatCount="indefinite" fill="hold" grpId="0" nodeType="withEffect">
                                  <p:stCondLst>
                                    <p:cond delay="500"/>
                                  </p:stCondLst>
                                  <p:childTnLst>
                                    <p:animEffect transition="out" filter="fade">
                                      <p:cBhvr>
                                        <p:cTn id="62" dur="2000" tmFilter="0, 0; .2, .5; .8, .5; 1, 0"/>
                                        <p:tgtEl>
                                          <p:spTgt spid="72"/>
                                        </p:tgtEl>
                                      </p:cBhvr>
                                    </p:animEffect>
                                    <p:animScale>
                                      <p:cBhvr>
                                        <p:cTn id="63" dur="1000" autoRev="1" fill="hold"/>
                                        <p:tgtEl>
                                          <p:spTgt spid="72"/>
                                        </p:tgtEl>
                                      </p:cBhvr>
                                      <p:by x="105000" y="105000"/>
                                    </p:animScale>
                                  </p:childTnLst>
                                </p:cTn>
                              </p:par>
                              <p:par>
                                <p:cTn id="64" presetID="26" presetClass="emph" presetSubtype="0" dur="2000" repeatCount="indefinite" fill="hold" grpId="0" nodeType="withEffect">
                                  <p:stCondLst>
                                    <p:cond delay="500"/>
                                  </p:stCondLst>
                                  <p:childTnLst>
                                    <p:animEffect transition="out" filter="fade">
                                      <p:cBhvr>
                                        <p:cTn id="65" dur="2000" tmFilter="0, 0; .2, .5; .8, .5; 1, 0"/>
                                        <p:tgtEl>
                                          <p:spTgt spid="171"/>
                                        </p:tgtEl>
                                      </p:cBhvr>
                                    </p:animEffect>
                                    <p:animScale>
                                      <p:cBhvr>
                                        <p:cTn id="66" dur="1000" autoRev="1" fill="hold"/>
                                        <p:tgtEl>
                                          <p:spTgt spid="171"/>
                                        </p:tgtEl>
                                      </p:cBhvr>
                                      <p:by x="105000" y="105000"/>
                                    </p:animScale>
                                  </p:childTnLst>
                                </p:cTn>
                              </p:par>
                              <p:par>
                                <p:cTn id="67" presetID="26" presetClass="emph" presetSubtype="0" dur="2000" repeatCount="indefinite" fill="hold" grpId="0" nodeType="withEffect">
                                  <p:stCondLst>
                                    <p:cond delay="500"/>
                                  </p:stCondLst>
                                  <p:childTnLst>
                                    <p:animEffect transition="out" filter="fade">
                                      <p:cBhvr>
                                        <p:cTn id="68" dur="2000" tmFilter="0, 0; .2, .5; .8, .5; 1, 0"/>
                                        <p:tgtEl>
                                          <p:spTgt spid="188"/>
                                        </p:tgtEl>
                                      </p:cBhvr>
                                    </p:animEffect>
                                    <p:animScale>
                                      <p:cBhvr>
                                        <p:cTn id="69" dur="1000" autoRev="1" fill="hold"/>
                                        <p:tgtEl>
                                          <p:spTgt spid="188"/>
                                        </p:tgtEl>
                                      </p:cBhvr>
                                      <p:by x="105000" y="105000"/>
                                    </p:animScale>
                                  </p:childTnLst>
                                </p:cTn>
                              </p:par>
                              <p:par>
                                <p:cTn id="70" presetID="26" presetClass="emph" presetSubtype="0" dur="2000" repeatCount="indefinite" fill="hold" grpId="0" nodeType="withEffect">
                                  <p:stCondLst>
                                    <p:cond delay="500"/>
                                  </p:stCondLst>
                                  <p:childTnLst>
                                    <p:animEffect transition="out" filter="fade">
                                      <p:cBhvr>
                                        <p:cTn id="71" dur="2000" tmFilter="0, 0; .2, .5; .8, .5; 1, 0"/>
                                        <p:tgtEl>
                                          <p:spTgt spid="205"/>
                                        </p:tgtEl>
                                      </p:cBhvr>
                                    </p:animEffect>
                                    <p:animScale>
                                      <p:cBhvr>
                                        <p:cTn id="72" dur="1000" autoRev="1" fill="hold"/>
                                        <p:tgtEl>
                                          <p:spTgt spid="205"/>
                                        </p:tgtEl>
                                      </p:cBhvr>
                                      <p:by x="105000" y="105000"/>
                                    </p:animScale>
                                  </p:childTnLst>
                                </p:cTn>
                              </p:par>
                              <p:par>
                                <p:cTn id="73" presetID="26" presetClass="emph" presetSubtype="0" dur="2000" repeatCount="indefinite" fill="hold" grpId="0" nodeType="withEffect">
                                  <p:stCondLst>
                                    <p:cond delay="500"/>
                                  </p:stCondLst>
                                  <p:childTnLst>
                                    <p:animEffect transition="out" filter="fade">
                                      <p:cBhvr>
                                        <p:cTn id="74" dur="2000" tmFilter="0, 0; .2, .5; .8, .5; 1, 0"/>
                                        <p:tgtEl>
                                          <p:spTgt spid="221"/>
                                        </p:tgtEl>
                                      </p:cBhvr>
                                    </p:animEffect>
                                    <p:animScale>
                                      <p:cBhvr>
                                        <p:cTn id="75" dur="1000" autoRev="1" fill="hold"/>
                                        <p:tgtEl>
                                          <p:spTgt spid="221"/>
                                        </p:tgtEl>
                                      </p:cBhvr>
                                      <p:by x="105000" y="105000"/>
                                    </p:animScale>
                                  </p:childTnLst>
                                </p:cTn>
                              </p:par>
                              <p:par>
                                <p:cTn id="76" presetID="26" presetClass="emph" presetSubtype="0" dur="2000" repeatCount="indefinite" fill="hold" grpId="0" nodeType="withEffect">
                                  <p:stCondLst>
                                    <p:cond delay="750"/>
                                  </p:stCondLst>
                                  <p:childTnLst>
                                    <p:animEffect transition="out" filter="fade">
                                      <p:cBhvr>
                                        <p:cTn id="77" dur="2000" tmFilter="0, 0; .2, .5; .8, .5; 1, 0"/>
                                        <p:tgtEl>
                                          <p:spTgt spid="8"/>
                                        </p:tgtEl>
                                      </p:cBhvr>
                                    </p:animEffect>
                                    <p:animScale>
                                      <p:cBhvr>
                                        <p:cTn id="78" dur="1000" autoRev="1" fill="hold"/>
                                        <p:tgtEl>
                                          <p:spTgt spid="8"/>
                                        </p:tgtEl>
                                      </p:cBhvr>
                                      <p:by x="105000" y="105000"/>
                                    </p:animScale>
                                  </p:childTnLst>
                                </p:cTn>
                              </p:par>
                              <p:par>
                                <p:cTn id="79" presetID="26" presetClass="emph" presetSubtype="0" dur="2000" repeatCount="indefinite" fill="hold" grpId="0" nodeType="withEffect">
                                  <p:stCondLst>
                                    <p:cond delay="750"/>
                                  </p:stCondLst>
                                  <p:childTnLst>
                                    <p:animEffect transition="out" filter="fade">
                                      <p:cBhvr>
                                        <p:cTn id="80" dur="2000" tmFilter="0, 0; .2, .5; .8, .5; 1, 0"/>
                                        <p:tgtEl>
                                          <p:spTgt spid="25"/>
                                        </p:tgtEl>
                                      </p:cBhvr>
                                    </p:animEffect>
                                    <p:animScale>
                                      <p:cBhvr>
                                        <p:cTn id="81" dur="1000" autoRev="1" fill="hold"/>
                                        <p:tgtEl>
                                          <p:spTgt spid="25"/>
                                        </p:tgtEl>
                                      </p:cBhvr>
                                      <p:by x="105000" y="105000"/>
                                    </p:animScale>
                                  </p:childTnLst>
                                </p:cTn>
                              </p:par>
                              <p:par>
                                <p:cTn id="82" presetID="26" presetClass="emph" presetSubtype="0" dur="2000" repeatCount="indefinite" fill="hold" grpId="0" nodeType="withEffect">
                                  <p:stCondLst>
                                    <p:cond delay="750"/>
                                  </p:stCondLst>
                                  <p:childTnLst>
                                    <p:animEffect transition="out" filter="fade">
                                      <p:cBhvr>
                                        <p:cTn id="83" dur="2000" tmFilter="0, 0; .2, .5; .8, .5; 1, 0"/>
                                        <p:tgtEl>
                                          <p:spTgt spid="41"/>
                                        </p:tgtEl>
                                      </p:cBhvr>
                                    </p:animEffect>
                                    <p:animScale>
                                      <p:cBhvr>
                                        <p:cTn id="84" dur="1000" autoRev="1" fill="hold"/>
                                        <p:tgtEl>
                                          <p:spTgt spid="41"/>
                                        </p:tgtEl>
                                      </p:cBhvr>
                                      <p:by x="105000" y="105000"/>
                                    </p:animScale>
                                  </p:childTnLst>
                                </p:cTn>
                              </p:par>
                              <p:par>
                                <p:cTn id="85" presetID="26" presetClass="emph" presetSubtype="0" dur="2000" repeatCount="indefinite" fill="hold" grpId="0" nodeType="withEffect">
                                  <p:stCondLst>
                                    <p:cond delay="750"/>
                                  </p:stCondLst>
                                  <p:childTnLst>
                                    <p:animEffect transition="out" filter="fade">
                                      <p:cBhvr>
                                        <p:cTn id="86" dur="2000" tmFilter="0, 0; .2, .5; .8, .5; 1, 0"/>
                                        <p:tgtEl>
                                          <p:spTgt spid="57"/>
                                        </p:tgtEl>
                                      </p:cBhvr>
                                    </p:animEffect>
                                    <p:animScale>
                                      <p:cBhvr>
                                        <p:cTn id="87" dur="1000" autoRev="1" fill="hold"/>
                                        <p:tgtEl>
                                          <p:spTgt spid="57"/>
                                        </p:tgtEl>
                                      </p:cBhvr>
                                      <p:by x="105000" y="105000"/>
                                    </p:animScale>
                                  </p:childTnLst>
                                </p:cTn>
                              </p:par>
                              <p:par>
                                <p:cTn id="88" presetID="26" presetClass="emph" presetSubtype="0" dur="2000" repeatCount="indefinite" fill="hold" grpId="0" nodeType="withEffect">
                                  <p:stCondLst>
                                    <p:cond delay="750"/>
                                  </p:stCondLst>
                                  <p:childTnLst>
                                    <p:animEffect transition="out" filter="fade">
                                      <p:cBhvr>
                                        <p:cTn id="89" dur="2000" tmFilter="0, 0; .2, .5; .8, .5; 1, 0"/>
                                        <p:tgtEl>
                                          <p:spTgt spid="73"/>
                                        </p:tgtEl>
                                      </p:cBhvr>
                                    </p:animEffect>
                                    <p:animScale>
                                      <p:cBhvr>
                                        <p:cTn id="90" dur="1000" autoRev="1" fill="hold"/>
                                        <p:tgtEl>
                                          <p:spTgt spid="73"/>
                                        </p:tgtEl>
                                      </p:cBhvr>
                                      <p:by x="105000" y="105000"/>
                                    </p:animScale>
                                  </p:childTnLst>
                                </p:cTn>
                              </p:par>
                              <p:par>
                                <p:cTn id="91" presetID="26" presetClass="emph" presetSubtype="0" dur="2000" repeatCount="indefinite" fill="hold" grpId="0" nodeType="withEffect">
                                  <p:stCondLst>
                                    <p:cond delay="750"/>
                                  </p:stCondLst>
                                  <p:childTnLst>
                                    <p:animEffect transition="out" filter="fade">
                                      <p:cBhvr>
                                        <p:cTn id="92" dur="2000" tmFilter="0, 0; .2, .5; .8, .5; 1, 0"/>
                                        <p:tgtEl>
                                          <p:spTgt spid="89"/>
                                        </p:tgtEl>
                                      </p:cBhvr>
                                    </p:animEffect>
                                    <p:animScale>
                                      <p:cBhvr>
                                        <p:cTn id="93" dur="1000" autoRev="1" fill="hold"/>
                                        <p:tgtEl>
                                          <p:spTgt spid="89"/>
                                        </p:tgtEl>
                                      </p:cBhvr>
                                      <p:by x="105000" y="105000"/>
                                    </p:animScale>
                                  </p:childTnLst>
                                </p:cTn>
                              </p:par>
                              <p:par>
                                <p:cTn id="94" presetID="26" presetClass="emph" presetSubtype="0" dur="2000" repeatCount="indefinite" fill="hold" grpId="0" nodeType="withEffect">
                                  <p:stCondLst>
                                    <p:cond delay="750"/>
                                  </p:stCondLst>
                                  <p:childTnLst>
                                    <p:animEffect transition="out" filter="fade">
                                      <p:cBhvr>
                                        <p:cTn id="95" dur="2000" tmFilter="0, 0; .2, .5; .8, .5; 1, 0"/>
                                        <p:tgtEl>
                                          <p:spTgt spid="155"/>
                                        </p:tgtEl>
                                      </p:cBhvr>
                                    </p:animEffect>
                                    <p:animScale>
                                      <p:cBhvr>
                                        <p:cTn id="96" dur="1000" autoRev="1" fill="hold"/>
                                        <p:tgtEl>
                                          <p:spTgt spid="155"/>
                                        </p:tgtEl>
                                      </p:cBhvr>
                                      <p:by x="105000" y="105000"/>
                                    </p:animScale>
                                  </p:childTnLst>
                                </p:cTn>
                              </p:par>
                              <p:par>
                                <p:cTn id="97" presetID="26" presetClass="emph" presetSubtype="0" dur="2000" repeatCount="indefinite" fill="hold" grpId="0" nodeType="withEffect">
                                  <p:stCondLst>
                                    <p:cond delay="750"/>
                                  </p:stCondLst>
                                  <p:childTnLst>
                                    <p:animEffect transition="out" filter="fade">
                                      <p:cBhvr>
                                        <p:cTn id="98" dur="2000" tmFilter="0, 0; .2, .5; .8, .5; 1, 0"/>
                                        <p:tgtEl>
                                          <p:spTgt spid="172"/>
                                        </p:tgtEl>
                                      </p:cBhvr>
                                    </p:animEffect>
                                    <p:animScale>
                                      <p:cBhvr>
                                        <p:cTn id="99" dur="1000" autoRev="1" fill="hold"/>
                                        <p:tgtEl>
                                          <p:spTgt spid="172"/>
                                        </p:tgtEl>
                                      </p:cBhvr>
                                      <p:by x="105000" y="105000"/>
                                    </p:animScale>
                                  </p:childTnLst>
                                </p:cTn>
                              </p:par>
                              <p:par>
                                <p:cTn id="100" presetID="26" presetClass="emph" presetSubtype="0" dur="2000" repeatCount="indefinite" fill="hold" grpId="0" nodeType="withEffect">
                                  <p:stCondLst>
                                    <p:cond delay="750"/>
                                  </p:stCondLst>
                                  <p:childTnLst>
                                    <p:animEffect transition="out" filter="fade">
                                      <p:cBhvr>
                                        <p:cTn id="101" dur="2000" tmFilter="0, 0; .2, .5; .8, .5; 1, 0"/>
                                        <p:tgtEl>
                                          <p:spTgt spid="189"/>
                                        </p:tgtEl>
                                      </p:cBhvr>
                                    </p:animEffect>
                                    <p:animScale>
                                      <p:cBhvr>
                                        <p:cTn id="102" dur="1000" autoRev="1" fill="hold"/>
                                        <p:tgtEl>
                                          <p:spTgt spid="189"/>
                                        </p:tgtEl>
                                      </p:cBhvr>
                                      <p:by x="105000" y="105000"/>
                                    </p:animScale>
                                  </p:childTnLst>
                                </p:cTn>
                              </p:par>
                              <p:par>
                                <p:cTn id="103" presetID="26" presetClass="emph" presetSubtype="0" dur="2000" repeatCount="indefinite" fill="hold" grpId="0" nodeType="withEffect">
                                  <p:stCondLst>
                                    <p:cond delay="750"/>
                                  </p:stCondLst>
                                  <p:childTnLst>
                                    <p:animEffect transition="out" filter="fade">
                                      <p:cBhvr>
                                        <p:cTn id="104" dur="2000" tmFilter="0, 0; .2, .5; .8, .5; 1, 0"/>
                                        <p:tgtEl>
                                          <p:spTgt spid="206"/>
                                        </p:tgtEl>
                                      </p:cBhvr>
                                    </p:animEffect>
                                    <p:animScale>
                                      <p:cBhvr>
                                        <p:cTn id="105" dur="1000" autoRev="1" fill="hold"/>
                                        <p:tgtEl>
                                          <p:spTgt spid="206"/>
                                        </p:tgtEl>
                                      </p:cBhvr>
                                      <p:by x="105000" y="105000"/>
                                    </p:animScale>
                                  </p:childTnLst>
                                </p:cTn>
                              </p:par>
                              <p:par>
                                <p:cTn id="106" presetID="26" presetClass="emph" presetSubtype="0" dur="2000" repeatCount="indefinite" fill="hold" grpId="0" nodeType="withEffect">
                                  <p:stCondLst>
                                    <p:cond delay="750"/>
                                  </p:stCondLst>
                                  <p:childTnLst>
                                    <p:animEffect transition="out" filter="fade">
                                      <p:cBhvr>
                                        <p:cTn id="107" dur="2000" tmFilter="0, 0; .2, .5; .8, .5; 1, 0"/>
                                        <p:tgtEl>
                                          <p:spTgt spid="222"/>
                                        </p:tgtEl>
                                      </p:cBhvr>
                                    </p:animEffect>
                                    <p:animScale>
                                      <p:cBhvr>
                                        <p:cTn id="108" dur="1000" autoRev="1" fill="hold"/>
                                        <p:tgtEl>
                                          <p:spTgt spid="222"/>
                                        </p:tgtEl>
                                      </p:cBhvr>
                                      <p:by x="105000" y="105000"/>
                                    </p:animScale>
                                  </p:childTnLst>
                                </p:cTn>
                              </p:par>
                              <p:par>
                                <p:cTn id="109" presetID="26" presetClass="emph" presetSubtype="0" dur="2000" repeatCount="indefinite" fill="hold" grpId="0" nodeType="withEffect">
                                  <p:stCondLst>
                                    <p:cond delay="1000"/>
                                  </p:stCondLst>
                                  <p:childTnLst>
                                    <p:animEffect transition="out" filter="fade">
                                      <p:cBhvr>
                                        <p:cTn id="110" dur="2000" tmFilter="0, 0; .2, .5; .8, .5; 1, 0"/>
                                        <p:tgtEl>
                                          <p:spTgt spid="11"/>
                                        </p:tgtEl>
                                      </p:cBhvr>
                                    </p:animEffect>
                                    <p:animScale>
                                      <p:cBhvr>
                                        <p:cTn id="111" dur="1000" autoRev="1" fill="hold"/>
                                        <p:tgtEl>
                                          <p:spTgt spid="11"/>
                                        </p:tgtEl>
                                      </p:cBhvr>
                                      <p:by x="105000" y="105000"/>
                                    </p:animScale>
                                  </p:childTnLst>
                                </p:cTn>
                              </p:par>
                              <p:par>
                                <p:cTn id="112" presetID="26" presetClass="emph" presetSubtype="0" dur="2000" repeatCount="indefinite" fill="hold" grpId="0" nodeType="withEffect">
                                  <p:stCondLst>
                                    <p:cond delay="1000"/>
                                  </p:stCondLst>
                                  <p:childTnLst>
                                    <p:animEffect transition="out" filter="fade">
                                      <p:cBhvr>
                                        <p:cTn id="113" dur="2000" tmFilter="0, 0; .2, .5; .8, .5; 1, 0"/>
                                        <p:tgtEl>
                                          <p:spTgt spid="26"/>
                                        </p:tgtEl>
                                      </p:cBhvr>
                                    </p:animEffect>
                                    <p:animScale>
                                      <p:cBhvr>
                                        <p:cTn id="114" dur="1000" autoRev="1" fill="hold"/>
                                        <p:tgtEl>
                                          <p:spTgt spid="26"/>
                                        </p:tgtEl>
                                      </p:cBhvr>
                                      <p:by x="105000" y="105000"/>
                                    </p:animScale>
                                  </p:childTnLst>
                                </p:cTn>
                              </p:par>
                              <p:par>
                                <p:cTn id="115" presetID="26" presetClass="emph" presetSubtype="0" dur="2000" repeatCount="indefinite" fill="hold" grpId="0" nodeType="withEffect">
                                  <p:stCondLst>
                                    <p:cond delay="1000"/>
                                  </p:stCondLst>
                                  <p:childTnLst>
                                    <p:animEffect transition="out" filter="fade">
                                      <p:cBhvr>
                                        <p:cTn id="116" dur="2000" tmFilter="0, 0; .2, .5; .8, .5; 1, 0"/>
                                        <p:tgtEl>
                                          <p:spTgt spid="42"/>
                                        </p:tgtEl>
                                      </p:cBhvr>
                                    </p:animEffect>
                                    <p:animScale>
                                      <p:cBhvr>
                                        <p:cTn id="117" dur="1000" autoRev="1" fill="hold"/>
                                        <p:tgtEl>
                                          <p:spTgt spid="42"/>
                                        </p:tgtEl>
                                      </p:cBhvr>
                                      <p:by x="105000" y="105000"/>
                                    </p:animScale>
                                  </p:childTnLst>
                                </p:cTn>
                              </p:par>
                              <p:par>
                                <p:cTn id="118" presetID="26" presetClass="emph" presetSubtype="0" dur="2000" repeatCount="indefinite" fill="hold" grpId="0" nodeType="withEffect">
                                  <p:stCondLst>
                                    <p:cond delay="1000"/>
                                  </p:stCondLst>
                                  <p:childTnLst>
                                    <p:animEffect transition="out" filter="fade">
                                      <p:cBhvr>
                                        <p:cTn id="119" dur="2000" tmFilter="0, 0; .2, .5; .8, .5; 1, 0"/>
                                        <p:tgtEl>
                                          <p:spTgt spid="58"/>
                                        </p:tgtEl>
                                      </p:cBhvr>
                                    </p:animEffect>
                                    <p:animScale>
                                      <p:cBhvr>
                                        <p:cTn id="120" dur="1000" autoRev="1" fill="hold"/>
                                        <p:tgtEl>
                                          <p:spTgt spid="58"/>
                                        </p:tgtEl>
                                      </p:cBhvr>
                                      <p:by x="105000" y="105000"/>
                                    </p:animScale>
                                  </p:childTnLst>
                                </p:cTn>
                              </p:par>
                              <p:par>
                                <p:cTn id="121" presetID="26" presetClass="emph" presetSubtype="0" dur="2000" repeatCount="indefinite" fill="hold" grpId="0" nodeType="withEffect">
                                  <p:stCondLst>
                                    <p:cond delay="1000"/>
                                  </p:stCondLst>
                                  <p:childTnLst>
                                    <p:animEffect transition="out" filter="fade">
                                      <p:cBhvr>
                                        <p:cTn id="122" dur="2000" tmFilter="0, 0; .2, .5; .8, .5; 1, 0"/>
                                        <p:tgtEl>
                                          <p:spTgt spid="74"/>
                                        </p:tgtEl>
                                      </p:cBhvr>
                                    </p:animEffect>
                                    <p:animScale>
                                      <p:cBhvr>
                                        <p:cTn id="123" dur="1000" autoRev="1" fill="hold"/>
                                        <p:tgtEl>
                                          <p:spTgt spid="74"/>
                                        </p:tgtEl>
                                      </p:cBhvr>
                                      <p:by x="105000" y="105000"/>
                                    </p:animScale>
                                  </p:childTnLst>
                                </p:cTn>
                              </p:par>
                              <p:par>
                                <p:cTn id="124" presetID="26" presetClass="emph" presetSubtype="0" dur="2000" repeatCount="indefinite" fill="hold" grpId="0" nodeType="withEffect">
                                  <p:stCondLst>
                                    <p:cond delay="1000"/>
                                  </p:stCondLst>
                                  <p:childTnLst>
                                    <p:animEffect transition="out" filter="fade">
                                      <p:cBhvr>
                                        <p:cTn id="125" dur="2000" tmFilter="0, 0; .2, .5; .8, .5; 1, 0"/>
                                        <p:tgtEl>
                                          <p:spTgt spid="90"/>
                                        </p:tgtEl>
                                      </p:cBhvr>
                                    </p:animEffect>
                                    <p:animScale>
                                      <p:cBhvr>
                                        <p:cTn id="126" dur="1000" autoRev="1" fill="hold"/>
                                        <p:tgtEl>
                                          <p:spTgt spid="90"/>
                                        </p:tgtEl>
                                      </p:cBhvr>
                                      <p:by x="105000" y="105000"/>
                                    </p:animScale>
                                  </p:childTnLst>
                                </p:cTn>
                              </p:par>
                              <p:par>
                                <p:cTn id="127" presetID="26" presetClass="emph" presetSubtype="0" dur="2000" repeatCount="indefinite" fill="hold" grpId="0" nodeType="withEffect">
                                  <p:stCondLst>
                                    <p:cond delay="1000"/>
                                  </p:stCondLst>
                                  <p:childTnLst>
                                    <p:animEffect transition="out" filter="fade">
                                      <p:cBhvr>
                                        <p:cTn id="128" dur="2000" tmFilter="0, 0; .2, .5; .8, .5; 1, 0"/>
                                        <p:tgtEl>
                                          <p:spTgt spid="106"/>
                                        </p:tgtEl>
                                      </p:cBhvr>
                                    </p:animEffect>
                                    <p:animScale>
                                      <p:cBhvr>
                                        <p:cTn id="129" dur="1000" autoRev="1" fill="hold"/>
                                        <p:tgtEl>
                                          <p:spTgt spid="106"/>
                                        </p:tgtEl>
                                      </p:cBhvr>
                                      <p:by x="105000" y="105000"/>
                                    </p:animScale>
                                  </p:childTnLst>
                                </p:cTn>
                              </p:par>
                              <p:par>
                                <p:cTn id="130" presetID="26" presetClass="emph" presetSubtype="0" dur="2000" repeatCount="indefinite" fill="hold" grpId="0" nodeType="withEffect">
                                  <p:stCondLst>
                                    <p:cond delay="1000"/>
                                  </p:stCondLst>
                                  <p:childTnLst>
                                    <p:animEffect transition="out" filter="fade">
                                      <p:cBhvr>
                                        <p:cTn id="131" dur="2000" tmFilter="0, 0; .2, .5; .8, .5; 1, 0"/>
                                        <p:tgtEl>
                                          <p:spTgt spid="139"/>
                                        </p:tgtEl>
                                      </p:cBhvr>
                                    </p:animEffect>
                                    <p:animScale>
                                      <p:cBhvr>
                                        <p:cTn id="132" dur="1000" autoRev="1" fill="hold"/>
                                        <p:tgtEl>
                                          <p:spTgt spid="139"/>
                                        </p:tgtEl>
                                      </p:cBhvr>
                                      <p:by x="105000" y="105000"/>
                                    </p:animScale>
                                  </p:childTnLst>
                                </p:cTn>
                              </p:par>
                              <p:par>
                                <p:cTn id="133" presetID="26" presetClass="emph" presetSubtype="0" dur="2000" repeatCount="indefinite" fill="hold" grpId="0" nodeType="withEffect">
                                  <p:stCondLst>
                                    <p:cond delay="1000"/>
                                  </p:stCondLst>
                                  <p:childTnLst>
                                    <p:animEffect transition="out" filter="fade">
                                      <p:cBhvr>
                                        <p:cTn id="134" dur="2000" tmFilter="0, 0; .2, .5; .8, .5; 1, 0"/>
                                        <p:tgtEl>
                                          <p:spTgt spid="156"/>
                                        </p:tgtEl>
                                      </p:cBhvr>
                                    </p:animEffect>
                                    <p:animScale>
                                      <p:cBhvr>
                                        <p:cTn id="135" dur="1000" autoRev="1" fill="hold"/>
                                        <p:tgtEl>
                                          <p:spTgt spid="156"/>
                                        </p:tgtEl>
                                      </p:cBhvr>
                                      <p:by x="105000" y="105000"/>
                                    </p:animScale>
                                  </p:childTnLst>
                                </p:cTn>
                              </p:par>
                              <p:par>
                                <p:cTn id="136" presetID="26" presetClass="emph" presetSubtype="0" dur="2000" repeatCount="indefinite" fill="hold" grpId="0" nodeType="withEffect">
                                  <p:stCondLst>
                                    <p:cond delay="1000"/>
                                  </p:stCondLst>
                                  <p:childTnLst>
                                    <p:animEffect transition="out" filter="fade">
                                      <p:cBhvr>
                                        <p:cTn id="137" dur="2000" tmFilter="0, 0; .2, .5; .8, .5; 1, 0"/>
                                        <p:tgtEl>
                                          <p:spTgt spid="173"/>
                                        </p:tgtEl>
                                      </p:cBhvr>
                                    </p:animEffect>
                                    <p:animScale>
                                      <p:cBhvr>
                                        <p:cTn id="138" dur="1000" autoRev="1" fill="hold"/>
                                        <p:tgtEl>
                                          <p:spTgt spid="173"/>
                                        </p:tgtEl>
                                      </p:cBhvr>
                                      <p:by x="105000" y="105000"/>
                                    </p:animScale>
                                  </p:childTnLst>
                                </p:cTn>
                              </p:par>
                              <p:par>
                                <p:cTn id="139" presetID="26" presetClass="emph" presetSubtype="0" dur="2000" repeatCount="indefinite" fill="hold" grpId="0" nodeType="withEffect">
                                  <p:stCondLst>
                                    <p:cond delay="1000"/>
                                  </p:stCondLst>
                                  <p:childTnLst>
                                    <p:animEffect transition="out" filter="fade">
                                      <p:cBhvr>
                                        <p:cTn id="140" dur="2000" tmFilter="0, 0; .2, .5; .8, .5; 1, 0"/>
                                        <p:tgtEl>
                                          <p:spTgt spid="190"/>
                                        </p:tgtEl>
                                      </p:cBhvr>
                                    </p:animEffect>
                                    <p:animScale>
                                      <p:cBhvr>
                                        <p:cTn id="141" dur="1000" autoRev="1" fill="hold"/>
                                        <p:tgtEl>
                                          <p:spTgt spid="190"/>
                                        </p:tgtEl>
                                      </p:cBhvr>
                                      <p:by x="105000" y="105000"/>
                                    </p:animScale>
                                  </p:childTnLst>
                                </p:cTn>
                              </p:par>
                              <p:par>
                                <p:cTn id="142" presetID="26" presetClass="emph" presetSubtype="0" dur="2000" repeatCount="indefinite" fill="hold" grpId="0" nodeType="withEffect">
                                  <p:stCondLst>
                                    <p:cond delay="1000"/>
                                  </p:stCondLst>
                                  <p:childTnLst>
                                    <p:animEffect transition="out" filter="fade">
                                      <p:cBhvr>
                                        <p:cTn id="143" dur="2000" tmFilter="0, 0; .2, .5; .8, .5; 1, 0"/>
                                        <p:tgtEl>
                                          <p:spTgt spid="207"/>
                                        </p:tgtEl>
                                      </p:cBhvr>
                                    </p:animEffect>
                                    <p:animScale>
                                      <p:cBhvr>
                                        <p:cTn id="144" dur="1000" autoRev="1" fill="hold"/>
                                        <p:tgtEl>
                                          <p:spTgt spid="207"/>
                                        </p:tgtEl>
                                      </p:cBhvr>
                                      <p:by x="105000" y="105000"/>
                                    </p:animScale>
                                  </p:childTnLst>
                                </p:cTn>
                              </p:par>
                              <p:par>
                                <p:cTn id="145" presetID="26" presetClass="emph" presetSubtype="0" dur="2000" repeatCount="indefinite" fill="hold" grpId="0" nodeType="withEffect">
                                  <p:stCondLst>
                                    <p:cond delay="1000"/>
                                  </p:stCondLst>
                                  <p:childTnLst>
                                    <p:animEffect transition="out" filter="fade">
                                      <p:cBhvr>
                                        <p:cTn id="146" dur="2000" tmFilter="0, 0; .2, .5; .8, .5; 1, 0"/>
                                        <p:tgtEl>
                                          <p:spTgt spid="223"/>
                                        </p:tgtEl>
                                      </p:cBhvr>
                                    </p:animEffect>
                                    <p:animScale>
                                      <p:cBhvr>
                                        <p:cTn id="147" dur="1000" autoRev="1" fill="hold"/>
                                        <p:tgtEl>
                                          <p:spTgt spid="223"/>
                                        </p:tgtEl>
                                      </p:cBhvr>
                                      <p:by x="105000" y="105000"/>
                                    </p:animScale>
                                  </p:childTnLst>
                                </p:cTn>
                              </p:par>
                              <p:par>
                                <p:cTn id="148" presetID="26" presetClass="emph" presetSubtype="0" dur="2000" repeatCount="indefinite" fill="hold" grpId="0" nodeType="withEffect">
                                  <p:stCondLst>
                                    <p:cond delay="1250"/>
                                  </p:stCondLst>
                                  <p:childTnLst>
                                    <p:animEffect transition="out" filter="fade">
                                      <p:cBhvr>
                                        <p:cTn id="149" dur="2000" tmFilter="0, 0; .2, .5; .8, .5; 1, 0"/>
                                        <p:tgtEl>
                                          <p:spTgt spid="12"/>
                                        </p:tgtEl>
                                      </p:cBhvr>
                                    </p:animEffect>
                                    <p:animScale>
                                      <p:cBhvr>
                                        <p:cTn id="150" dur="1000" autoRev="1" fill="hold"/>
                                        <p:tgtEl>
                                          <p:spTgt spid="12"/>
                                        </p:tgtEl>
                                      </p:cBhvr>
                                      <p:by x="105000" y="105000"/>
                                    </p:animScale>
                                  </p:childTnLst>
                                </p:cTn>
                              </p:par>
                              <p:par>
                                <p:cTn id="151" presetID="26" presetClass="emph" presetSubtype="0" dur="2000" repeatCount="indefinite" fill="hold" grpId="0" nodeType="withEffect">
                                  <p:stCondLst>
                                    <p:cond delay="1250"/>
                                  </p:stCondLst>
                                  <p:childTnLst>
                                    <p:animEffect transition="out" filter="fade">
                                      <p:cBhvr>
                                        <p:cTn id="152" dur="2000" tmFilter="0, 0; .2, .5; .8, .5; 1, 0"/>
                                        <p:tgtEl>
                                          <p:spTgt spid="27"/>
                                        </p:tgtEl>
                                      </p:cBhvr>
                                    </p:animEffect>
                                    <p:animScale>
                                      <p:cBhvr>
                                        <p:cTn id="153" dur="1000" autoRev="1" fill="hold"/>
                                        <p:tgtEl>
                                          <p:spTgt spid="27"/>
                                        </p:tgtEl>
                                      </p:cBhvr>
                                      <p:by x="105000" y="105000"/>
                                    </p:animScale>
                                  </p:childTnLst>
                                </p:cTn>
                              </p:par>
                              <p:par>
                                <p:cTn id="154" presetID="26" presetClass="emph" presetSubtype="0" dur="2000" repeatCount="indefinite" fill="hold" grpId="0" nodeType="withEffect">
                                  <p:stCondLst>
                                    <p:cond delay="1250"/>
                                  </p:stCondLst>
                                  <p:childTnLst>
                                    <p:animEffect transition="out" filter="fade">
                                      <p:cBhvr>
                                        <p:cTn id="155" dur="2000" tmFilter="0, 0; .2, .5; .8, .5; 1, 0"/>
                                        <p:tgtEl>
                                          <p:spTgt spid="43"/>
                                        </p:tgtEl>
                                      </p:cBhvr>
                                    </p:animEffect>
                                    <p:animScale>
                                      <p:cBhvr>
                                        <p:cTn id="156" dur="1000" autoRev="1" fill="hold"/>
                                        <p:tgtEl>
                                          <p:spTgt spid="43"/>
                                        </p:tgtEl>
                                      </p:cBhvr>
                                      <p:by x="105000" y="105000"/>
                                    </p:animScale>
                                  </p:childTnLst>
                                </p:cTn>
                              </p:par>
                              <p:par>
                                <p:cTn id="157" presetID="26" presetClass="emph" presetSubtype="0" dur="2000" repeatCount="indefinite" fill="hold" grpId="0" nodeType="withEffect">
                                  <p:stCondLst>
                                    <p:cond delay="1250"/>
                                  </p:stCondLst>
                                  <p:childTnLst>
                                    <p:animEffect transition="out" filter="fade">
                                      <p:cBhvr>
                                        <p:cTn id="158" dur="2000" tmFilter="0, 0; .2, .5; .8, .5; 1, 0"/>
                                        <p:tgtEl>
                                          <p:spTgt spid="59"/>
                                        </p:tgtEl>
                                      </p:cBhvr>
                                    </p:animEffect>
                                    <p:animScale>
                                      <p:cBhvr>
                                        <p:cTn id="159" dur="1000" autoRev="1" fill="hold"/>
                                        <p:tgtEl>
                                          <p:spTgt spid="59"/>
                                        </p:tgtEl>
                                      </p:cBhvr>
                                      <p:by x="105000" y="105000"/>
                                    </p:animScale>
                                  </p:childTnLst>
                                </p:cTn>
                              </p:par>
                              <p:par>
                                <p:cTn id="160" presetID="26" presetClass="emph" presetSubtype="0" dur="2000" repeatCount="indefinite" fill="hold" grpId="0" nodeType="withEffect">
                                  <p:stCondLst>
                                    <p:cond delay="1250"/>
                                  </p:stCondLst>
                                  <p:childTnLst>
                                    <p:animEffect transition="out" filter="fade">
                                      <p:cBhvr>
                                        <p:cTn id="161" dur="2000" tmFilter="0, 0; .2, .5; .8, .5; 1, 0"/>
                                        <p:tgtEl>
                                          <p:spTgt spid="75"/>
                                        </p:tgtEl>
                                      </p:cBhvr>
                                    </p:animEffect>
                                    <p:animScale>
                                      <p:cBhvr>
                                        <p:cTn id="162" dur="1000" autoRev="1" fill="hold"/>
                                        <p:tgtEl>
                                          <p:spTgt spid="75"/>
                                        </p:tgtEl>
                                      </p:cBhvr>
                                      <p:by x="105000" y="105000"/>
                                    </p:animScale>
                                  </p:childTnLst>
                                </p:cTn>
                              </p:par>
                              <p:par>
                                <p:cTn id="163" presetID="26" presetClass="emph" presetSubtype="0" dur="2000" repeatCount="indefinite" fill="hold" grpId="0" nodeType="withEffect">
                                  <p:stCondLst>
                                    <p:cond delay="1250"/>
                                  </p:stCondLst>
                                  <p:childTnLst>
                                    <p:animEffect transition="out" filter="fade">
                                      <p:cBhvr>
                                        <p:cTn id="164" dur="2000" tmFilter="0, 0; .2, .5; .8, .5; 1, 0"/>
                                        <p:tgtEl>
                                          <p:spTgt spid="91"/>
                                        </p:tgtEl>
                                      </p:cBhvr>
                                    </p:animEffect>
                                    <p:animScale>
                                      <p:cBhvr>
                                        <p:cTn id="165" dur="1000" autoRev="1" fill="hold"/>
                                        <p:tgtEl>
                                          <p:spTgt spid="91"/>
                                        </p:tgtEl>
                                      </p:cBhvr>
                                      <p:by x="105000" y="105000"/>
                                    </p:animScale>
                                  </p:childTnLst>
                                </p:cTn>
                              </p:par>
                              <p:par>
                                <p:cTn id="166" presetID="26" presetClass="emph" presetSubtype="0" dur="2000" repeatCount="indefinite" fill="hold" grpId="0" nodeType="withEffect">
                                  <p:stCondLst>
                                    <p:cond delay="1250"/>
                                  </p:stCondLst>
                                  <p:childTnLst>
                                    <p:animEffect transition="out" filter="fade">
                                      <p:cBhvr>
                                        <p:cTn id="167" dur="2000" tmFilter="0, 0; .2, .5; .8, .5; 1, 0"/>
                                        <p:tgtEl>
                                          <p:spTgt spid="107"/>
                                        </p:tgtEl>
                                      </p:cBhvr>
                                    </p:animEffect>
                                    <p:animScale>
                                      <p:cBhvr>
                                        <p:cTn id="168" dur="1000" autoRev="1" fill="hold"/>
                                        <p:tgtEl>
                                          <p:spTgt spid="107"/>
                                        </p:tgtEl>
                                      </p:cBhvr>
                                      <p:by x="105000" y="105000"/>
                                    </p:animScale>
                                  </p:childTnLst>
                                </p:cTn>
                              </p:par>
                              <p:par>
                                <p:cTn id="169" presetID="26" presetClass="emph" presetSubtype="0" dur="2000" repeatCount="indefinite" fill="hold" grpId="0" nodeType="withEffect">
                                  <p:stCondLst>
                                    <p:cond delay="1250"/>
                                  </p:stCondLst>
                                  <p:childTnLst>
                                    <p:animEffect transition="out" filter="fade">
                                      <p:cBhvr>
                                        <p:cTn id="170" dur="2000" tmFilter="0, 0; .2, .5; .8, .5; 1, 0"/>
                                        <p:tgtEl>
                                          <p:spTgt spid="123"/>
                                        </p:tgtEl>
                                      </p:cBhvr>
                                    </p:animEffect>
                                    <p:animScale>
                                      <p:cBhvr>
                                        <p:cTn id="171" dur="1000" autoRev="1" fill="hold"/>
                                        <p:tgtEl>
                                          <p:spTgt spid="123"/>
                                        </p:tgtEl>
                                      </p:cBhvr>
                                      <p:by x="105000" y="105000"/>
                                    </p:animScale>
                                  </p:childTnLst>
                                </p:cTn>
                              </p:par>
                              <p:par>
                                <p:cTn id="172" presetID="26" presetClass="emph" presetSubtype="0" dur="2000" repeatCount="indefinite" fill="hold" grpId="0" nodeType="withEffect">
                                  <p:stCondLst>
                                    <p:cond delay="1250"/>
                                  </p:stCondLst>
                                  <p:childTnLst>
                                    <p:animEffect transition="out" filter="fade">
                                      <p:cBhvr>
                                        <p:cTn id="173" dur="2000" tmFilter="0, 0; .2, .5; .8, .5; 1, 0"/>
                                        <p:tgtEl>
                                          <p:spTgt spid="140"/>
                                        </p:tgtEl>
                                      </p:cBhvr>
                                    </p:animEffect>
                                    <p:animScale>
                                      <p:cBhvr>
                                        <p:cTn id="174" dur="1000" autoRev="1" fill="hold"/>
                                        <p:tgtEl>
                                          <p:spTgt spid="140"/>
                                        </p:tgtEl>
                                      </p:cBhvr>
                                      <p:by x="105000" y="105000"/>
                                    </p:animScale>
                                  </p:childTnLst>
                                </p:cTn>
                              </p:par>
                              <p:par>
                                <p:cTn id="175" presetID="26" presetClass="emph" presetSubtype="0" dur="2000" repeatCount="indefinite" fill="hold" grpId="0" nodeType="withEffect">
                                  <p:stCondLst>
                                    <p:cond delay="1250"/>
                                  </p:stCondLst>
                                  <p:childTnLst>
                                    <p:animEffect transition="out" filter="fade">
                                      <p:cBhvr>
                                        <p:cTn id="176" dur="2000" tmFilter="0, 0; .2, .5; .8, .5; 1, 0"/>
                                        <p:tgtEl>
                                          <p:spTgt spid="157"/>
                                        </p:tgtEl>
                                      </p:cBhvr>
                                    </p:animEffect>
                                    <p:animScale>
                                      <p:cBhvr>
                                        <p:cTn id="177" dur="1000" autoRev="1" fill="hold"/>
                                        <p:tgtEl>
                                          <p:spTgt spid="157"/>
                                        </p:tgtEl>
                                      </p:cBhvr>
                                      <p:by x="105000" y="105000"/>
                                    </p:animScale>
                                  </p:childTnLst>
                                </p:cTn>
                              </p:par>
                              <p:par>
                                <p:cTn id="178" presetID="26" presetClass="emph" presetSubtype="0" dur="2000" repeatCount="indefinite" fill="hold" grpId="0" nodeType="withEffect">
                                  <p:stCondLst>
                                    <p:cond delay="1250"/>
                                  </p:stCondLst>
                                  <p:childTnLst>
                                    <p:animEffect transition="out" filter="fade">
                                      <p:cBhvr>
                                        <p:cTn id="179" dur="2000" tmFilter="0, 0; .2, .5; .8, .5; 1, 0"/>
                                        <p:tgtEl>
                                          <p:spTgt spid="174"/>
                                        </p:tgtEl>
                                      </p:cBhvr>
                                    </p:animEffect>
                                    <p:animScale>
                                      <p:cBhvr>
                                        <p:cTn id="180" dur="1000" autoRev="1" fill="hold"/>
                                        <p:tgtEl>
                                          <p:spTgt spid="174"/>
                                        </p:tgtEl>
                                      </p:cBhvr>
                                      <p:by x="105000" y="105000"/>
                                    </p:animScale>
                                  </p:childTnLst>
                                </p:cTn>
                              </p:par>
                              <p:par>
                                <p:cTn id="181" presetID="26" presetClass="emph" presetSubtype="0" dur="2000" repeatCount="indefinite" fill="hold" grpId="0" nodeType="withEffect">
                                  <p:stCondLst>
                                    <p:cond delay="1250"/>
                                  </p:stCondLst>
                                  <p:childTnLst>
                                    <p:animEffect transition="out" filter="fade">
                                      <p:cBhvr>
                                        <p:cTn id="182" dur="2000" tmFilter="0, 0; .2, .5; .8, .5; 1, 0"/>
                                        <p:tgtEl>
                                          <p:spTgt spid="191"/>
                                        </p:tgtEl>
                                      </p:cBhvr>
                                    </p:animEffect>
                                    <p:animScale>
                                      <p:cBhvr>
                                        <p:cTn id="183" dur="1000" autoRev="1" fill="hold"/>
                                        <p:tgtEl>
                                          <p:spTgt spid="191"/>
                                        </p:tgtEl>
                                      </p:cBhvr>
                                      <p:by x="105000" y="105000"/>
                                    </p:animScale>
                                  </p:childTnLst>
                                </p:cTn>
                              </p:par>
                              <p:par>
                                <p:cTn id="184" presetID="26" presetClass="emph" presetSubtype="0" dur="2000" repeatCount="indefinite" fill="hold" grpId="0" nodeType="withEffect">
                                  <p:stCondLst>
                                    <p:cond delay="1250"/>
                                  </p:stCondLst>
                                  <p:childTnLst>
                                    <p:animEffect transition="out" filter="fade">
                                      <p:cBhvr>
                                        <p:cTn id="185" dur="2000" tmFilter="0, 0; .2, .5; .8, .5; 1, 0"/>
                                        <p:tgtEl>
                                          <p:spTgt spid="208"/>
                                        </p:tgtEl>
                                      </p:cBhvr>
                                    </p:animEffect>
                                    <p:animScale>
                                      <p:cBhvr>
                                        <p:cTn id="186" dur="1000" autoRev="1" fill="hold"/>
                                        <p:tgtEl>
                                          <p:spTgt spid="208"/>
                                        </p:tgtEl>
                                      </p:cBhvr>
                                      <p:by x="105000" y="105000"/>
                                    </p:animScale>
                                  </p:childTnLst>
                                </p:cTn>
                              </p:par>
                              <p:par>
                                <p:cTn id="187" presetID="26" presetClass="emph" presetSubtype="0" dur="2000" repeatCount="indefinite" fill="hold" grpId="0" nodeType="withEffect">
                                  <p:stCondLst>
                                    <p:cond delay="1250"/>
                                  </p:stCondLst>
                                  <p:childTnLst>
                                    <p:animEffect transition="out" filter="fade">
                                      <p:cBhvr>
                                        <p:cTn id="188" dur="2000" tmFilter="0, 0; .2, .5; .8, .5; 1, 0"/>
                                        <p:tgtEl>
                                          <p:spTgt spid="224"/>
                                        </p:tgtEl>
                                      </p:cBhvr>
                                    </p:animEffect>
                                    <p:animScale>
                                      <p:cBhvr>
                                        <p:cTn id="189" dur="1000" autoRev="1" fill="hold"/>
                                        <p:tgtEl>
                                          <p:spTgt spid="224"/>
                                        </p:tgtEl>
                                      </p:cBhvr>
                                      <p:by x="105000" y="105000"/>
                                    </p:animScale>
                                  </p:childTnLst>
                                </p:cTn>
                              </p:par>
                              <p:par>
                                <p:cTn id="190" presetID="26" presetClass="emph" presetSubtype="0" dur="2000" repeatCount="indefinite" fill="hold" grpId="0" nodeType="withEffect">
                                  <p:stCondLst>
                                    <p:cond delay="1500"/>
                                  </p:stCondLst>
                                  <p:childTnLst>
                                    <p:animEffect transition="out" filter="fade">
                                      <p:cBhvr>
                                        <p:cTn id="191" dur="2000" tmFilter="0, 0; .2, .5; .8, .5; 1, 0"/>
                                        <p:tgtEl>
                                          <p:spTgt spid="13"/>
                                        </p:tgtEl>
                                      </p:cBhvr>
                                    </p:animEffect>
                                    <p:animScale>
                                      <p:cBhvr>
                                        <p:cTn id="192" dur="1000" autoRev="1" fill="hold"/>
                                        <p:tgtEl>
                                          <p:spTgt spid="13"/>
                                        </p:tgtEl>
                                      </p:cBhvr>
                                      <p:by x="105000" y="105000"/>
                                    </p:animScale>
                                  </p:childTnLst>
                                </p:cTn>
                              </p:par>
                              <p:par>
                                <p:cTn id="193" presetID="26" presetClass="emph" presetSubtype="0" dur="2000" repeatCount="indefinite" fill="hold" grpId="0" nodeType="withEffect">
                                  <p:stCondLst>
                                    <p:cond delay="1500"/>
                                  </p:stCondLst>
                                  <p:childTnLst>
                                    <p:animEffect transition="out" filter="fade">
                                      <p:cBhvr>
                                        <p:cTn id="194" dur="2000" tmFilter="0, 0; .2, .5; .8, .5; 1, 0"/>
                                        <p:tgtEl>
                                          <p:spTgt spid="28"/>
                                        </p:tgtEl>
                                      </p:cBhvr>
                                    </p:animEffect>
                                    <p:animScale>
                                      <p:cBhvr>
                                        <p:cTn id="195" dur="1000" autoRev="1" fill="hold"/>
                                        <p:tgtEl>
                                          <p:spTgt spid="28"/>
                                        </p:tgtEl>
                                      </p:cBhvr>
                                      <p:by x="105000" y="105000"/>
                                    </p:animScale>
                                  </p:childTnLst>
                                </p:cTn>
                              </p:par>
                              <p:par>
                                <p:cTn id="196" presetID="26" presetClass="emph" presetSubtype="0" dur="2000" repeatCount="indefinite" fill="hold" grpId="0" nodeType="withEffect">
                                  <p:stCondLst>
                                    <p:cond delay="1500"/>
                                  </p:stCondLst>
                                  <p:childTnLst>
                                    <p:animEffect transition="out" filter="fade">
                                      <p:cBhvr>
                                        <p:cTn id="197" dur="2000" tmFilter="0, 0; .2, .5; .8, .5; 1, 0"/>
                                        <p:tgtEl>
                                          <p:spTgt spid="44"/>
                                        </p:tgtEl>
                                      </p:cBhvr>
                                    </p:animEffect>
                                    <p:animScale>
                                      <p:cBhvr>
                                        <p:cTn id="198" dur="1000" autoRev="1" fill="hold"/>
                                        <p:tgtEl>
                                          <p:spTgt spid="44"/>
                                        </p:tgtEl>
                                      </p:cBhvr>
                                      <p:by x="105000" y="105000"/>
                                    </p:animScale>
                                  </p:childTnLst>
                                </p:cTn>
                              </p:par>
                              <p:par>
                                <p:cTn id="199" presetID="26" presetClass="emph" presetSubtype="0" dur="2000" repeatCount="indefinite" fill="hold" grpId="0" nodeType="withEffect">
                                  <p:stCondLst>
                                    <p:cond delay="1500"/>
                                  </p:stCondLst>
                                  <p:childTnLst>
                                    <p:animEffect transition="out" filter="fade">
                                      <p:cBhvr>
                                        <p:cTn id="200" dur="2000" tmFilter="0, 0; .2, .5; .8, .5; 1, 0"/>
                                        <p:tgtEl>
                                          <p:spTgt spid="60"/>
                                        </p:tgtEl>
                                      </p:cBhvr>
                                    </p:animEffect>
                                    <p:animScale>
                                      <p:cBhvr>
                                        <p:cTn id="201" dur="1000" autoRev="1" fill="hold"/>
                                        <p:tgtEl>
                                          <p:spTgt spid="60"/>
                                        </p:tgtEl>
                                      </p:cBhvr>
                                      <p:by x="105000" y="105000"/>
                                    </p:animScale>
                                  </p:childTnLst>
                                </p:cTn>
                              </p:par>
                              <p:par>
                                <p:cTn id="202" presetID="26" presetClass="emph" presetSubtype="0" dur="2000" repeatCount="indefinite" fill="hold" grpId="0" nodeType="withEffect">
                                  <p:stCondLst>
                                    <p:cond delay="1500"/>
                                  </p:stCondLst>
                                  <p:childTnLst>
                                    <p:animEffect transition="out" filter="fade">
                                      <p:cBhvr>
                                        <p:cTn id="203" dur="2000" tmFilter="0, 0; .2, .5; .8, .5; 1, 0"/>
                                        <p:tgtEl>
                                          <p:spTgt spid="76"/>
                                        </p:tgtEl>
                                      </p:cBhvr>
                                    </p:animEffect>
                                    <p:animScale>
                                      <p:cBhvr>
                                        <p:cTn id="204" dur="1000" autoRev="1" fill="hold"/>
                                        <p:tgtEl>
                                          <p:spTgt spid="76"/>
                                        </p:tgtEl>
                                      </p:cBhvr>
                                      <p:by x="105000" y="105000"/>
                                    </p:animScale>
                                  </p:childTnLst>
                                </p:cTn>
                              </p:par>
                              <p:par>
                                <p:cTn id="205" presetID="26" presetClass="emph" presetSubtype="0" dur="2000" repeatCount="indefinite" fill="hold" grpId="0" nodeType="withEffect">
                                  <p:stCondLst>
                                    <p:cond delay="1500"/>
                                  </p:stCondLst>
                                  <p:childTnLst>
                                    <p:animEffect transition="out" filter="fade">
                                      <p:cBhvr>
                                        <p:cTn id="206" dur="2000" tmFilter="0, 0; .2, .5; .8, .5; 1, 0"/>
                                        <p:tgtEl>
                                          <p:spTgt spid="92"/>
                                        </p:tgtEl>
                                      </p:cBhvr>
                                    </p:animEffect>
                                    <p:animScale>
                                      <p:cBhvr>
                                        <p:cTn id="207" dur="1000" autoRev="1" fill="hold"/>
                                        <p:tgtEl>
                                          <p:spTgt spid="92"/>
                                        </p:tgtEl>
                                      </p:cBhvr>
                                      <p:by x="105000" y="105000"/>
                                    </p:animScale>
                                  </p:childTnLst>
                                </p:cTn>
                              </p:par>
                              <p:par>
                                <p:cTn id="208" presetID="26" presetClass="emph" presetSubtype="0" dur="2000" repeatCount="indefinite" fill="hold" grpId="0" nodeType="withEffect">
                                  <p:stCondLst>
                                    <p:cond delay="1500"/>
                                  </p:stCondLst>
                                  <p:childTnLst>
                                    <p:animEffect transition="out" filter="fade">
                                      <p:cBhvr>
                                        <p:cTn id="209" dur="2000" tmFilter="0, 0; .2, .5; .8, .5; 1, 0"/>
                                        <p:tgtEl>
                                          <p:spTgt spid="108"/>
                                        </p:tgtEl>
                                      </p:cBhvr>
                                    </p:animEffect>
                                    <p:animScale>
                                      <p:cBhvr>
                                        <p:cTn id="210" dur="1000" autoRev="1" fill="hold"/>
                                        <p:tgtEl>
                                          <p:spTgt spid="108"/>
                                        </p:tgtEl>
                                      </p:cBhvr>
                                      <p:by x="105000" y="105000"/>
                                    </p:animScale>
                                  </p:childTnLst>
                                </p:cTn>
                              </p:par>
                              <p:par>
                                <p:cTn id="211" presetID="26" presetClass="emph" presetSubtype="0" dur="2000" repeatCount="indefinite" fill="hold" grpId="0" nodeType="withEffect">
                                  <p:stCondLst>
                                    <p:cond delay="1500"/>
                                  </p:stCondLst>
                                  <p:childTnLst>
                                    <p:animEffect transition="out" filter="fade">
                                      <p:cBhvr>
                                        <p:cTn id="212" dur="2000" tmFilter="0, 0; .2, .5; .8, .5; 1, 0"/>
                                        <p:tgtEl>
                                          <p:spTgt spid="124"/>
                                        </p:tgtEl>
                                      </p:cBhvr>
                                    </p:animEffect>
                                    <p:animScale>
                                      <p:cBhvr>
                                        <p:cTn id="213" dur="1000" autoRev="1" fill="hold"/>
                                        <p:tgtEl>
                                          <p:spTgt spid="124"/>
                                        </p:tgtEl>
                                      </p:cBhvr>
                                      <p:by x="105000" y="105000"/>
                                    </p:animScale>
                                  </p:childTnLst>
                                </p:cTn>
                              </p:par>
                              <p:par>
                                <p:cTn id="214" presetID="26" presetClass="emph" presetSubtype="0" dur="2000" repeatCount="indefinite" fill="hold" grpId="0" nodeType="withEffect">
                                  <p:stCondLst>
                                    <p:cond delay="1500"/>
                                  </p:stCondLst>
                                  <p:childTnLst>
                                    <p:animEffect transition="out" filter="fade">
                                      <p:cBhvr>
                                        <p:cTn id="215" dur="2000" tmFilter="0, 0; .2, .5; .8, .5; 1, 0"/>
                                        <p:tgtEl>
                                          <p:spTgt spid="141"/>
                                        </p:tgtEl>
                                      </p:cBhvr>
                                    </p:animEffect>
                                    <p:animScale>
                                      <p:cBhvr>
                                        <p:cTn id="216" dur="1000" autoRev="1" fill="hold"/>
                                        <p:tgtEl>
                                          <p:spTgt spid="141"/>
                                        </p:tgtEl>
                                      </p:cBhvr>
                                      <p:by x="105000" y="105000"/>
                                    </p:animScale>
                                  </p:childTnLst>
                                </p:cTn>
                              </p:par>
                              <p:par>
                                <p:cTn id="217" presetID="26" presetClass="emph" presetSubtype="0" dur="2000" repeatCount="indefinite" fill="hold" grpId="0" nodeType="withEffect">
                                  <p:stCondLst>
                                    <p:cond delay="1500"/>
                                  </p:stCondLst>
                                  <p:childTnLst>
                                    <p:animEffect transition="out" filter="fade">
                                      <p:cBhvr>
                                        <p:cTn id="218" dur="2000" tmFilter="0, 0; .2, .5; .8, .5; 1, 0"/>
                                        <p:tgtEl>
                                          <p:spTgt spid="158"/>
                                        </p:tgtEl>
                                      </p:cBhvr>
                                    </p:animEffect>
                                    <p:animScale>
                                      <p:cBhvr>
                                        <p:cTn id="219" dur="1000" autoRev="1" fill="hold"/>
                                        <p:tgtEl>
                                          <p:spTgt spid="158"/>
                                        </p:tgtEl>
                                      </p:cBhvr>
                                      <p:by x="105000" y="105000"/>
                                    </p:animScale>
                                  </p:childTnLst>
                                </p:cTn>
                              </p:par>
                              <p:par>
                                <p:cTn id="220" presetID="26" presetClass="emph" presetSubtype="0" dur="2000" repeatCount="indefinite" fill="hold" grpId="0" nodeType="withEffect">
                                  <p:stCondLst>
                                    <p:cond delay="1500"/>
                                  </p:stCondLst>
                                  <p:childTnLst>
                                    <p:animEffect transition="out" filter="fade">
                                      <p:cBhvr>
                                        <p:cTn id="221" dur="2000" tmFilter="0, 0; .2, .5; .8, .5; 1, 0"/>
                                        <p:tgtEl>
                                          <p:spTgt spid="175"/>
                                        </p:tgtEl>
                                      </p:cBhvr>
                                    </p:animEffect>
                                    <p:animScale>
                                      <p:cBhvr>
                                        <p:cTn id="222" dur="1000" autoRev="1" fill="hold"/>
                                        <p:tgtEl>
                                          <p:spTgt spid="175"/>
                                        </p:tgtEl>
                                      </p:cBhvr>
                                      <p:by x="105000" y="105000"/>
                                    </p:animScale>
                                  </p:childTnLst>
                                </p:cTn>
                              </p:par>
                              <p:par>
                                <p:cTn id="223" presetID="26" presetClass="emph" presetSubtype="0" dur="2000" repeatCount="indefinite" fill="hold" grpId="0" nodeType="withEffect">
                                  <p:stCondLst>
                                    <p:cond delay="1500"/>
                                  </p:stCondLst>
                                  <p:childTnLst>
                                    <p:animEffect transition="out" filter="fade">
                                      <p:cBhvr>
                                        <p:cTn id="224" dur="2000" tmFilter="0, 0; .2, .5; .8, .5; 1, 0"/>
                                        <p:tgtEl>
                                          <p:spTgt spid="192"/>
                                        </p:tgtEl>
                                      </p:cBhvr>
                                    </p:animEffect>
                                    <p:animScale>
                                      <p:cBhvr>
                                        <p:cTn id="225" dur="1000" autoRev="1" fill="hold"/>
                                        <p:tgtEl>
                                          <p:spTgt spid="192"/>
                                        </p:tgtEl>
                                      </p:cBhvr>
                                      <p:by x="105000" y="105000"/>
                                    </p:animScale>
                                  </p:childTnLst>
                                </p:cTn>
                              </p:par>
                              <p:par>
                                <p:cTn id="226" presetID="26" presetClass="emph" presetSubtype="0" dur="2000" repeatCount="indefinite" fill="hold" grpId="0" nodeType="withEffect">
                                  <p:stCondLst>
                                    <p:cond delay="1500"/>
                                  </p:stCondLst>
                                  <p:childTnLst>
                                    <p:animEffect transition="out" filter="fade">
                                      <p:cBhvr>
                                        <p:cTn id="227" dur="2000" tmFilter="0, 0; .2, .5; .8, .5; 1, 0"/>
                                        <p:tgtEl>
                                          <p:spTgt spid="209"/>
                                        </p:tgtEl>
                                      </p:cBhvr>
                                    </p:animEffect>
                                    <p:animScale>
                                      <p:cBhvr>
                                        <p:cTn id="228" dur="1000" autoRev="1" fill="hold"/>
                                        <p:tgtEl>
                                          <p:spTgt spid="209"/>
                                        </p:tgtEl>
                                      </p:cBhvr>
                                      <p:by x="105000" y="105000"/>
                                    </p:animScale>
                                  </p:childTnLst>
                                </p:cTn>
                              </p:par>
                              <p:par>
                                <p:cTn id="229" presetID="26" presetClass="emph" presetSubtype="0" dur="2000" repeatCount="indefinite" fill="hold" grpId="0" nodeType="withEffect">
                                  <p:stCondLst>
                                    <p:cond delay="1500"/>
                                  </p:stCondLst>
                                  <p:childTnLst>
                                    <p:animEffect transition="out" filter="fade">
                                      <p:cBhvr>
                                        <p:cTn id="230" dur="2000" tmFilter="0, 0; .2, .5; .8, .5; 1, 0"/>
                                        <p:tgtEl>
                                          <p:spTgt spid="225"/>
                                        </p:tgtEl>
                                      </p:cBhvr>
                                    </p:animEffect>
                                    <p:animScale>
                                      <p:cBhvr>
                                        <p:cTn id="231" dur="1000" autoRev="1" fill="hold"/>
                                        <p:tgtEl>
                                          <p:spTgt spid="225"/>
                                        </p:tgtEl>
                                      </p:cBhvr>
                                      <p:by x="105000" y="105000"/>
                                    </p:animScale>
                                  </p:childTnLst>
                                </p:cTn>
                              </p:par>
                              <p:par>
                                <p:cTn id="232" presetID="26" presetClass="emph" presetSubtype="0" dur="2000" repeatCount="indefinite" fill="hold" grpId="0" nodeType="withEffect">
                                  <p:stCondLst>
                                    <p:cond delay="1750"/>
                                  </p:stCondLst>
                                  <p:childTnLst>
                                    <p:animEffect transition="out" filter="fade">
                                      <p:cBhvr>
                                        <p:cTn id="233" dur="2000" tmFilter="0, 0; .2, .5; .8, .5; 1, 0"/>
                                        <p:tgtEl>
                                          <p:spTgt spid="14"/>
                                        </p:tgtEl>
                                      </p:cBhvr>
                                    </p:animEffect>
                                    <p:animScale>
                                      <p:cBhvr>
                                        <p:cTn id="234" dur="1000" autoRev="1" fill="hold"/>
                                        <p:tgtEl>
                                          <p:spTgt spid="14"/>
                                        </p:tgtEl>
                                      </p:cBhvr>
                                      <p:by x="105000" y="105000"/>
                                    </p:animScale>
                                  </p:childTnLst>
                                </p:cTn>
                              </p:par>
                              <p:par>
                                <p:cTn id="235" presetID="26" presetClass="emph" presetSubtype="0" dur="2000" repeatCount="indefinite" fill="hold" grpId="0" nodeType="withEffect">
                                  <p:stCondLst>
                                    <p:cond delay="1750"/>
                                  </p:stCondLst>
                                  <p:childTnLst>
                                    <p:animEffect transition="out" filter="fade">
                                      <p:cBhvr>
                                        <p:cTn id="236" dur="2000" tmFilter="0, 0; .2, .5; .8, .5; 1, 0"/>
                                        <p:tgtEl>
                                          <p:spTgt spid="29"/>
                                        </p:tgtEl>
                                      </p:cBhvr>
                                    </p:animEffect>
                                    <p:animScale>
                                      <p:cBhvr>
                                        <p:cTn id="237" dur="1000" autoRev="1" fill="hold"/>
                                        <p:tgtEl>
                                          <p:spTgt spid="29"/>
                                        </p:tgtEl>
                                      </p:cBhvr>
                                      <p:by x="105000" y="105000"/>
                                    </p:animScale>
                                  </p:childTnLst>
                                </p:cTn>
                              </p:par>
                              <p:par>
                                <p:cTn id="238" presetID="26" presetClass="emph" presetSubtype="0" dur="2000" repeatCount="indefinite" fill="hold" grpId="0" nodeType="withEffect">
                                  <p:stCondLst>
                                    <p:cond delay="1750"/>
                                  </p:stCondLst>
                                  <p:childTnLst>
                                    <p:animEffect transition="out" filter="fade">
                                      <p:cBhvr>
                                        <p:cTn id="239" dur="2000" tmFilter="0, 0; .2, .5; .8, .5; 1, 0"/>
                                        <p:tgtEl>
                                          <p:spTgt spid="45"/>
                                        </p:tgtEl>
                                      </p:cBhvr>
                                    </p:animEffect>
                                    <p:animScale>
                                      <p:cBhvr>
                                        <p:cTn id="240" dur="1000" autoRev="1" fill="hold"/>
                                        <p:tgtEl>
                                          <p:spTgt spid="45"/>
                                        </p:tgtEl>
                                      </p:cBhvr>
                                      <p:by x="105000" y="105000"/>
                                    </p:animScale>
                                  </p:childTnLst>
                                </p:cTn>
                              </p:par>
                              <p:par>
                                <p:cTn id="241" presetID="26" presetClass="emph" presetSubtype="0" dur="2000" repeatCount="indefinite" fill="hold" grpId="0" nodeType="withEffect">
                                  <p:stCondLst>
                                    <p:cond delay="1750"/>
                                  </p:stCondLst>
                                  <p:childTnLst>
                                    <p:animEffect transition="out" filter="fade">
                                      <p:cBhvr>
                                        <p:cTn id="242" dur="2000" tmFilter="0, 0; .2, .5; .8, .5; 1, 0"/>
                                        <p:tgtEl>
                                          <p:spTgt spid="61"/>
                                        </p:tgtEl>
                                      </p:cBhvr>
                                    </p:animEffect>
                                    <p:animScale>
                                      <p:cBhvr>
                                        <p:cTn id="243" dur="1000" autoRev="1" fill="hold"/>
                                        <p:tgtEl>
                                          <p:spTgt spid="61"/>
                                        </p:tgtEl>
                                      </p:cBhvr>
                                      <p:by x="105000" y="105000"/>
                                    </p:animScale>
                                  </p:childTnLst>
                                </p:cTn>
                              </p:par>
                              <p:par>
                                <p:cTn id="244" presetID="26" presetClass="emph" presetSubtype="0" dur="2000" repeatCount="indefinite" fill="hold" grpId="0" nodeType="withEffect">
                                  <p:stCondLst>
                                    <p:cond delay="1750"/>
                                  </p:stCondLst>
                                  <p:childTnLst>
                                    <p:animEffect transition="out" filter="fade">
                                      <p:cBhvr>
                                        <p:cTn id="245" dur="2000" tmFilter="0, 0; .2, .5; .8, .5; 1, 0"/>
                                        <p:tgtEl>
                                          <p:spTgt spid="77"/>
                                        </p:tgtEl>
                                      </p:cBhvr>
                                    </p:animEffect>
                                    <p:animScale>
                                      <p:cBhvr>
                                        <p:cTn id="246" dur="1000" autoRev="1" fill="hold"/>
                                        <p:tgtEl>
                                          <p:spTgt spid="77"/>
                                        </p:tgtEl>
                                      </p:cBhvr>
                                      <p:by x="105000" y="105000"/>
                                    </p:animScale>
                                  </p:childTnLst>
                                </p:cTn>
                              </p:par>
                              <p:par>
                                <p:cTn id="247" presetID="26" presetClass="emph" presetSubtype="0" dur="2000" repeatCount="indefinite" fill="hold" grpId="0" nodeType="withEffect">
                                  <p:stCondLst>
                                    <p:cond delay="1750"/>
                                  </p:stCondLst>
                                  <p:childTnLst>
                                    <p:animEffect transition="out" filter="fade">
                                      <p:cBhvr>
                                        <p:cTn id="248" dur="2000" tmFilter="0, 0; .2, .5; .8, .5; 1, 0"/>
                                        <p:tgtEl>
                                          <p:spTgt spid="93"/>
                                        </p:tgtEl>
                                      </p:cBhvr>
                                    </p:animEffect>
                                    <p:animScale>
                                      <p:cBhvr>
                                        <p:cTn id="249" dur="1000" autoRev="1" fill="hold"/>
                                        <p:tgtEl>
                                          <p:spTgt spid="93"/>
                                        </p:tgtEl>
                                      </p:cBhvr>
                                      <p:by x="105000" y="105000"/>
                                    </p:animScale>
                                  </p:childTnLst>
                                </p:cTn>
                              </p:par>
                              <p:par>
                                <p:cTn id="250" presetID="26" presetClass="emph" presetSubtype="0" dur="2000" repeatCount="indefinite" fill="hold" grpId="0" nodeType="withEffect">
                                  <p:stCondLst>
                                    <p:cond delay="1750"/>
                                  </p:stCondLst>
                                  <p:childTnLst>
                                    <p:animEffect transition="out" filter="fade">
                                      <p:cBhvr>
                                        <p:cTn id="251" dur="2000" tmFilter="0, 0; .2, .5; .8, .5; 1, 0"/>
                                        <p:tgtEl>
                                          <p:spTgt spid="109"/>
                                        </p:tgtEl>
                                      </p:cBhvr>
                                    </p:animEffect>
                                    <p:animScale>
                                      <p:cBhvr>
                                        <p:cTn id="252" dur="1000" autoRev="1" fill="hold"/>
                                        <p:tgtEl>
                                          <p:spTgt spid="109"/>
                                        </p:tgtEl>
                                      </p:cBhvr>
                                      <p:by x="105000" y="105000"/>
                                    </p:animScale>
                                  </p:childTnLst>
                                </p:cTn>
                              </p:par>
                              <p:par>
                                <p:cTn id="253" presetID="26" presetClass="emph" presetSubtype="0" dur="2000" repeatCount="indefinite" fill="hold" grpId="0" nodeType="withEffect">
                                  <p:stCondLst>
                                    <p:cond delay="1750"/>
                                  </p:stCondLst>
                                  <p:childTnLst>
                                    <p:animEffect transition="out" filter="fade">
                                      <p:cBhvr>
                                        <p:cTn id="254" dur="2000" tmFilter="0, 0; .2, .5; .8, .5; 1, 0"/>
                                        <p:tgtEl>
                                          <p:spTgt spid="125"/>
                                        </p:tgtEl>
                                      </p:cBhvr>
                                    </p:animEffect>
                                    <p:animScale>
                                      <p:cBhvr>
                                        <p:cTn id="255" dur="1000" autoRev="1" fill="hold"/>
                                        <p:tgtEl>
                                          <p:spTgt spid="125"/>
                                        </p:tgtEl>
                                      </p:cBhvr>
                                      <p:by x="105000" y="105000"/>
                                    </p:animScale>
                                  </p:childTnLst>
                                </p:cTn>
                              </p:par>
                              <p:par>
                                <p:cTn id="256" presetID="26" presetClass="emph" presetSubtype="0" dur="2000" repeatCount="indefinite" fill="hold" grpId="0" nodeType="withEffect">
                                  <p:stCondLst>
                                    <p:cond delay="1750"/>
                                  </p:stCondLst>
                                  <p:childTnLst>
                                    <p:animEffect transition="out" filter="fade">
                                      <p:cBhvr>
                                        <p:cTn id="257" dur="2000" tmFilter="0, 0; .2, .5; .8, .5; 1, 0"/>
                                        <p:tgtEl>
                                          <p:spTgt spid="142"/>
                                        </p:tgtEl>
                                      </p:cBhvr>
                                    </p:animEffect>
                                    <p:animScale>
                                      <p:cBhvr>
                                        <p:cTn id="258" dur="1000" autoRev="1" fill="hold"/>
                                        <p:tgtEl>
                                          <p:spTgt spid="142"/>
                                        </p:tgtEl>
                                      </p:cBhvr>
                                      <p:by x="105000" y="105000"/>
                                    </p:animScale>
                                  </p:childTnLst>
                                </p:cTn>
                              </p:par>
                              <p:par>
                                <p:cTn id="259" presetID="26" presetClass="emph" presetSubtype="0" dur="2000" repeatCount="indefinite" fill="hold" grpId="0" nodeType="withEffect">
                                  <p:stCondLst>
                                    <p:cond delay="1750"/>
                                  </p:stCondLst>
                                  <p:childTnLst>
                                    <p:animEffect transition="out" filter="fade">
                                      <p:cBhvr>
                                        <p:cTn id="260" dur="2000" tmFilter="0, 0; .2, .5; .8, .5; 1, 0"/>
                                        <p:tgtEl>
                                          <p:spTgt spid="159"/>
                                        </p:tgtEl>
                                      </p:cBhvr>
                                    </p:animEffect>
                                    <p:animScale>
                                      <p:cBhvr>
                                        <p:cTn id="261" dur="1000" autoRev="1" fill="hold"/>
                                        <p:tgtEl>
                                          <p:spTgt spid="159"/>
                                        </p:tgtEl>
                                      </p:cBhvr>
                                      <p:by x="105000" y="105000"/>
                                    </p:animScale>
                                  </p:childTnLst>
                                </p:cTn>
                              </p:par>
                              <p:par>
                                <p:cTn id="262" presetID="26" presetClass="emph" presetSubtype="0" dur="2000" repeatCount="indefinite" fill="hold" grpId="0" nodeType="withEffect">
                                  <p:stCondLst>
                                    <p:cond delay="1750"/>
                                  </p:stCondLst>
                                  <p:childTnLst>
                                    <p:animEffect transition="out" filter="fade">
                                      <p:cBhvr>
                                        <p:cTn id="263" dur="2000" tmFilter="0, 0; .2, .5; .8, .5; 1, 0"/>
                                        <p:tgtEl>
                                          <p:spTgt spid="176"/>
                                        </p:tgtEl>
                                      </p:cBhvr>
                                    </p:animEffect>
                                    <p:animScale>
                                      <p:cBhvr>
                                        <p:cTn id="264" dur="1000" autoRev="1" fill="hold"/>
                                        <p:tgtEl>
                                          <p:spTgt spid="176"/>
                                        </p:tgtEl>
                                      </p:cBhvr>
                                      <p:by x="105000" y="105000"/>
                                    </p:animScale>
                                  </p:childTnLst>
                                </p:cTn>
                              </p:par>
                              <p:par>
                                <p:cTn id="265" presetID="26" presetClass="emph" presetSubtype="0" dur="2000" repeatCount="indefinite" fill="hold" grpId="0" nodeType="withEffect">
                                  <p:stCondLst>
                                    <p:cond delay="1750"/>
                                  </p:stCondLst>
                                  <p:childTnLst>
                                    <p:animEffect transition="out" filter="fade">
                                      <p:cBhvr>
                                        <p:cTn id="266" dur="2000" tmFilter="0, 0; .2, .5; .8, .5; 1, 0"/>
                                        <p:tgtEl>
                                          <p:spTgt spid="193"/>
                                        </p:tgtEl>
                                      </p:cBhvr>
                                    </p:animEffect>
                                    <p:animScale>
                                      <p:cBhvr>
                                        <p:cTn id="267" dur="1000" autoRev="1" fill="hold"/>
                                        <p:tgtEl>
                                          <p:spTgt spid="193"/>
                                        </p:tgtEl>
                                      </p:cBhvr>
                                      <p:by x="105000" y="105000"/>
                                    </p:animScale>
                                  </p:childTnLst>
                                </p:cTn>
                              </p:par>
                              <p:par>
                                <p:cTn id="268" presetID="26" presetClass="emph" presetSubtype="0" dur="2000" repeatCount="indefinite" fill="hold" grpId="0" nodeType="withEffect">
                                  <p:stCondLst>
                                    <p:cond delay="1750"/>
                                  </p:stCondLst>
                                  <p:childTnLst>
                                    <p:animEffect transition="out" filter="fade">
                                      <p:cBhvr>
                                        <p:cTn id="269" dur="2000" tmFilter="0, 0; .2, .5; .8, .5; 1, 0"/>
                                        <p:tgtEl>
                                          <p:spTgt spid="210"/>
                                        </p:tgtEl>
                                      </p:cBhvr>
                                    </p:animEffect>
                                    <p:animScale>
                                      <p:cBhvr>
                                        <p:cTn id="270" dur="1000" autoRev="1" fill="hold"/>
                                        <p:tgtEl>
                                          <p:spTgt spid="210"/>
                                        </p:tgtEl>
                                      </p:cBhvr>
                                      <p:by x="105000" y="105000"/>
                                    </p:animScale>
                                  </p:childTnLst>
                                </p:cTn>
                              </p:par>
                              <p:par>
                                <p:cTn id="271" presetID="26" presetClass="emph" presetSubtype="0" dur="2000" repeatCount="indefinite" fill="hold" grpId="0" nodeType="withEffect">
                                  <p:stCondLst>
                                    <p:cond delay="1750"/>
                                  </p:stCondLst>
                                  <p:childTnLst>
                                    <p:animEffect transition="out" filter="fade">
                                      <p:cBhvr>
                                        <p:cTn id="272" dur="2000" tmFilter="0, 0; .2, .5; .8, .5; 1, 0"/>
                                        <p:tgtEl>
                                          <p:spTgt spid="226"/>
                                        </p:tgtEl>
                                      </p:cBhvr>
                                    </p:animEffect>
                                    <p:animScale>
                                      <p:cBhvr>
                                        <p:cTn id="273" dur="1000" autoRev="1" fill="hold"/>
                                        <p:tgtEl>
                                          <p:spTgt spid="226"/>
                                        </p:tgtEl>
                                      </p:cBhvr>
                                      <p:by x="105000" y="105000"/>
                                    </p:animScale>
                                  </p:childTnLst>
                                </p:cTn>
                              </p:par>
                              <p:par>
                                <p:cTn id="274" presetID="26" presetClass="emph" presetSubtype="0" dur="2000" repeatCount="indefinite" fill="hold" grpId="0" nodeType="withEffect">
                                  <p:stCondLst>
                                    <p:cond delay="2000"/>
                                  </p:stCondLst>
                                  <p:childTnLst>
                                    <p:animEffect transition="out" filter="fade">
                                      <p:cBhvr>
                                        <p:cTn id="275" dur="2000" tmFilter="0, 0; .2, .5; .8, .5; 1, 0"/>
                                        <p:tgtEl>
                                          <p:spTgt spid="15"/>
                                        </p:tgtEl>
                                      </p:cBhvr>
                                    </p:animEffect>
                                    <p:animScale>
                                      <p:cBhvr>
                                        <p:cTn id="276" dur="1000" autoRev="1" fill="hold"/>
                                        <p:tgtEl>
                                          <p:spTgt spid="15"/>
                                        </p:tgtEl>
                                      </p:cBhvr>
                                      <p:by x="105000" y="105000"/>
                                    </p:animScale>
                                  </p:childTnLst>
                                </p:cTn>
                              </p:par>
                              <p:par>
                                <p:cTn id="277" presetID="26" presetClass="emph" presetSubtype="0" dur="2000" repeatCount="indefinite" fill="hold" grpId="0" nodeType="withEffect">
                                  <p:stCondLst>
                                    <p:cond delay="2000"/>
                                  </p:stCondLst>
                                  <p:childTnLst>
                                    <p:animEffect transition="out" filter="fade">
                                      <p:cBhvr>
                                        <p:cTn id="278" dur="2000" tmFilter="0, 0; .2, .5; .8, .5; 1, 0"/>
                                        <p:tgtEl>
                                          <p:spTgt spid="30"/>
                                        </p:tgtEl>
                                      </p:cBhvr>
                                    </p:animEffect>
                                    <p:animScale>
                                      <p:cBhvr>
                                        <p:cTn id="279" dur="1000" autoRev="1" fill="hold"/>
                                        <p:tgtEl>
                                          <p:spTgt spid="30"/>
                                        </p:tgtEl>
                                      </p:cBhvr>
                                      <p:by x="105000" y="105000"/>
                                    </p:animScale>
                                  </p:childTnLst>
                                </p:cTn>
                              </p:par>
                              <p:par>
                                <p:cTn id="280" presetID="26" presetClass="emph" presetSubtype="0" dur="2000" repeatCount="indefinite" fill="hold" grpId="0" nodeType="withEffect">
                                  <p:stCondLst>
                                    <p:cond delay="2000"/>
                                  </p:stCondLst>
                                  <p:childTnLst>
                                    <p:animEffect transition="out" filter="fade">
                                      <p:cBhvr>
                                        <p:cTn id="281" dur="2000" tmFilter="0, 0; .2, .5; .8, .5; 1, 0"/>
                                        <p:tgtEl>
                                          <p:spTgt spid="46"/>
                                        </p:tgtEl>
                                      </p:cBhvr>
                                    </p:animEffect>
                                    <p:animScale>
                                      <p:cBhvr>
                                        <p:cTn id="282" dur="1000" autoRev="1" fill="hold"/>
                                        <p:tgtEl>
                                          <p:spTgt spid="46"/>
                                        </p:tgtEl>
                                      </p:cBhvr>
                                      <p:by x="105000" y="105000"/>
                                    </p:animScale>
                                  </p:childTnLst>
                                </p:cTn>
                              </p:par>
                              <p:par>
                                <p:cTn id="283" presetID="26" presetClass="emph" presetSubtype="0" dur="2000" repeatCount="indefinite" fill="hold" grpId="0" nodeType="withEffect">
                                  <p:stCondLst>
                                    <p:cond delay="2000"/>
                                  </p:stCondLst>
                                  <p:childTnLst>
                                    <p:animEffect transition="out" filter="fade">
                                      <p:cBhvr>
                                        <p:cTn id="284" dur="2000" tmFilter="0, 0; .2, .5; .8, .5; 1, 0"/>
                                        <p:tgtEl>
                                          <p:spTgt spid="62"/>
                                        </p:tgtEl>
                                      </p:cBhvr>
                                    </p:animEffect>
                                    <p:animScale>
                                      <p:cBhvr>
                                        <p:cTn id="285" dur="1000" autoRev="1" fill="hold"/>
                                        <p:tgtEl>
                                          <p:spTgt spid="62"/>
                                        </p:tgtEl>
                                      </p:cBhvr>
                                      <p:by x="105000" y="105000"/>
                                    </p:animScale>
                                  </p:childTnLst>
                                </p:cTn>
                              </p:par>
                              <p:par>
                                <p:cTn id="286" presetID="26" presetClass="emph" presetSubtype="0" dur="2000" repeatCount="indefinite" fill="hold" grpId="0" nodeType="withEffect">
                                  <p:stCondLst>
                                    <p:cond delay="2000"/>
                                  </p:stCondLst>
                                  <p:childTnLst>
                                    <p:animEffect transition="out" filter="fade">
                                      <p:cBhvr>
                                        <p:cTn id="287" dur="2000" tmFilter="0, 0; .2, .5; .8, .5; 1, 0"/>
                                        <p:tgtEl>
                                          <p:spTgt spid="78"/>
                                        </p:tgtEl>
                                      </p:cBhvr>
                                    </p:animEffect>
                                    <p:animScale>
                                      <p:cBhvr>
                                        <p:cTn id="288" dur="1000" autoRev="1" fill="hold"/>
                                        <p:tgtEl>
                                          <p:spTgt spid="78"/>
                                        </p:tgtEl>
                                      </p:cBhvr>
                                      <p:by x="105000" y="105000"/>
                                    </p:animScale>
                                  </p:childTnLst>
                                </p:cTn>
                              </p:par>
                              <p:par>
                                <p:cTn id="289" presetID="26" presetClass="emph" presetSubtype="0" dur="2000" repeatCount="indefinite" fill="hold" grpId="0" nodeType="withEffect">
                                  <p:stCondLst>
                                    <p:cond delay="2000"/>
                                  </p:stCondLst>
                                  <p:childTnLst>
                                    <p:animEffect transition="out" filter="fade">
                                      <p:cBhvr>
                                        <p:cTn id="290" dur="2000" tmFilter="0, 0; .2, .5; .8, .5; 1, 0"/>
                                        <p:tgtEl>
                                          <p:spTgt spid="94"/>
                                        </p:tgtEl>
                                      </p:cBhvr>
                                    </p:animEffect>
                                    <p:animScale>
                                      <p:cBhvr>
                                        <p:cTn id="291" dur="1000" autoRev="1" fill="hold"/>
                                        <p:tgtEl>
                                          <p:spTgt spid="94"/>
                                        </p:tgtEl>
                                      </p:cBhvr>
                                      <p:by x="105000" y="105000"/>
                                    </p:animScale>
                                  </p:childTnLst>
                                </p:cTn>
                              </p:par>
                              <p:par>
                                <p:cTn id="292" presetID="26" presetClass="emph" presetSubtype="0" dur="2000" repeatCount="indefinite" fill="hold" grpId="0" nodeType="withEffect">
                                  <p:stCondLst>
                                    <p:cond delay="2000"/>
                                  </p:stCondLst>
                                  <p:childTnLst>
                                    <p:animEffect transition="out" filter="fade">
                                      <p:cBhvr>
                                        <p:cTn id="293" dur="2000" tmFilter="0, 0; .2, .5; .8, .5; 1, 0"/>
                                        <p:tgtEl>
                                          <p:spTgt spid="110"/>
                                        </p:tgtEl>
                                      </p:cBhvr>
                                    </p:animEffect>
                                    <p:animScale>
                                      <p:cBhvr>
                                        <p:cTn id="294" dur="1000" autoRev="1" fill="hold"/>
                                        <p:tgtEl>
                                          <p:spTgt spid="110"/>
                                        </p:tgtEl>
                                      </p:cBhvr>
                                      <p:by x="105000" y="105000"/>
                                    </p:animScale>
                                  </p:childTnLst>
                                </p:cTn>
                              </p:par>
                              <p:par>
                                <p:cTn id="295" presetID="26" presetClass="emph" presetSubtype="0" dur="2000" repeatCount="indefinite" fill="hold" grpId="0" nodeType="withEffect">
                                  <p:stCondLst>
                                    <p:cond delay="2000"/>
                                  </p:stCondLst>
                                  <p:childTnLst>
                                    <p:animEffect transition="out" filter="fade">
                                      <p:cBhvr>
                                        <p:cTn id="296" dur="2000" tmFilter="0, 0; .2, .5; .8, .5; 1, 0"/>
                                        <p:tgtEl>
                                          <p:spTgt spid="126"/>
                                        </p:tgtEl>
                                      </p:cBhvr>
                                    </p:animEffect>
                                    <p:animScale>
                                      <p:cBhvr>
                                        <p:cTn id="297" dur="1000" autoRev="1" fill="hold"/>
                                        <p:tgtEl>
                                          <p:spTgt spid="126"/>
                                        </p:tgtEl>
                                      </p:cBhvr>
                                      <p:by x="105000" y="105000"/>
                                    </p:animScale>
                                  </p:childTnLst>
                                </p:cTn>
                              </p:par>
                              <p:par>
                                <p:cTn id="298" presetID="26" presetClass="emph" presetSubtype="0" dur="2000" repeatCount="indefinite" fill="hold" grpId="0" nodeType="withEffect">
                                  <p:stCondLst>
                                    <p:cond delay="2000"/>
                                  </p:stCondLst>
                                  <p:childTnLst>
                                    <p:animEffect transition="out" filter="fade">
                                      <p:cBhvr>
                                        <p:cTn id="299" dur="2000" tmFilter="0, 0; .2, .5; .8, .5; 1, 0"/>
                                        <p:tgtEl>
                                          <p:spTgt spid="143"/>
                                        </p:tgtEl>
                                      </p:cBhvr>
                                    </p:animEffect>
                                    <p:animScale>
                                      <p:cBhvr>
                                        <p:cTn id="300" dur="1000" autoRev="1" fill="hold"/>
                                        <p:tgtEl>
                                          <p:spTgt spid="143"/>
                                        </p:tgtEl>
                                      </p:cBhvr>
                                      <p:by x="105000" y="105000"/>
                                    </p:animScale>
                                  </p:childTnLst>
                                </p:cTn>
                              </p:par>
                              <p:par>
                                <p:cTn id="301" presetID="26" presetClass="emph" presetSubtype="0" dur="2000" repeatCount="indefinite" fill="hold" grpId="0" nodeType="withEffect">
                                  <p:stCondLst>
                                    <p:cond delay="2000"/>
                                  </p:stCondLst>
                                  <p:childTnLst>
                                    <p:animEffect transition="out" filter="fade">
                                      <p:cBhvr>
                                        <p:cTn id="302" dur="2000" tmFilter="0, 0; .2, .5; .8, .5; 1, 0"/>
                                        <p:tgtEl>
                                          <p:spTgt spid="160"/>
                                        </p:tgtEl>
                                      </p:cBhvr>
                                    </p:animEffect>
                                    <p:animScale>
                                      <p:cBhvr>
                                        <p:cTn id="303" dur="1000" autoRev="1" fill="hold"/>
                                        <p:tgtEl>
                                          <p:spTgt spid="160"/>
                                        </p:tgtEl>
                                      </p:cBhvr>
                                      <p:by x="105000" y="105000"/>
                                    </p:animScale>
                                  </p:childTnLst>
                                </p:cTn>
                              </p:par>
                              <p:par>
                                <p:cTn id="304" presetID="26" presetClass="emph" presetSubtype="0" dur="2000" repeatCount="indefinite" fill="hold" grpId="0" nodeType="withEffect">
                                  <p:stCondLst>
                                    <p:cond delay="2000"/>
                                  </p:stCondLst>
                                  <p:childTnLst>
                                    <p:animEffect transition="out" filter="fade">
                                      <p:cBhvr>
                                        <p:cTn id="305" dur="2000" tmFilter="0, 0; .2, .5; .8, .5; 1, 0"/>
                                        <p:tgtEl>
                                          <p:spTgt spid="177"/>
                                        </p:tgtEl>
                                      </p:cBhvr>
                                    </p:animEffect>
                                    <p:animScale>
                                      <p:cBhvr>
                                        <p:cTn id="306" dur="1000" autoRev="1" fill="hold"/>
                                        <p:tgtEl>
                                          <p:spTgt spid="177"/>
                                        </p:tgtEl>
                                      </p:cBhvr>
                                      <p:by x="105000" y="105000"/>
                                    </p:animScale>
                                  </p:childTnLst>
                                </p:cTn>
                              </p:par>
                              <p:par>
                                <p:cTn id="307" presetID="26" presetClass="emph" presetSubtype="0" dur="2000" repeatCount="indefinite" fill="hold" grpId="0" nodeType="withEffect">
                                  <p:stCondLst>
                                    <p:cond delay="2000"/>
                                  </p:stCondLst>
                                  <p:childTnLst>
                                    <p:animEffect transition="out" filter="fade">
                                      <p:cBhvr>
                                        <p:cTn id="308" dur="2000" tmFilter="0, 0; .2, .5; .8, .5; 1, 0"/>
                                        <p:tgtEl>
                                          <p:spTgt spid="194"/>
                                        </p:tgtEl>
                                      </p:cBhvr>
                                    </p:animEffect>
                                    <p:animScale>
                                      <p:cBhvr>
                                        <p:cTn id="309" dur="1000" autoRev="1" fill="hold"/>
                                        <p:tgtEl>
                                          <p:spTgt spid="194"/>
                                        </p:tgtEl>
                                      </p:cBhvr>
                                      <p:by x="105000" y="105000"/>
                                    </p:animScale>
                                  </p:childTnLst>
                                </p:cTn>
                              </p:par>
                              <p:par>
                                <p:cTn id="310" presetID="26" presetClass="emph" presetSubtype="0" dur="2000" repeatCount="indefinite" fill="hold" grpId="0" nodeType="withEffect">
                                  <p:stCondLst>
                                    <p:cond delay="2000"/>
                                  </p:stCondLst>
                                  <p:childTnLst>
                                    <p:animEffect transition="out" filter="fade">
                                      <p:cBhvr>
                                        <p:cTn id="311" dur="2000" tmFilter="0, 0; .2, .5; .8, .5; 1, 0"/>
                                        <p:tgtEl>
                                          <p:spTgt spid="211"/>
                                        </p:tgtEl>
                                      </p:cBhvr>
                                    </p:animEffect>
                                    <p:animScale>
                                      <p:cBhvr>
                                        <p:cTn id="312" dur="1000" autoRev="1" fill="hold"/>
                                        <p:tgtEl>
                                          <p:spTgt spid="211"/>
                                        </p:tgtEl>
                                      </p:cBhvr>
                                      <p:by x="105000" y="105000"/>
                                    </p:animScale>
                                  </p:childTnLst>
                                </p:cTn>
                              </p:par>
                              <p:par>
                                <p:cTn id="313" presetID="26" presetClass="emph" presetSubtype="0" dur="2000" repeatCount="indefinite" fill="hold" grpId="0" nodeType="withEffect">
                                  <p:stCondLst>
                                    <p:cond delay="2000"/>
                                  </p:stCondLst>
                                  <p:childTnLst>
                                    <p:animEffect transition="out" filter="fade">
                                      <p:cBhvr>
                                        <p:cTn id="314" dur="2000" tmFilter="0, 0; .2, .5; .8, .5; 1, 0"/>
                                        <p:tgtEl>
                                          <p:spTgt spid="227"/>
                                        </p:tgtEl>
                                      </p:cBhvr>
                                    </p:animEffect>
                                    <p:animScale>
                                      <p:cBhvr>
                                        <p:cTn id="315" dur="1000" autoRev="1" fill="hold"/>
                                        <p:tgtEl>
                                          <p:spTgt spid="227"/>
                                        </p:tgtEl>
                                      </p:cBhvr>
                                      <p:by x="105000" y="105000"/>
                                    </p:animScale>
                                  </p:childTnLst>
                                </p:cTn>
                              </p:par>
                              <p:par>
                                <p:cTn id="316" presetID="26" presetClass="emph" presetSubtype="0" dur="2000" repeatCount="indefinite" fill="hold" grpId="0" nodeType="withEffect">
                                  <p:stCondLst>
                                    <p:cond delay="2250"/>
                                  </p:stCondLst>
                                  <p:childTnLst>
                                    <p:animEffect transition="out" filter="fade">
                                      <p:cBhvr>
                                        <p:cTn id="317" dur="2000" tmFilter="0, 0; .2, .5; .8, .5; 1, 0"/>
                                        <p:tgtEl>
                                          <p:spTgt spid="16"/>
                                        </p:tgtEl>
                                      </p:cBhvr>
                                    </p:animEffect>
                                    <p:animScale>
                                      <p:cBhvr>
                                        <p:cTn id="318" dur="1000" autoRev="1" fill="hold"/>
                                        <p:tgtEl>
                                          <p:spTgt spid="16"/>
                                        </p:tgtEl>
                                      </p:cBhvr>
                                      <p:by x="105000" y="105000"/>
                                    </p:animScale>
                                  </p:childTnLst>
                                </p:cTn>
                              </p:par>
                              <p:par>
                                <p:cTn id="319" presetID="26" presetClass="emph" presetSubtype="0" dur="2000" repeatCount="indefinite" fill="hold" grpId="0" nodeType="withEffect">
                                  <p:stCondLst>
                                    <p:cond delay="2250"/>
                                  </p:stCondLst>
                                  <p:childTnLst>
                                    <p:animEffect transition="out" filter="fade">
                                      <p:cBhvr>
                                        <p:cTn id="320" dur="2000" tmFilter="0, 0; .2, .5; .8, .5; 1, 0"/>
                                        <p:tgtEl>
                                          <p:spTgt spid="31"/>
                                        </p:tgtEl>
                                      </p:cBhvr>
                                    </p:animEffect>
                                    <p:animScale>
                                      <p:cBhvr>
                                        <p:cTn id="321" dur="1000" autoRev="1" fill="hold"/>
                                        <p:tgtEl>
                                          <p:spTgt spid="31"/>
                                        </p:tgtEl>
                                      </p:cBhvr>
                                      <p:by x="105000" y="105000"/>
                                    </p:animScale>
                                  </p:childTnLst>
                                </p:cTn>
                              </p:par>
                              <p:par>
                                <p:cTn id="322" presetID="26" presetClass="emph" presetSubtype="0" dur="2000" repeatCount="indefinite" fill="hold" grpId="0" nodeType="withEffect">
                                  <p:stCondLst>
                                    <p:cond delay="2250"/>
                                  </p:stCondLst>
                                  <p:childTnLst>
                                    <p:animEffect transition="out" filter="fade">
                                      <p:cBhvr>
                                        <p:cTn id="323" dur="2000" tmFilter="0, 0; .2, .5; .8, .5; 1, 0"/>
                                        <p:tgtEl>
                                          <p:spTgt spid="47"/>
                                        </p:tgtEl>
                                      </p:cBhvr>
                                    </p:animEffect>
                                    <p:animScale>
                                      <p:cBhvr>
                                        <p:cTn id="324" dur="1000" autoRev="1" fill="hold"/>
                                        <p:tgtEl>
                                          <p:spTgt spid="47"/>
                                        </p:tgtEl>
                                      </p:cBhvr>
                                      <p:by x="105000" y="105000"/>
                                    </p:animScale>
                                  </p:childTnLst>
                                </p:cTn>
                              </p:par>
                              <p:par>
                                <p:cTn id="325" presetID="26" presetClass="emph" presetSubtype="0" dur="2000" repeatCount="indefinite" fill="hold" grpId="0" nodeType="withEffect">
                                  <p:stCondLst>
                                    <p:cond delay="2250"/>
                                  </p:stCondLst>
                                  <p:childTnLst>
                                    <p:animEffect transition="out" filter="fade">
                                      <p:cBhvr>
                                        <p:cTn id="326" dur="2000" tmFilter="0, 0; .2, .5; .8, .5; 1, 0"/>
                                        <p:tgtEl>
                                          <p:spTgt spid="63"/>
                                        </p:tgtEl>
                                      </p:cBhvr>
                                    </p:animEffect>
                                    <p:animScale>
                                      <p:cBhvr>
                                        <p:cTn id="327" dur="1000" autoRev="1" fill="hold"/>
                                        <p:tgtEl>
                                          <p:spTgt spid="63"/>
                                        </p:tgtEl>
                                      </p:cBhvr>
                                      <p:by x="105000" y="105000"/>
                                    </p:animScale>
                                  </p:childTnLst>
                                </p:cTn>
                              </p:par>
                              <p:par>
                                <p:cTn id="328" presetID="26" presetClass="emph" presetSubtype="0" dur="2000" repeatCount="indefinite" fill="hold" grpId="0" nodeType="withEffect">
                                  <p:stCondLst>
                                    <p:cond delay="2250"/>
                                  </p:stCondLst>
                                  <p:childTnLst>
                                    <p:animEffect transition="out" filter="fade">
                                      <p:cBhvr>
                                        <p:cTn id="329" dur="2000" tmFilter="0, 0; .2, .5; .8, .5; 1, 0"/>
                                        <p:tgtEl>
                                          <p:spTgt spid="79"/>
                                        </p:tgtEl>
                                      </p:cBhvr>
                                    </p:animEffect>
                                    <p:animScale>
                                      <p:cBhvr>
                                        <p:cTn id="330" dur="1000" autoRev="1" fill="hold"/>
                                        <p:tgtEl>
                                          <p:spTgt spid="79"/>
                                        </p:tgtEl>
                                      </p:cBhvr>
                                      <p:by x="105000" y="105000"/>
                                    </p:animScale>
                                  </p:childTnLst>
                                </p:cTn>
                              </p:par>
                              <p:par>
                                <p:cTn id="331" presetID="26" presetClass="emph" presetSubtype="0" dur="2000" repeatCount="indefinite" fill="hold" grpId="0" nodeType="withEffect">
                                  <p:stCondLst>
                                    <p:cond delay="2250"/>
                                  </p:stCondLst>
                                  <p:childTnLst>
                                    <p:animEffect transition="out" filter="fade">
                                      <p:cBhvr>
                                        <p:cTn id="332" dur="2000" tmFilter="0, 0; .2, .5; .8, .5; 1, 0"/>
                                        <p:tgtEl>
                                          <p:spTgt spid="95"/>
                                        </p:tgtEl>
                                      </p:cBhvr>
                                    </p:animEffect>
                                    <p:animScale>
                                      <p:cBhvr>
                                        <p:cTn id="333" dur="1000" autoRev="1" fill="hold"/>
                                        <p:tgtEl>
                                          <p:spTgt spid="95"/>
                                        </p:tgtEl>
                                      </p:cBhvr>
                                      <p:by x="105000" y="105000"/>
                                    </p:animScale>
                                  </p:childTnLst>
                                </p:cTn>
                              </p:par>
                              <p:par>
                                <p:cTn id="334" presetID="26" presetClass="emph" presetSubtype="0" dur="2000" repeatCount="indefinite" fill="hold" grpId="0" nodeType="withEffect">
                                  <p:stCondLst>
                                    <p:cond delay="2250"/>
                                  </p:stCondLst>
                                  <p:childTnLst>
                                    <p:animEffect transition="out" filter="fade">
                                      <p:cBhvr>
                                        <p:cTn id="335" dur="2000" tmFilter="0, 0; .2, .5; .8, .5; 1, 0"/>
                                        <p:tgtEl>
                                          <p:spTgt spid="111"/>
                                        </p:tgtEl>
                                      </p:cBhvr>
                                    </p:animEffect>
                                    <p:animScale>
                                      <p:cBhvr>
                                        <p:cTn id="336" dur="1000" autoRev="1" fill="hold"/>
                                        <p:tgtEl>
                                          <p:spTgt spid="111"/>
                                        </p:tgtEl>
                                      </p:cBhvr>
                                      <p:by x="105000" y="105000"/>
                                    </p:animScale>
                                  </p:childTnLst>
                                </p:cTn>
                              </p:par>
                              <p:par>
                                <p:cTn id="337" presetID="26" presetClass="emph" presetSubtype="0" dur="2000" repeatCount="indefinite" fill="hold" grpId="0" nodeType="withEffect">
                                  <p:stCondLst>
                                    <p:cond delay="2250"/>
                                  </p:stCondLst>
                                  <p:childTnLst>
                                    <p:animEffect transition="out" filter="fade">
                                      <p:cBhvr>
                                        <p:cTn id="338" dur="2000" tmFilter="0, 0; .2, .5; .8, .5; 1, 0"/>
                                        <p:tgtEl>
                                          <p:spTgt spid="127"/>
                                        </p:tgtEl>
                                      </p:cBhvr>
                                    </p:animEffect>
                                    <p:animScale>
                                      <p:cBhvr>
                                        <p:cTn id="339" dur="1000" autoRev="1" fill="hold"/>
                                        <p:tgtEl>
                                          <p:spTgt spid="127"/>
                                        </p:tgtEl>
                                      </p:cBhvr>
                                      <p:by x="105000" y="105000"/>
                                    </p:animScale>
                                  </p:childTnLst>
                                </p:cTn>
                              </p:par>
                              <p:par>
                                <p:cTn id="340" presetID="26" presetClass="emph" presetSubtype="0" dur="2000" repeatCount="indefinite" fill="hold" grpId="0" nodeType="withEffect">
                                  <p:stCondLst>
                                    <p:cond delay="2250"/>
                                  </p:stCondLst>
                                  <p:childTnLst>
                                    <p:animEffect transition="out" filter="fade">
                                      <p:cBhvr>
                                        <p:cTn id="341" dur="2000" tmFilter="0, 0; .2, .5; .8, .5; 1, 0"/>
                                        <p:tgtEl>
                                          <p:spTgt spid="144"/>
                                        </p:tgtEl>
                                      </p:cBhvr>
                                    </p:animEffect>
                                    <p:animScale>
                                      <p:cBhvr>
                                        <p:cTn id="342" dur="1000" autoRev="1" fill="hold"/>
                                        <p:tgtEl>
                                          <p:spTgt spid="144"/>
                                        </p:tgtEl>
                                      </p:cBhvr>
                                      <p:by x="105000" y="105000"/>
                                    </p:animScale>
                                  </p:childTnLst>
                                </p:cTn>
                              </p:par>
                              <p:par>
                                <p:cTn id="343" presetID="26" presetClass="emph" presetSubtype="0" dur="2000" repeatCount="indefinite" fill="hold" grpId="0" nodeType="withEffect">
                                  <p:stCondLst>
                                    <p:cond delay="2250"/>
                                  </p:stCondLst>
                                  <p:childTnLst>
                                    <p:animEffect transition="out" filter="fade">
                                      <p:cBhvr>
                                        <p:cTn id="344" dur="2000" tmFilter="0, 0; .2, .5; .8, .5; 1, 0"/>
                                        <p:tgtEl>
                                          <p:spTgt spid="161"/>
                                        </p:tgtEl>
                                      </p:cBhvr>
                                    </p:animEffect>
                                    <p:animScale>
                                      <p:cBhvr>
                                        <p:cTn id="345" dur="1000" autoRev="1" fill="hold"/>
                                        <p:tgtEl>
                                          <p:spTgt spid="161"/>
                                        </p:tgtEl>
                                      </p:cBhvr>
                                      <p:by x="105000" y="105000"/>
                                    </p:animScale>
                                  </p:childTnLst>
                                </p:cTn>
                              </p:par>
                              <p:par>
                                <p:cTn id="346" presetID="26" presetClass="emph" presetSubtype="0" dur="2000" repeatCount="indefinite" fill="hold" grpId="0" nodeType="withEffect">
                                  <p:stCondLst>
                                    <p:cond delay="2250"/>
                                  </p:stCondLst>
                                  <p:childTnLst>
                                    <p:animEffect transition="out" filter="fade">
                                      <p:cBhvr>
                                        <p:cTn id="347" dur="2000" tmFilter="0, 0; .2, .5; .8, .5; 1, 0"/>
                                        <p:tgtEl>
                                          <p:spTgt spid="178"/>
                                        </p:tgtEl>
                                      </p:cBhvr>
                                    </p:animEffect>
                                    <p:animScale>
                                      <p:cBhvr>
                                        <p:cTn id="348" dur="1000" autoRev="1" fill="hold"/>
                                        <p:tgtEl>
                                          <p:spTgt spid="178"/>
                                        </p:tgtEl>
                                      </p:cBhvr>
                                      <p:by x="105000" y="105000"/>
                                    </p:animScale>
                                  </p:childTnLst>
                                </p:cTn>
                              </p:par>
                              <p:par>
                                <p:cTn id="349" presetID="26" presetClass="emph" presetSubtype="0" dur="2000" repeatCount="indefinite" fill="hold" grpId="0" nodeType="withEffect">
                                  <p:stCondLst>
                                    <p:cond delay="2250"/>
                                  </p:stCondLst>
                                  <p:childTnLst>
                                    <p:animEffect transition="out" filter="fade">
                                      <p:cBhvr>
                                        <p:cTn id="350" dur="2000" tmFilter="0, 0; .2, .5; .8, .5; 1, 0"/>
                                        <p:tgtEl>
                                          <p:spTgt spid="195"/>
                                        </p:tgtEl>
                                      </p:cBhvr>
                                    </p:animEffect>
                                    <p:animScale>
                                      <p:cBhvr>
                                        <p:cTn id="351" dur="1000" autoRev="1" fill="hold"/>
                                        <p:tgtEl>
                                          <p:spTgt spid="195"/>
                                        </p:tgtEl>
                                      </p:cBhvr>
                                      <p:by x="105000" y="105000"/>
                                    </p:animScale>
                                  </p:childTnLst>
                                </p:cTn>
                              </p:par>
                              <p:par>
                                <p:cTn id="352" presetID="26" presetClass="emph" presetSubtype="0" dur="2000" repeatCount="indefinite" fill="hold" grpId="0" nodeType="withEffect">
                                  <p:stCondLst>
                                    <p:cond delay="2250"/>
                                  </p:stCondLst>
                                  <p:childTnLst>
                                    <p:animEffect transition="out" filter="fade">
                                      <p:cBhvr>
                                        <p:cTn id="353" dur="2000" tmFilter="0, 0; .2, .5; .8, .5; 1, 0"/>
                                        <p:tgtEl>
                                          <p:spTgt spid="212"/>
                                        </p:tgtEl>
                                      </p:cBhvr>
                                    </p:animEffect>
                                    <p:animScale>
                                      <p:cBhvr>
                                        <p:cTn id="354" dur="1000" autoRev="1" fill="hold"/>
                                        <p:tgtEl>
                                          <p:spTgt spid="212"/>
                                        </p:tgtEl>
                                      </p:cBhvr>
                                      <p:by x="105000" y="105000"/>
                                    </p:animScale>
                                  </p:childTnLst>
                                </p:cTn>
                              </p:par>
                              <p:par>
                                <p:cTn id="355" presetID="26" presetClass="emph" presetSubtype="0" dur="2000" repeatCount="indefinite" fill="hold" grpId="0" nodeType="withEffect">
                                  <p:stCondLst>
                                    <p:cond delay="2250"/>
                                  </p:stCondLst>
                                  <p:childTnLst>
                                    <p:animEffect transition="out" filter="fade">
                                      <p:cBhvr>
                                        <p:cTn id="356" dur="2000" tmFilter="0, 0; .2, .5; .8, .5; 1, 0"/>
                                        <p:tgtEl>
                                          <p:spTgt spid="228"/>
                                        </p:tgtEl>
                                      </p:cBhvr>
                                    </p:animEffect>
                                    <p:animScale>
                                      <p:cBhvr>
                                        <p:cTn id="357" dur="1000" autoRev="1" fill="hold"/>
                                        <p:tgtEl>
                                          <p:spTgt spid="228"/>
                                        </p:tgtEl>
                                      </p:cBhvr>
                                      <p:by x="105000" y="105000"/>
                                    </p:animScale>
                                  </p:childTnLst>
                                </p:cTn>
                              </p:par>
                              <p:par>
                                <p:cTn id="358" presetID="26" presetClass="emph" presetSubtype="0" dur="2000" repeatCount="indefinite" fill="hold" grpId="0" nodeType="withEffect">
                                  <p:stCondLst>
                                    <p:cond delay="2500"/>
                                  </p:stCondLst>
                                  <p:childTnLst>
                                    <p:animEffect transition="out" filter="fade">
                                      <p:cBhvr>
                                        <p:cTn id="359" dur="2000" tmFilter="0, 0; .2, .5; .8, .5; 1, 0"/>
                                        <p:tgtEl>
                                          <p:spTgt spid="17"/>
                                        </p:tgtEl>
                                      </p:cBhvr>
                                    </p:animEffect>
                                    <p:animScale>
                                      <p:cBhvr>
                                        <p:cTn id="360" dur="1000" autoRev="1" fill="hold"/>
                                        <p:tgtEl>
                                          <p:spTgt spid="17"/>
                                        </p:tgtEl>
                                      </p:cBhvr>
                                      <p:by x="105000" y="105000"/>
                                    </p:animScale>
                                  </p:childTnLst>
                                </p:cTn>
                              </p:par>
                              <p:par>
                                <p:cTn id="361" presetID="26" presetClass="emph" presetSubtype="0" dur="2000" repeatCount="indefinite" fill="hold" grpId="0" nodeType="withEffect">
                                  <p:stCondLst>
                                    <p:cond delay="2500"/>
                                  </p:stCondLst>
                                  <p:childTnLst>
                                    <p:animEffect transition="out" filter="fade">
                                      <p:cBhvr>
                                        <p:cTn id="362" dur="2000" tmFilter="0, 0; .2, .5; .8, .5; 1, 0"/>
                                        <p:tgtEl>
                                          <p:spTgt spid="32"/>
                                        </p:tgtEl>
                                      </p:cBhvr>
                                    </p:animEffect>
                                    <p:animScale>
                                      <p:cBhvr>
                                        <p:cTn id="363" dur="1000" autoRev="1" fill="hold"/>
                                        <p:tgtEl>
                                          <p:spTgt spid="32"/>
                                        </p:tgtEl>
                                      </p:cBhvr>
                                      <p:by x="105000" y="105000"/>
                                    </p:animScale>
                                  </p:childTnLst>
                                </p:cTn>
                              </p:par>
                              <p:par>
                                <p:cTn id="364" presetID="26" presetClass="emph" presetSubtype="0" dur="2000" repeatCount="indefinite" fill="hold" grpId="0" nodeType="withEffect">
                                  <p:stCondLst>
                                    <p:cond delay="2500"/>
                                  </p:stCondLst>
                                  <p:childTnLst>
                                    <p:animEffect transition="out" filter="fade">
                                      <p:cBhvr>
                                        <p:cTn id="365" dur="2000" tmFilter="0, 0; .2, .5; .8, .5; 1, 0"/>
                                        <p:tgtEl>
                                          <p:spTgt spid="48"/>
                                        </p:tgtEl>
                                      </p:cBhvr>
                                    </p:animEffect>
                                    <p:animScale>
                                      <p:cBhvr>
                                        <p:cTn id="366" dur="1000" autoRev="1" fill="hold"/>
                                        <p:tgtEl>
                                          <p:spTgt spid="48"/>
                                        </p:tgtEl>
                                      </p:cBhvr>
                                      <p:by x="105000" y="105000"/>
                                    </p:animScale>
                                  </p:childTnLst>
                                </p:cTn>
                              </p:par>
                              <p:par>
                                <p:cTn id="367" presetID="26" presetClass="emph" presetSubtype="0" dur="2000" repeatCount="indefinite" fill="hold" grpId="0" nodeType="withEffect">
                                  <p:stCondLst>
                                    <p:cond delay="2500"/>
                                  </p:stCondLst>
                                  <p:childTnLst>
                                    <p:animEffect transition="out" filter="fade">
                                      <p:cBhvr>
                                        <p:cTn id="368" dur="2000" tmFilter="0, 0; .2, .5; .8, .5; 1, 0"/>
                                        <p:tgtEl>
                                          <p:spTgt spid="64"/>
                                        </p:tgtEl>
                                      </p:cBhvr>
                                    </p:animEffect>
                                    <p:animScale>
                                      <p:cBhvr>
                                        <p:cTn id="369" dur="1000" autoRev="1" fill="hold"/>
                                        <p:tgtEl>
                                          <p:spTgt spid="64"/>
                                        </p:tgtEl>
                                      </p:cBhvr>
                                      <p:by x="105000" y="105000"/>
                                    </p:animScale>
                                  </p:childTnLst>
                                </p:cTn>
                              </p:par>
                              <p:par>
                                <p:cTn id="370" presetID="26" presetClass="emph" presetSubtype="0" dur="2000" repeatCount="indefinite" fill="hold" grpId="0" nodeType="withEffect">
                                  <p:stCondLst>
                                    <p:cond delay="2500"/>
                                  </p:stCondLst>
                                  <p:childTnLst>
                                    <p:animEffect transition="out" filter="fade">
                                      <p:cBhvr>
                                        <p:cTn id="371" dur="2000" tmFilter="0, 0; .2, .5; .8, .5; 1, 0"/>
                                        <p:tgtEl>
                                          <p:spTgt spid="80"/>
                                        </p:tgtEl>
                                      </p:cBhvr>
                                    </p:animEffect>
                                    <p:animScale>
                                      <p:cBhvr>
                                        <p:cTn id="372" dur="1000" autoRev="1" fill="hold"/>
                                        <p:tgtEl>
                                          <p:spTgt spid="80"/>
                                        </p:tgtEl>
                                      </p:cBhvr>
                                      <p:by x="105000" y="105000"/>
                                    </p:animScale>
                                  </p:childTnLst>
                                </p:cTn>
                              </p:par>
                              <p:par>
                                <p:cTn id="373" presetID="26" presetClass="emph" presetSubtype="0" dur="2000" repeatCount="indefinite" fill="hold" grpId="0" nodeType="withEffect">
                                  <p:stCondLst>
                                    <p:cond delay="2500"/>
                                  </p:stCondLst>
                                  <p:childTnLst>
                                    <p:animEffect transition="out" filter="fade">
                                      <p:cBhvr>
                                        <p:cTn id="374" dur="2000" tmFilter="0, 0; .2, .5; .8, .5; 1, 0"/>
                                        <p:tgtEl>
                                          <p:spTgt spid="96"/>
                                        </p:tgtEl>
                                      </p:cBhvr>
                                    </p:animEffect>
                                    <p:animScale>
                                      <p:cBhvr>
                                        <p:cTn id="375" dur="1000" autoRev="1" fill="hold"/>
                                        <p:tgtEl>
                                          <p:spTgt spid="96"/>
                                        </p:tgtEl>
                                      </p:cBhvr>
                                      <p:by x="105000" y="105000"/>
                                    </p:animScale>
                                  </p:childTnLst>
                                </p:cTn>
                              </p:par>
                              <p:par>
                                <p:cTn id="376" presetID="26" presetClass="emph" presetSubtype="0" dur="2000" repeatCount="indefinite" fill="hold" grpId="0" nodeType="withEffect">
                                  <p:stCondLst>
                                    <p:cond delay="2500"/>
                                  </p:stCondLst>
                                  <p:childTnLst>
                                    <p:animEffect transition="out" filter="fade">
                                      <p:cBhvr>
                                        <p:cTn id="377" dur="2000" tmFilter="0, 0; .2, .5; .8, .5; 1, 0"/>
                                        <p:tgtEl>
                                          <p:spTgt spid="112"/>
                                        </p:tgtEl>
                                      </p:cBhvr>
                                    </p:animEffect>
                                    <p:animScale>
                                      <p:cBhvr>
                                        <p:cTn id="378" dur="1000" autoRev="1" fill="hold"/>
                                        <p:tgtEl>
                                          <p:spTgt spid="112"/>
                                        </p:tgtEl>
                                      </p:cBhvr>
                                      <p:by x="105000" y="105000"/>
                                    </p:animScale>
                                  </p:childTnLst>
                                </p:cTn>
                              </p:par>
                              <p:par>
                                <p:cTn id="379" presetID="26" presetClass="emph" presetSubtype="0" dur="2000" repeatCount="indefinite" fill="hold" grpId="0" nodeType="withEffect">
                                  <p:stCondLst>
                                    <p:cond delay="2500"/>
                                  </p:stCondLst>
                                  <p:childTnLst>
                                    <p:animEffect transition="out" filter="fade">
                                      <p:cBhvr>
                                        <p:cTn id="380" dur="2000" tmFilter="0, 0; .2, .5; .8, .5; 1, 0"/>
                                        <p:tgtEl>
                                          <p:spTgt spid="128"/>
                                        </p:tgtEl>
                                      </p:cBhvr>
                                    </p:animEffect>
                                    <p:animScale>
                                      <p:cBhvr>
                                        <p:cTn id="381" dur="1000" autoRev="1" fill="hold"/>
                                        <p:tgtEl>
                                          <p:spTgt spid="128"/>
                                        </p:tgtEl>
                                      </p:cBhvr>
                                      <p:by x="105000" y="105000"/>
                                    </p:animScale>
                                  </p:childTnLst>
                                </p:cTn>
                              </p:par>
                              <p:par>
                                <p:cTn id="382" presetID="26" presetClass="emph" presetSubtype="0" dur="2000" repeatCount="indefinite" fill="hold" grpId="0" nodeType="withEffect">
                                  <p:stCondLst>
                                    <p:cond delay="2500"/>
                                  </p:stCondLst>
                                  <p:childTnLst>
                                    <p:animEffect transition="out" filter="fade">
                                      <p:cBhvr>
                                        <p:cTn id="383" dur="2000" tmFilter="0, 0; .2, .5; .8, .5; 1, 0"/>
                                        <p:tgtEl>
                                          <p:spTgt spid="145"/>
                                        </p:tgtEl>
                                      </p:cBhvr>
                                    </p:animEffect>
                                    <p:animScale>
                                      <p:cBhvr>
                                        <p:cTn id="384" dur="1000" autoRev="1" fill="hold"/>
                                        <p:tgtEl>
                                          <p:spTgt spid="145"/>
                                        </p:tgtEl>
                                      </p:cBhvr>
                                      <p:by x="105000" y="105000"/>
                                    </p:animScale>
                                  </p:childTnLst>
                                </p:cTn>
                              </p:par>
                              <p:par>
                                <p:cTn id="385" presetID="26" presetClass="emph" presetSubtype="0" dur="2000" repeatCount="indefinite" fill="hold" grpId="0" nodeType="withEffect">
                                  <p:stCondLst>
                                    <p:cond delay="2500"/>
                                  </p:stCondLst>
                                  <p:childTnLst>
                                    <p:animEffect transition="out" filter="fade">
                                      <p:cBhvr>
                                        <p:cTn id="386" dur="2000" tmFilter="0, 0; .2, .5; .8, .5; 1, 0"/>
                                        <p:tgtEl>
                                          <p:spTgt spid="162"/>
                                        </p:tgtEl>
                                      </p:cBhvr>
                                    </p:animEffect>
                                    <p:animScale>
                                      <p:cBhvr>
                                        <p:cTn id="387" dur="1000" autoRev="1" fill="hold"/>
                                        <p:tgtEl>
                                          <p:spTgt spid="162"/>
                                        </p:tgtEl>
                                      </p:cBhvr>
                                      <p:by x="105000" y="105000"/>
                                    </p:animScale>
                                  </p:childTnLst>
                                </p:cTn>
                              </p:par>
                              <p:par>
                                <p:cTn id="388" presetID="26" presetClass="emph" presetSubtype="0" dur="2000" repeatCount="indefinite" fill="hold" grpId="0" nodeType="withEffect">
                                  <p:stCondLst>
                                    <p:cond delay="2500"/>
                                  </p:stCondLst>
                                  <p:childTnLst>
                                    <p:animEffect transition="out" filter="fade">
                                      <p:cBhvr>
                                        <p:cTn id="389" dur="2000" tmFilter="0, 0; .2, .5; .8, .5; 1, 0"/>
                                        <p:tgtEl>
                                          <p:spTgt spid="179"/>
                                        </p:tgtEl>
                                      </p:cBhvr>
                                    </p:animEffect>
                                    <p:animScale>
                                      <p:cBhvr>
                                        <p:cTn id="390" dur="1000" autoRev="1" fill="hold"/>
                                        <p:tgtEl>
                                          <p:spTgt spid="179"/>
                                        </p:tgtEl>
                                      </p:cBhvr>
                                      <p:by x="105000" y="105000"/>
                                    </p:animScale>
                                  </p:childTnLst>
                                </p:cTn>
                              </p:par>
                              <p:par>
                                <p:cTn id="391" presetID="26" presetClass="emph" presetSubtype="0" dur="2000" repeatCount="indefinite" fill="hold" grpId="0" nodeType="withEffect">
                                  <p:stCondLst>
                                    <p:cond delay="2500"/>
                                  </p:stCondLst>
                                  <p:childTnLst>
                                    <p:animEffect transition="out" filter="fade">
                                      <p:cBhvr>
                                        <p:cTn id="392" dur="2000" tmFilter="0, 0; .2, .5; .8, .5; 1, 0"/>
                                        <p:tgtEl>
                                          <p:spTgt spid="196"/>
                                        </p:tgtEl>
                                      </p:cBhvr>
                                    </p:animEffect>
                                    <p:animScale>
                                      <p:cBhvr>
                                        <p:cTn id="393" dur="1000" autoRev="1" fill="hold"/>
                                        <p:tgtEl>
                                          <p:spTgt spid="196"/>
                                        </p:tgtEl>
                                      </p:cBhvr>
                                      <p:by x="105000" y="105000"/>
                                    </p:animScale>
                                  </p:childTnLst>
                                </p:cTn>
                              </p:par>
                              <p:par>
                                <p:cTn id="394" presetID="26" presetClass="emph" presetSubtype="0" dur="2000" repeatCount="indefinite" fill="hold" grpId="0" nodeType="withEffect">
                                  <p:stCondLst>
                                    <p:cond delay="2500"/>
                                  </p:stCondLst>
                                  <p:childTnLst>
                                    <p:animEffect transition="out" filter="fade">
                                      <p:cBhvr>
                                        <p:cTn id="395" dur="2000" tmFilter="0, 0; .2, .5; .8, .5; 1, 0"/>
                                        <p:tgtEl>
                                          <p:spTgt spid="213"/>
                                        </p:tgtEl>
                                      </p:cBhvr>
                                    </p:animEffect>
                                    <p:animScale>
                                      <p:cBhvr>
                                        <p:cTn id="396" dur="1000" autoRev="1" fill="hold"/>
                                        <p:tgtEl>
                                          <p:spTgt spid="213"/>
                                        </p:tgtEl>
                                      </p:cBhvr>
                                      <p:by x="105000" y="105000"/>
                                    </p:animScale>
                                  </p:childTnLst>
                                </p:cTn>
                              </p:par>
                              <p:par>
                                <p:cTn id="397" presetID="26" presetClass="emph" presetSubtype="0" dur="2000" repeatCount="indefinite" fill="hold" grpId="0" nodeType="withEffect">
                                  <p:stCondLst>
                                    <p:cond delay="2500"/>
                                  </p:stCondLst>
                                  <p:childTnLst>
                                    <p:animEffect transition="out" filter="fade">
                                      <p:cBhvr>
                                        <p:cTn id="398" dur="2000" tmFilter="0, 0; .2, .5; .8, .5; 1, 0"/>
                                        <p:tgtEl>
                                          <p:spTgt spid="229"/>
                                        </p:tgtEl>
                                      </p:cBhvr>
                                    </p:animEffect>
                                    <p:animScale>
                                      <p:cBhvr>
                                        <p:cTn id="399" dur="1000" autoRev="1" fill="hold"/>
                                        <p:tgtEl>
                                          <p:spTgt spid="229"/>
                                        </p:tgtEl>
                                      </p:cBhvr>
                                      <p:by x="105000" y="105000"/>
                                    </p:animScale>
                                  </p:childTnLst>
                                </p:cTn>
                              </p:par>
                              <p:par>
                                <p:cTn id="400" presetID="26" presetClass="emph" presetSubtype="0" dur="2000" repeatCount="indefinite" fill="hold" grpId="0" nodeType="withEffect">
                                  <p:stCondLst>
                                    <p:cond delay="2750"/>
                                  </p:stCondLst>
                                  <p:childTnLst>
                                    <p:animEffect transition="out" filter="fade">
                                      <p:cBhvr>
                                        <p:cTn id="401" dur="2000" tmFilter="0, 0; .2, .5; .8, .5; 1, 0"/>
                                        <p:tgtEl>
                                          <p:spTgt spid="18"/>
                                        </p:tgtEl>
                                      </p:cBhvr>
                                    </p:animEffect>
                                    <p:animScale>
                                      <p:cBhvr>
                                        <p:cTn id="402" dur="1000" autoRev="1" fill="hold"/>
                                        <p:tgtEl>
                                          <p:spTgt spid="18"/>
                                        </p:tgtEl>
                                      </p:cBhvr>
                                      <p:by x="105000" y="105000"/>
                                    </p:animScale>
                                  </p:childTnLst>
                                </p:cTn>
                              </p:par>
                              <p:par>
                                <p:cTn id="403" presetID="26" presetClass="emph" presetSubtype="0" dur="2000" repeatCount="indefinite" fill="hold" grpId="0" nodeType="withEffect">
                                  <p:stCondLst>
                                    <p:cond delay="2750"/>
                                  </p:stCondLst>
                                  <p:childTnLst>
                                    <p:animEffect transition="out" filter="fade">
                                      <p:cBhvr>
                                        <p:cTn id="404" dur="2000" tmFilter="0, 0; .2, .5; .8, .5; 1, 0"/>
                                        <p:tgtEl>
                                          <p:spTgt spid="33"/>
                                        </p:tgtEl>
                                      </p:cBhvr>
                                    </p:animEffect>
                                    <p:animScale>
                                      <p:cBhvr>
                                        <p:cTn id="405" dur="1000" autoRev="1" fill="hold"/>
                                        <p:tgtEl>
                                          <p:spTgt spid="33"/>
                                        </p:tgtEl>
                                      </p:cBhvr>
                                      <p:by x="105000" y="105000"/>
                                    </p:animScale>
                                  </p:childTnLst>
                                </p:cTn>
                              </p:par>
                              <p:par>
                                <p:cTn id="406" presetID="26" presetClass="emph" presetSubtype="0" dur="2000" repeatCount="indefinite" fill="hold" grpId="0" nodeType="withEffect">
                                  <p:stCondLst>
                                    <p:cond delay="2750"/>
                                  </p:stCondLst>
                                  <p:childTnLst>
                                    <p:animEffect transition="out" filter="fade">
                                      <p:cBhvr>
                                        <p:cTn id="407" dur="2000" tmFilter="0, 0; .2, .5; .8, .5; 1, 0"/>
                                        <p:tgtEl>
                                          <p:spTgt spid="49"/>
                                        </p:tgtEl>
                                      </p:cBhvr>
                                    </p:animEffect>
                                    <p:animScale>
                                      <p:cBhvr>
                                        <p:cTn id="408" dur="1000" autoRev="1" fill="hold"/>
                                        <p:tgtEl>
                                          <p:spTgt spid="49"/>
                                        </p:tgtEl>
                                      </p:cBhvr>
                                      <p:by x="105000" y="105000"/>
                                    </p:animScale>
                                  </p:childTnLst>
                                </p:cTn>
                              </p:par>
                              <p:par>
                                <p:cTn id="409" presetID="26" presetClass="emph" presetSubtype="0" dur="2000" repeatCount="indefinite" fill="hold" grpId="0" nodeType="withEffect">
                                  <p:stCondLst>
                                    <p:cond delay="2750"/>
                                  </p:stCondLst>
                                  <p:childTnLst>
                                    <p:animEffect transition="out" filter="fade">
                                      <p:cBhvr>
                                        <p:cTn id="410" dur="2000" tmFilter="0, 0; .2, .5; .8, .5; 1, 0"/>
                                        <p:tgtEl>
                                          <p:spTgt spid="65"/>
                                        </p:tgtEl>
                                      </p:cBhvr>
                                    </p:animEffect>
                                    <p:animScale>
                                      <p:cBhvr>
                                        <p:cTn id="411" dur="1000" autoRev="1" fill="hold"/>
                                        <p:tgtEl>
                                          <p:spTgt spid="65"/>
                                        </p:tgtEl>
                                      </p:cBhvr>
                                      <p:by x="105000" y="105000"/>
                                    </p:animScale>
                                  </p:childTnLst>
                                </p:cTn>
                              </p:par>
                              <p:par>
                                <p:cTn id="412" presetID="26" presetClass="emph" presetSubtype="0" dur="2000" repeatCount="indefinite" fill="hold" grpId="0" nodeType="withEffect">
                                  <p:stCondLst>
                                    <p:cond delay="2750"/>
                                  </p:stCondLst>
                                  <p:childTnLst>
                                    <p:animEffect transition="out" filter="fade">
                                      <p:cBhvr>
                                        <p:cTn id="413" dur="2000" tmFilter="0, 0; .2, .5; .8, .5; 1, 0"/>
                                        <p:tgtEl>
                                          <p:spTgt spid="81"/>
                                        </p:tgtEl>
                                      </p:cBhvr>
                                    </p:animEffect>
                                    <p:animScale>
                                      <p:cBhvr>
                                        <p:cTn id="414" dur="1000" autoRev="1" fill="hold"/>
                                        <p:tgtEl>
                                          <p:spTgt spid="81"/>
                                        </p:tgtEl>
                                      </p:cBhvr>
                                      <p:by x="105000" y="105000"/>
                                    </p:animScale>
                                  </p:childTnLst>
                                </p:cTn>
                              </p:par>
                              <p:par>
                                <p:cTn id="415" presetID="26" presetClass="emph" presetSubtype="0" dur="2000" repeatCount="indefinite" fill="hold" grpId="0" nodeType="withEffect">
                                  <p:stCondLst>
                                    <p:cond delay="2750"/>
                                  </p:stCondLst>
                                  <p:childTnLst>
                                    <p:animEffect transition="out" filter="fade">
                                      <p:cBhvr>
                                        <p:cTn id="416" dur="2000" tmFilter="0, 0; .2, .5; .8, .5; 1, 0"/>
                                        <p:tgtEl>
                                          <p:spTgt spid="97"/>
                                        </p:tgtEl>
                                      </p:cBhvr>
                                    </p:animEffect>
                                    <p:animScale>
                                      <p:cBhvr>
                                        <p:cTn id="417" dur="1000" autoRev="1" fill="hold"/>
                                        <p:tgtEl>
                                          <p:spTgt spid="97"/>
                                        </p:tgtEl>
                                      </p:cBhvr>
                                      <p:by x="105000" y="105000"/>
                                    </p:animScale>
                                  </p:childTnLst>
                                </p:cTn>
                              </p:par>
                              <p:par>
                                <p:cTn id="418" presetID="26" presetClass="emph" presetSubtype="0" dur="2000" repeatCount="indefinite" fill="hold" grpId="0" nodeType="withEffect">
                                  <p:stCondLst>
                                    <p:cond delay="2750"/>
                                  </p:stCondLst>
                                  <p:childTnLst>
                                    <p:animEffect transition="out" filter="fade">
                                      <p:cBhvr>
                                        <p:cTn id="419" dur="2000" tmFilter="0, 0; .2, .5; .8, .5; 1, 0"/>
                                        <p:tgtEl>
                                          <p:spTgt spid="113"/>
                                        </p:tgtEl>
                                      </p:cBhvr>
                                    </p:animEffect>
                                    <p:animScale>
                                      <p:cBhvr>
                                        <p:cTn id="420" dur="1000" autoRev="1" fill="hold"/>
                                        <p:tgtEl>
                                          <p:spTgt spid="113"/>
                                        </p:tgtEl>
                                      </p:cBhvr>
                                      <p:by x="105000" y="105000"/>
                                    </p:animScale>
                                  </p:childTnLst>
                                </p:cTn>
                              </p:par>
                              <p:par>
                                <p:cTn id="421" presetID="26" presetClass="emph" presetSubtype="0" dur="2000" repeatCount="indefinite" fill="hold" grpId="0" nodeType="withEffect">
                                  <p:stCondLst>
                                    <p:cond delay="2750"/>
                                  </p:stCondLst>
                                  <p:childTnLst>
                                    <p:animEffect transition="out" filter="fade">
                                      <p:cBhvr>
                                        <p:cTn id="422" dur="2000" tmFilter="0, 0; .2, .5; .8, .5; 1, 0"/>
                                        <p:tgtEl>
                                          <p:spTgt spid="129"/>
                                        </p:tgtEl>
                                      </p:cBhvr>
                                    </p:animEffect>
                                    <p:animScale>
                                      <p:cBhvr>
                                        <p:cTn id="423" dur="1000" autoRev="1" fill="hold"/>
                                        <p:tgtEl>
                                          <p:spTgt spid="129"/>
                                        </p:tgtEl>
                                      </p:cBhvr>
                                      <p:by x="105000" y="105000"/>
                                    </p:animScale>
                                  </p:childTnLst>
                                </p:cTn>
                              </p:par>
                              <p:par>
                                <p:cTn id="424" presetID="26" presetClass="emph" presetSubtype="0" dur="2000" repeatCount="indefinite" fill="hold" grpId="0" nodeType="withEffect">
                                  <p:stCondLst>
                                    <p:cond delay="2750"/>
                                  </p:stCondLst>
                                  <p:childTnLst>
                                    <p:animEffect transition="out" filter="fade">
                                      <p:cBhvr>
                                        <p:cTn id="425" dur="2000" tmFilter="0, 0; .2, .5; .8, .5; 1, 0"/>
                                        <p:tgtEl>
                                          <p:spTgt spid="146"/>
                                        </p:tgtEl>
                                      </p:cBhvr>
                                    </p:animEffect>
                                    <p:animScale>
                                      <p:cBhvr>
                                        <p:cTn id="426" dur="1000" autoRev="1" fill="hold"/>
                                        <p:tgtEl>
                                          <p:spTgt spid="146"/>
                                        </p:tgtEl>
                                      </p:cBhvr>
                                      <p:by x="105000" y="105000"/>
                                    </p:animScale>
                                  </p:childTnLst>
                                </p:cTn>
                              </p:par>
                              <p:par>
                                <p:cTn id="427" presetID="26" presetClass="emph" presetSubtype="0" dur="2000" repeatCount="indefinite" fill="hold" grpId="0" nodeType="withEffect">
                                  <p:stCondLst>
                                    <p:cond delay="2750"/>
                                  </p:stCondLst>
                                  <p:childTnLst>
                                    <p:animEffect transition="out" filter="fade">
                                      <p:cBhvr>
                                        <p:cTn id="428" dur="2000" tmFilter="0, 0; .2, .5; .8, .5; 1, 0"/>
                                        <p:tgtEl>
                                          <p:spTgt spid="163"/>
                                        </p:tgtEl>
                                      </p:cBhvr>
                                    </p:animEffect>
                                    <p:animScale>
                                      <p:cBhvr>
                                        <p:cTn id="429" dur="1000" autoRev="1" fill="hold"/>
                                        <p:tgtEl>
                                          <p:spTgt spid="163"/>
                                        </p:tgtEl>
                                      </p:cBhvr>
                                      <p:by x="105000" y="105000"/>
                                    </p:animScale>
                                  </p:childTnLst>
                                </p:cTn>
                              </p:par>
                              <p:par>
                                <p:cTn id="430" presetID="26" presetClass="emph" presetSubtype="0" dur="2000" repeatCount="indefinite" fill="hold" grpId="0" nodeType="withEffect">
                                  <p:stCondLst>
                                    <p:cond delay="2750"/>
                                  </p:stCondLst>
                                  <p:childTnLst>
                                    <p:animEffect transition="out" filter="fade">
                                      <p:cBhvr>
                                        <p:cTn id="431" dur="2000" tmFilter="0, 0; .2, .5; .8, .5; 1, 0"/>
                                        <p:tgtEl>
                                          <p:spTgt spid="180"/>
                                        </p:tgtEl>
                                      </p:cBhvr>
                                    </p:animEffect>
                                    <p:animScale>
                                      <p:cBhvr>
                                        <p:cTn id="432" dur="1000" autoRev="1" fill="hold"/>
                                        <p:tgtEl>
                                          <p:spTgt spid="180"/>
                                        </p:tgtEl>
                                      </p:cBhvr>
                                      <p:by x="105000" y="105000"/>
                                    </p:animScale>
                                  </p:childTnLst>
                                </p:cTn>
                              </p:par>
                              <p:par>
                                <p:cTn id="433" presetID="26" presetClass="emph" presetSubtype="0" dur="2000" repeatCount="indefinite" fill="hold" grpId="0" nodeType="withEffect">
                                  <p:stCondLst>
                                    <p:cond delay="2750"/>
                                  </p:stCondLst>
                                  <p:childTnLst>
                                    <p:animEffect transition="out" filter="fade">
                                      <p:cBhvr>
                                        <p:cTn id="434" dur="2000" tmFilter="0, 0; .2, .5; .8, .5; 1, 0"/>
                                        <p:tgtEl>
                                          <p:spTgt spid="197"/>
                                        </p:tgtEl>
                                      </p:cBhvr>
                                    </p:animEffect>
                                    <p:animScale>
                                      <p:cBhvr>
                                        <p:cTn id="435" dur="1000" autoRev="1" fill="hold"/>
                                        <p:tgtEl>
                                          <p:spTgt spid="197"/>
                                        </p:tgtEl>
                                      </p:cBhvr>
                                      <p:by x="105000" y="105000"/>
                                    </p:animScale>
                                  </p:childTnLst>
                                </p:cTn>
                              </p:par>
                              <p:par>
                                <p:cTn id="436" presetID="26" presetClass="emph" presetSubtype="0" dur="2000" repeatCount="indefinite" fill="hold" grpId="0" nodeType="withEffect">
                                  <p:stCondLst>
                                    <p:cond delay="2750"/>
                                  </p:stCondLst>
                                  <p:childTnLst>
                                    <p:animEffect transition="out" filter="fade">
                                      <p:cBhvr>
                                        <p:cTn id="437" dur="2000" tmFilter="0, 0; .2, .5; .8, .5; 1, 0"/>
                                        <p:tgtEl>
                                          <p:spTgt spid="214"/>
                                        </p:tgtEl>
                                      </p:cBhvr>
                                    </p:animEffect>
                                    <p:animScale>
                                      <p:cBhvr>
                                        <p:cTn id="438" dur="1000" autoRev="1" fill="hold"/>
                                        <p:tgtEl>
                                          <p:spTgt spid="214"/>
                                        </p:tgtEl>
                                      </p:cBhvr>
                                      <p:by x="105000" y="105000"/>
                                    </p:animScale>
                                  </p:childTnLst>
                                </p:cTn>
                              </p:par>
                              <p:par>
                                <p:cTn id="439" presetID="26" presetClass="emph" presetSubtype="0" dur="2000" repeatCount="indefinite" fill="hold" grpId="0" nodeType="withEffect">
                                  <p:stCondLst>
                                    <p:cond delay="2750"/>
                                  </p:stCondLst>
                                  <p:childTnLst>
                                    <p:animEffect transition="out" filter="fade">
                                      <p:cBhvr>
                                        <p:cTn id="440" dur="2000" tmFilter="0, 0; .2, .5; .8, .5; 1, 0"/>
                                        <p:tgtEl>
                                          <p:spTgt spid="230"/>
                                        </p:tgtEl>
                                      </p:cBhvr>
                                    </p:animEffect>
                                    <p:animScale>
                                      <p:cBhvr>
                                        <p:cTn id="441" dur="1000" autoRev="1" fill="hold"/>
                                        <p:tgtEl>
                                          <p:spTgt spid="230"/>
                                        </p:tgtEl>
                                      </p:cBhvr>
                                      <p:by x="105000" y="105000"/>
                                    </p:animScale>
                                  </p:childTnLst>
                                </p:cTn>
                              </p:par>
                              <p:par>
                                <p:cTn id="442" presetID="26" presetClass="emph" presetSubtype="0" dur="2000" repeatCount="indefinite" fill="hold" grpId="0" nodeType="withEffect">
                                  <p:stCondLst>
                                    <p:cond delay="3000"/>
                                  </p:stCondLst>
                                  <p:childTnLst>
                                    <p:animEffect transition="out" filter="fade">
                                      <p:cBhvr>
                                        <p:cTn id="443" dur="2000" tmFilter="0, 0; .2, .5; .8, .5; 1, 0"/>
                                        <p:tgtEl>
                                          <p:spTgt spid="19"/>
                                        </p:tgtEl>
                                      </p:cBhvr>
                                    </p:animEffect>
                                    <p:animScale>
                                      <p:cBhvr>
                                        <p:cTn id="444" dur="1000" autoRev="1" fill="hold"/>
                                        <p:tgtEl>
                                          <p:spTgt spid="19"/>
                                        </p:tgtEl>
                                      </p:cBhvr>
                                      <p:by x="105000" y="105000"/>
                                    </p:animScale>
                                  </p:childTnLst>
                                </p:cTn>
                              </p:par>
                              <p:par>
                                <p:cTn id="445" presetID="26" presetClass="emph" presetSubtype="0" dur="2000" repeatCount="indefinite" fill="hold" grpId="0" nodeType="withEffect">
                                  <p:stCondLst>
                                    <p:cond delay="3000"/>
                                  </p:stCondLst>
                                  <p:childTnLst>
                                    <p:animEffect transition="out" filter="fade">
                                      <p:cBhvr>
                                        <p:cTn id="446" dur="2000" tmFilter="0, 0; .2, .5; .8, .5; 1, 0"/>
                                        <p:tgtEl>
                                          <p:spTgt spid="34"/>
                                        </p:tgtEl>
                                      </p:cBhvr>
                                    </p:animEffect>
                                    <p:animScale>
                                      <p:cBhvr>
                                        <p:cTn id="447" dur="1000" autoRev="1" fill="hold"/>
                                        <p:tgtEl>
                                          <p:spTgt spid="34"/>
                                        </p:tgtEl>
                                      </p:cBhvr>
                                      <p:by x="105000" y="105000"/>
                                    </p:animScale>
                                  </p:childTnLst>
                                </p:cTn>
                              </p:par>
                              <p:par>
                                <p:cTn id="448" presetID="26" presetClass="emph" presetSubtype="0" dur="2000" repeatCount="indefinite" fill="hold" grpId="0" nodeType="withEffect">
                                  <p:stCondLst>
                                    <p:cond delay="3000"/>
                                  </p:stCondLst>
                                  <p:childTnLst>
                                    <p:animEffect transition="out" filter="fade">
                                      <p:cBhvr>
                                        <p:cTn id="449" dur="2000" tmFilter="0, 0; .2, .5; .8, .5; 1, 0"/>
                                        <p:tgtEl>
                                          <p:spTgt spid="50"/>
                                        </p:tgtEl>
                                      </p:cBhvr>
                                    </p:animEffect>
                                    <p:animScale>
                                      <p:cBhvr>
                                        <p:cTn id="450" dur="1000" autoRev="1" fill="hold"/>
                                        <p:tgtEl>
                                          <p:spTgt spid="50"/>
                                        </p:tgtEl>
                                      </p:cBhvr>
                                      <p:by x="105000" y="105000"/>
                                    </p:animScale>
                                  </p:childTnLst>
                                </p:cTn>
                              </p:par>
                              <p:par>
                                <p:cTn id="451" presetID="26" presetClass="emph" presetSubtype="0" dur="2000" repeatCount="indefinite" fill="hold" grpId="0" nodeType="withEffect">
                                  <p:stCondLst>
                                    <p:cond delay="3000"/>
                                  </p:stCondLst>
                                  <p:childTnLst>
                                    <p:animEffect transition="out" filter="fade">
                                      <p:cBhvr>
                                        <p:cTn id="452" dur="2000" tmFilter="0, 0; .2, .5; .8, .5; 1, 0"/>
                                        <p:tgtEl>
                                          <p:spTgt spid="66"/>
                                        </p:tgtEl>
                                      </p:cBhvr>
                                    </p:animEffect>
                                    <p:animScale>
                                      <p:cBhvr>
                                        <p:cTn id="453" dur="1000" autoRev="1" fill="hold"/>
                                        <p:tgtEl>
                                          <p:spTgt spid="66"/>
                                        </p:tgtEl>
                                      </p:cBhvr>
                                      <p:by x="105000" y="105000"/>
                                    </p:animScale>
                                  </p:childTnLst>
                                </p:cTn>
                              </p:par>
                              <p:par>
                                <p:cTn id="454" presetID="26" presetClass="emph" presetSubtype="0" dur="2000" repeatCount="indefinite" fill="hold" grpId="0" nodeType="withEffect">
                                  <p:stCondLst>
                                    <p:cond delay="3000"/>
                                  </p:stCondLst>
                                  <p:childTnLst>
                                    <p:animEffect transition="out" filter="fade">
                                      <p:cBhvr>
                                        <p:cTn id="455" dur="2000" tmFilter="0, 0; .2, .5; .8, .5; 1, 0"/>
                                        <p:tgtEl>
                                          <p:spTgt spid="82"/>
                                        </p:tgtEl>
                                      </p:cBhvr>
                                    </p:animEffect>
                                    <p:animScale>
                                      <p:cBhvr>
                                        <p:cTn id="456" dur="1000" autoRev="1" fill="hold"/>
                                        <p:tgtEl>
                                          <p:spTgt spid="82"/>
                                        </p:tgtEl>
                                      </p:cBhvr>
                                      <p:by x="105000" y="105000"/>
                                    </p:animScale>
                                  </p:childTnLst>
                                </p:cTn>
                              </p:par>
                              <p:par>
                                <p:cTn id="457" presetID="26" presetClass="emph" presetSubtype="0" dur="2000" repeatCount="indefinite" fill="hold" grpId="0" nodeType="withEffect">
                                  <p:stCondLst>
                                    <p:cond delay="3000"/>
                                  </p:stCondLst>
                                  <p:childTnLst>
                                    <p:animEffect transition="out" filter="fade">
                                      <p:cBhvr>
                                        <p:cTn id="458" dur="2000" tmFilter="0, 0; .2, .5; .8, .5; 1, 0"/>
                                        <p:tgtEl>
                                          <p:spTgt spid="98"/>
                                        </p:tgtEl>
                                      </p:cBhvr>
                                    </p:animEffect>
                                    <p:animScale>
                                      <p:cBhvr>
                                        <p:cTn id="459" dur="1000" autoRev="1" fill="hold"/>
                                        <p:tgtEl>
                                          <p:spTgt spid="98"/>
                                        </p:tgtEl>
                                      </p:cBhvr>
                                      <p:by x="105000" y="105000"/>
                                    </p:animScale>
                                  </p:childTnLst>
                                </p:cTn>
                              </p:par>
                              <p:par>
                                <p:cTn id="460" presetID="26" presetClass="emph" presetSubtype="0" dur="2000" repeatCount="indefinite" fill="hold" grpId="0" nodeType="withEffect">
                                  <p:stCondLst>
                                    <p:cond delay="3000"/>
                                  </p:stCondLst>
                                  <p:childTnLst>
                                    <p:animEffect transition="out" filter="fade">
                                      <p:cBhvr>
                                        <p:cTn id="461" dur="2000" tmFilter="0, 0; .2, .5; .8, .5; 1, 0"/>
                                        <p:tgtEl>
                                          <p:spTgt spid="114"/>
                                        </p:tgtEl>
                                      </p:cBhvr>
                                    </p:animEffect>
                                    <p:animScale>
                                      <p:cBhvr>
                                        <p:cTn id="462" dur="1000" autoRev="1" fill="hold"/>
                                        <p:tgtEl>
                                          <p:spTgt spid="114"/>
                                        </p:tgtEl>
                                      </p:cBhvr>
                                      <p:by x="105000" y="105000"/>
                                    </p:animScale>
                                  </p:childTnLst>
                                </p:cTn>
                              </p:par>
                              <p:par>
                                <p:cTn id="463" presetID="26" presetClass="emph" presetSubtype="0" dur="2000" repeatCount="indefinite" fill="hold" grpId="0" nodeType="withEffect">
                                  <p:stCondLst>
                                    <p:cond delay="3000"/>
                                  </p:stCondLst>
                                  <p:childTnLst>
                                    <p:animEffect transition="out" filter="fade">
                                      <p:cBhvr>
                                        <p:cTn id="464" dur="2000" tmFilter="0, 0; .2, .5; .8, .5; 1, 0"/>
                                        <p:tgtEl>
                                          <p:spTgt spid="130"/>
                                        </p:tgtEl>
                                      </p:cBhvr>
                                    </p:animEffect>
                                    <p:animScale>
                                      <p:cBhvr>
                                        <p:cTn id="465" dur="1000" autoRev="1" fill="hold"/>
                                        <p:tgtEl>
                                          <p:spTgt spid="130"/>
                                        </p:tgtEl>
                                      </p:cBhvr>
                                      <p:by x="105000" y="105000"/>
                                    </p:animScale>
                                  </p:childTnLst>
                                </p:cTn>
                              </p:par>
                              <p:par>
                                <p:cTn id="466" presetID="26" presetClass="emph" presetSubtype="0" dur="2000" repeatCount="indefinite" fill="hold" grpId="0" nodeType="withEffect">
                                  <p:stCondLst>
                                    <p:cond delay="3000"/>
                                  </p:stCondLst>
                                  <p:childTnLst>
                                    <p:animEffect transition="out" filter="fade">
                                      <p:cBhvr>
                                        <p:cTn id="467" dur="2000" tmFilter="0, 0; .2, .5; .8, .5; 1, 0"/>
                                        <p:tgtEl>
                                          <p:spTgt spid="147"/>
                                        </p:tgtEl>
                                      </p:cBhvr>
                                    </p:animEffect>
                                    <p:animScale>
                                      <p:cBhvr>
                                        <p:cTn id="468" dur="1000" autoRev="1" fill="hold"/>
                                        <p:tgtEl>
                                          <p:spTgt spid="147"/>
                                        </p:tgtEl>
                                      </p:cBhvr>
                                      <p:by x="105000" y="105000"/>
                                    </p:animScale>
                                  </p:childTnLst>
                                </p:cTn>
                              </p:par>
                              <p:par>
                                <p:cTn id="469" presetID="26" presetClass="emph" presetSubtype="0" dur="2000" repeatCount="indefinite" fill="hold" grpId="0" nodeType="withEffect">
                                  <p:stCondLst>
                                    <p:cond delay="3000"/>
                                  </p:stCondLst>
                                  <p:childTnLst>
                                    <p:animEffect transition="out" filter="fade">
                                      <p:cBhvr>
                                        <p:cTn id="470" dur="2000" tmFilter="0, 0; .2, .5; .8, .5; 1, 0"/>
                                        <p:tgtEl>
                                          <p:spTgt spid="164"/>
                                        </p:tgtEl>
                                      </p:cBhvr>
                                    </p:animEffect>
                                    <p:animScale>
                                      <p:cBhvr>
                                        <p:cTn id="471" dur="1000" autoRev="1" fill="hold"/>
                                        <p:tgtEl>
                                          <p:spTgt spid="164"/>
                                        </p:tgtEl>
                                      </p:cBhvr>
                                      <p:by x="105000" y="105000"/>
                                    </p:animScale>
                                  </p:childTnLst>
                                </p:cTn>
                              </p:par>
                              <p:par>
                                <p:cTn id="472" presetID="26" presetClass="emph" presetSubtype="0" dur="2000" repeatCount="indefinite" fill="hold" grpId="0" nodeType="withEffect">
                                  <p:stCondLst>
                                    <p:cond delay="3000"/>
                                  </p:stCondLst>
                                  <p:childTnLst>
                                    <p:animEffect transition="out" filter="fade">
                                      <p:cBhvr>
                                        <p:cTn id="473" dur="2000" tmFilter="0, 0; .2, .5; .8, .5; 1, 0"/>
                                        <p:tgtEl>
                                          <p:spTgt spid="181"/>
                                        </p:tgtEl>
                                      </p:cBhvr>
                                    </p:animEffect>
                                    <p:animScale>
                                      <p:cBhvr>
                                        <p:cTn id="474" dur="1000" autoRev="1" fill="hold"/>
                                        <p:tgtEl>
                                          <p:spTgt spid="181"/>
                                        </p:tgtEl>
                                      </p:cBhvr>
                                      <p:by x="105000" y="105000"/>
                                    </p:animScale>
                                  </p:childTnLst>
                                </p:cTn>
                              </p:par>
                              <p:par>
                                <p:cTn id="475" presetID="26" presetClass="emph" presetSubtype="0" dur="2000" repeatCount="indefinite" fill="hold" grpId="0" nodeType="withEffect">
                                  <p:stCondLst>
                                    <p:cond delay="3000"/>
                                  </p:stCondLst>
                                  <p:childTnLst>
                                    <p:animEffect transition="out" filter="fade">
                                      <p:cBhvr>
                                        <p:cTn id="476" dur="2000" tmFilter="0, 0; .2, .5; .8, .5; 1, 0"/>
                                        <p:tgtEl>
                                          <p:spTgt spid="198"/>
                                        </p:tgtEl>
                                      </p:cBhvr>
                                    </p:animEffect>
                                    <p:animScale>
                                      <p:cBhvr>
                                        <p:cTn id="477" dur="1000" autoRev="1" fill="hold"/>
                                        <p:tgtEl>
                                          <p:spTgt spid="198"/>
                                        </p:tgtEl>
                                      </p:cBhvr>
                                      <p:by x="105000" y="105000"/>
                                    </p:animScale>
                                  </p:childTnLst>
                                </p:cTn>
                              </p:par>
                              <p:par>
                                <p:cTn id="478" presetID="26" presetClass="emph" presetSubtype="0" dur="2000" repeatCount="indefinite" fill="hold" grpId="0" nodeType="withEffect">
                                  <p:stCondLst>
                                    <p:cond delay="3000"/>
                                  </p:stCondLst>
                                  <p:childTnLst>
                                    <p:animEffect transition="out" filter="fade">
                                      <p:cBhvr>
                                        <p:cTn id="479" dur="2000" tmFilter="0, 0; .2, .5; .8, .5; 1, 0"/>
                                        <p:tgtEl>
                                          <p:spTgt spid="215"/>
                                        </p:tgtEl>
                                      </p:cBhvr>
                                    </p:animEffect>
                                    <p:animScale>
                                      <p:cBhvr>
                                        <p:cTn id="480" dur="1000" autoRev="1" fill="hold"/>
                                        <p:tgtEl>
                                          <p:spTgt spid="215"/>
                                        </p:tgtEl>
                                      </p:cBhvr>
                                      <p:by x="105000" y="105000"/>
                                    </p:animScale>
                                  </p:childTnLst>
                                </p:cTn>
                              </p:par>
                              <p:par>
                                <p:cTn id="481" presetID="26" presetClass="emph" presetSubtype="0" dur="2000" repeatCount="indefinite" fill="hold" grpId="0" nodeType="withEffect">
                                  <p:stCondLst>
                                    <p:cond delay="3000"/>
                                  </p:stCondLst>
                                  <p:childTnLst>
                                    <p:animEffect transition="out" filter="fade">
                                      <p:cBhvr>
                                        <p:cTn id="482" dur="2000" tmFilter="0, 0; .2, .5; .8, .5; 1, 0"/>
                                        <p:tgtEl>
                                          <p:spTgt spid="231"/>
                                        </p:tgtEl>
                                      </p:cBhvr>
                                    </p:animEffect>
                                    <p:animScale>
                                      <p:cBhvr>
                                        <p:cTn id="483" dur="1000" autoRev="1" fill="hold"/>
                                        <p:tgtEl>
                                          <p:spTgt spid="231"/>
                                        </p:tgtEl>
                                      </p:cBhvr>
                                      <p:by x="105000" y="105000"/>
                                    </p:animScale>
                                  </p:childTnLst>
                                </p:cTn>
                              </p:par>
                              <p:par>
                                <p:cTn id="484" presetID="26" presetClass="emph" presetSubtype="0" dur="2000" repeatCount="indefinite" fill="hold" grpId="0" nodeType="withEffect">
                                  <p:stCondLst>
                                    <p:cond delay="3250"/>
                                  </p:stCondLst>
                                  <p:childTnLst>
                                    <p:animEffect transition="out" filter="fade">
                                      <p:cBhvr>
                                        <p:cTn id="485" dur="2000" tmFilter="0, 0; .2, .5; .8, .5; 1, 0"/>
                                        <p:tgtEl>
                                          <p:spTgt spid="20"/>
                                        </p:tgtEl>
                                      </p:cBhvr>
                                    </p:animEffect>
                                    <p:animScale>
                                      <p:cBhvr>
                                        <p:cTn id="486" dur="1000" autoRev="1" fill="hold"/>
                                        <p:tgtEl>
                                          <p:spTgt spid="20"/>
                                        </p:tgtEl>
                                      </p:cBhvr>
                                      <p:by x="105000" y="105000"/>
                                    </p:animScale>
                                  </p:childTnLst>
                                </p:cTn>
                              </p:par>
                              <p:par>
                                <p:cTn id="487" presetID="26" presetClass="emph" presetSubtype="0" dur="2000" repeatCount="indefinite" fill="hold" grpId="0" nodeType="withEffect">
                                  <p:stCondLst>
                                    <p:cond delay="3250"/>
                                  </p:stCondLst>
                                  <p:childTnLst>
                                    <p:animEffect transition="out" filter="fade">
                                      <p:cBhvr>
                                        <p:cTn id="488" dur="2000" tmFilter="0, 0; .2, .5; .8, .5; 1, 0"/>
                                        <p:tgtEl>
                                          <p:spTgt spid="35"/>
                                        </p:tgtEl>
                                      </p:cBhvr>
                                    </p:animEffect>
                                    <p:animScale>
                                      <p:cBhvr>
                                        <p:cTn id="489" dur="1000" autoRev="1" fill="hold"/>
                                        <p:tgtEl>
                                          <p:spTgt spid="35"/>
                                        </p:tgtEl>
                                      </p:cBhvr>
                                      <p:by x="105000" y="105000"/>
                                    </p:animScale>
                                  </p:childTnLst>
                                </p:cTn>
                              </p:par>
                              <p:par>
                                <p:cTn id="490" presetID="26" presetClass="emph" presetSubtype="0" dur="2000" repeatCount="indefinite" fill="hold" grpId="0" nodeType="withEffect">
                                  <p:stCondLst>
                                    <p:cond delay="3250"/>
                                  </p:stCondLst>
                                  <p:childTnLst>
                                    <p:animEffect transition="out" filter="fade">
                                      <p:cBhvr>
                                        <p:cTn id="491" dur="2000" tmFilter="0, 0; .2, .5; .8, .5; 1, 0"/>
                                        <p:tgtEl>
                                          <p:spTgt spid="51"/>
                                        </p:tgtEl>
                                      </p:cBhvr>
                                    </p:animEffect>
                                    <p:animScale>
                                      <p:cBhvr>
                                        <p:cTn id="492" dur="1000" autoRev="1" fill="hold"/>
                                        <p:tgtEl>
                                          <p:spTgt spid="51"/>
                                        </p:tgtEl>
                                      </p:cBhvr>
                                      <p:by x="105000" y="105000"/>
                                    </p:animScale>
                                  </p:childTnLst>
                                </p:cTn>
                              </p:par>
                              <p:par>
                                <p:cTn id="493" presetID="26" presetClass="emph" presetSubtype="0" dur="2000" repeatCount="indefinite" fill="hold" grpId="0" nodeType="withEffect">
                                  <p:stCondLst>
                                    <p:cond delay="3250"/>
                                  </p:stCondLst>
                                  <p:childTnLst>
                                    <p:animEffect transition="out" filter="fade">
                                      <p:cBhvr>
                                        <p:cTn id="494" dur="2000" tmFilter="0, 0; .2, .5; .8, .5; 1, 0"/>
                                        <p:tgtEl>
                                          <p:spTgt spid="67"/>
                                        </p:tgtEl>
                                      </p:cBhvr>
                                    </p:animEffect>
                                    <p:animScale>
                                      <p:cBhvr>
                                        <p:cTn id="495" dur="1000" autoRev="1" fill="hold"/>
                                        <p:tgtEl>
                                          <p:spTgt spid="67"/>
                                        </p:tgtEl>
                                      </p:cBhvr>
                                      <p:by x="105000" y="105000"/>
                                    </p:animScale>
                                  </p:childTnLst>
                                </p:cTn>
                              </p:par>
                              <p:par>
                                <p:cTn id="496" presetID="26" presetClass="emph" presetSubtype="0" dur="2000" repeatCount="indefinite" fill="hold" grpId="0" nodeType="withEffect">
                                  <p:stCondLst>
                                    <p:cond delay="3250"/>
                                  </p:stCondLst>
                                  <p:childTnLst>
                                    <p:animEffect transition="out" filter="fade">
                                      <p:cBhvr>
                                        <p:cTn id="497" dur="2000" tmFilter="0, 0; .2, .5; .8, .5; 1, 0"/>
                                        <p:tgtEl>
                                          <p:spTgt spid="83"/>
                                        </p:tgtEl>
                                      </p:cBhvr>
                                    </p:animEffect>
                                    <p:animScale>
                                      <p:cBhvr>
                                        <p:cTn id="498" dur="1000" autoRev="1" fill="hold"/>
                                        <p:tgtEl>
                                          <p:spTgt spid="83"/>
                                        </p:tgtEl>
                                      </p:cBhvr>
                                      <p:by x="105000" y="105000"/>
                                    </p:animScale>
                                  </p:childTnLst>
                                </p:cTn>
                              </p:par>
                              <p:par>
                                <p:cTn id="499" presetID="26" presetClass="emph" presetSubtype="0" dur="2000" repeatCount="indefinite" fill="hold" grpId="0" nodeType="withEffect">
                                  <p:stCondLst>
                                    <p:cond delay="3250"/>
                                  </p:stCondLst>
                                  <p:childTnLst>
                                    <p:animEffect transition="out" filter="fade">
                                      <p:cBhvr>
                                        <p:cTn id="500" dur="2000" tmFilter="0, 0; .2, .5; .8, .5; 1, 0"/>
                                        <p:tgtEl>
                                          <p:spTgt spid="99"/>
                                        </p:tgtEl>
                                      </p:cBhvr>
                                    </p:animEffect>
                                    <p:animScale>
                                      <p:cBhvr>
                                        <p:cTn id="501" dur="1000" autoRev="1" fill="hold"/>
                                        <p:tgtEl>
                                          <p:spTgt spid="99"/>
                                        </p:tgtEl>
                                      </p:cBhvr>
                                      <p:by x="105000" y="105000"/>
                                    </p:animScale>
                                  </p:childTnLst>
                                </p:cTn>
                              </p:par>
                              <p:par>
                                <p:cTn id="502" presetID="26" presetClass="emph" presetSubtype="0" dur="2000" repeatCount="indefinite" fill="hold" grpId="0" nodeType="withEffect">
                                  <p:stCondLst>
                                    <p:cond delay="3250"/>
                                  </p:stCondLst>
                                  <p:childTnLst>
                                    <p:animEffect transition="out" filter="fade">
                                      <p:cBhvr>
                                        <p:cTn id="503" dur="2000" tmFilter="0, 0; .2, .5; .8, .5; 1, 0"/>
                                        <p:tgtEl>
                                          <p:spTgt spid="115"/>
                                        </p:tgtEl>
                                      </p:cBhvr>
                                    </p:animEffect>
                                    <p:animScale>
                                      <p:cBhvr>
                                        <p:cTn id="504" dur="1000" autoRev="1" fill="hold"/>
                                        <p:tgtEl>
                                          <p:spTgt spid="115"/>
                                        </p:tgtEl>
                                      </p:cBhvr>
                                      <p:by x="105000" y="105000"/>
                                    </p:animScale>
                                  </p:childTnLst>
                                </p:cTn>
                              </p:par>
                              <p:par>
                                <p:cTn id="505" presetID="26" presetClass="emph" presetSubtype="0" dur="2000" repeatCount="indefinite" fill="hold" grpId="0" nodeType="withEffect">
                                  <p:stCondLst>
                                    <p:cond delay="3250"/>
                                  </p:stCondLst>
                                  <p:childTnLst>
                                    <p:animEffect transition="out" filter="fade">
                                      <p:cBhvr>
                                        <p:cTn id="506" dur="2000" tmFilter="0, 0; .2, .5; .8, .5; 1, 0"/>
                                        <p:tgtEl>
                                          <p:spTgt spid="131"/>
                                        </p:tgtEl>
                                      </p:cBhvr>
                                    </p:animEffect>
                                    <p:animScale>
                                      <p:cBhvr>
                                        <p:cTn id="507" dur="1000" autoRev="1" fill="hold"/>
                                        <p:tgtEl>
                                          <p:spTgt spid="131"/>
                                        </p:tgtEl>
                                      </p:cBhvr>
                                      <p:by x="105000" y="105000"/>
                                    </p:animScale>
                                  </p:childTnLst>
                                </p:cTn>
                              </p:par>
                              <p:par>
                                <p:cTn id="508" presetID="26" presetClass="emph" presetSubtype="0" dur="2000" repeatCount="indefinite" fill="hold" grpId="0" nodeType="withEffect">
                                  <p:stCondLst>
                                    <p:cond delay="3250"/>
                                  </p:stCondLst>
                                  <p:childTnLst>
                                    <p:animEffect transition="out" filter="fade">
                                      <p:cBhvr>
                                        <p:cTn id="509" dur="2000" tmFilter="0, 0; .2, .5; .8, .5; 1, 0"/>
                                        <p:tgtEl>
                                          <p:spTgt spid="148"/>
                                        </p:tgtEl>
                                      </p:cBhvr>
                                    </p:animEffect>
                                    <p:animScale>
                                      <p:cBhvr>
                                        <p:cTn id="510" dur="1000" autoRev="1" fill="hold"/>
                                        <p:tgtEl>
                                          <p:spTgt spid="148"/>
                                        </p:tgtEl>
                                      </p:cBhvr>
                                      <p:by x="105000" y="105000"/>
                                    </p:animScale>
                                  </p:childTnLst>
                                </p:cTn>
                              </p:par>
                              <p:par>
                                <p:cTn id="511" presetID="26" presetClass="emph" presetSubtype="0" dur="2000" repeatCount="indefinite" fill="hold" grpId="0" nodeType="withEffect">
                                  <p:stCondLst>
                                    <p:cond delay="3250"/>
                                  </p:stCondLst>
                                  <p:childTnLst>
                                    <p:animEffect transition="out" filter="fade">
                                      <p:cBhvr>
                                        <p:cTn id="512" dur="2000" tmFilter="0, 0; .2, .5; .8, .5; 1, 0"/>
                                        <p:tgtEl>
                                          <p:spTgt spid="165"/>
                                        </p:tgtEl>
                                      </p:cBhvr>
                                    </p:animEffect>
                                    <p:animScale>
                                      <p:cBhvr>
                                        <p:cTn id="513" dur="1000" autoRev="1" fill="hold"/>
                                        <p:tgtEl>
                                          <p:spTgt spid="165"/>
                                        </p:tgtEl>
                                      </p:cBhvr>
                                      <p:by x="105000" y="105000"/>
                                    </p:animScale>
                                  </p:childTnLst>
                                </p:cTn>
                              </p:par>
                              <p:par>
                                <p:cTn id="514" presetID="26" presetClass="emph" presetSubtype="0" dur="2000" repeatCount="indefinite" fill="hold" grpId="0" nodeType="withEffect">
                                  <p:stCondLst>
                                    <p:cond delay="3250"/>
                                  </p:stCondLst>
                                  <p:childTnLst>
                                    <p:animEffect transition="out" filter="fade">
                                      <p:cBhvr>
                                        <p:cTn id="515" dur="2000" tmFilter="0, 0; .2, .5; .8, .5; 1, 0"/>
                                        <p:tgtEl>
                                          <p:spTgt spid="182"/>
                                        </p:tgtEl>
                                      </p:cBhvr>
                                    </p:animEffect>
                                    <p:animScale>
                                      <p:cBhvr>
                                        <p:cTn id="516" dur="1000" autoRev="1" fill="hold"/>
                                        <p:tgtEl>
                                          <p:spTgt spid="182"/>
                                        </p:tgtEl>
                                      </p:cBhvr>
                                      <p:by x="105000" y="105000"/>
                                    </p:animScale>
                                  </p:childTnLst>
                                </p:cTn>
                              </p:par>
                              <p:par>
                                <p:cTn id="517" presetID="26" presetClass="emph" presetSubtype="0" dur="2000" repeatCount="indefinite" fill="hold" grpId="0" nodeType="withEffect">
                                  <p:stCondLst>
                                    <p:cond delay="3250"/>
                                  </p:stCondLst>
                                  <p:childTnLst>
                                    <p:animEffect transition="out" filter="fade">
                                      <p:cBhvr>
                                        <p:cTn id="518" dur="2000" tmFilter="0, 0; .2, .5; .8, .5; 1, 0"/>
                                        <p:tgtEl>
                                          <p:spTgt spid="199"/>
                                        </p:tgtEl>
                                      </p:cBhvr>
                                    </p:animEffect>
                                    <p:animScale>
                                      <p:cBhvr>
                                        <p:cTn id="519" dur="1000" autoRev="1" fill="hold"/>
                                        <p:tgtEl>
                                          <p:spTgt spid="199"/>
                                        </p:tgtEl>
                                      </p:cBhvr>
                                      <p:by x="105000" y="105000"/>
                                    </p:animScale>
                                  </p:childTnLst>
                                </p:cTn>
                              </p:par>
                              <p:par>
                                <p:cTn id="520" presetID="26" presetClass="emph" presetSubtype="0" dur="2000" repeatCount="indefinite" fill="hold" grpId="0" nodeType="withEffect">
                                  <p:stCondLst>
                                    <p:cond delay="3250"/>
                                  </p:stCondLst>
                                  <p:childTnLst>
                                    <p:animEffect transition="out" filter="fade">
                                      <p:cBhvr>
                                        <p:cTn id="521" dur="2000" tmFilter="0, 0; .2, .5; .8, .5; 1, 0"/>
                                        <p:tgtEl>
                                          <p:spTgt spid="216"/>
                                        </p:tgtEl>
                                      </p:cBhvr>
                                    </p:animEffect>
                                    <p:animScale>
                                      <p:cBhvr>
                                        <p:cTn id="522" dur="1000" autoRev="1" fill="hold"/>
                                        <p:tgtEl>
                                          <p:spTgt spid="216"/>
                                        </p:tgtEl>
                                      </p:cBhvr>
                                      <p:by x="105000" y="105000"/>
                                    </p:animScale>
                                  </p:childTnLst>
                                </p:cTn>
                              </p:par>
                              <p:par>
                                <p:cTn id="523" presetID="26" presetClass="emph" presetSubtype="0" dur="2000" repeatCount="indefinite" fill="hold" grpId="0" nodeType="withEffect">
                                  <p:stCondLst>
                                    <p:cond delay="3250"/>
                                  </p:stCondLst>
                                  <p:childTnLst>
                                    <p:animEffect transition="out" filter="fade">
                                      <p:cBhvr>
                                        <p:cTn id="524" dur="2000" tmFilter="0, 0; .2, .5; .8, .5; 1, 0"/>
                                        <p:tgtEl>
                                          <p:spTgt spid="232"/>
                                        </p:tgtEl>
                                      </p:cBhvr>
                                    </p:animEffect>
                                    <p:animScale>
                                      <p:cBhvr>
                                        <p:cTn id="525" dur="1000" autoRev="1" fill="hold"/>
                                        <p:tgtEl>
                                          <p:spTgt spid="232"/>
                                        </p:tgtEl>
                                      </p:cBhvr>
                                      <p:by x="105000" y="105000"/>
                                    </p:animScale>
                                  </p:childTnLst>
                                </p:cTn>
                              </p:par>
                              <p:par>
                                <p:cTn id="526" presetID="26" presetClass="emph" presetSubtype="0" dur="2000" repeatCount="indefinite" fill="hold" grpId="0" nodeType="withEffect">
                                  <p:stCondLst>
                                    <p:cond delay="3500"/>
                                  </p:stCondLst>
                                  <p:childTnLst>
                                    <p:animEffect transition="out" filter="fade">
                                      <p:cBhvr>
                                        <p:cTn id="527" dur="2000" tmFilter="0, 0; .2, .5; .8, .5; 1, 0"/>
                                        <p:tgtEl>
                                          <p:spTgt spid="21"/>
                                        </p:tgtEl>
                                      </p:cBhvr>
                                    </p:animEffect>
                                    <p:animScale>
                                      <p:cBhvr>
                                        <p:cTn id="528" dur="1000" autoRev="1" fill="hold"/>
                                        <p:tgtEl>
                                          <p:spTgt spid="21"/>
                                        </p:tgtEl>
                                      </p:cBhvr>
                                      <p:by x="105000" y="105000"/>
                                    </p:animScale>
                                  </p:childTnLst>
                                </p:cTn>
                              </p:par>
                              <p:par>
                                <p:cTn id="529" presetID="26" presetClass="emph" presetSubtype="0" dur="2000" repeatCount="indefinite" fill="hold" grpId="0" nodeType="withEffect">
                                  <p:stCondLst>
                                    <p:cond delay="3500"/>
                                  </p:stCondLst>
                                  <p:childTnLst>
                                    <p:animEffect transition="out" filter="fade">
                                      <p:cBhvr>
                                        <p:cTn id="530" dur="2000" tmFilter="0, 0; .2, .5; .8, .5; 1, 0"/>
                                        <p:tgtEl>
                                          <p:spTgt spid="36"/>
                                        </p:tgtEl>
                                      </p:cBhvr>
                                    </p:animEffect>
                                    <p:animScale>
                                      <p:cBhvr>
                                        <p:cTn id="531" dur="1000" autoRev="1" fill="hold"/>
                                        <p:tgtEl>
                                          <p:spTgt spid="36"/>
                                        </p:tgtEl>
                                      </p:cBhvr>
                                      <p:by x="105000" y="105000"/>
                                    </p:animScale>
                                  </p:childTnLst>
                                </p:cTn>
                              </p:par>
                              <p:par>
                                <p:cTn id="532" presetID="26" presetClass="emph" presetSubtype="0" dur="2000" repeatCount="indefinite" fill="hold" grpId="0" nodeType="withEffect">
                                  <p:stCondLst>
                                    <p:cond delay="3500"/>
                                  </p:stCondLst>
                                  <p:childTnLst>
                                    <p:animEffect transition="out" filter="fade">
                                      <p:cBhvr>
                                        <p:cTn id="533" dur="2000" tmFilter="0, 0; .2, .5; .8, .5; 1, 0"/>
                                        <p:tgtEl>
                                          <p:spTgt spid="52"/>
                                        </p:tgtEl>
                                      </p:cBhvr>
                                    </p:animEffect>
                                    <p:animScale>
                                      <p:cBhvr>
                                        <p:cTn id="534" dur="1000" autoRev="1" fill="hold"/>
                                        <p:tgtEl>
                                          <p:spTgt spid="52"/>
                                        </p:tgtEl>
                                      </p:cBhvr>
                                      <p:by x="105000" y="105000"/>
                                    </p:animScale>
                                  </p:childTnLst>
                                </p:cTn>
                              </p:par>
                              <p:par>
                                <p:cTn id="535" presetID="26" presetClass="emph" presetSubtype="0" dur="2000" repeatCount="indefinite" fill="hold" grpId="0" nodeType="withEffect">
                                  <p:stCondLst>
                                    <p:cond delay="3500"/>
                                  </p:stCondLst>
                                  <p:childTnLst>
                                    <p:animEffect transition="out" filter="fade">
                                      <p:cBhvr>
                                        <p:cTn id="536" dur="2000" tmFilter="0, 0; .2, .5; .8, .5; 1, 0"/>
                                        <p:tgtEl>
                                          <p:spTgt spid="68"/>
                                        </p:tgtEl>
                                      </p:cBhvr>
                                    </p:animEffect>
                                    <p:animScale>
                                      <p:cBhvr>
                                        <p:cTn id="537" dur="1000" autoRev="1" fill="hold"/>
                                        <p:tgtEl>
                                          <p:spTgt spid="68"/>
                                        </p:tgtEl>
                                      </p:cBhvr>
                                      <p:by x="105000" y="105000"/>
                                    </p:animScale>
                                  </p:childTnLst>
                                </p:cTn>
                              </p:par>
                              <p:par>
                                <p:cTn id="538" presetID="26" presetClass="emph" presetSubtype="0" dur="2000" repeatCount="indefinite" fill="hold" grpId="0" nodeType="withEffect">
                                  <p:stCondLst>
                                    <p:cond delay="3500"/>
                                  </p:stCondLst>
                                  <p:childTnLst>
                                    <p:animEffect transition="out" filter="fade">
                                      <p:cBhvr>
                                        <p:cTn id="539" dur="2000" tmFilter="0, 0; .2, .5; .8, .5; 1, 0"/>
                                        <p:tgtEl>
                                          <p:spTgt spid="84"/>
                                        </p:tgtEl>
                                      </p:cBhvr>
                                    </p:animEffect>
                                    <p:animScale>
                                      <p:cBhvr>
                                        <p:cTn id="540" dur="1000" autoRev="1" fill="hold"/>
                                        <p:tgtEl>
                                          <p:spTgt spid="84"/>
                                        </p:tgtEl>
                                      </p:cBhvr>
                                      <p:by x="105000" y="105000"/>
                                    </p:animScale>
                                  </p:childTnLst>
                                </p:cTn>
                              </p:par>
                              <p:par>
                                <p:cTn id="541" presetID="26" presetClass="emph" presetSubtype="0" dur="2000" repeatCount="indefinite" fill="hold" grpId="0" nodeType="withEffect">
                                  <p:stCondLst>
                                    <p:cond delay="3500"/>
                                  </p:stCondLst>
                                  <p:childTnLst>
                                    <p:animEffect transition="out" filter="fade">
                                      <p:cBhvr>
                                        <p:cTn id="542" dur="2000" tmFilter="0, 0; .2, .5; .8, .5; 1, 0"/>
                                        <p:tgtEl>
                                          <p:spTgt spid="100"/>
                                        </p:tgtEl>
                                      </p:cBhvr>
                                    </p:animEffect>
                                    <p:animScale>
                                      <p:cBhvr>
                                        <p:cTn id="543" dur="1000" autoRev="1" fill="hold"/>
                                        <p:tgtEl>
                                          <p:spTgt spid="100"/>
                                        </p:tgtEl>
                                      </p:cBhvr>
                                      <p:by x="105000" y="105000"/>
                                    </p:animScale>
                                  </p:childTnLst>
                                </p:cTn>
                              </p:par>
                              <p:par>
                                <p:cTn id="544" presetID="26" presetClass="emph" presetSubtype="0" dur="2000" repeatCount="indefinite" fill="hold" grpId="0" nodeType="withEffect">
                                  <p:stCondLst>
                                    <p:cond delay="3500"/>
                                  </p:stCondLst>
                                  <p:childTnLst>
                                    <p:animEffect transition="out" filter="fade">
                                      <p:cBhvr>
                                        <p:cTn id="545" dur="2000" tmFilter="0, 0; .2, .5; .8, .5; 1, 0"/>
                                        <p:tgtEl>
                                          <p:spTgt spid="116"/>
                                        </p:tgtEl>
                                      </p:cBhvr>
                                    </p:animEffect>
                                    <p:animScale>
                                      <p:cBhvr>
                                        <p:cTn id="546" dur="1000" autoRev="1" fill="hold"/>
                                        <p:tgtEl>
                                          <p:spTgt spid="116"/>
                                        </p:tgtEl>
                                      </p:cBhvr>
                                      <p:by x="105000" y="105000"/>
                                    </p:animScale>
                                  </p:childTnLst>
                                </p:cTn>
                              </p:par>
                              <p:par>
                                <p:cTn id="547" presetID="26" presetClass="emph" presetSubtype="0" dur="2000" repeatCount="indefinite" fill="hold" grpId="0" nodeType="withEffect">
                                  <p:stCondLst>
                                    <p:cond delay="3500"/>
                                  </p:stCondLst>
                                  <p:childTnLst>
                                    <p:animEffect transition="out" filter="fade">
                                      <p:cBhvr>
                                        <p:cTn id="548" dur="2000" tmFilter="0, 0; .2, .5; .8, .5; 1, 0"/>
                                        <p:tgtEl>
                                          <p:spTgt spid="132"/>
                                        </p:tgtEl>
                                      </p:cBhvr>
                                    </p:animEffect>
                                    <p:animScale>
                                      <p:cBhvr>
                                        <p:cTn id="549" dur="1000" autoRev="1" fill="hold"/>
                                        <p:tgtEl>
                                          <p:spTgt spid="132"/>
                                        </p:tgtEl>
                                      </p:cBhvr>
                                      <p:by x="105000" y="105000"/>
                                    </p:animScale>
                                  </p:childTnLst>
                                </p:cTn>
                              </p:par>
                              <p:par>
                                <p:cTn id="550" presetID="26" presetClass="emph" presetSubtype="0" dur="2000" repeatCount="indefinite" fill="hold" grpId="0" nodeType="withEffect">
                                  <p:stCondLst>
                                    <p:cond delay="3500"/>
                                  </p:stCondLst>
                                  <p:childTnLst>
                                    <p:animEffect transition="out" filter="fade">
                                      <p:cBhvr>
                                        <p:cTn id="551" dur="2000" tmFilter="0, 0; .2, .5; .8, .5; 1, 0"/>
                                        <p:tgtEl>
                                          <p:spTgt spid="149"/>
                                        </p:tgtEl>
                                      </p:cBhvr>
                                    </p:animEffect>
                                    <p:animScale>
                                      <p:cBhvr>
                                        <p:cTn id="552" dur="1000" autoRev="1" fill="hold"/>
                                        <p:tgtEl>
                                          <p:spTgt spid="149"/>
                                        </p:tgtEl>
                                      </p:cBhvr>
                                      <p:by x="105000" y="105000"/>
                                    </p:animScale>
                                  </p:childTnLst>
                                </p:cTn>
                              </p:par>
                              <p:par>
                                <p:cTn id="553" presetID="26" presetClass="emph" presetSubtype="0" dur="2000" repeatCount="indefinite" fill="hold" grpId="0" nodeType="withEffect">
                                  <p:stCondLst>
                                    <p:cond delay="3500"/>
                                  </p:stCondLst>
                                  <p:childTnLst>
                                    <p:animEffect transition="out" filter="fade">
                                      <p:cBhvr>
                                        <p:cTn id="554" dur="2000" tmFilter="0, 0; .2, .5; .8, .5; 1, 0"/>
                                        <p:tgtEl>
                                          <p:spTgt spid="166"/>
                                        </p:tgtEl>
                                      </p:cBhvr>
                                    </p:animEffect>
                                    <p:animScale>
                                      <p:cBhvr>
                                        <p:cTn id="555" dur="1000" autoRev="1" fill="hold"/>
                                        <p:tgtEl>
                                          <p:spTgt spid="166"/>
                                        </p:tgtEl>
                                      </p:cBhvr>
                                      <p:by x="105000" y="105000"/>
                                    </p:animScale>
                                  </p:childTnLst>
                                </p:cTn>
                              </p:par>
                              <p:par>
                                <p:cTn id="556" presetID="26" presetClass="emph" presetSubtype="0" dur="2000" repeatCount="indefinite" fill="hold" grpId="0" nodeType="withEffect">
                                  <p:stCondLst>
                                    <p:cond delay="3500"/>
                                  </p:stCondLst>
                                  <p:childTnLst>
                                    <p:animEffect transition="out" filter="fade">
                                      <p:cBhvr>
                                        <p:cTn id="557" dur="2000" tmFilter="0, 0; .2, .5; .8, .5; 1, 0"/>
                                        <p:tgtEl>
                                          <p:spTgt spid="183"/>
                                        </p:tgtEl>
                                      </p:cBhvr>
                                    </p:animEffect>
                                    <p:animScale>
                                      <p:cBhvr>
                                        <p:cTn id="558" dur="1000" autoRev="1" fill="hold"/>
                                        <p:tgtEl>
                                          <p:spTgt spid="183"/>
                                        </p:tgtEl>
                                      </p:cBhvr>
                                      <p:by x="105000" y="105000"/>
                                    </p:animScale>
                                  </p:childTnLst>
                                </p:cTn>
                              </p:par>
                              <p:par>
                                <p:cTn id="559" presetID="26" presetClass="emph" presetSubtype="0" dur="2000" repeatCount="indefinite" fill="hold" grpId="0" nodeType="withEffect">
                                  <p:stCondLst>
                                    <p:cond delay="3500"/>
                                  </p:stCondLst>
                                  <p:childTnLst>
                                    <p:animEffect transition="out" filter="fade">
                                      <p:cBhvr>
                                        <p:cTn id="560" dur="2000" tmFilter="0, 0; .2, .5; .8, .5; 1, 0"/>
                                        <p:tgtEl>
                                          <p:spTgt spid="200"/>
                                        </p:tgtEl>
                                      </p:cBhvr>
                                    </p:animEffect>
                                    <p:animScale>
                                      <p:cBhvr>
                                        <p:cTn id="561" dur="1000" autoRev="1" fill="hold"/>
                                        <p:tgtEl>
                                          <p:spTgt spid="200"/>
                                        </p:tgtEl>
                                      </p:cBhvr>
                                      <p:by x="105000" y="105000"/>
                                    </p:animScale>
                                  </p:childTnLst>
                                </p:cTn>
                              </p:par>
                              <p:par>
                                <p:cTn id="562" presetID="26" presetClass="emph" presetSubtype="0" dur="2000" repeatCount="indefinite" fill="hold" grpId="0" nodeType="withEffect">
                                  <p:stCondLst>
                                    <p:cond delay="3500"/>
                                  </p:stCondLst>
                                  <p:childTnLst>
                                    <p:animEffect transition="out" filter="fade">
                                      <p:cBhvr>
                                        <p:cTn id="563" dur="2000" tmFilter="0, 0; .2, .5; .8, .5; 1, 0"/>
                                        <p:tgtEl>
                                          <p:spTgt spid="217"/>
                                        </p:tgtEl>
                                      </p:cBhvr>
                                    </p:animEffect>
                                    <p:animScale>
                                      <p:cBhvr>
                                        <p:cTn id="564" dur="1000" autoRev="1" fill="hold"/>
                                        <p:tgtEl>
                                          <p:spTgt spid="217"/>
                                        </p:tgtEl>
                                      </p:cBhvr>
                                      <p:by x="105000" y="105000"/>
                                    </p:animScale>
                                  </p:childTnLst>
                                </p:cTn>
                              </p:par>
                              <p:par>
                                <p:cTn id="565" presetID="26" presetClass="emph" presetSubtype="0" dur="2000" repeatCount="indefinite" fill="hold" grpId="0" nodeType="withEffect">
                                  <p:stCondLst>
                                    <p:cond delay="3500"/>
                                  </p:stCondLst>
                                  <p:childTnLst>
                                    <p:animEffect transition="out" filter="fade">
                                      <p:cBhvr>
                                        <p:cTn id="566" dur="2000" tmFilter="0, 0; .2, .5; .8, .5; 1, 0"/>
                                        <p:tgtEl>
                                          <p:spTgt spid="233"/>
                                        </p:tgtEl>
                                      </p:cBhvr>
                                    </p:animEffect>
                                    <p:animScale>
                                      <p:cBhvr>
                                        <p:cTn id="567" dur="1000" autoRev="1" fill="hold"/>
                                        <p:tgtEl>
                                          <p:spTgt spid="233"/>
                                        </p:tgtEl>
                                      </p:cBhvr>
                                      <p:by x="105000" y="105000"/>
                                    </p:animScale>
                                  </p:childTnLst>
                                </p:cTn>
                              </p:par>
                              <p:par>
                                <p:cTn id="568" presetID="26" presetClass="emph" presetSubtype="0" dur="2000" repeatCount="indefinite" fill="hold" grpId="0" nodeType="withEffect">
                                  <p:stCondLst>
                                    <p:cond delay="3750"/>
                                  </p:stCondLst>
                                  <p:childTnLst>
                                    <p:animEffect transition="out" filter="fade">
                                      <p:cBhvr>
                                        <p:cTn id="569" dur="2000" tmFilter="0, 0; .2, .5; .8, .5; 1, 0"/>
                                        <p:tgtEl>
                                          <p:spTgt spid="37"/>
                                        </p:tgtEl>
                                      </p:cBhvr>
                                    </p:animEffect>
                                    <p:animScale>
                                      <p:cBhvr>
                                        <p:cTn id="570" dur="1000" autoRev="1" fill="hold"/>
                                        <p:tgtEl>
                                          <p:spTgt spid="37"/>
                                        </p:tgtEl>
                                      </p:cBhvr>
                                      <p:by x="105000" y="105000"/>
                                    </p:animScale>
                                  </p:childTnLst>
                                </p:cTn>
                              </p:par>
                              <p:par>
                                <p:cTn id="571" presetID="26" presetClass="emph" presetSubtype="0" dur="2000" repeatCount="indefinite" fill="hold" grpId="0" nodeType="withEffect">
                                  <p:stCondLst>
                                    <p:cond delay="3750"/>
                                  </p:stCondLst>
                                  <p:childTnLst>
                                    <p:animEffect transition="out" filter="fade">
                                      <p:cBhvr>
                                        <p:cTn id="572" dur="2000" tmFilter="0, 0; .2, .5; .8, .5; 1, 0"/>
                                        <p:tgtEl>
                                          <p:spTgt spid="53"/>
                                        </p:tgtEl>
                                      </p:cBhvr>
                                    </p:animEffect>
                                    <p:animScale>
                                      <p:cBhvr>
                                        <p:cTn id="573" dur="1000" autoRev="1" fill="hold"/>
                                        <p:tgtEl>
                                          <p:spTgt spid="53"/>
                                        </p:tgtEl>
                                      </p:cBhvr>
                                      <p:by x="105000" y="105000"/>
                                    </p:animScale>
                                  </p:childTnLst>
                                </p:cTn>
                              </p:par>
                              <p:par>
                                <p:cTn id="574" presetID="26" presetClass="emph" presetSubtype="0" dur="2000" repeatCount="indefinite" fill="hold" grpId="0" nodeType="withEffect">
                                  <p:stCondLst>
                                    <p:cond delay="3750"/>
                                  </p:stCondLst>
                                  <p:childTnLst>
                                    <p:animEffect transition="out" filter="fade">
                                      <p:cBhvr>
                                        <p:cTn id="575" dur="2000" tmFilter="0, 0; .2, .5; .8, .5; 1, 0"/>
                                        <p:tgtEl>
                                          <p:spTgt spid="69"/>
                                        </p:tgtEl>
                                      </p:cBhvr>
                                    </p:animEffect>
                                    <p:animScale>
                                      <p:cBhvr>
                                        <p:cTn id="576" dur="1000" autoRev="1" fill="hold"/>
                                        <p:tgtEl>
                                          <p:spTgt spid="69"/>
                                        </p:tgtEl>
                                      </p:cBhvr>
                                      <p:by x="105000" y="105000"/>
                                    </p:animScale>
                                  </p:childTnLst>
                                </p:cTn>
                              </p:par>
                              <p:par>
                                <p:cTn id="577" presetID="26" presetClass="emph" presetSubtype="0" dur="2000" repeatCount="indefinite" fill="hold" grpId="0" nodeType="withEffect">
                                  <p:stCondLst>
                                    <p:cond delay="3750"/>
                                  </p:stCondLst>
                                  <p:childTnLst>
                                    <p:animEffect transition="out" filter="fade">
                                      <p:cBhvr>
                                        <p:cTn id="578" dur="2000" tmFilter="0, 0; .2, .5; .8, .5; 1, 0"/>
                                        <p:tgtEl>
                                          <p:spTgt spid="85"/>
                                        </p:tgtEl>
                                      </p:cBhvr>
                                    </p:animEffect>
                                    <p:animScale>
                                      <p:cBhvr>
                                        <p:cTn id="579" dur="1000" autoRev="1" fill="hold"/>
                                        <p:tgtEl>
                                          <p:spTgt spid="85"/>
                                        </p:tgtEl>
                                      </p:cBhvr>
                                      <p:by x="105000" y="105000"/>
                                    </p:animScale>
                                  </p:childTnLst>
                                </p:cTn>
                              </p:par>
                              <p:par>
                                <p:cTn id="580" presetID="26" presetClass="emph" presetSubtype="0" dur="2000" repeatCount="indefinite" fill="hold" grpId="0" nodeType="withEffect">
                                  <p:stCondLst>
                                    <p:cond delay="3750"/>
                                  </p:stCondLst>
                                  <p:childTnLst>
                                    <p:animEffect transition="out" filter="fade">
                                      <p:cBhvr>
                                        <p:cTn id="581" dur="2000" tmFilter="0, 0; .2, .5; .8, .5; 1, 0"/>
                                        <p:tgtEl>
                                          <p:spTgt spid="101"/>
                                        </p:tgtEl>
                                      </p:cBhvr>
                                    </p:animEffect>
                                    <p:animScale>
                                      <p:cBhvr>
                                        <p:cTn id="582" dur="1000" autoRev="1" fill="hold"/>
                                        <p:tgtEl>
                                          <p:spTgt spid="101"/>
                                        </p:tgtEl>
                                      </p:cBhvr>
                                      <p:by x="105000" y="105000"/>
                                    </p:animScale>
                                  </p:childTnLst>
                                </p:cTn>
                              </p:par>
                              <p:par>
                                <p:cTn id="583" presetID="26" presetClass="emph" presetSubtype="0" dur="2000" repeatCount="indefinite" fill="hold" grpId="0" nodeType="withEffect">
                                  <p:stCondLst>
                                    <p:cond delay="3750"/>
                                  </p:stCondLst>
                                  <p:childTnLst>
                                    <p:animEffect transition="out" filter="fade">
                                      <p:cBhvr>
                                        <p:cTn id="584" dur="2000" tmFilter="0, 0; .2, .5; .8, .5; 1, 0"/>
                                        <p:tgtEl>
                                          <p:spTgt spid="117"/>
                                        </p:tgtEl>
                                      </p:cBhvr>
                                    </p:animEffect>
                                    <p:animScale>
                                      <p:cBhvr>
                                        <p:cTn id="585" dur="1000" autoRev="1" fill="hold"/>
                                        <p:tgtEl>
                                          <p:spTgt spid="117"/>
                                        </p:tgtEl>
                                      </p:cBhvr>
                                      <p:by x="105000" y="105000"/>
                                    </p:animScale>
                                  </p:childTnLst>
                                </p:cTn>
                              </p:par>
                              <p:par>
                                <p:cTn id="586" presetID="26" presetClass="emph" presetSubtype="0" dur="2000" repeatCount="indefinite" fill="hold" grpId="0" nodeType="withEffect">
                                  <p:stCondLst>
                                    <p:cond delay="3750"/>
                                  </p:stCondLst>
                                  <p:childTnLst>
                                    <p:animEffect transition="out" filter="fade">
                                      <p:cBhvr>
                                        <p:cTn id="587" dur="2000" tmFilter="0, 0; .2, .5; .8, .5; 1, 0"/>
                                        <p:tgtEl>
                                          <p:spTgt spid="133"/>
                                        </p:tgtEl>
                                      </p:cBhvr>
                                    </p:animEffect>
                                    <p:animScale>
                                      <p:cBhvr>
                                        <p:cTn id="588" dur="1000" autoRev="1" fill="hold"/>
                                        <p:tgtEl>
                                          <p:spTgt spid="133"/>
                                        </p:tgtEl>
                                      </p:cBhvr>
                                      <p:by x="105000" y="105000"/>
                                    </p:animScale>
                                  </p:childTnLst>
                                </p:cTn>
                              </p:par>
                              <p:par>
                                <p:cTn id="589" presetID="26" presetClass="emph" presetSubtype="0" dur="2000" repeatCount="indefinite" fill="hold" grpId="0" nodeType="withEffect">
                                  <p:stCondLst>
                                    <p:cond delay="3750"/>
                                  </p:stCondLst>
                                  <p:childTnLst>
                                    <p:animEffect transition="out" filter="fade">
                                      <p:cBhvr>
                                        <p:cTn id="590" dur="2000" tmFilter="0, 0; .2, .5; .8, .5; 1, 0"/>
                                        <p:tgtEl>
                                          <p:spTgt spid="150"/>
                                        </p:tgtEl>
                                      </p:cBhvr>
                                    </p:animEffect>
                                    <p:animScale>
                                      <p:cBhvr>
                                        <p:cTn id="591" dur="1000" autoRev="1" fill="hold"/>
                                        <p:tgtEl>
                                          <p:spTgt spid="150"/>
                                        </p:tgtEl>
                                      </p:cBhvr>
                                      <p:by x="105000" y="105000"/>
                                    </p:animScale>
                                  </p:childTnLst>
                                </p:cTn>
                              </p:par>
                              <p:par>
                                <p:cTn id="592" presetID="26" presetClass="emph" presetSubtype="0" dur="2000" repeatCount="indefinite" fill="hold" grpId="0" nodeType="withEffect">
                                  <p:stCondLst>
                                    <p:cond delay="3750"/>
                                  </p:stCondLst>
                                  <p:childTnLst>
                                    <p:animEffect transition="out" filter="fade">
                                      <p:cBhvr>
                                        <p:cTn id="593" dur="2000" tmFilter="0, 0; .2, .5; .8, .5; 1, 0"/>
                                        <p:tgtEl>
                                          <p:spTgt spid="167"/>
                                        </p:tgtEl>
                                      </p:cBhvr>
                                    </p:animEffect>
                                    <p:animScale>
                                      <p:cBhvr>
                                        <p:cTn id="594" dur="1000" autoRev="1" fill="hold"/>
                                        <p:tgtEl>
                                          <p:spTgt spid="167"/>
                                        </p:tgtEl>
                                      </p:cBhvr>
                                      <p:by x="105000" y="105000"/>
                                    </p:animScale>
                                  </p:childTnLst>
                                </p:cTn>
                              </p:par>
                              <p:par>
                                <p:cTn id="595" presetID="26" presetClass="emph" presetSubtype="0" dur="2000" repeatCount="indefinite" fill="hold" grpId="0" nodeType="withEffect">
                                  <p:stCondLst>
                                    <p:cond delay="3750"/>
                                  </p:stCondLst>
                                  <p:childTnLst>
                                    <p:animEffect transition="out" filter="fade">
                                      <p:cBhvr>
                                        <p:cTn id="596" dur="2000" tmFilter="0, 0; .2, .5; .8, .5; 1, 0"/>
                                        <p:tgtEl>
                                          <p:spTgt spid="184"/>
                                        </p:tgtEl>
                                      </p:cBhvr>
                                    </p:animEffect>
                                    <p:animScale>
                                      <p:cBhvr>
                                        <p:cTn id="597" dur="1000" autoRev="1" fill="hold"/>
                                        <p:tgtEl>
                                          <p:spTgt spid="184"/>
                                        </p:tgtEl>
                                      </p:cBhvr>
                                      <p:by x="105000" y="105000"/>
                                    </p:animScale>
                                  </p:childTnLst>
                                </p:cTn>
                              </p:par>
                              <p:par>
                                <p:cTn id="598" presetID="26" presetClass="emph" presetSubtype="0" dur="2000" repeatCount="indefinite" fill="hold" grpId="0" nodeType="withEffect">
                                  <p:stCondLst>
                                    <p:cond delay="3750"/>
                                  </p:stCondLst>
                                  <p:childTnLst>
                                    <p:animEffect transition="out" filter="fade">
                                      <p:cBhvr>
                                        <p:cTn id="599" dur="2000" tmFilter="0, 0; .2, .5; .8, .5; 1, 0"/>
                                        <p:tgtEl>
                                          <p:spTgt spid="201"/>
                                        </p:tgtEl>
                                      </p:cBhvr>
                                    </p:animEffect>
                                    <p:animScale>
                                      <p:cBhvr>
                                        <p:cTn id="600" dur="1000" autoRev="1" fill="hold"/>
                                        <p:tgtEl>
                                          <p:spTgt spid="201"/>
                                        </p:tgtEl>
                                      </p:cBhvr>
                                      <p:by x="105000" y="105000"/>
                                    </p:animScale>
                                  </p:childTnLst>
                                </p:cTn>
                              </p:par>
                              <p:par>
                                <p:cTn id="601" presetID="26" presetClass="emph" presetSubtype="0" dur="2000" repeatCount="indefinite" fill="hold" grpId="0" nodeType="withEffect">
                                  <p:stCondLst>
                                    <p:cond delay="3750"/>
                                  </p:stCondLst>
                                  <p:childTnLst>
                                    <p:animEffect transition="out" filter="fade">
                                      <p:cBhvr>
                                        <p:cTn id="602" dur="2000" tmFilter="0, 0; .2, .5; .8, .5; 1, 0"/>
                                        <p:tgtEl>
                                          <p:spTgt spid="218"/>
                                        </p:tgtEl>
                                      </p:cBhvr>
                                    </p:animEffect>
                                    <p:animScale>
                                      <p:cBhvr>
                                        <p:cTn id="603" dur="1000" autoRev="1" fill="hold"/>
                                        <p:tgtEl>
                                          <p:spTgt spid="218"/>
                                        </p:tgtEl>
                                      </p:cBhvr>
                                      <p:by x="105000" y="105000"/>
                                    </p:animScale>
                                  </p:childTnLst>
                                </p:cTn>
                              </p:par>
                              <p:par>
                                <p:cTn id="604" presetID="26" presetClass="emph" presetSubtype="0" dur="2000" repeatCount="indefinite" fill="hold" grpId="0" nodeType="withEffect">
                                  <p:stCondLst>
                                    <p:cond delay="4000"/>
                                  </p:stCondLst>
                                  <p:childTnLst>
                                    <p:animEffect transition="out" filter="fade">
                                      <p:cBhvr>
                                        <p:cTn id="605" dur="2000" tmFilter="0, 0; .2, .5; .8, .5; 1, 0"/>
                                        <p:tgtEl>
                                          <p:spTgt spid="54"/>
                                        </p:tgtEl>
                                      </p:cBhvr>
                                    </p:animEffect>
                                    <p:animScale>
                                      <p:cBhvr>
                                        <p:cTn id="606" dur="1000" autoRev="1" fill="hold"/>
                                        <p:tgtEl>
                                          <p:spTgt spid="54"/>
                                        </p:tgtEl>
                                      </p:cBhvr>
                                      <p:by x="105000" y="105000"/>
                                    </p:animScale>
                                  </p:childTnLst>
                                </p:cTn>
                              </p:par>
                              <p:par>
                                <p:cTn id="607" presetID="26" presetClass="emph" presetSubtype="0" dur="2000" repeatCount="indefinite" fill="hold" grpId="0" nodeType="withEffect">
                                  <p:stCondLst>
                                    <p:cond delay="4000"/>
                                  </p:stCondLst>
                                  <p:childTnLst>
                                    <p:animEffect transition="out" filter="fade">
                                      <p:cBhvr>
                                        <p:cTn id="608" dur="2000" tmFilter="0, 0; .2, .5; .8, .5; 1, 0"/>
                                        <p:tgtEl>
                                          <p:spTgt spid="70"/>
                                        </p:tgtEl>
                                      </p:cBhvr>
                                    </p:animEffect>
                                    <p:animScale>
                                      <p:cBhvr>
                                        <p:cTn id="609" dur="1000" autoRev="1" fill="hold"/>
                                        <p:tgtEl>
                                          <p:spTgt spid="70"/>
                                        </p:tgtEl>
                                      </p:cBhvr>
                                      <p:by x="105000" y="105000"/>
                                    </p:animScale>
                                  </p:childTnLst>
                                </p:cTn>
                              </p:par>
                              <p:par>
                                <p:cTn id="610" presetID="26" presetClass="emph" presetSubtype="0" dur="2000" repeatCount="indefinite" fill="hold" grpId="0" nodeType="withEffect">
                                  <p:stCondLst>
                                    <p:cond delay="4000"/>
                                  </p:stCondLst>
                                  <p:childTnLst>
                                    <p:animEffect transition="out" filter="fade">
                                      <p:cBhvr>
                                        <p:cTn id="611" dur="2000" tmFilter="0, 0; .2, .5; .8, .5; 1, 0"/>
                                        <p:tgtEl>
                                          <p:spTgt spid="86"/>
                                        </p:tgtEl>
                                      </p:cBhvr>
                                    </p:animEffect>
                                    <p:animScale>
                                      <p:cBhvr>
                                        <p:cTn id="612" dur="1000" autoRev="1" fill="hold"/>
                                        <p:tgtEl>
                                          <p:spTgt spid="86"/>
                                        </p:tgtEl>
                                      </p:cBhvr>
                                      <p:by x="105000" y="105000"/>
                                    </p:animScale>
                                  </p:childTnLst>
                                </p:cTn>
                              </p:par>
                              <p:par>
                                <p:cTn id="613" presetID="26" presetClass="emph" presetSubtype="0" dur="2000" repeatCount="indefinite" fill="hold" grpId="0" nodeType="withEffect">
                                  <p:stCondLst>
                                    <p:cond delay="4000"/>
                                  </p:stCondLst>
                                  <p:childTnLst>
                                    <p:animEffect transition="out" filter="fade">
                                      <p:cBhvr>
                                        <p:cTn id="614" dur="2000" tmFilter="0, 0; .2, .5; .8, .5; 1, 0"/>
                                        <p:tgtEl>
                                          <p:spTgt spid="102"/>
                                        </p:tgtEl>
                                      </p:cBhvr>
                                    </p:animEffect>
                                    <p:animScale>
                                      <p:cBhvr>
                                        <p:cTn id="615" dur="1000" autoRev="1" fill="hold"/>
                                        <p:tgtEl>
                                          <p:spTgt spid="102"/>
                                        </p:tgtEl>
                                      </p:cBhvr>
                                      <p:by x="105000" y="105000"/>
                                    </p:animScale>
                                  </p:childTnLst>
                                </p:cTn>
                              </p:par>
                              <p:par>
                                <p:cTn id="616" presetID="26" presetClass="emph" presetSubtype="0" dur="2000" repeatCount="indefinite" fill="hold" grpId="0" nodeType="withEffect">
                                  <p:stCondLst>
                                    <p:cond delay="4000"/>
                                  </p:stCondLst>
                                  <p:childTnLst>
                                    <p:animEffect transition="out" filter="fade">
                                      <p:cBhvr>
                                        <p:cTn id="617" dur="2000" tmFilter="0, 0; .2, .5; .8, .5; 1, 0"/>
                                        <p:tgtEl>
                                          <p:spTgt spid="118"/>
                                        </p:tgtEl>
                                      </p:cBhvr>
                                    </p:animEffect>
                                    <p:animScale>
                                      <p:cBhvr>
                                        <p:cTn id="618" dur="1000" autoRev="1" fill="hold"/>
                                        <p:tgtEl>
                                          <p:spTgt spid="118"/>
                                        </p:tgtEl>
                                      </p:cBhvr>
                                      <p:by x="105000" y="105000"/>
                                    </p:animScale>
                                  </p:childTnLst>
                                </p:cTn>
                              </p:par>
                              <p:par>
                                <p:cTn id="619" presetID="26" presetClass="emph" presetSubtype="0" dur="2000" repeatCount="indefinite" fill="hold" grpId="0" nodeType="withEffect">
                                  <p:stCondLst>
                                    <p:cond delay="4000"/>
                                  </p:stCondLst>
                                  <p:childTnLst>
                                    <p:animEffect transition="out" filter="fade">
                                      <p:cBhvr>
                                        <p:cTn id="620" dur="2000" tmFilter="0, 0; .2, .5; .8, .5; 1, 0"/>
                                        <p:tgtEl>
                                          <p:spTgt spid="134"/>
                                        </p:tgtEl>
                                      </p:cBhvr>
                                    </p:animEffect>
                                    <p:animScale>
                                      <p:cBhvr>
                                        <p:cTn id="621" dur="1000" autoRev="1" fill="hold"/>
                                        <p:tgtEl>
                                          <p:spTgt spid="134"/>
                                        </p:tgtEl>
                                      </p:cBhvr>
                                      <p:by x="105000" y="105000"/>
                                    </p:animScale>
                                  </p:childTnLst>
                                </p:cTn>
                              </p:par>
                              <p:par>
                                <p:cTn id="622" presetID="26" presetClass="emph" presetSubtype="0" dur="2000" repeatCount="indefinite" fill="hold" grpId="0" nodeType="withEffect">
                                  <p:stCondLst>
                                    <p:cond delay="4000"/>
                                  </p:stCondLst>
                                  <p:childTnLst>
                                    <p:animEffect transition="out" filter="fade">
                                      <p:cBhvr>
                                        <p:cTn id="623" dur="2000" tmFilter="0, 0; .2, .5; .8, .5; 1, 0"/>
                                        <p:tgtEl>
                                          <p:spTgt spid="151"/>
                                        </p:tgtEl>
                                      </p:cBhvr>
                                    </p:animEffect>
                                    <p:animScale>
                                      <p:cBhvr>
                                        <p:cTn id="624" dur="1000" autoRev="1" fill="hold"/>
                                        <p:tgtEl>
                                          <p:spTgt spid="151"/>
                                        </p:tgtEl>
                                      </p:cBhvr>
                                      <p:by x="105000" y="105000"/>
                                    </p:animScale>
                                  </p:childTnLst>
                                </p:cTn>
                              </p:par>
                              <p:par>
                                <p:cTn id="625" presetID="26" presetClass="emph" presetSubtype="0" dur="2000" repeatCount="indefinite" fill="hold" grpId="0" nodeType="withEffect">
                                  <p:stCondLst>
                                    <p:cond delay="4000"/>
                                  </p:stCondLst>
                                  <p:childTnLst>
                                    <p:animEffect transition="out" filter="fade">
                                      <p:cBhvr>
                                        <p:cTn id="626" dur="2000" tmFilter="0, 0; .2, .5; .8, .5; 1, 0"/>
                                        <p:tgtEl>
                                          <p:spTgt spid="168"/>
                                        </p:tgtEl>
                                      </p:cBhvr>
                                    </p:animEffect>
                                    <p:animScale>
                                      <p:cBhvr>
                                        <p:cTn id="627" dur="1000" autoRev="1" fill="hold"/>
                                        <p:tgtEl>
                                          <p:spTgt spid="168"/>
                                        </p:tgtEl>
                                      </p:cBhvr>
                                      <p:by x="105000" y="105000"/>
                                    </p:animScale>
                                  </p:childTnLst>
                                </p:cTn>
                              </p:par>
                              <p:par>
                                <p:cTn id="628" presetID="26" presetClass="emph" presetSubtype="0" dur="2000" repeatCount="indefinite" fill="hold" grpId="0" nodeType="withEffect">
                                  <p:stCondLst>
                                    <p:cond delay="4000"/>
                                  </p:stCondLst>
                                  <p:childTnLst>
                                    <p:animEffect transition="out" filter="fade">
                                      <p:cBhvr>
                                        <p:cTn id="629" dur="2000" tmFilter="0, 0; .2, .5; .8, .5; 1, 0"/>
                                        <p:tgtEl>
                                          <p:spTgt spid="185"/>
                                        </p:tgtEl>
                                      </p:cBhvr>
                                    </p:animEffect>
                                    <p:animScale>
                                      <p:cBhvr>
                                        <p:cTn id="630" dur="1000" autoRev="1" fill="hold"/>
                                        <p:tgtEl>
                                          <p:spTgt spid="185"/>
                                        </p:tgtEl>
                                      </p:cBhvr>
                                      <p:by x="105000" y="105000"/>
                                    </p:animScale>
                                  </p:childTnLst>
                                </p:cTn>
                              </p:par>
                              <p:par>
                                <p:cTn id="631" presetID="26" presetClass="emph" presetSubtype="0" dur="2000" repeatCount="indefinite" fill="hold" grpId="0" nodeType="withEffect">
                                  <p:stCondLst>
                                    <p:cond delay="4000"/>
                                  </p:stCondLst>
                                  <p:childTnLst>
                                    <p:animEffect transition="out" filter="fade">
                                      <p:cBhvr>
                                        <p:cTn id="632" dur="2000" tmFilter="0, 0; .2, .5; .8, .5; 1, 0"/>
                                        <p:tgtEl>
                                          <p:spTgt spid="202"/>
                                        </p:tgtEl>
                                      </p:cBhvr>
                                    </p:animEffect>
                                    <p:animScale>
                                      <p:cBhvr>
                                        <p:cTn id="633" dur="1000" autoRev="1" fill="hold"/>
                                        <p:tgtEl>
                                          <p:spTgt spid="202"/>
                                        </p:tgtEl>
                                      </p:cBhvr>
                                      <p:by x="105000" y="105000"/>
                                    </p:animScale>
                                  </p:childTnLst>
                                </p:cTn>
                              </p:par>
                              <p:par>
                                <p:cTn id="634" presetID="26" presetClass="emph" presetSubtype="0" dur="2000" repeatCount="indefinite" fill="hold" grpId="0" nodeType="withEffect">
                                  <p:stCondLst>
                                    <p:cond delay="4250"/>
                                  </p:stCondLst>
                                  <p:childTnLst>
                                    <p:animEffect transition="out" filter="fade">
                                      <p:cBhvr>
                                        <p:cTn id="635" dur="2000" tmFilter="0, 0; .2, .5; .8, .5; 1, 0"/>
                                        <p:tgtEl>
                                          <p:spTgt spid="71"/>
                                        </p:tgtEl>
                                      </p:cBhvr>
                                    </p:animEffect>
                                    <p:animScale>
                                      <p:cBhvr>
                                        <p:cTn id="636" dur="1000" autoRev="1" fill="hold"/>
                                        <p:tgtEl>
                                          <p:spTgt spid="71"/>
                                        </p:tgtEl>
                                      </p:cBhvr>
                                      <p:by x="105000" y="105000"/>
                                    </p:animScale>
                                  </p:childTnLst>
                                </p:cTn>
                              </p:par>
                              <p:par>
                                <p:cTn id="637" presetID="26" presetClass="emph" presetSubtype="0" dur="2000" repeatCount="indefinite" fill="hold" grpId="0" nodeType="withEffect">
                                  <p:stCondLst>
                                    <p:cond delay="4250"/>
                                  </p:stCondLst>
                                  <p:childTnLst>
                                    <p:animEffect transition="out" filter="fade">
                                      <p:cBhvr>
                                        <p:cTn id="638" dur="2000" tmFilter="0, 0; .2, .5; .8, .5; 1, 0"/>
                                        <p:tgtEl>
                                          <p:spTgt spid="87"/>
                                        </p:tgtEl>
                                      </p:cBhvr>
                                    </p:animEffect>
                                    <p:animScale>
                                      <p:cBhvr>
                                        <p:cTn id="639" dur="1000" autoRev="1" fill="hold"/>
                                        <p:tgtEl>
                                          <p:spTgt spid="87"/>
                                        </p:tgtEl>
                                      </p:cBhvr>
                                      <p:by x="105000" y="105000"/>
                                    </p:animScale>
                                  </p:childTnLst>
                                </p:cTn>
                              </p:par>
                              <p:par>
                                <p:cTn id="640" presetID="26" presetClass="emph" presetSubtype="0" dur="2000" repeatCount="indefinite" fill="hold" grpId="0" nodeType="withEffect">
                                  <p:stCondLst>
                                    <p:cond delay="4250"/>
                                  </p:stCondLst>
                                  <p:childTnLst>
                                    <p:animEffect transition="out" filter="fade">
                                      <p:cBhvr>
                                        <p:cTn id="641" dur="2000" tmFilter="0, 0; .2, .5; .8, .5; 1, 0"/>
                                        <p:tgtEl>
                                          <p:spTgt spid="103"/>
                                        </p:tgtEl>
                                      </p:cBhvr>
                                    </p:animEffect>
                                    <p:animScale>
                                      <p:cBhvr>
                                        <p:cTn id="642" dur="1000" autoRev="1" fill="hold"/>
                                        <p:tgtEl>
                                          <p:spTgt spid="103"/>
                                        </p:tgtEl>
                                      </p:cBhvr>
                                      <p:by x="105000" y="105000"/>
                                    </p:animScale>
                                  </p:childTnLst>
                                </p:cTn>
                              </p:par>
                              <p:par>
                                <p:cTn id="643" presetID="26" presetClass="emph" presetSubtype="0" dur="2000" repeatCount="indefinite" fill="hold" grpId="0" nodeType="withEffect">
                                  <p:stCondLst>
                                    <p:cond delay="4250"/>
                                  </p:stCondLst>
                                  <p:childTnLst>
                                    <p:animEffect transition="out" filter="fade">
                                      <p:cBhvr>
                                        <p:cTn id="644" dur="2000" tmFilter="0, 0; .2, .5; .8, .5; 1, 0"/>
                                        <p:tgtEl>
                                          <p:spTgt spid="119"/>
                                        </p:tgtEl>
                                      </p:cBhvr>
                                    </p:animEffect>
                                    <p:animScale>
                                      <p:cBhvr>
                                        <p:cTn id="645" dur="1000" autoRev="1" fill="hold"/>
                                        <p:tgtEl>
                                          <p:spTgt spid="119"/>
                                        </p:tgtEl>
                                      </p:cBhvr>
                                      <p:by x="105000" y="105000"/>
                                    </p:animScale>
                                  </p:childTnLst>
                                </p:cTn>
                              </p:par>
                              <p:par>
                                <p:cTn id="646" presetID="26" presetClass="emph" presetSubtype="0" dur="2000" repeatCount="indefinite" fill="hold" grpId="0" nodeType="withEffect">
                                  <p:stCondLst>
                                    <p:cond delay="4250"/>
                                  </p:stCondLst>
                                  <p:childTnLst>
                                    <p:animEffect transition="out" filter="fade">
                                      <p:cBhvr>
                                        <p:cTn id="647" dur="2000" tmFilter="0, 0; .2, .5; .8, .5; 1, 0"/>
                                        <p:tgtEl>
                                          <p:spTgt spid="135"/>
                                        </p:tgtEl>
                                      </p:cBhvr>
                                    </p:animEffect>
                                    <p:animScale>
                                      <p:cBhvr>
                                        <p:cTn id="648" dur="1000" autoRev="1" fill="hold"/>
                                        <p:tgtEl>
                                          <p:spTgt spid="135"/>
                                        </p:tgtEl>
                                      </p:cBhvr>
                                      <p:by x="105000" y="105000"/>
                                    </p:animScale>
                                  </p:childTnLst>
                                </p:cTn>
                              </p:par>
                              <p:par>
                                <p:cTn id="649" presetID="26" presetClass="emph" presetSubtype="0" dur="2000" repeatCount="indefinite" fill="hold" grpId="0" nodeType="withEffect">
                                  <p:stCondLst>
                                    <p:cond delay="4250"/>
                                  </p:stCondLst>
                                  <p:childTnLst>
                                    <p:animEffect transition="out" filter="fade">
                                      <p:cBhvr>
                                        <p:cTn id="650" dur="2000" tmFilter="0, 0; .2, .5; .8, .5; 1, 0"/>
                                        <p:tgtEl>
                                          <p:spTgt spid="152"/>
                                        </p:tgtEl>
                                      </p:cBhvr>
                                    </p:animEffect>
                                    <p:animScale>
                                      <p:cBhvr>
                                        <p:cTn id="651" dur="1000" autoRev="1" fill="hold"/>
                                        <p:tgtEl>
                                          <p:spTgt spid="152"/>
                                        </p:tgtEl>
                                      </p:cBhvr>
                                      <p:by x="105000" y="105000"/>
                                    </p:animScale>
                                  </p:childTnLst>
                                </p:cTn>
                              </p:par>
                              <p:par>
                                <p:cTn id="652" presetID="26" presetClass="emph" presetSubtype="0" dur="2000" repeatCount="indefinite" fill="hold" grpId="0" nodeType="withEffect">
                                  <p:stCondLst>
                                    <p:cond delay="4250"/>
                                  </p:stCondLst>
                                  <p:childTnLst>
                                    <p:animEffect transition="out" filter="fade">
                                      <p:cBhvr>
                                        <p:cTn id="653" dur="2000" tmFilter="0, 0; .2, .5; .8, .5; 1, 0"/>
                                        <p:tgtEl>
                                          <p:spTgt spid="169"/>
                                        </p:tgtEl>
                                      </p:cBhvr>
                                    </p:animEffect>
                                    <p:animScale>
                                      <p:cBhvr>
                                        <p:cTn id="654" dur="1000" autoRev="1" fill="hold"/>
                                        <p:tgtEl>
                                          <p:spTgt spid="169"/>
                                        </p:tgtEl>
                                      </p:cBhvr>
                                      <p:by x="105000" y="105000"/>
                                    </p:animScale>
                                  </p:childTnLst>
                                </p:cTn>
                              </p:par>
                              <p:par>
                                <p:cTn id="655" presetID="26" presetClass="emph" presetSubtype="0" dur="2000" repeatCount="indefinite" fill="hold" grpId="0" nodeType="withEffect">
                                  <p:stCondLst>
                                    <p:cond delay="4250"/>
                                  </p:stCondLst>
                                  <p:childTnLst>
                                    <p:animEffect transition="out" filter="fade">
                                      <p:cBhvr>
                                        <p:cTn id="656" dur="2000" tmFilter="0, 0; .2, .5; .8, .5; 1, 0"/>
                                        <p:tgtEl>
                                          <p:spTgt spid="186"/>
                                        </p:tgtEl>
                                      </p:cBhvr>
                                    </p:animEffect>
                                    <p:animScale>
                                      <p:cBhvr>
                                        <p:cTn id="657" dur="1000" autoRev="1" fill="hold"/>
                                        <p:tgtEl>
                                          <p:spTgt spid="186"/>
                                        </p:tgtEl>
                                      </p:cBhvr>
                                      <p:by x="105000" y="105000"/>
                                    </p:animScale>
                                  </p:childTnLst>
                                </p:cTn>
                              </p:par>
                              <p:par>
                                <p:cTn id="658" presetID="26" presetClass="emph" presetSubtype="0" dur="2000" repeatCount="indefinite" fill="hold" grpId="0" nodeType="withEffect">
                                  <p:stCondLst>
                                    <p:cond delay="4500"/>
                                  </p:stCondLst>
                                  <p:childTnLst>
                                    <p:animEffect transition="out" filter="fade">
                                      <p:cBhvr>
                                        <p:cTn id="659" dur="2000" tmFilter="0, 0; .2, .5; .8, .5; 1, 0"/>
                                        <p:tgtEl>
                                          <p:spTgt spid="88"/>
                                        </p:tgtEl>
                                      </p:cBhvr>
                                    </p:animEffect>
                                    <p:animScale>
                                      <p:cBhvr>
                                        <p:cTn id="660" dur="1000" autoRev="1" fill="hold"/>
                                        <p:tgtEl>
                                          <p:spTgt spid="88"/>
                                        </p:tgtEl>
                                      </p:cBhvr>
                                      <p:by x="105000" y="105000"/>
                                    </p:animScale>
                                  </p:childTnLst>
                                </p:cTn>
                              </p:par>
                              <p:par>
                                <p:cTn id="661" presetID="26" presetClass="emph" presetSubtype="0" dur="2000" repeatCount="indefinite" fill="hold" grpId="0" nodeType="withEffect">
                                  <p:stCondLst>
                                    <p:cond delay="4500"/>
                                  </p:stCondLst>
                                  <p:childTnLst>
                                    <p:animEffect transition="out" filter="fade">
                                      <p:cBhvr>
                                        <p:cTn id="662" dur="2000" tmFilter="0, 0; .2, .5; .8, .5; 1, 0"/>
                                        <p:tgtEl>
                                          <p:spTgt spid="104"/>
                                        </p:tgtEl>
                                      </p:cBhvr>
                                    </p:animEffect>
                                    <p:animScale>
                                      <p:cBhvr>
                                        <p:cTn id="663" dur="1000" autoRev="1" fill="hold"/>
                                        <p:tgtEl>
                                          <p:spTgt spid="104"/>
                                        </p:tgtEl>
                                      </p:cBhvr>
                                      <p:by x="105000" y="105000"/>
                                    </p:animScale>
                                  </p:childTnLst>
                                </p:cTn>
                              </p:par>
                              <p:par>
                                <p:cTn id="664" presetID="26" presetClass="emph" presetSubtype="0" dur="2000" repeatCount="indefinite" fill="hold" grpId="0" nodeType="withEffect">
                                  <p:stCondLst>
                                    <p:cond delay="4500"/>
                                  </p:stCondLst>
                                  <p:childTnLst>
                                    <p:animEffect transition="out" filter="fade">
                                      <p:cBhvr>
                                        <p:cTn id="665" dur="2000" tmFilter="0, 0; .2, .5; .8, .5; 1, 0"/>
                                        <p:tgtEl>
                                          <p:spTgt spid="120"/>
                                        </p:tgtEl>
                                      </p:cBhvr>
                                    </p:animEffect>
                                    <p:animScale>
                                      <p:cBhvr>
                                        <p:cTn id="666" dur="1000" autoRev="1" fill="hold"/>
                                        <p:tgtEl>
                                          <p:spTgt spid="120"/>
                                        </p:tgtEl>
                                      </p:cBhvr>
                                      <p:by x="105000" y="105000"/>
                                    </p:animScale>
                                  </p:childTnLst>
                                </p:cTn>
                              </p:par>
                              <p:par>
                                <p:cTn id="667" presetID="26" presetClass="emph" presetSubtype="0" dur="2000" repeatCount="indefinite" fill="hold" grpId="0" nodeType="withEffect">
                                  <p:stCondLst>
                                    <p:cond delay="4500"/>
                                  </p:stCondLst>
                                  <p:childTnLst>
                                    <p:animEffect transition="out" filter="fade">
                                      <p:cBhvr>
                                        <p:cTn id="668" dur="2000" tmFilter="0, 0; .2, .5; .8, .5; 1, 0"/>
                                        <p:tgtEl>
                                          <p:spTgt spid="136"/>
                                        </p:tgtEl>
                                      </p:cBhvr>
                                    </p:animEffect>
                                    <p:animScale>
                                      <p:cBhvr>
                                        <p:cTn id="669" dur="1000" autoRev="1" fill="hold"/>
                                        <p:tgtEl>
                                          <p:spTgt spid="136"/>
                                        </p:tgtEl>
                                      </p:cBhvr>
                                      <p:by x="105000" y="105000"/>
                                    </p:animScale>
                                  </p:childTnLst>
                                </p:cTn>
                              </p:par>
                              <p:par>
                                <p:cTn id="670" presetID="26" presetClass="emph" presetSubtype="0" dur="2000" repeatCount="indefinite" fill="hold" grpId="0" nodeType="withEffect">
                                  <p:stCondLst>
                                    <p:cond delay="4500"/>
                                  </p:stCondLst>
                                  <p:childTnLst>
                                    <p:animEffect transition="out" filter="fade">
                                      <p:cBhvr>
                                        <p:cTn id="671" dur="2000" tmFilter="0, 0; .2, .5; .8, .5; 1, 0"/>
                                        <p:tgtEl>
                                          <p:spTgt spid="153"/>
                                        </p:tgtEl>
                                      </p:cBhvr>
                                    </p:animEffect>
                                    <p:animScale>
                                      <p:cBhvr>
                                        <p:cTn id="672" dur="1000" autoRev="1" fill="hold"/>
                                        <p:tgtEl>
                                          <p:spTgt spid="153"/>
                                        </p:tgtEl>
                                      </p:cBhvr>
                                      <p:by x="105000" y="105000"/>
                                    </p:animScale>
                                  </p:childTnLst>
                                </p:cTn>
                              </p:par>
                              <p:par>
                                <p:cTn id="673" presetID="26" presetClass="emph" presetSubtype="0" dur="2000" repeatCount="indefinite" fill="hold" grpId="0" nodeType="withEffect">
                                  <p:stCondLst>
                                    <p:cond delay="4500"/>
                                  </p:stCondLst>
                                  <p:childTnLst>
                                    <p:animEffect transition="out" filter="fade">
                                      <p:cBhvr>
                                        <p:cTn id="674" dur="2000" tmFilter="0, 0; .2, .5; .8, .5; 1, 0"/>
                                        <p:tgtEl>
                                          <p:spTgt spid="170"/>
                                        </p:tgtEl>
                                      </p:cBhvr>
                                    </p:animEffect>
                                    <p:animScale>
                                      <p:cBhvr>
                                        <p:cTn id="675" dur="1000" autoRev="1" fill="hold"/>
                                        <p:tgtEl>
                                          <p:spTgt spid="170"/>
                                        </p:tgtEl>
                                      </p:cBhvr>
                                      <p:by x="105000" y="105000"/>
                                    </p:animScale>
                                  </p:childTnLst>
                                </p:cTn>
                              </p:par>
                              <p:par>
                                <p:cTn id="676" presetID="26" presetClass="emph" presetSubtype="0" dur="2000" repeatCount="indefinite" fill="hold" grpId="0" nodeType="withEffect">
                                  <p:stCondLst>
                                    <p:cond delay="4750"/>
                                  </p:stCondLst>
                                  <p:childTnLst>
                                    <p:animEffect transition="out" filter="fade">
                                      <p:cBhvr>
                                        <p:cTn id="677" dur="2000" tmFilter="0, 0; .2, .5; .8, .5; 1, 0"/>
                                        <p:tgtEl>
                                          <p:spTgt spid="105"/>
                                        </p:tgtEl>
                                      </p:cBhvr>
                                    </p:animEffect>
                                    <p:animScale>
                                      <p:cBhvr>
                                        <p:cTn id="678" dur="1000" autoRev="1" fill="hold"/>
                                        <p:tgtEl>
                                          <p:spTgt spid="105"/>
                                        </p:tgtEl>
                                      </p:cBhvr>
                                      <p:by x="105000" y="105000"/>
                                    </p:animScale>
                                  </p:childTnLst>
                                </p:cTn>
                              </p:par>
                              <p:par>
                                <p:cTn id="679" presetID="26" presetClass="emph" presetSubtype="0" dur="2000" repeatCount="indefinite" fill="hold" grpId="0" nodeType="withEffect">
                                  <p:stCondLst>
                                    <p:cond delay="4750"/>
                                  </p:stCondLst>
                                  <p:childTnLst>
                                    <p:animEffect transition="out" filter="fade">
                                      <p:cBhvr>
                                        <p:cTn id="680" dur="2000" tmFilter="0, 0; .2, .5; .8, .5; 1, 0"/>
                                        <p:tgtEl>
                                          <p:spTgt spid="121"/>
                                        </p:tgtEl>
                                      </p:cBhvr>
                                    </p:animEffect>
                                    <p:animScale>
                                      <p:cBhvr>
                                        <p:cTn id="681" dur="1000" autoRev="1" fill="hold"/>
                                        <p:tgtEl>
                                          <p:spTgt spid="121"/>
                                        </p:tgtEl>
                                      </p:cBhvr>
                                      <p:by x="105000" y="105000"/>
                                    </p:animScale>
                                  </p:childTnLst>
                                </p:cTn>
                              </p:par>
                              <p:par>
                                <p:cTn id="682" presetID="26" presetClass="emph" presetSubtype="0" dur="2000" repeatCount="indefinite" fill="hold" grpId="0" nodeType="withEffect">
                                  <p:stCondLst>
                                    <p:cond delay="4750"/>
                                  </p:stCondLst>
                                  <p:childTnLst>
                                    <p:animEffect transition="out" filter="fade">
                                      <p:cBhvr>
                                        <p:cTn id="683" dur="2000" tmFilter="0, 0; .2, .5; .8, .5; 1, 0"/>
                                        <p:tgtEl>
                                          <p:spTgt spid="137"/>
                                        </p:tgtEl>
                                      </p:cBhvr>
                                    </p:animEffect>
                                    <p:animScale>
                                      <p:cBhvr>
                                        <p:cTn id="684" dur="1000" autoRev="1" fill="hold"/>
                                        <p:tgtEl>
                                          <p:spTgt spid="137"/>
                                        </p:tgtEl>
                                      </p:cBhvr>
                                      <p:by x="105000" y="105000"/>
                                    </p:animScale>
                                  </p:childTnLst>
                                </p:cTn>
                              </p:par>
                              <p:par>
                                <p:cTn id="685" presetID="26" presetClass="emph" presetSubtype="0" dur="2000" repeatCount="indefinite" fill="hold" grpId="0" nodeType="withEffect">
                                  <p:stCondLst>
                                    <p:cond delay="4750"/>
                                  </p:stCondLst>
                                  <p:childTnLst>
                                    <p:animEffect transition="out" filter="fade">
                                      <p:cBhvr>
                                        <p:cTn id="686" dur="2000" tmFilter="0, 0; .2, .5; .8, .5; 1, 0"/>
                                        <p:tgtEl>
                                          <p:spTgt spid="154"/>
                                        </p:tgtEl>
                                      </p:cBhvr>
                                    </p:animEffect>
                                    <p:animScale>
                                      <p:cBhvr>
                                        <p:cTn id="687" dur="1000" autoRev="1" fill="hold"/>
                                        <p:tgtEl>
                                          <p:spTgt spid="154"/>
                                        </p:tgtEl>
                                      </p:cBhvr>
                                      <p:by x="105000" y="105000"/>
                                    </p:animScale>
                                  </p:childTnLst>
                                </p:cTn>
                              </p:par>
                              <p:par>
                                <p:cTn id="688" presetID="26" presetClass="emph" presetSubtype="0" dur="2000" repeatCount="indefinite" fill="hold" grpId="0" nodeType="withEffect">
                                  <p:stCondLst>
                                    <p:cond delay="5000"/>
                                  </p:stCondLst>
                                  <p:childTnLst>
                                    <p:animEffect transition="out" filter="fade">
                                      <p:cBhvr>
                                        <p:cTn id="689" dur="2000" tmFilter="0, 0; .2, .5; .8, .5; 1, 0"/>
                                        <p:tgtEl>
                                          <p:spTgt spid="122"/>
                                        </p:tgtEl>
                                      </p:cBhvr>
                                    </p:animEffect>
                                    <p:animScale>
                                      <p:cBhvr>
                                        <p:cTn id="690" dur="1000" autoRev="1" fill="hold"/>
                                        <p:tgtEl>
                                          <p:spTgt spid="122"/>
                                        </p:tgtEl>
                                      </p:cBhvr>
                                      <p:by x="105000" y="105000"/>
                                    </p:animScale>
                                  </p:childTnLst>
                                </p:cTn>
                              </p:par>
                              <p:par>
                                <p:cTn id="691" presetID="26" presetClass="emph" presetSubtype="0" dur="2000" repeatCount="indefinite" fill="hold" grpId="0" nodeType="withEffect">
                                  <p:stCondLst>
                                    <p:cond delay="5000"/>
                                  </p:stCondLst>
                                  <p:childTnLst>
                                    <p:animEffect transition="out" filter="fade">
                                      <p:cBhvr>
                                        <p:cTn id="692" dur="2000" tmFilter="0, 0; .2, .5; .8, .5; 1, 0"/>
                                        <p:tgtEl>
                                          <p:spTgt spid="138"/>
                                        </p:tgtEl>
                                      </p:cBhvr>
                                    </p:animEffect>
                                    <p:animScale>
                                      <p:cBhvr>
                                        <p:cTn id="693" dur="1000" autoRev="1" fill="hold"/>
                                        <p:tgtEl>
                                          <p:spTgt spid="138"/>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122" grpId="0" animBg="1"/>
      <p:bldP spid="138" grpId="0" animBg="1"/>
      <p:bldP spid="105" grpId="0" animBg="1"/>
      <p:bldP spid="121" grpId="0" animBg="1"/>
      <p:bldP spid="137" grpId="0" animBg="1"/>
      <p:bldP spid="154" grpId="0" animBg="1"/>
      <p:bldP spid="88" grpId="0" animBg="1"/>
      <p:bldP spid="104" grpId="0" animBg="1"/>
      <p:bldP spid="120" grpId="0" animBg="1"/>
      <p:bldP spid="136" grpId="0" animBg="1"/>
      <p:bldP spid="153" grpId="0" animBg="1"/>
      <p:bldP spid="170" grpId="0" animBg="1"/>
      <p:bldP spid="71" grpId="0" animBg="1"/>
      <p:bldP spid="87" grpId="0" animBg="1"/>
      <p:bldP spid="103" grpId="0" animBg="1"/>
      <p:bldP spid="119" grpId="0" animBg="1"/>
      <p:bldP spid="135" grpId="0" animBg="1"/>
      <p:bldP spid="152" grpId="0" animBg="1"/>
      <p:bldP spid="169" grpId="0" animBg="1"/>
      <p:bldP spid="186" grpId="0" animBg="1"/>
      <p:bldP spid="54" grpId="0" animBg="1"/>
      <p:bldP spid="70" grpId="0" animBg="1"/>
      <p:bldP spid="86" grpId="0" animBg="1"/>
      <p:bldP spid="102" grpId="0" animBg="1"/>
      <p:bldP spid="118" grpId="0" animBg="1"/>
      <p:bldP spid="134" grpId="0" animBg="1"/>
      <p:bldP spid="151" grpId="0" animBg="1"/>
      <p:bldP spid="168" grpId="0" animBg="1"/>
      <p:bldP spid="185" grpId="0" animBg="1"/>
      <p:bldP spid="202" grpId="0" animBg="1"/>
      <p:bldP spid="37" grpId="0" animBg="1"/>
      <p:bldP spid="53" grpId="0" animBg="1"/>
      <p:bldP spid="69" grpId="0" animBg="1"/>
      <p:bldP spid="85" grpId="0" animBg="1"/>
      <p:bldP spid="101" grpId="0" animBg="1"/>
      <p:bldP spid="117" grpId="0" animBg="1"/>
      <p:bldP spid="133" grpId="0" animBg="1"/>
      <p:bldP spid="150" grpId="0" animBg="1"/>
      <p:bldP spid="167" grpId="0" animBg="1"/>
      <p:bldP spid="184" grpId="0" animBg="1"/>
      <p:bldP spid="201" grpId="0" animBg="1"/>
      <p:bldP spid="218" grpId="0" animBg="1"/>
      <p:bldP spid="5" grpId="0" animBg="1"/>
      <p:bldP spid="22" grpId="0" animBg="1"/>
      <p:bldP spid="38" grpId="0" animBg="1"/>
      <p:bldP spid="203" grpId="0" animBg="1"/>
      <p:bldP spid="219" grpId="0" animBg="1"/>
      <p:bldP spid="6" grpId="0" animBg="1"/>
      <p:bldP spid="23" grpId="0" animBg="1"/>
      <p:bldP spid="39" grpId="0" animBg="1"/>
      <p:bldP spid="55" grpId="0" animBg="1"/>
      <p:bldP spid="187" grpId="0" animBg="1"/>
      <p:bldP spid="204" grpId="0" animBg="1"/>
      <p:bldP spid="220" grpId="0" animBg="1"/>
      <p:bldP spid="7" grpId="0" animBg="1"/>
      <p:bldP spid="24" grpId="0" animBg="1"/>
      <p:bldP spid="40" grpId="0" animBg="1"/>
      <p:bldP spid="56" grpId="0" animBg="1"/>
      <p:bldP spid="72" grpId="0" animBg="1"/>
      <p:bldP spid="171" grpId="0" animBg="1"/>
      <p:bldP spid="188" grpId="0" animBg="1"/>
      <p:bldP spid="205" grpId="0" animBg="1"/>
      <p:bldP spid="221" grpId="0" animBg="1"/>
      <p:bldP spid="8" grpId="0" animBg="1"/>
      <p:bldP spid="25" grpId="0" animBg="1"/>
      <p:bldP spid="41" grpId="0" animBg="1"/>
      <p:bldP spid="57" grpId="0" animBg="1"/>
      <p:bldP spid="73" grpId="0" animBg="1"/>
      <p:bldP spid="89" grpId="0" animBg="1"/>
      <p:bldP spid="155" grpId="0" animBg="1"/>
      <p:bldP spid="172" grpId="0" animBg="1"/>
      <p:bldP spid="189" grpId="0" animBg="1"/>
      <p:bldP spid="206" grpId="0" animBg="1"/>
      <p:bldP spid="222" grpId="0" animBg="1"/>
      <p:bldP spid="11" grpId="0" animBg="1"/>
      <p:bldP spid="26" grpId="0" animBg="1"/>
      <p:bldP spid="42" grpId="0" animBg="1"/>
      <p:bldP spid="58" grpId="0" animBg="1"/>
      <p:bldP spid="74" grpId="0" animBg="1"/>
      <p:bldP spid="90" grpId="0" animBg="1"/>
      <p:bldP spid="106" grpId="0" animBg="1"/>
      <p:bldP spid="139" grpId="0" animBg="1"/>
      <p:bldP spid="156" grpId="0" animBg="1"/>
      <p:bldP spid="173" grpId="0" animBg="1"/>
      <p:bldP spid="190" grpId="0" animBg="1"/>
      <p:bldP spid="207" grpId="0" animBg="1"/>
      <p:bldP spid="223" grpId="0" animBg="1"/>
      <p:bldP spid="12" grpId="0" animBg="1"/>
      <p:bldP spid="27" grpId="0" animBg="1"/>
      <p:bldP spid="43" grpId="0" animBg="1"/>
      <p:bldP spid="59" grpId="0" animBg="1"/>
      <p:bldP spid="75" grpId="0" animBg="1"/>
      <p:bldP spid="91" grpId="0" animBg="1"/>
      <p:bldP spid="107" grpId="0" animBg="1"/>
      <p:bldP spid="123" grpId="0" animBg="1"/>
      <p:bldP spid="140" grpId="0" animBg="1"/>
      <p:bldP spid="157" grpId="0" animBg="1"/>
      <p:bldP spid="174" grpId="0" animBg="1"/>
      <p:bldP spid="191" grpId="0" animBg="1"/>
      <p:bldP spid="208" grpId="0" animBg="1"/>
      <p:bldP spid="224" grpId="0" animBg="1"/>
      <p:bldP spid="13" grpId="0" animBg="1"/>
      <p:bldP spid="28" grpId="0" animBg="1"/>
      <p:bldP spid="44" grpId="0" animBg="1"/>
      <p:bldP spid="60" grpId="0" animBg="1"/>
      <p:bldP spid="76" grpId="0" animBg="1"/>
      <p:bldP spid="92" grpId="0" animBg="1"/>
      <p:bldP spid="108" grpId="0" animBg="1"/>
      <p:bldP spid="124" grpId="0" animBg="1"/>
      <p:bldP spid="141" grpId="0" animBg="1"/>
      <p:bldP spid="158" grpId="0" animBg="1"/>
      <p:bldP spid="175" grpId="0" animBg="1"/>
      <p:bldP spid="192" grpId="0" animBg="1"/>
      <p:bldP spid="209" grpId="0" animBg="1"/>
      <p:bldP spid="225" grpId="0" animBg="1"/>
      <p:bldP spid="14" grpId="0" animBg="1"/>
      <p:bldP spid="29" grpId="0" animBg="1"/>
      <p:bldP spid="45" grpId="0" animBg="1"/>
      <p:bldP spid="61" grpId="0" animBg="1"/>
      <p:bldP spid="77" grpId="0" animBg="1"/>
      <p:bldP spid="93" grpId="0" animBg="1"/>
      <p:bldP spid="109" grpId="0" animBg="1"/>
      <p:bldP spid="125" grpId="0" animBg="1"/>
      <p:bldP spid="142" grpId="0" animBg="1"/>
      <p:bldP spid="159" grpId="0" animBg="1"/>
      <p:bldP spid="176" grpId="0" animBg="1"/>
      <p:bldP spid="193" grpId="0" animBg="1"/>
      <p:bldP spid="210" grpId="0" animBg="1"/>
      <p:bldP spid="226" grpId="0" animBg="1"/>
      <p:bldP spid="15" grpId="0" animBg="1"/>
      <p:bldP spid="30" grpId="0" animBg="1"/>
      <p:bldP spid="46" grpId="0" animBg="1"/>
      <p:bldP spid="62" grpId="0" animBg="1"/>
      <p:bldP spid="78" grpId="0" animBg="1"/>
      <p:bldP spid="94" grpId="0" animBg="1"/>
      <p:bldP spid="110" grpId="0" animBg="1"/>
      <p:bldP spid="126" grpId="0" animBg="1"/>
      <p:bldP spid="143" grpId="0" animBg="1"/>
      <p:bldP spid="160" grpId="0" animBg="1"/>
      <p:bldP spid="177" grpId="0" animBg="1"/>
      <p:bldP spid="194" grpId="0" animBg="1"/>
      <p:bldP spid="211" grpId="0" animBg="1"/>
      <p:bldP spid="227" grpId="0" animBg="1"/>
      <p:bldP spid="16" grpId="0" animBg="1"/>
      <p:bldP spid="31" grpId="0" animBg="1"/>
      <p:bldP spid="47" grpId="0" animBg="1"/>
      <p:bldP spid="63" grpId="0" animBg="1"/>
      <p:bldP spid="79" grpId="0" animBg="1"/>
      <p:bldP spid="95" grpId="0" animBg="1"/>
      <p:bldP spid="111" grpId="0" animBg="1"/>
      <p:bldP spid="127" grpId="0" animBg="1"/>
      <p:bldP spid="144" grpId="0" animBg="1"/>
      <p:bldP spid="161" grpId="0" animBg="1"/>
      <p:bldP spid="178" grpId="0" animBg="1"/>
      <p:bldP spid="195" grpId="0" animBg="1"/>
      <p:bldP spid="212" grpId="0" animBg="1"/>
      <p:bldP spid="228" grpId="0" animBg="1"/>
      <p:bldP spid="17" grpId="0" animBg="1"/>
      <p:bldP spid="32" grpId="0" animBg="1"/>
      <p:bldP spid="48" grpId="0" animBg="1"/>
      <p:bldP spid="64" grpId="0" animBg="1"/>
      <p:bldP spid="80" grpId="0" animBg="1"/>
      <p:bldP spid="96" grpId="0" animBg="1"/>
      <p:bldP spid="112" grpId="0" animBg="1"/>
      <p:bldP spid="128" grpId="0" animBg="1"/>
      <p:bldP spid="145" grpId="0" animBg="1"/>
      <p:bldP spid="162" grpId="0" animBg="1"/>
      <p:bldP spid="179" grpId="0" animBg="1"/>
      <p:bldP spid="196" grpId="0" animBg="1"/>
      <p:bldP spid="213" grpId="0" animBg="1"/>
      <p:bldP spid="229" grpId="0" animBg="1"/>
      <p:bldP spid="18" grpId="0" animBg="1"/>
      <p:bldP spid="33" grpId="0" animBg="1"/>
      <p:bldP spid="49" grpId="0" animBg="1"/>
      <p:bldP spid="65" grpId="0" animBg="1"/>
      <p:bldP spid="81" grpId="0" animBg="1"/>
      <p:bldP spid="97" grpId="0" animBg="1"/>
      <p:bldP spid="113" grpId="0" animBg="1"/>
      <p:bldP spid="129" grpId="0" animBg="1"/>
      <p:bldP spid="146" grpId="0" animBg="1"/>
      <p:bldP spid="163" grpId="0" animBg="1"/>
      <p:bldP spid="180" grpId="0" animBg="1"/>
      <p:bldP spid="197" grpId="0" animBg="1"/>
      <p:bldP spid="214" grpId="0" animBg="1"/>
      <p:bldP spid="230" grpId="0" animBg="1"/>
      <p:bldP spid="19" grpId="0" animBg="1"/>
      <p:bldP spid="34" grpId="0" animBg="1"/>
      <p:bldP spid="50" grpId="0" animBg="1"/>
      <p:bldP spid="66" grpId="0" animBg="1"/>
      <p:bldP spid="82" grpId="0" animBg="1"/>
      <p:bldP spid="98" grpId="0" animBg="1"/>
      <p:bldP spid="114" grpId="0" animBg="1"/>
      <p:bldP spid="130" grpId="0" animBg="1"/>
      <p:bldP spid="147" grpId="0" animBg="1"/>
      <p:bldP spid="164" grpId="0" animBg="1"/>
      <p:bldP spid="181" grpId="0" animBg="1"/>
      <p:bldP spid="198" grpId="0" animBg="1"/>
      <p:bldP spid="215" grpId="0" animBg="1"/>
      <p:bldP spid="231" grpId="0" animBg="1"/>
      <p:bldP spid="20" grpId="0" animBg="1"/>
      <p:bldP spid="35" grpId="0" animBg="1"/>
      <p:bldP spid="51" grpId="0" animBg="1"/>
      <p:bldP spid="67" grpId="0" animBg="1"/>
      <p:bldP spid="83" grpId="0" animBg="1"/>
      <p:bldP spid="99" grpId="0" animBg="1"/>
      <p:bldP spid="115" grpId="0" animBg="1"/>
      <p:bldP spid="131" grpId="0" animBg="1"/>
      <p:bldP spid="148" grpId="0" animBg="1"/>
      <p:bldP spid="165" grpId="0" animBg="1"/>
      <p:bldP spid="182" grpId="0" animBg="1"/>
      <p:bldP spid="199" grpId="0" animBg="1"/>
      <p:bldP spid="216" grpId="0" animBg="1"/>
      <p:bldP spid="232" grpId="0" animBg="1"/>
      <p:bldP spid="21" grpId="0" animBg="1"/>
      <p:bldP spid="36" grpId="0" animBg="1"/>
      <p:bldP spid="52" grpId="0" animBg="1"/>
      <p:bldP spid="68" grpId="0" animBg="1"/>
      <p:bldP spid="84" grpId="0" animBg="1"/>
      <p:bldP spid="100" grpId="0" animBg="1"/>
      <p:bldP spid="116" grpId="0" animBg="1"/>
      <p:bldP spid="132" grpId="0" animBg="1"/>
      <p:bldP spid="149" grpId="0" animBg="1"/>
      <p:bldP spid="166" grpId="0" animBg="1"/>
      <p:bldP spid="183" grpId="0" animBg="1"/>
      <p:bldP spid="200" grpId="0" animBg="1"/>
      <p:bldP spid="217" grpId="0" animBg="1"/>
      <p:bldP spid="233" grpId="0" animBg="1"/>
      <p:bldP spid="10" grpId="0">
        <p:tmplLst>
          <p:tmpl>
            <p:tnLst>
              <p:par>
                <p:cTn presetID="2" presetClass="entr" presetSubtype="8" decel="100000" fill="hold" nodeType="withEffect">
                  <p:stCondLst>
                    <p:cond delay="0"/>
                  </p:stCondLst>
                  <p:childTnLst>
                    <p:set>
                      <p:cBhvr>
                        <p:cTn dur="1" fill="hold">
                          <p:stCondLst>
                            <p:cond delay="0"/>
                          </p:stCondLst>
                        </p:cTn>
                        <p:tgtEl>
                          <p:spTgt spid="10"/>
                        </p:tgtEl>
                        <p:attrNameLst>
                          <p:attrName>style.visibility</p:attrName>
                        </p:attrNameLst>
                      </p:cBhvr>
                      <p:to>
                        <p:strVal val="visible"/>
                      </p:to>
                    </p:set>
                    <p:anim calcmode="lin" valueType="num">
                      <p:cBhvr additive="base">
                        <p:cTn dur="1000" fill="hold"/>
                        <p:tgtEl>
                          <p:spTgt spid="10"/>
                        </p:tgtEl>
                        <p:attrNameLst>
                          <p:attrName>ppt_x</p:attrName>
                        </p:attrNameLst>
                      </p:cBhvr>
                      <p:tavLst>
                        <p:tav tm="0">
                          <p:val>
                            <p:strVal val="0-#ppt_w/2"/>
                          </p:val>
                        </p:tav>
                        <p:tav tm="100000">
                          <p:val>
                            <p:strVal val="#ppt_x"/>
                          </p:val>
                        </p:tav>
                      </p:tavLst>
                    </p:anim>
                    <p:anim calcmode="lin" valueType="num">
                      <p:cBhvr additive="base">
                        <p:cTn dur="1000" fill="hold"/>
                        <p:tgtEl>
                          <p:spTgt spid="10"/>
                        </p:tgtEl>
                        <p:attrNameLst>
                          <p:attrName>ppt_y</p:attrName>
                        </p:attrNameLst>
                      </p:cBhvr>
                      <p:tavLst>
                        <p:tav tm="0">
                          <p:val>
                            <p:strVal val="#ppt_y"/>
                          </p:val>
                        </p:tav>
                        <p:tav tm="100000">
                          <p:val>
                            <p:strVal val="#ppt_y"/>
                          </p:val>
                        </p:tav>
                      </p:tavLst>
                    </p:anim>
                  </p:childTnLst>
                </p:cTn>
              </p:par>
            </p:tnLst>
          </p:tmpl>
        </p:tmplLst>
      </p:bldP>
    </p:bld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HEADING/TEXT 1 column">
    <p:spTree>
      <p:nvGrpSpPr>
        <p:cNvPr id="1" name=""/>
        <p:cNvGrpSpPr/>
        <p:nvPr/>
      </p:nvGrpSpPr>
      <p:grpSpPr>
        <a:xfrm>
          <a:off x="0" y="0"/>
          <a:ext cx="0" cy="0"/>
          <a:chOff x="0" y="0"/>
          <a:chExt cx="0" cy="0"/>
        </a:xfrm>
      </p:grpSpPr>
      <p:sp>
        <p:nvSpPr>
          <p:cNvPr id="13" name="Freihandform: Form 12">
            <a:extLst>
              <a:ext uri="{FF2B5EF4-FFF2-40B4-BE49-F238E27FC236}">
                <a16:creationId xmlns:a16="http://schemas.microsoft.com/office/drawing/2014/main" id="{50EC640D-C73C-4FD9-AD9A-88EE410704F4}"/>
              </a:ext>
            </a:extLst>
          </p:cNvPr>
          <p:cNvSpPr/>
          <p:nvPr/>
        </p:nvSpPr>
        <p:spPr>
          <a:xfrm>
            <a:off x="2362200" y="1975611"/>
            <a:ext cx="9829800" cy="4882390"/>
          </a:xfrm>
          <a:custGeom>
            <a:avLst/>
            <a:gdLst>
              <a:gd name="connsiteX0" fmla="*/ 910059 w 9829800"/>
              <a:gd name="connsiteY0" fmla="*/ 0 h 4882390"/>
              <a:gd name="connsiteX1" fmla="*/ 3015085 w 9829800"/>
              <a:gd name="connsiteY1" fmla="*/ 0 h 4882390"/>
              <a:gd name="connsiteX2" fmla="*/ 7981950 w 9829800"/>
              <a:gd name="connsiteY2" fmla="*/ 0 h 4882390"/>
              <a:gd name="connsiteX3" fmla="*/ 9829800 w 9829800"/>
              <a:gd name="connsiteY3" fmla="*/ 0 h 4882390"/>
              <a:gd name="connsiteX4" fmla="*/ 9829800 w 9829800"/>
              <a:gd name="connsiteY4" fmla="*/ 4882390 h 4882390"/>
              <a:gd name="connsiteX5" fmla="*/ 7981950 w 9829800"/>
              <a:gd name="connsiteY5" fmla="*/ 4882390 h 4882390"/>
              <a:gd name="connsiteX6" fmla="*/ 2183098 w 9829800"/>
              <a:gd name="connsiteY6" fmla="*/ 4882390 h 4882390"/>
              <a:gd name="connsiteX7" fmla="*/ 78072 w 9829800"/>
              <a:gd name="connsiteY7" fmla="*/ 4882390 h 4882390"/>
              <a:gd name="connsiteX8" fmla="*/ 0 w 9829800"/>
              <a:gd name="connsiteY8" fmla="*/ 4804318 h 4882390"/>
              <a:gd name="connsiteX9" fmla="*/ 831987 w 9829800"/>
              <a:gd name="connsiteY9" fmla="*/ 78072 h 4882390"/>
              <a:gd name="connsiteX10" fmla="*/ 910059 w 9829800"/>
              <a:gd name="connsiteY10" fmla="*/ 0 h 4882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829800" h="4882390">
                <a:moveTo>
                  <a:pt x="910059" y="0"/>
                </a:moveTo>
                <a:lnTo>
                  <a:pt x="3015085" y="0"/>
                </a:lnTo>
                <a:lnTo>
                  <a:pt x="7981950" y="0"/>
                </a:lnTo>
                <a:lnTo>
                  <a:pt x="9829800" y="0"/>
                </a:lnTo>
                <a:lnTo>
                  <a:pt x="9829800" y="4882390"/>
                </a:lnTo>
                <a:lnTo>
                  <a:pt x="7981950" y="4882390"/>
                </a:lnTo>
                <a:lnTo>
                  <a:pt x="2183098" y="4882390"/>
                </a:lnTo>
                <a:lnTo>
                  <a:pt x="78072" y="4882390"/>
                </a:lnTo>
                <a:cubicBezTo>
                  <a:pt x="34957" y="4882390"/>
                  <a:pt x="0" y="4847433"/>
                  <a:pt x="0" y="4804318"/>
                </a:cubicBezTo>
                <a:lnTo>
                  <a:pt x="831987" y="78072"/>
                </a:lnTo>
                <a:cubicBezTo>
                  <a:pt x="831987" y="34957"/>
                  <a:pt x="866945" y="0"/>
                  <a:pt x="910059" y="0"/>
                </a:cubicBezTo>
                <a:close/>
              </a:path>
            </a:pathLst>
          </a:custGeom>
          <a:gradFill>
            <a:gsLst>
              <a:gs pos="0">
                <a:schemeClr val="bg1"/>
              </a:gs>
              <a:gs pos="95000">
                <a:srgbClr val="ECF0F4"/>
              </a:gs>
            </a:gsLst>
            <a:lin ang="5400000" scaled="1"/>
          </a:gradFill>
          <a:ln w="11652" cap="flat">
            <a:noFill/>
            <a:prstDash val="solid"/>
            <a:miter/>
          </a:ln>
        </p:spPr>
        <p:txBody>
          <a:bodyPr rtlCol="0" anchor="ctr"/>
          <a:lstStyle/>
          <a:p>
            <a:endParaRPr lang="de-DE"/>
          </a:p>
        </p:txBody>
      </p:sp>
      <p:sp>
        <p:nvSpPr>
          <p:cNvPr id="2" name="Titel 1">
            <a:extLst>
              <a:ext uri="{FF2B5EF4-FFF2-40B4-BE49-F238E27FC236}">
                <a16:creationId xmlns:a16="http://schemas.microsoft.com/office/drawing/2014/main" id="{0526DC72-FA1D-422D-8055-3374742D122B}"/>
              </a:ext>
            </a:extLst>
          </p:cNvPr>
          <p:cNvSpPr>
            <a:spLocks noGrp="1"/>
          </p:cNvSpPr>
          <p:nvPr>
            <p:ph type="title"/>
          </p:nvPr>
        </p:nvSpPr>
        <p:spPr/>
        <p:txBody>
          <a:bodyPr/>
          <a:lstStyle>
            <a:lvl1pPr>
              <a:lnSpc>
                <a:spcPct val="100000"/>
              </a:lnSpc>
              <a:defRPr/>
            </a:lvl1pPr>
          </a:lstStyle>
          <a:p>
            <a:r>
              <a:rPr lang="de-DE"/>
              <a:t>Mastertitelformat bearbeiten</a:t>
            </a:r>
          </a:p>
        </p:txBody>
      </p:sp>
      <p:sp>
        <p:nvSpPr>
          <p:cNvPr id="3" name="Foliennummernplatzhalter 2">
            <a:extLst>
              <a:ext uri="{FF2B5EF4-FFF2-40B4-BE49-F238E27FC236}">
                <a16:creationId xmlns:a16="http://schemas.microsoft.com/office/drawing/2014/main" id="{5B327254-466C-4606-8589-BCC72CBDADDF}"/>
              </a:ext>
            </a:extLst>
          </p:cNvPr>
          <p:cNvSpPr>
            <a:spLocks noGrp="1"/>
          </p:cNvSpPr>
          <p:nvPr>
            <p:ph type="sldNum" sz="quarter" idx="10"/>
          </p:nvPr>
        </p:nvSpPr>
        <p:spPr/>
        <p:txBody>
          <a:bodyPr/>
          <a:lstStyle/>
          <a:p>
            <a:fld id="{A04BEB4F-8CE1-4F18-986F-6CE0A0BE9470}" type="slidenum">
              <a:rPr lang="de-DE" smtClean="0"/>
              <a:t>‹#›</a:t>
            </a:fld>
            <a:endParaRPr lang="de-DE"/>
          </a:p>
        </p:txBody>
      </p:sp>
      <p:sp>
        <p:nvSpPr>
          <p:cNvPr id="5" name="Textplatzhalter 9">
            <a:extLst>
              <a:ext uri="{FF2B5EF4-FFF2-40B4-BE49-F238E27FC236}">
                <a16:creationId xmlns:a16="http://schemas.microsoft.com/office/drawing/2014/main" id="{6024922C-391C-46EA-9F1C-F5344AAB64C8}"/>
              </a:ext>
            </a:extLst>
          </p:cNvPr>
          <p:cNvSpPr>
            <a:spLocks noGrp="1"/>
          </p:cNvSpPr>
          <p:nvPr>
            <p:ph type="body" sz="quarter" idx="11"/>
          </p:nvPr>
        </p:nvSpPr>
        <p:spPr>
          <a:xfrm>
            <a:off x="815951" y="1979612"/>
            <a:ext cx="10560096" cy="4338638"/>
          </a:xfrm>
          <a:prstGeom prst="rect">
            <a:avLst/>
          </a:prstGeom>
        </p:spPr>
        <p:txBody>
          <a:bodyPr lIns="0" tIns="0" rIns="0" bIns="0">
            <a:normAutofit/>
          </a:bodyPr>
          <a:lstStyle>
            <a:lvl1pPr>
              <a:defRPr sz="1800"/>
            </a:lvl1pPr>
            <a:lvl2pPr>
              <a:defRPr sz="1800"/>
            </a:lvl2pPr>
            <a:lvl3pPr>
              <a:defRPr sz="1800"/>
            </a:lvl3pPr>
            <a:lvl4pPr>
              <a:defRPr sz="1800"/>
            </a:lvl4pPr>
            <a:lvl5pPr>
              <a:defRPr sz="18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210048451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8" dur="1000" decel="10000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0-#ppt_w/2"/>
                                          </p:val>
                                        </p:tav>
                                        <p:tav tm="100000">
                                          <p:val>
                                            <p:strVal val="#ppt_x"/>
                                          </p:val>
                                        </p:tav>
                                      </p:tavLst>
                                    </p:anim>
                                    <p:anim calcmode="lin" valueType="num">
                                      <p:cBhvr additive="base">
                                        <p:cTn id="8" dur="1000" fill="hold"/>
                                        <p:tgtEl>
                                          <p:spTgt spid="2"/>
                                        </p:tgtEl>
                                        <p:attrNameLst>
                                          <p:attrName>ppt_y</p:attrName>
                                        </p:attrNameLst>
                                      </p:cBhvr>
                                      <p:tavLst>
                                        <p:tav tm="0">
                                          <p:val>
                                            <p:strVal val="#ppt_y"/>
                                          </p:val>
                                        </p:tav>
                                        <p:tav tm="100000">
                                          <p:val>
                                            <p:strVal val="#ppt_y"/>
                                          </p:val>
                                        </p:tav>
                                      </p:tavLst>
                                    </p:anim>
                                  </p:childTnLst>
                                </p:cTn>
                              </p:par>
                              <p:par>
                                <p:cTn id="9" presetID="2" presetClass="entr" presetSubtype="8" dur="1000" decel="100000" fill="hold" grpId="0" nodeType="withEffect">
                                  <p:stCondLst>
                                    <p:cond delay="25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1000" fill="hold"/>
                                        <p:tgtEl>
                                          <p:spTgt spid="5"/>
                                        </p:tgtEl>
                                        <p:attrNameLst>
                                          <p:attrName>ppt_x</p:attrName>
                                        </p:attrNameLst>
                                      </p:cBhvr>
                                      <p:tavLst>
                                        <p:tav tm="0">
                                          <p:val>
                                            <p:strVal val="0-#ppt_w/2"/>
                                          </p:val>
                                        </p:tav>
                                        <p:tav tm="100000">
                                          <p:val>
                                            <p:strVal val="#ppt_x"/>
                                          </p:val>
                                        </p:tav>
                                      </p:tavLst>
                                    </p:anim>
                                    <p:anim calcmode="lin" valueType="num">
                                      <p:cBhvr additive="base">
                                        <p:cTn id="12" dur="100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uiExpand="1">
        <p:tmplLst>
          <p:tmpl>
            <p:tnLst>
              <p:par>
                <p:cTn presetID="2" presetClass="entr" presetSubtype="8" decel="100000" fill="hold" nodeType="withEffect">
                  <p:stCondLst>
                    <p:cond delay="250"/>
                  </p:stCondLst>
                  <p:childTnLst>
                    <p:set>
                      <p:cBhvr>
                        <p:cTn dur="1" fill="hold">
                          <p:stCondLst>
                            <p:cond delay="0"/>
                          </p:stCondLst>
                        </p:cTn>
                        <p:tgtEl>
                          <p:spTgt spid="5"/>
                        </p:tgtEl>
                        <p:attrNameLst>
                          <p:attrName>style.visibility</p:attrName>
                        </p:attrNameLst>
                      </p:cBhvr>
                      <p:to>
                        <p:strVal val="visible"/>
                      </p:to>
                    </p:set>
                    <p:anim calcmode="lin" valueType="num">
                      <p:cBhvr additive="base">
                        <p:cTn dur="1000" fill="hold"/>
                        <p:tgtEl>
                          <p:spTgt spid="5"/>
                        </p:tgtEl>
                        <p:attrNameLst>
                          <p:attrName>ppt_x</p:attrName>
                        </p:attrNameLst>
                      </p:cBhvr>
                      <p:tavLst>
                        <p:tav tm="0">
                          <p:val>
                            <p:strVal val="0-#ppt_w/2"/>
                          </p:val>
                        </p:tav>
                        <p:tav tm="100000">
                          <p:val>
                            <p:strVal val="#ppt_x"/>
                          </p:val>
                        </p:tav>
                      </p:tavLst>
                    </p:anim>
                    <p:anim calcmode="lin" valueType="num">
                      <p:cBhvr additive="base">
                        <p:cTn dur="1000" fill="hold"/>
                        <p:tgtEl>
                          <p:spTgt spid="5"/>
                        </p:tgtEl>
                        <p:attrNameLst>
                          <p:attrName>ppt_y</p:attrName>
                        </p:attrNameLst>
                      </p:cBhvr>
                      <p:tavLst>
                        <p:tav tm="0">
                          <p:val>
                            <p:strVal val="#ppt_y"/>
                          </p:val>
                        </p:tav>
                        <p:tav tm="100000">
                          <p:val>
                            <p:strVal val="#ppt_y"/>
                          </p:val>
                        </p:tav>
                      </p:tavLst>
                    </p:anim>
                  </p:childTnLst>
                </p:cTn>
              </p:par>
            </p:tnLst>
          </p:tmpl>
        </p:tmplLst>
      </p:bldP>
    </p:bld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47_Custom Layout">
    <p:spTree>
      <p:nvGrpSpPr>
        <p:cNvPr id="1" name=""/>
        <p:cNvGrpSpPr/>
        <p:nvPr/>
      </p:nvGrpSpPr>
      <p:grpSpPr>
        <a:xfrm>
          <a:off x="0" y="0"/>
          <a:ext cx="0" cy="0"/>
          <a:chOff x="0" y="0"/>
          <a:chExt cx="0" cy="0"/>
        </a:xfrm>
      </p:grpSpPr>
      <p:sp>
        <p:nvSpPr>
          <p:cNvPr id="8" name="Picture Placeholder 4">
            <a:extLst>
              <a:ext uri="{FF2B5EF4-FFF2-40B4-BE49-F238E27FC236}">
                <a16:creationId xmlns:a16="http://schemas.microsoft.com/office/drawing/2014/main" id="{BACFF124-91DE-4270-8B20-C6B773DA6F3E}"/>
              </a:ext>
            </a:extLst>
          </p:cNvPr>
          <p:cNvSpPr>
            <a:spLocks noGrp="1"/>
          </p:cNvSpPr>
          <p:nvPr>
            <p:ph type="pic" sz="quarter" idx="19" hasCustomPrompt="1"/>
          </p:nvPr>
        </p:nvSpPr>
        <p:spPr>
          <a:xfrm>
            <a:off x="1232834" y="1224083"/>
            <a:ext cx="2098275" cy="4255378"/>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rot lat="21156044" lon="19471222" rev="2142000"/>
            </a:camera>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
        <p:nvSpPr>
          <p:cNvPr id="9" name="Picture Placeholder 4">
            <a:extLst>
              <a:ext uri="{FF2B5EF4-FFF2-40B4-BE49-F238E27FC236}">
                <a16:creationId xmlns:a16="http://schemas.microsoft.com/office/drawing/2014/main" id="{D29ACF4C-B280-4B02-861A-2A89FDA38207}"/>
              </a:ext>
            </a:extLst>
          </p:cNvPr>
          <p:cNvSpPr>
            <a:spLocks noGrp="1"/>
          </p:cNvSpPr>
          <p:nvPr>
            <p:ph type="pic" sz="quarter" idx="20" hasCustomPrompt="1"/>
          </p:nvPr>
        </p:nvSpPr>
        <p:spPr>
          <a:xfrm>
            <a:off x="4999243" y="1224083"/>
            <a:ext cx="2098275" cy="4255378"/>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rot lat="21156044" lon="19471222" rev="2142000"/>
            </a:camera>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
        <p:nvSpPr>
          <p:cNvPr id="10" name="Picture Placeholder 4">
            <a:extLst>
              <a:ext uri="{FF2B5EF4-FFF2-40B4-BE49-F238E27FC236}">
                <a16:creationId xmlns:a16="http://schemas.microsoft.com/office/drawing/2014/main" id="{CEFB7973-0670-4441-9F1A-0A9A6A0C786C}"/>
              </a:ext>
            </a:extLst>
          </p:cNvPr>
          <p:cNvSpPr>
            <a:spLocks noGrp="1"/>
          </p:cNvSpPr>
          <p:nvPr>
            <p:ph type="pic" sz="quarter" idx="21" hasCustomPrompt="1"/>
          </p:nvPr>
        </p:nvSpPr>
        <p:spPr>
          <a:xfrm>
            <a:off x="8909132" y="1224083"/>
            <a:ext cx="2098275" cy="4255378"/>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rot lat="21156044" lon="19471222" rev="2142000"/>
            </a:camera>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Tree>
    <p:extLst>
      <p:ext uri="{BB962C8B-B14F-4D97-AF65-F5344CB8AC3E}">
        <p14:creationId xmlns:p14="http://schemas.microsoft.com/office/powerpoint/2010/main" val="1920042205"/>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10" presetClass="entr" presetSubtype="0" dur="300" fill="hold" grpId="0" nodeType="withEffect">
                                  <p:stCondLst>
                                    <p:cond delay="140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300"/>
                                        <p:tgtEl>
                                          <p:spTgt spid="8"/>
                                        </p:tgtEl>
                                      </p:cBhvr>
                                    </p:animEffect>
                                  </p:childTnLst>
                                </p:cTn>
                              </p:par>
                              <p:par>
                                <p:cTn id="8" presetID="10" presetClass="entr" presetSubtype="0" dur="300" fill="hold" grpId="0" nodeType="withEffect">
                                  <p:stCondLst>
                                    <p:cond delay="160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300"/>
                                        <p:tgtEl>
                                          <p:spTgt spid="9"/>
                                        </p:tgtEl>
                                      </p:cBhvr>
                                    </p:animEffect>
                                  </p:childTnLst>
                                </p:cTn>
                              </p:par>
                              <p:par>
                                <p:cTn id="11" presetID="10" presetClass="entr" presetSubtype="0" dur="300" fill="hold" grpId="0" nodeType="withEffect">
                                  <p:stCondLst>
                                    <p:cond delay="18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3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Lst>
  </p:timing>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46_Custom Layout">
    <p:spTree>
      <p:nvGrpSpPr>
        <p:cNvPr id="1" name=""/>
        <p:cNvGrpSpPr/>
        <p:nvPr/>
      </p:nvGrpSpPr>
      <p:grpSpPr>
        <a:xfrm>
          <a:off x="0" y="0"/>
          <a:ext cx="0" cy="0"/>
          <a:chOff x="0" y="0"/>
          <a:chExt cx="0" cy="0"/>
        </a:xfrm>
      </p:grpSpPr>
      <p:sp>
        <p:nvSpPr>
          <p:cNvPr id="11" name="Picture Placeholder 4">
            <a:extLst>
              <a:ext uri="{FF2B5EF4-FFF2-40B4-BE49-F238E27FC236}">
                <a16:creationId xmlns:a16="http://schemas.microsoft.com/office/drawing/2014/main" id="{BC04114F-B17C-47EC-AF69-2916485680D0}"/>
              </a:ext>
            </a:extLst>
          </p:cNvPr>
          <p:cNvSpPr>
            <a:spLocks noGrp="1"/>
          </p:cNvSpPr>
          <p:nvPr>
            <p:ph type="pic" sz="quarter" idx="14" hasCustomPrompt="1"/>
          </p:nvPr>
        </p:nvSpPr>
        <p:spPr>
          <a:xfrm>
            <a:off x="3805790" y="369627"/>
            <a:ext cx="2278521" cy="4634173"/>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rot lat="21156044" lon="19471222" rev="2142000"/>
            </a:camera>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
        <p:nvSpPr>
          <p:cNvPr id="12" name="Picture Placeholder 4">
            <a:extLst>
              <a:ext uri="{FF2B5EF4-FFF2-40B4-BE49-F238E27FC236}">
                <a16:creationId xmlns:a16="http://schemas.microsoft.com/office/drawing/2014/main" id="{B6222758-0FAF-4255-9C81-1A0F962F6FB8}"/>
              </a:ext>
            </a:extLst>
          </p:cNvPr>
          <p:cNvSpPr>
            <a:spLocks noGrp="1"/>
          </p:cNvSpPr>
          <p:nvPr>
            <p:ph type="pic" sz="quarter" idx="15" hasCustomPrompt="1"/>
          </p:nvPr>
        </p:nvSpPr>
        <p:spPr>
          <a:xfrm>
            <a:off x="8029802" y="1328498"/>
            <a:ext cx="2278521" cy="4634173"/>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rot lat="21156044" lon="19471222" rev="2142000"/>
            </a:camera>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
        <p:nvSpPr>
          <p:cNvPr id="13" name="Picture Placeholder 4">
            <a:extLst>
              <a:ext uri="{FF2B5EF4-FFF2-40B4-BE49-F238E27FC236}">
                <a16:creationId xmlns:a16="http://schemas.microsoft.com/office/drawing/2014/main" id="{BEC7EB88-1C11-44DF-B215-3D5169279634}"/>
              </a:ext>
            </a:extLst>
          </p:cNvPr>
          <p:cNvSpPr>
            <a:spLocks noGrp="1"/>
          </p:cNvSpPr>
          <p:nvPr>
            <p:ph type="pic" sz="quarter" idx="16" hasCustomPrompt="1"/>
          </p:nvPr>
        </p:nvSpPr>
        <p:spPr>
          <a:xfrm>
            <a:off x="7004941" y="4764436"/>
            <a:ext cx="2278521" cy="4634173"/>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rot lat="21156044" lon="19471222" rev="2142000"/>
            </a:camera>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
        <p:nvSpPr>
          <p:cNvPr id="14" name="Picture Placeholder 4">
            <a:extLst>
              <a:ext uri="{FF2B5EF4-FFF2-40B4-BE49-F238E27FC236}">
                <a16:creationId xmlns:a16="http://schemas.microsoft.com/office/drawing/2014/main" id="{533DC553-12CF-406F-9DB9-67DB3CFD36CA}"/>
              </a:ext>
            </a:extLst>
          </p:cNvPr>
          <p:cNvSpPr>
            <a:spLocks noGrp="1"/>
          </p:cNvSpPr>
          <p:nvPr>
            <p:ph type="pic" sz="quarter" idx="17" hasCustomPrompt="1"/>
          </p:nvPr>
        </p:nvSpPr>
        <p:spPr>
          <a:xfrm>
            <a:off x="4850430" y="-3081125"/>
            <a:ext cx="2278521" cy="4634173"/>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rot lat="21156044" lon="19471222" rev="2142000"/>
            </a:camera>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
        <p:nvSpPr>
          <p:cNvPr id="17" name="Picture Placeholder 4">
            <a:extLst>
              <a:ext uri="{FF2B5EF4-FFF2-40B4-BE49-F238E27FC236}">
                <a16:creationId xmlns:a16="http://schemas.microsoft.com/office/drawing/2014/main" id="{A89E6887-55DE-40BF-915A-82B7ABE85B25}"/>
              </a:ext>
            </a:extLst>
          </p:cNvPr>
          <p:cNvSpPr>
            <a:spLocks noGrp="1"/>
          </p:cNvSpPr>
          <p:nvPr>
            <p:ph type="pic" sz="quarter" idx="18" hasCustomPrompt="1"/>
          </p:nvPr>
        </p:nvSpPr>
        <p:spPr>
          <a:xfrm>
            <a:off x="628784" y="-4053479"/>
            <a:ext cx="2278521" cy="4634173"/>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rot lat="21156044" lon="19471222" rev="2142000"/>
            </a:camera>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
        <p:nvSpPr>
          <p:cNvPr id="18" name="Picture Placeholder 4">
            <a:extLst>
              <a:ext uri="{FF2B5EF4-FFF2-40B4-BE49-F238E27FC236}">
                <a16:creationId xmlns:a16="http://schemas.microsoft.com/office/drawing/2014/main" id="{7A5965A1-0BCC-4AA7-AA83-A54A26EEBB38}"/>
              </a:ext>
            </a:extLst>
          </p:cNvPr>
          <p:cNvSpPr>
            <a:spLocks noGrp="1"/>
          </p:cNvSpPr>
          <p:nvPr>
            <p:ph type="pic" sz="quarter" idx="19" hasCustomPrompt="1"/>
          </p:nvPr>
        </p:nvSpPr>
        <p:spPr>
          <a:xfrm>
            <a:off x="-289595" y="-669291"/>
            <a:ext cx="2278521" cy="4634173"/>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rot lat="21156044" lon="19471222" rev="2142000"/>
            </a:camera>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
        <p:nvSpPr>
          <p:cNvPr id="19" name="Picture Placeholder 4">
            <a:extLst>
              <a:ext uri="{FF2B5EF4-FFF2-40B4-BE49-F238E27FC236}">
                <a16:creationId xmlns:a16="http://schemas.microsoft.com/office/drawing/2014/main" id="{3D5E6D23-BAD6-4EE7-BEF0-298DCA579CAB}"/>
              </a:ext>
            </a:extLst>
          </p:cNvPr>
          <p:cNvSpPr>
            <a:spLocks noGrp="1"/>
          </p:cNvSpPr>
          <p:nvPr>
            <p:ph type="pic" sz="quarter" idx="20" hasCustomPrompt="1"/>
          </p:nvPr>
        </p:nvSpPr>
        <p:spPr>
          <a:xfrm>
            <a:off x="2889420" y="3753816"/>
            <a:ext cx="2278521" cy="4634173"/>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rot lat="21156044" lon="19471222" rev="2142000"/>
            </a:camera>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
        <p:nvSpPr>
          <p:cNvPr id="20" name="Picture Placeholder 4">
            <a:extLst>
              <a:ext uri="{FF2B5EF4-FFF2-40B4-BE49-F238E27FC236}">
                <a16:creationId xmlns:a16="http://schemas.microsoft.com/office/drawing/2014/main" id="{6F22F61A-69C9-4DA6-9D4F-E04805CAFB25}"/>
              </a:ext>
            </a:extLst>
          </p:cNvPr>
          <p:cNvSpPr>
            <a:spLocks noGrp="1"/>
          </p:cNvSpPr>
          <p:nvPr>
            <p:ph type="pic" sz="quarter" idx="21" hasCustomPrompt="1"/>
          </p:nvPr>
        </p:nvSpPr>
        <p:spPr>
          <a:xfrm>
            <a:off x="6088571" y="8142972"/>
            <a:ext cx="2278521" cy="4634173"/>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rot lat="21156044" lon="19471222" rev="2142000"/>
            </a:camera>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
        <p:nvSpPr>
          <p:cNvPr id="21" name="Picture Placeholder 4">
            <a:extLst>
              <a:ext uri="{FF2B5EF4-FFF2-40B4-BE49-F238E27FC236}">
                <a16:creationId xmlns:a16="http://schemas.microsoft.com/office/drawing/2014/main" id="{C6137A97-A52B-4418-9BB7-52427A63AFAE}"/>
              </a:ext>
            </a:extLst>
          </p:cNvPr>
          <p:cNvSpPr>
            <a:spLocks noGrp="1"/>
          </p:cNvSpPr>
          <p:nvPr>
            <p:ph type="pic" sz="quarter" idx="22" hasCustomPrompt="1"/>
          </p:nvPr>
        </p:nvSpPr>
        <p:spPr>
          <a:xfrm>
            <a:off x="11236624" y="5727928"/>
            <a:ext cx="2278521" cy="4634173"/>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rot lat="21156044" lon="19471222" rev="2142000"/>
            </a:camera>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Tree>
    <p:extLst>
      <p:ext uri="{BB962C8B-B14F-4D97-AF65-F5344CB8AC3E}">
        <p14:creationId xmlns:p14="http://schemas.microsoft.com/office/powerpoint/2010/main" val="1244142156"/>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42" presetClass="path" presetSubtype="0" dur="5000" repeatCount="indefinite" accel="50000" decel="50000" autoRev="1" fill="hold" grpId="0" nodeType="withEffect">
                                  <p:stCondLst>
                                    <p:cond delay="0"/>
                                  </p:stCondLst>
                                  <p:childTnLst>
                                    <p:animMotion origin="layout" path="M -2.38901E-06 2.22222E-06 L -0.18135 -0.44757" pathEditMode="relative" rAng="0" ptsTypes="AA">
                                      <p:cBhvr>
                                        <p:cTn id="6" dur="5000" fill="hold"/>
                                        <p:tgtEl>
                                          <p:spTgt spid="18"/>
                                        </p:tgtEl>
                                        <p:attrNameLst>
                                          <p:attrName>ppt_x</p:attrName>
                                          <p:attrName>ppt_y</p:attrName>
                                        </p:attrNameLst>
                                      </p:cBhvr>
                                      <p:rCtr x="-9068" y="-22384"/>
                                    </p:animMotion>
                                  </p:childTnLst>
                                </p:cTn>
                              </p:par>
                              <p:par>
                                <p:cTn id="7" presetID="42" presetClass="path" presetSubtype="0" dur="5000" repeatCount="indefinite" accel="50000" decel="50000" autoRev="1" fill="hold" grpId="0" nodeType="withEffect">
                                  <p:stCondLst>
                                    <p:cond delay="100"/>
                                  </p:stCondLst>
                                  <p:childTnLst>
                                    <p:animMotion origin="layout" path="M 4.27418E-06 4.81481E-06 L -0.18136 -0.44757" pathEditMode="relative" rAng="0" ptsTypes="AA">
                                      <p:cBhvr>
                                        <p:cTn id="8" dur="5000" fill="hold"/>
                                        <p:tgtEl>
                                          <p:spTgt spid="19"/>
                                        </p:tgtEl>
                                        <p:attrNameLst>
                                          <p:attrName>ppt_x</p:attrName>
                                          <p:attrName>ppt_y</p:attrName>
                                        </p:attrNameLst>
                                      </p:cBhvr>
                                      <p:rCtr x="-9068" y="-22384"/>
                                    </p:animMotion>
                                  </p:childTnLst>
                                </p:cTn>
                              </p:par>
                              <p:par>
                                <p:cTn id="9" presetID="42" presetClass="path" presetSubtype="0" dur="5000" repeatCount="indefinite" accel="50000" decel="50000" autoRev="1" fill="hold" grpId="0" nodeType="withEffect">
                                  <p:stCondLst>
                                    <p:cond delay="200"/>
                                  </p:stCondLst>
                                  <p:childTnLst>
                                    <p:animMotion origin="layout" path="M 3.54511E-06 -1.48148E-06 L -0.18136 -0.44757" pathEditMode="relative" rAng="0" ptsTypes="AA">
                                      <p:cBhvr>
                                        <p:cTn id="10" dur="5000" fill="hold"/>
                                        <p:tgtEl>
                                          <p:spTgt spid="20"/>
                                        </p:tgtEl>
                                        <p:attrNameLst>
                                          <p:attrName>ppt_x</p:attrName>
                                          <p:attrName>ppt_y</p:attrName>
                                        </p:attrNameLst>
                                      </p:cBhvr>
                                      <p:rCtr x="-9068" y="-22384"/>
                                    </p:animMotion>
                                  </p:childTnLst>
                                </p:cTn>
                              </p:par>
                              <p:par>
                                <p:cTn id="11" presetID="42" presetClass="path" presetSubtype="0" dur="3000" repeatCount="indefinite" accel="50000" decel="50000" autoRev="1" fill="hold" grpId="0" nodeType="withEffect">
                                  <p:stCondLst>
                                    <p:cond delay="300"/>
                                  </p:stCondLst>
                                  <p:childTnLst>
                                    <p:animMotion origin="layout" path="M 1.89689E-06 -5E-06 L -0.18136 -0.44757" pathEditMode="relative" rAng="0" ptsTypes="AA">
                                      <p:cBhvr>
                                        <p:cTn id="12" dur="3000" fill="hold"/>
                                        <p:tgtEl>
                                          <p:spTgt spid="17"/>
                                        </p:tgtEl>
                                        <p:attrNameLst>
                                          <p:attrName>ppt_x</p:attrName>
                                          <p:attrName>ppt_y</p:attrName>
                                        </p:attrNameLst>
                                      </p:cBhvr>
                                      <p:rCtr x="-9068" y="-22373"/>
                                    </p:animMotion>
                                  </p:childTnLst>
                                </p:cTn>
                              </p:par>
                              <p:par>
                                <p:cTn id="13" presetID="42" presetClass="path" presetSubtype="0" dur="3000" repeatCount="indefinite" accel="50000" decel="50000" autoRev="1" fill="hold" grpId="0" nodeType="withEffect">
                                  <p:stCondLst>
                                    <p:cond delay="400"/>
                                  </p:stCondLst>
                                  <p:childTnLst>
                                    <p:animMotion origin="layout" path="M 3.84716E-06 -2.40741E-06 L -0.18136 -0.44757" pathEditMode="relative" rAng="0" ptsTypes="AA">
                                      <p:cBhvr>
                                        <p:cTn id="14" dur="3000" fill="hold"/>
                                        <p:tgtEl>
                                          <p:spTgt spid="11"/>
                                        </p:tgtEl>
                                        <p:attrNameLst>
                                          <p:attrName>ppt_x</p:attrName>
                                          <p:attrName>ppt_y</p:attrName>
                                        </p:attrNameLst>
                                      </p:cBhvr>
                                      <p:rCtr x="-9068" y="-22384"/>
                                    </p:animMotion>
                                  </p:childTnLst>
                                </p:cTn>
                              </p:par>
                              <p:par>
                                <p:cTn id="15" presetID="42" presetClass="path" presetSubtype="0" dur="3000" repeatCount="indefinite" accel="50000" decel="50000" autoRev="1" fill="hold" grpId="0" nodeType="withEffect">
                                  <p:stCondLst>
                                    <p:cond delay="500"/>
                                  </p:stCondLst>
                                  <p:childTnLst>
                                    <p:animMotion origin="layout" path="M 3.11808E-06 -3.14815E-06 L -0.18136 -0.44757" pathEditMode="relative" rAng="0" ptsTypes="AA">
                                      <p:cBhvr>
                                        <p:cTn id="16" dur="3000" fill="hold"/>
                                        <p:tgtEl>
                                          <p:spTgt spid="13"/>
                                        </p:tgtEl>
                                        <p:attrNameLst>
                                          <p:attrName>ppt_x</p:attrName>
                                          <p:attrName>ppt_y</p:attrName>
                                        </p:attrNameLst>
                                      </p:cBhvr>
                                      <p:rCtr x="-9068" y="-22384"/>
                                    </p:animMotion>
                                  </p:childTnLst>
                                </p:cTn>
                              </p:par>
                              <p:par>
                                <p:cTn id="17" presetID="42" presetClass="path" presetSubtype="0" dur="7000" repeatCount="indefinite" accel="50000" decel="50000" autoRev="1" fill="hold" grpId="0" nodeType="withEffect">
                                  <p:stCondLst>
                                    <p:cond delay="600"/>
                                  </p:stCondLst>
                                  <p:childTnLst>
                                    <p:animMotion origin="layout" path="M 2.82255E-06 2.59259E-06 L -0.18136 -0.44757" pathEditMode="relative" rAng="0" ptsTypes="AA">
                                      <p:cBhvr>
                                        <p:cTn id="18" dur="7000" fill="hold"/>
                                        <p:tgtEl>
                                          <p:spTgt spid="14"/>
                                        </p:tgtEl>
                                        <p:attrNameLst>
                                          <p:attrName>ppt_x</p:attrName>
                                          <p:attrName>ppt_y</p:attrName>
                                        </p:attrNameLst>
                                      </p:cBhvr>
                                      <p:rCtr x="-9068" y="-22373"/>
                                    </p:animMotion>
                                  </p:childTnLst>
                                </p:cTn>
                              </p:par>
                              <p:par>
                                <p:cTn id="19" presetID="42" presetClass="path" presetSubtype="0" dur="7000" repeatCount="indefinite" accel="50000" decel="50000" autoRev="1" fill="hold" grpId="0" nodeType="withEffect">
                                  <p:stCondLst>
                                    <p:cond delay="700"/>
                                  </p:stCondLst>
                                  <p:childTnLst>
                                    <p:animMotion origin="layout" path="M -5.14256E-07 2.77778E-06 L -0.18136 -0.44757" pathEditMode="relative" rAng="0" ptsTypes="AA">
                                      <p:cBhvr>
                                        <p:cTn id="20" dur="7000" fill="hold"/>
                                        <p:tgtEl>
                                          <p:spTgt spid="12"/>
                                        </p:tgtEl>
                                        <p:attrNameLst>
                                          <p:attrName>ppt_x</p:attrName>
                                          <p:attrName>ppt_y</p:attrName>
                                        </p:attrNameLst>
                                      </p:cBhvr>
                                      <p:rCtr x="-9068" y="-22384"/>
                                    </p:animMotion>
                                  </p:childTnLst>
                                </p:cTn>
                              </p:par>
                              <p:par>
                                <p:cTn id="21" presetID="42" presetClass="path" presetSubtype="0" dur="7000" repeatCount="indefinite" accel="50000" decel="50000" autoRev="1" fill="hold" grpId="0" nodeType="withEffect">
                                  <p:stCondLst>
                                    <p:cond delay="800"/>
                                  </p:stCondLst>
                                  <p:childTnLst>
                                    <p:animMotion origin="layout" path="M 2.89546E-06 -2.40741E-06 L -0.18136 -0.44757" pathEditMode="relative" rAng="0" ptsTypes="AA">
                                      <p:cBhvr>
                                        <p:cTn id="22" dur="7000" fill="hold"/>
                                        <p:tgtEl>
                                          <p:spTgt spid="21"/>
                                        </p:tgtEl>
                                        <p:attrNameLst>
                                          <p:attrName>ppt_x</p:attrName>
                                          <p:attrName>ppt_y</p:attrName>
                                        </p:attrNameLst>
                                      </p:cBhvr>
                                      <p:rCtr x="-9068" y="-2238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P spid="17" grpId="0" animBg="1"/>
      <p:bldP spid="18" grpId="0" animBg="1"/>
      <p:bldP spid="19" grpId="0" animBg="1"/>
      <p:bldP spid="20" grpId="0" animBg="1"/>
      <p:bldP spid="21" grpId="0" animBg="1"/>
    </p:bld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48_Custom Layout">
    <p:spTree>
      <p:nvGrpSpPr>
        <p:cNvPr id="1" name=""/>
        <p:cNvGrpSpPr/>
        <p:nvPr/>
      </p:nvGrpSpPr>
      <p:grpSpPr>
        <a:xfrm>
          <a:off x="0" y="0"/>
          <a:ext cx="0" cy="0"/>
          <a:chOff x="0" y="0"/>
          <a:chExt cx="0" cy="0"/>
        </a:xfrm>
      </p:grpSpPr>
      <p:sp>
        <p:nvSpPr>
          <p:cNvPr id="3" name="Picture Placeholder 4">
            <a:extLst>
              <a:ext uri="{FF2B5EF4-FFF2-40B4-BE49-F238E27FC236}">
                <a16:creationId xmlns:a16="http://schemas.microsoft.com/office/drawing/2014/main" id="{299FF38B-C933-4889-900A-6F061087770E}"/>
              </a:ext>
            </a:extLst>
          </p:cNvPr>
          <p:cNvSpPr>
            <a:spLocks noGrp="1"/>
          </p:cNvSpPr>
          <p:nvPr>
            <p:ph type="pic" sz="quarter" idx="20" hasCustomPrompt="1"/>
          </p:nvPr>
        </p:nvSpPr>
        <p:spPr>
          <a:xfrm>
            <a:off x="6315322" y="758218"/>
            <a:ext cx="2538913" cy="5149008"/>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rot lat="21156044" lon="19471222" rev="2142000"/>
            </a:camera>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Tree>
    <p:extLst>
      <p:ext uri="{BB962C8B-B14F-4D97-AF65-F5344CB8AC3E}">
        <p14:creationId xmlns:p14="http://schemas.microsoft.com/office/powerpoint/2010/main" val="2084850463"/>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10" presetClass="entr" presetSubtype="0" dur="300" fill="hold" grpId="0" nodeType="withEffect">
                                  <p:stCondLst>
                                    <p:cond delay="160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3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50_Custom Layout">
    <p:spTree>
      <p:nvGrpSpPr>
        <p:cNvPr id="1" name=""/>
        <p:cNvGrpSpPr/>
        <p:nvPr/>
      </p:nvGrpSpPr>
      <p:grpSpPr>
        <a:xfrm>
          <a:off x="0" y="0"/>
          <a:ext cx="0" cy="0"/>
          <a:chOff x="0" y="0"/>
          <a:chExt cx="0" cy="0"/>
        </a:xfrm>
      </p:grpSpPr>
      <p:sp>
        <p:nvSpPr>
          <p:cNvPr id="3" name="Picture Placeholder 4">
            <a:extLst>
              <a:ext uri="{FF2B5EF4-FFF2-40B4-BE49-F238E27FC236}">
                <a16:creationId xmlns:a16="http://schemas.microsoft.com/office/drawing/2014/main" id="{2417F1E4-026F-483C-93F7-966CE4BE8C83}"/>
              </a:ext>
            </a:extLst>
          </p:cNvPr>
          <p:cNvSpPr>
            <a:spLocks noGrp="1" noChangeAspect="1"/>
          </p:cNvSpPr>
          <p:nvPr>
            <p:ph type="pic" sz="quarter" idx="15" hasCustomPrompt="1"/>
          </p:nvPr>
        </p:nvSpPr>
        <p:spPr>
          <a:xfrm>
            <a:off x="5029114" y="849622"/>
            <a:ext cx="2103841" cy="4689762"/>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rot lat="19634922" lon="19414224" rev="3362221"/>
            </a:camera>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Tree>
    <p:extLst>
      <p:ext uri="{BB962C8B-B14F-4D97-AF65-F5344CB8AC3E}">
        <p14:creationId xmlns:p14="http://schemas.microsoft.com/office/powerpoint/2010/main" val="3855109316"/>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10" presetClass="entr" presetSubtype="0" dur="300" fill="hold" grpId="0" nodeType="withEffect">
                                  <p:stCondLst>
                                    <p:cond delay="100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3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51_Custom Layout">
    <p:spTree>
      <p:nvGrpSpPr>
        <p:cNvPr id="1" name=""/>
        <p:cNvGrpSpPr/>
        <p:nvPr/>
      </p:nvGrpSpPr>
      <p:grpSpPr>
        <a:xfrm>
          <a:off x="0" y="0"/>
          <a:ext cx="0" cy="0"/>
          <a:chOff x="0" y="0"/>
          <a:chExt cx="0" cy="0"/>
        </a:xfrm>
      </p:grpSpPr>
      <p:sp>
        <p:nvSpPr>
          <p:cNvPr id="14" name="Picture Placeholder 4">
            <a:extLst>
              <a:ext uri="{FF2B5EF4-FFF2-40B4-BE49-F238E27FC236}">
                <a16:creationId xmlns:a16="http://schemas.microsoft.com/office/drawing/2014/main" id="{2EE59A4B-62F4-4433-BE85-26B188EF139D}"/>
              </a:ext>
            </a:extLst>
          </p:cNvPr>
          <p:cNvSpPr>
            <a:spLocks noGrp="1" noChangeAspect="1"/>
          </p:cNvSpPr>
          <p:nvPr>
            <p:ph type="pic" sz="quarter" idx="13" hasCustomPrompt="1"/>
          </p:nvPr>
        </p:nvSpPr>
        <p:spPr>
          <a:xfrm>
            <a:off x="6225994" y="11418"/>
            <a:ext cx="4034631" cy="8830592"/>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
        <p:nvSpPr>
          <p:cNvPr id="15" name="Picture Placeholder 4">
            <a:extLst>
              <a:ext uri="{FF2B5EF4-FFF2-40B4-BE49-F238E27FC236}">
                <a16:creationId xmlns:a16="http://schemas.microsoft.com/office/drawing/2014/main" id="{18337562-962D-485E-8F64-009D65426FF2}"/>
              </a:ext>
            </a:extLst>
          </p:cNvPr>
          <p:cNvSpPr>
            <a:spLocks noGrp="1" noChangeAspect="1"/>
          </p:cNvSpPr>
          <p:nvPr>
            <p:ph type="pic" sz="quarter" idx="14" hasCustomPrompt="1"/>
          </p:nvPr>
        </p:nvSpPr>
        <p:spPr>
          <a:xfrm>
            <a:off x="13383927" y="4078436"/>
            <a:ext cx="4034631" cy="8830592"/>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
        <p:nvSpPr>
          <p:cNvPr id="16" name="Picture Placeholder 4">
            <a:extLst>
              <a:ext uri="{FF2B5EF4-FFF2-40B4-BE49-F238E27FC236}">
                <a16:creationId xmlns:a16="http://schemas.microsoft.com/office/drawing/2014/main" id="{8F8AEF08-EB9B-4A32-8467-5998B2BB5650}"/>
              </a:ext>
            </a:extLst>
          </p:cNvPr>
          <p:cNvSpPr>
            <a:spLocks noGrp="1" noChangeAspect="1"/>
          </p:cNvSpPr>
          <p:nvPr>
            <p:ph type="pic" sz="quarter" idx="15" hasCustomPrompt="1"/>
          </p:nvPr>
        </p:nvSpPr>
        <p:spPr>
          <a:xfrm>
            <a:off x="-927309" y="-4065365"/>
            <a:ext cx="4034631" cy="8830592"/>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
        <p:nvSpPr>
          <p:cNvPr id="17" name="Picture Placeholder 4">
            <a:extLst>
              <a:ext uri="{FF2B5EF4-FFF2-40B4-BE49-F238E27FC236}">
                <a16:creationId xmlns:a16="http://schemas.microsoft.com/office/drawing/2014/main" id="{6EEEE568-1DB7-48CC-BF26-76D245147EB5}"/>
              </a:ext>
            </a:extLst>
          </p:cNvPr>
          <p:cNvSpPr>
            <a:spLocks noGrp="1" noChangeAspect="1"/>
          </p:cNvSpPr>
          <p:nvPr>
            <p:ph type="pic" sz="quarter" idx="16" hasCustomPrompt="1"/>
          </p:nvPr>
        </p:nvSpPr>
        <p:spPr>
          <a:xfrm>
            <a:off x="4768099" y="-5153771"/>
            <a:ext cx="4034631" cy="8830592"/>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
        <p:nvSpPr>
          <p:cNvPr id="18" name="Picture Placeholder 4">
            <a:extLst>
              <a:ext uri="{FF2B5EF4-FFF2-40B4-BE49-F238E27FC236}">
                <a16:creationId xmlns:a16="http://schemas.microsoft.com/office/drawing/2014/main" id="{467146EF-49BF-42F0-B8C7-5CD08CBA8640}"/>
              </a:ext>
            </a:extLst>
          </p:cNvPr>
          <p:cNvSpPr>
            <a:spLocks noGrp="1" noChangeAspect="1"/>
          </p:cNvSpPr>
          <p:nvPr>
            <p:ph type="pic" sz="quarter" idx="17" hasCustomPrompt="1"/>
          </p:nvPr>
        </p:nvSpPr>
        <p:spPr>
          <a:xfrm>
            <a:off x="11926033" y="-1086753"/>
            <a:ext cx="4034631" cy="8830592"/>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
        <p:nvSpPr>
          <p:cNvPr id="19" name="Picture Placeholder 4">
            <a:extLst>
              <a:ext uri="{FF2B5EF4-FFF2-40B4-BE49-F238E27FC236}">
                <a16:creationId xmlns:a16="http://schemas.microsoft.com/office/drawing/2014/main" id="{7B5FE4D9-3147-4486-96B9-5E08CA951EE6}"/>
              </a:ext>
            </a:extLst>
          </p:cNvPr>
          <p:cNvSpPr>
            <a:spLocks noGrp="1" noChangeAspect="1"/>
          </p:cNvSpPr>
          <p:nvPr>
            <p:ph type="pic" sz="quarter" idx="18" hasCustomPrompt="1"/>
          </p:nvPr>
        </p:nvSpPr>
        <p:spPr>
          <a:xfrm>
            <a:off x="-2385204" y="-9230553"/>
            <a:ext cx="4034631" cy="8830592"/>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
        <p:nvSpPr>
          <p:cNvPr id="20" name="Picture Placeholder 4">
            <a:extLst>
              <a:ext uri="{FF2B5EF4-FFF2-40B4-BE49-F238E27FC236}">
                <a16:creationId xmlns:a16="http://schemas.microsoft.com/office/drawing/2014/main" id="{EDE0EB38-B27B-4434-BFBD-E0630270C9A5}"/>
              </a:ext>
            </a:extLst>
          </p:cNvPr>
          <p:cNvSpPr>
            <a:spLocks noGrp="1" noChangeAspect="1"/>
          </p:cNvSpPr>
          <p:nvPr>
            <p:ph type="pic" sz="quarter" idx="19" hasCustomPrompt="1"/>
          </p:nvPr>
        </p:nvSpPr>
        <p:spPr>
          <a:xfrm>
            <a:off x="-2841811" y="-841556"/>
            <a:ext cx="4034631" cy="8830592"/>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
        <p:nvSpPr>
          <p:cNvPr id="21" name="Picture Placeholder 4">
            <a:extLst>
              <a:ext uri="{FF2B5EF4-FFF2-40B4-BE49-F238E27FC236}">
                <a16:creationId xmlns:a16="http://schemas.microsoft.com/office/drawing/2014/main" id="{4B8E2F39-97C7-4305-8208-06313DBAB462}"/>
              </a:ext>
            </a:extLst>
          </p:cNvPr>
          <p:cNvSpPr>
            <a:spLocks noGrp="1" noChangeAspect="1"/>
          </p:cNvSpPr>
          <p:nvPr>
            <p:ph type="pic" sz="quarter" idx="20" hasCustomPrompt="1"/>
          </p:nvPr>
        </p:nvSpPr>
        <p:spPr>
          <a:xfrm>
            <a:off x="4316123" y="3225462"/>
            <a:ext cx="4034631" cy="8830592"/>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
        <p:nvSpPr>
          <p:cNvPr id="22" name="Picture Placeholder 4">
            <a:extLst>
              <a:ext uri="{FF2B5EF4-FFF2-40B4-BE49-F238E27FC236}">
                <a16:creationId xmlns:a16="http://schemas.microsoft.com/office/drawing/2014/main" id="{9E02DE52-BA19-4266-8058-7F9FDAAF4A1C}"/>
              </a:ext>
            </a:extLst>
          </p:cNvPr>
          <p:cNvSpPr>
            <a:spLocks noGrp="1" noChangeAspect="1"/>
          </p:cNvSpPr>
          <p:nvPr>
            <p:ph type="pic" sz="quarter" idx="21" hasCustomPrompt="1"/>
          </p:nvPr>
        </p:nvSpPr>
        <p:spPr>
          <a:xfrm>
            <a:off x="-9995114" y="-4918338"/>
            <a:ext cx="4034631" cy="8830592"/>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Tree>
    <p:extLst>
      <p:ext uri="{BB962C8B-B14F-4D97-AF65-F5344CB8AC3E}">
        <p14:creationId xmlns:p14="http://schemas.microsoft.com/office/powerpoint/2010/main" val="1873313630"/>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42" presetClass="path" presetSubtype="0" dur="5000" repeatCount="indefinite" accel="20000" decel="20000" autoRev="1" fill="hold" grpId="0" nodeType="withEffect">
                                  <p:stCondLst>
                                    <p:cond delay="0"/>
                                  </p:stCondLst>
                                  <p:childTnLst>
                                    <p:animMotion origin="layout" path="M 4.68559E-06 -4.81481E-06 L 0.61313 0.62929" pathEditMode="relative" rAng="0" ptsTypes="AA">
                                      <p:cBhvr>
                                        <p:cTn id="6" dur="5000" fill="hold"/>
                                        <p:tgtEl>
                                          <p:spTgt spid="21"/>
                                        </p:tgtEl>
                                        <p:attrNameLst>
                                          <p:attrName>ppt_x</p:attrName>
                                          <p:attrName>ppt_y</p:attrName>
                                        </p:attrNameLst>
                                      </p:cBhvr>
                                      <p:rCtr x="30654" y="31458"/>
                                    </p:animMotion>
                                  </p:childTnLst>
                                </p:cTn>
                              </p:par>
                              <p:par>
                                <p:cTn id="7" presetID="42" presetClass="path" presetSubtype="0" dur="5000" repeatCount="indefinite" accel="20000" decel="20000" autoRev="1" fill="hold" grpId="0" nodeType="withEffect">
                                  <p:stCondLst>
                                    <p:cond delay="0"/>
                                  </p:stCondLst>
                                  <p:childTnLst>
                                    <p:animMotion origin="layout" path="M 4.68559E-06 -4.81481E-06 L 0.61313 0.62929" pathEditMode="relative" rAng="0" ptsTypes="AA">
                                      <p:cBhvr>
                                        <p:cTn id="8" dur="5000" fill="hold"/>
                                        <p:tgtEl>
                                          <p:spTgt spid="20"/>
                                        </p:tgtEl>
                                        <p:attrNameLst>
                                          <p:attrName>ppt_x</p:attrName>
                                          <p:attrName>ppt_y</p:attrName>
                                        </p:attrNameLst>
                                      </p:cBhvr>
                                      <p:rCtr x="30654" y="31458"/>
                                    </p:animMotion>
                                  </p:childTnLst>
                                </p:cTn>
                              </p:par>
                              <p:par>
                                <p:cTn id="9" presetID="42" presetClass="path" presetSubtype="0" dur="5000" repeatCount="indefinite" accel="20000" decel="20000" autoRev="1" fill="hold" grpId="0" nodeType="withEffect">
                                  <p:stCondLst>
                                    <p:cond delay="0"/>
                                  </p:stCondLst>
                                  <p:childTnLst>
                                    <p:animMotion origin="layout" path="M 4.68559E-06 -4.81481E-06 L 0.61313 0.62929" pathEditMode="relative" rAng="0" ptsTypes="AA">
                                      <p:cBhvr>
                                        <p:cTn id="10" dur="5000" fill="hold"/>
                                        <p:tgtEl>
                                          <p:spTgt spid="22"/>
                                        </p:tgtEl>
                                        <p:attrNameLst>
                                          <p:attrName>ppt_x</p:attrName>
                                          <p:attrName>ppt_y</p:attrName>
                                        </p:attrNameLst>
                                      </p:cBhvr>
                                      <p:rCtr x="30654" y="31458"/>
                                    </p:animMotion>
                                  </p:childTnLst>
                                </p:cTn>
                              </p:par>
                              <p:par>
                                <p:cTn id="11" presetID="42" presetClass="path" presetSubtype="0" dur="7000" repeatCount="indefinite" accel="20000" decel="20000" autoRev="1" fill="hold" grpId="0" nodeType="withEffect">
                                  <p:stCondLst>
                                    <p:cond delay="0"/>
                                  </p:stCondLst>
                                  <p:childTnLst>
                                    <p:animMotion origin="layout" path="M -4.34579E-06 2.96296E-06 L -0.58521 -0.59398" pathEditMode="relative" rAng="0" ptsTypes="AA">
                                      <p:cBhvr>
                                        <p:cTn id="12" dur="7000" fill="hold"/>
                                        <p:tgtEl>
                                          <p:spTgt spid="15"/>
                                        </p:tgtEl>
                                        <p:attrNameLst>
                                          <p:attrName>ppt_x</p:attrName>
                                          <p:attrName>ppt_y</p:attrName>
                                        </p:attrNameLst>
                                      </p:cBhvr>
                                      <p:rCtr x="-29261" y="-29699"/>
                                    </p:animMotion>
                                  </p:childTnLst>
                                </p:cTn>
                              </p:par>
                              <p:par>
                                <p:cTn id="13" presetID="42" presetClass="path" presetSubtype="0" dur="7000" repeatCount="indefinite" accel="20000" decel="20000" autoRev="1" fill="hold" grpId="0" nodeType="withEffect">
                                  <p:stCondLst>
                                    <p:cond delay="0"/>
                                  </p:stCondLst>
                                  <p:childTnLst>
                                    <p:animMotion origin="layout" path="M -4.34579E-06 2.96296E-06 L -0.58521 -0.59398" pathEditMode="relative" rAng="0" ptsTypes="AA">
                                      <p:cBhvr>
                                        <p:cTn id="14" dur="7000" fill="hold"/>
                                        <p:tgtEl>
                                          <p:spTgt spid="14"/>
                                        </p:tgtEl>
                                        <p:attrNameLst>
                                          <p:attrName>ppt_x</p:attrName>
                                          <p:attrName>ppt_y</p:attrName>
                                        </p:attrNameLst>
                                      </p:cBhvr>
                                      <p:rCtr x="-29261" y="-29699"/>
                                    </p:animMotion>
                                  </p:childTnLst>
                                </p:cTn>
                              </p:par>
                              <p:par>
                                <p:cTn id="15" presetID="42" presetClass="path" presetSubtype="0" dur="7000" repeatCount="indefinite" accel="20000" decel="20000" autoRev="1" fill="hold" grpId="0" nodeType="withEffect">
                                  <p:stCondLst>
                                    <p:cond delay="0"/>
                                  </p:stCondLst>
                                  <p:childTnLst>
                                    <p:animMotion origin="layout" path="M -4.34579E-06 2.96296E-06 L -0.58521 -0.59398" pathEditMode="relative" rAng="0" ptsTypes="AA">
                                      <p:cBhvr>
                                        <p:cTn id="16" dur="7000" fill="hold"/>
                                        <p:tgtEl>
                                          <p:spTgt spid="16"/>
                                        </p:tgtEl>
                                        <p:attrNameLst>
                                          <p:attrName>ppt_x</p:attrName>
                                          <p:attrName>ppt_y</p:attrName>
                                        </p:attrNameLst>
                                      </p:cBhvr>
                                      <p:rCtr x="-29261" y="-29699"/>
                                    </p:animMotion>
                                  </p:childTnLst>
                                </p:cTn>
                              </p:par>
                              <p:par>
                                <p:cTn id="17" presetID="42" presetClass="path" presetSubtype="0" dur="6000" repeatCount="indefinite" accel="20000" decel="20000" autoRev="1" fill="hold" grpId="0" nodeType="withEffect">
                                  <p:stCondLst>
                                    <p:cond delay="0"/>
                                  </p:stCondLst>
                                  <p:childTnLst>
                                    <p:animMotion origin="layout" path="M -4.11405E-06 -3.51852E-06 L 0.61314 0.62929" pathEditMode="relative" rAng="0" ptsTypes="AA">
                                      <p:cBhvr>
                                        <p:cTn id="18" dur="6000" fill="hold"/>
                                        <p:tgtEl>
                                          <p:spTgt spid="18"/>
                                        </p:tgtEl>
                                        <p:attrNameLst>
                                          <p:attrName>ppt_x</p:attrName>
                                          <p:attrName>ppt_y</p:attrName>
                                        </p:attrNameLst>
                                      </p:cBhvr>
                                      <p:rCtr x="30654" y="31458"/>
                                    </p:animMotion>
                                  </p:childTnLst>
                                </p:cTn>
                              </p:par>
                              <p:par>
                                <p:cTn id="19" presetID="42" presetClass="path" presetSubtype="0" dur="6000" repeatCount="indefinite" accel="20000" decel="20000" autoRev="1" fill="hold" grpId="0" nodeType="withEffect">
                                  <p:stCondLst>
                                    <p:cond delay="0"/>
                                  </p:stCondLst>
                                  <p:childTnLst>
                                    <p:animMotion origin="layout" path="M -4.11405E-06 -3.51852E-06 L 0.61314 0.62929" pathEditMode="relative" rAng="0" ptsTypes="AA">
                                      <p:cBhvr>
                                        <p:cTn id="20" dur="6000" fill="hold"/>
                                        <p:tgtEl>
                                          <p:spTgt spid="17"/>
                                        </p:tgtEl>
                                        <p:attrNameLst>
                                          <p:attrName>ppt_x</p:attrName>
                                          <p:attrName>ppt_y</p:attrName>
                                        </p:attrNameLst>
                                      </p:cBhvr>
                                      <p:rCtr x="30654" y="31458"/>
                                    </p:animMotion>
                                  </p:childTnLst>
                                </p:cTn>
                              </p:par>
                              <p:par>
                                <p:cTn id="21" presetID="42" presetClass="path" presetSubtype="0" dur="6000" repeatCount="indefinite" accel="20000" decel="20000" autoRev="1" fill="hold" grpId="0" nodeType="withEffect">
                                  <p:stCondLst>
                                    <p:cond delay="0"/>
                                  </p:stCondLst>
                                  <p:childTnLst>
                                    <p:animMotion origin="layout" path="M -4.11405E-06 -3.51852E-06 L 0.61314 0.62929" pathEditMode="relative" rAng="0" ptsTypes="AA">
                                      <p:cBhvr>
                                        <p:cTn id="22" dur="6000" fill="hold"/>
                                        <p:tgtEl>
                                          <p:spTgt spid="19"/>
                                        </p:tgtEl>
                                        <p:attrNameLst>
                                          <p:attrName>ppt_x</p:attrName>
                                          <p:attrName>ppt_y</p:attrName>
                                        </p:attrNameLst>
                                      </p:cBhvr>
                                      <p:rCtr x="30654" y="3145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animBg="1"/>
      <p:bldP spid="16" grpId="0" animBg="1"/>
      <p:bldP spid="17" grpId="0" animBg="1"/>
      <p:bldP spid="18" grpId="0" animBg="1"/>
      <p:bldP spid="19" grpId="0" animBg="1"/>
      <p:bldP spid="20" grpId="0" animBg="1"/>
      <p:bldP spid="21" grpId="0" animBg="1"/>
      <p:bldP spid="22" grpId="0" animBg="1"/>
    </p:bld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53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5DAAA84-8CB9-4126-A2A3-B5810518A7B3}"/>
              </a:ext>
            </a:extLst>
          </p:cNvPr>
          <p:cNvSpPr>
            <a:spLocks noGrp="1"/>
          </p:cNvSpPr>
          <p:nvPr>
            <p:ph type="pic" sz="quarter" idx="13"/>
          </p:nvPr>
        </p:nvSpPr>
        <p:spPr>
          <a:xfrm>
            <a:off x="6956138" y="1233179"/>
            <a:ext cx="4527231" cy="2759657"/>
          </a:xfrm>
          <a:custGeom>
            <a:avLst/>
            <a:gdLst>
              <a:gd name="connsiteX0" fmla="*/ 0 w 6263640"/>
              <a:gd name="connsiteY0" fmla="*/ 0 h 3817620"/>
              <a:gd name="connsiteX1" fmla="*/ 6263640 w 6263640"/>
              <a:gd name="connsiteY1" fmla="*/ 0 h 3817620"/>
              <a:gd name="connsiteX2" fmla="*/ 6263640 w 6263640"/>
              <a:gd name="connsiteY2" fmla="*/ 3817620 h 3817620"/>
              <a:gd name="connsiteX3" fmla="*/ 0 w 6263640"/>
              <a:gd name="connsiteY3" fmla="*/ 3817620 h 3817620"/>
            </a:gdLst>
            <a:ahLst/>
            <a:cxnLst>
              <a:cxn ang="0">
                <a:pos x="connsiteX0" y="connsiteY0"/>
              </a:cxn>
              <a:cxn ang="0">
                <a:pos x="connsiteX1" y="connsiteY1"/>
              </a:cxn>
              <a:cxn ang="0">
                <a:pos x="connsiteX2" y="connsiteY2"/>
              </a:cxn>
              <a:cxn ang="0">
                <a:pos x="connsiteX3" y="connsiteY3"/>
              </a:cxn>
            </a:cxnLst>
            <a:rect l="l" t="t" r="r" b="b"/>
            <a:pathLst>
              <a:path w="6263640" h="3817620">
                <a:moveTo>
                  <a:pt x="0" y="0"/>
                </a:moveTo>
                <a:lnTo>
                  <a:pt x="6263640" y="0"/>
                </a:lnTo>
                <a:lnTo>
                  <a:pt x="6263640" y="3817620"/>
                </a:lnTo>
                <a:lnTo>
                  <a:pt x="0" y="3817620"/>
                </a:lnTo>
                <a:close/>
              </a:path>
            </a:pathLst>
          </a:custGeom>
          <a:blipFill dpi="0" rotWithShape="1">
            <a:blip r:embed="rId2"/>
            <a:stretch>
              <a:fillRect/>
            </a:stretch>
          </a:blipFill>
          <a:effectLst/>
          <a:scene3d>
            <a:camera prst="isometricLeftDown"/>
            <a:lightRig rig="threePt" dir="t"/>
          </a:scene3d>
        </p:spPr>
        <p:txBody>
          <a:bodyPr wrap="square" anchor="ctr">
            <a:noAutofit/>
          </a:bodyPr>
          <a:lstStyle>
            <a:lvl1pPr marL="0" indent="0" algn="ctr">
              <a:buFontTx/>
              <a:buNone/>
              <a:defRPr sz="1200"/>
            </a:lvl1pPr>
          </a:lstStyle>
          <a:p>
            <a:endParaRPr lang="en-US"/>
          </a:p>
        </p:txBody>
      </p:sp>
    </p:spTree>
    <p:extLst>
      <p:ext uri="{BB962C8B-B14F-4D97-AF65-F5344CB8AC3E}">
        <p14:creationId xmlns:p14="http://schemas.microsoft.com/office/powerpoint/2010/main" val="3466085850"/>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4" dur="1500" decel="10000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500" fill="hold"/>
                                        <p:tgtEl>
                                          <p:spTgt spid="4"/>
                                        </p:tgtEl>
                                        <p:attrNameLst>
                                          <p:attrName>ppt_x</p:attrName>
                                        </p:attrNameLst>
                                      </p:cBhvr>
                                      <p:tavLst>
                                        <p:tav tm="0">
                                          <p:val>
                                            <p:strVal val="#ppt_x"/>
                                          </p:val>
                                        </p:tav>
                                        <p:tav tm="100000">
                                          <p:val>
                                            <p:strVal val="#ppt_x"/>
                                          </p:val>
                                        </p:tav>
                                      </p:tavLst>
                                    </p:anim>
                                    <p:anim calcmode="lin" valueType="num">
                                      <p:cBhvr additive="base">
                                        <p:cTn id="8" dur="1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55_Custom Layou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404C06A5-7833-4BEF-AEAC-88B10E26025F}"/>
              </a:ext>
            </a:extLst>
          </p:cNvPr>
          <p:cNvSpPr>
            <a:spLocks noGrp="1"/>
          </p:cNvSpPr>
          <p:nvPr>
            <p:ph type="pic" sz="quarter" idx="13"/>
          </p:nvPr>
        </p:nvSpPr>
        <p:spPr>
          <a:xfrm>
            <a:off x="4607685" y="2622324"/>
            <a:ext cx="3076629" cy="1848077"/>
          </a:xfrm>
          <a:custGeom>
            <a:avLst/>
            <a:gdLst>
              <a:gd name="connsiteX0" fmla="*/ 0 w 6762750"/>
              <a:gd name="connsiteY0" fmla="*/ 0 h 4086225"/>
              <a:gd name="connsiteX1" fmla="*/ 6762750 w 6762750"/>
              <a:gd name="connsiteY1" fmla="*/ 0 h 4086225"/>
              <a:gd name="connsiteX2" fmla="*/ 6762750 w 6762750"/>
              <a:gd name="connsiteY2" fmla="*/ 4086225 h 4086225"/>
              <a:gd name="connsiteX3" fmla="*/ 0 w 6762750"/>
              <a:gd name="connsiteY3" fmla="*/ 4086225 h 4086225"/>
            </a:gdLst>
            <a:ahLst/>
            <a:cxnLst>
              <a:cxn ang="0">
                <a:pos x="connsiteX0" y="connsiteY0"/>
              </a:cxn>
              <a:cxn ang="0">
                <a:pos x="connsiteX1" y="connsiteY1"/>
              </a:cxn>
              <a:cxn ang="0">
                <a:pos x="connsiteX2" y="connsiteY2"/>
              </a:cxn>
              <a:cxn ang="0">
                <a:pos x="connsiteX3" y="connsiteY3"/>
              </a:cxn>
            </a:cxnLst>
            <a:rect l="l" t="t" r="r" b="b"/>
            <a:pathLst>
              <a:path w="6762750" h="4086225">
                <a:moveTo>
                  <a:pt x="0" y="0"/>
                </a:moveTo>
                <a:lnTo>
                  <a:pt x="6762750" y="0"/>
                </a:lnTo>
                <a:lnTo>
                  <a:pt x="6762750" y="4086225"/>
                </a:lnTo>
                <a:lnTo>
                  <a:pt x="0" y="4086225"/>
                </a:lnTo>
                <a:close/>
              </a:path>
            </a:pathLst>
          </a:custGeom>
          <a:blipFill>
            <a:blip r:embed="rId2"/>
            <a:stretch>
              <a:fillRect/>
            </a:stretch>
          </a:blipFill>
          <a:effectLst/>
        </p:spPr>
        <p:txBody>
          <a:bodyPr wrap="square" anchor="ctr">
            <a:noAutofit/>
          </a:bodyPr>
          <a:lstStyle>
            <a:lvl1pPr marL="0" indent="0" algn="ctr">
              <a:buFontTx/>
              <a:buNone/>
              <a:defRPr sz="1200"/>
            </a:lvl1pPr>
          </a:lstStyle>
          <a:p>
            <a:endParaRPr lang="en-US"/>
          </a:p>
        </p:txBody>
      </p:sp>
    </p:spTree>
    <p:extLst>
      <p:ext uri="{BB962C8B-B14F-4D97-AF65-F5344CB8AC3E}">
        <p14:creationId xmlns:p14="http://schemas.microsoft.com/office/powerpoint/2010/main" val="3382371952"/>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4" dur="1500"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1500" fill="hold"/>
                                        <p:tgtEl>
                                          <p:spTgt spid="6"/>
                                        </p:tgtEl>
                                        <p:attrNameLst>
                                          <p:attrName>ppt_x</p:attrName>
                                        </p:attrNameLst>
                                      </p:cBhvr>
                                      <p:tavLst>
                                        <p:tav tm="0">
                                          <p:val>
                                            <p:strVal val="#ppt_x"/>
                                          </p:val>
                                        </p:tav>
                                        <p:tav tm="100000">
                                          <p:val>
                                            <p:strVal val="#ppt_x"/>
                                          </p:val>
                                        </p:tav>
                                      </p:tavLst>
                                    </p:anim>
                                    <p:anim calcmode="lin" valueType="num">
                                      <p:cBhvr additive="base">
                                        <p:cTn id="8" dur="1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57_Custom Layout">
    <p:spTree>
      <p:nvGrpSpPr>
        <p:cNvPr id="1" name=""/>
        <p:cNvGrpSpPr/>
        <p:nvPr/>
      </p:nvGrpSpPr>
      <p:grpSpPr>
        <a:xfrm>
          <a:off x="0" y="0"/>
          <a:ext cx="0" cy="0"/>
          <a:chOff x="0" y="0"/>
          <a:chExt cx="0" cy="0"/>
        </a:xfrm>
      </p:grpSpPr>
      <p:sp>
        <p:nvSpPr>
          <p:cNvPr id="4" name="Picture Placeholder 28">
            <a:extLst>
              <a:ext uri="{FF2B5EF4-FFF2-40B4-BE49-F238E27FC236}">
                <a16:creationId xmlns:a16="http://schemas.microsoft.com/office/drawing/2014/main" id="{B7AB7AFB-ED3D-4D6A-A9B8-52817BB37E1C}"/>
              </a:ext>
            </a:extLst>
          </p:cNvPr>
          <p:cNvSpPr>
            <a:spLocks noGrp="1"/>
          </p:cNvSpPr>
          <p:nvPr>
            <p:ph type="pic" sz="quarter" idx="14"/>
          </p:nvPr>
        </p:nvSpPr>
        <p:spPr>
          <a:xfrm>
            <a:off x="7553770" y="3302793"/>
            <a:ext cx="629044" cy="1144660"/>
          </a:xfrm>
          <a:custGeom>
            <a:avLst/>
            <a:gdLst>
              <a:gd name="connsiteX0" fmla="*/ 0 w 6261100"/>
              <a:gd name="connsiteY0" fmla="*/ 0 h 13509522"/>
              <a:gd name="connsiteX1" fmla="*/ 6261100 w 6261100"/>
              <a:gd name="connsiteY1" fmla="*/ 0 h 13509522"/>
              <a:gd name="connsiteX2" fmla="*/ 6261100 w 6261100"/>
              <a:gd name="connsiteY2" fmla="*/ 13509522 h 13509522"/>
              <a:gd name="connsiteX3" fmla="*/ 0 w 6261100"/>
              <a:gd name="connsiteY3" fmla="*/ 13509522 h 13509522"/>
            </a:gdLst>
            <a:ahLst/>
            <a:cxnLst>
              <a:cxn ang="0">
                <a:pos x="connsiteX0" y="connsiteY0"/>
              </a:cxn>
              <a:cxn ang="0">
                <a:pos x="connsiteX1" y="connsiteY1"/>
              </a:cxn>
              <a:cxn ang="0">
                <a:pos x="connsiteX2" y="connsiteY2"/>
              </a:cxn>
              <a:cxn ang="0">
                <a:pos x="connsiteX3" y="connsiteY3"/>
              </a:cxn>
            </a:cxnLst>
            <a:rect l="l" t="t" r="r" b="b"/>
            <a:pathLst>
              <a:path w="6261100" h="13509522">
                <a:moveTo>
                  <a:pt x="0" y="0"/>
                </a:moveTo>
                <a:lnTo>
                  <a:pt x="6261100" y="0"/>
                </a:lnTo>
                <a:lnTo>
                  <a:pt x="6261100" y="13509522"/>
                </a:lnTo>
                <a:lnTo>
                  <a:pt x="0" y="13509522"/>
                </a:lnTo>
                <a:close/>
              </a:path>
            </a:pathLst>
          </a:custGeom>
          <a:blipFill>
            <a:blip r:embed="rId2"/>
            <a:tile tx="0" ty="0" sx="100000" sy="100000" flip="none" algn="ctr"/>
          </a:blipFill>
          <a:effectLst/>
          <a:scene3d>
            <a:camera prst="isometricRightUp">
              <a:rot lat="1200000" lon="18899998" rev="780000"/>
            </a:camera>
            <a:lightRig rig="threePt" dir="t"/>
          </a:scene3d>
        </p:spPr>
        <p:txBody>
          <a:bodyPr wrap="square" anchor="ctr">
            <a:noAutofit/>
          </a:bodyPr>
          <a:lstStyle>
            <a:lvl1pPr marL="0" indent="0" algn="ctr">
              <a:buFontTx/>
              <a:buNone/>
              <a:defRPr sz="1200"/>
            </a:lvl1pPr>
          </a:lstStyle>
          <a:p>
            <a:endParaRPr lang="en-US"/>
          </a:p>
        </p:txBody>
      </p:sp>
      <p:sp>
        <p:nvSpPr>
          <p:cNvPr id="3" name="Picture Placeholder 3">
            <a:extLst>
              <a:ext uri="{FF2B5EF4-FFF2-40B4-BE49-F238E27FC236}">
                <a16:creationId xmlns:a16="http://schemas.microsoft.com/office/drawing/2014/main" id="{9A6D1CAE-3831-4DFC-A92E-1E7CD1BD657B}"/>
              </a:ext>
            </a:extLst>
          </p:cNvPr>
          <p:cNvSpPr>
            <a:spLocks noGrp="1"/>
          </p:cNvSpPr>
          <p:nvPr>
            <p:ph type="pic" sz="quarter" idx="13"/>
          </p:nvPr>
        </p:nvSpPr>
        <p:spPr>
          <a:xfrm>
            <a:off x="2228560" y="2434319"/>
            <a:ext cx="3565696" cy="2148840"/>
          </a:xfrm>
          <a:custGeom>
            <a:avLst/>
            <a:gdLst>
              <a:gd name="connsiteX0" fmla="*/ 0 w 6263640"/>
              <a:gd name="connsiteY0" fmla="*/ 0 h 3817620"/>
              <a:gd name="connsiteX1" fmla="*/ 6263640 w 6263640"/>
              <a:gd name="connsiteY1" fmla="*/ 0 h 3817620"/>
              <a:gd name="connsiteX2" fmla="*/ 6263640 w 6263640"/>
              <a:gd name="connsiteY2" fmla="*/ 3817620 h 3817620"/>
              <a:gd name="connsiteX3" fmla="*/ 0 w 6263640"/>
              <a:gd name="connsiteY3" fmla="*/ 3817620 h 3817620"/>
            </a:gdLst>
            <a:ahLst/>
            <a:cxnLst>
              <a:cxn ang="0">
                <a:pos x="connsiteX0" y="connsiteY0"/>
              </a:cxn>
              <a:cxn ang="0">
                <a:pos x="connsiteX1" y="connsiteY1"/>
              </a:cxn>
              <a:cxn ang="0">
                <a:pos x="connsiteX2" y="connsiteY2"/>
              </a:cxn>
              <a:cxn ang="0">
                <a:pos x="connsiteX3" y="connsiteY3"/>
              </a:cxn>
            </a:cxnLst>
            <a:rect l="l" t="t" r="r" b="b"/>
            <a:pathLst>
              <a:path w="6263640" h="3817620">
                <a:moveTo>
                  <a:pt x="0" y="0"/>
                </a:moveTo>
                <a:lnTo>
                  <a:pt x="6263640" y="0"/>
                </a:lnTo>
                <a:lnTo>
                  <a:pt x="6263640" y="3817620"/>
                </a:lnTo>
                <a:lnTo>
                  <a:pt x="0" y="3817620"/>
                </a:lnTo>
                <a:close/>
              </a:path>
            </a:pathLst>
          </a:custGeom>
          <a:blipFill dpi="0" rotWithShape="1">
            <a:blip r:embed="rId3"/>
            <a:stretch>
              <a:fillRect/>
            </a:stretch>
          </a:blipFill>
          <a:effectLst/>
          <a:scene3d>
            <a:camera prst="isometricRightUp"/>
            <a:lightRig rig="threePt" dir="t"/>
          </a:scene3d>
        </p:spPr>
        <p:txBody>
          <a:bodyPr wrap="square" anchor="ctr">
            <a:noAutofit/>
          </a:bodyPr>
          <a:lstStyle>
            <a:lvl1pPr marL="0" indent="0" algn="ctr">
              <a:buFontTx/>
              <a:buNone/>
              <a:defRPr sz="1200"/>
            </a:lvl1pPr>
          </a:lstStyle>
          <a:p>
            <a:endParaRPr lang="en-US"/>
          </a:p>
        </p:txBody>
      </p:sp>
    </p:spTree>
    <p:extLst>
      <p:ext uri="{BB962C8B-B14F-4D97-AF65-F5344CB8AC3E}">
        <p14:creationId xmlns:p14="http://schemas.microsoft.com/office/powerpoint/2010/main" val="1696519493"/>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10" presetClass="entr" presetSubtype="0" dur="30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300"/>
                                        <p:tgtEl>
                                          <p:spTgt spid="3"/>
                                        </p:tgtEl>
                                      </p:cBhvr>
                                    </p:animEffect>
                                  </p:childTnLst>
                                </p:cTn>
                              </p:par>
                              <p:par>
                                <p:cTn id="8" presetID="10" presetClass="entr" presetSubtype="0" dur="300" fill="hold" grpId="0" nodeType="withEffect">
                                  <p:stCondLst>
                                    <p:cond delay="20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3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3" grpId="0" animBg="1"/>
    </p:bld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62_Custom Layout">
    <p:spTree>
      <p:nvGrpSpPr>
        <p:cNvPr id="1" name=""/>
        <p:cNvGrpSpPr/>
        <p:nvPr/>
      </p:nvGrpSpPr>
      <p:grpSpPr>
        <a:xfrm>
          <a:off x="0" y="0"/>
          <a:ext cx="0" cy="0"/>
          <a:chOff x="0" y="0"/>
          <a:chExt cx="0" cy="0"/>
        </a:xfrm>
      </p:grpSpPr>
      <p:sp>
        <p:nvSpPr>
          <p:cNvPr id="7" name="Picture Placeholder 28">
            <a:extLst>
              <a:ext uri="{FF2B5EF4-FFF2-40B4-BE49-F238E27FC236}">
                <a16:creationId xmlns:a16="http://schemas.microsoft.com/office/drawing/2014/main" id="{13D91D79-BB44-418C-A6E0-03C49B2BFFB4}"/>
              </a:ext>
            </a:extLst>
          </p:cNvPr>
          <p:cNvSpPr>
            <a:spLocks noGrp="1"/>
          </p:cNvSpPr>
          <p:nvPr>
            <p:ph type="pic" sz="quarter" idx="14"/>
          </p:nvPr>
        </p:nvSpPr>
        <p:spPr>
          <a:xfrm>
            <a:off x="4883751" y="3678129"/>
            <a:ext cx="643205" cy="1388019"/>
          </a:xfrm>
          <a:custGeom>
            <a:avLst/>
            <a:gdLst>
              <a:gd name="connsiteX0" fmla="*/ 0 w 6261100"/>
              <a:gd name="connsiteY0" fmla="*/ 0 h 13509522"/>
              <a:gd name="connsiteX1" fmla="*/ 6261100 w 6261100"/>
              <a:gd name="connsiteY1" fmla="*/ 0 h 13509522"/>
              <a:gd name="connsiteX2" fmla="*/ 6261100 w 6261100"/>
              <a:gd name="connsiteY2" fmla="*/ 13509522 h 13509522"/>
              <a:gd name="connsiteX3" fmla="*/ 0 w 6261100"/>
              <a:gd name="connsiteY3" fmla="*/ 13509522 h 13509522"/>
            </a:gdLst>
            <a:ahLst/>
            <a:cxnLst>
              <a:cxn ang="0">
                <a:pos x="connsiteX0" y="connsiteY0"/>
              </a:cxn>
              <a:cxn ang="0">
                <a:pos x="connsiteX1" y="connsiteY1"/>
              </a:cxn>
              <a:cxn ang="0">
                <a:pos x="connsiteX2" y="connsiteY2"/>
              </a:cxn>
              <a:cxn ang="0">
                <a:pos x="connsiteX3" y="connsiteY3"/>
              </a:cxn>
            </a:cxnLst>
            <a:rect l="l" t="t" r="r" b="b"/>
            <a:pathLst>
              <a:path w="6261100" h="13509522">
                <a:moveTo>
                  <a:pt x="0" y="0"/>
                </a:moveTo>
                <a:lnTo>
                  <a:pt x="6261100" y="0"/>
                </a:lnTo>
                <a:lnTo>
                  <a:pt x="6261100" y="13509522"/>
                </a:lnTo>
                <a:lnTo>
                  <a:pt x="0" y="13509522"/>
                </a:lnTo>
                <a:close/>
              </a:path>
            </a:pathLst>
          </a:custGeom>
          <a:blipFill dpi="0" rotWithShape="1">
            <a:blip r:embed="rId2"/>
            <a:stretch>
              <a:fillRect/>
            </a:stretch>
          </a:blipFill>
          <a:effectLst/>
          <a:scene3d>
            <a:camera prst="isometricTopUp"/>
            <a:lightRig rig="threePt" dir="t"/>
          </a:scene3d>
        </p:spPr>
        <p:txBody>
          <a:bodyPr wrap="square" anchor="ctr">
            <a:noAutofit/>
          </a:bodyPr>
          <a:lstStyle>
            <a:lvl1pPr marL="0" indent="0" algn="ctr">
              <a:buFontTx/>
              <a:buNone/>
              <a:defRPr sz="1200"/>
            </a:lvl1pPr>
          </a:lstStyle>
          <a:p>
            <a:endParaRPr lang="en-US"/>
          </a:p>
        </p:txBody>
      </p:sp>
      <p:sp>
        <p:nvSpPr>
          <p:cNvPr id="4" name="Picture Placeholder 3">
            <a:extLst>
              <a:ext uri="{FF2B5EF4-FFF2-40B4-BE49-F238E27FC236}">
                <a16:creationId xmlns:a16="http://schemas.microsoft.com/office/drawing/2014/main" id="{B1341CDB-C9B9-4F7E-86D0-A59CD06C8B23}"/>
              </a:ext>
            </a:extLst>
          </p:cNvPr>
          <p:cNvSpPr>
            <a:spLocks noGrp="1"/>
          </p:cNvSpPr>
          <p:nvPr>
            <p:ph type="pic" sz="quarter" idx="13"/>
          </p:nvPr>
        </p:nvSpPr>
        <p:spPr>
          <a:xfrm>
            <a:off x="4622164" y="1151763"/>
            <a:ext cx="4154933" cy="2532716"/>
          </a:xfrm>
          <a:custGeom>
            <a:avLst/>
            <a:gdLst>
              <a:gd name="connsiteX0" fmla="*/ 0 w 6263640"/>
              <a:gd name="connsiteY0" fmla="*/ 0 h 3817620"/>
              <a:gd name="connsiteX1" fmla="*/ 6263640 w 6263640"/>
              <a:gd name="connsiteY1" fmla="*/ 0 h 3817620"/>
              <a:gd name="connsiteX2" fmla="*/ 6263640 w 6263640"/>
              <a:gd name="connsiteY2" fmla="*/ 3817620 h 3817620"/>
              <a:gd name="connsiteX3" fmla="*/ 0 w 6263640"/>
              <a:gd name="connsiteY3" fmla="*/ 3817620 h 3817620"/>
            </a:gdLst>
            <a:ahLst/>
            <a:cxnLst>
              <a:cxn ang="0">
                <a:pos x="connsiteX0" y="connsiteY0"/>
              </a:cxn>
              <a:cxn ang="0">
                <a:pos x="connsiteX1" y="connsiteY1"/>
              </a:cxn>
              <a:cxn ang="0">
                <a:pos x="connsiteX2" y="connsiteY2"/>
              </a:cxn>
              <a:cxn ang="0">
                <a:pos x="connsiteX3" y="connsiteY3"/>
              </a:cxn>
            </a:cxnLst>
            <a:rect l="l" t="t" r="r" b="b"/>
            <a:pathLst>
              <a:path w="6263640" h="3817620">
                <a:moveTo>
                  <a:pt x="0" y="0"/>
                </a:moveTo>
                <a:lnTo>
                  <a:pt x="6263640" y="0"/>
                </a:lnTo>
                <a:lnTo>
                  <a:pt x="6263640" y="3817620"/>
                </a:lnTo>
                <a:lnTo>
                  <a:pt x="0" y="3817620"/>
                </a:lnTo>
                <a:close/>
              </a:path>
            </a:pathLst>
          </a:custGeom>
          <a:blipFill dpi="0" rotWithShape="1">
            <a:blip r:embed="rId3"/>
            <a:stretch>
              <a:fillRect/>
            </a:stretch>
          </a:blipFill>
          <a:effectLst/>
          <a:scene3d>
            <a:camera prst="isometricLeftDown"/>
            <a:lightRig rig="threePt" dir="t"/>
          </a:scene3d>
        </p:spPr>
        <p:txBody>
          <a:bodyPr wrap="square" anchor="ctr">
            <a:noAutofit/>
          </a:bodyPr>
          <a:lstStyle>
            <a:lvl1pPr marL="0" indent="0" algn="ctr">
              <a:buFontTx/>
              <a:buNone/>
              <a:defRPr sz="1200"/>
            </a:lvl1pPr>
          </a:lstStyle>
          <a:p>
            <a:endParaRPr lang="en-US"/>
          </a:p>
        </p:txBody>
      </p:sp>
    </p:spTree>
    <p:extLst>
      <p:ext uri="{BB962C8B-B14F-4D97-AF65-F5344CB8AC3E}">
        <p14:creationId xmlns:p14="http://schemas.microsoft.com/office/powerpoint/2010/main" val="359612288"/>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1" dur="1500" decel="10000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500" fill="hold"/>
                                        <p:tgtEl>
                                          <p:spTgt spid="4"/>
                                        </p:tgtEl>
                                        <p:attrNameLst>
                                          <p:attrName>ppt_x</p:attrName>
                                        </p:attrNameLst>
                                      </p:cBhvr>
                                      <p:tavLst>
                                        <p:tav tm="0">
                                          <p:val>
                                            <p:strVal val="#ppt_x"/>
                                          </p:val>
                                        </p:tav>
                                        <p:tav tm="100000">
                                          <p:val>
                                            <p:strVal val="#ppt_x"/>
                                          </p:val>
                                        </p:tav>
                                      </p:tavLst>
                                    </p:anim>
                                    <p:anim calcmode="lin" valueType="num">
                                      <p:cBhvr additive="base">
                                        <p:cTn id="8" dur="1500" fill="hold"/>
                                        <p:tgtEl>
                                          <p:spTgt spid="4"/>
                                        </p:tgtEl>
                                        <p:attrNameLst>
                                          <p:attrName>ppt_y</p:attrName>
                                        </p:attrNameLst>
                                      </p:cBhvr>
                                      <p:tavLst>
                                        <p:tav tm="0">
                                          <p:val>
                                            <p:strVal val="0-#ppt_h/2"/>
                                          </p:val>
                                        </p:tav>
                                        <p:tav tm="100000">
                                          <p:val>
                                            <p:strVal val="#ppt_y"/>
                                          </p:val>
                                        </p:tav>
                                      </p:tavLst>
                                    </p:anim>
                                  </p:childTnLst>
                                </p:cTn>
                              </p:par>
                              <p:par>
                                <p:cTn id="9" presetID="2" presetClass="entr" presetSubtype="4" dur="1500" decel="10000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1500" fill="hold"/>
                                        <p:tgtEl>
                                          <p:spTgt spid="7"/>
                                        </p:tgtEl>
                                        <p:attrNameLst>
                                          <p:attrName>ppt_x</p:attrName>
                                        </p:attrNameLst>
                                      </p:cBhvr>
                                      <p:tavLst>
                                        <p:tav tm="0">
                                          <p:val>
                                            <p:strVal val="#ppt_x"/>
                                          </p:val>
                                        </p:tav>
                                        <p:tav tm="100000">
                                          <p:val>
                                            <p:strVal val="#ppt_x"/>
                                          </p:val>
                                        </p:tav>
                                      </p:tavLst>
                                    </p:anim>
                                    <p:anim calcmode="lin" valueType="num">
                                      <p:cBhvr additive="base">
                                        <p:cTn id="12" dur="1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4" grpId="0" animBg="1"/>
    </p:bld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65_Custom Layout">
    <p:spTree>
      <p:nvGrpSpPr>
        <p:cNvPr id="1" name=""/>
        <p:cNvGrpSpPr/>
        <p:nvPr/>
      </p:nvGrpSpPr>
      <p:grpSpPr>
        <a:xfrm>
          <a:off x="0" y="0"/>
          <a:ext cx="0" cy="0"/>
          <a:chOff x="0" y="0"/>
          <a:chExt cx="0" cy="0"/>
        </a:xfrm>
      </p:grpSpPr>
      <p:sp>
        <p:nvSpPr>
          <p:cNvPr id="9" name="Picture Placeholder 3">
            <a:extLst>
              <a:ext uri="{FF2B5EF4-FFF2-40B4-BE49-F238E27FC236}">
                <a16:creationId xmlns:a16="http://schemas.microsoft.com/office/drawing/2014/main" id="{BB034F9E-2ACF-49E2-B371-928DA82F5E40}"/>
              </a:ext>
            </a:extLst>
          </p:cNvPr>
          <p:cNvSpPr>
            <a:spLocks noGrp="1"/>
          </p:cNvSpPr>
          <p:nvPr>
            <p:ph type="pic" sz="quarter" idx="14"/>
          </p:nvPr>
        </p:nvSpPr>
        <p:spPr>
          <a:xfrm>
            <a:off x="10770215" y="940007"/>
            <a:ext cx="3878940" cy="2364480"/>
          </a:xfrm>
          <a:custGeom>
            <a:avLst/>
            <a:gdLst>
              <a:gd name="connsiteX0" fmla="*/ 0 w 6263640"/>
              <a:gd name="connsiteY0" fmla="*/ 0 h 3817620"/>
              <a:gd name="connsiteX1" fmla="*/ 6263640 w 6263640"/>
              <a:gd name="connsiteY1" fmla="*/ 0 h 3817620"/>
              <a:gd name="connsiteX2" fmla="*/ 6263640 w 6263640"/>
              <a:gd name="connsiteY2" fmla="*/ 3817620 h 3817620"/>
              <a:gd name="connsiteX3" fmla="*/ 0 w 6263640"/>
              <a:gd name="connsiteY3" fmla="*/ 3817620 h 3817620"/>
            </a:gdLst>
            <a:ahLst/>
            <a:cxnLst>
              <a:cxn ang="0">
                <a:pos x="connsiteX0" y="connsiteY0"/>
              </a:cxn>
              <a:cxn ang="0">
                <a:pos x="connsiteX1" y="connsiteY1"/>
              </a:cxn>
              <a:cxn ang="0">
                <a:pos x="connsiteX2" y="connsiteY2"/>
              </a:cxn>
              <a:cxn ang="0">
                <a:pos x="connsiteX3" y="connsiteY3"/>
              </a:cxn>
            </a:cxnLst>
            <a:rect l="l" t="t" r="r" b="b"/>
            <a:pathLst>
              <a:path w="6263640" h="3817620">
                <a:moveTo>
                  <a:pt x="0" y="0"/>
                </a:moveTo>
                <a:lnTo>
                  <a:pt x="6263640" y="0"/>
                </a:lnTo>
                <a:lnTo>
                  <a:pt x="6263640" y="3817620"/>
                </a:lnTo>
                <a:lnTo>
                  <a:pt x="0" y="3817620"/>
                </a:lnTo>
                <a:close/>
              </a:path>
            </a:pathLst>
          </a:custGeom>
          <a:blipFill dpi="0" rotWithShape="1">
            <a:blip r:embed="rId2"/>
            <a:stretch>
              <a:fillRect/>
            </a:stretch>
          </a:blipFill>
          <a:effectLst/>
          <a:scene3d>
            <a:camera prst="isometricLeftDown"/>
            <a:lightRig rig="threePt" dir="t"/>
          </a:scene3d>
        </p:spPr>
        <p:txBody>
          <a:bodyPr wrap="square" anchor="ctr">
            <a:noAutofit/>
          </a:bodyPr>
          <a:lstStyle>
            <a:lvl1pPr marL="0" indent="0" algn="ctr">
              <a:buFontTx/>
              <a:buNone/>
              <a:defRPr sz="1200"/>
            </a:lvl1pPr>
          </a:lstStyle>
          <a:p>
            <a:endParaRPr lang="en-US"/>
          </a:p>
        </p:txBody>
      </p:sp>
      <p:sp>
        <p:nvSpPr>
          <p:cNvPr id="8" name="Picture Placeholder 3">
            <a:extLst>
              <a:ext uri="{FF2B5EF4-FFF2-40B4-BE49-F238E27FC236}">
                <a16:creationId xmlns:a16="http://schemas.microsoft.com/office/drawing/2014/main" id="{FB1E58D5-5B5E-4334-95CB-7C04506A1221}"/>
              </a:ext>
            </a:extLst>
          </p:cNvPr>
          <p:cNvSpPr>
            <a:spLocks noGrp="1"/>
          </p:cNvSpPr>
          <p:nvPr>
            <p:ph type="pic" sz="quarter" idx="15"/>
          </p:nvPr>
        </p:nvSpPr>
        <p:spPr>
          <a:xfrm>
            <a:off x="4858032" y="1543376"/>
            <a:ext cx="3878940" cy="2364480"/>
          </a:xfrm>
          <a:custGeom>
            <a:avLst/>
            <a:gdLst>
              <a:gd name="connsiteX0" fmla="*/ 0 w 6263640"/>
              <a:gd name="connsiteY0" fmla="*/ 0 h 3817620"/>
              <a:gd name="connsiteX1" fmla="*/ 6263640 w 6263640"/>
              <a:gd name="connsiteY1" fmla="*/ 0 h 3817620"/>
              <a:gd name="connsiteX2" fmla="*/ 6263640 w 6263640"/>
              <a:gd name="connsiteY2" fmla="*/ 3817620 h 3817620"/>
              <a:gd name="connsiteX3" fmla="*/ 0 w 6263640"/>
              <a:gd name="connsiteY3" fmla="*/ 3817620 h 3817620"/>
            </a:gdLst>
            <a:ahLst/>
            <a:cxnLst>
              <a:cxn ang="0">
                <a:pos x="connsiteX0" y="connsiteY0"/>
              </a:cxn>
              <a:cxn ang="0">
                <a:pos x="connsiteX1" y="connsiteY1"/>
              </a:cxn>
              <a:cxn ang="0">
                <a:pos x="connsiteX2" y="connsiteY2"/>
              </a:cxn>
              <a:cxn ang="0">
                <a:pos x="connsiteX3" y="connsiteY3"/>
              </a:cxn>
            </a:cxnLst>
            <a:rect l="l" t="t" r="r" b="b"/>
            <a:pathLst>
              <a:path w="6263640" h="3817620">
                <a:moveTo>
                  <a:pt x="0" y="0"/>
                </a:moveTo>
                <a:lnTo>
                  <a:pt x="6263640" y="0"/>
                </a:lnTo>
                <a:lnTo>
                  <a:pt x="6263640" y="3817620"/>
                </a:lnTo>
                <a:lnTo>
                  <a:pt x="0" y="3817620"/>
                </a:lnTo>
                <a:close/>
              </a:path>
            </a:pathLst>
          </a:custGeom>
          <a:blipFill dpi="0" rotWithShape="1">
            <a:blip r:embed="rId2"/>
            <a:stretch>
              <a:fillRect/>
            </a:stretch>
          </a:blipFill>
          <a:effectLst/>
          <a:scene3d>
            <a:camera prst="isometricRightUp"/>
            <a:lightRig rig="threePt" dir="t"/>
          </a:scene3d>
        </p:spPr>
        <p:txBody>
          <a:bodyPr wrap="square" anchor="ctr">
            <a:noAutofit/>
          </a:bodyPr>
          <a:lstStyle>
            <a:lvl1pPr marL="0" indent="0" algn="ctr">
              <a:buFontTx/>
              <a:buNone/>
              <a:defRPr sz="1200"/>
            </a:lvl1pPr>
          </a:lstStyle>
          <a:p>
            <a:endParaRPr lang="en-US"/>
          </a:p>
        </p:txBody>
      </p:sp>
      <p:sp>
        <p:nvSpPr>
          <p:cNvPr id="4" name="Picture Placeholder 3">
            <a:extLst>
              <a:ext uri="{FF2B5EF4-FFF2-40B4-BE49-F238E27FC236}">
                <a16:creationId xmlns:a16="http://schemas.microsoft.com/office/drawing/2014/main" id="{B1341CDB-C9B9-4F7E-86D0-A59CD06C8B23}"/>
              </a:ext>
            </a:extLst>
          </p:cNvPr>
          <p:cNvSpPr>
            <a:spLocks noGrp="1"/>
          </p:cNvSpPr>
          <p:nvPr>
            <p:ph type="pic" sz="quarter" idx="13"/>
          </p:nvPr>
        </p:nvSpPr>
        <p:spPr>
          <a:xfrm>
            <a:off x="8830745" y="3278705"/>
            <a:ext cx="3878940" cy="2364480"/>
          </a:xfrm>
          <a:custGeom>
            <a:avLst/>
            <a:gdLst>
              <a:gd name="connsiteX0" fmla="*/ 0 w 6263640"/>
              <a:gd name="connsiteY0" fmla="*/ 0 h 3817620"/>
              <a:gd name="connsiteX1" fmla="*/ 6263640 w 6263640"/>
              <a:gd name="connsiteY1" fmla="*/ 0 h 3817620"/>
              <a:gd name="connsiteX2" fmla="*/ 6263640 w 6263640"/>
              <a:gd name="connsiteY2" fmla="*/ 3817620 h 3817620"/>
              <a:gd name="connsiteX3" fmla="*/ 0 w 6263640"/>
              <a:gd name="connsiteY3" fmla="*/ 3817620 h 3817620"/>
            </a:gdLst>
            <a:ahLst/>
            <a:cxnLst>
              <a:cxn ang="0">
                <a:pos x="connsiteX0" y="connsiteY0"/>
              </a:cxn>
              <a:cxn ang="0">
                <a:pos x="connsiteX1" y="connsiteY1"/>
              </a:cxn>
              <a:cxn ang="0">
                <a:pos x="connsiteX2" y="connsiteY2"/>
              </a:cxn>
              <a:cxn ang="0">
                <a:pos x="connsiteX3" y="connsiteY3"/>
              </a:cxn>
            </a:cxnLst>
            <a:rect l="l" t="t" r="r" b="b"/>
            <a:pathLst>
              <a:path w="6263640" h="3817620">
                <a:moveTo>
                  <a:pt x="0" y="0"/>
                </a:moveTo>
                <a:lnTo>
                  <a:pt x="6263640" y="0"/>
                </a:lnTo>
                <a:lnTo>
                  <a:pt x="6263640" y="3817620"/>
                </a:lnTo>
                <a:lnTo>
                  <a:pt x="0" y="3817620"/>
                </a:lnTo>
                <a:close/>
              </a:path>
            </a:pathLst>
          </a:custGeom>
          <a:blipFill dpi="0" rotWithShape="1">
            <a:blip r:embed="rId2"/>
            <a:stretch>
              <a:fillRect/>
            </a:stretch>
          </a:blipFill>
          <a:effectLst/>
          <a:scene3d>
            <a:camera prst="isometricLeftDown"/>
            <a:lightRig rig="threePt" dir="t"/>
          </a:scene3d>
        </p:spPr>
        <p:txBody>
          <a:bodyPr wrap="square" anchor="ctr">
            <a:noAutofit/>
          </a:bodyPr>
          <a:lstStyle>
            <a:lvl1pPr marL="0" indent="0" algn="ctr">
              <a:buFontTx/>
              <a:buNone/>
              <a:defRPr sz="1200"/>
            </a:lvl1pPr>
          </a:lstStyle>
          <a:p>
            <a:endParaRPr lang="en-US"/>
          </a:p>
        </p:txBody>
      </p:sp>
    </p:spTree>
    <p:extLst>
      <p:ext uri="{BB962C8B-B14F-4D97-AF65-F5344CB8AC3E}">
        <p14:creationId xmlns:p14="http://schemas.microsoft.com/office/powerpoint/2010/main" val="3449186564"/>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4" dur="1500" decel="10000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1500" fill="hold"/>
                                        <p:tgtEl>
                                          <p:spTgt spid="8"/>
                                        </p:tgtEl>
                                        <p:attrNameLst>
                                          <p:attrName>ppt_x</p:attrName>
                                        </p:attrNameLst>
                                      </p:cBhvr>
                                      <p:tavLst>
                                        <p:tav tm="0">
                                          <p:val>
                                            <p:strVal val="#ppt_x"/>
                                          </p:val>
                                        </p:tav>
                                        <p:tav tm="100000">
                                          <p:val>
                                            <p:strVal val="#ppt_x"/>
                                          </p:val>
                                        </p:tav>
                                      </p:tavLst>
                                    </p:anim>
                                    <p:anim calcmode="lin" valueType="num">
                                      <p:cBhvr additive="base">
                                        <p:cTn id="8" dur="1500" fill="hold"/>
                                        <p:tgtEl>
                                          <p:spTgt spid="8"/>
                                        </p:tgtEl>
                                        <p:attrNameLst>
                                          <p:attrName>ppt_y</p:attrName>
                                        </p:attrNameLst>
                                      </p:cBhvr>
                                      <p:tavLst>
                                        <p:tav tm="0">
                                          <p:val>
                                            <p:strVal val="1+#ppt_h/2"/>
                                          </p:val>
                                        </p:tav>
                                        <p:tav tm="100000">
                                          <p:val>
                                            <p:strVal val="#ppt_y"/>
                                          </p:val>
                                        </p:tav>
                                      </p:tavLst>
                                    </p:anim>
                                  </p:childTnLst>
                                </p:cTn>
                              </p:par>
                              <p:par>
                                <p:cTn id="9" presetID="2" presetClass="entr" presetSubtype="4" dur="1500" decel="100000" fill="hold" grpId="0" nodeType="withEffect">
                                  <p:stCondLst>
                                    <p:cond delay="200"/>
                                  </p:stCondLst>
                                  <p:childTnLst>
                                    <p:set>
                                      <p:cBhvr>
                                        <p:cTn id="10" dur="1" fill="hold">
                                          <p:stCondLst>
                                            <p:cond delay="0"/>
                                          </p:stCondLst>
                                        </p:cTn>
                                        <p:tgtEl>
                                          <p:spTgt spid="4"/>
                                        </p:tgtEl>
                                        <p:attrNameLst>
                                          <p:attrName>style.visibility</p:attrName>
                                        </p:attrNameLst>
                                      </p:cBhvr>
                                      <p:to>
                                        <p:strVal val="visible"/>
                                      </p:to>
                                    </p:set>
                                    <p:anim calcmode="lin" valueType="num">
                                      <p:cBhvr additive="base">
                                        <p:cTn id="11" dur="1500" fill="hold"/>
                                        <p:tgtEl>
                                          <p:spTgt spid="4"/>
                                        </p:tgtEl>
                                        <p:attrNameLst>
                                          <p:attrName>ppt_x</p:attrName>
                                        </p:attrNameLst>
                                      </p:cBhvr>
                                      <p:tavLst>
                                        <p:tav tm="0">
                                          <p:val>
                                            <p:strVal val="#ppt_x"/>
                                          </p:val>
                                        </p:tav>
                                        <p:tav tm="100000">
                                          <p:val>
                                            <p:strVal val="#ppt_x"/>
                                          </p:val>
                                        </p:tav>
                                      </p:tavLst>
                                    </p:anim>
                                    <p:anim calcmode="lin" valueType="num">
                                      <p:cBhvr additive="base">
                                        <p:cTn id="12" dur="1500" fill="hold"/>
                                        <p:tgtEl>
                                          <p:spTgt spid="4"/>
                                        </p:tgtEl>
                                        <p:attrNameLst>
                                          <p:attrName>ppt_y</p:attrName>
                                        </p:attrNameLst>
                                      </p:cBhvr>
                                      <p:tavLst>
                                        <p:tav tm="0">
                                          <p:val>
                                            <p:strVal val="1+#ppt_h/2"/>
                                          </p:val>
                                        </p:tav>
                                        <p:tav tm="100000">
                                          <p:val>
                                            <p:strVal val="#ppt_y"/>
                                          </p:val>
                                        </p:tav>
                                      </p:tavLst>
                                    </p:anim>
                                  </p:childTnLst>
                                </p:cTn>
                              </p:par>
                              <p:par>
                                <p:cTn id="13" presetID="2" presetClass="entr" presetSubtype="1" dur="1500" decel="100000" fill="hold" grpId="0" nodeType="withEffect">
                                  <p:stCondLst>
                                    <p:cond delay="400"/>
                                  </p:stCondLst>
                                  <p:childTnLst>
                                    <p:set>
                                      <p:cBhvr>
                                        <p:cTn id="14" dur="1" fill="hold">
                                          <p:stCondLst>
                                            <p:cond delay="0"/>
                                          </p:stCondLst>
                                        </p:cTn>
                                        <p:tgtEl>
                                          <p:spTgt spid="9"/>
                                        </p:tgtEl>
                                        <p:attrNameLst>
                                          <p:attrName>style.visibility</p:attrName>
                                        </p:attrNameLst>
                                      </p:cBhvr>
                                      <p:to>
                                        <p:strVal val="visible"/>
                                      </p:to>
                                    </p:set>
                                    <p:anim calcmode="lin" valueType="num">
                                      <p:cBhvr additive="base">
                                        <p:cTn id="15" dur="1500" fill="hold"/>
                                        <p:tgtEl>
                                          <p:spTgt spid="9"/>
                                        </p:tgtEl>
                                        <p:attrNameLst>
                                          <p:attrName>ppt_x</p:attrName>
                                        </p:attrNameLst>
                                      </p:cBhvr>
                                      <p:tavLst>
                                        <p:tav tm="0">
                                          <p:val>
                                            <p:strVal val="#ppt_x"/>
                                          </p:val>
                                        </p:tav>
                                        <p:tav tm="100000">
                                          <p:val>
                                            <p:strVal val="#ppt_x"/>
                                          </p:val>
                                        </p:tav>
                                      </p:tavLst>
                                    </p:anim>
                                    <p:anim calcmode="lin" valueType="num">
                                      <p:cBhvr additive="base">
                                        <p:cTn id="16" dur="1500" fill="hold"/>
                                        <p:tgtEl>
                                          <p:spTgt spid="9"/>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8" grpId="0" animBg="1"/>
      <p:bldP spid="4" grpId="0" animBg="1"/>
    </p:bld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HEADING/TEXT/IMAGE 1 big">
    <p:spTree>
      <p:nvGrpSpPr>
        <p:cNvPr id="1" name=""/>
        <p:cNvGrpSpPr/>
        <p:nvPr/>
      </p:nvGrpSpPr>
      <p:grpSpPr>
        <a:xfrm>
          <a:off x="0" y="0"/>
          <a:ext cx="0" cy="0"/>
          <a:chOff x="0" y="0"/>
          <a:chExt cx="0" cy="0"/>
        </a:xfrm>
      </p:grpSpPr>
      <p:sp>
        <p:nvSpPr>
          <p:cNvPr id="13" name="Freihandform: Form 12">
            <a:extLst>
              <a:ext uri="{FF2B5EF4-FFF2-40B4-BE49-F238E27FC236}">
                <a16:creationId xmlns:a16="http://schemas.microsoft.com/office/drawing/2014/main" id="{50EC640D-C73C-4FD9-AD9A-88EE410704F4}"/>
              </a:ext>
            </a:extLst>
          </p:cNvPr>
          <p:cNvSpPr/>
          <p:nvPr/>
        </p:nvSpPr>
        <p:spPr>
          <a:xfrm rot="10800000">
            <a:off x="0" y="1975611"/>
            <a:ext cx="9829800" cy="4882390"/>
          </a:xfrm>
          <a:custGeom>
            <a:avLst/>
            <a:gdLst>
              <a:gd name="connsiteX0" fmla="*/ 910059 w 9829800"/>
              <a:gd name="connsiteY0" fmla="*/ 0 h 4882390"/>
              <a:gd name="connsiteX1" fmla="*/ 3015085 w 9829800"/>
              <a:gd name="connsiteY1" fmla="*/ 0 h 4882390"/>
              <a:gd name="connsiteX2" fmla="*/ 7981950 w 9829800"/>
              <a:gd name="connsiteY2" fmla="*/ 0 h 4882390"/>
              <a:gd name="connsiteX3" fmla="*/ 9829800 w 9829800"/>
              <a:gd name="connsiteY3" fmla="*/ 0 h 4882390"/>
              <a:gd name="connsiteX4" fmla="*/ 9829800 w 9829800"/>
              <a:gd name="connsiteY4" fmla="*/ 4882390 h 4882390"/>
              <a:gd name="connsiteX5" fmla="*/ 7981950 w 9829800"/>
              <a:gd name="connsiteY5" fmla="*/ 4882390 h 4882390"/>
              <a:gd name="connsiteX6" fmla="*/ 2183098 w 9829800"/>
              <a:gd name="connsiteY6" fmla="*/ 4882390 h 4882390"/>
              <a:gd name="connsiteX7" fmla="*/ 78072 w 9829800"/>
              <a:gd name="connsiteY7" fmla="*/ 4882390 h 4882390"/>
              <a:gd name="connsiteX8" fmla="*/ 0 w 9829800"/>
              <a:gd name="connsiteY8" fmla="*/ 4804318 h 4882390"/>
              <a:gd name="connsiteX9" fmla="*/ 831987 w 9829800"/>
              <a:gd name="connsiteY9" fmla="*/ 78072 h 4882390"/>
              <a:gd name="connsiteX10" fmla="*/ 910059 w 9829800"/>
              <a:gd name="connsiteY10" fmla="*/ 0 h 4882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829800" h="4882390">
                <a:moveTo>
                  <a:pt x="910059" y="0"/>
                </a:moveTo>
                <a:lnTo>
                  <a:pt x="3015085" y="0"/>
                </a:lnTo>
                <a:lnTo>
                  <a:pt x="7981950" y="0"/>
                </a:lnTo>
                <a:lnTo>
                  <a:pt x="9829800" y="0"/>
                </a:lnTo>
                <a:lnTo>
                  <a:pt x="9829800" y="4882390"/>
                </a:lnTo>
                <a:lnTo>
                  <a:pt x="7981950" y="4882390"/>
                </a:lnTo>
                <a:lnTo>
                  <a:pt x="2183098" y="4882390"/>
                </a:lnTo>
                <a:lnTo>
                  <a:pt x="78072" y="4882390"/>
                </a:lnTo>
                <a:cubicBezTo>
                  <a:pt x="34957" y="4882390"/>
                  <a:pt x="0" y="4847433"/>
                  <a:pt x="0" y="4804318"/>
                </a:cubicBezTo>
                <a:lnTo>
                  <a:pt x="831987" y="78072"/>
                </a:lnTo>
                <a:cubicBezTo>
                  <a:pt x="831987" y="34957"/>
                  <a:pt x="866945" y="0"/>
                  <a:pt x="910059" y="0"/>
                </a:cubicBezTo>
                <a:close/>
              </a:path>
            </a:pathLst>
          </a:custGeom>
          <a:gradFill>
            <a:gsLst>
              <a:gs pos="100000">
                <a:schemeClr val="bg1"/>
              </a:gs>
              <a:gs pos="5000">
                <a:srgbClr val="ECF0F4"/>
              </a:gs>
            </a:gsLst>
            <a:lin ang="5400000" scaled="1"/>
          </a:gradFill>
          <a:ln w="11652" cap="flat">
            <a:noFill/>
            <a:prstDash val="solid"/>
            <a:miter/>
          </a:ln>
        </p:spPr>
        <p:txBody>
          <a:bodyPr rtlCol="0" anchor="ctr"/>
          <a:lstStyle/>
          <a:p>
            <a:endParaRPr lang="de-DE"/>
          </a:p>
        </p:txBody>
      </p:sp>
      <p:sp>
        <p:nvSpPr>
          <p:cNvPr id="2" name="Titel 1">
            <a:extLst>
              <a:ext uri="{FF2B5EF4-FFF2-40B4-BE49-F238E27FC236}">
                <a16:creationId xmlns:a16="http://schemas.microsoft.com/office/drawing/2014/main" id="{0526DC72-FA1D-422D-8055-3374742D122B}"/>
              </a:ext>
            </a:extLst>
          </p:cNvPr>
          <p:cNvSpPr>
            <a:spLocks noGrp="1"/>
          </p:cNvSpPr>
          <p:nvPr>
            <p:ph type="title"/>
          </p:nvPr>
        </p:nvSpPr>
        <p:spPr>
          <a:xfrm>
            <a:off x="815952" y="733402"/>
            <a:ext cx="4931999" cy="767737"/>
          </a:xfrm>
        </p:spPr>
        <p:txBody>
          <a:bodyPr/>
          <a:lstStyle>
            <a:lvl1pPr>
              <a:lnSpc>
                <a:spcPct val="100000"/>
              </a:lnSpc>
              <a:defRPr/>
            </a:lvl1pPr>
          </a:lstStyle>
          <a:p>
            <a:r>
              <a:rPr lang="de-DE"/>
              <a:t>Mastertitelformat bearbeiten</a:t>
            </a:r>
          </a:p>
        </p:txBody>
      </p:sp>
      <p:sp>
        <p:nvSpPr>
          <p:cNvPr id="3" name="Foliennummernplatzhalter 2">
            <a:extLst>
              <a:ext uri="{FF2B5EF4-FFF2-40B4-BE49-F238E27FC236}">
                <a16:creationId xmlns:a16="http://schemas.microsoft.com/office/drawing/2014/main" id="{5B327254-466C-4606-8589-BCC72CBDADDF}"/>
              </a:ext>
            </a:extLst>
          </p:cNvPr>
          <p:cNvSpPr>
            <a:spLocks noGrp="1"/>
          </p:cNvSpPr>
          <p:nvPr>
            <p:ph type="sldNum" sz="quarter" idx="10"/>
          </p:nvPr>
        </p:nvSpPr>
        <p:spPr/>
        <p:txBody>
          <a:bodyPr/>
          <a:lstStyle/>
          <a:p>
            <a:fld id="{A04BEB4F-8CE1-4F18-986F-6CE0A0BE9470}" type="slidenum">
              <a:rPr lang="de-DE" smtClean="0"/>
              <a:t>‹#›</a:t>
            </a:fld>
            <a:endParaRPr lang="de-DE"/>
          </a:p>
        </p:txBody>
      </p:sp>
      <p:sp>
        <p:nvSpPr>
          <p:cNvPr id="5" name="Textplatzhalter 9">
            <a:extLst>
              <a:ext uri="{FF2B5EF4-FFF2-40B4-BE49-F238E27FC236}">
                <a16:creationId xmlns:a16="http://schemas.microsoft.com/office/drawing/2014/main" id="{6024922C-391C-46EA-9F1C-F5344AAB64C8}"/>
              </a:ext>
            </a:extLst>
          </p:cNvPr>
          <p:cNvSpPr>
            <a:spLocks noGrp="1"/>
          </p:cNvSpPr>
          <p:nvPr>
            <p:ph type="body" sz="quarter" idx="11"/>
          </p:nvPr>
        </p:nvSpPr>
        <p:spPr>
          <a:xfrm>
            <a:off x="815951" y="1979612"/>
            <a:ext cx="4121829" cy="4338638"/>
          </a:xfrm>
          <a:prstGeom prst="rect">
            <a:avLst/>
          </a:prstGeom>
        </p:spPr>
        <p:txBody>
          <a:bodyPr lIns="0" tIns="0" rIns="0" bIns="0">
            <a:normAutofit/>
          </a:bodyPr>
          <a:lstStyle>
            <a:lvl1pPr>
              <a:defRPr sz="1800"/>
            </a:lvl1pPr>
            <a:lvl2pPr>
              <a:defRPr sz="1800"/>
            </a:lvl2pPr>
            <a:lvl3pPr>
              <a:defRPr sz="1800"/>
            </a:lvl3pPr>
            <a:lvl4pPr>
              <a:defRPr sz="1800"/>
            </a:lvl4pPr>
            <a:lvl5pPr>
              <a:defRPr sz="18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4" name="Bildplatzhalter 13">
            <a:extLst>
              <a:ext uri="{FF2B5EF4-FFF2-40B4-BE49-F238E27FC236}">
                <a16:creationId xmlns:a16="http://schemas.microsoft.com/office/drawing/2014/main" id="{768568C2-669C-415D-AE6A-54F4461315C2}"/>
              </a:ext>
            </a:extLst>
          </p:cNvPr>
          <p:cNvSpPr>
            <a:spLocks noGrp="1"/>
          </p:cNvSpPr>
          <p:nvPr>
            <p:ph type="pic" sz="quarter" idx="12" hasCustomPrompt="1"/>
          </p:nvPr>
        </p:nvSpPr>
        <p:spPr>
          <a:xfrm>
            <a:off x="4974436" y="0"/>
            <a:ext cx="7217564" cy="6858000"/>
          </a:xfrm>
          <a:custGeom>
            <a:avLst/>
            <a:gdLst>
              <a:gd name="connsiteX0" fmla="*/ 1207252 w 7217564"/>
              <a:gd name="connsiteY0" fmla="*/ 0 h 6858000"/>
              <a:gd name="connsiteX1" fmla="*/ 7217564 w 7217564"/>
              <a:gd name="connsiteY1" fmla="*/ 0 h 6858000"/>
              <a:gd name="connsiteX2" fmla="*/ 7217564 w 7217564"/>
              <a:gd name="connsiteY2" fmla="*/ 6858000 h 6858000"/>
              <a:gd name="connsiteX3" fmla="*/ 0 w 7217564"/>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217564" h="6858000">
                <a:moveTo>
                  <a:pt x="1207252" y="0"/>
                </a:moveTo>
                <a:lnTo>
                  <a:pt x="7217564" y="0"/>
                </a:lnTo>
                <a:lnTo>
                  <a:pt x="7217564" y="6858000"/>
                </a:lnTo>
                <a:lnTo>
                  <a:pt x="0" y="6858000"/>
                </a:lnTo>
                <a:close/>
              </a:path>
            </a:pathLst>
          </a:custGeom>
          <a:effectLst>
            <a:outerShdw blurRad="190500" dist="127000" dir="2700000" algn="tl" rotWithShape="0">
              <a:prstClr val="black">
                <a:alpha val="10000"/>
              </a:prstClr>
            </a:outerShdw>
          </a:effectLst>
        </p:spPr>
        <p:txBody>
          <a:bodyPr wrap="square">
            <a:noAutofit/>
          </a:bodyPr>
          <a:lstStyle>
            <a:lvl3pPr marL="990600" marR="0" indent="-285750" algn="l" defTabSz="1644650" rtl="0" eaLnBrk="0" fontAlgn="base" latinLnBrk="0" hangingPunct="0">
              <a:lnSpc>
                <a:spcPct val="130000"/>
              </a:lnSpc>
              <a:spcBef>
                <a:spcPct val="0"/>
              </a:spcBef>
              <a:spcAft>
                <a:spcPts val="1200"/>
              </a:spcAft>
              <a:buClr>
                <a:srgbClr val="004C99"/>
              </a:buClr>
              <a:buSzPct val="120000"/>
              <a:defRPr/>
            </a:lvl3pPr>
          </a:lstStyle>
          <a:p>
            <a:pPr marL="1704975" marR="0" lvl="4" indent="-285750" algn="l" defTabSz="1644650" rtl="0" eaLnBrk="0" fontAlgn="base" latinLnBrk="0" hangingPunct="0">
              <a:lnSpc>
                <a:spcPct val="130000"/>
              </a:lnSpc>
              <a:spcBef>
                <a:spcPct val="0"/>
              </a:spcBef>
              <a:spcAft>
                <a:spcPts val="1200"/>
              </a:spcAft>
              <a:buClr>
                <a:srgbClr val="004C99"/>
              </a:buClr>
              <a:buSzPct val="120000"/>
              <a:defRPr/>
            </a:pPr>
            <a:r>
              <a:rPr lang="de-DE"/>
              <a:t>Please insert image</a:t>
            </a:r>
          </a:p>
        </p:txBody>
      </p:sp>
    </p:spTree>
    <p:extLst>
      <p:ext uri="{BB962C8B-B14F-4D97-AF65-F5344CB8AC3E}">
        <p14:creationId xmlns:p14="http://schemas.microsoft.com/office/powerpoint/2010/main" val="2468764785"/>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8" dur="1000" decel="10000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0-#ppt_w/2"/>
                                          </p:val>
                                        </p:tav>
                                        <p:tav tm="100000">
                                          <p:val>
                                            <p:strVal val="#ppt_x"/>
                                          </p:val>
                                        </p:tav>
                                      </p:tavLst>
                                    </p:anim>
                                    <p:anim calcmode="lin" valueType="num">
                                      <p:cBhvr additive="base">
                                        <p:cTn id="8" dur="1000" fill="hold"/>
                                        <p:tgtEl>
                                          <p:spTgt spid="2"/>
                                        </p:tgtEl>
                                        <p:attrNameLst>
                                          <p:attrName>ppt_y</p:attrName>
                                        </p:attrNameLst>
                                      </p:cBhvr>
                                      <p:tavLst>
                                        <p:tav tm="0">
                                          <p:val>
                                            <p:strVal val="#ppt_y"/>
                                          </p:val>
                                        </p:tav>
                                        <p:tav tm="100000">
                                          <p:val>
                                            <p:strVal val="#ppt_y"/>
                                          </p:val>
                                        </p:tav>
                                      </p:tavLst>
                                    </p:anim>
                                  </p:childTnLst>
                                </p:cTn>
                              </p:par>
                              <p:par>
                                <p:cTn id="9" presetID="2" presetClass="entr" presetSubtype="8" dur="1000" decel="100000" fill="hold" grpId="0" nodeType="withEffect">
                                  <p:stCondLst>
                                    <p:cond delay="25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1000" fill="hold"/>
                                        <p:tgtEl>
                                          <p:spTgt spid="5"/>
                                        </p:tgtEl>
                                        <p:attrNameLst>
                                          <p:attrName>ppt_x</p:attrName>
                                        </p:attrNameLst>
                                      </p:cBhvr>
                                      <p:tavLst>
                                        <p:tav tm="0">
                                          <p:val>
                                            <p:strVal val="0-#ppt_w/2"/>
                                          </p:val>
                                        </p:tav>
                                        <p:tav tm="100000">
                                          <p:val>
                                            <p:strVal val="#ppt_x"/>
                                          </p:val>
                                        </p:tav>
                                      </p:tavLst>
                                    </p:anim>
                                    <p:anim calcmode="lin" valueType="num">
                                      <p:cBhvr additive="base">
                                        <p:cTn id="12" dur="1000" fill="hold"/>
                                        <p:tgtEl>
                                          <p:spTgt spid="5"/>
                                        </p:tgtEl>
                                        <p:attrNameLst>
                                          <p:attrName>ppt_y</p:attrName>
                                        </p:attrNameLst>
                                      </p:cBhvr>
                                      <p:tavLst>
                                        <p:tav tm="0">
                                          <p:val>
                                            <p:strVal val="#ppt_y"/>
                                          </p:val>
                                        </p:tav>
                                        <p:tav tm="100000">
                                          <p:val>
                                            <p:strVal val="#ppt_y"/>
                                          </p:val>
                                        </p:tav>
                                      </p:tavLst>
                                    </p:anim>
                                  </p:childTnLst>
                                </p:cTn>
                              </p:par>
                              <p:par>
                                <p:cTn id="13" presetID="2" presetClass="entr" presetSubtype="2" dur="1000" decel="100000" fill="hold" grpId="0" nodeType="withEffect">
                                  <p:stCondLst>
                                    <p:cond delay="500"/>
                                  </p:stCondLst>
                                  <p:childTnLst>
                                    <p:set>
                                      <p:cBhvr>
                                        <p:cTn id="14" dur="1" fill="hold">
                                          <p:stCondLst>
                                            <p:cond delay="0"/>
                                          </p:stCondLst>
                                        </p:cTn>
                                        <p:tgtEl>
                                          <p:spTgt spid="14"/>
                                        </p:tgtEl>
                                        <p:attrNameLst>
                                          <p:attrName>style.visibility</p:attrName>
                                        </p:attrNameLst>
                                      </p:cBhvr>
                                      <p:to>
                                        <p:strVal val="visible"/>
                                      </p:to>
                                    </p:set>
                                    <p:anim calcmode="lin" valueType="num">
                                      <p:cBhvr additive="base">
                                        <p:cTn id="15" dur="1000" fill="hold"/>
                                        <p:tgtEl>
                                          <p:spTgt spid="14"/>
                                        </p:tgtEl>
                                        <p:attrNameLst>
                                          <p:attrName>ppt_x</p:attrName>
                                        </p:attrNameLst>
                                      </p:cBhvr>
                                      <p:tavLst>
                                        <p:tav tm="0">
                                          <p:val>
                                            <p:strVal val="1+#ppt_w/2"/>
                                          </p:val>
                                        </p:tav>
                                        <p:tav tm="100000">
                                          <p:val>
                                            <p:strVal val="#ppt_x"/>
                                          </p:val>
                                        </p:tav>
                                      </p:tavLst>
                                    </p:anim>
                                    <p:anim calcmode="lin" valueType="num">
                                      <p:cBhvr additive="base">
                                        <p:cTn id="16" dur="1000" fill="hold"/>
                                        <p:tgtEl>
                                          <p:spTgt spid="1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2" presetClass="entr" presetSubtype="8" decel="100000" fill="hold" nodeType="withEffect">
                  <p:stCondLst>
                    <p:cond delay="250"/>
                  </p:stCondLst>
                  <p:childTnLst>
                    <p:set>
                      <p:cBhvr>
                        <p:cTn dur="1" fill="hold">
                          <p:stCondLst>
                            <p:cond delay="0"/>
                          </p:stCondLst>
                        </p:cTn>
                        <p:tgtEl>
                          <p:spTgt spid="5"/>
                        </p:tgtEl>
                        <p:attrNameLst>
                          <p:attrName>style.visibility</p:attrName>
                        </p:attrNameLst>
                      </p:cBhvr>
                      <p:to>
                        <p:strVal val="visible"/>
                      </p:to>
                    </p:set>
                    <p:anim calcmode="lin" valueType="num">
                      <p:cBhvr additive="base">
                        <p:cTn dur="1000" fill="hold"/>
                        <p:tgtEl>
                          <p:spTgt spid="5"/>
                        </p:tgtEl>
                        <p:attrNameLst>
                          <p:attrName>ppt_x</p:attrName>
                        </p:attrNameLst>
                      </p:cBhvr>
                      <p:tavLst>
                        <p:tav tm="0">
                          <p:val>
                            <p:strVal val="0-#ppt_w/2"/>
                          </p:val>
                        </p:tav>
                        <p:tav tm="100000">
                          <p:val>
                            <p:strVal val="#ppt_x"/>
                          </p:val>
                        </p:tav>
                      </p:tavLst>
                    </p:anim>
                    <p:anim calcmode="lin" valueType="num">
                      <p:cBhvr additive="base">
                        <p:cTn dur="1000" fill="hold"/>
                        <p:tgtEl>
                          <p:spTgt spid="5"/>
                        </p:tgtEl>
                        <p:attrNameLst>
                          <p:attrName>ppt_y</p:attrName>
                        </p:attrNameLst>
                      </p:cBhvr>
                      <p:tavLst>
                        <p:tav tm="0">
                          <p:val>
                            <p:strVal val="#ppt_y"/>
                          </p:val>
                        </p:tav>
                        <p:tav tm="100000">
                          <p:val>
                            <p:strVal val="#ppt_y"/>
                          </p:val>
                        </p:tav>
                      </p:tavLst>
                    </p:anim>
                  </p:childTnLst>
                </p:cTn>
              </p:par>
            </p:tnLst>
          </p:tmpl>
        </p:tmplLst>
      </p:bldP>
      <p:bldP spid="14" grpId="0"/>
    </p:bldLst>
  </p:timing>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66_Custom Layou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151603B5-AB83-43BF-A00A-6612535A162F}"/>
              </a:ext>
            </a:extLst>
          </p:cNvPr>
          <p:cNvSpPr>
            <a:spLocks noGrp="1" noChangeAspect="1"/>
          </p:cNvSpPr>
          <p:nvPr>
            <p:ph type="pic" sz="quarter" idx="13"/>
          </p:nvPr>
        </p:nvSpPr>
        <p:spPr>
          <a:xfrm>
            <a:off x="3500556" y="56076"/>
            <a:ext cx="4845689" cy="6654409"/>
          </a:xfrm>
          <a:custGeom>
            <a:avLst/>
            <a:gdLst>
              <a:gd name="connsiteX0" fmla="*/ 0 w 8965220"/>
              <a:gd name="connsiteY0" fmla="*/ 0 h 12310009"/>
              <a:gd name="connsiteX1" fmla="*/ 8965220 w 8965220"/>
              <a:gd name="connsiteY1" fmla="*/ 0 h 12310009"/>
              <a:gd name="connsiteX2" fmla="*/ 8965220 w 8965220"/>
              <a:gd name="connsiteY2" fmla="*/ 12310009 h 12310009"/>
              <a:gd name="connsiteX3" fmla="*/ 0 w 8965220"/>
              <a:gd name="connsiteY3" fmla="*/ 12310009 h 12310009"/>
            </a:gdLst>
            <a:ahLst/>
            <a:cxnLst>
              <a:cxn ang="0">
                <a:pos x="connsiteX0" y="connsiteY0"/>
              </a:cxn>
              <a:cxn ang="0">
                <a:pos x="connsiteX1" y="connsiteY1"/>
              </a:cxn>
              <a:cxn ang="0">
                <a:pos x="connsiteX2" y="connsiteY2"/>
              </a:cxn>
              <a:cxn ang="0">
                <a:pos x="connsiteX3" y="connsiteY3"/>
              </a:cxn>
            </a:cxnLst>
            <a:rect l="l" t="t" r="r" b="b"/>
            <a:pathLst>
              <a:path w="8965220" h="12310009">
                <a:moveTo>
                  <a:pt x="0" y="0"/>
                </a:moveTo>
                <a:lnTo>
                  <a:pt x="8965220" y="0"/>
                </a:lnTo>
                <a:lnTo>
                  <a:pt x="8965220" y="12310009"/>
                </a:lnTo>
                <a:lnTo>
                  <a:pt x="0" y="12310009"/>
                </a:lnTo>
                <a:close/>
              </a:path>
            </a:pathLst>
          </a:custGeom>
          <a:blipFill dpi="0" rotWithShape="1">
            <a:blip r:embed="rId2"/>
            <a:stretch>
              <a:fillRect/>
            </a:stretch>
          </a:blipFill>
          <a:effectLst/>
          <a:scene3d>
            <a:camera prst="isometricTopUp"/>
            <a:lightRig rig="threePt" dir="t"/>
          </a:scene3d>
        </p:spPr>
        <p:txBody>
          <a:bodyPr wrap="square" anchor="ctr">
            <a:noAutofit/>
          </a:bodyPr>
          <a:lstStyle>
            <a:lvl1pPr marL="0" indent="0" algn="ctr">
              <a:buFontTx/>
              <a:buNone/>
              <a:defRPr sz="1200"/>
            </a:lvl1pPr>
          </a:lstStyle>
          <a:p>
            <a:endParaRPr lang="en-US"/>
          </a:p>
        </p:txBody>
      </p:sp>
    </p:spTree>
    <p:extLst>
      <p:ext uri="{BB962C8B-B14F-4D97-AF65-F5344CB8AC3E}">
        <p14:creationId xmlns:p14="http://schemas.microsoft.com/office/powerpoint/2010/main" val="486294419"/>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12" dur="1500" decel="10000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1500" fill="hold"/>
                                        <p:tgtEl>
                                          <p:spTgt spid="3"/>
                                        </p:tgtEl>
                                        <p:attrNameLst>
                                          <p:attrName>ppt_x</p:attrName>
                                        </p:attrNameLst>
                                      </p:cBhvr>
                                      <p:tavLst>
                                        <p:tav tm="0">
                                          <p:val>
                                            <p:strVal val="0-#ppt_w/2"/>
                                          </p:val>
                                        </p:tav>
                                        <p:tav tm="100000">
                                          <p:val>
                                            <p:strVal val="#ppt_x"/>
                                          </p:val>
                                        </p:tav>
                                      </p:tavLst>
                                    </p:anim>
                                    <p:anim calcmode="lin" valueType="num">
                                      <p:cBhvr additive="base">
                                        <p:cTn id="8" dur="1500" fill="hold"/>
                                        <p:tgtEl>
                                          <p:spTgt spid="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67_Custom Layou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E847EA13-01D4-45C3-B0E5-1D3667AA00EB}"/>
              </a:ext>
            </a:extLst>
          </p:cNvPr>
          <p:cNvSpPr>
            <a:spLocks noGrp="1"/>
          </p:cNvSpPr>
          <p:nvPr>
            <p:ph type="pic" sz="quarter" idx="13"/>
          </p:nvPr>
        </p:nvSpPr>
        <p:spPr>
          <a:xfrm>
            <a:off x="4151339" y="834571"/>
            <a:ext cx="3874810" cy="5181601"/>
          </a:xfrm>
          <a:custGeom>
            <a:avLst/>
            <a:gdLst>
              <a:gd name="connsiteX0" fmla="*/ 0 w 7750629"/>
              <a:gd name="connsiteY0" fmla="*/ 0 h 10363201"/>
              <a:gd name="connsiteX1" fmla="*/ 7750629 w 7750629"/>
              <a:gd name="connsiteY1" fmla="*/ 0 h 10363201"/>
              <a:gd name="connsiteX2" fmla="*/ 7750629 w 7750629"/>
              <a:gd name="connsiteY2" fmla="*/ 10363201 h 10363201"/>
              <a:gd name="connsiteX3" fmla="*/ 0 w 7750629"/>
              <a:gd name="connsiteY3" fmla="*/ 10363201 h 10363201"/>
            </a:gdLst>
            <a:ahLst/>
            <a:cxnLst>
              <a:cxn ang="0">
                <a:pos x="connsiteX0" y="connsiteY0"/>
              </a:cxn>
              <a:cxn ang="0">
                <a:pos x="connsiteX1" y="connsiteY1"/>
              </a:cxn>
              <a:cxn ang="0">
                <a:pos x="connsiteX2" y="connsiteY2"/>
              </a:cxn>
              <a:cxn ang="0">
                <a:pos x="connsiteX3" y="connsiteY3"/>
              </a:cxn>
            </a:cxnLst>
            <a:rect l="l" t="t" r="r" b="b"/>
            <a:pathLst>
              <a:path w="7750629" h="10363201">
                <a:moveTo>
                  <a:pt x="0" y="0"/>
                </a:moveTo>
                <a:lnTo>
                  <a:pt x="7750629" y="0"/>
                </a:lnTo>
                <a:lnTo>
                  <a:pt x="7750629" y="10363201"/>
                </a:lnTo>
                <a:lnTo>
                  <a:pt x="0" y="10363201"/>
                </a:lnTo>
                <a:close/>
              </a:path>
            </a:pathLst>
          </a:custGeom>
          <a:blipFill>
            <a:blip r:embed="rId2"/>
            <a:stretch>
              <a:fillRect/>
            </a:stretch>
          </a:blipFill>
          <a:effectLst/>
        </p:spPr>
        <p:txBody>
          <a:bodyPr wrap="square" anchor="ctr">
            <a:noAutofit/>
          </a:bodyPr>
          <a:lstStyle>
            <a:lvl1pPr marL="0" indent="0" algn="ctr">
              <a:buFontTx/>
              <a:buNone/>
              <a:defRPr sz="1200"/>
            </a:lvl1pPr>
          </a:lstStyle>
          <a:p>
            <a:endParaRPr lang="en-US"/>
          </a:p>
        </p:txBody>
      </p:sp>
    </p:spTree>
    <p:extLst>
      <p:ext uri="{BB962C8B-B14F-4D97-AF65-F5344CB8AC3E}">
        <p14:creationId xmlns:p14="http://schemas.microsoft.com/office/powerpoint/2010/main" val="3933084391"/>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4" dur="2000" decel="10000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2000" fill="hold"/>
                                        <p:tgtEl>
                                          <p:spTgt spid="8"/>
                                        </p:tgtEl>
                                        <p:attrNameLst>
                                          <p:attrName>ppt_x</p:attrName>
                                        </p:attrNameLst>
                                      </p:cBhvr>
                                      <p:tavLst>
                                        <p:tav tm="0">
                                          <p:val>
                                            <p:strVal val="#ppt_x"/>
                                          </p:val>
                                        </p:tav>
                                        <p:tav tm="100000">
                                          <p:val>
                                            <p:strVal val="#ppt_x"/>
                                          </p:val>
                                        </p:tav>
                                      </p:tavLst>
                                    </p:anim>
                                    <p:anim calcmode="lin" valueType="num">
                                      <p:cBhvr additive="base">
                                        <p:cTn id="8" dur="20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68_Custom Layout">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FD77B443-E4CE-4B2B-BCA4-5E82A0D3FC56}"/>
              </a:ext>
            </a:extLst>
          </p:cNvPr>
          <p:cNvSpPr>
            <a:spLocks noGrp="1"/>
          </p:cNvSpPr>
          <p:nvPr>
            <p:ph type="pic" sz="quarter" idx="14" hasCustomPrompt="1"/>
          </p:nvPr>
        </p:nvSpPr>
        <p:spPr>
          <a:xfrm>
            <a:off x="909826" y="1479237"/>
            <a:ext cx="3256941" cy="4468697"/>
          </a:xfrm>
          <a:custGeom>
            <a:avLst/>
            <a:gdLst>
              <a:gd name="connsiteX0" fmla="*/ 0 w 6514730"/>
              <a:gd name="connsiteY0" fmla="*/ 0 h 8937393"/>
              <a:gd name="connsiteX1" fmla="*/ 6514730 w 6514730"/>
              <a:gd name="connsiteY1" fmla="*/ 0 h 8937393"/>
              <a:gd name="connsiteX2" fmla="*/ 6514730 w 6514730"/>
              <a:gd name="connsiteY2" fmla="*/ 8937393 h 8937393"/>
              <a:gd name="connsiteX3" fmla="*/ 0 w 6514730"/>
              <a:gd name="connsiteY3" fmla="*/ 8937393 h 8937393"/>
            </a:gdLst>
            <a:ahLst/>
            <a:cxnLst>
              <a:cxn ang="0">
                <a:pos x="connsiteX0" y="connsiteY0"/>
              </a:cxn>
              <a:cxn ang="0">
                <a:pos x="connsiteX1" y="connsiteY1"/>
              </a:cxn>
              <a:cxn ang="0">
                <a:pos x="connsiteX2" y="connsiteY2"/>
              </a:cxn>
              <a:cxn ang="0">
                <a:pos x="connsiteX3" y="connsiteY3"/>
              </a:cxn>
            </a:cxnLst>
            <a:rect l="l" t="t" r="r" b="b"/>
            <a:pathLst>
              <a:path w="6514729" h="8937393">
                <a:moveTo>
                  <a:pt x="0" y="0"/>
                </a:moveTo>
                <a:lnTo>
                  <a:pt x="6514730" y="0"/>
                </a:lnTo>
                <a:lnTo>
                  <a:pt x="6514730" y="8937393"/>
                </a:lnTo>
                <a:lnTo>
                  <a:pt x="0" y="8937393"/>
                </a:lnTo>
                <a:close/>
              </a:path>
            </a:pathLst>
          </a:custGeom>
          <a:blipFill>
            <a:blip r:embed="rId2"/>
            <a:stretch>
              <a:fillRect/>
            </a:stretch>
          </a:blipFill>
          <a:effectLst/>
        </p:spPr>
        <p:txBody>
          <a:bodyPr wrap="square" anchor="ctr">
            <a:noAutofit/>
          </a:bodyPr>
          <a:lstStyle>
            <a:lvl1pPr marL="0" indent="0" algn="ctr">
              <a:buFontTx/>
              <a:buNone/>
              <a:defRPr sz="1200"/>
            </a:lvl1pPr>
          </a:lstStyle>
          <a:p>
            <a:r>
              <a:rPr lang="en-US"/>
              <a:t> </a:t>
            </a:r>
          </a:p>
        </p:txBody>
      </p:sp>
      <p:sp>
        <p:nvSpPr>
          <p:cNvPr id="8" name="Picture Placeholder 7">
            <a:extLst>
              <a:ext uri="{FF2B5EF4-FFF2-40B4-BE49-F238E27FC236}">
                <a16:creationId xmlns:a16="http://schemas.microsoft.com/office/drawing/2014/main" id="{33EDA427-109E-4E2F-B440-99F7E6FF3656}"/>
              </a:ext>
            </a:extLst>
          </p:cNvPr>
          <p:cNvSpPr>
            <a:spLocks noGrp="1"/>
          </p:cNvSpPr>
          <p:nvPr>
            <p:ph type="pic" sz="quarter" idx="13" hasCustomPrompt="1"/>
          </p:nvPr>
        </p:nvSpPr>
        <p:spPr>
          <a:xfrm>
            <a:off x="4213241" y="823246"/>
            <a:ext cx="3720054" cy="5113654"/>
          </a:xfrm>
          <a:custGeom>
            <a:avLst/>
            <a:gdLst>
              <a:gd name="connsiteX0" fmla="*/ 0 w 7441077"/>
              <a:gd name="connsiteY0" fmla="*/ 0 h 10227307"/>
              <a:gd name="connsiteX1" fmla="*/ 7441077 w 7441077"/>
              <a:gd name="connsiteY1" fmla="*/ 0 h 10227307"/>
              <a:gd name="connsiteX2" fmla="*/ 7441077 w 7441077"/>
              <a:gd name="connsiteY2" fmla="*/ 10227307 h 10227307"/>
              <a:gd name="connsiteX3" fmla="*/ 0 w 7441077"/>
              <a:gd name="connsiteY3" fmla="*/ 10227307 h 10227307"/>
            </a:gdLst>
            <a:ahLst/>
            <a:cxnLst>
              <a:cxn ang="0">
                <a:pos x="connsiteX0" y="connsiteY0"/>
              </a:cxn>
              <a:cxn ang="0">
                <a:pos x="connsiteX1" y="connsiteY1"/>
              </a:cxn>
              <a:cxn ang="0">
                <a:pos x="connsiteX2" y="connsiteY2"/>
              </a:cxn>
              <a:cxn ang="0">
                <a:pos x="connsiteX3" y="connsiteY3"/>
              </a:cxn>
            </a:cxnLst>
            <a:rect l="l" t="t" r="r" b="b"/>
            <a:pathLst>
              <a:path w="7441077" h="10227307">
                <a:moveTo>
                  <a:pt x="0" y="0"/>
                </a:moveTo>
                <a:lnTo>
                  <a:pt x="7441077" y="0"/>
                </a:lnTo>
                <a:lnTo>
                  <a:pt x="7441077" y="10227307"/>
                </a:lnTo>
                <a:lnTo>
                  <a:pt x="0" y="10227307"/>
                </a:lnTo>
                <a:close/>
              </a:path>
            </a:pathLst>
          </a:custGeom>
          <a:blipFill>
            <a:blip r:embed="rId2"/>
            <a:stretch>
              <a:fillRect/>
            </a:stretch>
          </a:blipFill>
          <a:effectLst/>
        </p:spPr>
        <p:txBody>
          <a:bodyPr wrap="square" anchor="ctr">
            <a:noAutofit/>
          </a:bodyPr>
          <a:lstStyle>
            <a:lvl1pPr marL="0" indent="0" algn="ctr">
              <a:buFontTx/>
              <a:buNone/>
              <a:defRPr sz="1200"/>
            </a:lvl1pPr>
          </a:lstStyle>
          <a:p>
            <a:r>
              <a:rPr lang="en-US"/>
              <a:t> </a:t>
            </a:r>
          </a:p>
        </p:txBody>
      </p:sp>
    </p:spTree>
    <p:extLst>
      <p:ext uri="{BB962C8B-B14F-4D97-AF65-F5344CB8AC3E}">
        <p14:creationId xmlns:p14="http://schemas.microsoft.com/office/powerpoint/2010/main" val="928832107"/>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8" dur="1500" decel="10000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1500" fill="hold"/>
                                        <p:tgtEl>
                                          <p:spTgt spid="8"/>
                                        </p:tgtEl>
                                        <p:attrNameLst>
                                          <p:attrName>ppt_x</p:attrName>
                                        </p:attrNameLst>
                                      </p:cBhvr>
                                      <p:tavLst>
                                        <p:tav tm="0">
                                          <p:val>
                                            <p:strVal val="0-#ppt_w/2"/>
                                          </p:val>
                                        </p:tav>
                                        <p:tav tm="100000">
                                          <p:val>
                                            <p:strVal val="#ppt_x"/>
                                          </p:val>
                                        </p:tav>
                                      </p:tavLst>
                                    </p:anim>
                                    <p:anim calcmode="lin" valueType="num">
                                      <p:cBhvr additive="base">
                                        <p:cTn id="8" dur="1500" fill="hold"/>
                                        <p:tgtEl>
                                          <p:spTgt spid="8"/>
                                        </p:tgtEl>
                                        <p:attrNameLst>
                                          <p:attrName>ppt_y</p:attrName>
                                        </p:attrNameLst>
                                      </p:cBhvr>
                                      <p:tavLst>
                                        <p:tav tm="0">
                                          <p:val>
                                            <p:strVal val="#ppt_y"/>
                                          </p:val>
                                        </p:tav>
                                        <p:tav tm="100000">
                                          <p:val>
                                            <p:strVal val="#ppt_y"/>
                                          </p:val>
                                        </p:tav>
                                      </p:tavLst>
                                    </p:anim>
                                  </p:childTnLst>
                                </p:cTn>
                              </p:par>
                              <p:par>
                                <p:cTn id="9" presetID="2" presetClass="entr" presetSubtype="2" dur="2000" decel="100000" fill="hold" grpId="0" nodeType="withEffect">
                                  <p:stCondLst>
                                    <p:cond delay="70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2000" fill="hold"/>
                                        <p:tgtEl>
                                          <p:spTgt spid="9"/>
                                        </p:tgtEl>
                                        <p:attrNameLst>
                                          <p:attrName>ppt_x</p:attrName>
                                        </p:attrNameLst>
                                      </p:cBhvr>
                                      <p:tavLst>
                                        <p:tav tm="0">
                                          <p:val>
                                            <p:strVal val="1+#ppt_w/2"/>
                                          </p:val>
                                        </p:tav>
                                        <p:tav tm="100000">
                                          <p:val>
                                            <p:strVal val="#ppt_x"/>
                                          </p:val>
                                        </p:tav>
                                      </p:tavLst>
                                    </p:anim>
                                    <p:anim calcmode="lin" valueType="num">
                                      <p:cBhvr additive="base">
                                        <p:cTn id="12" dur="200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8" grpId="0" animBg="1"/>
    </p:bld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69_Custom Layout">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605AE822-AEAC-4FB9-A43E-290DA7E678D5}"/>
              </a:ext>
            </a:extLst>
          </p:cNvPr>
          <p:cNvSpPr>
            <a:spLocks noGrp="1" noChangeAspect="1"/>
          </p:cNvSpPr>
          <p:nvPr>
            <p:ph type="pic" sz="quarter" idx="13" hasCustomPrompt="1"/>
          </p:nvPr>
        </p:nvSpPr>
        <p:spPr>
          <a:xfrm>
            <a:off x="3077676" y="3000853"/>
            <a:ext cx="5991184" cy="8235591"/>
          </a:xfrm>
          <a:custGeom>
            <a:avLst/>
            <a:gdLst>
              <a:gd name="connsiteX0" fmla="*/ 0 w 7441077"/>
              <a:gd name="connsiteY0" fmla="*/ 0 h 10227307"/>
              <a:gd name="connsiteX1" fmla="*/ 7441077 w 7441077"/>
              <a:gd name="connsiteY1" fmla="*/ 0 h 10227307"/>
              <a:gd name="connsiteX2" fmla="*/ 7441077 w 7441077"/>
              <a:gd name="connsiteY2" fmla="*/ 10227307 h 10227307"/>
              <a:gd name="connsiteX3" fmla="*/ 0 w 7441077"/>
              <a:gd name="connsiteY3" fmla="*/ 10227307 h 10227307"/>
            </a:gdLst>
            <a:ahLst/>
            <a:cxnLst>
              <a:cxn ang="0">
                <a:pos x="connsiteX0" y="connsiteY0"/>
              </a:cxn>
              <a:cxn ang="0">
                <a:pos x="connsiteX1" y="connsiteY1"/>
              </a:cxn>
              <a:cxn ang="0">
                <a:pos x="connsiteX2" y="connsiteY2"/>
              </a:cxn>
              <a:cxn ang="0">
                <a:pos x="connsiteX3" y="connsiteY3"/>
              </a:cxn>
            </a:cxnLst>
            <a:rect l="l" t="t" r="r" b="b"/>
            <a:pathLst>
              <a:path w="7441077" h="10227307">
                <a:moveTo>
                  <a:pt x="0" y="0"/>
                </a:moveTo>
                <a:lnTo>
                  <a:pt x="7441077" y="0"/>
                </a:lnTo>
                <a:lnTo>
                  <a:pt x="7441077" y="10227307"/>
                </a:lnTo>
                <a:lnTo>
                  <a:pt x="0" y="10227307"/>
                </a:lnTo>
                <a:close/>
              </a:path>
            </a:pathLst>
          </a:custGeom>
          <a:blipFill>
            <a:blip r:embed="rId2"/>
            <a:stretch>
              <a:fillRect/>
            </a:stretch>
          </a:blipFill>
          <a:effectLst/>
        </p:spPr>
        <p:txBody>
          <a:bodyPr wrap="square" anchor="ctr">
            <a:noAutofit/>
          </a:bodyPr>
          <a:lstStyle>
            <a:lvl1pPr marL="0" indent="0" algn="ctr">
              <a:buFontTx/>
              <a:buNone/>
              <a:defRPr sz="1200"/>
            </a:lvl1pPr>
          </a:lstStyle>
          <a:p>
            <a:r>
              <a:rPr lang="en-US"/>
              <a:t> </a:t>
            </a:r>
          </a:p>
        </p:txBody>
      </p:sp>
    </p:spTree>
    <p:extLst>
      <p:ext uri="{BB962C8B-B14F-4D97-AF65-F5344CB8AC3E}">
        <p14:creationId xmlns:p14="http://schemas.microsoft.com/office/powerpoint/2010/main" val="2041228705"/>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4" dur="1500" decel="10000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1500" fill="hold"/>
                                        <p:tgtEl>
                                          <p:spTgt spid="14"/>
                                        </p:tgtEl>
                                        <p:attrNameLst>
                                          <p:attrName>ppt_x</p:attrName>
                                        </p:attrNameLst>
                                      </p:cBhvr>
                                      <p:tavLst>
                                        <p:tav tm="0">
                                          <p:val>
                                            <p:strVal val="#ppt_x"/>
                                          </p:val>
                                        </p:tav>
                                        <p:tav tm="100000">
                                          <p:val>
                                            <p:strVal val="#ppt_x"/>
                                          </p:val>
                                        </p:tav>
                                      </p:tavLst>
                                    </p:anim>
                                    <p:anim calcmode="lin" valueType="num">
                                      <p:cBhvr additive="base">
                                        <p:cTn id="8" dur="1500" fill="hold"/>
                                        <p:tgtEl>
                                          <p:spTgt spid="1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73_Custom Layou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DCE07B66-5987-495D-B793-0151B7A8F8DC}"/>
              </a:ext>
            </a:extLst>
          </p:cNvPr>
          <p:cNvSpPr>
            <a:spLocks noGrp="1" noChangeAspect="1"/>
          </p:cNvSpPr>
          <p:nvPr>
            <p:ph type="pic" sz="quarter" idx="13" hasCustomPrompt="1"/>
          </p:nvPr>
        </p:nvSpPr>
        <p:spPr>
          <a:xfrm>
            <a:off x="3086677" y="-542318"/>
            <a:ext cx="6399967" cy="8786779"/>
          </a:xfrm>
          <a:custGeom>
            <a:avLst/>
            <a:gdLst>
              <a:gd name="connsiteX0" fmla="*/ 0 w 5420811"/>
              <a:gd name="connsiteY0" fmla="*/ 0 h 7441488"/>
              <a:gd name="connsiteX1" fmla="*/ 5420811 w 5420811"/>
              <a:gd name="connsiteY1" fmla="*/ 0 h 7441488"/>
              <a:gd name="connsiteX2" fmla="*/ 5420811 w 5420811"/>
              <a:gd name="connsiteY2" fmla="*/ 7441488 h 7441488"/>
              <a:gd name="connsiteX3" fmla="*/ 0 w 5420811"/>
              <a:gd name="connsiteY3" fmla="*/ 7441488 h 7441488"/>
            </a:gdLst>
            <a:ahLst/>
            <a:cxnLst>
              <a:cxn ang="0">
                <a:pos x="connsiteX0" y="connsiteY0"/>
              </a:cxn>
              <a:cxn ang="0">
                <a:pos x="connsiteX1" y="connsiteY1"/>
              </a:cxn>
              <a:cxn ang="0">
                <a:pos x="connsiteX2" y="connsiteY2"/>
              </a:cxn>
              <a:cxn ang="0">
                <a:pos x="connsiteX3" y="connsiteY3"/>
              </a:cxn>
            </a:cxnLst>
            <a:rect l="l" t="t" r="r" b="b"/>
            <a:pathLst>
              <a:path w="5420811" h="7441488">
                <a:moveTo>
                  <a:pt x="0" y="0"/>
                </a:moveTo>
                <a:lnTo>
                  <a:pt x="5420811" y="0"/>
                </a:lnTo>
                <a:lnTo>
                  <a:pt x="5420811" y="7441488"/>
                </a:lnTo>
                <a:lnTo>
                  <a:pt x="0" y="7441488"/>
                </a:lnTo>
                <a:close/>
              </a:path>
            </a:pathLst>
          </a:custGeom>
          <a:blipFill>
            <a:blip r:embed="rId2"/>
            <a:stretch>
              <a:fillRect/>
            </a:stretch>
          </a:blipFill>
          <a:effectLst/>
          <a:scene3d>
            <a:camera prst="isometricTopUp">
              <a:rot lat="19391480" lon="17604000" rev="4500000"/>
            </a:camera>
            <a:lightRig rig="threePt" dir="t"/>
          </a:scene3d>
        </p:spPr>
        <p:txBody>
          <a:bodyPr wrap="square" anchor="ctr">
            <a:noAutofit/>
          </a:bodyPr>
          <a:lstStyle>
            <a:lvl1pPr marL="0" indent="0" algn="ctr">
              <a:buFontTx/>
              <a:buNone/>
              <a:defRPr sz="1200"/>
            </a:lvl1pPr>
          </a:lstStyle>
          <a:p>
            <a:r>
              <a:rPr lang="en-US"/>
              <a:t> </a:t>
            </a:r>
          </a:p>
        </p:txBody>
      </p:sp>
    </p:spTree>
    <p:extLst>
      <p:ext uri="{BB962C8B-B14F-4D97-AF65-F5344CB8AC3E}">
        <p14:creationId xmlns:p14="http://schemas.microsoft.com/office/powerpoint/2010/main" val="2771818241"/>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12" dur="1500"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1500" fill="hold"/>
                                        <p:tgtEl>
                                          <p:spTgt spid="6"/>
                                        </p:tgtEl>
                                        <p:attrNameLst>
                                          <p:attrName>ppt_x</p:attrName>
                                        </p:attrNameLst>
                                      </p:cBhvr>
                                      <p:tavLst>
                                        <p:tav tm="0">
                                          <p:val>
                                            <p:strVal val="0-#ppt_w/2"/>
                                          </p:val>
                                        </p:tav>
                                        <p:tav tm="100000">
                                          <p:val>
                                            <p:strVal val="#ppt_x"/>
                                          </p:val>
                                        </p:tav>
                                      </p:tavLst>
                                    </p:anim>
                                    <p:anim calcmode="lin" valueType="num">
                                      <p:cBhvr additive="base">
                                        <p:cTn id="8" dur="1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78_Custom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83F78BE3-93BA-4AE7-9B9D-7F0CFDEBEEF1}"/>
              </a:ext>
            </a:extLst>
          </p:cNvPr>
          <p:cNvSpPr>
            <a:spLocks noGrp="1" noChangeAspect="1"/>
          </p:cNvSpPr>
          <p:nvPr>
            <p:ph type="pic" sz="quarter" idx="13" hasCustomPrompt="1"/>
          </p:nvPr>
        </p:nvSpPr>
        <p:spPr>
          <a:xfrm>
            <a:off x="2216167" y="477415"/>
            <a:ext cx="3369125" cy="462160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lightRig rig="threePt" dir="t"/>
          </a:scene3d>
          <a:sp3d prstMaterial="matte"/>
        </p:spPr>
        <p:txBody>
          <a:bodyPr wrap="square" anchor="ctr">
            <a:noAutofit/>
          </a:bodyPr>
          <a:lstStyle>
            <a:lvl1pPr marL="0" indent="0" algn="ctr">
              <a:buFontTx/>
              <a:buNone/>
              <a:defRPr sz="1200"/>
            </a:lvl1pPr>
          </a:lstStyle>
          <a:p>
            <a:r>
              <a:rPr lang="en-US"/>
              <a:t> </a:t>
            </a:r>
          </a:p>
        </p:txBody>
      </p:sp>
      <p:sp>
        <p:nvSpPr>
          <p:cNvPr id="14" name="Picture Placeholder 13">
            <a:extLst>
              <a:ext uri="{FF2B5EF4-FFF2-40B4-BE49-F238E27FC236}">
                <a16:creationId xmlns:a16="http://schemas.microsoft.com/office/drawing/2014/main" id="{BE979228-4867-46D4-8D83-B558D8D1F035}"/>
              </a:ext>
            </a:extLst>
          </p:cNvPr>
          <p:cNvSpPr>
            <a:spLocks noGrp="1" noChangeAspect="1"/>
          </p:cNvSpPr>
          <p:nvPr>
            <p:ph type="pic" sz="quarter" idx="14" hasCustomPrompt="1"/>
          </p:nvPr>
        </p:nvSpPr>
        <p:spPr>
          <a:xfrm>
            <a:off x="6707311" y="-30480"/>
            <a:ext cx="3369125" cy="462160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LeftDown"/>
            <a:lightRig rig="threePt" dir="t"/>
          </a:scene3d>
          <a:sp3d prstMaterial="matte"/>
        </p:spPr>
        <p:txBody>
          <a:bodyPr wrap="square" anchor="ctr">
            <a:noAutofit/>
          </a:bodyPr>
          <a:lstStyle>
            <a:lvl1pPr marL="0" indent="0" algn="ctr">
              <a:buFontTx/>
              <a:buNone/>
              <a:defRPr sz="1200"/>
            </a:lvl1pPr>
          </a:lstStyle>
          <a:p>
            <a:r>
              <a:rPr lang="en-US"/>
              <a:t> </a:t>
            </a:r>
          </a:p>
        </p:txBody>
      </p:sp>
      <p:sp>
        <p:nvSpPr>
          <p:cNvPr id="15" name="Picture Placeholder 14">
            <a:extLst>
              <a:ext uri="{FF2B5EF4-FFF2-40B4-BE49-F238E27FC236}">
                <a16:creationId xmlns:a16="http://schemas.microsoft.com/office/drawing/2014/main" id="{1E197C23-33DC-4B31-96DD-D6405E2FD36E}"/>
              </a:ext>
            </a:extLst>
          </p:cNvPr>
          <p:cNvSpPr>
            <a:spLocks noGrp="1" noChangeAspect="1"/>
          </p:cNvSpPr>
          <p:nvPr>
            <p:ph type="pic" sz="quarter" idx="15" hasCustomPrompt="1"/>
          </p:nvPr>
        </p:nvSpPr>
        <p:spPr>
          <a:xfrm>
            <a:off x="4532072" y="3119941"/>
            <a:ext cx="3369125" cy="462160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BottomDown"/>
            <a:lightRig rig="threePt" dir="t"/>
          </a:scene3d>
          <a:sp3d prstMaterial="matte"/>
        </p:spPr>
        <p:txBody>
          <a:bodyPr wrap="square" anchor="ctr">
            <a:noAutofit/>
          </a:bodyPr>
          <a:lstStyle>
            <a:lvl1pPr marL="0" indent="0" algn="ctr">
              <a:buFontTx/>
              <a:buNone/>
              <a:defRPr sz="1200"/>
            </a:lvl1pPr>
          </a:lstStyle>
          <a:p>
            <a:r>
              <a:rPr lang="en-US"/>
              <a:t> </a:t>
            </a:r>
          </a:p>
        </p:txBody>
      </p:sp>
    </p:spTree>
    <p:extLst>
      <p:ext uri="{BB962C8B-B14F-4D97-AF65-F5344CB8AC3E}">
        <p14:creationId xmlns:p14="http://schemas.microsoft.com/office/powerpoint/2010/main" val="47154107"/>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10" presetClass="entr" presetSubtype="0" dur="30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300"/>
                                        <p:tgtEl>
                                          <p:spTgt spid="14"/>
                                        </p:tgtEl>
                                      </p:cBhvr>
                                    </p:animEffect>
                                  </p:childTnLst>
                                </p:cTn>
                              </p:par>
                              <p:par>
                                <p:cTn id="8" presetID="10" presetClass="entr" presetSubtype="0" dur="300" fill="hold" grpId="0" nodeType="withEffect">
                                  <p:stCondLst>
                                    <p:cond delay="20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300"/>
                                        <p:tgtEl>
                                          <p:spTgt spid="7"/>
                                        </p:tgtEl>
                                      </p:cBhvr>
                                    </p:animEffect>
                                  </p:childTnLst>
                                </p:cTn>
                              </p:par>
                              <p:par>
                                <p:cTn id="11" presetID="10" presetClass="entr" presetSubtype="0" dur="300" fill="hold" grpId="0" nodeType="withEffect">
                                  <p:stCondLst>
                                    <p:cond delay="400"/>
                                  </p:stCondLst>
                                  <p:childTnLst>
                                    <p:set>
                                      <p:cBhvr>
                                        <p:cTn id="12" dur="1" fill="hold">
                                          <p:stCondLst>
                                            <p:cond delay="0"/>
                                          </p:stCondLst>
                                        </p:cTn>
                                        <p:tgtEl>
                                          <p:spTgt spid="15"/>
                                        </p:tgtEl>
                                        <p:attrNameLst>
                                          <p:attrName>style.visibility</p:attrName>
                                        </p:attrNameLst>
                                      </p:cBhvr>
                                      <p:to>
                                        <p:strVal val="visible"/>
                                      </p:to>
                                    </p:set>
                                    <p:animEffect transition="in" filter="fade">
                                      <p:cBhvr>
                                        <p:cTn id="13" dur="3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4" grpId="0" animBg="1"/>
      <p:bldP spid="15" grpId="0" animBg="1"/>
    </p:bld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79_Custom Layou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4E1B043C-CA58-4020-9ABB-9FC0E0BC68B9}"/>
              </a:ext>
            </a:extLst>
          </p:cNvPr>
          <p:cNvSpPr>
            <a:spLocks noGrp="1"/>
          </p:cNvSpPr>
          <p:nvPr>
            <p:ph type="pic" sz="quarter" idx="13" hasCustomPrompt="1"/>
          </p:nvPr>
        </p:nvSpPr>
        <p:spPr>
          <a:xfrm>
            <a:off x="4136234" y="19052"/>
            <a:ext cx="3976675" cy="6463349"/>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rot lat="1800000" lon="2250000" rev="2196000"/>
            </a:camera>
            <a:lightRig rig="threePt" dir="t"/>
          </a:scene3d>
          <a:sp3d prstMaterial="matte"/>
        </p:spPr>
        <p:txBody>
          <a:bodyPr wrap="square" anchor="ctr">
            <a:noAutofit/>
          </a:bodyPr>
          <a:lstStyle>
            <a:lvl1pPr marL="0" indent="0" algn="ctr">
              <a:buFontTx/>
              <a:buNone/>
              <a:defRPr sz="1200"/>
            </a:lvl1pPr>
          </a:lstStyle>
          <a:p>
            <a:r>
              <a:rPr lang="en-US"/>
              <a:t> </a:t>
            </a:r>
          </a:p>
        </p:txBody>
      </p:sp>
    </p:spTree>
    <p:extLst>
      <p:ext uri="{BB962C8B-B14F-4D97-AF65-F5344CB8AC3E}">
        <p14:creationId xmlns:p14="http://schemas.microsoft.com/office/powerpoint/2010/main" val="1292689826"/>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1" presetClass="entr" presetSubtype="0" dur="1" fill="hold" grpId="1" nodeType="withEffect">
                                  <p:stCondLst>
                                    <p:cond delay="100"/>
                                  </p:stCondLst>
                                  <p:childTnLst>
                                    <p:set>
                                      <p:cBhvr>
                                        <p:cTn id="6" dur="1" fill="hold">
                                          <p:stCondLst>
                                            <p:cond delay="0"/>
                                          </p:stCondLst>
                                        </p:cTn>
                                        <p:tgtEl>
                                          <p:spTgt spid="6"/>
                                        </p:tgtEl>
                                        <p:attrNameLst>
                                          <p:attrName>style.visibility</p:attrName>
                                        </p:attrNameLst>
                                      </p:cBhvr>
                                      <p:to>
                                        <p:strVal val="visible"/>
                                      </p:to>
                                    </p:set>
                                  </p:childTnLst>
                                </p:cTn>
                              </p:par>
                              <p:par>
                                <p:cTn id="7" presetID="42" presetClass="path" presetSubtype="0" dur="1500" decel="100000" fill="hold" grpId="0" nodeType="withEffect">
                                  <p:stCondLst>
                                    <p:cond delay="0"/>
                                  </p:stCondLst>
                                  <p:childTnLst>
                                    <p:animMotion origin="layout" path="M -3.44486E-06 1.66667E-06 L 0.3262 -0.18148" pathEditMode="relative" rAng="0" ptsTypes="AA">
                                      <p:cBhvr>
                                        <p:cTn id="8" dur="1500" spd="-100000" fill="hold"/>
                                        <p:tgtEl>
                                          <p:spTgt spid="6"/>
                                        </p:tgtEl>
                                        <p:attrNameLst>
                                          <p:attrName>ppt_x</p:attrName>
                                          <p:attrName>ppt_y</p:attrName>
                                        </p:attrNameLst>
                                      </p:cBhvr>
                                      <p:rCtr x="16306" y="-907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6" grpId="1" animBg="1"/>
    </p:bldLst>
  </p:timing>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81_Custom Layout">
    <p:spTree>
      <p:nvGrpSpPr>
        <p:cNvPr id="1" name=""/>
        <p:cNvGrpSpPr/>
        <p:nvPr/>
      </p:nvGrpSpPr>
      <p:grpSpPr>
        <a:xfrm>
          <a:off x="0" y="0"/>
          <a:ext cx="0" cy="0"/>
          <a:chOff x="0" y="0"/>
          <a:chExt cx="0" cy="0"/>
        </a:xfrm>
      </p:grpSpPr>
      <p:sp>
        <p:nvSpPr>
          <p:cNvPr id="8" name="Picture Placeholder 6">
            <a:extLst>
              <a:ext uri="{FF2B5EF4-FFF2-40B4-BE49-F238E27FC236}">
                <a16:creationId xmlns:a16="http://schemas.microsoft.com/office/drawing/2014/main" id="{A6497792-ED6D-4F54-8610-2FD55173DAC9}"/>
              </a:ext>
            </a:extLst>
          </p:cNvPr>
          <p:cNvSpPr>
            <a:spLocks noGrp="1"/>
          </p:cNvSpPr>
          <p:nvPr>
            <p:ph type="pic" sz="quarter" idx="14" hasCustomPrompt="1"/>
          </p:nvPr>
        </p:nvSpPr>
        <p:spPr>
          <a:xfrm>
            <a:off x="7130435" y="-1252135"/>
            <a:ext cx="3885694" cy="502920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rot lat="1440000" lon="2400000" rev="3660000"/>
            </a:camera>
            <a:lightRig rig="threePt" dir="t"/>
          </a:scene3d>
        </p:spPr>
        <p:txBody>
          <a:bodyPr wrap="square" anchor="ctr">
            <a:noAutofit/>
          </a:bodyPr>
          <a:lstStyle>
            <a:lvl1pPr marL="0" indent="0" algn="ctr">
              <a:buFontTx/>
              <a:buNone/>
              <a:defRPr sz="1200"/>
            </a:lvl1pPr>
          </a:lstStyle>
          <a:p>
            <a:r>
              <a:rPr lang="en-US"/>
              <a:t>  </a:t>
            </a:r>
          </a:p>
        </p:txBody>
      </p:sp>
      <p:sp>
        <p:nvSpPr>
          <p:cNvPr id="4" name="Picture Placeholder 6">
            <a:extLst>
              <a:ext uri="{FF2B5EF4-FFF2-40B4-BE49-F238E27FC236}">
                <a16:creationId xmlns:a16="http://schemas.microsoft.com/office/drawing/2014/main" id="{F395A455-90B6-47E0-8201-16D4F23F8B8B}"/>
              </a:ext>
            </a:extLst>
          </p:cNvPr>
          <p:cNvSpPr>
            <a:spLocks noGrp="1"/>
          </p:cNvSpPr>
          <p:nvPr>
            <p:ph type="pic" sz="quarter" idx="13" hasCustomPrompt="1"/>
          </p:nvPr>
        </p:nvSpPr>
        <p:spPr>
          <a:xfrm>
            <a:off x="4510480" y="952867"/>
            <a:ext cx="3163961" cy="5202959"/>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rot lat="0" lon="0" rev="2592000"/>
            </a:camera>
            <a:lightRig rig="threePt" dir="t"/>
          </a:scene3d>
        </p:spPr>
        <p:txBody>
          <a:bodyPr wrap="square" anchor="ctr">
            <a:noAutofit/>
          </a:bodyPr>
          <a:lstStyle>
            <a:lvl1pPr marL="0" indent="0" algn="ctr">
              <a:buFontTx/>
              <a:buNone/>
              <a:defRPr sz="1200"/>
            </a:lvl1pPr>
          </a:lstStyle>
          <a:p>
            <a:r>
              <a:rPr lang="en-US"/>
              <a:t> </a:t>
            </a:r>
          </a:p>
        </p:txBody>
      </p:sp>
      <p:sp>
        <p:nvSpPr>
          <p:cNvPr id="13" name="Picture Placeholder 6">
            <a:extLst>
              <a:ext uri="{FF2B5EF4-FFF2-40B4-BE49-F238E27FC236}">
                <a16:creationId xmlns:a16="http://schemas.microsoft.com/office/drawing/2014/main" id="{C8BF64FE-1E33-45BC-BDD7-7BD551FA39A6}"/>
              </a:ext>
            </a:extLst>
          </p:cNvPr>
          <p:cNvSpPr>
            <a:spLocks noGrp="1"/>
          </p:cNvSpPr>
          <p:nvPr>
            <p:ph type="pic" sz="quarter" idx="19" hasCustomPrompt="1"/>
          </p:nvPr>
        </p:nvSpPr>
        <p:spPr>
          <a:xfrm>
            <a:off x="372160" y="4958957"/>
            <a:ext cx="3885694" cy="502920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rot lat="1440000" lon="2400000" rev="3660000"/>
            </a:camera>
            <a:lightRig rig="threePt" dir="t"/>
          </a:scene3d>
        </p:spPr>
        <p:txBody>
          <a:bodyPr wrap="square" anchor="ctr">
            <a:noAutofit/>
          </a:bodyPr>
          <a:lstStyle>
            <a:lvl1pPr marL="0" indent="0" algn="ctr">
              <a:buFontTx/>
              <a:buNone/>
              <a:defRPr sz="1200"/>
            </a:lvl1pPr>
          </a:lstStyle>
          <a:p>
            <a:r>
              <a:rPr lang="en-US"/>
              <a:t> </a:t>
            </a:r>
          </a:p>
        </p:txBody>
      </p:sp>
      <p:sp>
        <p:nvSpPr>
          <p:cNvPr id="12" name="Picture Placeholder 6">
            <a:extLst>
              <a:ext uri="{FF2B5EF4-FFF2-40B4-BE49-F238E27FC236}">
                <a16:creationId xmlns:a16="http://schemas.microsoft.com/office/drawing/2014/main" id="{29ECFF06-47C2-4779-9C66-22674E15A749}"/>
              </a:ext>
            </a:extLst>
          </p:cNvPr>
          <p:cNvSpPr>
            <a:spLocks noGrp="1"/>
          </p:cNvSpPr>
          <p:nvPr>
            <p:ph type="pic" sz="quarter" idx="18" hasCustomPrompt="1"/>
          </p:nvPr>
        </p:nvSpPr>
        <p:spPr>
          <a:xfrm>
            <a:off x="9200746" y="4728760"/>
            <a:ext cx="3885694" cy="502920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rot lat="1440000" lon="2400000" rev="3660000"/>
            </a:camera>
            <a:lightRig rig="threePt" dir="t"/>
          </a:scene3d>
        </p:spPr>
        <p:txBody>
          <a:bodyPr wrap="square" anchor="ctr">
            <a:noAutofit/>
          </a:bodyPr>
          <a:lstStyle>
            <a:lvl1pPr marL="0" indent="0" algn="ctr">
              <a:buFontTx/>
              <a:buNone/>
              <a:defRPr sz="1200"/>
            </a:lvl1pPr>
          </a:lstStyle>
          <a:p>
            <a:r>
              <a:rPr lang="en-US"/>
              <a:t> </a:t>
            </a:r>
          </a:p>
        </p:txBody>
      </p:sp>
      <p:sp>
        <p:nvSpPr>
          <p:cNvPr id="11" name="Picture Placeholder 6">
            <a:extLst>
              <a:ext uri="{FF2B5EF4-FFF2-40B4-BE49-F238E27FC236}">
                <a16:creationId xmlns:a16="http://schemas.microsoft.com/office/drawing/2014/main" id="{6B245FDF-2A7F-47E6-A435-6D63863F3409}"/>
              </a:ext>
            </a:extLst>
          </p:cNvPr>
          <p:cNvSpPr>
            <a:spLocks noGrp="1"/>
          </p:cNvSpPr>
          <p:nvPr>
            <p:ph type="pic" sz="quarter" idx="17" hasCustomPrompt="1"/>
          </p:nvPr>
        </p:nvSpPr>
        <p:spPr>
          <a:xfrm>
            <a:off x="12555067" y="1705429"/>
            <a:ext cx="3885694" cy="502920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rot lat="1440000" lon="2400000" rev="3660000"/>
            </a:camera>
            <a:lightRig rig="threePt" dir="t"/>
          </a:scene3d>
        </p:spPr>
        <p:txBody>
          <a:bodyPr wrap="square" anchor="ctr">
            <a:noAutofit/>
          </a:bodyPr>
          <a:lstStyle>
            <a:lvl1pPr marL="0" indent="0" algn="ctr">
              <a:buFontTx/>
              <a:buNone/>
              <a:defRPr sz="1200"/>
            </a:lvl1pPr>
          </a:lstStyle>
          <a:p>
            <a:r>
              <a:rPr lang="en-US"/>
              <a:t> </a:t>
            </a:r>
          </a:p>
        </p:txBody>
      </p:sp>
      <p:sp>
        <p:nvSpPr>
          <p:cNvPr id="10" name="Picture Placeholder 6">
            <a:extLst>
              <a:ext uri="{FF2B5EF4-FFF2-40B4-BE49-F238E27FC236}">
                <a16:creationId xmlns:a16="http://schemas.microsoft.com/office/drawing/2014/main" id="{806396D0-282B-4936-BB42-1F4A486620B8}"/>
              </a:ext>
            </a:extLst>
          </p:cNvPr>
          <p:cNvSpPr>
            <a:spLocks noGrp="1"/>
          </p:cNvSpPr>
          <p:nvPr>
            <p:ph type="pic" sz="quarter" idx="16" hasCustomPrompt="1"/>
          </p:nvPr>
        </p:nvSpPr>
        <p:spPr>
          <a:xfrm>
            <a:off x="-1660359" y="-1161656"/>
            <a:ext cx="3885694" cy="502920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rot lat="1440000" lon="2400000" rev="3660000"/>
            </a:camera>
            <a:lightRig rig="threePt" dir="t"/>
          </a:scene3d>
        </p:spPr>
        <p:txBody>
          <a:bodyPr wrap="square" anchor="ctr">
            <a:noAutofit/>
          </a:bodyPr>
          <a:lstStyle>
            <a:lvl1pPr marL="0" indent="0" algn="ctr">
              <a:buFontTx/>
              <a:buNone/>
              <a:defRPr sz="1200"/>
            </a:lvl1pPr>
          </a:lstStyle>
          <a:p>
            <a:r>
              <a:rPr lang="en-US"/>
              <a:t> </a:t>
            </a:r>
          </a:p>
        </p:txBody>
      </p:sp>
      <p:sp>
        <p:nvSpPr>
          <p:cNvPr id="9" name="Picture Placeholder 6">
            <a:extLst>
              <a:ext uri="{FF2B5EF4-FFF2-40B4-BE49-F238E27FC236}">
                <a16:creationId xmlns:a16="http://schemas.microsoft.com/office/drawing/2014/main" id="{F81EECD4-1CBF-4857-A094-2EEA3921566A}"/>
              </a:ext>
            </a:extLst>
          </p:cNvPr>
          <p:cNvSpPr>
            <a:spLocks noGrp="1"/>
          </p:cNvSpPr>
          <p:nvPr>
            <p:ph type="pic" sz="quarter" idx="15" hasCustomPrompt="1"/>
          </p:nvPr>
        </p:nvSpPr>
        <p:spPr>
          <a:xfrm>
            <a:off x="1731615" y="-4228734"/>
            <a:ext cx="3885694" cy="502920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rot lat="1440000" lon="2400000" rev="3660000"/>
            </a:camera>
            <a:lightRig rig="threePt" dir="t"/>
          </a:scene3d>
        </p:spPr>
        <p:txBody>
          <a:bodyPr wrap="square" anchor="ctr">
            <a:noAutofit/>
          </a:bodyPr>
          <a:lstStyle>
            <a:lvl1pPr marL="0" indent="0" algn="ctr">
              <a:buFontTx/>
              <a:buNone/>
              <a:defRPr sz="1200"/>
            </a:lvl1pPr>
          </a:lstStyle>
          <a:p>
            <a:r>
              <a:rPr lang="en-US"/>
              <a:t> </a:t>
            </a:r>
          </a:p>
        </p:txBody>
      </p:sp>
    </p:spTree>
    <p:extLst>
      <p:ext uri="{BB962C8B-B14F-4D97-AF65-F5344CB8AC3E}">
        <p14:creationId xmlns:p14="http://schemas.microsoft.com/office/powerpoint/2010/main" val="4195006766"/>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10" presetClass="entr" presetSubtype="0" dur="50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 presetClass="entr" presetSubtype="0" dur="1" fill="hold" grpId="1" nodeType="withEffect">
                                  <p:stCondLst>
                                    <p:cond delay="500"/>
                                  </p:stCondLst>
                                  <p:childTnLst>
                                    <p:set>
                                      <p:cBhvr>
                                        <p:cTn id="9" dur="1" fill="hold">
                                          <p:stCondLst>
                                            <p:cond delay="0"/>
                                          </p:stCondLst>
                                        </p:cTn>
                                        <p:tgtEl>
                                          <p:spTgt spid="13"/>
                                        </p:tgtEl>
                                        <p:attrNameLst>
                                          <p:attrName>style.visibility</p:attrName>
                                        </p:attrNameLst>
                                      </p:cBhvr>
                                      <p:to>
                                        <p:strVal val="visible"/>
                                      </p:to>
                                    </p:set>
                                  </p:childTnLst>
                                </p:cTn>
                              </p:par>
                              <p:par>
                                <p:cTn id="10" presetID="42" presetClass="path" presetSubtype="0" dur="1500" decel="100000" fill="hold" grpId="0" nodeType="withEffect">
                                  <p:stCondLst>
                                    <p:cond delay="500"/>
                                  </p:stCondLst>
                                  <p:childTnLst>
                                    <p:animMotion origin="layout" path="M -4.12967E-06 -4.81481E-06 L -0.27893 0.45186" pathEditMode="relative" rAng="0" ptsTypes="AA">
                                      <p:cBhvr>
                                        <p:cTn id="11" dur="1500" spd="-100000" fill="hold"/>
                                        <p:tgtEl>
                                          <p:spTgt spid="13"/>
                                        </p:tgtEl>
                                        <p:attrNameLst>
                                          <p:attrName>ppt_x</p:attrName>
                                          <p:attrName>ppt_y</p:attrName>
                                        </p:attrNameLst>
                                      </p:cBhvr>
                                      <p:rCtr x="-13950" y="22593"/>
                                    </p:animMotion>
                                  </p:childTnLst>
                                </p:cTn>
                              </p:par>
                              <p:par>
                                <p:cTn id="12" presetID="1" presetClass="entr" presetSubtype="0" dur="1" fill="hold" grpId="0" nodeType="withEffect">
                                  <p:stCondLst>
                                    <p:cond delay="600"/>
                                  </p:stCondLst>
                                  <p:childTnLst>
                                    <p:set>
                                      <p:cBhvr>
                                        <p:cTn id="13" dur="1" fill="hold">
                                          <p:stCondLst>
                                            <p:cond delay="0"/>
                                          </p:stCondLst>
                                        </p:cTn>
                                        <p:tgtEl>
                                          <p:spTgt spid="12"/>
                                        </p:tgtEl>
                                        <p:attrNameLst>
                                          <p:attrName>style.visibility</p:attrName>
                                        </p:attrNameLst>
                                      </p:cBhvr>
                                      <p:to>
                                        <p:strVal val="visible"/>
                                      </p:to>
                                    </p:set>
                                  </p:childTnLst>
                                </p:cTn>
                              </p:par>
                              <p:par>
                                <p:cTn id="14" presetID="42" presetClass="path" presetSubtype="0" dur="1500" decel="100000" fill="hold" grpId="1" nodeType="withEffect">
                                  <p:stCondLst>
                                    <p:cond delay="600"/>
                                  </p:stCondLst>
                                  <p:childTnLst>
                                    <p:animMotion origin="layout" path="M 1.40737E-06 -4.25926E-06 L 0.34911 0.34387" pathEditMode="relative" rAng="0" ptsTypes="AA">
                                      <p:cBhvr>
                                        <p:cTn id="15" dur="1500" spd="-100000" fill="hold"/>
                                        <p:tgtEl>
                                          <p:spTgt spid="12"/>
                                        </p:tgtEl>
                                        <p:attrNameLst>
                                          <p:attrName>ppt_x</p:attrName>
                                          <p:attrName>ppt_y</p:attrName>
                                        </p:attrNameLst>
                                      </p:cBhvr>
                                      <p:rCtr x="17452" y="17188"/>
                                    </p:animMotion>
                                  </p:childTnLst>
                                </p:cTn>
                              </p:par>
                              <p:par>
                                <p:cTn id="16" presetID="1" presetClass="entr" presetSubtype="0" dur="1" fill="hold" grpId="0" nodeType="withEffect">
                                  <p:stCondLst>
                                    <p:cond delay="700"/>
                                  </p:stCondLst>
                                  <p:childTnLst>
                                    <p:set>
                                      <p:cBhvr>
                                        <p:cTn id="17" dur="1" fill="hold">
                                          <p:stCondLst>
                                            <p:cond delay="0"/>
                                          </p:stCondLst>
                                        </p:cTn>
                                        <p:tgtEl>
                                          <p:spTgt spid="11"/>
                                        </p:tgtEl>
                                        <p:attrNameLst>
                                          <p:attrName>style.visibility</p:attrName>
                                        </p:attrNameLst>
                                      </p:cBhvr>
                                      <p:to>
                                        <p:strVal val="visible"/>
                                      </p:to>
                                    </p:set>
                                  </p:childTnLst>
                                </p:cTn>
                              </p:par>
                              <p:par>
                                <p:cTn id="18" presetID="42" presetClass="path" presetSubtype="0" dur="1500" decel="100000" fill="hold" grpId="1" nodeType="withEffect">
                                  <p:stCondLst>
                                    <p:cond delay="700"/>
                                  </p:stCondLst>
                                  <p:childTnLst>
                                    <p:animMotion origin="layout" path="M 1.40737E-06 -4.25926E-06 L 0.34911 0.34387" pathEditMode="relative" rAng="0" ptsTypes="AA">
                                      <p:cBhvr>
                                        <p:cTn id="19" dur="1500" spd="-100000" fill="hold"/>
                                        <p:tgtEl>
                                          <p:spTgt spid="11"/>
                                        </p:tgtEl>
                                        <p:attrNameLst>
                                          <p:attrName>ppt_x</p:attrName>
                                          <p:attrName>ppt_y</p:attrName>
                                        </p:attrNameLst>
                                      </p:cBhvr>
                                      <p:rCtr x="17452" y="17188"/>
                                    </p:animMotion>
                                  </p:childTnLst>
                                </p:cTn>
                              </p:par>
                              <p:par>
                                <p:cTn id="20" presetID="1" presetClass="entr" presetSubtype="0" dur="1" fill="hold" grpId="0" nodeType="withEffect">
                                  <p:stCondLst>
                                    <p:cond delay="800"/>
                                  </p:stCondLst>
                                  <p:childTnLst>
                                    <p:set>
                                      <p:cBhvr>
                                        <p:cTn id="21" dur="1" fill="hold">
                                          <p:stCondLst>
                                            <p:cond delay="0"/>
                                          </p:stCondLst>
                                        </p:cTn>
                                        <p:tgtEl>
                                          <p:spTgt spid="8"/>
                                        </p:tgtEl>
                                        <p:attrNameLst>
                                          <p:attrName>style.visibility</p:attrName>
                                        </p:attrNameLst>
                                      </p:cBhvr>
                                      <p:to>
                                        <p:strVal val="visible"/>
                                      </p:to>
                                    </p:set>
                                  </p:childTnLst>
                                </p:cTn>
                              </p:par>
                              <p:par>
                                <p:cTn id="22" presetID="42" presetClass="path" presetSubtype="0" dur="1500" decel="100000" fill="hold" grpId="1" nodeType="withEffect">
                                  <p:stCondLst>
                                    <p:cond delay="800"/>
                                  </p:stCondLst>
                                  <p:childTnLst>
                                    <p:animMotion origin="layout" path="M -3.93569E-06 -3.51852E-06 L 0.29944 -0.49247" pathEditMode="relative" rAng="0" ptsTypes="AA">
                                      <p:cBhvr>
                                        <p:cTn id="23" dur="1500" spd="-100000" fill="hold"/>
                                        <p:tgtEl>
                                          <p:spTgt spid="8"/>
                                        </p:tgtEl>
                                        <p:attrNameLst>
                                          <p:attrName>ppt_x</p:attrName>
                                          <p:attrName>ppt_y</p:attrName>
                                        </p:attrNameLst>
                                      </p:cBhvr>
                                      <p:rCtr x="14972" y="-24618"/>
                                    </p:animMotion>
                                  </p:childTnLst>
                                </p:cTn>
                              </p:par>
                              <p:par>
                                <p:cTn id="24" presetID="1" presetClass="entr" presetSubtype="0" dur="1" fill="hold" grpId="0" nodeType="withEffect">
                                  <p:stCondLst>
                                    <p:cond delay="900"/>
                                  </p:stCondLst>
                                  <p:childTnLst>
                                    <p:set>
                                      <p:cBhvr>
                                        <p:cTn id="25" dur="1" fill="hold">
                                          <p:stCondLst>
                                            <p:cond delay="0"/>
                                          </p:stCondLst>
                                        </p:cTn>
                                        <p:tgtEl>
                                          <p:spTgt spid="9"/>
                                        </p:tgtEl>
                                        <p:attrNameLst>
                                          <p:attrName>style.visibility</p:attrName>
                                        </p:attrNameLst>
                                      </p:cBhvr>
                                      <p:to>
                                        <p:strVal val="visible"/>
                                      </p:to>
                                    </p:set>
                                  </p:childTnLst>
                                </p:cTn>
                              </p:par>
                              <p:par>
                                <p:cTn id="26" presetID="42" presetClass="path" presetSubtype="0" dur="1500" decel="100000" fill="hold" grpId="1" nodeType="withEffect">
                                  <p:stCondLst>
                                    <p:cond delay="900"/>
                                  </p:stCondLst>
                                  <p:childTnLst>
                                    <p:animMotion origin="layout" path="M -3.93569E-06 -3.51852E-06 L 0.29944 -0.49247" pathEditMode="relative" rAng="0" ptsTypes="AA">
                                      <p:cBhvr>
                                        <p:cTn id="27" dur="1500" spd="-100000" fill="hold"/>
                                        <p:tgtEl>
                                          <p:spTgt spid="9"/>
                                        </p:tgtEl>
                                        <p:attrNameLst>
                                          <p:attrName>ppt_x</p:attrName>
                                          <p:attrName>ppt_y</p:attrName>
                                        </p:attrNameLst>
                                      </p:cBhvr>
                                      <p:rCtr x="14972" y="-24618"/>
                                    </p:animMotion>
                                  </p:childTnLst>
                                </p:cTn>
                              </p:par>
                              <p:par>
                                <p:cTn id="28" presetID="1" presetClass="entr" presetSubtype="0" dur="1" fill="hold" grpId="0" nodeType="withEffect">
                                  <p:stCondLst>
                                    <p:cond delay="1000"/>
                                  </p:stCondLst>
                                  <p:childTnLst>
                                    <p:set>
                                      <p:cBhvr>
                                        <p:cTn id="29" dur="1" fill="hold">
                                          <p:stCondLst>
                                            <p:cond delay="0"/>
                                          </p:stCondLst>
                                        </p:cTn>
                                        <p:tgtEl>
                                          <p:spTgt spid="10"/>
                                        </p:tgtEl>
                                        <p:attrNameLst>
                                          <p:attrName>style.visibility</p:attrName>
                                        </p:attrNameLst>
                                      </p:cBhvr>
                                      <p:to>
                                        <p:strVal val="visible"/>
                                      </p:to>
                                    </p:set>
                                  </p:childTnLst>
                                </p:cTn>
                              </p:par>
                              <p:par>
                                <p:cTn id="30" presetID="42" presetClass="path" presetSubtype="0" dur="1500" decel="100000" fill="hold" grpId="1" nodeType="withEffect">
                                  <p:stCondLst>
                                    <p:cond delay="1000"/>
                                  </p:stCondLst>
                                  <p:childTnLst>
                                    <p:animMotion origin="layout" path="M -4.06588E-06 -2.22222E-06 L -0.41374 -0.39722" pathEditMode="relative" rAng="0" ptsTypes="AA">
                                      <p:cBhvr>
                                        <p:cTn id="31" dur="1500" spd="-100000" fill="hold"/>
                                        <p:tgtEl>
                                          <p:spTgt spid="10"/>
                                        </p:tgtEl>
                                        <p:attrNameLst>
                                          <p:attrName>ppt_x</p:attrName>
                                          <p:attrName>ppt_y</p:attrName>
                                        </p:attrNameLst>
                                      </p:cBhvr>
                                      <p:rCtr x="-20687" y="-1986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4" grpId="0" animBg="1"/>
      <p:bldP spid="13" grpId="0" animBg="1"/>
      <p:bldP spid="13" grpId="1" animBg="1"/>
      <p:bldP spid="12" grpId="0" animBg="1"/>
      <p:bldP spid="12" grpId="1" animBg="1"/>
      <p:bldP spid="11" grpId="0" animBg="1"/>
      <p:bldP spid="11" grpId="1" animBg="1"/>
      <p:bldP spid="10" grpId="0" animBg="1"/>
      <p:bldP spid="10" grpId="1" animBg="1"/>
      <p:bldP spid="9" grpId="0" animBg="1"/>
      <p:bldP spid="9" grpId="1" animBg="1"/>
    </p:bld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83_Custom Layout">
    <p:spTree>
      <p:nvGrpSpPr>
        <p:cNvPr id="1" name=""/>
        <p:cNvGrpSpPr/>
        <p:nvPr/>
      </p:nvGrpSpPr>
      <p:grpSpPr>
        <a:xfrm>
          <a:off x="0" y="0"/>
          <a:ext cx="0" cy="0"/>
          <a:chOff x="0" y="0"/>
          <a:chExt cx="0" cy="0"/>
        </a:xfrm>
      </p:grpSpPr>
      <p:sp>
        <p:nvSpPr>
          <p:cNvPr id="3" name="Picture Placeholder 14">
            <a:extLst>
              <a:ext uri="{FF2B5EF4-FFF2-40B4-BE49-F238E27FC236}">
                <a16:creationId xmlns:a16="http://schemas.microsoft.com/office/drawing/2014/main" id="{1485ED5A-661D-47FA-AB95-328051D18E31}"/>
              </a:ext>
            </a:extLst>
          </p:cNvPr>
          <p:cNvSpPr>
            <a:spLocks noGrp="1"/>
          </p:cNvSpPr>
          <p:nvPr>
            <p:ph type="pic" sz="quarter" idx="15" hasCustomPrompt="1"/>
          </p:nvPr>
        </p:nvSpPr>
        <p:spPr>
          <a:xfrm>
            <a:off x="6008258" y="1298576"/>
            <a:ext cx="4068550" cy="626364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BottomDown">
              <a:rot lat="19620000" lon="3000000" rev="17412000"/>
            </a:camera>
            <a:lightRig rig="threePt" dir="t"/>
          </a:scene3d>
          <a:sp3d prstMaterial="matte"/>
        </p:spPr>
        <p:txBody>
          <a:bodyPr wrap="square" anchor="ctr">
            <a:noAutofit/>
          </a:bodyPr>
          <a:lstStyle>
            <a:lvl1pPr marL="0" indent="0" algn="ctr">
              <a:buFontTx/>
              <a:buNone/>
              <a:defRPr sz="1200"/>
            </a:lvl1pPr>
          </a:lstStyle>
          <a:p>
            <a:r>
              <a:rPr lang="en-US"/>
              <a:t> </a:t>
            </a:r>
          </a:p>
        </p:txBody>
      </p:sp>
      <p:sp>
        <p:nvSpPr>
          <p:cNvPr id="8" name="Picture Placeholder 14">
            <a:extLst>
              <a:ext uri="{FF2B5EF4-FFF2-40B4-BE49-F238E27FC236}">
                <a16:creationId xmlns:a16="http://schemas.microsoft.com/office/drawing/2014/main" id="{F86CCD24-EEBD-44B1-AAE0-E278A9981069}"/>
              </a:ext>
            </a:extLst>
          </p:cNvPr>
          <p:cNvSpPr>
            <a:spLocks noGrp="1"/>
          </p:cNvSpPr>
          <p:nvPr>
            <p:ph type="pic" sz="quarter" idx="16" hasCustomPrompt="1"/>
          </p:nvPr>
        </p:nvSpPr>
        <p:spPr>
          <a:xfrm>
            <a:off x="6008258" y="165346"/>
            <a:ext cx="4068550" cy="626364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outerShdw blurRad="1257300" dist="1041400" dir="1800000" sx="99000" sy="99000" algn="ctr" rotWithShape="0">
              <a:prstClr val="black">
                <a:alpha val="40000"/>
              </a:prstClr>
            </a:outerShdw>
          </a:effectLst>
          <a:scene3d>
            <a:camera prst="isometricBottomDown">
              <a:rot lat="19620000" lon="3000000" rev="17412000"/>
            </a:camera>
            <a:lightRig rig="threePt" dir="t"/>
          </a:scene3d>
          <a:sp3d prstMaterial="matte"/>
        </p:spPr>
        <p:txBody>
          <a:bodyPr wrap="square" anchor="ctr">
            <a:noAutofit/>
          </a:bodyPr>
          <a:lstStyle>
            <a:lvl1pPr marL="0" indent="0" algn="ctr">
              <a:buFontTx/>
              <a:buNone/>
              <a:defRPr sz="1200"/>
            </a:lvl1pPr>
          </a:lstStyle>
          <a:p>
            <a:r>
              <a:rPr lang="en-US"/>
              <a:t> </a:t>
            </a:r>
          </a:p>
        </p:txBody>
      </p:sp>
      <p:sp>
        <p:nvSpPr>
          <p:cNvPr id="9" name="Picture Placeholder 14">
            <a:extLst>
              <a:ext uri="{FF2B5EF4-FFF2-40B4-BE49-F238E27FC236}">
                <a16:creationId xmlns:a16="http://schemas.microsoft.com/office/drawing/2014/main" id="{ABA520E2-51C3-40D7-AEDE-9D02A83EC15D}"/>
              </a:ext>
            </a:extLst>
          </p:cNvPr>
          <p:cNvSpPr>
            <a:spLocks noGrp="1"/>
          </p:cNvSpPr>
          <p:nvPr>
            <p:ph type="pic" sz="quarter" idx="17" hasCustomPrompt="1"/>
          </p:nvPr>
        </p:nvSpPr>
        <p:spPr>
          <a:xfrm>
            <a:off x="6008258" y="-967883"/>
            <a:ext cx="4068550" cy="626364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outerShdw blurRad="1257300" dist="1041400" dir="1800000" sx="99000" sy="99000" algn="ctr" rotWithShape="0">
              <a:prstClr val="black">
                <a:alpha val="40000"/>
              </a:prstClr>
            </a:outerShdw>
          </a:effectLst>
          <a:scene3d>
            <a:camera prst="isometricBottomDown">
              <a:rot lat="19620000" lon="3000000" rev="17412000"/>
            </a:camera>
            <a:lightRig rig="threePt" dir="t"/>
          </a:scene3d>
          <a:sp3d prstMaterial="matte"/>
        </p:spPr>
        <p:txBody>
          <a:bodyPr wrap="square" anchor="ctr">
            <a:noAutofit/>
          </a:bodyPr>
          <a:lstStyle>
            <a:lvl1pPr marL="0" indent="0" algn="ctr">
              <a:buFontTx/>
              <a:buNone/>
              <a:defRPr sz="1200"/>
            </a:lvl1pPr>
          </a:lstStyle>
          <a:p>
            <a:r>
              <a:rPr lang="en-US"/>
              <a:t> </a:t>
            </a:r>
          </a:p>
        </p:txBody>
      </p:sp>
    </p:spTree>
    <p:extLst>
      <p:ext uri="{BB962C8B-B14F-4D97-AF65-F5344CB8AC3E}">
        <p14:creationId xmlns:p14="http://schemas.microsoft.com/office/powerpoint/2010/main" val="2563488212"/>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10" presetClass="entr" presetSubtype="0" dur="500" fill="hold" grpId="0" nodeType="withEffect">
                                  <p:stCondLst>
                                    <p:cond delay="230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dur="500" fill="hold" grpId="0" nodeType="withEffect">
                                  <p:stCondLst>
                                    <p:cond delay="270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42" presetClass="path" presetSubtype="0" dur="1500" decel="100000" fill="hold" grpId="1" nodeType="withEffect">
                                  <p:stCondLst>
                                    <p:cond delay="2100"/>
                                  </p:stCondLst>
                                  <p:childTnLst>
                                    <p:animMotion origin="layout" path="M -4.63351E-06 2.96296E-06 L -4.63351E-06 0.25" pathEditMode="relative" rAng="0" ptsTypes="AA">
                                      <p:cBhvr>
                                        <p:cTn id="12" dur="1500" spd="-100000" fill="hold"/>
                                        <p:tgtEl>
                                          <p:spTgt spid="8"/>
                                        </p:tgtEl>
                                        <p:attrNameLst>
                                          <p:attrName>ppt_x</p:attrName>
                                          <p:attrName>ppt_y</p:attrName>
                                        </p:attrNameLst>
                                      </p:cBhvr>
                                      <p:rCtr x="0" y="12500"/>
                                    </p:animMotion>
                                  </p:childTnLst>
                                </p:cTn>
                              </p:par>
                              <p:par>
                                <p:cTn id="13" presetID="10" presetClass="entr" presetSubtype="0" dur="500" fill="hold" grpId="0" nodeType="withEffect">
                                  <p:stCondLst>
                                    <p:cond delay="310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500"/>
                                        <p:tgtEl>
                                          <p:spTgt spid="9"/>
                                        </p:tgtEl>
                                      </p:cBhvr>
                                    </p:animEffect>
                                  </p:childTnLst>
                                </p:cTn>
                              </p:par>
                              <p:par>
                                <p:cTn id="16" presetID="42" presetClass="path" presetSubtype="0" dur="1500" decel="100000" fill="hold" grpId="1" nodeType="withEffect">
                                  <p:stCondLst>
                                    <p:cond delay="2500"/>
                                  </p:stCondLst>
                                  <p:childTnLst>
                                    <p:animMotion origin="layout" path="M -4.63351E-06 7.40741E-07 L -4.63351E-06 0.25" pathEditMode="relative" rAng="0" ptsTypes="AA">
                                      <p:cBhvr>
                                        <p:cTn id="17" dur="1500" spd="-100000" fill="hold"/>
                                        <p:tgtEl>
                                          <p:spTgt spid="9"/>
                                        </p:tgtEl>
                                        <p:attrNameLst>
                                          <p:attrName>ppt_x</p:attrName>
                                          <p:attrName>ppt_y</p:attrName>
                                        </p:attrNameLst>
                                      </p:cBhvr>
                                      <p:rCtr x="0" y="1250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8" grpId="0" animBg="1"/>
      <p:bldP spid="8" grpId="1" animBg="1"/>
      <p:bldP spid="9" grpId="0" animBg="1"/>
      <p:bldP spid="9" grpId="1" animBg="1"/>
    </p:bldLst>
  </p:timing>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86_Custom Layout">
    <p:spTree>
      <p:nvGrpSpPr>
        <p:cNvPr id="1" name=""/>
        <p:cNvGrpSpPr/>
        <p:nvPr/>
      </p:nvGrpSpPr>
      <p:grpSpPr>
        <a:xfrm>
          <a:off x="0" y="0"/>
          <a:ext cx="0" cy="0"/>
          <a:chOff x="0" y="0"/>
          <a:chExt cx="0" cy="0"/>
        </a:xfrm>
      </p:grpSpPr>
      <p:sp>
        <p:nvSpPr>
          <p:cNvPr id="11" name="Picture Placeholder 6">
            <a:extLst>
              <a:ext uri="{FF2B5EF4-FFF2-40B4-BE49-F238E27FC236}">
                <a16:creationId xmlns:a16="http://schemas.microsoft.com/office/drawing/2014/main" id="{97F12BB4-E64D-4CC7-BB98-979542600629}"/>
              </a:ext>
            </a:extLst>
          </p:cNvPr>
          <p:cNvSpPr>
            <a:spLocks noGrp="1"/>
          </p:cNvSpPr>
          <p:nvPr>
            <p:ph type="pic" sz="quarter" idx="13" hasCustomPrompt="1"/>
          </p:nvPr>
        </p:nvSpPr>
        <p:spPr>
          <a:xfrm>
            <a:off x="4284699" y="24182"/>
            <a:ext cx="3565696" cy="658368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rot lat="3000000" lon="3000000" rev="3960000"/>
            </a:camera>
            <a:lightRig rig="threePt" dir="t"/>
          </a:scene3d>
          <a:sp3d prstMaterial="matte"/>
        </p:spPr>
        <p:txBody>
          <a:bodyPr wrap="square" anchor="ctr">
            <a:noAutofit/>
          </a:bodyPr>
          <a:lstStyle>
            <a:lvl1pPr marL="0" indent="0" algn="ctr">
              <a:buFontTx/>
              <a:buNone/>
              <a:defRPr sz="1200"/>
            </a:lvl1pPr>
          </a:lstStyle>
          <a:p>
            <a:r>
              <a:rPr lang="en-US"/>
              <a:t> </a:t>
            </a:r>
          </a:p>
        </p:txBody>
      </p:sp>
      <p:sp>
        <p:nvSpPr>
          <p:cNvPr id="14" name="Picture Placeholder 6">
            <a:extLst>
              <a:ext uri="{FF2B5EF4-FFF2-40B4-BE49-F238E27FC236}">
                <a16:creationId xmlns:a16="http://schemas.microsoft.com/office/drawing/2014/main" id="{529CB4CC-F54C-4AA5-8343-ACE0D81CE77F}"/>
              </a:ext>
            </a:extLst>
          </p:cNvPr>
          <p:cNvSpPr>
            <a:spLocks noGrp="1"/>
          </p:cNvSpPr>
          <p:nvPr>
            <p:ph type="pic" sz="quarter" idx="16" hasCustomPrompt="1"/>
          </p:nvPr>
        </p:nvSpPr>
        <p:spPr>
          <a:xfrm>
            <a:off x="7670801" y="2007234"/>
            <a:ext cx="3565696" cy="658368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rot lat="18600000" lon="3000000" rev="17640000"/>
            </a:camera>
            <a:lightRig rig="threePt" dir="t"/>
          </a:scene3d>
          <a:sp3d prstMaterial="matte"/>
        </p:spPr>
        <p:txBody>
          <a:bodyPr wrap="square" anchor="ctr">
            <a:noAutofit/>
          </a:bodyPr>
          <a:lstStyle>
            <a:lvl1pPr marL="0" indent="0" algn="ctr">
              <a:buFontTx/>
              <a:buNone/>
              <a:defRPr sz="1200"/>
            </a:lvl1pPr>
          </a:lstStyle>
          <a:p>
            <a:r>
              <a:rPr lang="en-US"/>
              <a:t> </a:t>
            </a:r>
          </a:p>
        </p:txBody>
      </p:sp>
      <p:sp>
        <p:nvSpPr>
          <p:cNvPr id="24" name="Picture Placeholder 6">
            <a:extLst>
              <a:ext uri="{FF2B5EF4-FFF2-40B4-BE49-F238E27FC236}">
                <a16:creationId xmlns:a16="http://schemas.microsoft.com/office/drawing/2014/main" id="{3D99A0DA-7D07-4249-A498-3ECFEC79A936}"/>
              </a:ext>
            </a:extLst>
          </p:cNvPr>
          <p:cNvSpPr>
            <a:spLocks noGrp="1"/>
          </p:cNvSpPr>
          <p:nvPr>
            <p:ph type="pic" sz="quarter" idx="17" hasCustomPrompt="1"/>
          </p:nvPr>
        </p:nvSpPr>
        <p:spPr>
          <a:xfrm>
            <a:off x="4405964" y="4005045"/>
            <a:ext cx="3565696" cy="658368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rot lat="3000000" lon="3000000" rev="3960000"/>
            </a:camera>
            <a:lightRig rig="threePt" dir="t"/>
          </a:scene3d>
          <a:sp3d prstMaterial="matte"/>
        </p:spPr>
        <p:txBody>
          <a:bodyPr wrap="square" anchor="ctr">
            <a:noAutofit/>
          </a:bodyPr>
          <a:lstStyle>
            <a:lvl1pPr marL="0" indent="0" algn="ctr">
              <a:buFontTx/>
              <a:buNone/>
              <a:defRPr sz="1200"/>
            </a:lvl1pPr>
          </a:lstStyle>
          <a:p>
            <a:r>
              <a:rPr lang="en-US"/>
              <a:t> </a:t>
            </a:r>
          </a:p>
        </p:txBody>
      </p:sp>
      <p:sp>
        <p:nvSpPr>
          <p:cNvPr id="25" name="Picture Placeholder 6">
            <a:extLst>
              <a:ext uri="{FF2B5EF4-FFF2-40B4-BE49-F238E27FC236}">
                <a16:creationId xmlns:a16="http://schemas.microsoft.com/office/drawing/2014/main" id="{A40C83F4-4617-45B0-AEBC-B7A1DAEE8A4F}"/>
              </a:ext>
            </a:extLst>
          </p:cNvPr>
          <p:cNvSpPr>
            <a:spLocks noGrp="1"/>
          </p:cNvSpPr>
          <p:nvPr>
            <p:ph type="pic" sz="quarter" idx="18" hasCustomPrompt="1"/>
          </p:nvPr>
        </p:nvSpPr>
        <p:spPr>
          <a:xfrm>
            <a:off x="939785" y="2035093"/>
            <a:ext cx="3565696" cy="658368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rot lat="18600000" lon="3000000" rev="17640000"/>
            </a:camera>
            <a:lightRig rig="threePt" dir="t"/>
          </a:scene3d>
          <a:sp3d prstMaterial="matte"/>
        </p:spPr>
        <p:txBody>
          <a:bodyPr wrap="square" anchor="ctr">
            <a:noAutofit/>
          </a:bodyPr>
          <a:lstStyle>
            <a:lvl1pPr marL="0" indent="0" algn="ctr">
              <a:buFontTx/>
              <a:buNone/>
              <a:defRPr sz="1200"/>
            </a:lvl1pPr>
          </a:lstStyle>
          <a:p>
            <a:r>
              <a:rPr lang="en-US"/>
              <a:t> </a:t>
            </a:r>
          </a:p>
        </p:txBody>
      </p:sp>
      <p:sp>
        <p:nvSpPr>
          <p:cNvPr id="26" name="Picture Placeholder 6">
            <a:extLst>
              <a:ext uri="{FF2B5EF4-FFF2-40B4-BE49-F238E27FC236}">
                <a16:creationId xmlns:a16="http://schemas.microsoft.com/office/drawing/2014/main" id="{B2DDB705-8583-4205-A6AC-A0C9FE6C24C7}"/>
              </a:ext>
            </a:extLst>
          </p:cNvPr>
          <p:cNvSpPr>
            <a:spLocks noGrp="1"/>
          </p:cNvSpPr>
          <p:nvPr>
            <p:ph type="pic" sz="quarter" idx="19" hasCustomPrompt="1"/>
          </p:nvPr>
        </p:nvSpPr>
        <p:spPr>
          <a:xfrm>
            <a:off x="920738" y="-1993030"/>
            <a:ext cx="3565696" cy="658368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rot lat="18600000" lon="3000000" rev="17640000"/>
            </a:camera>
            <a:lightRig rig="threePt" dir="t"/>
          </a:scene3d>
          <a:sp3d prstMaterial="matte"/>
        </p:spPr>
        <p:txBody>
          <a:bodyPr wrap="square" anchor="ctr">
            <a:noAutofit/>
          </a:bodyPr>
          <a:lstStyle>
            <a:lvl1pPr marL="0" indent="0" algn="ctr">
              <a:buFontTx/>
              <a:buNone/>
              <a:defRPr sz="1200"/>
            </a:lvl1pPr>
          </a:lstStyle>
          <a:p>
            <a:r>
              <a:rPr lang="en-US"/>
              <a:t> </a:t>
            </a:r>
          </a:p>
        </p:txBody>
      </p:sp>
      <p:sp>
        <p:nvSpPr>
          <p:cNvPr id="27" name="Picture Placeholder 6">
            <a:extLst>
              <a:ext uri="{FF2B5EF4-FFF2-40B4-BE49-F238E27FC236}">
                <a16:creationId xmlns:a16="http://schemas.microsoft.com/office/drawing/2014/main" id="{F041FFFF-ABCB-478C-81C8-2748EDA068E5}"/>
              </a:ext>
            </a:extLst>
          </p:cNvPr>
          <p:cNvSpPr>
            <a:spLocks noGrp="1"/>
          </p:cNvSpPr>
          <p:nvPr>
            <p:ph type="pic" sz="quarter" idx="20" hasCustomPrompt="1"/>
          </p:nvPr>
        </p:nvSpPr>
        <p:spPr>
          <a:xfrm>
            <a:off x="7637782" y="-1985773"/>
            <a:ext cx="3565696" cy="658368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rot lat="18600000" lon="3000000" rev="17640000"/>
            </a:camera>
            <a:lightRig rig="threePt" dir="t"/>
          </a:scene3d>
          <a:sp3d prstMaterial="matte"/>
        </p:spPr>
        <p:txBody>
          <a:bodyPr wrap="square" anchor="ctr">
            <a:noAutofit/>
          </a:bodyPr>
          <a:lstStyle>
            <a:lvl1pPr marL="0" indent="0" algn="ctr">
              <a:buFontTx/>
              <a:buNone/>
              <a:defRPr sz="1200"/>
            </a:lvl1pPr>
          </a:lstStyle>
          <a:p>
            <a:r>
              <a:rPr lang="en-US"/>
              <a:t> </a:t>
            </a:r>
          </a:p>
        </p:txBody>
      </p:sp>
      <p:sp>
        <p:nvSpPr>
          <p:cNvPr id="28" name="Picture Placeholder 6">
            <a:extLst>
              <a:ext uri="{FF2B5EF4-FFF2-40B4-BE49-F238E27FC236}">
                <a16:creationId xmlns:a16="http://schemas.microsoft.com/office/drawing/2014/main" id="{E8C46F02-D220-4F1D-A205-CD188B1EADC6}"/>
              </a:ext>
            </a:extLst>
          </p:cNvPr>
          <p:cNvSpPr>
            <a:spLocks noGrp="1"/>
          </p:cNvSpPr>
          <p:nvPr>
            <p:ph type="pic" sz="quarter" idx="21" hasCustomPrompt="1"/>
          </p:nvPr>
        </p:nvSpPr>
        <p:spPr>
          <a:xfrm>
            <a:off x="11021082" y="5552"/>
            <a:ext cx="3565696" cy="658368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rot lat="3000000" lon="3000000" rev="3960000"/>
            </a:camera>
            <a:lightRig rig="threePt" dir="t"/>
          </a:scene3d>
          <a:sp3d prstMaterial="matte"/>
        </p:spPr>
        <p:txBody>
          <a:bodyPr wrap="square" anchor="ctr">
            <a:noAutofit/>
          </a:bodyPr>
          <a:lstStyle>
            <a:lvl1pPr marL="0" indent="0" algn="ctr">
              <a:buFontTx/>
              <a:buNone/>
              <a:defRPr sz="1200"/>
            </a:lvl1pPr>
          </a:lstStyle>
          <a:p>
            <a:r>
              <a:rPr lang="en-US"/>
              <a:t> </a:t>
            </a:r>
          </a:p>
        </p:txBody>
      </p:sp>
      <p:sp>
        <p:nvSpPr>
          <p:cNvPr id="29" name="Picture Placeholder 6">
            <a:extLst>
              <a:ext uri="{FF2B5EF4-FFF2-40B4-BE49-F238E27FC236}">
                <a16:creationId xmlns:a16="http://schemas.microsoft.com/office/drawing/2014/main" id="{EF1A4BA8-0A92-4533-9270-471B0E0C082E}"/>
              </a:ext>
            </a:extLst>
          </p:cNvPr>
          <p:cNvSpPr>
            <a:spLocks noGrp="1"/>
          </p:cNvSpPr>
          <p:nvPr>
            <p:ph type="pic" sz="quarter" idx="22" hasCustomPrompt="1"/>
          </p:nvPr>
        </p:nvSpPr>
        <p:spPr>
          <a:xfrm>
            <a:off x="4288626" y="-4013106"/>
            <a:ext cx="3565696" cy="658368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rot lat="3000000" lon="3000000" rev="3960000"/>
            </a:camera>
            <a:lightRig rig="threePt" dir="t"/>
          </a:scene3d>
          <a:sp3d prstMaterial="matte"/>
        </p:spPr>
        <p:txBody>
          <a:bodyPr wrap="square" anchor="ctr">
            <a:noAutofit/>
          </a:bodyPr>
          <a:lstStyle>
            <a:lvl1pPr marL="0" indent="0" algn="ctr">
              <a:buFontTx/>
              <a:buNone/>
              <a:defRPr sz="1200"/>
            </a:lvl1pPr>
          </a:lstStyle>
          <a:p>
            <a:r>
              <a:rPr lang="en-US"/>
              <a:t> </a:t>
            </a:r>
          </a:p>
        </p:txBody>
      </p:sp>
      <p:sp>
        <p:nvSpPr>
          <p:cNvPr id="32" name="Picture Placeholder 6">
            <a:extLst>
              <a:ext uri="{FF2B5EF4-FFF2-40B4-BE49-F238E27FC236}">
                <a16:creationId xmlns:a16="http://schemas.microsoft.com/office/drawing/2014/main" id="{9DC83989-293D-49EE-BAB8-4BA6670BF53C}"/>
              </a:ext>
            </a:extLst>
          </p:cNvPr>
          <p:cNvSpPr>
            <a:spLocks noGrp="1"/>
          </p:cNvSpPr>
          <p:nvPr>
            <p:ph type="pic" sz="quarter" idx="23" hasCustomPrompt="1"/>
          </p:nvPr>
        </p:nvSpPr>
        <p:spPr>
          <a:xfrm>
            <a:off x="-2510582" y="3574"/>
            <a:ext cx="3565696" cy="658368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rot lat="3000000" lon="3000000" rev="3960000"/>
            </a:camera>
            <a:lightRig rig="threePt" dir="t"/>
          </a:scene3d>
          <a:sp3d prstMaterial="matte"/>
        </p:spPr>
        <p:txBody>
          <a:bodyPr wrap="square" anchor="ctr">
            <a:noAutofit/>
          </a:bodyPr>
          <a:lstStyle>
            <a:lvl1pPr marL="0" indent="0" algn="ctr">
              <a:buFontTx/>
              <a:buNone/>
              <a:defRPr sz="1200"/>
            </a:lvl1pPr>
          </a:lstStyle>
          <a:p>
            <a:r>
              <a:rPr lang="en-US"/>
              <a:t> </a:t>
            </a:r>
          </a:p>
        </p:txBody>
      </p:sp>
    </p:spTree>
    <p:extLst>
      <p:ext uri="{BB962C8B-B14F-4D97-AF65-F5344CB8AC3E}">
        <p14:creationId xmlns:p14="http://schemas.microsoft.com/office/powerpoint/2010/main" val="2798901619"/>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10" presetClass="entr" presetSubtype="0" dur="300" fill="hold" grpId="0" nodeType="withEffect">
                                  <p:stCondLst>
                                    <p:cond delay="130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300"/>
                                        <p:tgtEl>
                                          <p:spTgt spid="11"/>
                                        </p:tgtEl>
                                      </p:cBhvr>
                                    </p:animEffect>
                                  </p:childTnLst>
                                </p:cTn>
                              </p:par>
                              <p:par>
                                <p:cTn id="8" presetID="10" presetClass="entr" presetSubtype="0" dur="300" fill="hold" grpId="0" nodeType="withEffect">
                                  <p:stCondLst>
                                    <p:cond delay="2300"/>
                                  </p:stCondLst>
                                  <p:childTnLst>
                                    <p:set>
                                      <p:cBhvr>
                                        <p:cTn id="9" dur="1" fill="hold">
                                          <p:stCondLst>
                                            <p:cond delay="0"/>
                                          </p:stCondLst>
                                        </p:cTn>
                                        <p:tgtEl>
                                          <p:spTgt spid="14"/>
                                        </p:tgtEl>
                                        <p:attrNameLst>
                                          <p:attrName>style.visibility</p:attrName>
                                        </p:attrNameLst>
                                      </p:cBhvr>
                                      <p:to>
                                        <p:strVal val="visible"/>
                                      </p:to>
                                    </p:set>
                                    <p:animEffect transition="in" filter="fade">
                                      <p:cBhvr>
                                        <p:cTn id="10" dur="300"/>
                                        <p:tgtEl>
                                          <p:spTgt spid="14"/>
                                        </p:tgtEl>
                                      </p:cBhvr>
                                    </p:animEffect>
                                  </p:childTnLst>
                                </p:cTn>
                              </p:par>
                              <p:par>
                                <p:cTn id="11" presetID="10" presetClass="entr" presetSubtype="0" dur="300" fill="hold" grpId="0" nodeType="withEffect">
                                  <p:stCondLst>
                                    <p:cond delay="2400"/>
                                  </p:stCondLst>
                                  <p:childTnLst>
                                    <p:set>
                                      <p:cBhvr>
                                        <p:cTn id="12" dur="1" fill="hold">
                                          <p:stCondLst>
                                            <p:cond delay="0"/>
                                          </p:stCondLst>
                                        </p:cTn>
                                        <p:tgtEl>
                                          <p:spTgt spid="24"/>
                                        </p:tgtEl>
                                        <p:attrNameLst>
                                          <p:attrName>style.visibility</p:attrName>
                                        </p:attrNameLst>
                                      </p:cBhvr>
                                      <p:to>
                                        <p:strVal val="visible"/>
                                      </p:to>
                                    </p:set>
                                    <p:animEffect transition="in" filter="fade">
                                      <p:cBhvr>
                                        <p:cTn id="13" dur="300"/>
                                        <p:tgtEl>
                                          <p:spTgt spid="24"/>
                                        </p:tgtEl>
                                      </p:cBhvr>
                                    </p:animEffect>
                                  </p:childTnLst>
                                </p:cTn>
                              </p:par>
                              <p:par>
                                <p:cTn id="14" presetID="10" presetClass="entr" presetSubtype="0" dur="300" fill="hold" grpId="0" nodeType="withEffect">
                                  <p:stCondLst>
                                    <p:cond delay="2500"/>
                                  </p:stCondLst>
                                  <p:childTnLst>
                                    <p:set>
                                      <p:cBhvr>
                                        <p:cTn id="15" dur="1" fill="hold">
                                          <p:stCondLst>
                                            <p:cond delay="0"/>
                                          </p:stCondLst>
                                        </p:cTn>
                                        <p:tgtEl>
                                          <p:spTgt spid="25"/>
                                        </p:tgtEl>
                                        <p:attrNameLst>
                                          <p:attrName>style.visibility</p:attrName>
                                        </p:attrNameLst>
                                      </p:cBhvr>
                                      <p:to>
                                        <p:strVal val="visible"/>
                                      </p:to>
                                    </p:set>
                                    <p:animEffect transition="in" filter="fade">
                                      <p:cBhvr>
                                        <p:cTn id="16" dur="300"/>
                                        <p:tgtEl>
                                          <p:spTgt spid="25"/>
                                        </p:tgtEl>
                                      </p:cBhvr>
                                    </p:animEffect>
                                  </p:childTnLst>
                                </p:cTn>
                              </p:par>
                              <p:par>
                                <p:cTn id="17" presetID="10" presetClass="entr" presetSubtype="0" dur="300" fill="hold" grpId="0" nodeType="withEffect">
                                  <p:stCondLst>
                                    <p:cond delay="2600"/>
                                  </p:stCondLst>
                                  <p:childTnLst>
                                    <p:set>
                                      <p:cBhvr>
                                        <p:cTn id="18" dur="1" fill="hold">
                                          <p:stCondLst>
                                            <p:cond delay="0"/>
                                          </p:stCondLst>
                                        </p:cTn>
                                        <p:tgtEl>
                                          <p:spTgt spid="32"/>
                                        </p:tgtEl>
                                        <p:attrNameLst>
                                          <p:attrName>style.visibility</p:attrName>
                                        </p:attrNameLst>
                                      </p:cBhvr>
                                      <p:to>
                                        <p:strVal val="visible"/>
                                      </p:to>
                                    </p:set>
                                    <p:animEffect transition="in" filter="fade">
                                      <p:cBhvr>
                                        <p:cTn id="19" dur="300"/>
                                        <p:tgtEl>
                                          <p:spTgt spid="32"/>
                                        </p:tgtEl>
                                      </p:cBhvr>
                                    </p:animEffect>
                                  </p:childTnLst>
                                </p:cTn>
                              </p:par>
                              <p:par>
                                <p:cTn id="20" presetID="10" presetClass="entr" presetSubtype="0" dur="300" fill="hold" grpId="0" nodeType="withEffect">
                                  <p:stCondLst>
                                    <p:cond delay="2700"/>
                                  </p:stCondLst>
                                  <p:childTnLst>
                                    <p:set>
                                      <p:cBhvr>
                                        <p:cTn id="21" dur="1" fill="hold">
                                          <p:stCondLst>
                                            <p:cond delay="0"/>
                                          </p:stCondLst>
                                        </p:cTn>
                                        <p:tgtEl>
                                          <p:spTgt spid="26"/>
                                        </p:tgtEl>
                                        <p:attrNameLst>
                                          <p:attrName>style.visibility</p:attrName>
                                        </p:attrNameLst>
                                      </p:cBhvr>
                                      <p:to>
                                        <p:strVal val="visible"/>
                                      </p:to>
                                    </p:set>
                                    <p:animEffect transition="in" filter="fade">
                                      <p:cBhvr>
                                        <p:cTn id="22" dur="300"/>
                                        <p:tgtEl>
                                          <p:spTgt spid="26"/>
                                        </p:tgtEl>
                                      </p:cBhvr>
                                    </p:animEffect>
                                  </p:childTnLst>
                                </p:cTn>
                              </p:par>
                              <p:par>
                                <p:cTn id="23" presetID="10" presetClass="entr" presetSubtype="0" dur="300" fill="hold" grpId="0" nodeType="withEffect">
                                  <p:stCondLst>
                                    <p:cond delay="2800"/>
                                  </p:stCondLst>
                                  <p:childTnLst>
                                    <p:set>
                                      <p:cBhvr>
                                        <p:cTn id="24" dur="1" fill="hold">
                                          <p:stCondLst>
                                            <p:cond delay="0"/>
                                          </p:stCondLst>
                                        </p:cTn>
                                        <p:tgtEl>
                                          <p:spTgt spid="29"/>
                                        </p:tgtEl>
                                        <p:attrNameLst>
                                          <p:attrName>style.visibility</p:attrName>
                                        </p:attrNameLst>
                                      </p:cBhvr>
                                      <p:to>
                                        <p:strVal val="visible"/>
                                      </p:to>
                                    </p:set>
                                    <p:animEffect transition="in" filter="fade">
                                      <p:cBhvr>
                                        <p:cTn id="25" dur="300"/>
                                        <p:tgtEl>
                                          <p:spTgt spid="29"/>
                                        </p:tgtEl>
                                      </p:cBhvr>
                                    </p:animEffect>
                                  </p:childTnLst>
                                </p:cTn>
                              </p:par>
                              <p:par>
                                <p:cTn id="26" presetID="10" presetClass="entr" presetSubtype="0" dur="300" fill="hold" grpId="0" nodeType="withEffect">
                                  <p:stCondLst>
                                    <p:cond delay="2900"/>
                                  </p:stCondLst>
                                  <p:childTnLst>
                                    <p:set>
                                      <p:cBhvr>
                                        <p:cTn id="27" dur="1" fill="hold">
                                          <p:stCondLst>
                                            <p:cond delay="0"/>
                                          </p:stCondLst>
                                        </p:cTn>
                                        <p:tgtEl>
                                          <p:spTgt spid="27"/>
                                        </p:tgtEl>
                                        <p:attrNameLst>
                                          <p:attrName>style.visibility</p:attrName>
                                        </p:attrNameLst>
                                      </p:cBhvr>
                                      <p:to>
                                        <p:strVal val="visible"/>
                                      </p:to>
                                    </p:set>
                                    <p:animEffect transition="in" filter="fade">
                                      <p:cBhvr>
                                        <p:cTn id="28" dur="300"/>
                                        <p:tgtEl>
                                          <p:spTgt spid="27"/>
                                        </p:tgtEl>
                                      </p:cBhvr>
                                    </p:animEffect>
                                  </p:childTnLst>
                                </p:cTn>
                              </p:par>
                              <p:par>
                                <p:cTn id="29" presetID="10" presetClass="entr" presetSubtype="0" dur="300" fill="hold" grpId="0" nodeType="withEffect">
                                  <p:stCondLst>
                                    <p:cond delay="3000"/>
                                  </p:stCondLst>
                                  <p:childTnLst>
                                    <p:set>
                                      <p:cBhvr>
                                        <p:cTn id="30" dur="1" fill="hold">
                                          <p:stCondLst>
                                            <p:cond delay="0"/>
                                          </p:stCondLst>
                                        </p:cTn>
                                        <p:tgtEl>
                                          <p:spTgt spid="28"/>
                                        </p:tgtEl>
                                        <p:attrNameLst>
                                          <p:attrName>style.visibility</p:attrName>
                                        </p:attrNameLst>
                                      </p:cBhvr>
                                      <p:to>
                                        <p:strVal val="visible"/>
                                      </p:to>
                                    </p:set>
                                    <p:animEffect transition="in" filter="fade">
                                      <p:cBhvr>
                                        <p:cTn id="31" dur="3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4" grpId="0" animBg="1"/>
      <p:bldP spid="24" grpId="0" animBg="1"/>
      <p:bldP spid="25" grpId="0" animBg="1"/>
      <p:bldP spid="26" grpId="0" animBg="1"/>
      <p:bldP spid="27" grpId="0" animBg="1"/>
      <p:bldP spid="28" grpId="0" animBg="1"/>
      <p:bldP spid="29" grpId="0" animBg="1"/>
      <p:bldP spid="32" grpId="0" animBg="1"/>
    </p:bld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CONTACT">
    <p:spTree>
      <p:nvGrpSpPr>
        <p:cNvPr id="1" name=""/>
        <p:cNvGrpSpPr/>
        <p:nvPr/>
      </p:nvGrpSpPr>
      <p:grpSpPr>
        <a:xfrm>
          <a:off x="0" y="0"/>
          <a:ext cx="0" cy="0"/>
          <a:chOff x="0" y="0"/>
          <a:chExt cx="0" cy="0"/>
        </a:xfrm>
      </p:grpSpPr>
      <p:sp>
        <p:nvSpPr>
          <p:cNvPr id="267" name="Freihandform: Form 266">
            <a:extLst>
              <a:ext uri="{FF2B5EF4-FFF2-40B4-BE49-F238E27FC236}">
                <a16:creationId xmlns:a16="http://schemas.microsoft.com/office/drawing/2014/main" id="{919B2CD8-82FF-4BB7-9DCC-E8D32E59F274}"/>
              </a:ext>
            </a:extLst>
          </p:cNvPr>
          <p:cNvSpPr/>
          <p:nvPr userDrawn="1"/>
        </p:nvSpPr>
        <p:spPr>
          <a:xfrm>
            <a:off x="11841261" y="4050916"/>
            <a:ext cx="347243" cy="376374"/>
          </a:xfrm>
          <a:custGeom>
            <a:avLst/>
            <a:gdLst>
              <a:gd name="connsiteX0" fmla="*/ 158473 w 347243"/>
              <a:gd name="connsiteY0" fmla="*/ 376375 h 376374"/>
              <a:gd name="connsiteX1" fmla="*/ 0 w 347243"/>
              <a:gd name="connsiteY1" fmla="*/ 376375 h 376374"/>
              <a:gd name="connsiteX2" fmla="*/ 185274 w 347243"/>
              <a:gd name="connsiteY2" fmla="*/ 189935 h 376374"/>
              <a:gd name="connsiteX3" fmla="*/ 0 w 347243"/>
              <a:gd name="connsiteY3" fmla="*/ 0 h 376374"/>
              <a:gd name="connsiteX4" fmla="*/ 161969 w 347243"/>
              <a:gd name="connsiteY4" fmla="*/ 0 h 376374"/>
              <a:gd name="connsiteX5" fmla="*/ 347244 w 347243"/>
              <a:gd name="connsiteY5" fmla="*/ 185274 h 376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7243" h="376374">
                <a:moveTo>
                  <a:pt x="158473" y="376375"/>
                </a:moveTo>
                <a:lnTo>
                  <a:pt x="0" y="376375"/>
                </a:lnTo>
                <a:lnTo>
                  <a:pt x="185274" y="189935"/>
                </a:lnTo>
                <a:lnTo>
                  <a:pt x="0" y="0"/>
                </a:lnTo>
                <a:lnTo>
                  <a:pt x="161969" y="0"/>
                </a:lnTo>
                <a:lnTo>
                  <a:pt x="347244" y="185274"/>
                </a:lnTo>
                <a:close/>
              </a:path>
            </a:pathLst>
          </a:custGeom>
          <a:solidFill>
            <a:srgbClr val="EEF2F5"/>
          </a:solidFill>
          <a:ln w="11643" cap="flat">
            <a:noFill/>
            <a:prstDash val="solid"/>
            <a:miter/>
          </a:ln>
        </p:spPr>
        <p:txBody>
          <a:bodyPr rtlCol="0" anchor="ctr"/>
          <a:lstStyle/>
          <a:p>
            <a:endParaRPr lang="de-DE"/>
          </a:p>
        </p:txBody>
      </p:sp>
      <p:sp>
        <p:nvSpPr>
          <p:cNvPr id="268" name="Freihandform: Form 267">
            <a:extLst>
              <a:ext uri="{FF2B5EF4-FFF2-40B4-BE49-F238E27FC236}">
                <a16:creationId xmlns:a16="http://schemas.microsoft.com/office/drawing/2014/main" id="{98A7D4AE-9DAA-4684-913D-90B430C810F7}"/>
              </a:ext>
            </a:extLst>
          </p:cNvPr>
          <p:cNvSpPr/>
          <p:nvPr userDrawn="1"/>
        </p:nvSpPr>
        <p:spPr>
          <a:xfrm>
            <a:off x="11841261" y="4405152"/>
            <a:ext cx="347243" cy="377540"/>
          </a:xfrm>
          <a:custGeom>
            <a:avLst/>
            <a:gdLst>
              <a:gd name="connsiteX0" fmla="*/ 158473 w 347243"/>
              <a:gd name="connsiteY0" fmla="*/ 377540 h 377540"/>
              <a:gd name="connsiteX1" fmla="*/ 0 w 347243"/>
              <a:gd name="connsiteY1" fmla="*/ 377540 h 377540"/>
              <a:gd name="connsiteX2" fmla="*/ 185274 w 347243"/>
              <a:gd name="connsiteY2" fmla="*/ 189935 h 377540"/>
              <a:gd name="connsiteX3" fmla="*/ 0 w 347243"/>
              <a:gd name="connsiteY3" fmla="*/ 0 h 377540"/>
              <a:gd name="connsiteX4" fmla="*/ 161969 w 347243"/>
              <a:gd name="connsiteY4" fmla="*/ 0 h 377540"/>
              <a:gd name="connsiteX5" fmla="*/ 347244 w 347243"/>
              <a:gd name="connsiteY5" fmla="*/ 185274 h 377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7243" h="377540">
                <a:moveTo>
                  <a:pt x="158473" y="377540"/>
                </a:moveTo>
                <a:lnTo>
                  <a:pt x="0" y="377540"/>
                </a:lnTo>
                <a:lnTo>
                  <a:pt x="185274" y="189935"/>
                </a:lnTo>
                <a:lnTo>
                  <a:pt x="0" y="0"/>
                </a:lnTo>
                <a:lnTo>
                  <a:pt x="161969" y="0"/>
                </a:lnTo>
                <a:lnTo>
                  <a:pt x="347244" y="185274"/>
                </a:lnTo>
                <a:close/>
              </a:path>
            </a:pathLst>
          </a:custGeom>
          <a:solidFill>
            <a:srgbClr val="EEF2F5"/>
          </a:solidFill>
          <a:ln w="11643" cap="flat">
            <a:noFill/>
            <a:prstDash val="solid"/>
            <a:miter/>
          </a:ln>
        </p:spPr>
        <p:txBody>
          <a:bodyPr rtlCol="0" anchor="ctr"/>
          <a:lstStyle/>
          <a:p>
            <a:endParaRPr lang="de-DE"/>
          </a:p>
        </p:txBody>
      </p:sp>
      <p:sp>
        <p:nvSpPr>
          <p:cNvPr id="269" name="Freihandform: Form 268">
            <a:extLst>
              <a:ext uri="{FF2B5EF4-FFF2-40B4-BE49-F238E27FC236}">
                <a16:creationId xmlns:a16="http://schemas.microsoft.com/office/drawing/2014/main" id="{65205431-CA52-4417-B021-25FD0C1E33F9}"/>
              </a:ext>
            </a:extLst>
          </p:cNvPr>
          <p:cNvSpPr/>
          <p:nvPr userDrawn="1"/>
        </p:nvSpPr>
        <p:spPr>
          <a:xfrm>
            <a:off x="11494017" y="3704837"/>
            <a:ext cx="330930" cy="358896"/>
          </a:xfrm>
          <a:custGeom>
            <a:avLst/>
            <a:gdLst>
              <a:gd name="connsiteX0" fmla="*/ 151482 w 330930"/>
              <a:gd name="connsiteY0" fmla="*/ 358896 h 358896"/>
              <a:gd name="connsiteX1" fmla="*/ 0 w 330930"/>
              <a:gd name="connsiteY1" fmla="*/ 358896 h 358896"/>
              <a:gd name="connsiteX2" fmla="*/ 177118 w 330930"/>
              <a:gd name="connsiteY2" fmla="*/ 180613 h 358896"/>
              <a:gd name="connsiteX3" fmla="*/ 0 w 330930"/>
              <a:gd name="connsiteY3" fmla="*/ 0 h 358896"/>
              <a:gd name="connsiteX4" fmla="*/ 154979 w 330930"/>
              <a:gd name="connsiteY4" fmla="*/ 0 h 358896"/>
              <a:gd name="connsiteX5" fmla="*/ 330931 w 330930"/>
              <a:gd name="connsiteY5" fmla="*/ 175953 h 358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930" h="358896">
                <a:moveTo>
                  <a:pt x="151482" y="358896"/>
                </a:moveTo>
                <a:lnTo>
                  <a:pt x="0" y="358896"/>
                </a:lnTo>
                <a:lnTo>
                  <a:pt x="177118" y="180613"/>
                </a:lnTo>
                <a:lnTo>
                  <a:pt x="0" y="0"/>
                </a:lnTo>
                <a:lnTo>
                  <a:pt x="154979" y="0"/>
                </a:lnTo>
                <a:lnTo>
                  <a:pt x="330931" y="175953"/>
                </a:lnTo>
                <a:close/>
              </a:path>
            </a:pathLst>
          </a:custGeom>
          <a:solidFill>
            <a:srgbClr val="EEF2F5"/>
          </a:solidFill>
          <a:ln w="11643" cap="flat">
            <a:noFill/>
            <a:prstDash val="solid"/>
            <a:miter/>
          </a:ln>
        </p:spPr>
        <p:txBody>
          <a:bodyPr rtlCol="0" anchor="ctr"/>
          <a:lstStyle/>
          <a:p>
            <a:endParaRPr lang="de-DE"/>
          </a:p>
        </p:txBody>
      </p:sp>
      <p:sp>
        <p:nvSpPr>
          <p:cNvPr id="270" name="Freihandform: Form 269">
            <a:extLst>
              <a:ext uri="{FF2B5EF4-FFF2-40B4-BE49-F238E27FC236}">
                <a16:creationId xmlns:a16="http://schemas.microsoft.com/office/drawing/2014/main" id="{54C328D2-472D-4AAA-B765-01BBCF86507D}"/>
              </a:ext>
            </a:extLst>
          </p:cNvPr>
          <p:cNvSpPr/>
          <p:nvPr userDrawn="1"/>
        </p:nvSpPr>
        <p:spPr>
          <a:xfrm>
            <a:off x="11494017" y="4059073"/>
            <a:ext cx="330930" cy="360061"/>
          </a:xfrm>
          <a:custGeom>
            <a:avLst/>
            <a:gdLst>
              <a:gd name="connsiteX0" fmla="*/ 151482 w 330930"/>
              <a:gd name="connsiteY0" fmla="*/ 360062 h 360061"/>
              <a:gd name="connsiteX1" fmla="*/ 0 w 330930"/>
              <a:gd name="connsiteY1" fmla="*/ 360062 h 360061"/>
              <a:gd name="connsiteX2" fmla="*/ 177118 w 330930"/>
              <a:gd name="connsiteY2" fmla="*/ 181779 h 360061"/>
              <a:gd name="connsiteX3" fmla="*/ 0 w 330930"/>
              <a:gd name="connsiteY3" fmla="*/ 0 h 360061"/>
              <a:gd name="connsiteX4" fmla="*/ 154979 w 330930"/>
              <a:gd name="connsiteY4" fmla="*/ 0 h 360061"/>
              <a:gd name="connsiteX5" fmla="*/ 330931 w 330930"/>
              <a:gd name="connsiteY5" fmla="*/ 177118 h 360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930" h="360061">
                <a:moveTo>
                  <a:pt x="151482" y="360062"/>
                </a:moveTo>
                <a:lnTo>
                  <a:pt x="0" y="360062"/>
                </a:lnTo>
                <a:lnTo>
                  <a:pt x="177118" y="181779"/>
                </a:lnTo>
                <a:lnTo>
                  <a:pt x="0" y="0"/>
                </a:lnTo>
                <a:lnTo>
                  <a:pt x="154979" y="0"/>
                </a:lnTo>
                <a:lnTo>
                  <a:pt x="330931" y="177118"/>
                </a:lnTo>
                <a:close/>
              </a:path>
            </a:pathLst>
          </a:custGeom>
          <a:solidFill>
            <a:srgbClr val="EEF2F5"/>
          </a:solidFill>
          <a:ln w="11643" cap="flat">
            <a:noFill/>
            <a:prstDash val="solid"/>
            <a:miter/>
          </a:ln>
        </p:spPr>
        <p:txBody>
          <a:bodyPr rtlCol="0" anchor="ctr"/>
          <a:lstStyle/>
          <a:p>
            <a:endParaRPr lang="de-DE"/>
          </a:p>
        </p:txBody>
      </p:sp>
      <p:sp>
        <p:nvSpPr>
          <p:cNvPr id="271" name="Freihandform: Form 270">
            <a:extLst>
              <a:ext uri="{FF2B5EF4-FFF2-40B4-BE49-F238E27FC236}">
                <a16:creationId xmlns:a16="http://schemas.microsoft.com/office/drawing/2014/main" id="{58A1ADF4-67BB-4B4F-97A2-C8981295C28E}"/>
              </a:ext>
            </a:extLst>
          </p:cNvPr>
          <p:cNvSpPr/>
          <p:nvPr userDrawn="1"/>
        </p:nvSpPr>
        <p:spPr>
          <a:xfrm>
            <a:off x="11494017" y="4414474"/>
            <a:ext cx="330930" cy="358896"/>
          </a:xfrm>
          <a:custGeom>
            <a:avLst/>
            <a:gdLst>
              <a:gd name="connsiteX0" fmla="*/ 151482 w 330930"/>
              <a:gd name="connsiteY0" fmla="*/ 358896 h 358896"/>
              <a:gd name="connsiteX1" fmla="*/ 0 w 330930"/>
              <a:gd name="connsiteY1" fmla="*/ 358896 h 358896"/>
              <a:gd name="connsiteX2" fmla="*/ 177118 w 330930"/>
              <a:gd name="connsiteY2" fmla="*/ 180613 h 358896"/>
              <a:gd name="connsiteX3" fmla="*/ 0 w 330930"/>
              <a:gd name="connsiteY3" fmla="*/ 0 h 358896"/>
              <a:gd name="connsiteX4" fmla="*/ 154979 w 330930"/>
              <a:gd name="connsiteY4" fmla="*/ 0 h 358896"/>
              <a:gd name="connsiteX5" fmla="*/ 330931 w 330930"/>
              <a:gd name="connsiteY5" fmla="*/ 175952 h 358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930" h="358896">
                <a:moveTo>
                  <a:pt x="151482" y="358896"/>
                </a:moveTo>
                <a:lnTo>
                  <a:pt x="0" y="358896"/>
                </a:lnTo>
                <a:lnTo>
                  <a:pt x="177118" y="180613"/>
                </a:lnTo>
                <a:lnTo>
                  <a:pt x="0" y="0"/>
                </a:lnTo>
                <a:lnTo>
                  <a:pt x="154979" y="0"/>
                </a:lnTo>
                <a:lnTo>
                  <a:pt x="330931" y="175952"/>
                </a:lnTo>
                <a:close/>
              </a:path>
            </a:pathLst>
          </a:custGeom>
          <a:solidFill>
            <a:srgbClr val="EEF2F5"/>
          </a:solidFill>
          <a:ln w="11643" cap="flat">
            <a:noFill/>
            <a:prstDash val="solid"/>
            <a:miter/>
          </a:ln>
        </p:spPr>
        <p:txBody>
          <a:bodyPr rtlCol="0" anchor="ctr"/>
          <a:lstStyle/>
          <a:p>
            <a:endParaRPr lang="de-DE"/>
          </a:p>
        </p:txBody>
      </p:sp>
      <p:sp>
        <p:nvSpPr>
          <p:cNvPr id="272" name="Freihandform: Form 271">
            <a:extLst>
              <a:ext uri="{FF2B5EF4-FFF2-40B4-BE49-F238E27FC236}">
                <a16:creationId xmlns:a16="http://schemas.microsoft.com/office/drawing/2014/main" id="{03415443-3F41-49F3-B60C-1201D9A263D5}"/>
              </a:ext>
            </a:extLst>
          </p:cNvPr>
          <p:cNvSpPr/>
          <p:nvPr userDrawn="1"/>
        </p:nvSpPr>
        <p:spPr>
          <a:xfrm>
            <a:off x="11494017" y="4768709"/>
            <a:ext cx="330930" cy="360061"/>
          </a:xfrm>
          <a:custGeom>
            <a:avLst/>
            <a:gdLst>
              <a:gd name="connsiteX0" fmla="*/ 151482 w 330930"/>
              <a:gd name="connsiteY0" fmla="*/ 360062 h 360061"/>
              <a:gd name="connsiteX1" fmla="*/ 0 w 330930"/>
              <a:gd name="connsiteY1" fmla="*/ 360062 h 360061"/>
              <a:gd name="connsiteX2" fmla="*/ 177118 w 330930"/>
              <a:gd name="connsiteY2" fmla="*/ 181779 h 360061"/>
              <a:gd name="connsiteX3" fmla="*/ 0 w 330930"/>
              <a:gd name="connsiteY3" fmla="*/ 0 h 360061"/>
              <a:gd name="connsiteX4" fmla="*/ 154979 w 330930"/>
              <a:gd name="connsiteY4" fmla="*/ 0 h 360061"/>
              <a:gd name="connsiteX5" fmla="*/ 330931 w 330930"/>
              <a:gd name="connsiteY5" fmla="*/ 177118 h 360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930" h="360061">
                <a:moveTo>
                  <a:pt x="151482" y="360062"/>
                </a:moveTo>
                <a:lnTo>
                  <a:pt x="0" y="360062"/>
                </a:lnTo>
                <a:lnTo>
                  <a:pt x="177118" y="181779"/>
                </a:lnTo>
                <a:lnTo>
                  <a:pt x="0" y="0"/>
                </a:lnTo>
                <a:lnTo>
                  <a:pt x="154979" y="0"/>
                </a:lnTo>
                <a:lnTo>
                  <a:pt x="330931" y="177118"/>
                </a:lnTo>
                <a:close/>
              </a:path>
            </a:pathLst>
          </a:custGeom>
          <a:solidFill>
            <a:srgbClr val="EEF2F5"/>
          </a:solidFill>
          <a:ln w="11643" cap="flat">
            <a:noFill/>
            <a:prstDash val="solid"/>
            <a:miter/>
          </a:ln>
        </p:spPr>
        <p:txBody>
          <a:bodyPr rtlCol="0" anchor="ctr"/>
          <a:lstStyle/>
          <a:p>
            <a:endParaRPr lang="de-DE"/>
          </a:p>
        </p:txBody>
      </p:sp>
      <p:sp>
        <p:nvSpPr>
          <p:cNvPr id="273" name="Freihandform: Form 272">
            <a:extLst>
              <a:ext uri="{FF2B5EF4-FFF2-40B4-BE49-F238E27FC236}">
                <a16:creationId xmlns:a16="http://schemas.microsoft.com/office/drawing/2014/main" id="{B563676F-D202-4871-9820-0E475258CF51}"/>
              </a:ext>
            </a:extLst>
          </p:cNvPr>
          <p:cNvSpPr/>
          <p:nvPr userDrawn="1"/>
        </p:nvSpPr>
        <p:spPr>
          <a:xfrm>
            <a:off x="11147939" y="3358759"/>
            <a:ext cx="314616" cy="341417"/>
          </a:xfrm>
          <a:custGeom>
            <a:avLst/>
            <a:gdLst>
              <a:gd name="connsiteX0" fmla="*/ 143325 w 314616"/>
              <a:gd name="connsiteY0" fmla="*/ 341418 h 341417"/>
              <a:gd name="connsiteX1" fmla="*/ 0 w 314616"/>
              <a:gd name="connsiteY1" fmla="*/ 341418 h 341417"/>
              <a:gd name="connsiteX2" fmla="*/ 167795 w 314616"/>
              <a:gd name="connsiteY2" fmla="*/ 172457 h 341417"/>
              <a:gd name="connsiteX3" fmla="*/ 0 w 314616"/>
              <a:gd name="connsiteY3" fmla="*/ 0 h 341417"/>
              <a:gd name="connsiteX4" fmla="*/ 146821 w 314616"/>
              <a:gd name="connsiteY4" fmla="*/ 0 h 341417"/>
              <a:gd name="connsiteX5" fmla="*/ 314617 w 314616"/>
              <a:gd name="connsiteY5" fmla="*/ 167796 h 341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4616" h="341417">
                <a:moveTo>
                  <a:pt x="143325" y="341418"/>
                </a:moveTo>
                <a:lnTo>
                  <a:pt x="0" y="341418"/>
                </a:lnTo>
                <a:lnTo>
                  <a:pt x="167795" y="172457"/>
                </a:lnTo>
                <a:lnTo>
                  <a:pt x="0" y="0"/>
                </a:lnTo>
                <a:lnTo>
                  <a:pt x="146821" y="0"/>
                </a:lnTo>
                <a:lnTo>
                  <a:pt x="314617" y="167796"/>
                </a:lnTo>
                <a:close/>
              </a:path>
            </a:pathLst>
          </a:custGeom>
          <a:solidFill>
            <a:srgbClr val="EEF2F5"/>
          </a:solidFill>
          <a:ln w="11643" cap="flat">
            <a:noFill/>
            <a:prstDash val="solid"/>
            <a:miter/>
          </a:ln>
        </p:spPr>
        <p:txBody>
          <a:bodyPr rtlCol="0" anchor="ctr"/>
          <a:lstStyle/>
          <a:p>
            <a:endParaRPr lang="de-DE"/>
          </a:p>
        </p:txBody>
      </p:sp>
      <p:sp>
        <p:nvSpPr>
          <p:cNvPr id="274" name="Freihandform: Form 273">
            <a:extLst>
              <a:ext uri="{FF2B5EF4-FFF2-40B4-BE49-F238E27FC236}">
                <a16:creationId xmlns:a16="http://schemas.microsoft.com/office/drawing/2014/main" id="{5D770B4B-8FDA-4BEE-9FFB-F30316599C4D}"/>
              </a:ext>
            </a:extLst>
          </p:cNvPr>
          <p:cNvSpPr/>
          <p:nvPr userDrawn="1"/>
        </p:nvSpPr>
        <p:spPr>
          <a:xfrm>
            <a:off x="11147939" y="3714159"/>
            <a:ext cx="314616" cy="340252"/>
          </a:xfrm>
          <a:custGeom>
            <a:avLst/>
            <a:gdLst>
              <a:gd name="connsiteX0" fmla="*/ 143325 w 314616"/>
              <a:gd name="connsiteY0" fmla="*/ 340252 h 340252"/>
              <a:gd name="connsiteX1" fmla="*/ 0 w 314616"/>
              <a:gd name="connsiteY1" fmla="*/ 340252 h 340252"/>
              <a:gd name="connsiteX2" fmla="*/ 167795 w 314616"/>
              <a:gd name="connsiteY2" fmla="*/ 171291 h 340252"/>
              <a:gd name="connsiteX3" fmla="*/ 0 w 314616"/>
              <a:gd name="connsiteY3" fmla="*/ 0 h 340252"/>
              <a:gd name="connsiteX4" fmla="*/ 146821 w 314616"/>
              <a:gd name="connsiteY4" fmla="*/ 0 h 340252"/>
              <a:gd name="connsiteX5" fmla="*/ 314617 w 314616"/>
              <a:gd name="connsiteY5" fmla="*/ 166631 h 340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4616" h="340252">
                <a:moveTo>
                  <a:pt x="143325" y="340252"/>
                </a:moveTo>
                <a:lnTo>
                  <a:pt x="0" y="340252"/>
                </a:lnTo>
                <a:lnTo>
                  <a:pt x="167795" y="171291"/>
                </a:lnTo>
                <a:lnTo>
                  <a:pt x="0" y="0"/>
                </a:lnTo>
                <a:lnTo>
                  <a:pt x="146821" y="0"/>
                </a:lnTo>
                <a:lnTo>
                  <a:pt x="314617" y="166631"/>
                </a:lnTo>
                <a:close/>
              </a:path>
            </a:pathLst>
          </a:custGeom>
          <a:solidFill>
            <a:srgbClr val="EEF2F5"/>
          </a:solidFill>
          <a:ln w="11643" cap="flat">
            <a:noFill/>
            <a:prstDash val="solid"/>
            <a:miter/>
          </a:ln>
        </p:spPr>
        <p:txBody>
          <a:bodyPr rtlCol="0" anchor="ctr"/>
          <a:lstStyle/>
          <a:p>
            <a:endParaRPr lang="de-DE"/>
          </a:p>
        </p:txBody>
      </p:sp>
      <p:sp>
        <p:nvSpPr>
          <p:cNvPr id="275" name="Freihandform: Form 274">
            <a:extLst>
              <a:ext uri="{FF2B5EF4-FFF2-40B4-BE49-F238E27FC236}">
                <a16:creationId xmlns:a16="http://schemas.microsoft.com/office/drawing/2014/main" id="{81054F7A-CDD6-4293-8A5B-F202CD55CF17}"/>
              </a:ext>
            </a:extLst>
          </p:cNvPr>
          <p:cNvSpPr/>
          <p:nvPr userDrawn="1"/>
        </p:nvSpPr>
        <p:spPr>
          <a:xfrm>
            <a:off x="11147939" y="4068395"/>
            <a:ext cx="314616" cy="341417"/>
          </a:xfrm>
          <a:custGeom>
            <a:avLst/>
            <a:gdLst>
              <a:gd name="connsiteX0" fmla="*/ 143325 w 314616"/>
              <a:gd name="connsiteY0" fmla="*/ 341418 h 341417"/>
              <a:gd name="connsiteX1" fmla="*/ 0 w 314616"/>
              <a:gd name="connsiteY1" fmla="*/ 341418 h 341417"/>
              <a:gd name="connsiteX2" fmla="*/ 167795 w 314616"/>
              <a:gd name="connsiteY2" fmla="*/ 172457 h 341417"/>
              <a:gd name="connsiteX3" fmla="*/ 0 w 314616"/>
              <a:gd name="connsiteY3" fmla="*/ 0 h 341417"/>
              <a:gd name="connsiteX4" fmla="*/ 146821 w 314616"/>
              <a:gd name="connsiteY4" fmla="*/ 0 h 341417"/>
              <a:gd name="connsiteX5" fmla="*/ 314617 w 314616"/>
              <a:gd name="connsiteY5" fmla="*/ 167796 h 341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4616" h="341417">
                <a:moveTo>
                  <a:pt x="143325" y="341418"/>
                </a:moveTo>
                <a:lnTo>
                  <a:pt x="0" y="341418"/>
                </a:lnTo>
                <a:lnTo>
                  <a:pt x="167795" y="172457"/>
                </a:lnTo>
                <a:lnTo>
                  <a:pt x="0" y="0"/>
                </a:lnTo>
                <a:lnTo>
                  <a:pt x="146821" y="0"/>
                </a:lnTo>
                <a:lnTo>
                  <a:pt x="314617" y="167796"/>
                </a:lnTo>
                <a:close/>
              </a:path>
            </a:pathLst>
          </a:custGeom>
          <a:solidFill>
            <a:srgbClr val="EEF2F5"/>
          </a:solidFill>
          <a:ln w="11643" cap="flat">
            <a:noFill/>
            <a:prstDash val="solid"/>
            <a:miter/>
          </a:ln>
        </p:spPr>
        <p:txBody>
          <a:bodyPr rtlCol="0" anchor="ctr"/>
          <a:lstStyle/>
          <a:p>
            <a:endParaRPr lang="de-DE"/>
          </a:p>
        </p:txBody>
      </p:sp>
      <p:sp>
        <p:nvSpPr>
          <p:cNvPr id="276" name="Freihandform: Form 275">
            <a:extLst>
              <a:ext uri="{FF2B5EF4-FFF2-40B4-BE49-F238E27FC236}">
                <a16:creationId xmlns:a16="http://schemas.microsoft.com/office/drawing/2014/main" id="{AC7F4FB6-F7E9-413D-A12F-625B3C9B48F7}"/>
              </a:ext>
            </a:extLst>
          </p:cNvPr>
          <p:cNvSpPr/>
          <p:nvPr userDrawn="1"/>
        </p:nvSpPr>
        <p:spPr>
          <a:xfrm>
            <a:off x="11147939" y="4423796"/>
            <a:ext cx="314616" cy="340252"/>
          </a:xfrm>
          <a:custGeom>
            <a:avLst/>
            <a:gdLst>
              <a:gd name="connsiteX0" fmla="*/ 143325 w 314616"/>
              <a:gd name="connsiteY0" fmla="*/ 340252 h 340252"/>
              <a:gd name="connsiteX1" fmla="*/ 0 w 314616"/>
              <a:gd name="connsiteY1" fmla="*/ 340252 h 340252"/>
              <a:gd name="connsiteX2" fmla="*/ 167795 w 314616"/>
              <a:gd name="connsiteY2" fmla="*/ 171291 h 340252"/>
              <a:gd name="connsiteX3" fmla="*/ 0 w 314616"/>
              <a:gd name="connsiteY3" fmla="*/ 0 h 340252"/>
              <a:gd name="connsiteX4" fmla="*/ 146821 w 314616"/>
              <a:gd name="connsiteY4" fmla="*/ 0 h 340252"/>
              <a:gd name="connsiteX5" fmla="*/ 314617 w 314616"/>
              <a:gd name="connsiteY5" fmla="*/ 167796 h 340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4616" h="340252">
                <a:moveTo>
                  <a:pt x="143325" y="340252"/>
                </a:moveTo>
                <a:lnTo>
                  <a:pt x="0" y="340252"/>
                </a:lnTo>
                <a:lnTo>
                  <a:pt x="167795" y="171291"/>
                </a:lnTo>
                <a:lnTo>
                  <a:pt x="0" y="0"/>
                </a:lnTo>
                <a:lnTo>
                  <a:pt x="146821" y="0"/>
                </a:lnTo>
                <a:lnTo>
                  <a:pt x="314617" y="167796"/>
                </a:lnTo>
                <a:close/>
              </a:path>
            </a:pathLst>
          </a:custGeom>
          <a:solidFill>
            <a:srgbClr val="EEF2F5"/>
          </a:solidFill>
          <a:ln w="11643" cap="flat">
            <a:noFill/>
            <a:prstDash val="solid"/>
            <a:miter/>
          </a:ln>
        </p:spPr>
        <p:txBody>
          <a:bodyPr rtlCol="0" anchor="ctr"/>
          <a:lstStyle/>
          <a:p>
            <a:endParaRPr lang="de-DE"/>
          </a:p>
        </p:txBody>
      </p:sp>
      <p:sp>
        <p:nvSpPr>
          <p:cNvPr id="277" name="Freihandform: Form 276">
            <a:extLst>
              <a:ext uri="{FF2B5EF4-FFF2-40B4-BE49-F238E27FC236}">
                <a16:creationId xmlns:a16="http://schemas.microsoft.com/office/drawing/2014/main" id="{E0FCE453-708E-4F94-ABB2-11D8FE79AB20}"/>
              </a:ext>
            </a:extLst>
          </p:cNvPr>
          <p:cNvSpPr/>
          <p:nvPr userDrawn="1"/>
        </p:nvSpPr>
        <p:spPr>
          <a:xfrm>
            <a:off x="11147939" y="4778031"/>
            <a:ext cx="314616" cy="341417"/>
          </a:xfrm>
          <a:custGeom>
            <a:avLst/>
            <a:gdLst>
              <a:gd name="connsiteX0" fmla="*/ 143325 w 314616"/>
              <a:gd name="connsiteY0" fmla="*/ 341418 h 341417"/>
              <a:gd name="connsiteX1" fmla="*/ 0 w 314616"/>
              <a:gd name="connsiteY1" fmla="*/ 341418 h 341417"/>
              <a:gd name="connsiteX2" fmla="*/ 167795 w 314616"/>
              <a:gd name="connsiteY2" fmla="*/ 172457 h 341417"/>
              <a:gd name="connsiteX3" fmla="*/ 0 w 314616"/>
              <a:gd name="connsiteY3" fmla="*/ 0 h 341417"/>
              <a:gd name="connsiteX4" fmla="*/ 146821 w 314616"/>
              <a:gd name="connsiteY4" fmla="*/ 0 h 341417"/>
              <a:gd name="connsiteX5" fmla="*/ 314617 w 314616"/>
              <a:gd name="connsiteY5" fmla="*/ 167796 h 341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4616" h="341417">
                <a:moveTo>
                  <a:pt x="143325" y="341418"/>
                </a:moveTo>
                <a:lnTo>
                  <a:pt x="0" y="341418"/>
                </a:lnTo>
                <a:lnTo>
                  <a:pt x="167795" y="172457"/>
                </a:lnTo>
                <a:lnTo>
                  <a:pt x="0" y="0"/>
                </a:lnTo>
                <a:lnTo>
                  <a:pt x="146821" y="0"/>
                </a:lnTo>
                <a:lnTo>
                  <a:pt x="314617" y="167796"/>
                </a:lnTo>
                <a:close/>
              </a:path>
            </a:pathLst>
          </a:custGeom>
          <a:solidFill>
            <a:srgbClr val="EEF2F5"/>
          </a:solidFill>
          <a:ln w="11643" cap="flat">
            <a:noFill/>
            <a:prstDash val="solid"/>
            <a:miter/>
          </a:ln>
        </p:spPr>
        <p:txBody>
          <a:bodyPr rtlCol="0" anchor="ctr"/>
          <a:lstStyle/>
          <a:p>
            <a:endParaRPr lang="de-DE"/>
          </a:p>
        </p:txBody>
      </p:sp>
      <p:sp>
        <p:nvSpPr>
          <p:cNvPr id="278" name="Freihandform: Form 277">
            <a:extLst>
              <a:ext uri="{FF2B5EF4-FFF2-40B4-BE49-F238E27FC236}">
                <a16:creationId xmlns:a16="http://schemas.microsoft.com/office/drawing/2014/main" id="{1688DC58-ADCC-47C8-9C44-0BF9CDA63828}"/>
              </a:ext>
            </a:extLst>
          </p:cNvPr>
          <p:cNvSpPr/>
          <p:nvPr userDrawn="1"/>
        </p:nvSpPr>
        <p:spPr>
          <a:xfrm>
            <a:off x="11147939" y="5133432"/>
            <a:ext cx="314616" cy="341417"/>
          </a:xfrm>
          <a:custGeom>
            <a:avLst/>
            <a:gdLst>
              <a:gd name="connsiteX0" fmla="*/ 143325 w 314616"/>
              <a:gd name="connsiteY0" fmla="*/ 341418 h 341417"/>
              <a:gd name="connsiteX1" fmla="*/ 0 w 314616"/>
              <a:gd name="connsiteY1" fmla="*/ 341418 h 341417"/>
              <a:gd name="connsiteX2" fmla="*/ 167795 w 314616"/>
              <a:gd name="connsiteY2" fmla="*/ 171292 h 341417"/>
              <a:gd name="connsiteX3" fmla="*/ 0 w 314616"/>
              <a:gd name="connsiteY3" fmla="*/ 0 h 341417"/>
              <a:gd name="connsiteX4" fmla="*/ 146821 w 314616"/>
              <a:gd name="connsiteY4" fmla="*/ 0 h 341417"/>
              <a:gd name="connsiteX5" fmla="*/ 314617 w 314616"/>
              <a:gd name="connsiteY5" fmla="*/ 167796 h 341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4616" h="341417">
                <a:moveTo>
                  <a:pt x="143325" y="341418"/>
                </a:moveTo>
                <a:lnTo>
                  <a:pt x="0" y="341418"/>
                </a:lnTo>
                <a:lnTo>
                  <a:pt x="167795" y="171292"/>
                </a:lnTo>
                <a:lnTo>
                  <a:pt x="0" y="0"/>
                </a:lnTo>
                <a:lnTo>
                  <a:pt x="146821" y="0"/>
                </a:lnTo>
                <a:lnTo>
                  <a:pt x="314617" y="167796"/>
                </a:lnTo>
                <a:close/>
              </a:path>
            </a:pathLst>
          </a:custGeom>
          <a:solidFill>
            <a:srgbClr val="EEF2F5"/>
          </a:solidFill>
          <a:ln w="11643" cap="flat">
            <a:noFill/>
            <a:prstDash val="solid"/>
            <a:miter/>
          </a:ln>
        </p:spPr>
        <p:txBody>
          <a:bodyPr rtlCol="0" anchor="ctr"/>
          <a:lstStyle/>
          <a:p>
            <a:endParaRPr lang="de-DE"/>
          </a:p>
        </p:txBody>
      </p:sp>
      <p:sp>
        <p:nvSpPr>
          <p:cNvPr id="279" name="Freihandform: Form 278">
            <a:extLst>
              <a:ext uri="{FF2B5EF4-FFF2-40B4-BE49-F238E27FC236}">
                <a16:creationId xmlns:a16="http://schemas.microsoft.com/office/drawing/2014/main" id="{4BBABDFE-BB76-4C3E-8755-4E50356E6B42}"/>
              </a:ext>
            </a:extLst>
          </p:cNvPr>
          <p:cNvSpPr/>
          <p:nvPr userDrawn="1"/>
        </p:nvSpPr>
        <p:spPr>
          <a:xfrm>
            <a:off x="10801860" y="3012680"/>
            <a:ext cx="297138" cy="323938"/>
          </a:xfrm>
          <a:custGeom>
            <a:avLst/>
            <a:gdLst>
              <a:gd name="connsiteX0" fmla="*/ 135168 w 297138"/>
              <a:gd name="connsiteY0" fmla="*/ 323939 h 323938"/>
              <a:gd name="connsiteX1" fmla="*/ 0 w 297138"/>
              <a:gd name="connsiteY1" fmla="*/ 323939 h 323938"/>
              <a:gd name="connsiteX2" fmla="*/ 158473 w 297138"/>
              <a:gd name="connsiteY2" fmla="*/ 163135 h 323938"/>
              <a:gd name="connsiteX3" fmla="*/ 0 w 297138"/>
              <a:gd name="connsiteY3" fmla="*/ 0 h 323938"/>
              <a:gd name="connsiteX4" fmla="*/ 138664 w 297138"/>
              <a:gd name="connsiteY4" fmla="*/ 0 h 323938"/>
              <a:gd name="connsiteX5" fmla="*/ 297138 w 297138"/>
              <a:gd name="connsiteY5" fmla="*/ 159639 h 323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3938">
                <a:moveTo>
                  <a:pt x="135168" y="323939"/>
                </a:moveTo>
                <a:lnTo>
                  <a:pt x="0" y="323939"/>
                </a:lnTo>
                <a:lnTo>
                  <a:pt x="158473" y="163135"/>
                </a:lnTo>
                <a:lnTo>
                  <a:pt x="0" y="0"/>
                </a:lnTo>
                <a:lnTo>
                  <a:pt x="138664" y="0"/>
                </a:lnTo>
                <a:lnTo>
                  <a:pt x="297138" y="159639"/>
                </a:lnTo>
                <a:close/>
              </a:path>
            </a:pathLst>
          </a:custGeom>
          <a:solidFill>
            <a:srgbClr val="EEF2F5"/>
          </a:solidFill>
          <a:ln w="11643" cap="flat">
            <a:noFill/>
            <a:prstDash val="solid"/>
            <a:miter/>
          </a:ln>
        </p:spPr>
        <p:txBody>
          <a:bodyPr rtlCol="0" anchor="ctr"/>
          <a:lstStyle/>
          <a:p>
            <a:endParaRPr lang="de-DE"/>
          </a:p>
        </p:txBody>
      </p:sp>
      <p:sp>
        <p:nvSpPr>
          <p:cNvPr id="280" name="Freihandform: Form 279">
            <a:extLst>
              <a:ext uri="{FF2B5EF4-FFF2-40B4-BE49-F238E27FC236}">
                <a16:creationId xmlns:a16="http://schemas.microsoft.com/office/drawing/2014/main" id="{98875BAD-35D6-4908-B226-48D549F12C09}"/>
              </a:ext>
            </a:extLst>
          </p:cNvPr>
          <p:cNvSpPr/>
          <p:nvPr userDrawn="1"/>
        </p:nvSpPr>
        <p:spPr>
          <a:xfrm>
            <a:off x="10801860" y="3368081"/>
            <a:ext cx="297138" cy="322773"/>
          </a:xfrm>
          <a:custGeom>
            <a:avLst/>
            <a:gdLst>
              <a:gd name="connsiteX0" fmla="*/ 135168 w 297138"/>
              <a:gd name="connsiteY0" fmla="*/ 322774 h 322773"/>
              <a:gd name="connsiteX1" fmla="*/ 0 w 297138"/>
              <a:gd name="connsiteY1" fmla="*/ 322774 h 322773"/>
              <a:gd name="connsiteX2" fmla="*/ 158473 w 297138"/>
              <a:gd name="connsiteY2" fmla="*/ 163135 h 322773"/>
              <a:gd name="connsiteX3" fmla="*/ 0 w 297138"/>
              <a:gd name="connsiteY3" fmla="*/ 0 h 322773"/>
              <a:gd name="connsiteX4" fmla="*/ 138664 w 297138"/>
              <a:gd name="connsiteY4" fmla="*/ 0 h 322773"/>
              <a:gd name="connsiteX5" fmla="*/ 297138 w 297138"/>
              <a:gd name="connsiteY5" fmla="*/ 158474 h 322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2773">
                <a:moveTo>
                  <a:pt x="135168" y="322774"/>
                </a:moveTo>
                <a:lnTo>
                  <a:pt x="0" y="322774"/>
                </a:lnTo>
                <a:lnTo>
                  <a:pt x="158473" y="163135"/>
                </a:lnTo>
                <a:lnTo>
                  <a:pt x="0" y="0"/>
                </a:lnTo>
                <a:lnTo>
                  <a:pt x="138664" y="0"/>
                </a:lnTo>
                <a:lnTo>
                  <a:pt x="297138" y="158474"/>
                </a:lnTo>
                <a:close/>
              </a:path>
            </a:pathLst>
          </a:custGeom>
          <a:solidFill>
            <a:srgbClr val="EEF2F5"/>
          </a:solidFill>
          <a:ln w="11643" cap="flat">
            <a:noFill/>
            <a:prstDash val="solid"/>
            <a:miter/>
          </a:ln>
        </p:spPr>
        <p:txBody>
          <a:bodyPr rtlCol="0" anchor="ctr"/>
          <a:lstStyle/>
          <a:p>
            <a:endParaRPr lang="de-DE"/>
          </a:p>
        </p:txBody>
      </p:sp>
      <p:sp>
        <p:nvSpPr>
          <p:cNvPr id="281" name="Freihandform: Form 280">
            <a:extLst>
              <a:ext uri="{FF2B5EF4-FFF2-40B4-BE49-F238E27FC236}">
                <a16:creationId xmlns:a16="http://schemas.microsoft.com/office/drawing/2014/main" id="{A3786D8D-2CF9-4026-A5B0-E8C239DB08E8}"/>
              </a:ext>
            </a:extLst>
          </p:cNvPr>
          <p:cNvSpPr/>
          <p:nvPr userDrawn="1"/>
        </p:nvSpPr>
        <p:spPr>
          <a:xfrm>
            <a:off x="10801860" y="3722316"/>
            <a:ext cx="297138" cy="323938"/>
          </a:xfrm>
          <a:custGeom>
            <a:avLst/>
            <a:gdLst>
              <a:gd name="connsiteX0" fmla="*/ 135168 w 297138"/>
              <a:gd name="connsiteY0" fmla="*/ 323939 h 323938"/>
              <a:gd name="connsiteX1" fmla="*/ 0 w 297138"/>
              <a:gd name="connsiteY1" fmla="*/ 323939 h 323938"/>
              <a:gd name="connsiteX2" fmla="*/ 158473 w 297138"/>
              <a:gd name="connsiteY2" fmla="*/ 163135 h 323938"/>
              <a:gd name="connsiteX3" fmla="*/ 0 w 297138"/>
              <a:gd name="connsiteY3" fmla="*/ 0 h 323938"/>
              <a:gd name="connsiteX4" fmla="*/ 138664 w 297138"/>
              <a:gd name="connsiteY4" fmla="*/ 0 h 323938"/>
              <a:gd name="connsiteX5" fmla="*/ 297138 w 297138"/>
              <a:gd name="connsiteY5" fmla="*/ 159639 h 323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3938">
                <a:moveTo>
                  <a:pt x="135168" y="323939"/>
                </a:moveTo>
                <a:lnTo>
                  <a:pt x="0" y="323939"/>
                </a:lnTo>
                <a:lnTo>
                  <a:pt x="158473" y="163135"/>
                </a:lnTo>
                <a:lnTo>
                  <a:pt x="0" y="0"/>
                </a:lnTo>
                <a:lnTo>
                  <a:pt x="138664" y="0"/>
                </a:lnTo>
                <a:lnTo>
                  <a:pt x="297138" y="159639"/>
                </a:lnTo>
                <a:close/>
              </a:path>
            </a:pathLst>
          </a:custGeom>
          <a:solidFill>
            <a:srgbClr val="EEF2F5"/>
          </a:solidFill>
          <a:ln w="11643" cap="flat">
            <a:noFill/>
            <a:prstDash val="solid"/>
            <a:miter/>
          </a:ln>
        </p:spPr>
        <p:txBody>
          <a:bodyPr rtlCol="0" anchor="ctr"/>
          <a:lstStyle/>
          <a:p>
            <a:endParaRPr lang="de-DE"/>
          </a:p>
        </p:txBody>
      </p:sp>
      <p:sp>
        <p:nvSpPr>
          <p:cNvPr id="282" name="Freihandform: Form 281">
            <a:extLst>
              <a:ext uri="{FF2B5EF4-FFF2-40B4-BE49-F238E27FC236}">
                <a16:creationId xmlns:a16="http://schemas.microsoft.com/office/drawing/2014/main" id="{AEC1ECE3-8272-4B6A-A4AD-2D7BCC4A4396}"/>
              </a:ext>
            </a:extLst>
          </p:cNvPr>
          <p:cNvSpPr/>
          <p:nvPr userDrawn="1"/>
        </p:nvSpPr>
        <p:spPr>
          <a:xfrm>
            <a:off x="10801860" y="4077717"/>
            <a:ext cx="297138" cy="322773"/>
          </a:xfrm>
          <a:custGeom>
            <a:avLst/>
            <a:gdLst>
              <a:gd name="connsiteX0" fmla="*/ 135168 w 297138"/>
              <a:gd name="connsiteY0" fmla="*/ 322774 h 322773"/>
              <a:gd name="connsiteX1" fmla="*/ 0 w 297138"/>
              <a:gd name="connsiteY1" fmla="*/ 322774 h 322773"/>
              <a:gd name="connsiteX2" fmla="*/ 158473 w 297138"/>
              <a:gd name="connsiteY2" fmla="*/ 163135 h 322773"/>
              <a:gd name="connsiteX3" fmla="*/ 0 w 297138"/>
              <a:gd name="connsiteY3" fmla="*/ 0 h 322773"/>
              <a:gd name="connsiteX4" fmla="*/ 138664 w 297138"/>
              <a:gd name="connsiteY4" fmla="*/ 0 h 322773"/>
              <a:gd name="connsiteX5" fmla="*/ 297138 w 297138"/>
              <a:gd name="connsiteY5" fmla="*/ 158474 h 322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2773">
                <a:moveTo>
                  <a:pt x="135168" y="322774"/>
                </a:moveTo>
                <a:lnTo>
                  <a:pt x="0" y="322774"/>
                </a:lnTo>
                <a:lnTo>
                  <a:pt x="158473" y="163135"/>
                </a:lnTo>
                <a:lnTo>
                  <a:pt x="0" y="0"/>
                </a:lnTo>
                <a:lnTo>
                  <a:pt x="138664" y="0"/>
                </a:lnTo>
                <a:lnTo>
                  <a:pt x="297138" y="158474"/>
                </a:lnTo>
                <a:close/>
              </a:path>
            </a:pathLst>
          </a:custGeom>
          <a:solidFill>
            <a:srgbClr val="EEF2F5"/>
          </a:solidFill>
          <a:ln w="11643" cap="flat">
            <a:noFill/>
            <a:prstDash val="solid"/>
            <a:miter/>
          </a:ln>
        </p:spPr>
        <p:txBody>
          <a:bodyPr rtlCol="0" anchor="ctr"/>
          <a:lstStyle/>
          <a:p>
            <a:endParaRPr lang="de-DE"/>
          </a:p>
        </p:txBody>
      </p:sp>
      <p:sp>
        <p:nvSpPr>
          <p:cNvPr id="283" name="Freihandform: Form 282">
            <a:extLst>
              <a:ext uri="{FF2B5EF4-FFF2-40B4-BE49-F238E27FC236}">
                <a16:creationId xmlns:a16="http://schemas.microsoft.com/office/drawing/2014/main" id="{AE0C999C-538B-4F36-A290-CBF6573F3D46}"/>
              </a:ext>
            </a:extLst>
          </p:cNvPr>
          <p:cNvSpPr/>
          <p:nvPr userDrawn="1"/>
        </p:nvSpPr>
        <p:spPr>
          <a:xfrm>
            <a:off x="10801860" y="4431952"/>
            <a:ext cx="297138" cy="323938"/>
          </a:xfrm>
          <a:custGeom>
            <a:avLst/>
            <a:gdLst>
              <a:gd name="connsiteX0" fmla="*/ 135168 w 297138"/>
              <a:gd name="connsiteY0" fmla="*/ 323939 h 323938"/>
              <a:gd name="connsiteX1" fmla="*/ 0 w 297138"/>
              <a:gd name="connsiteY1" fmla="*/ 323939 h 323938"/>
              <a:gd name="connsiteX2" fmla="*/ 158473 w 297138"/>
              <a:gd name="connsiteY2" fmla="*/ 163135 h 323938"/>
              <a:gd name="connsiteX3" fmla="*/ 0 w 297138"/>
              <a:gd name="connsiteY3" fmla="*/ 0 h 323938"/>
              <a:gd name="connsiteX4" fmla="*/ 138664 w 297138"/>
              <a:gd name="connsiteY4" fmla="*/ 0 h 323938"/>
              <a:gd name="connsiteX5" fmla="*/ 297138 w 297138"/>
              <a:gd name="connsiteY5" fmla="*/ 159639 h 323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3938">
                <a:moveTo>
                  <a:pt x="135168" y="323939"/>
                </a:moveTo>
                <a:lnTo>
                  <a:pt x="0" y="323939"/>
                </a:lnTo>
                <a:lnTo>
                  <a:pt x="158473" y="163135"/>
                </a:lnTo>
                <a:lnTo>
                  <a:pt x="0" y="0"/>
                </a:lnTo>
                <a:lnTo>
                  <a:pt x="138664" y="0"/>
                </a:lnTo>
                <a:lnTo>
                  <a:pt x="297138" y="159639"/>
                </a:lnTo>
                <a:close/>
              </a:path>
            </a:pathLst>
          </a:custGeom>
          <a:solidFill>
            <a:srgbClr val="EEF2F5"/>
          </a:solidFill>
          <a:ln w="11643" cap="flat">
            <a:noFill/>
            <a:prstDash val="solid"/>
            <a:miter/>
          </a:ln>
        </p:spPr>
        <p:txBody>
          <a:bodyPr rtlCol="0" anchor="ctr"/>
          <a:lstStyle/>
          <a:p>
            <a:endParaRPr lang="de-DE"/>
          </a:p>
        </p:txBody>
      </p:sp>
      <p:sp>
        <p:nvSpPr>
          <p:cNvPr id="284" name="Freihandform: Form 283">
            <a:extLst>
              <a:ext uri="{FF2B5EF4-FFF2-40B4-BE49-F238E27FC236}">
                <a16:creationId xmlns:a16="http://schemas.microsoft.com/office/drawing/2014/main" id="{9674E7D6-971D-46D3-B314-1208718A631D}"/>
              </a:ext>
            </a:extLst>
          </p:cNvPr>
          <p:cNvSpPr/>
          <p:nvPr userDrawn="1"/>
        </p:nvSpPr>
        <p:spPr>
          <a:xfrm>
            <a:off x="10801860" y="4787353"/>
            <a:ext cx="297138" cy="322773"/>
          </a:xfrm>
          <a:custGeom>
            <a:avLst/>
            <a:gdLst>
              <a:gd name="connsiteX0" fmla="*/ 135168 w 297138"/>
              <a:gd name="connsiteY0" fmla="*/ 322774 h 322773"/>
              <a:gd name="connsiteX1" fmla="*/ 0 w 297138"/>
              <a:gd name="connsiteY1" fmla="*/ 322774 h 322773"/>
              <a:gd name="connsiteX2" fmla="*/ 158473 w 297138"/>
              <a:gd name="connsiteY2" fmla="*/ 163135 h 322773"/>
              <a:gd name="connsiteX3" fmla="*/ 0 w 297138"/>
              <a:gd name="connsiteY3" fmla="*/ 0 h 322773"/>
              <a:gd name="connsiteX4" fmla="*/ 138664 w 297138"/>
              <a:gd name="connsiteY4" fmla="*/ 0 h 322773"/>
              <a:gd name="connsiteX5" fmla="*/ 297138 w 297138"/>
              <a:gd name="connsiteY5" fmla="*/ 158474 h 322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2773">
                <a:moveTo>
                  <a:pt x="135168" y="322774"/>
                </a:moveTo>
                <a:lnTo>
                  <a:pt x="0" y="322774"/>
                </a:lnTo>
                <a:lnTo>
                  <a:pt x="158473" y="163135"/>
                </a:lnTo>
                <a:lnTo>
                  <a:pt x="0" y="0"/>
                </a:lnTo>
                <a:lnTo>
                  <a:pt x="138664" y="0"/>
                </a:lnTo>
                <a:lnTo>
                  <a:pt x="297138" y="158474"/>
                </a:lnTo>
                <a:close/>
              </a:path>
            </a:pathLst>
          </a:custGeom>
          <a:solidFill>
            <a:srgbClr val="EEF2F5"/>
          </a:solidFill>
          <a:ln w="11643" cap="flat">
            <a:noFill/>
            <a:prstDash val="solid"/>
            <a:miter/>
          </a:ln>
        </p:spPr>
        <p:txBody>
          <a:bodyPr rtlCol="0" anchor="ctr"/>
          <a:lstStyle/>
          <a:p>
            <a:endParaRPr lang="de-DE"/>
          </a:p>
        </p:txBody>
      </p:sp>
      <p:sp>
        <p:nvSpPr>
          <p:cNvPr id="285" name="Freihandform: Form 284">
            <a:extLst>
              <a:ext uri="{FF2B5EF4-FFF2-40B4-BE49-F238E27FC236}">
                <a16:creationId xmlns:a16="http://schemas.microsoft.com/office/drawing/2014/main" id="{C0A29B2A-FB03-4D46-B29E-FADF405DF664}"/>
              </a:ext>
            </a:extLst>
          </p:cNvPr>
          <p:cNvSpPr/>
          <p:nvPr userDrawn="1"/>
        </p:nvSpPr>
        <p:spPr>
          <a:xfrm>
            <a:off x="10801860" y="5141588"/>
            <a:ext cx="297138" cy="323938"/>
          </a:xfrm>
          <a:custGeom>
            <a:avLst/>
            <a:gdLst>
              <a:gd name="connsiteX0" fmla="*/ 135168 w 297138"/>
              <a:gd name="connsiteY0" fmla="*/ 323939 h 323938"/>
              <a:gd name="connsiteX1" fmla="*/ 0 w 297138"/>
              <a:gd name="connsiteY1" fmla="*/ 323939 h 323938"/>
              <a:gd name="connsiteX2" fmla="*/ 158473 w 297138"/>
              <a:gd name="connsiteY2" fmla="*/ 163135 h 323938"/>
              <a:gd name="connsiteX3" fmla="*/ 0 w 297138"/>
              <a:gd name="connsiteY3" fmla="*/ 0 h 323938"/>
              <a:gd name="connsiteX4" fmla="*/ 138664 w 297138"/>
              <a:gd name="connsiteY4" fmla="*/ 0 h 323938"/>
              <a:gd name="connsiteX5" fmla="*/ 297138 w 297138"/>
              <a:gd name="connsiteY5" fmla="*/ 159639 h 323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3938">
                <a:moveTo>
                  <a:pt x="135168" y="323939"/>
                </a:moveTo>
                <a:lnTo>
                  <a:pt x="0" y="323939"/>
                </a:lnTo>
                <a:lnTo>
                  <a:pt x="158473" y="163135"/>
                </a:lnTo>
                <a:lnTo>
                  <a:pt x="0" y="0"/>
                </a:lnTo>
                <a:lnTo>
                  <a:pt x="138664" y="0"/>
                </a:lnTo>
                <a:lnTo>
                  <a:pt x="297138" y="159639"/>
                </a:lnTo>
                <a:close/>
              </a:path>
            </a:pathLst>
          </a:custGeom>
          <a:solidFill>
            <a:srgbClr val="EEF2F5"/>
          </a:solidFill>
          <a:ln w="11643" cap="flat">
            <a:noFill/>
            <a:prstDash val="solid"/>
            <a:miter/>
          </a:ln>
        </p:spPr>
        <p:txBody>
          <a:bodyPr rtlCol="0" anchor="ctr"/>
          <a:lstStyle/>
          <a:p>
            <a:endParaRPr lang="de-DE"/>
          </a:p>
        </p:txBody>
      </p:sp>
      <p:sp>
        <p:nvSpPr>
          <p:cNvPr id="286" name="Freihandform: Form 285">
            <a:extLst>
              <a:ext uri="{FF2B5EF4-FFF2-40B4-BE49-F238E27FC236}">
                <a16:creationId xmlns:a16="http://schemas.microsoft.com/office/drawing/2014/main" id="{76B80CB3-70F6-43A2-8457-55ED0DB8131D}"/>
              </a:ext>
            </a:extLst>
          </p:cNvPr>
          <p:cNvSpPr/>
          <p:nvPr userDrawn="1"/>
        </p:nvSpPr>
        <p:spPr>
          <a:xfrm>
            <a:off x="10801860" y="5496989"/>
            <a:ext cx="297138" cy="322773"/>
          </a:xfrm>
          <a:custGeom>
            <a:avLst/>
            <a:gdLst>
              <a:gd name="connsiteX0" fmla="*/ 135168 w 297138"/>
              <a:gd name="connsiteY0" fmla="*/ 322773 h 322773"/>
              <a:gd name="connsiteX1" fmla="*/ 0 w 297138"/>
              <a:gd name="connsiteY1" fmla="*/ 322773 h 322773"/>
              <a:gd name="connsiteX2" fmla="*/ 158473 w 297138"/>
              <a:gd name="connsiteY2" fmla="*/ 163135 h 322773"/>
              <a:gd name="connsiteX3" fmla="*/ 0 w 297138"/>
              <a:gd name="connsiteY3" fmla="*/ 0 h 322773"/>
              <a:gd name="connsiteX4" fmla="*/ 138664 w 297138"/>
              <a:gd name="connsiteY4" fmla="*/ 0 h 322773"/>
              <a:gd name="connsiteX5" fmla="*/ 297138 w 297138"/>
              <a:gd name="connsiteY5" fmla="*/ 158473 h 322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2773">
                <a:moveTo>
                  <a:pt x="135168" y="322773"/>
                </a:moveTo>
                <a:lnTo>
                  <a:pt x="0" y="322773"/>
                </a:lnTo>
                <a:lnTo>
                  <a:pt x="158473" y="163135"/>
                </a:lnTo>
                <a:lnTo>
                  <a:pt x="0" y="0"/>
                </a:lnTo>
                <a:lnTo>
                  <a:pt x="138664" y="0"/>
                </a:lnTo>
                <a:lnTo>
                  <a:pt x="297138" y="158473"/>
                </a:lnTo>
                <a:close/>
              </a:path>
            </a:pathLst>
          </a:custGeom>
          <a:solidFill>
            <a:srgbClr val="EEF2F5"/>
          </a:solidFill>
          <a:ln w="11643" cap="flat">
            <a:noFill/>
            <a:prstDash val="solid"/>
            <a:miter/>
          </a:ln>
        </p:spPr>
        <p:txBody>
          <a:bodyPr rtlCol="0" anchor="ctr"/>
          <a:lstStyle/>
          <a:p>
            <a:endParaRPr lang="de-DE"/>
          </a:p>
        </p:txBody>
      </p:sp>
      <p:sp>
        <p:nvSpPr>
          <p:cNvPr id="287" name="Freihandform: Form 286">
            <a:extLst>
              <a:ext uri="{FF2B5EF4-FFF2-40B4-BE49-F238E27FC236}">
                <a16:creationId xmlns:a16="http://schemas.microsoft.com/office/drawing/2014/main" id="{51E8753E-88FE-4F15-A45C-78FC0A40E063}"/>
              </a:ext>
            </a:extLst>
          </p:cNvPr>
          <p:cNvSpPr/>
          <p:nvPr userDrawn="1"/>
        </p:nvSpPr>
        <p:spPr>
          <a:xfrm>
            <a:off x="10454616" y="2667767"/>
            <a:ext cx="280824" cy="304129"/>
          </a:xfrm>
          <a:custGeom>
            <a:avLst/>
            <a:gdLst>
              <a:gd name="connsiteX0" fmla="*/ 129343 w 280824"/>
              <a:gd name="connsiteY0" fmla="*/ 304130 h 304129"/>
              <a:gd name="connsiteX1" fmla="*/ 0 w 280824"/>
              <a:gd name="connsiteY1" fmla="*/ 304130 h 304129"/>
              <a:gd name="connsiteX2" fmla="*/ 150317 w 280824"/>
              <a:gd name="connsiteY2" fmla="*/ 153813 h 304129"/>
              <a:gd name="connsiteX3" fmla="*/ 0 w 280824"/>
              <a:gd name="connsiteY3" fmla="*/ 0 h 304129"/>
              <a:gd name="connsiteX4" fmla="*/ 131673 w 280824"/>
              <a:gd name="connsiteY4" fmla="*/ 0 h 304129"/>
              <a:gd name="connsiteX5" fmla="*/ 280825 w 280824"/>
              <a:gd name="connsiteY5" fmla="*/ 149152 h 304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4129">
                <a:moveTo>
                  <a:pt x="129343" y="304130"/>
                </a:moveTo>
                <a:lnTo>
                  <a:pt x="0" y="304130"/>
                </a:lnTo>
                <a:lnTo>
                  <a:pt x="150317" y="153813"/>
                </a:lnTo>
                <a:lnTo>
                  <a:pt x="0" y="0"/>
                </a:lnTo>
                <a:lnTo>
                  <a:pt x="131673" y="0"/>
                </a:lnTo>
                <a:lnTo>
                  <a:pt x="280825" y="149152"/>
                </a:lnTo>
                <a:close/>
              </a:path>
            </a:pathLst>
          </a:custGeom>
          <a:solidFill>
            <a:srgbClr val="EEF2F5"/>
          </a:solidFill>
          <a:ln w="11643" cap="flat">
            <a:noFill/>
            <a:prstDash val="solid"/>
            <a:miter/>
          </a:ln>
        </p:spPr>
        <p:txBody>
          <a:bodyPr rtlCol="0" anchor="ctr"/>
          <a:lstStyle/>
          <a:p>
            <a:endParaRPr lang="de-DE"/>
          </a:p>
        </p:txBody>
      </p:sp>
      <p:sp>
        <p:nvSpPr>
          <p:cNvPr id="288" name="Freihandform: Form 287">
            <a:extLst>
              <a:ext uri="{FF2B5EF4-FFF2-40B4-BE49-F238E27FC236}">
                <a16:creationId xmlns:a16="http://schemas.microsoft.com/office/drawing/2014/main" id="{DDA6218D-1A23-4223-8FA4-6C66FF0014BF}"/>
              </a:ext>
            </a:extLst>
          </p:cNvPr>
          <p:cNvSpPr/>
          <p:nvPr userDrawn="1"/>
        </p:nvSpPr>
        <p:spPr>
          <a:xfrm>
            <a:off x="10454616" y="3022002"/>
            <a:ext cx="280824" cy="305294"/>
          </a:xfrm>
          <a:custGeom>
            <a:avLst/>
            <a:gdLst>
              <a:gd name="connsiteX0" fmla="*/ 129343 w 280824"/>
              <a:gd name="connsiteY0" fmla="*/ 305295 h 305294"/>
              <a:gd name="connsiteX1" fmla="*/ 0 w 280824"/>
              <a:gd name="connsiteY1" fmla="*/ 305295 h 305294"/>
              <a:gd name="connsiteX2" fmla="*/ 150317 w 280824"/>
              <a:gd name="connsiteY2" fmla="*/ 153813 h 305294"/>
              <a:gd name="connsiteX3" fmla="*/ 0 w 280824"/>
              <a:gd name="connsiteY3" fmla="*/ 0 h 305294"/>
              <a:gd name="connsiteX4" fmla="*/ 131673 w 280824"/>
              <a:gd name="connsiteY4" fmla="*/ 0 h 305294"/>
              <a:gd name="connsiteX5" fmla="*/ 280825 w 280824"/>
              <a:gd name="connsiteY5" fmla="*/ 150317 h 305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5294">
                <a:moveTo>
                  <a:pt x="129343" y="305295"/>
                </a:moveTo>
                <a:lnTo>
                  <a:pt x="0" y="305295"/>
                </a:lnTo>
                <a:lnTo>
                  <a:pt x="150317" y="153813"/>
                </a:lnTo>
                <a:lnTo>
                  <a:pt x="0" y="0"/>
                </a:lnTo>
                <a:lnTo>
                  <a:pt x="131673" y="0"/>
                </a:lnTo>
                <a:lnTo>
                  <a:pt x="280825" y="150317"/>
                </a:lnTo>
                <a:close/>
              </a:path>
            </a:pathLst>
          </a:custGeom>
          <a:solidFill>
            <a:srgbClr val="EEF2F5"/>
          </a:solidFill>
          <a:ln w="11643" cap="flat">
            <a:noFill/>
            <a:prstDash val="solid"/>
            <a:miter/>
          </a:ln>
        </p:spPr>
        <p:txBody>
          <a:bodyPr rtlCol="0" anchor="ctr"/>
          <a:lstStyle/>
          <a:p>
            <a:endParaRPr lang="de-DE"/>
          </a:p>
        </p:txBody>
      </p:sp>
      <p:sp>
        <p:nvSpPr>
          <p:cNvPr id="289" name="Freihandform: Form 288">
            <a:extLst>
              <a:ext uri="{FF2B5EF4-FFF2-40B4-BE49-F238E27FC236}">
                <a16:creationId xmlns:a16="http://schemas.microsoft.com/office/drawing/2014/main" id="{CA02237A-C045-4677-A7CD-4AE467EBE9F6}"/>
              </a:ext>
            </a:extLst>
          </p:cNvPr>
          <p:cNvSpPr/>
          <p:nvPr userDrawn="1"/>
        </p:nvSpPr>
        <p:spPr>
          <a:xfrm>
            <a:off x="10454616" y="3377403"/>
            <a:ext cx="280824" cy="304129"/>
          </a:xfrm>
          <a:custGeom>
            <a:avLst/>
            <a:gdLst>
              <a:gd name="connsiteX0" fmla="*/ 129343 w 280824"/>
              <a:gd name="connsiteY0" fmla="*/ 304130 h 304129"/>
              <a:gd name="connsiteX1" fmla="*/ 0 w 280824"/>
              <a:gd name="connsiteY1" fmla="*/ 304130 h 304129"/>
              <a:gd name="connsiteX2" fmla="*/ 150317 w 280824"/>
              <a:gd name="connsiteY2" fmla="*/ 153813 h 304129"/>
              <a:gd name="connsiteX3" fmla="*/ 0 w 280824"/>
              <a:gd name="connsiteY3" fmla="*/ 0 h 304129"/>
              <a:gd name="connsiteX4" fmla="*/ 131673 w 280824"/>
              <a:gd name="connsiteY4" fmla="*/ 0 h 304129"/>
              <a:gd name="connsiteX5" fmla="*/ 280825 w 280824"/>
              <a:gd name="connsiteY5" fmla="*/ 149152 h 304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4129">
                <a:moveTo>
                  <a:pt x="129343" y="304130"/>
                </a:moveTo>
                <a:lnTo>
                  <a:pt x="0" y="304130"/>
                </a:lnTo>
                <a:lnTo>
                  <a:pt x="150317" y="153813"/>
                </a:lnTo>
                <a:lnTo>
                  <a:pt x="0" y="0"/>
                </a:lnTo>
                <a:lnTo>
                  <a:pt x="131673" y="0"/>
                </a:lnTo>
                <a:lnTo>
                  <a:pt x="280825" y="149152"/>
                </a:lnTo>
                <a:close/>
              </a:path>
            </a:pathLst>
          </a:custGeom>
          <a:solidFill>
            <a:srgbClr val="EEF2F5"/>
          </a:solidFill>
          <a:ln w="11643" cap="flat">
            <a:noFill/>
            <a:prstDash val="solid"/>
            <a:miter/>
          </a:ln>
        </p:spPr>
        <p:txBody>
          <a:bodyPr rtlCol="0" anchor="ctr"/>
          <a:lstStyle/>
          <a:p>
            <a:endParaRPr lang="de-DE"/>
          </a:p>
        </p:txBody>
      </p:sp>
      <p:sp>
        <p:nvSpPr>
          <p:cNvPr id="290" name="Freihandform: Form 289">
            <a:extLst>
              <a:ext uri="{FF2B5EF4-FFF2-40B4-BE49-F238E27FC236}">
                <a16:creationId xmlns:a16="http://schemas.microsoft.com/office/drawing/2014/main" id="{48D1FA81-8ADF-4419-B180-C2A93B810128}"/>
              </a:ext>
            </a:extLst>
          </p:cNvPr>
          <p:cNvSpPr/>
          <p:nvPr userDrawn="1"/>
        </p:nvSpPr>
        <p:spPr>
          <a:xfrm>
            <a:off x="10454616" y="3731638"/>
            <a:ext cx="280824" cy="305294"/>
          </a:xfrm>
          <a:custGeom>
            <a:avLst/>
            <a:gdLst>
              <a:gd name="connsiteX0" fmla="*/ 129343 w 280824"/>
              <a:gd name="connsiteY0" fmla="*/ 305295 h 305294"/>
              <a:gd name="connsiteX1" fmla="*/ 0 w 280824"/>
              <a:gd name="connsiteY1" fmla="*/ 305295 h 305294"/>
              <a:gd name="connsiteX2" fmla="*/ 150317 w 280824"/>
              <a:gd name="connsiteY2" fmla="*/ 153813 h 305294"/>
              <a:gd name="connsiteX3" fmla="*/ 0 w 280824"/>
              <a:gd name="connsiteY3" fmla="*/ 0 h 305294"/>
              <a:gd name="connsiteX4" fmla="*/ 131673 w 280824"/>
              <a:gd name="connsiteY4" fmla="*/ 0 h 305294"/>
              <a:gd name="connsiteX5" fmla="*/ 280825 w 280824"/>
              <a:gd name="connsiteY5" fmla="*/ 150317 h 305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5294">
                <a:moveTo>
                  <a:pt x="129343" y="305295"/>
                </a:moveTo>
                <a:lnTo>
                  <a:pt x="0" y="305295"/>
                </a:lnTo>
                <a:lnTo>
                  <a:pt x="150317" y="153813"/>
                </a:lnTo>
                <a:lnTo>
                  <a:pt x="0" y="0"/>
                </a:lnTo>
                <a:lnTo>
                  <a:pt x="131673" y="0"/>
                </a:lnTo>
                <a:lnTo>
                  <a:pt x="280825" y="150317"/>
                </a:lnTo>
                <a:close/>
              </a:path>
            </a:pathLst>
          </a:custGeom>
          <a:solidFill>
            <a:srgbClr val="EEF2F5"/>
          </a:solidFill>
          <a:ln w="11643" cap="flat">
            <a:noFill/>
            <a:prstDash val="solid"/>
            <a:miter/>
          </a:ln>
        </p:spPr>
        <p:txBody>
          <a:bodyPr rtlCol="0" anchor="ctr"/>
          <a:lstStyle/>
          <a:p>
            <a:endParaRPr lang="de-DE"/>
          </a:p>
        </p:txBody>
      </p:sp>
      <p:sp>
        <p:nvSpPr>
          <p:cNvPr id="291" name="Freihandform: Form 290">
            <a:extLst>
              <a:ext uri="{FF2B5EF4-FFF2-40B4-BE49-F238E27FC236}">
                <a16:creationId xmlns:a16="http://schemas.microsoft.com/office/drawing/2014/main" id="{2227A2BB-D536-4940-8682-81393A39BE65}"/>
              </a:ext>
            </a:extLst>
          </p:cNvPr>
          <p:cNvSpPr/>
          <p:nvPr userDrawn="1"/>
        </p:nvSpPr>
        <p:spPr>
          <a:xfrm>
            <a:off x="10454616" y="4087039"/>
            <a:ext cx="280824" cy="304129"/>
          </a:xfrm>
          <a:custGeom>
            <a:avLst/>
            <a:gdLst>
              <a:gd name="connsiteX0" fmla="*/ 129343 w 280824"/>
              <a:gd name="connsiteY0" fmla="*/ 304130 h 304129"/>
              <a:gd name="connsiteX1" fmla="*/ 0 w 280824"/>
              <a:gd name="connsiteY1" fmla="*/ 304130 h 304129"/>
              <a:gd name="connsiteX2" fmla="*/ 150317 w 280824"/>
              <a:gd name="connsiteY2" fmla="*/ 153813 h 304129"/>
              <a:gd name="connsiteX3" fmla="*/ 0 w 280824"/>
              <a:gd name="connsiteY3" fmla="*/ 0 h 304129"/>
              <a:gd name="connsiteX4" fmla="*/ 131673 w 280824"/>
              <a:gd name="connsiteY4" fmla="*/ 0 h 304129"/>
              <a:gd name="connsiteX5" fmla="*/ 280825 w 280824"/>
              <a:gd name="connsiteY5" fmla="*/ 149152 h 304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4129">
                <a:moveTo>
                  <a:pt x="129343" y="304130"/>
                </a:moveTo>
                <a:lnTo>
                  <a:pt x="0" y="304130"/>
                </a:lnTo>
                <a:lnTo>
                  <a:pt x="150317" y="153813"/>
                </a:lnTo>
                <a:lnTo>
                  <a:pt x="0" y="0"/>
                </a:lnTo>
                <a:lnTo>
                  <a:pt x="131673" y="0"/>
                </a:lnTo>
                <a:lnTo>
                  <a:pt x="280825" y="149152"/>
                </a:lnTo>
                <a:close/>
              </a:path>
            </a:pathLst>
          </a:custGeom>
          <a:solidFill>
            <a:srgbClr val="EEF2F5"/>
          </a:solidFill>
          <a:ln w="11643" cap="flat">
            <a:noFill/>
            <a:prstDash val="solid"/>
            <a:miter/>
          </a:ln>
        </p:spPr>
        <p:txBody>
          <a:bodyPr rtlCol="0" anchor="ctr"/>
          <a:lstStyle/>
          <a:p>
            <a:endParaRPr lang="de-DE"/>
          </a:p>
        </p:txBody>
      </p:sp>
      <p:sp>
        <p:nvSpPr>
          <p:cNvPr id="292" name="Freihandform: Form 291">
            <a:extLst>
              <a:ext uri="{FF2B5EF4-FFF2-40B4-BE49-F238E27FC236}">
                <a16:creationId xmlns:a16="http://schemas.microsoft.com/office/drawing/2014/main" id="{7E206ED0-5D6B-4CC8-968C-782E0C2238F3}"/>
              </a:ext>
            </a:extLst>
          </p:cNvPr>
          <p:cNvSpPr/>
          <p:nvPr userDrawn="1"/>
        </p:nvSpPr>
        <p:spPr>
          <a:xfrm>
            <a:off x="10454616" y="4441274"/>
            <a:ext cx="280824" cy="305294"/>
          </a:xfrm>
          <a:custGeom>
            <a:avLst/>
            <a:gdLst>
              <a:gd name="connsiteX0" fmla="*/ 129343 w 280824"/>
              <a:gd name="connsiteY0" fmla="*/ 305295 h 305294"/>
              <a:gd name="connsiteX1" fmla="*/ 0 w 280824"/>
              <a:gd name="connsiteY1" fmla="*/ 305295 h 305294"/>
              <a:gd name="connsiteX2" fmla="*/ 150317 w 280824"/>
              <a:gd name="connsiteY2" fmla="*/ 153813 h 305294"/>
              <a:gd name="connsiteX3" fmla="*/ 0 w 280824"/>
              <a:gd name="connsiteY3" fmla="*/ 0 h 305294"/>
              <a:gd name="connsiteX4" fmla="*/ 131673 w 280824"/>
              <a:gd name="connsiteY4" fmla="*/ 0 h 305294"/>
              <a:gd name="connsiteX5" fmla="*/ 280825 w 280824"/>
              <a:gd name="connsiteY5" fmla="*/ 150317 h 305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5294">
                <a:moveTo>
                  <a:pt x="129343" y="305295"/>
                </a:moveTo>
                <a:lnTo>
                  <a:pt x="0" y="305295"/>
                </a:lnTo>
                <a:lnTo>
                  <a:pt x="150317" y="153813"/>
                </a:lnTo>
                <a:lnTo>
                  <a:pt x="0" y="0"/>
                </a:lnTo>
                <a:lnTo>
                  <a:pt x="131673" y="0"/>
                </a:lnTo>
                <a:lnTo>
                  <a:pt x="280825" y="150317"/>
                </a:lnTo>
                <a:close/>
              </a:path>
            </a:pathLst>
          </a:custGeom>
          <a:solidFill>
            <a:srgbClr val="EEF2F5"/>
          </a:solidFill>
          <a:ln w="11643" cap="flat">
            <a:noFill/>
            <a:prstDash val="solid"/>
            <a:miter/>
          </a:ln>
        </p:spPr>
        <p:txBody>
          <a:bodyPr rtlCol="0" anchor="ctr"/>
          <a:lstStyle/>
          <a:p>
            <a:endParaRPr lang="de-DE"/>
          </a:p>
        </p:txBody>
      </p:sp>
      <p:sp>
        <p:nvSpPr>
          <p:cNvPr id="293" name="Freihandform: Form 292">
            <a:extLst>
              <a:ext uri="{FF2B5EF4-FFF2-40B4-BE49-F238E27FC236}">
                <a16:creationId xmlns:a16="http://schemas.microsoft.com/office/drawing/2014/main" id="{F9570349-C376-4459-9BE6-66E1EB720F97}"/>
              </a:ext>
            </a:extLst>
          </p:cNvPr>
          <p:cNvSpPr/>
          <p:nvPr userDrawn="1"/>
        </p:nvSpPr>
        <p:spPr>
          <a:xfrm>
            <a:off x="10454616" y="4796675"/>
            <a:ext cx="280824" cy="304129"/>
          </a:xfrm>
          <a:custGeom>
            <a:avLst/>
            <a:gdLst>
              <a:gd name="connsiteX0" fmla="*/ 129343 w 280824"/>
              <a:gd name="connsiteY0" fmla="*/ 304130 h 304129"/>
              <a:gd name="connsiteX1" fmla="*/ 0 w 280824"/>
              <a:gd name="connsiteY1" fmla="*/ 304130 h 304129"/>
              <a:gd name="connsiteX2" fmla="*/ 150317 w 280824"/>
              <a:gd name="connsiteY2" fmla="*/ 153813 h 304129"/>
              <a:gd name="connsiteX3" fmla="*/ 0 w 280824"/>
              <a:gd name="connsiteY3" fmla="*/ 0 h 304129"/>
              <a:gd name="connsiteX4" fmla="*/ 131673 w 280824"/>
              <a:gd name="connsiteY4" fmla="*/ 0 h 304129"/>
              <a:gd name="connsiteX5" fmla="*/ 280825 w 280824"/>
              <a:gd name="connsiteY5" fmla="*/ 149152 h 304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4129">
                <a:moveTo>
                  <a:pt x="129343" y="304130"/>
                </a:moveTo>
                <a:lnTo>
                  <a:pt x="0" y="304130"/>
                </a:lnTo>
                <a:lnTo>
                  <a:pt x="150317" y="153813"/>
                </a:lnTo>
                <a:lnTo>
                  <a:pt x="0" y="0"/>
                </a:lnTo>
                <a:lnTo>
                  <a:pt x="131673" y="0"/>
                </a:lnTo>
                <a:lnTo>
                  <a:pt x="280825" y="149152"/>
                </a:lnTo>
                <a:close/>
              </a:path>
            </a:pathLst>
          </a:custGeom>
          <a:solidFill>
            <a:srgbClr val="EEF2F5"/>
          </a:solidFill>
          <a:ln w="11643" cap="flat">
            <a:noFill/>
            <a:prstDash val="solid"/>
            <a:miter/>
          </a:ln>
        </p:spPr>
        <p:txBody>
          <a:bodyPr rtlCol="0" anchor="ctr"/>
          <a:lstStyle/>
          <a:p>
            <a:endParaRPr lang="de-DE"/>
          </a:p>
        </p:txBody>
      </p:sp>
      <p:sp>
        <p:nvSpPr>
          <p:cNvPr id="294" name="Freihandform: Form 293">
            <a:extLst>
              <a:ext uri="{FF2B5EF4-FFF2-40B4-BE49-F238E27FC236}">
                <a16:creationId xmlns:a16="http://schemas.microsoft.com/office/drawing/2014/main" id="{CE3FF337-B168-4B08-BAF8-FBBA6DDEF4B3}"/>
              </a:ext>
            </a:extLst>
          </p:cNvPr>
          <p:cNvSpPr/>
          <p:nvPr userDrawn="1"/>
        </p:nvSpPr>
        <p:spPr>
          <a:xfrm>
            <a:off x="10454616" y="5150910"/>
            <a:ext cx="280824" cy="305295"/>
          </a:xfrm>
          <a:custGeom>
            <a:avLst/>
            <a:gdLst>
              <a:gd name="connsiteX0" fmla="*/ 129343 w 280824"/>
              <a:gd name="connsiteY0" fmla="*/ 305295 h 305295"/>
              <a:gd name="connsiteX1" fmla="*/ 0 w 280824"/>
              <a:gd name="connsiteY1" fmla="*/ 305295 h 305295"/>
              <a:gd name="connsiteX2" fmla="*/ 150317 w 280824"/>
              <a:gd name="connsiteY2" fmla="*/ 153813 h 305295"/>
              <a:gd name="connsiteX3" fmla="*/ 0 w 280824"/>
              <a:gd name="connsiteY3" fmla="*/ 0 h 305295"/>
              <a:gd name="connsiteX4" fmla="*/ 131673 w 280824"/>
              <a:gd name="connsiteY4" fmla="*/ 0 h 305295"/>
              <a:gd name="connsiteX5" fmla="*/ 280825 w 280824"/>
              <a:gd name="connsiteY5" fmla="*/ 150317 h 305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5295">
                <a:moveTo>
                  <a:pt x="129343" y="305295"/>
                </a:moveTo>
                <a:lnTo>
                  <a:pt x="0" y="305295"/>
                </a:lnTo>
                <a:lnTo>
                  <a:pt x="150317" y="153813"/>
                </a:lnTo>
                <a:lnTo>
                  <a:pt x="0" y="0"/>
                </a:lnTo>
                <a:lnTo>
                  <a:pt x="131673" y="0"/>
                </a:lnTo>
                <a:lnTo>
                  <a:pt x="280825" y="150317"/>
                </a:lnTo>
                <a:close/>
              </a:path>
            </a:pathLst>
          </a:custGeom>
          <a:solidFill>
            <a:srgbClr val="EEF2F5"/>
          </a:solidFill>
          <a:ln w="11643" cap="flat">
            <a:noFill/>
            <a:prstDash val="solid"/>
            <a:miter/>
          </a:ln>
        </p:spPr>
        <p:txBody>
          <a:bodyPr rtlCol="0" anchor="ctr"/>
          <a:lstStyle/>
          <a:p>
            <a:endParaRPr lang="de-DE"/>
          </a:p>
        </p:txBody>
      </p:sp>
      <p:sp>
        <p:nvSpPr>
          <p:cNvPr id="295" name="Freihandform: Form 294">
            <a:extLst>
              <a:ext uri="{FF2B5EF4-FFF2-40B4-BE49-F238E27FC236}">
                <a16:creationId xmlns:a16="http://schemas.microsoft.com/office/drawing/2014/main" id="{C15D20DE-AD5C-488E-85D6-7F573CD6FEAE}"/>
              </a:ext>
            </a:extLst>
          </p:cNvPr>
          <p:cNvSpPr/>
          <p:nvPr userDrawn="1"/>
        </p:nvSpPr>
        <p:spPr>
          <a:xfrm>
            <a:off x="10454616" y="5506311"/>
            <a:ext cx="280824" cy="305295"/>
          </a:xfrm>
          <a:custGeom>
            <a:avLst/>
            <a:gdLst>
              <a:gd name="connsiteX0" fmla="*/ 129343 w 280824"/>
              <a:gd name="connsiteY0" fmla="*/ 305295 h 305295"/>
              <a:gd name="connsiteX1" fmla="*/ 0 w 280824"/>
              <a:gd name="connsiteY1" fmla="*/ 305295 h 305295"/>
              <a:gd name="connsiteX2" fmla="*/ 150317 w 280824"/>
              <a:gd name="connsiteY2" fmla="*/ 153813 h 305295"/>
              <a:gd name="connsiteX3" fmla="*/ 0 w 280824"/>
              <a:gd name="connsiteY3" fmla="*/ 0 h 305295"/>
              <a:gd name="connsiteX4" fmla="*/ 131673 w 280824"/>
              <a:gd name="connsiteY4" fmla="*/ 0 h 305295"/>
              <a:gd name="connsiteX5" fmla="*/ 280825 w 280824"/>
              <a:gd name="connsiteY5" fmla="*/ 149152 h 305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5295">
                <a:moveTo>
                  <a:pt x="129343" y="305295"/>
                </a:moveTo>
                <a:lnTo>
                  <a:pt x="0" y="305295"/>
                </a:lnTo>
                <a:lnTo>
                  <a:pt x="150317" y="153813"/>
                </a:lnTo>
                <a:lnTo>
                  <a:pt x="0" y="0"/>
                </a:lnTo>
                <a:lnTo>
                  <a:pt x="131673" y="0"/>
                </a:lnTo>
                <a:lnTo>
                  <a:pt x="280825" y="149152"/>
                </a:lnTo>
                <a:close/>
              </a:path>
            </a:pathLst>
          </a:custGeom>
          <a:solidFill>
            <a:srgbClr val="EEF2F5"/>
          </a:solidFill>
          <a:ln w="11643" cap="flat">
            <a:noFill/>
            <a:prstDash val="solid"/>
            <a:miter/>
          </a:ln>
        </p:spPr>
        <p:txBody>
          <a:bodyPr rtlCol="0" anchor="ctr"/>
          <a:lstStyle/>
          <a:p>
            <a:endParaRPr lang="de-DE"/>
          </a:p>
        </p:txBody>
      </p:sp>
      <p:sp>
        <p:nvSpPr>
          <p:cNvPr id="296" name="Freihandform: Form 295">
            <a:extLst>
              <a:ext uri="{FF2B5EF4-FFF2-40B4-BE49-F238E27FC236}">
                <a16:creationId xmlns:a16="http://schemas.microsoft.com/office/drawing/2014/main" id="{485159D9-1543-48AC-BE82-E6BC0D080E69}"/>
              </a:ext>
            </a:extLst>
          </p:cNvPr>
          <p:cNvSpPr/>
          <p:nvPr userDrawn="1"/>
        </p:nvSpPr>
        <p:spPr>
          <a:xfrm>
            <a:off x="10454616" y="5860546"/>
            <a:ext cx="280824" cy="305295"/>
          </a:xfrm>
          <a:custGeom>
            <a:avLst/>
            <a:gdLst>
              <a:gd name="connsiteX0" fmla="*/ 129343 w 280824"/>
              <a:gd name="connsiteY0" fmla="*/ 305295 h 305295"/>
              <a:gd name="connsiteX1" fmla="*/ 0 w 280824"/>
              <a:gd name="connsiteY1" fmla="*/ 305295 h 305295"/>
              <a:gd name="connsiteX2" fmla="*/ 150317 w 280824"/>
              <a:gd name="connsiteY2" fmla="*/ 153813 h 305295"/>
              <a:gd name="connsiteX3" fmla="*/ 0 w 280824"/>
              <a:gd name="connsiteY3" fmla="*/ 0 h 305295"/>
              <a:gd name="connsiteX4" fmla="*/ 131673 w 280824"/>
              <a:gd name="connsiteY4" fmla="*/ 0 h 305295"/>
              <a:gd name="connsiteX5" fmla="*/ 280825 w 280824"/>
              <a:gd name="connsiteY5" fmla="*/ 150317 h 305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5295">
                <a:moveTo>
                  <a:pt x="129343" y="305295"/>
                </a:moveTo>
                <a:lnTo>
                  <a:pt x="0" y="305295"/>
                </a:lnTo>
                <a:lnTo>
                  <a:pt x="150317" y="153813"/>
                </a:lnTo>
                <a:lnTo>
                  <a:pt x="0" y="0"/>
                </a:lnTo>
                <a:lnTo>
                  <a:pt x="131673" y="0"/>
                </a:lnTo>
                <a:lnTo>
                  <a:pt x="280825" y="150317"/>
                </a:lnTo>
                <a:close/>
              </a:path>
            </a:pathLst>
          </a:custGeom>
          <a:solidFill>
            <a:srgbClr val="EEF2F5"/>
          </a:solidFill>
          <a:ln w="11643" cap="flat">
            <a:noFill/>
            <a:prstDash val="solid"/>
            <a:miter/>
          </a:ln>
        </p:spPr>
        <p:txBody>
          <a:bodyPr rtlCol="0" anchor="ctr"/>
          <a:lstStyle/>
          <a:p>
            <a:endParaRPr lang="de-DE"/>
          </a:p>
        </p:txBody>
      </p:sp>
      <p:sp>
        <p:nvSpPr>
          <p:cNvPr id="297" name="Freihandform: Form 296">
            <a:extLst>
              <a:ext uri="{FF2B5EF4-FFF2-40B4-BE49-F238E27FC236}">
                <a16:creationId xmlns:a16="http://schemas.microsoft.com/office/drawing/2014/main" id="{36EBE8A7-57A4-4F1C-8091-CAEE9CB87988}"/>
              </a:ext>
            </a:extLst>
          </p:cNvPr>
          <p:cNvSpPr/>
          <p:nvPr userDrawn="1"/>
        </p:nvSpPr>
        <p:spPr>
          <a:xfrm>
            <a:off x="10108537" y="2321688"/>
            <a:ext cx="264511" cy="286650"/>
          </a:xfrm>
          <a:custGeom>
            <a:avLst/>
            <a:gdLst>
              <a:gd name="connsiteX0" fmla="*/ 121186 w 264511"/>
              <a:gd name="connsiteY0" fmla="*/ 286651 h 286650"/>
              <a:gd name="connsiteX1" fmla="*/ 0 w 264511"/>
              <a:gd name="connsiteY1" fmla="*/ 286651 h 286650"/>
              <a:gd name="connsiteX2" fmla="*/ 140995 w 264511"/>
              <a:gd name="connsiteY2" fmla="*/ 144491 h 286650"/>
              <a:gd name="connsiteX3" fmla="*/ 0 w 264511"/>
              <a:gd name="connsiteY3" fmla="*/ 0 h 286650"/>
              <a:gd name="connsiteX4" fmla="*/ 123516 w 264511"/>
              <a:gd name="connsiteY4" fmla="*/ 0 h 286650"/>
              <a:gd name="connsiteX5" fmla="*/ 264511 w 264511"/>
              <a:gd name="connsiteY5" fmla="*/ 140995 h 28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0">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298" name="Freihandform: Form 297">
            <a:extLst>
              <a:ext uri="{FF2B5EF4-FFF2-40B4-BE49-F238E27FC236}">
                <a16:creationId xmlns:a16="http://schemas.microsoft.com/office/drawing/2014/main" id="{12914A54-FA8E-4B49-A2DE-518D9ADF7310}"/>
              </a:ext>
            </a:extLst>
          </p:cNvPr>
          <p:cNvSpPr/>
          <p:nvPr userDrawn="1"/>
        </p:nvSpPr>
        <p:spPr>
          <a:xfrm>
            <a:off x="10108537" y="2675924"/>
            <a:ext cx="264511" cy="286650"/>
          </a:xfrm>
          <a:custGeom>
            <a:avLst/>
            <a:gdLst>
              <a:gd name="connsiteX0" fmla="*/ 121186 w 264511"/>
              <a:gd name="connsiteY0" fmla="*/ 286651 h 286650"/>
              <a:gd name="connsiteX1" fmla="*/ 0 w 264511"/>
              <a:gd name="connsiteY1" fmla="*/ 286651 h 286650"/>
              <a:gd name="connsiteX2" fmla="*/ 140995 w 264511"/>
              <a:gd name="connsiteY2" fmla="*/ 144491 h 286650"/>
              <a:gd name="connsiteX3" fmla="*/ 0 w 264511"/>
              <a:gd name="connsiteY3" fmla="*/ 0 h 286650"/>
              <a:gd name="connsiteX4" fmla="*/ 123516 w 264511"/>
              <a:gd name="connsiteY4" fmla="*/ 0 h 286650"/>
              <a:gd name="connsiteX5" fmla="*/ 264511 w 264511"/>
              <a:gd name="connsiteY5" fmla="*/ 140995 h 28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0">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299" name="Freihandform: Form 298">
            <a:extLst>
              <a:ext uri="{FF2B5EF4-FFF2-40B4-BE49-F238E27FC236}">
                <a16:creationId xmlns:a16="http://schemas.microsoft.com/office/drawing/2014/main" id="{97E9631F-C090-4F92-B4E6-D6A88933B227}"/>
              </a:ext>
            </a:extLst>
          </p:cNvPr>
          <p:cNvSpPr/>
          <p:nvPr userDrawn="1"/>
        </p:nvSpPr>
        <p:spPr>
          <a:xfrm>
            <a:off x="10108537" y="3031324"/>
            <a:ext cx="264511" cy="286650"/>
          </a:xfrm>
          <a:custGeom>
            <a:avLst/>
            <a:gdLst>
              <a:gd name="connsiteX0" fmla="*/ 121186 w 264511"/>
              <a:gd name="connsiteY0" fmla="*/ 286651 h 286650"/>
              <a:gd name="connsiteX1" fmla="*/ 0 w 264511"/>
              <a:gd name="connsiteY1" fmla="*/ 286651 h 286650"/>
              <a:gd name="connsiteX2" fmla="*/ 140995 w 264511"/>
              <a:gd name="connsiteY2" fmla="*/ 144491 h 286650"/>
              <a:gd name="connsiteX3" fmla="*/ 0 w 264511"/>
              <a:gd name="connsiteY3" fmla="*/ 0 h 286650"/>
              <a:gd name="connsiteX4" fmla="*/ 123516 w 264511"/>
              <a:gd name="connsiteY4" fmla="*/ 0 h 286650"/>
              <a:gd name="connsiteX5" fmla="*/ 264511 w 264511"/>
              <a:gd name="connsiteY5" fmla="*/ 140995 h 28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0">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300" name="Freihandform: Form 299">
            <a:extLst>
              <a:ext uri="{FF2B5EF4-FFF2-40B4-BE49-F238E27FC236}">
                <a16:creationId xmlns:a16="http://schemas.microsoft.com/office/drawing/2014/main" id="{D1807030-A146-49E6-AB2C-56E585B0AEE6}"/>
              </a:ext>
            </a:extLst>
          </p:cNvPr>
          <p:cNvSpPr/>
          <p:nvPr userDrawn="1"/>
        </p:nvSpPr>
        <p:spPr>
          <a:xfrm>
            <a:off x="10108537" y="3385560"/>
            <a:ext cx="264511" cy="287816"/>
          </a:xfrm>
          <a:custGeom>
            <a:avLst/>
            <a:gdLst>
              <a:gd name="connsiteX0" fmla="*/ 121186 w 264511"/>
              <a:gd name="connsiteY0" fmla="*/ 287816 h 287816"/>
              <a:gd name="connsiteX1" fmla="*/ 0 w 264511"/>
              <a:gd name="connsiteY1" fmla="*/ 287816 h 287816"/>
              <a:gd name="connsiteX2" fmla="*/ 140995 w 264511"/>
              <a:gd name="connsiteY2" fmla="*/ 145656 h 287816"/>
              <a:gd name="connsiteX3" fmla="*/ 0 w 264511"/>
              <a:gd name="connsiteY3" fmla="*/ 0 h 287816"/>
              <a:gd name="connsiteX4" fmla="*/ 123516 w 264511"/>
              <a:gd name="connsiteY4" fmla="*/ 0 h 287816"/>
              <a:gd name="connsiteX5" fmla="*/ 264511 w 264511"/>
              <a:gd name="connsiteY5" fmla="*/ 140995 h 287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7816">
                <a:moveTo>
                  <a:pt x="121186" y="287816"/>
                </a:moveTo>
                <a:lnTo>
                  <a:pt x="0" y="287816"/>
                </a:lnTo>
                <a:lnTo>
                  <a:pt x="140995" y="145656"/>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301" name="Freihandform: Form 300">
            <a:extLst>
              <a:ext uri="{FF2B5EF4-FFF2-40B4-BE49-F238E27FC236}">
                <a16:creationId xmlns:a16="http://schemas.microsoft.com/office/drawing/2014/main" id="{CCFC5FBA-0587-4C1B-8639-CB3CC05103F5}"/>
              </a:ext>
            </a:extLst>
          </p:cNvPr>
          <p:cNvSpPr/>
          <p:nvPr userDrawn="1"/>
        </p:nvSpPr>
        <p:spPr>
          <a:xfrm>
            <a:off x="10108537" y="3740960"/>
            <a:ext cx="264511" cy="286651"/>
          </a:xfrm>
          <a:custGeom>
            <a:avLst/>
            <a:gdLst>
              <a:gd name="connsiteX0" fmla="*/ 121186 w 264511"/>
              <a:gd name="connsiteY0" fmla="*/ 286651 h 286651"/>
              <a:gd name="connsiteX1" fmla="*/ 0 w 264511"/>
              <a:gd name="connsiteY1" fmla="*/ 286651 h 286651"/>
              <a:gd name="connsiteX2" fmla="*/ 140995 w 264511"/>
              <a:gd name="connsiteY2" fmla="*/ 144491 h 286651"/>
              <a:gd name="connsiteX3" fmla="*/ 0 w 264511"/>
              <a:gd name="connsiteY3" fmla="*/ 0 h 286651"/>
              <a:gd name="connsiteX4" fmla="*/ 123516 w 264511"/>
              <a:gd name="connsiteY4" fmla="*/ 0 h 286651"/>
              <a:gd name="connsiteX5" fmla="*/ 264511 w 264511"/>
              <a:gd name="connsiteY5" fmla="*/ 140995 h 286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1">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302" name="Freihandform: Form 301">
            <a:extLst>
              <a:ext uri="{FF2B5EF4-FFF2-40B4-BE49-F238E27FC236}">
                <a16:creationId xmlns:a16="http://schemas.microsoft.com/office/drawing/2014/main" id="{393FFB20-CDB2-4370-BF23-8869FAE8F232}"/>
              </a:ext>
            </a:extLst>
          </p:cNvPr>
          <p:cNvSpPr/>
          <p:nvPr userDrawn="1"/>
        </p:nvSpPr>
        <p:spPr>
          <a:xfrm>
            <a:off x="10108537" y="4095195"/>
            <a:ext cx="264511" cy="287816"/>
          </a:xfrm>
          <a:custGeom>
            <a:avLst/>
            <a:gdLst>
              <a:gd name="connsiteX0" fmla="*/ 121186 w 264511"/>
              <a:gd name="connsiteY0" fmla="*/ 287816 h 287816"/>
              <a:gd name="connsiteX1" fmla="*/ 0 w 264511"/>
              <a:gd name="connsiteY1" fmla="*/ 287816 h 287816"/>
              <a:gd name="connsiteX2" fmla="*/ 140995 w 264511"/>
              <a:gd name="connsiteY2" fmla="*/ 145656 h 287816"/>
              <a:gd name="connsiteX3" fmla="*/ 0 w 264511"/>
              <a:gd name="connsiteY3" fmla="*/ 0 h 287816"/>
              <a:gd name="connsiteX4" fmla="*/ 123516 w 264511"/>
              <a:gd name="connsiteY4" fmla="*/ 0 h 287816"/>
              <a:gd name="connsiteX5" fmla="*/ 264511 w 264511"/>
              <a:gd name="connsiteY5" fmla="*/ 140995 h 287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7816">
                <a:moveTo>
                  <a:pt x="121186" y="287816"/>
                </a:moveTo>
                <a:lnTo>
                  <a:pt x="0" y="287816"/>
                </a:lnTo>
                <a:lnTo>
                  <a:pt x="140995" y="145656"/>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303" name="Freihandform: Form 302">
            <a:extLst>
              <a:ext uri="{FF2B5EF4-FFF2-40B4-BE49-F238E27FC236}">
                <a16:creationId xmlns:a16="http://schemas.microsoft.com/office/drawing/2014/main" id="{9A02CBB0-C3FE-4C5B-8752-F2E84565BB37}"/>
              </a:ext>
            </a:extLst>
          </p:cNvPr>
          <p:cNvSpPr/>
          <p:nvPr userDrawn="1"/>
        </p:nvSpPr>
        <p:spPr>
          <a:xfrm>
            <a:off x="10108537" y="4450596"/>
            <a:ext cx="264511" cy="286651"/>
          </a:xfrm>
          <a:custGeom>
            <a:avLst/>
            <a:gdLst>
              <a:gd name="connsiteX0" fmla="*/ 121186 w 264511"/>
              <a:gd name="connsiteY0" fmla="*/ 286651 h 286651"/>
              <a:gd name="connsiteX1" fmla="*/ 0 w 264511"/>
              <a:gd name="connsiteY1" fmla="*/ 286651 h 286651"/>
              <a:gd name="connsiteX2" fmla="*/ 140995 w 264511"/>
              <a:gd name="connsiteY2" fmla="*/ 144491 h 286651"/>
              <a:gd name="connsiteX3" fmla="*/ 0 w 264511"/>
              <a:gd name="connsiteY3" fmla="*/ 0 h 286651"/>
              <a:gd name="connsiteX4" fmla="*/ 123516 w 264511"/>
              <a:gd name="connsiteY4" fmla="*/ 0 h 286651"/>
              <a:gd name="connsiteX5" fmla="*/ 264511 w 264511"/>
              <a:gd name="connsiteY5" fmla="*/ 140995 h 286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1">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304" name="Freihandform: Form 303">
            <a:extLst>
              <a:ext uri="{FF2B5EF4-FFF2-40B4-BE49-F238E27FC236}">
                <a16:creationId xmlns:a16="http://schemas.microsoft.com/office/drawing/2014/main" id="{1C43B92A-432B-470A-ABA2-5D306B91CF22}"/>
              </a:ext>
            </a:extLst>
          </p:cNvPr>
          <p:cNvSpPr/>
          <p:nvPr userDrawn="1"/>
        </p:nvSpPr>
        <p:spPr>
          <a:xfrm>
            <a:off x="10108537" y="4805997"/>
            <a:ext cx="264511" cy="286651"/>
          </a:xfrm>
          <a:custGeom>
            <a:avLst/>
            <a:gdLst>
              <a:gd name="connsiteX0" fmla="*/ 121186 w 264511"/>
              <a:gd name="connsiteY0" fmla="*/ 286651 h 286651"/>
              <a:gd name="connsiteX1" fmla="*/ 0 w 264511"/>
              <a:gd name="connsiteY1" fmla="*/ 286651 h 286651"/>
              <a:gd name="connsiteX2" fmla="*/ 140995 w 264511"/>
              <a:gd name="connsiteY2" fmla="*/ 144491 h 286651"/>
              <a:gd name="connsiteX3" fmla="*/ 0 w 264511"/>
              <a:gd name="connsiteY3" fmla="*/ 0 h 286651"/>
              <a:gd name="connsiteX4" fmla="*/ 123516 w 264511"/>
              <a:gd name="connsiteY4" fmla="*/ 0 h 286651"/>
              <a:gd name="connsiteX5" fmla="*/ 264511 w 264511"/>
              <a:gd name="connsiteY5" fmla="*/ 139830 h 286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1">
                <a:moveTo>
                  <a:pt x="121186" y="286651"/>
                </a:moveTo>
                <a:lnTo>
                  <a:pt x="0" y="286651"/>
                </a:lnTo>
                <a:lnTo>
                  <a:pt x="140995" y="144491"/>
                </a:lnTo>
                <a:lnTo>
                  <a:pt x="0" y="0"/>
                </a:lnTo>
                <a:lnTo>
                  <a:pt x="123516" y="0"/>
                </a:lnTo>
                <a:lnTo>
                  <a:pt x="264511" y="139830"/>
                </a:lnTo>
                <a:close/>
              </a:path>
            </a:pathLst>
          </a:custGeom>
          <a:solidFill>
            <a:srgbClr val="EEF2F5"/>
          </a:solidFill>
          <a:ln w="11643" cap="flat">
            <a:noFill/>
            <a:prstDash val="solid"/>
            <a:miter/>
          </a:ln>
        </p:spPr>
        <p:txBody>
          <a:bodyPr rtlCol="0" anchor="ctr"/>
          <a:lstStyle/>
          <a:p>
            <a:endParaRPr lang="de-DE"/>
          </a:p>
        </p:txBody>
      </p:sp>
      <p:sp>
        <p:nvSpPr>
          <p:cNvPr id="305" name="Freihandform: Form 304">
            <a:extLst>
              <a:ext uri="{FF2B5EF4-FFF2-40B4-BE49-F238E27FC236}">
                <a16:creationId xmlns:a16="http://schemas.microsoft.com/office/drawing/2014/main" id="{CF1224C7-9BEE-46A0-BB68-D697A73A4963}"/>
              </a:ext>
            </a:extLst>
          </p:cNvPr>
          <p:cNvSpPr/>
          <p:nvPr userDrawn="1"/>
        </p:nvSpPr>
        <p:spPr>
          <a:xfrm>
            <a:off x="10108537" y="5160232"/>
            <a:ext cx="264511" cy="286651"/>
          </a:xfrm>
          <a:custGeom>
            <a:avLst/>
            <a:gdLst>
              <a:gd name="connsiteX0" fmla="*/ 121186 w 264511"/>
              <a:gd name="connsiteY0" fmla="*/ 286651 h 286651"/>
              <a:gd name="connsiteX1" fmla="*/ 0 w 264511"/>
              <a:gd name="connsiteY1" fmla="*/ 286651 h 286651"/>
              <a:gd name="connsiteX2" fmla="*/ 140995 w 264511"/>
              <a:gd name="connsiteY2" fmla="*/ 144491 h 286651"/>
              <a:gd name="connsiteX3" fmla="*/ 0 w 264511"/>
              <a:gd name="connsiteY3" fmla="*/ 0 h 286651"/>
              <a:gd name="connsiteX4" fmla="*/ 123516 w 264511"/>
              <a:gd name="connsiteY4" fmla="*/ 0 h 286651"/>
              <a:gd name="connsiteX5" fmla="*/ 264511 w 264511"/>
              <a:gd name="connsiteY5" fmla="*/ 140995 h 286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1">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306" name="Freihandform: Form 305">
            <a:extLst>
              <a:ext uri="{FF2B5EF4-FFF2-40B4-BE49-F238E27FC236}">
                <a16:creationId xmlns:a16="http://schemas.microsoft.com/office/drawing/2014/main" id="{ADBF69A7-DE39-4CA9-B0E6-95F65333D170}"/>
              </a:ext>
            </a:extLst>
          </p:cNvPr>
          <p:cNvSpPr/>
          <p:nvPr userDrawn="1"/>
        </p:nvSpPr>
        <p:spPr>
          <a:xfrm>
            <a:off x="10108537" y="5515633"/>
            <a:ext cx="264511" cy="286651"/>
          </a:xfrm>
          <a:custGeom>
            <a:avLst/>
            <a:gdLst>
              <a:gd name="connsiteX0" fmla="*/ 121186 w 264511"/>
              <a:gd name="connsiteY0" fmla="*/ 286651 h 286651"/>
              <a:gd name="connsiteX1" fmla="*/ 0 w 264511"/>
              <a:gd name="connsiteY1" fmla="*/ 286651 h 286651"/>
              <a:gd name="connsiteX2" fmla="*/ 140995 w 264511"/>
              <a:gd name="connsiteY2" fmla="*/ 144491 h 286651"/>
              <a:gd name="connsiteX3" fmla="*/ 0 w 264511"/>
              <a:gd name="connsiteY3" fmla="*/ 0 h 286651"/>
              <a:gd name="connsiteX4" fmla="*/ 123516 w 264511"/>
              <a:gd name="connsiteY4" fmla="*/ 0 h 286651"/>
              <a:gd name="connsiteX5" fmla="*/ 264511 w 264511"/>
              <a:gd name="connsiteY5" fmla="*/ 140995 h 286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1">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307" name="Freihandform: Form 306">
            <a:extLst>
              <a:ext uri="{FF2B5EF4-FFF2-40B4-BE49-F238E27FC236}">
                <a16:creationId xmlns:a16="http://schemas.microsoft.com/office/drawing/2014/main" id="{7D9BE8A4-E861-44BD-82FB-0C83AE43E3F5}"/>
              </a:ext>
            </a:extLst>
          </p:cNvPr>
          <p:cNvSpPr/>
          <p:nvPr userDrawn="1"/>
        </p:nvSpPr>
        <p:spPr>
          <a:xfrm>
            <a:off x="10108537" y="5869868"/>
            <a:ext cx="264511" cy="286650"/>
          </a:xfrm>
          <a:custGeom>
            <a:avLst/>
            <a:gdLst>
              <a:gd name="connsiteX0" fmla="*/ 121186 w 264511"/>
              <a:gd name="connsiteY0" fmla="*/ 286651 h 286650"/>
              <a:gd name="connsiteX1" fmla="*/ 0 w 264511"/>
              <a:gd name="connsiteY1" fmla="*/ 286651 h 286650"/>
              <a:gd name="connsiteX2" fmla="*/ 140995 w 264511"/>
              <a:gd name="connsiteY2" fmla="*/ 144491 h 286650"/>
              <a:gd name="connsiteX3" fmla="*/ 0 w 264511"/>
              <a:gd name="connsiteY3" fmla="*/ 0 h 286650"/>
              <a:gd name="connsiteX4" fmla="*/ 123516 w 264511"/>
              <a:gd name="connsiteY4" fmla="*/ 0 h 286650"/>
              <a:gd name="connsiteX5" fmla="*/ 264511 w 264511"/>
              <a:gd name="connsiteY5" fmla="*/ 140995 h 28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0">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308" name="Freihandform: Form 307">
            <a:extLst>
              <a:ext uri="{FF2B5EF4-FFF2-40B4-BE49-F238E27FC236}">
                <a16:creationId xmlns:a16="http://schemas.microsoft.com/office/drawing/2014/main" id="{5F752DD3-B30C-4D0A-944E-3ED3945D0A70}"/>
              </a:ext>
            </a:extLst>
          </p:cNvPr>
          <p:cNvSpPr/>
          <p:nvPr userDrawn="1"/>
        </p:nvSpPr>
        <p:spPr>
          <a:xfrm>
            <a:off x="10108537" y="6225269"/>
            <a:ext cx="264511" cy="286650"/>
          </a:xfrm>
          <a:custGeom>
            <a:avLst/>
            <a:gdLst>
              <a:gd name="connsiteX0" fmla="*/ 121186 w 264511"/>
              <a:gd name="connsiteY0" fmla="*/ 286651 h 286650"/>
              <a:gd name="connsiteX1" fmla="*/ 0 w 264511"/>
              <a:gd name="connsiteY1" fmla="*/ 286651 h 286650"/>
              <a:gd name="connsiteX2" fmla="*/ 140995 w 264511"/>
              <a:gd name="connsiteY2" fmla="*/ 144491 h 286650"/>
              <a:gd name="connsiteX3" fmla="*/ 0 w 264511"/>
              <a:gd name="connsiteY3" fmla="*/ 0 h 286650"/>
              <a:gd name="connsiteX4" fmla="*/ 123516 w 264511"/>
              <a:gd name="connsiteY4" fmla="*/ 0 h 286650"/>
              <a:gd name="connsiteX5" fmla="*/ 264511 w 264511"/>
              <a:gd name="connsiteY5" fmla="*/ 140995 h 28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0">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309" name="Freihandform: Form 308">
            <a:extLst>
              <a:ext uri="{FF2B5EF4-FFF2-40B4-BE49-F238E27FC236}">
                <a16:creationId xmlns:a16="http://schemas.microsoft.com/office/drawing/2014/main" id="{B2C8C5D0-33C1-4654-B293-E6B9182B14E5}"/>
              </a:ext>
            </a:extLst>
          </p:cNvPr>
          <p:cNvSpPr/>
          <p:nvPr userDrawn="1"/>
        </p:nvSpPr>
        <p:spPr>
          <a:xfrm>
            <a:off x="4909201" y="2101456"/>
            <a:ext cx="16313" cy="17478"/>
          </a:xfrm>
          <a:custGeom>
            <a:avLst/>
            <a:gdLst>
              <a:gd name="connsiteX0" fmla="*/ 8157 w 16313"/>
              <a:gd name="connsiteY0" fmla="*/ 17479 h 17478"/>
              <a:gd name="connsiteX1" fmla="*/ 0 w 16313"/>
              <a:gd name="connsiteY1" fmla="*/ 17479 h 17478"/>
              <a:gd name="connsiteX2" fmla="*/ 9322 w 16313"/>
              <a:gd name="connsiteY2" fmla="*/ 8157 h 17478"/>
              <a:gd name="connsiteX3" fmla="*/ 0 w 16313"/>
              <a:gd name="connsiteY3" fmla="*/ 0 h 17478"/>
              <a:gd name="connsiteX4" fmla="*/ 8157 w 16313"/>
              <a:gd name="connsiteY4" fmla="*/ 0 h 17478"/>
              <a:gd name="connsiteX5" fmla="*/ 16313 w 16313"/>
              <a:gd name="connsiteY5" fmla="*/ 8157 h 17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13" h="17478">
                <a:moveTo>
                  <a:pt x="8157" y="17479"/>
                </a:moveTo>
                <a:lnTo>
                  <a:pt x="0" y="17479"/>
                </a:lnTo>
                <a:lnTo>
                  <a:pt x="9322" y="8157"/>
                </a:lnTo>
                <a:lnTo>
                  <a:pt x="0" y="0"/>
                </a:lnTo>
                <a:lnTo>
                  <a:pt x="8157" y="0"/>
                </a:lnTo>
                <a:lnTo>
                  <a:pt x="16313" y="8157"/>
                </a:lnTo>
                <a:close/>
              </a:path>
            </a:pathLst>
          </a:custGeom>
          <a:solidFill>
            <a:srgbClr val="EEF2F5"/>
          </a:solidFill>
          <a:ln w="11643" cap="flat">
            <a:noFill/>
            <a:prstDash val="solid"/>
            <a:miter/>
          </a:ln>
        </p:spPr>
        <p:txBody>
          <a:bodyPr rtlCol="0" anchor="ctr"/>
          <a:lstStyle/>
          <a:p>
            <a:endParaRPr lang="de-DE"/>
          </a:p>
        </p:txBody>
      </p:sp>
      <p:sp>
        <p:nvSpPr>
          <p:cNvPr id="310" name="Freihandform: Form 309">
            <a:extLst>
              <a:ext uri="{FF2B5EF4-FFF2-40B4-BE49-F238E27FC236}">
                <a16:creationId xmlns:a16="http://schemas.microsoft.com/office/drawing/2014/main" id="{329A36A9-5A2C-4AC1-96F3-AFA20EF6DDEB}"/>
              </a:ext>
            </a:extLst>
          </p:cNvPr>
          <p:cNvSpPr/>
          <p:nvPr userDrawn="1"/>
        </p:nvSpPr>
        <p:spPr>
          <a:xfrm>
            <a:off x="4909201" y="2455692"/>
            <a:ext cx="16313" cy="18643"/>
          </a:xfrm>
          <a:custGeom>
            <a:avLst/>
            <a:gdLst>
              <a:gd name="connsiteX0" fmla="*/ 8157 w 16313"/>
              <a:gd name="connsiteY0" fmla="*/ 18644 h 18643"/>
              <a:gd name="connsiteX1" fmla="*/ 0 w 16313"/>
              <a:gd name="connsiteY1" fmla="*/ 18644 h 18643"/>
              <a:gd name="connsiteX2" fmla="*/ 9322 w 16313"/>
              <a:gd name="connsiteY2" fmla="*/ 9322 h 18643"/>
              <a:gd name="connsiteX3" fmla="*/ 0 w 16313"/>
              <a:gd name="connsiteY3" fmla="*/ 0 h 18643"/>
              <a:gd name="connsiteX4" fmla="*/ 8157 w 16313"/>
              <a:gd name="connsiteY4" fmla="*/ 0 h 18643"/>
              <a:gd name="connsiteX5" fmla="*/ 16313 w 16313"/>
              <a:gd name="connsiteY5" fmla="*/ 9322 h 18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13" h="18643">
                <a:moveTo>
                  <a:pt x="8157" y="18644"/>
                </a:moveTo>
                <a:lnTo>
                  <a:pt x="0" y="18644"/>
                </a:lnTo>
                <a:lnTo>
                  <a:pt x="9322" y="9322"/>
                </a:lnTo>
                <a:lnTo>
                  <a:pt x="0" y="0"/>
                </a:lnTo>
                <a:lnTo>
                  <a:pt x="8157" y="0"/>
                </a:lnTo>
                <a:lnTo>
                  <a:pt x="16313" y="9322"/>
                </a:lnTo>
                <a:close/>
              </a:path>
            </a:pathLst>
          </a:custGeom>
          <a:solidFill>
            <a:srgbClr val="EEF2F5"/>
          </a:solidFill>
          <a:ln w="11643" cap="flat">
            <a:noFill/>
            <a:prstDash val="solid"/>
            <a:miter/>
          </a:ln>
        </p:spPr>
        <p:txBody>
          <a:bodyPr rtlCol="0" anchor="ctr"/>
          <a:lstStyle/>
          <a:p>
            <a:endParaRPr lang="de-DE"/>
          </a:p>
        </p:txBody>
      </p:sp>
      <p:sp>
        <p:nvSpPr>
          <p:cNvPr id="311" name="Freihandform: Form 310">
            <a:extLst>
              <a:ext uri="{FF2B5EF4-FFF2-40B4-BE49-F238E27FC236}">
                <a16:creationId xmlns:a16="http://schemas.microsoft.com/office/drawing/2014/main" id="{84957465-0B73-4E55-8E53-1C8F5B558178}"/>
              </a:ext>
            </a:extLst>
          </p:cNvPr>
          <p:cNvSpPr/>
          <p:nvPr userDrawn="1"/>
        </p:nvSpPr>
        <p:spPr>
          <a:xfrm>
            <a:off x="4909201" y="2811092"/>
            <a:ext cx="16313" cy="17478"/>
          </a:xfrm>
          <a:custGeom>
            <a:avLst/>
            <a:gdLst>
              <a:gd name="connsiteX0" fmla="*/ 8157 w 16313"/>
              <a:gd name="connsiteY0" fmla="*/ 17479 h 17478"/>
              <a:gd name="connsiteX1" fmla="*/ 0 w 16313"/>
              <a:gd name="connsiteY1" fmla="*/ 17479 h 17478"/>
              <a:gd name="connsiteX2" fmla="*/ 9322 w 16313"/>
              <a:gd name="connsiteY2" fmla="*/ 8157 h 17478"/>
              <a:gd name="connsiteX3" fmla="*/ 0 w 16313"/>
              <a:gd name="connsiteY3" fmla="*/ 0 h 17478"/>
              <a:gd name="connsiteX4" fmla="*/ 8157 w 16313"/>
              <a:gd name="connsiteY4" fmla="*/ 0 h 17478"/>
              <a:gd name="connsiteX5" fmla="*/ 16313 w 16313"/>
              <a:gd name="connsiteY5" fmla="*/ 8157 h 17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13" h="17478">
                <a:moveTo>
                  <a:pt x="8157" y="17479"/>
                </a:moveTo>
                <a:lnTo>
                  <a:pt x="0" y="17479"/>
                </a:lnTo>
                <a:lnTo>
                  <a:pt x="9322" y="8157"/>
                </a:lnTo>
                <a:lnTo>
                  <a:pt x="0" y="0"/>
                </a:lnTo>
                <a:lnTo>
                  <a:pt x="8157" y="0"/>
                </a:lnTo>
                <a:lnTo>
                  <a:pt x="16313" y="8157"/>
                </a:lnTo>
                <a:close/>
              </a:path>
            </a:pathLst>
          </a:custGeom>
          <a:solidFill>
            <a:srgbClr val="EEF2F5"/>
          </a:solidFill>
          <a:ln w="11643" cap="flat">
            <a:noFill/>
            <a:prstDash val="solid"/>
            <a:miter/>
          </a:ln>
        </p:spPr>
        <p:txBody>
          <a:bodyPr rtlCol="0" anchor="ctr"/>
          <a:lstStyle/>
          <a:p>
            <a:endParaRPr lang="de-DE"/>
          </a:p>
        </p:txBody>
      </p:sp>
      <p:sp>
        <p:nvSpPr>
          <p:cNvPr id="312" name="Freihandform: Form 311">
            <a:extLst>
              <a:ext uri="{FF2B5EF4-FFF2-40B4-BE49-F238E27FC236}">
                <a16:creationId xmlns:a16="http://schemas.microsoft.com/office/drawing/2014/main" id="{87FB61E4-1ACD-4B14-BC93-A9AC520FBB33}"/>
              </a:ext>
            </a:extLst>
          </p:cNvPr>
          <p:cNvSpPr/>
          <p:nvPr userDrawn="1"/>
        </p:nvSpPr>
        <p:spPr>
          <a:xfrm>
            <a:off x="4909201" y="6359273"/>
            <a:ext cx="16313" cy="18643"/>
          </a:xfrm>
          <a:custGeom>
            <a:avLst/>
            <a:gdLst>
              <a:gd name="connsiteX0" fmla="*/ 8157 w 16313"/>
              <a:gd name="connsiteY0" fmla="*/ 18644 h 18643"/>
              <a:gd name="connsiteX1" fmla="*/ 0 w 16313"/>
              <a:gd name="connsiteY1" fmla="*/ 18644 h 18643"/>
              <a:gd name="connsiteX2" fmla="*/ 9322 w 16313"/>
              <a:gd name="connsiteY2" fmla="*/ 9322 h 18643"/>
              <a:gd name="connsiteX3" fmla="*/ 0 w 16313"/>
              <a:gd name="connsiteY3" fmla="*/ 0 h 18643"/>
              <a:gd name="connsiteX4" fmla="*/ 8157 w 16313"/>
              <a:gd name="connsiteY4" fmla="*/ 0 h 18643"/>
              <a:gd name="connsiteX5" fmla="*/ 16313 w 16313"/>
              <a:gd name="connsiteY5" fmla="*/ 9322 h 18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13" h="18643">
                <a:moveTo>
                  <a:pt x="8157" y="18644"/>
                </a:moveTo>
                <a:lnTo>
                  <a:pt x="0" y="18644"/>
                </a:lnTo>
                <a:lnTo>
                  <a:pt x="9322" y="9322"/>
                </a:lnTo>
                <a:lnTo>
                  <a:pt x="0" y="0"/>
                </a:lnTo>
                <a:lnTo>
                  <a:pt x="8157" y="0"/>
                </a:lnTo>
                <a:lnTo>
                  <a:pt x="16313" y="9322"/>
                </a:lnTo>
                <a:close/>
              </a:path>
            </a:pathLst>
          </a:custGeom>
          <a:solidFill>
            <a:srgbClr val="EEF2F5"/>
          </a:solidFill>
          <a:ln w="11643" cap="flat">
            <a:noFill/>
            <a:prstDash val="solid"/>
            <a:miter/>
          </a:ln>
        </p:spPr>
        <p:txBody>
          <a:bodyPr rtlCol="0" anchor="ctr"/>
          <a:lstStyle/>
          <a:p>
            <a:endParaRPr lang="de-DE"/>
          </a:p>
        </p:txBody>
      </p:sp>
      <p:sp>
        <p:nvSpPr>
          <p:cNvPr id="313" name="Freihandform: Form 312">
            <a:extLst>
              <a:ext uri="{FF2B5EF4-FFF2-40B4-BE49-F238E27FC236}">
                <a16:creationId xmlns:a16="http://schemas.microsoft.com/office/drawing/2014/main" id="{FF52D444-9AC4-4068-BEAF-D99296A51975}"/>
              </a:ext>
            </a:extLst>
          </p:cNvPr>
          <p:cNvSpPr/>
          <p:nvPr userDrawn="1"/>
        </p:nvSpPr>
        <p:spPr>
          <a:xfrm>
            <a:off x="4909201" y="6714673"/>
            <a:ext cx="16313" cy="17478"/>
          </a:xfrm>
          <a:custGeom>
            <a:avLst/>
            <a:gdLst>
              <a:gd name="connsiteX0" fmla="*/ 8157 w 16313"/>
              <a:gd name="connsiteY0" fmla="*/ 17479 h 17478"/>
              <a:gd name="connsiteX1" fmla="*/ 0 w 16313"/>
              <a:gd name="connsiteY1" fmla="*/ 17479 h 17478"/>
              <a:gd name="connsiteX2" fmla="*/ 9322 w 16313"/>
              <a:gd name="connsiteY2" fmla="*/ 8157 h 17478"/>
              <a:gd name="connsiteX3" fmla="*/ 0 w 16313"/>
              <a:gd name="connsiteY3" fmla="*/ 0 h 17478"/>
              <a:gd name="connsiteX4" fmla="*/ 8157 w 16313"/>
              <a:gd name="connsiteY4" fmla="*/ 0 h 17478"/>
              <a:gd name="connsiteX5" fmla="*/ 16313 w 16313"/>
              <a:gd name="connsiteY5" fmla="*/ 8157 h 17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13" h="17478">
                <a:moveTo>
                  <a:pt x="8157" y="17479"/>
                </a:moveTo>
                <a:lnTo>
                  <a:pt x="0" y="17479"/>
                </a:lnTo>
                <a:lnTo>
                  <a:pt x="9322" y="8157"/>
                </a:lnTo>
                <a:lnTo>
                  <a:pt x="0" y="0"/>
                </a:lnTo>
                <a:lnTo>
                  <a:pt x="8157" y="0"/>
                </a:lnTo>
                <a:lnTo>
                  <a:pt x="16313" y="8157"/>
                </a:lnTo>
                <a:close/>
              </a:path>
            </a:pathLst>
          </a:custGeom>
          <a:solidFill>
            <a:srgbClr val="EEF2F5"/>
          </a:solidFill>
          <a:ln w="11643" cap="flat">
            <a:noFill/>
            <a:prstDash val="solid"/>
            <a:miter/>
          </a:ln>
        </p:spPr>
        <p:txBody>
          <a:bodyPr rtlCol="0" anchor="ctr"/>
          <a:lstStyle/>
          <a:p>
            <a:endParaRPr lang="de-DE"/>
          </a:p>
        </p:txBody>
      </p:sp>
      <p:sp>
        <p:nvSpPr>
          <p:cNvPr id="314" name="Freihandform: Form 313">
            <a:extLst>
              <a:ext uri="{FF2B5EF4-FFF2-40B4-BE49-F238E27FC236}">
                <a16:creationId xmlns:a16="http://schemas.microsoft.com/office/drawing/2014/main" id="{3F69FE79-2706-4C30-8966-0A2EC1910BF0}"/>
              </a:ext>
            </a:extLst>
          </p:cNvPr>
          <p:cNvSpPr/>
          <p:nvPr userDrawn="1"/>
        </p:nvSpPr>
        <p:spPr>
          <a:xfrm>
            <a:off x="5255279" y="2092134"/>
            <a:ext cx="33792" cy="36122"/>
          </a:xfrm>
          <a:custGeom>
            <a:avLst/>
            <a:gdLst>
              <a:gd name="connsiteX0" fmla="*/ 15148 w 33792"/>
              <a:gd name="connsiteY0" fmla="*/ 36123 h 36122"/>
              <a:gd name="connsiteX1" fmla="*/ 0 w 33792"/>
              <a:gd name="connsiteY1" fmla="*/ 36123 h 36122"/>
              <a:gd name="connsiteX2" fmla="*/ 18644 w 33792"/>
              <a:gd name="connsiteY2" fmla="*/ 17479 h 36122"/>
              <a:gd name="connsiteX3" fmla="*/ 0 w 33792"/>
              <a:gd name="connsiteY3" fmla="*/ 0 h 36122"/>
              <a:gd name="connsiteX4" fmla="*/ 16313 w 33792"/>
              <a:gd name="connsiteY4" fmla="*/ 0 h 36122"/>
              <a:gd name="connsiteX5" fmla="*/ 33792 w 33792"/>
              <a:gd name="connsiteY5" fmla="*/ 17479 h 3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92" h="36122">
                <a:moveTo>
                  <a:pt x="15148" y="36123"/>
                </a:moveTo>
                <a:lnTo>
                  <a:pt x="0" y="36123"/>
                </a:lnTo>
                <a:lnTo>
                  <a:pt x="18644" y="17479"/>
                </a:lnTo>
                <a:lnTo>
                  <a:pt x="0" y="0"/>
                </a:lnTo>
                <a:lnTo>
                  <a:pt x="16313" y="0"/>
                </a:lnTo>
                <a:lnTo>
                  <a:pt x="33792" y="17479"/>
                </a:lnTo>
                <a:close/>
              </a:path>
            </a:pathLst>
          </a:custGeom>
          <a:solidFill>
            <a:srgbClr val="EEF2F5"/>
          </a:solidFill>
          <a:ln w="11643" cap="flat">
            <a:noFill/>
            <a:prstDash val="solid"/>
            <a:miter/>
          </a:ln>
        </p:spPr>
        <p:txBody>
          <a:bodyPr rtlCol="0" anchor="ctr"/>
          <a:lstStyle/>
          <a:p>
            <a:endParaRPr lang="de-DE"/>
          </a:p>
        </p:txBody>
      </p:sp>
      <p:sp>
        <p:nvSpPr>
          <p:cNvPr id="315" name="Freihandform: Form 314">
            <a:extLst>
              <a:ext uri="{FF2B5EF4-FFF2-40B4-BE49-F238E27FC236}">
                <a16:creationId xmlns:a16="http://schemas.microsoft.com/office/drawing/2014/main" id="{F4B53603-3712-42FD-9602-D38612E562AF}"/>
              </a:ext>
            </a:extLst>
          </p:cNvPr>
          <p:cNvSpPr/>
          <p:nvPr userDrawn="1"/>
        </p:nvSpPr>
        <p:spPr>
          <a:xfrm>
            <a:off x="5255279" y="2446370"/>
            <a:ext cx="33792" cy="36122"/>
          </a:xfrm>
          <a:custGeom>
            <a:avLst/>
            <a:gdLst>
              <a:gd name="connsiteX0" fmla="*/ 15148 w 33792"/>
              <a:gd name="connsiteY0" fmla="*/ 36123 h 36122"/>
              <a:gd name="connsiteX1" fmla="*/ 0 w 33792"/>
              <a:gd name="connsiteY1" fmla="*/ 36123 h 36122"/>
              <a:gd name="connsiteX2" fmla="*/ 18644 w 33792"/>
              <a:gd name="connsiteY2" fmla="*/ 18644 h 36122"/>
              <a:gd name="connsiteX3" fmla="*/ 0 w 33792"/>
              <a:gd name="connsiteY3" fmla="*/ 0 h 36122"/>
              <a:gd name="connsiteX4" fmla="*/ 16313 w 33792"/>
              <a:gd name="connsiteY4" fmla="*/ 0 h 36122"/>
              <a:gd name="connsiteX5" fmla="*/ 33792 w 33792"/>
              <a:gd name="connsiteY5" fmla="*/ 18644 h 3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92" h="36122">
                <a:moveTo>
                  <a:pt x="15148" y="36123"/>
                </a:moveTo>
                <a:lnTo>
                  <a:pt x="0" y="36123"/>
                </a:lnTo>
                <a:lnTo>
                  <a:pt x="18644" y="18644"/>
                </a:lnTo>
                <a:lnTo>
                  <a:pt x="0" y="0"/>
                </a:lnTo>
                <a:lnTo>
                  <a:pt x="16313" y="0"/>
                </a:lnTo>
                <a:lnTo>
                  <a:pt x="33792" y="18644"/>
                </a:lnTo>
                <a:close/>
              </a:path>
            </a:pathLst>
          </a:custGeom>
          <a:solidFill>
            <a:srgbClr val="EEF2F5"/>
          </a:solidFill>
          <a:ln w="11643" cap="flat">
            <a:noFill/>
            <a:prstDash val="solid"/>
            <a:miter/>
          </a:ln>
        </p:spPr>
        <p:txBody>
          <a:bodyPr rtlCol="0" anchor="ctr"/>
          <a:lstStyle/>
          <a:p>
            <a:endParaRPr lang="de-DE"/>
          </a:p>
        </p:txBody>
      </p:sp>
      <p:sp>
        <p:nvSpPr>
          <p:cNvPr id="316" name="Freihandform: Form 315">
            <a:extLst>
              <a:ext uri="{FF2B5EF4-FFF2-40B4-BE49-F238E27FC236}">
                <a16:creationId xmlns:a16="http://schemas.microsoft.com/office/drawing/2014/main" id="{4E782172-F80C-4F0D-9EAC-FB60DC8E79B1}"/>
              </a:ext>
            </a:extLst>
          </p:cNvPr>
          <p:cNvSpPr/>
          <p:nvPr userDrawn="1"/>
        </p:nvSpPr>
        <p:spPr>
          <a:xfrm>
            <a:off x="5255279" y="2801770"/>
            <a:ext cx="33792" cy="36122"/>
          </a:xfrm>
          <a:custGeom>
            <a:avLst/>
            <a:gdLst>
              <a:gd name="connsiteX0" fmla="*/ 15148 w 33792"/>
              <a:gd name="connsiteY0" fmla="*/ 36123 h 36122"/>
              <a:gd name="connsiteX1" fmla="*/ 0 w 33792"/>
              <a:gd name="connsiteY1" fmla="*/ 36123 h 36122"/>
              <a:gd name="connsiteX2" fmla="*/ 18644 w 33792"/>
              <a:gd name="connsiteY2" fmla="*/ 17479 h 36122"/>
              <a:gd name="connsiteX3" fmla="*/ 0 w 33792"/>
              <a:gd name="connsiteY3" fmla="*/ 0 h 36122"/>
              <a:gd name="connsiteX4" fmla="*/ 16313 w 33792"/>
              <a:gd name="connsiteY4" fmla="*/ 0 h 36122"/>
              <a:gd name="connsiteX5" fmla="*/ 33792 w 33792"/>
              <a:gd name="connsiteY5" fmla="*/ 17479 h 3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92" h="36122">
                <a:moveTo>
                  <a:pt x="15148" y="36123"/>
                </a:moveTo>
                <a:lnTo>
                  <a:pt x="0" y="36123"/>
                </a:lnTo>
                <a:lnTo>
                  <a:pt x="18644" y="17479"/>
                </a:lnTo>
                <a:lnTo>
                  <a:pt x="0" y="0"/>
                </a:lnTo>
                <a:lnTo>
                  <a:pt x="16313" y="0"/>
                </a:lnTo>
                <a:lnTo>
                  <a:pt x="33792" y="17479"/>
                </a:lnTo>
                <a:close/>
              </a:path>
            </a:pathLst>
          </a:custGeom>
          <a:solidFill>
            <a:srgbClr val="EEF2F5"/>
          </a:solidFill>
          <a:ln w="11643" cap="flat">
            <a:noFill/>
            <a:prstDash val="solid"/>
            <a:miter/>
          </a:ln>
        </p:spPr>
        <p:txBody>
          <a:bodyPr rtlCol="0" anchor="ctr"/>
          <a:lstStyle/>
          <a:p>
            <a:endParaRPr lang="de-DE"/>
          </a:p>
        </p:txBody>
      </p:sp>
      <p:sp>
        <p:nvSpPr>
          <p:cNvPr id="317" name="Freihandform: Form 316">
            <a:extLst>
              <a:ext uri="{FF2B5EF4-FFF2-40B4-BE49-F238E27FC236}">
                <a16:creationId xmlns:a16="http://schemas.microsoft.com/office/drawing/2014/main" id="{5AC89AEE-3E21-479D-AFC6-890140A3CE25}"/>
              </a:ext>
            </a:extLst>
          </p:cNvPr>
          <p:cNvSpPr/>
          <p:nvPr userDrawn="1"/>
        </p:nvSpPr>
        <p:spPr>
          <a:xfrm>
            <a:off x="5255279" y="3156006"/>
            <a:ext cx="33792" cy="36122"/>
          </a:xfrm>
          <a:custGeom>
            <a:avLst/>
            <a:gdLst>
              <a:gd name="connsiteX0" fmla="*/ 15148 w 33792"/>
              <a:gd name="connsiteY0" fmla="*/ 36123 h 36122"/>
              <a:gd name="connsiteX1" fmla="*/ 0 w 33792"/>
              <a:gd name="connsiteY1" fmla="*/ 36123 h 36122"/>
              <a:gd name="connsiteX2" fmla="*/ 18644 w 33792"/>
              <a:gd name="connsiteY2" fmla="*/ 18644 h 36122"/>
              <a:gd name="connsiteX3" fmla="*/ 0 w 33792"/>
              <a:gd name="connsiteY3" fmla="*/ 0 h 36122"/>
              <a:gd name="connsiteX4" fmla="*/ 16313 w 33792"/>
              <a:gd name="connsiteY4" fmla="*/ 0 h 36122"/>
              <a:gd name="connsiteX5" fmla="*/ 33792 w 33792"/>
              <a:gd name="connsiteY5" fmla="*/ 18644 h 3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92" h="36122">
                <a:moveTo>
                  <a:pt x="15148" y="36123"/>
                </a:moveTo>
                <a:lnTo>
                  <a:pt x="0" y="36123"/>
                </a:lnTo>
                <a:lnTo>
                  <a:pt x="18644" y="18644"/>
                </a:lnTo>
                <a:lnTo>
                  <a:pt x="0" y="0"/>
                </a:lnTo>
                <a:lnTo>
                  <a:pt x="16313" y="0"/>
                </a:lnTo>
                <a:lnTo>
                  <a:pt x="33792" y="18644"/>
                </a:lnTo>
                <a:close/>
              </a:path>
            </a:pathLst>
          </a:custGeom>
          <a:solidFill>
            <a:srgbClr val="EEF2F5"/>
          </a:solidFill>
          <a:ln w="11643" cap="flat">
            <a:noFill/>
            <a:prstDash val="solid"/>
            <a:miter/>
          </a:ln>
        </p:spPr>
        <p:txBody>
          <a:bodyPr rtlCol="0" anchor="ctr"/>
          <a:lstStyle/>
          <a:p>
            <a:endParaRPr lang="de-DE"/>
          </a:p>
        </p:txBody>
      </p:sp>
      <p:sp>
        <p:nvSpPr>
          <p:cNvPr id="318" name="Freihandform: Form 317">
            <a:extLst>
              <a:ext uri="{FF2B5EF4-FFF2-40B4-BE49-F238E27FC236}">
                <a16:creationId xmlns:a16="http://schemas.microsoft.com/office/drawing/2014/main" id="{B49D284A-3754-4334-8ECC-958A57DEF1F2}"/>
              </a:ext>
            </a:extLst>
          </p:cNvPr>
          <p:cNvSpPr/>
          <p:nvPr userDrawn="1"/>
        </p:nvSpPr>
        <p:spPr>
          <a:xfrm>
            <a:off x="5255279" y="5995715"/>
            <a:ext cx="33792" cy="36122"/>
          </a:xfrm>
          <a:custGeom>
            <a:avLst/>
            <a:gdLst>
              <a:gd name="connsiteX0" fmla="*/ 15148 w 33792"/>
              <a:gd name="connsiteY0" fmla="*/ 36123 h 36122"/>
              <a:gd name="connsiteX1" fmla="*/ 0 w 33792"/>
              <a:gd name="connsiteY1" fmla="*/ 36123 h 36122"/>
              <a:gd name="connsiteX2" fmla="*/ 18644 w 33792"/>
              <a:gd name="connsiteY2" fmla="*/ 17479 h 36122"/>
              <a:gd name="connsiteX3" fmla="*/ 0 w 33792"/>
              <a:gd name="connsiteY3" fmla="*/ 0 h 36122"/>
              <a:gd name="connsiteX4" fmla="*/ 16313 w 33792"/>
              <a:gd name="connsiteY4" fmla="*/ 0 h 36122"/>
              <a:gd name="connsiteX5" fmla="*/ 33792 w 33792"/>
              <a:gd name="connsiteY5" fmla="*/ 17479 h 3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92" h="36122">
                <a:moveTo>
                  <a:pt x="15148" y="36123"/>
                </a:moveTo>
                <a:lnTo>
                  <a:pt x="0" y="36123"/>
                </a:lnTo>
                <a:lnTo>
                  <a:pt x="18644" y="17479"/>
                </a:lnTo>
                <a:lnTo>
                  <a:pt x="0" y="0"/>
                </a:lnTo>
                <a:lnTo>
                  <a:pt x="16313" y="0"/>
                </a:lnTo>
                <a:lnTo>
                  <a:pt x="33792" y="17479"/>
                </a:lnTo>
                <a:close/>
              </a:path>
            </a:pathLst>
          </a:custGeom>
          <a:solidFill>
            <a:srgbClr val="EEF2F5"/>
          </a:solidFill>
          <a:ln w="11643" cap="flat">
            <a:noFill/>
            <a:prstDash val="solid"/>
            <a:miter/>
          </a:ln>
        </p:spPr>
        <p:txBody>
          <a:bodyPr rtlCol="0" anchor="ctr"/>
          <a:lstStyle/>
          <a:p>
            <a:endParaRPr lang="de-DE"/>
          </a:p>
        </p:txBody>
      </p:sp>
      <p:sp>
        <p:nvSpPr>
          <p:cNvPr id="319" name="Freihandform: Form 318">
            <a:extLst>
              <a:ext uri="{FF2B5EF4-FFF2-40B4-BE49-F238E27FC236}">
                <a16:creationId xmlns:a16="http://schemas.microsoft.com/office/drawing/2014/main" id="{A69B0409-A733-4EE2-98C0-896F38B72165}"/>
              </a:ext>
            </a:extLst>
          </p:cNvPr>
          <p:cNvSpPr/>
          <p:nvPr userDrawn="1"/>
        </p:nvSpPr>
        <p:spPr>
          <a:xfrm>
            <a:off x="5255279" y="6349950"/>
            <a:ext cx="33792" cy="36122"/>
          </a:xfrm>
          <a:custGeom>
            <a:avLst/>
            <a:gdLst>
              <a:gd name="connsiteX0" fmla="*/ 15148 w 33792"/>
              <a:gd name="connsiteY0" fmla="*/ 36123 h 36122"/>
              <a:gd name="connsiteX1" fmla="*/ 0 w 33792"/>
              <a:gd name="connsiteY1" fmla="*/ 36123 h 36122"/>
              <a:gd name="connsiteX2" fmla="*/ 18644 w 33792"/>
              <a:gd name="connsiteY2" fmla="*/ 18644 h 36122"/>
              <a:gd name="connsiteX3" fmla="*/ 0 w 33792"/>
              <a:gd name="connsiteY3" fmla="*/ 0 h 36122"/>
              <a:gd name="connsiteX4" fmla="*/ 16313 w 33792"/>
              <a:gd name="connsiteY4" fmla="*/ 0 h 36122"/>
              <a:gd name="connsiteX5" fmla="*/ 33792 w 33792"/>
              <a:gd name="connsiteY5" fmla="*/ 17479 h 3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92" h="36122">
                <a:moveTo>
                  <a:pt x="15148" y="36123"/>
                </a:moveTo>
                <a:lnTo>
                  <a:pt x="0" y="36123"/>
                </a:lnTo>
                <a:lnTo>
                  <a:pt x="18644" y="18644"/>
                </a:lnTo>
                <a:lnTo>
                  <a:pt x="0" y="0"/>
                </a:lnTo>
                <a:lnTo>
                  <a:pt x="16313" y="0"/>
                </a:lnTo>
                <a:lnTo>
                  <a:pt x="33792" y="17479"/>
                </a:lnTo>
                <a:close/>
              </a:path>
            </a:pathLst>
          </a:custGeom>
          <a:solidFill>
            <a:srgbClr val="EEF2F5"/>
          </a:solidFill>
          <a:ln w="11643" cap="flat">
            <a:noFill/>
            <a:prstDash val="solid"/>
            <a:miter/>
          </a:ln>
        </p:spPr>
        <p:txBody>
          <a:bodyPr rtlCol="0" anchor="ctr"/>
          <a:lstStyle/>
          <a:p>
            <a:endParaRPr lang="de-DE"/>
          </a:p>
        </p:txBody>
      </p:sp>
      <p:sp>
        <p:nvSpPr>
          <p:cNvPr id="320" name="Freihandform: Form 319">
            <a:extLst>
              <a:ext uri="{FF2B5EF4-FFF2-40B4-BE49-F238E27FC236}">
                <a16:creationId xmlns:a16="http://schemas.microsoft.com/office/drawing/2014/main" id="{CF4A57C6-D03C-4435-9ADC-6B2A2369F87E}"/>
              </a:ext>
            </a:extLst>
          </p:cNvPr>
          <p:cNvSpPr/>
          <p:nvPr userDrawn="1"/>
        </p:nvSpPr>
        <p:spPr>
          <a:xfrm>
            <a:off x="5255279" y="6705351"/>
            <a:ext cx="33792" cy="36122"/>
          </a:xfrm>
          <a:custGeom>
            <a:avLst/>
            <a:gdLst>
              <a:gd name="connsiteX0" fmla="*/ 15148 w 33792"/>
              <a:gd name="connsiteY0" fmla="*/ 36123 h 36122"/>
              <a:gd name="connsiteX1" fmla="*/ 0 w 33792"/>
              <a:gd name="connsiteY1" fmla="*/ 36123 h 36122"/>
              <a:gd name="connsiteX2" fmla="*/ 18644 w 33792"/>
              <a:gd name="connsiteY2" fmla="*/ 17479 h 36122"/>
              <a:gd name="connsiteX3" fmla="*/ 0 w 33792"/>
              <a:gd name="connsiteY3" fmla="*/ 0 h 36122"/>
              <a:gd name="connsiteX4" fmla="*/ 16313 w 33792"/>
              <a:gd name="connsiteY4" fmla="*/ 0 h 36122"/>
              <a:gd name="connsiteX5" fmla="*/ 33792 w 33792"/>
              <a:gd name="connsiteY5" fmla="*/ 17479 h 3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92" h="36122">
                <a:moveTo>
                  <a:pt x="15148" y="36123"/>
                </a:moveTo>
                <a:lnTo>
                  <a:pt x="0" y="36123"/>
                </a:lnTo>
                <a:lnTo>
                  <a:pt x="18644" y="17479"/>
                </a:lnTo>
                <a:lnTo>
                  <a:pt x="0" y="0"/>
                </a:lnTo>
                <a:lnTo>
                  <a:pt x="16313" y="0"/>
                </a:lnTo>
                <a:lnTo>
                  <a:pt x="33792" y="17479"/>
                </a:lnTo>
                <a:close/>
              </a:path>
            </a:pathLst>
          </a:custGeom>
          <a:solidFill>
            <a:srgbClr val="EEF2F5"/>
          </a:solidFill>
          <a:ln w="11643" cap="flat">
            <a:noFill/>
            <a:prstDash val="solid"/>
            <a:miter/>
          </a:ln>
        </p:spPr>
        <p:txBody>
          <a:bodyPr rtlCol="0" anchor="ctr"/>
          <a:lstStyle/>
          <a:p>
            <a:endParaRPr lang="de-DE"/>
          </a:p>
        </p:txBody>
      </p:sp>
      <p:sp>
        <p:nvSpPr>
          <p:cNvPr id="321" name="Freihandform: Form 320">
            <a:extLst>
              <a:ext uri="{FF2B5EF4-FFF2-40B4-BE49-F238E27FC236}">
                <a16:creationId xmlns:a16="http://schemas.microsoft.com/office/drawing/2014/main" id="{1807184F-5BFC-46A4-B573-61D79451EAFB}"/>
              </a:ext>
            </a:extLst>
          </p:cNvPr>
          <p:cNvSpPr/>
          <p:nvPr userDrawn="1"/>
        </p:nvSpPr>
        <p:spPr>
          <a:xfrm>
            <a:off x="5602523" y="2082812"/>
            <a:ext cx="50105" cy="54766"/>
          </a:xfrm>
          <a:custGeom>
            <a:avLst/>
            <a:gdLst>
              <a:gd name="connsiteX0" fmla="*/ 22140 w 50105"/>
              <a:gd name="connsiteY0" fmla="*/ 54767 h 54766"/>
              <a:gd name="connsiteX1" fmla="*/ 0 w 50105"/>
              <a:gd name="connsiteY1" fmla="*/ 54767 h 54766"/>
              <a:gd name="connsiteX2" fmla="*/ 26801 w 50105"/>
              <a:gd name="connsiteY2" fmla="*/ 27966 h 54766"/>
              <a:gd name="connsiteX3" fmla="*/ 0 w 50105"/>
              <a:gd name="connsiteY3" fmla="*/ 0 h 54766"/>
              <a:gd name="connsiteX4" fmla="*/ 23305 w 50105"/>
              <a:gd name="connsiteY4" fmla="*/ 0 h 54766"/>
              <a:gd name="connsiteX5" fmla="*/ 50106 w 50105"/>
              <a:gd name="connsiteY5" fmla="*/ 26801 h 5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4765">
                <a:moveTo>
                  <a:pt x="22140" y="54767"/>
                </a:moveTo>
                <a:lnTo>
                  <a:pt x="0" y="54767"/>
                </a:lnTo>
                <a:lnTo>
                  <a:pt x="26801" y="27966"/>
                </a:lnTo>
                <a:lnTo>
                  <a:pt x="0" y="0"/>
                </a:lnTo>
                <a:lnTo>
                  <a:pt x="23305" y="0"/>
                </a:lnTo>
                <a:lnTo>
                  <a:pt x="50106" y="26801"/>
                </a:lnTo>
                <a:close/>
              </a:path>
            </a:pathLst>
          </a:custGeom>
          <a:solidFill>
            <a:srgbClr val="EEF2F5"/>
          </a:solidFill>
          <a:ln w="11643" cap="flat">
            <a:noFill/>
            <a:prstDash val="solid"/>
            <a:miter/>
          </a:ln>
        </p:spPr>
        <p:txBody>
          <a:bodyPr rtlCol="0" anchor="ctr"/>
          <a:lstStyle/>
          <a:p>
            <a:endParaRPr lang="de-DE"/>
          </a:p>
        </p:txBody>
      </p:sp>
      <p:sp>
        <p:nvSpPr>
          <p:cNvPr id="322" name="Freihandform: Form 321">
            <a:extLst>
              <a:ext uri="{FF2B5EF4-FFF2-40B4-BE49-F238E27FC236}">
                <a16:creationId xmlns:a16="http://schemas.microsoft.com/office/drawing/2014/main" id="{C0D0B83B-4824-46BE-8996-93D859654DAF}"/>
              </a:ext>
            </a:extLst>
          </p:cNvPr>
          <p:cNvSpPr/>
          <p:nvPr userDrawn="1"/>
        </p:nvSpPr>
        <p:spPr>
          <a:xfrm>
            <a:off x="5602523" y="2438213"/>
            <a:ext cx="50105" cy="53601"/>
          </a:xfrm>
          <a:custGeom>
            <a:avLst/>
            <a:gdLst>
              <a:gd name="connsiteX0" fmla="*/ 22140 w 50105"/>
              <a:gd name="connsiteY0" fmla="*/ 53601 h 53601"/>
              <a:gd name="connsiteX1" fmla="*/ 0 w 50105"/>
              <a:gd name="connsiteY1" fmla="*/ 53601 h 53601"/>
              <a:gd name="connsiteX2" fmla="*/ 26801 w 50105"/>
              <a:gd name="connsiteY2" fmla="*/ 26801 h 53601"/>
              <a:gd name="connsiteX3" fmla="*/ 0 w 50105"/>
              <a:gd name="connsiteY3" fmla="*/ 0 h 53601"/>
              <a:gd name="connsiteX4" fmla="*/ 23305 w 50105"/>
              <a:gd name="connsiteY4" fmla="*/ 0 h 53601"/>
              <a:gd name="connsiteX5" fmla="*/ 50106 w 50105"/>
              <a:gd name="connsiteY5" fmla="*/ 25635 h 53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3601">
                <a:moveTo>
                  <a:pt x="22140" y="53601"/>
                </a:moveTo>
                <a:lnTo>
                  <a:pt x="0" y="53601"/>
                </a:lnTo>
                <a:lnTo>
                  <a:pt x="26801" y="26801"/>
                </a:lnTo>
                <a:lnTo>
                  <a:pt x="0" y="0"/>
                </a:lnTo>
                <a:lnTo>
                  <a:pt x="23305" y="0"/>
                </a:lnTo>
                <a:lnTo>
                  <a:pt x="50106" y="25635"/>
                </a:lnTo>
                <a:close/>
              </a:path>
            </a:pathLst>
          </a:custGeom>
          <a:solidFill>
            <a:srgbClr val="EEF2F5"/>
          </a:solidFill>
          <a:ln w="11643" cap="flat">
            <a:noFill/>
            <a:prstDash val="solid"/>
            <a:miter/>
          </a:ln>
        </p:spPr>
        <p:txBody>
          <a:bodyPr rtlCol="0" anchor="ctr"/>
          <a:lstStyle/>
          <a:p>
            <a:endParaRPr lang="de-DE"/>
          </a:p>
        </p:txBody>
      </p:sp>
      <p:sp>
        <p:nvSpPr>
          <p:cNvPr id="323" name="Freihandform: Form 322">
            <a:extLst>
              <a:ext uri="{FF2B5EF4-FFF2-40B4-BE49-F238E27FC236}">
                <a16:creationId xmlns:a16="http://schemas.microsoft.com/office/drawing/2014/main" id="{12E80D0E-DA88-4D3B-A304-2437DDA9D26E}"/>
              </a:ext>
            </a:extLst>
          </p:cNvPr>
          <p:cNvSpPr/>
          <p:nvPr userDrawn="1"/>
        </p:nvSpPr>
        <p:spPr>
          <a:xfrm>
            <a:off x="5602523" y="2792448"/>
            <a:ext cx="50105" cy="54766"/>
          </a:xfrm>
          <a:custGeom>
            <a:avLst/>
            <a:gdLst>
              <a:gd name="connsiteX0" fmla="*/ 22140 w 50105"/>
              <a:gd name="connsiteY0" fmla="*/ 54767 h 54766"/>
              <a:gd name="connsiteX1" fmla="*/ 0 w 50105"/>
              <a:gd name="connsiteY1" fmla="*/ 54767 h 54766"/>
              <a:gd name="connsiteX2" fmla="*/ 26801 w 50105"/>
              <a:gd name="connsiteY2" fmla="*/ 27966 h 54766"/>
              <a:gd name="connsiteX3" fmla="*/ 0 w 50105"/>
              <a:gd name="connsiteY3" fmla="*/ 0 h 54766"/>
              <a:gd name="connsiteX4" fmla="*/ 23305 w 50105"/>
              <a:gd name="connsiteY4" fmla="*/ 0 h 54766"/>
              <a:gd name="connsiteX5" fmla="*/ 50106 w 50105"/>
              <a:gd name="connsiteY5" fmla="*/ 26801 h 5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4765">
                <a:moveTo>
                  <a:pt x="22140" y="54767"/>
                </a:moveTo>
                <a:lnTo>
                  <a:pt x="0" y="54767"/>
                </a:lnTo>
                <a:lnTo>
                  <a:pt x="26801" y="27966"/>
                </a:lnTo>
                <a:lnTo>
                  <a:pt x="0" y="0"/>
                </a:lnTo>
                <a:lnTo>
                  <a:pt x="23305" y="0"/>
                </a:lnTo>
                <a:lnTo>
                  <a:pt x="50106" y="26801"/>
                </a:lnTo>
                <a:close/>
              </a:path>
            </a:pathLst>
          </a:custGeom>
          <a:solidFill>
            <a:srgbClr val="EEF2F5"/>
          </a:solidFill>
          <a:ln w="11643" cap="flat">
            <a:noFill/>
            <a:prstDash val="solid"/>
            <a:miter/>
          </a:ln>
        </p:spPr>
        <p:txBody>
          <a:bodyPr rtlCol="0" anchor="ctr"/>
          <a:lstStyle/>
          <a:p>
            <a:endParaRPr lang="de-DE"/>
          </a:p>
        </p:txBody>
      </p:sp>
      <p:sp>
        <p:nvSpPr>
          <p:cNvPr id="324" name="Freihandform: Form 323">
            <a:extLst>
              <a:ext uri="{FF2B5EF4-FFF2-40B4-BE49-F238E27FC236}">
                <a16:creationId xmlns:a16="http://schemas.microsoft.com/office/drawing/2014/main" id="{75F4BC4C-9ADA-43B5-9F89-F834BAC4C3C6}"/>
              </a:ext>
            </a:extLst>
          </p:cNvPr>
          <p:cNvSpPr/>
          <p:nvPr userDrawn="1"/>
        </p:nvSpPr>
        <p:spPr>
          <a:xfrm>
            <a:off x="5602523" y="3147849"/>
            <a:ext cx="50105" cy="53601"/>
          </a:xfrm>
          <a:custGeom>
            <a:avLst/>
            <a:gdLst>
              <a:gd name="connsiteX0" fmla="*/ 22140 w 50105"/>
              <a:gd name="connsiteY0" fmla="*/ 53601 h 53601"/>
              <a:gd name="connsiteX1" fmla="*/ 0 w 50105"/>
              <a:gd name="connsiteY1" fmla="*/ 53601 h 53601"/>
              <a:gd name="connsiteX2" fmla="*/ 26801 w 50105"/>
              <a:gd name="connsiteY2" fmla="*/ 26801 h 53601"/>
              <a:gd name="connsiteX3" fmla="*/ 0 w 50105"/>
              <a:gd name="connsiteY3" fmla="*/ 0 h 53601"/>
              <a:gd name="connsiteX4" fmla="*/ 23305 w 50105"/>
              <a:gd name="connsiteY4" fmla="*/ 0 h 53601"/>
              <a:gd name="connsiteX5" fmla="*/ 50106 w 50105"/>
              <a:gd name="connsiteY5" fmla="*/ 26801 h 53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3601">
                <a:moveTo>
                  <a:pt x="22140" y="53601"/>
                </a:moveTo>
                <a:lnTo>
                  <a:pt x="0" y="53601"/>
                </a:lnTo>
                <a:lnTo>
                  <a:pt x="26801" y="26801"/>
                </a:lnTo>
                <a:lnTo>
                  <a:pt x="0" y="0"/>
                </a:lnTo>
                <a:lnTo>
                  <a:pt x="23305" y="0"/>
                </a:lnTo>
                <a:lnTo>
                  <a:pt x="50106" y="26801"/>
                </a:lnTo>
                <a:close/>
              </a:path>
            </a:pathLst>
          </a:custGeom>
          <a:solidFill>
            <a:srgbClr val="EEF2F5"/>
          </a:solidFill>
          <a:ln w="11643" cap="flat">
            <a:noFill/>
            <a:prstDash val="solid"/>
            <a:miter/>
          </a:ln>
        </p:spPr>
        <p:txBody>
          <a:bodyPr rtlCol="0" anchor="ctr"/>
          <a:lstStyle/>
          <a:p>
            <a:endParaRPr lang="de-DE"/>
          </a:p>
        </p:txBody>
      </p:sp>
      <p:sp>
        <p:nvSpPr>
          <p:cNvPr id="325" name="Freihandform: Form 324">
            <a:extLst>
              <a:ext uri="{FF2B5EF4-FFF2-40B4-BE49-F238E27FC236}">
                <a16:creationId xmlns:a16="http://schemas.microsoft.com/office/drawing/2014/main" id="{D89D440D-BCDF-43E7-B3AD-4B1C9D100423}"/>
              </a:ext>
            </a:extLst>
          </p:cNvPr>
          <p:cNvSpPr/>
          <p:nvPr userDrawn="1"/>
        </p:nvSpPr>
        <p:spPr>
          <a:xfrm>
            <a:off x="5602523" y="3502084"/>
            <a:ext cx="50105" cy="54766"/>
          </a:xfrm>
          <a:custGeom>
            <a:avLst/>
            <a:gdLst>
              <a:gd name="connsiteX0" fmla="*/ 22140 w 50105"/>
              <a:gd name="connsiteY0" fmla="*/ 54767 h 54766"/>
              <a:gd name="connsiteX1" fmla="*/ 0 w 50105"/>
              <a:gd name="connsiteY1" fmla="*/ 54767 h 54766"/>
              <a:gd name="connsiteX2" fmla="*/ 26801 w 50105"/>
              <a:gd name="connsiteY2" fmla="*/ 27966 h 54766"/>
              <a:gd name="connsiteX3" fmla="*/ 0 w 50105"/>
              <a:gd name="connsiteY3" fmla="*/ 0 h 54766"/>
              <a:gd name="connsiteX4" fmla="*/ 23305 w 50105"/>
              <a:gd name="connsiteY4" fmla="*/ 0 h 54766"/>
              <a:gd name="connsiteX5" fmla="*/ 50106 w 50105"/>
              <a:gd name="connsiteY5" fmla="*/ 26801 h 5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4765">
                <a:moveTo>
                  <a:pt x="22140" y="54767"/>
                </a:moveTo>
                <a:lnTo>
                  <a:pt x="0" y="54767"/>
                </a:lnTo>
                <a:lnTo>
                  <a:pt x="26801" y="27966"/>
                </a:lnTo>
                <a:lnTo>
                  <a:pt x="0" y="0"/>
                </a:lnTo>
                <a:lnTo>
                  <a:pt x="23305" y="0"/>
                </a:lnTo>
                <a:lnTo>
                  <a:pt x="50106" y="26801"/>
                </a:lnTo>
                <a:close/>
              </a:path>
            </a:pathLst>
          </a:custGeom>
          <a:solidFill>
            <a:srgbClr val="EEF2F5"/>
          </a:solidFill>
          <a:ln w="11643" cap="flat">
            <a:noFill/>
            <a:prstDash val="solid"/>
            <a:miter/>
          </a:ln>
        </p:spPr>
        <p:txBody>
          <a:bodyPr rtlCol="0" anchor="ctr"/>
          <a:lstStyle/>
          <a:p>
            <a:endParaRPr lang="de-DE"/>
          </a:p>
        </p:txBody>
      </p:sp>
      <p:sp>
        <p:nvSpPr>
          <p:cNvPr id="326" name="Freihandform: Form 325">
            <a:extLst>
              <a:ext uri="{FF2B5EF4-FFF2-40B4-BE49-F238E27FC236}">
                <a16:creationId xmlns:a16="http://schemas.microsoft.com/office/drawing/2014/main" id="{95E32A0E-3A5A-4B5B-A0A6-86D6905C4904}"/>
              </a:ext>
            </a:extLst>
          </p:cNvPr>
          <p:cNvSpPr/>
          <p:nvPr userDrawn="1"/>
        </p:nvSpPr>
        <p:spPr>
          <a:xfrm>
            <a:off x="5602523" y="5630993"/>
            <a:ext cx="50105" cy="54766"/>
          </a:xfrm>
          <a:custGeom>
            <a:avLst/>
            <a:gdLst>
              <a:gd name="connsiteX0" fmla="*/ 22140 w 50105"/>
              <a:gd name="connsiteY0" fmla="*/ 54766 h 54766"/>
              <a:gd name="connsiteX1" fmla="*/ 0 w 50105"/>
              <a:gd name="connsiteY1" fmla="*/ 54766 h 54766"/>
              <a:gd name="connsiteX2" fmla="*/ 26801 w 50105"/>
              <a:gd name="connsiteY2" fmla="*/ 27966 h 54766"/>
              <a:gd name="connsiteX3" fmla="*/ 0 w 50105"/>
              <a:gd name="connsiteY3" fmla="*/ 0 h 54766"/>
              <a:gd name="connsiteX4" fmla="*/ 23305 w 50105"/>
              <a:gd name="connsiteY4" fmla="*/ 0 h 54766"/>
              <a:gd name="connsiteX5" fmla="*/ 50106 w 50105"/>
              <a:gd name="connsiteY5" fmla="*/ 26801 h 5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4765">
                <a:moveTo>
                  <a:pt x="22140" y="54766"/>
                </a:moveTo>
                <a:lnTo>
                  <a:pt x="0" y="54766"/>
                </a:lnTo>
                <a:lnTo>
                  <a:pt x="26801" y="27966"/>
                </a:lnTo>
                <a:lnTo>
                  <a:pt x="0" y="0"/>
                </a:lnTo>
                <a:lnTo>
                  <a:pt x="23305" y="0"/>
                </a:lnTo>
                <a:lnTo>
                  <a:pt x="50106" y="26801"/>
                </a:lnTo>
                <a:close/>
              </a:path>
            </a:pathLst>
          </a:custGeom>
          <a:solidFill>
            <a:srgbClr val="EEF2F5"/>
          </a:solidFill>
          <a:ln w="11643" cap="flat">
            <a:noFill/>
            <a:prstDash val="solid"/>
            <a:miter/>
          </a:ln>
        </p:spPr>
        <p:txBody>
          <a:bodyPr rtlCol="0" anchor="ctr"/>
          <a:lstStyle/>
          <a:p>
            <a:endParaRPr lang="de-DE"/>
          </a:p>
        </p:txBody>
      </p:sp>
      <p:sp>
        <p:nvSpPr>
          <p:cNvPr id="327" name="Freihandform: Form 326">
            <a:extLst>
              <a:ext uri="{FF2B5EF4-FFF2-40B4-BE49-F238E27FC236}">
                <a16:creationId xmlns:a16="http://schemas.microsoft.com/office/drawing/2014/main" id="{85895A0B-5B7D-4040-8BB1-5C871FAB6EE7}"/>
              </a:ext>
            </a:extLst>
          </p:cNvPr>
          <p:cNvSpPr/>
          <p:nvPr userDrawn="1"/>
        </p:nvSpPr>
        <p:spPr>
          <a:xfrm>
            <a:off x="5602523" y="5986393"/>
            <a:ext cx="50105" cy="54766"/>
          </a:xfrm>
          <a:custGeom>
            <a:avLst/>
            <a:gdLst>
              <a:gd name="connsiteX0" fmla="*/ 22140 w 50105"/>
              <a:gd name="connsiteY0" fmla="*/ 54766 h 54766"/>
              <a:gd name="connsiteX1" fmla="*/ 0 w 50105"/>
              <a:gd name="connsiteY1" fmla="*/ 54766 h 54766"/>
              <a:gd name="connsiteX2" fmla="*/ 26801 w 50105"/>
              <a:gd name="connsiteY2" fmla="*/ 26801 h 54766"/>
              <a:gd name="connsiteX3" fmla="*/ 0 w 50105"/>
              <a:gd name="connsiteY3" fmla="*/ 0 h 54766"/>
              <a:gd name="connsiteX4" fmla="*/ 23305 w 50105"/>
              <a:gd name="connsiteY4" fmla="*/ 0 h 54766"/>
              <a:gd name="connsiteX5" fmla="*/ 50106 w 50105"/>
              <a:gd name="connsiteY5" fmla="*/ 26801 h 5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4765">
                <a:moveTo>
                  <a:pt x="22140" y="54766"/>
                </a:moveTo>
                <a:lnTo>
                  <a:pt x="0" y="54766"/>
                </a:lnTo>
                <a:lnTo>
                  <a:pt x="26801" y="26801"/>
                </a:lnTo>
                <a:lnTo>
                  <a:pt x="0" y="0"/>
                </a:lnTo>
                <a:lnTo>
                  <a:pt x="23305" y="0"/>
                </a:lnTo>
                <a:lnTo>
                  <a:pt x="50106" y="26801"/>
                </a:lnTo>
                <a:close/>
              </a:path>
            </a:pathLst>
          </a:custGeom>
          <a:solidFill>
            <a:srgbClr val="EEF2F5"/>
          </a:solidFill>
          <a:ln w="11643" cap="flat">
            <a:noFill/>
            <a:prstDash val="solid"/>
            <a:miter/>
          </a:ln>
        </p:spPr>
        <p:txBody>
          <a:bodyPr rtlCol="0" anchor="ctr"/>
          <a:lstStyle/>
          <a:p>
            <a:endParaRPr lang="de-DE"/>
          </a:p>
        </p:txBody>
      </p:sp>
      <p:sp>
        <p:nvSpPr>
          <p:cNvPr id="328" name="Freihandform: Form 327">
            <a:extLst>
              <a:ext uri="{FF2B5EF4-FFF2-40B4-BE49-F238E27FC236}">
                <a16:creationId xmlns:a16="http://schemas.microsoft.com/office/drawing/2014/main" id="{F82EB456-ACBE-4744-9452-8F06AAB03489}"/>
              </a:ext>
            </a:extLst>
          </p:cNvPr>
          <p:cNvSpPr/>
          <p:nvPr userDrawn="1"/>
        </p:nvSpPr>
        <p:spPr>
          <a:xfrm>
            <a:off x="5602523" y="6340628"/>
            <a:ext cx="50105" cy="54766"/>
          </a:xfrm>
          <a:custGeom>
            <a:avLst/>
            <a:gdLst>
              <a:gd name="connsiteX0" fmla="*/ 22140 w 50105"/>
              <a:gd name="connsiteY0" fmla="*/ 54766 h 54766"/>
              <a:gd name="connsiteX1" fmla="*/ 0 w 50105"/>
              <a:gd name="connsiteY1" fmla="*/ 54766 h 54766"/>
              <a:gd name="connsiteX2" fmla="*/ 26801 w 50105"/>
              <a:gd name="connsiteY2" fmla="*/ 27966 h 54766"/>
              <a:gd name="connsiteX3" fmla="*/ 0 w 50105"/>
              <a:gd name="connsiteY3" fmla="*/ 0 h 54766"/>
              <a:gd name="connsiteX4" fmla="*/ 23305 w 50105"/>
              <a:gd name="connsiteY4" fmla="*/ 0 h 54766"/>
              <a:gd name="connsiteX5" fmla="*/ 50106 w 50105"/>
              <a:gd name="connsiteY5" fmla="*/ 26801 h 5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4765">
                <a:moveTo>
                  <a:pt x="22140" y="54766"/>
                </a:moveTo>
                <a:lnTo>
                  <a:pt x="0" y="54766"/>
                </a:lnTo>
                <a:lnTo>
                  <a:pt x="26801" y="27966"/>
                </a:lnTo>
                <a:lnTo>
                  <a:pt x="0" y="0"/>
                </a:lnTo>
                <a:lnTo>
                  <a:pt x="23305" y="0"/>
                </a:lnTo>
                <a:lnTo>
                  <a:pt x="50106" y="26801"/>
                </a:lnTo>
                <a:close/>
              </a:path>
            </a:pathLst>
          </a:custGeom>
          <a:solidFill>
            <a:srgbClr val="EEF2F5"/>
          </a:solidFill>
          <a:ln w="11643" cap="flat">
            <a:noFill/>
            <a:prstDash val="solid"/>
            <a:miter/>
          </a:ln>
        </p:spPr>
        <p:txBody>
          <a:bodyPr rtlCol="0" anchor="ctr"/>
          <a:lstStyle/>
          <a:p>
            <a:endParaRPr lang="de-DE"/>
          </a:p>
        </p:txBody>
      </p:sp>
      <p:sp>
        <p:nvSpPr>
          <p:cNvPr id="329" name="Freihandform: Form 328">
            <a:extLst>
              <a:ext uri="{FF2B5EF4-FFF2-40B4-BE49-F238E27FC236}">
                <a16:creationId xmlns:a16="http://schemas.microsoft.com/office/drawing/2014/main" id="{4FED52AE-417D-492D-96F2-E2A5734595A3}"/>
              </a:ext>
            </a:extLst>
          </p:cNvPr>
          <p:cNvSpPr/>
          <p:nvPr userDrawn="1"/>
        </p:nvSpPr>
        <p:spPr>
          <a:xfrm>
            <a:off x="5602523" y="6696029"/>
            <a:ext cx="50105" cy="54766"/>
          </a:xfrm>
          <a:custGeom>
            <a:avLst/>
            <a:gdLst>
              <a:gd name="connsiteX0" fmla="*/ 22140 w 50105"/>
              <a:gd name="connsiteY0" fmla="*/ 54766 h 54766"/>
              <a:gd name="connsiteX1" fmla="*/ 0 w 50105"/>
              <a:gd name="connsiteY1" fmla="*/ 54766 h 54766"/>
              <a:gd name="connsiteX2" fmla="*/ 26801 w 50105"/>
              <a:gd name="connsiteY2" fmla="*/ 27966 h 54766"/>
              <a:gd name="connsiteX3" fmla="*/ 0 w 50105"/>
              <a:gd name="connsiteY3" fmla="*/ 0 h 54766"/>
              <a:gd name="connsiteX4" fmla="*/ 23305 w 50105"/>
              <a:gd name="connsiteY4" fmla="*/ 0 h 54766"/>
              <a:gd name="connsiteX5" fmla="*/ 50106 w 50105"/>
              <a:gd name="connsiteY5" fmla="*/ 26801 h 5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4765">
                <a:moveTo>
                  <a:pt x="22140" y="54766"/>
                </a:moveTo>
                <a:lnTo>
                  <a:pt x="0" y="54766"/>
                </a:lnTo>
                <a:lnTo>
                  <a:pt x="26801" y="27966"/>
                </a:lnTo>
                <a:lnTo>
                  <a:pt x="0" y="0"/>
                </a:lnTo>
                <a:lnTo>
                  <a:pt x="23305" y="0"/>
                </a:lnTo>
                <a:lnTo>
                  <a:pt x="50106" y="26801"/>
                </a:lnTo>
                <a:close/>
              </a:path>
            </a:pathLst>
          </a:custGeom>
          <a:solidFill>
            <a:srgbClr val="EEF2F5"/>
          </a:solidFill>
          <a:ln w="11643" cap="flat">
            <a:noFill/>
            <a:prstDash val="solid"/>
            <a:miter/>
          </a:ln>
        </p:spPr>
        <p:txBody>
          <a:bodyPr rtlCol="0" anchor="ctr"/>
          <a:lstStyle/>
          <a:p>
            <a:endParaRPr lang="de-DE"/>
          </a:p>
        </p:txBody>
      </p:sp>
      <p:sp>
        <p:nvSpPr>
          <p:cNvPr id="330" name="Freihandform: Form 329">
            <a:extLst>
              <a:ext uri="{FF2B5EF4-FFF2-40B4-BE49-F238E27FC236}">
                <a16:creationId xmlns:a16="http://schemas.microsoft.com/office/drawing/2014/main" id="{BA0E4B54-661A-44F6-9401-68AED3542315}"/>
              </a:ext>
            </a:extLst>
          </p:cNvPr>
          <p:cNvSpPr/>
          <p:nvPr userDrawn="1"/>
        </p:nvSpPr>
        <p:spPr>
          <a:xfrm>
            <a:off x="5948602" y="2073490"/>
            <a:ext cx="66419" cy="72245"/>
          </a:xfrm>
          <a:custGeom>
            <a:avLst/>
            <a:gdLst>
              <a:gd name="connsiteX0" fmla="*/ 30297 w 66419"/>
              <a:gd name="connsiteY0" fmla="*/ 72245 h 72245"/>
              <a:gd name="connsiteX1" fmla="*/ 0 w 66419"/>
              <a:gd name="connsiteY1" fmla="*/ 72245 h 72245"/>
              <a:gd name="connsiteX2" fmla="*/ 36123 w 66419"/>
              <a:gd name="connsiteY2" fmla="*/ 37288 h 72245"/>
              <a:gd name="connsiteX3" fmla="*/ 0 w 66419"/>
              <a:gd name="connsiteY3" fmla="*/ 0 h 72245"/>
              <a:gd name="connsiteX4" fmla="*/ 31462 w 66419"/>
              <a:gd name="connsiteY4" fmla="*/ 0 h 72245"/>
              <a:gd name="connsiteX5" fmla="*/ 66419 w 66419"/>
              <a:gd name="connsiteY5" fmla="*/ 36123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5"/>
                </a:moveTo>
                <a:lnTo>
                  <a:pt x="0" y="72245"/>
                </a:lnTo>
                <a:lnTo>
                  <a:pt x="36123" y="37288"/>
                </a:lnTo>
                <a:lnTo>
                  <a:pt x="0" y="0"/>
                </a:lnTo>
                <a:lnTo>
                  <a:pt x="31462" y="0"/>
                </a:lnTo>
                <a:lnTo>
                  <a:pt x="66419" y="36123"/>
                </a:lnTo>
                <a:close/>
              </a:path>
            </a:pathLst>
          </a:custGeom>
          <a:solidFill>
            <a:srgbClr val="EEF2F5"/>
          </a:solidFill>
          <a:ln w="11643" cap="flat">
            <a:noFill/>
            <a:prstDash val="solid"/>
            <a:miter/>
          </a:ln>
        </p:spPr>
        <p:txBody>
          <a:bodyPr rtlCol="0" anchor="ctr"/>
          <a:lstStyle/>
          <a:p>
            <a:endParaRPr lang="de-DE"/>
          </a:p>
        </p:txBody>
      </p:sp>
      <p:sp>
        <p:nvSpPr>
          <p:cNvPr id="331" name="Freihandform: Form 330">
            <a:extLst>
              <a:ext uri="{FF2B5EF4-FFF2-40B4-BE49-F238E27FC236}">
                <a16:creationId xmlns:a16="http://schemas.microsoft.com/office/drawing/2014/main" id="{AF09B959-FEBB-4D08-B203-97FE6AE60305}"/>
              </a:ext>
            </a:extLst>
          </p:cNvPr>
          <p:cNvSpPr/>
          <p:nvPr userDrawn="1"/>
        </p:nvSpPr>
        <p:spPr>
          <a:xfrm>
            <a:off x="5948602" y="2428891"/>
            <a:ext cx="66419" cy="72245"/>
          </a:xfrm>
          <a:custGeom>
            <a:avLst/>
            <a:gdLst>
              <a:gd name="connsiteX0" fmla="*/ 30297 w 66419"/>
              <a:gd name="connsiteY0" fmla="*/ 72245 h 72245"/>
              <a:gd name="connsiteX1" fmla="*/ 0 w 66419"/>
              <a:gd name="connsiteY1" fmla="*/ 72245 h 72245"/>
              <a:gd name="connsiteX2" fmla="*/ 36123 w 66419"/>
              <a:gd name="connsiteY2" fmla="*/ 36123 h 72245"/>
              <a:gd name="connsiteX3" fmla="*/ 0 w 66419"/>
              <a:gd name="connsiteY3" fmla="*/ 0 h 72245"/>
              <a:gd name="connsiteX4" fmla="*/ 31462 w 66419"/>
              <a:gd name="connsiteY4" fmla="*/ 0 h 72245"/>
              <a:gd name="connsiteX5" fmla="*/ 66419 w 66419"/>
              <a:gd name="connsiteY5" fmla="*/ 34957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5"/>
                </a:moveTo>
                <a:lnTo>
                  <a:pt x="0" y="72245"/>
                </a:lnTo>
                <a:lnTo>
                  <a:pt x="36123" y="36123"/>
                </a:lnTo>
                <a:lnTo>
                  <a:pt x="0" y="0"/>
                </a:lnTo>
                <a:lnTo>
                  <a:pt x="31462" y="0"/>
                </a:lnTo>
                <a:lnTo>
                  <a:pt x="66419" y="34957"/>
                </a:lnTo>
                <a:close/>
              </a:path>
            </a:pathLst>
          </a:custGeom>
          <a:solidFill>
            <a:srgbClr val="EEF2F5"/>
          </a:solidFill>
          <a:ln w="11643" cap="flat">
            <a:noFill/>
            <a:prstDash val="solid"/>
            <a:miter/>
          </a:ln>
        </p:spPr>
        <p:txBody>
          <a:bodyPr rtlCol="0" anchor="ctr"/>
          <a:lstStyle/>
          <a:p>
            <a:endParaRPr lang="de-DE"/>
          </a:p>
        </p:txBody>
      </p:sp>
      <p:sp>
        <p:nvSpPr>
          <p:cNvPr id="332" name="Freihandform: Form 331">
            <a:extLst>
              <a:ext uri="{FF2B5EF4-FFF2-40B4-BE49-F238E27FC236}">
                <a16:creationId xmlns:a16="http://schemas.microsoft.com/office/drawing/2014/main" id="{8BDF68B8-5B5A-4BE8-90ED-91D64FF78D61}"/>
              </a:ext>
            </a:extLst>
          </p:cNvPr>
          <p:cNvSpPr/>
          <p:nvPr userDrawn="1"/>
        </p:nvSpPr>
        <p:spPr>
          <a:xfrm>
            <a:off x="5948602" y="2783126"/>
            <a:ext cx="66419" cy="72245"/>
          </a:xfrm>
          <a:custGeom>
            <a:avLst/>
            <a:gdLst>
              <a:gd name="connsiteX0" fmla="*/ 30297 w 66419"/>
              <a:gd name="connsiteY0" fmla="*/ 72245 h 72245"/>
              <a:gd name="connsiteX1" fmla="*/ 0 w 66419"/>
              <a:gd name="connsiteY1" fmla="*/ 72245 h 72245"/>
              <a:gd name="connsiteX2" fmla="*/ 36123 w 66419"/>
              <a:gd name="connsiteY2" fmla="*/ 37288 h 72245"/>
              <a:gd name="connsiteX3" fmla="*/ 0 w 66419"/>
              <a:gd name="connsiteY3" fmla="*/ 0 h 72245"/>
              <a:gd name="connsiteX4" fmla="*/ 31462 w 66419"/>
              <a:gd name="connsiteY4" fmla="*/ 0 h 72245"/>
              <a:gd name="connsiteX5" fmla="*/ 66419 w 66419"/>
              <a:gd name="connsiteY5" fmla="*/ 36123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5"/>
                </a:moveTo>
                <a:lnTo>
                  <a:pt x="0" y="72245"/>
                </a:lnTo>
                <a:lnTo>
                  <a:pt x="36123" y="37288"/>
                </a:lnTo>
                <a:lnTo>
                  <a:pt x="0" y="0"/>
                </a:lnTo>
                <a:lnTo>
                  <a:pt x="31462" y="0"/>
                </a:lnTo>
                <a:lnTo>
                  <a:pt x="66419" y="36123"/>
                </a:lnTo>
                <a:close/>
              </a:path>
            </a:pathLst>
          </a:custGeom>
          <a:solidFill>
            <a:srgbClr val="EEF2F5"/>
          </a:solidFill>
          <a:ln w="11643" cap="flat">
            <a:noFill/>
            <a:prstDash val="solid"/>
            <a:miter/>
          </a:ln>
        </p:spPr>
        <p:txBody>
          <a:bodyPr rtlCol="0" anchor="ctr"/>
          <a:lstStyle/>
          <a:p>
            <a:endParaRPr lang="de-DE"/>
          </a:p>
        </p:txBody>
      </p:sp>
      <p:sp>
        <p:nvSpPr>
          <p:cNvPr id="333" name="Freihandform: Form 332">
            <a:extLst>
              <a:ext uri="{FF2B5EF4-FFF2-40B4-BE49-F238E27FC236}">
                <a16:creationId xmlns:a16="http://schemas.microsoft.com/office/drawing/2014/main" id="{EC037E08-87A0-4AFA-8BB8-AF8BC0B89644}"/>
              </a:ext>
            </a:extLst>
          </p:cNvPr>
          <p:cNvSpPr/>
          <p:nvPr userDrawn="1"/>
        </p:nvSpPr>
        <p:spPr>
          <a:xfrm>
            <a:off x="5948602" y="3138527"/>
            <a:ext cx="66419" cy="72245"/>
          </a:xfrm>
          <a:custGeom>
            <a:avLst/>
            <a:gdLst>
              <a:gd name="connsiteX0" fmla="*/ 30297 w 66419"/>
              <a:gd name="connsiteY0" fmla="*/ 72245 h 72245"/>
              <a:gd name="connsiteX1" fmla="*/ 0 w 66419"/>
              <a:gd name="connsiteY1" fmla="*/ 72245 h 72245"/>
              <a:gd name="connsiteX2" fmla="*/ 36123 w 66419"/>
              <a:gd name="connsiteY2" fmla="*/ 36123 h 72245"/>
              <a:gd name="connsiteX3" fmla="*/ 0 w 66419"/>
              <a:gd name="connsiteY3" fmla="*/ 0 h 72245"/>
              <a:gd name="connsiteX4" fmla="*/ 31462 w 66419"/>
              <a:gd name="connsiteY4" fmla="*/ 0 h 72245"/>
              <a:gd name="connsiteX5" fmla="*/ 66419 w 66419"/>
              <a:gd name="connsiteY5" fmla="*/ 34957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5"/>
                </a:moveTo>
                <a:lnTo>
                  <a:pt x="0" y="72245"/>
                </a:lnTo>
                <a:lnTo>
                  <a:pt x="36123" y="36123"/>
                </a:lnTo>
                <a:lnTo>
                  <a:pt x="0" y="0"/>
                </a:lnTo>
                <a:lnTo>
                  <a:pt x="31462" y="0"/>
                </a:lnTo>
                <a:lnTo>
                  <a:pt x="66419" y="34957"/>
                </a:lnTo>
                <a:close/>
              </a:path>
            </a:pathLst>
          </a:custGeom>
          <a:solidFill>
            <a:srgbClr val="EEF2F5"/>
          </a:solidFill>
          <a:ln w="11643" cap="flat">
            <a:noFill/>
            <a:prstDash val="solid"/>
            <a:miter/>
          </a:ln>
        </p:spPr>
        <p:txBody>
          <a:bodyPr rtlCol="0" anchor="ctr"/>
          <a:lstStyle/>
          <a:p>
            <a:endParaRPr lang="de-DE"/>
          </a:p>
        </p:txBody>
      </p:sp>
      <p:sp>
        <p:nvSpPr>
          <p:cNvPr id="334" name="Freihandform: Form 333">
            <a:extLst>
              <a:ext uri="{FF2B5EF4-FFF2-40B4-BE49-F238E27FC236}">
                <a16:creationId xmlns:a16="http://schemas.microsoft.com/office/drawing/2014/main" id="{296B3953-1098-4657-B23B-8935F1D2DAB8}"/>
              </a:ext>
            </a:extLst>
          </p:cNvPr>
          <p:cNvSpPr/>
          <p:nvPr userDrawn="1"/>
        </p:nvSpPr>
        <p:spPr>
          <a:xfrm>
            <a:off x="5948602" y="3492762"/>
            <a:ext cx="66419" cy="73410"/>
          </a:xfrm>
          <a:custGeom>
            <a:avLst/>
            <a:gdLst>
              <a:gd name="connsiteX0" fmla="*/ 30297 w 66419"/>
              <a:gd name="connsiteY0" fmla="*/ 73411 h 73410"/>
              <a:gd name="connsiteX1" fmla="*/ 0 w 66419"/>
              <a:gd name="connsiteY1" fmla="*/ 73411 h 73410"/>
              <a:gd name="connsiteX2" fmla="*/ 36123 w 66419"/>
              <a:gd name="connsiteY2" fmla="*/ 37288 h 73410"/>
              <a:gd name="connsiteX3" fmla="*/ 0 w 66419"/>
              <a:gd name="connsiteY3" fmla="*/ 0 h 73410"/>
              <a:gd name="connsiteX4" fmla="*/ 31462 w 66419"/>
              <a:gd name="connsiteY4" fmla="*/ 0 h 73410"/>
              <a:gd name="connsiteX5" fmla="*/ 66419 w 66419"/>
              <a:gd name="connsiteY5" fmla="*/ 36123 h 73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3410">
                <a:moveTo>
                  <a:pt x="30297" y="73411"/>
                </a:moveTo>
                <a:lnTo>
                  <a:pt x="0" y="73411"/>
                </a:lnTo>
                <a:lnTo>
                  <a:pt x="36123" y="37288"/>
                </a:lnTo>
                <a:lnTo>
                  <a:pt x="0" y="0"/>
                </a:lnTo>
                <a:lnTo>
                  <a:pt x="31462" y="0"/>
                </a:lnTo>
                <a:lnTo>
                  <a:pt x="66419" y="36123"/>
                </a:lnTo>
                <a:close/>
              </a:path>
            </a:pathLst>
          </a:custGeom>
          <a:solidFill>
            <a:srgbClr val="EEF2F5"/>
          </a:solidFill>
          <a:ln w="11643" cap="flat">
            <a:noFill/>
            <a:prstDash val="solid"/>
            <a:miter/>
          </a:ln>
        </p:spPr>
        <p:txBody>
          <a:bodyPr rtlCol="0" anchor="ctr"/>
          <a:lstStyle/>
          <a:p>
            <a:endParaRPr lang="de-DE"/>
          </a:p>
        </p:txBody>
      </p:sp>
      <p:sp>
        <p:nvSpPr>
          <p:cNvPr id="335" name="Freihandform: Form 334">
            <a:extLst>
              <a:ext uri="{FF2B5EF4-FFF2-40B4-BE49-F238E27FC236}">
                <a16:creationId xmlns:a16="http://schemas.microsoft.com/office/drawing/2014/main" id="{C606BDC9-DBDE-4ACF-8BF9-ACC957E4520D}"/>
              </a:ext>
            </a:extLst>
          </p:cNvPr>
          <p:cNvSpPr/>
          <p:nvPr userDrawn="1"/>
        </p:nvSpPr>
        <p:spPr>
          <a:xfrm>
            <a:off x="5948602" y="3848163"/>
            <a:ext cx="66419" cy="72245"/>
          </a:xfrm>
          <a:custGeom>
            <a:avLst/>
            <a:gdLst>
              <a:gd name="connsiteX0" fmla="*/ 30297 w 66419"/>
              <a:gd name="connsiteY0" fmla="*/ 72245 h 72245"/>
              <a:gd name="connsiteX1" fmla="*/ 0 w 66419"/>
              <a:gd name="connsiteY1" fmla="*/ 72245 h 72245"/>
              <a:gd name="connsiteX2" fmla="*/ 36123 w 66419"/>
              <a:gd name="connsiteY2" fmla="*/ 36123 h 72245"/>
              <a:gd name="connsiteX3" fmla="*/ 0 w 66419"/>
              <a:gd name="connsiteY3" fmla="*/ 0 h 72245"/>
              <a:gd name="connsiteX4" fmla="*/ 31462 w 66419"/>
              <a:gd name="connsiteY4" fmla="*/ 0 h 72245"/>
              <a:gd name="connsiteX5" fmla="*/ 66419 w 66419"/>
              <a:gd name="connsiteY5" fmla="*/ 34957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5"/>
                </a:moveTo>
                <a:lnTo>
                  <a:pt x="0" y="72245"/>
                </a:lnTo>
                <a:lnTo>
                  <a:pt x="36123" y="36123"/>
                </a:lnTo>
                <a:lnTo>
                  <a:pt x="0" y="0"/>
                </a:lnTo>
                <a:lnTo>
                  <a:pt x="31462" y="0"/>
                </a:lnTo>
                <a:lnTo>
                  <a:pt x="66419" y="34957"/>
                </a:lnTo>
                <a:close/>
              </a:path>
            </a:pathLst>
          </a:custGeom>
          <a:solidFill>
            <a:srgbClr val="EEF2F5"/>
          </a:solidFill>
          <a:ln w="11643" cap="flat">
            <a:noFill/>
            <a:prstDash val="solid"/>
            <a:miter/>
          </a:ln>
        </p:spPr>
        <p:txBody>
          <a:bodyPr rtlCol="0" anchor="ctr"/>
          <a:lstStyle/>
          <a:p>
            <a:endParaRPr lang="de-DE"/>
          </a:p>
        </p:txBody>
      </p:sp>
      <p:sp>
        <p:nvSpPr>
          <p:cNvPr id="336" name="Freihandform: Form 335">
            <a:extLst>
              <a:ext uri="{FF2B5EF4-FFF2-40B4-BE49-F238E27FC236}">
                <a16:creationId xmlns:a16="http://schemas.microsoft.com/office/drawing/2014/main" id="{57A6FA3E-F4B9-4859-84E1-85F5F21681EC}"/>
              </a:ext>
            </a:extLst>
          </p:cNvPr>
          <p:cNvSpPr/>
          <p:nvPr userDrawn="1"/>
        </p:nvSpPr>
        <p:spPr>
          <a:xfrm>
            <a:off x="5948602" y="5267435"/>
            <a:ext cx="66419" cy="72245"/>
          </a:xfrm>
          <a:custGeom>
            <a:avLst/>
            <a:gdLst>
              <a:gd name="connsiteX0" fmla="*/ 30297 w 66419"/>
              <a:gd name="connsiteY0" fmla="*/ 72246 h 72245"/>
              <a:gd name="connsiteX1" fmla="*/ 0 w 66419"/>
              <a:gd name="connsiteY1" fmla="*/ 72246 h 72245"/>
              <a:gd name="connsiteX2" fmla="*/ 36123 w 66419"/>
              <a:gd name="connsiteY2" fmla="*/ 36123 h 72245"/>
              <a:gd name="connsiteX3" fmla="*/ 0 w 66419"/>
              <a:gd name="connsiteY3" fmla="*/ 0 h 72245"/>
              <a:gd name="connsiteX4" fmla="*/ 31462 w 66419"/>
              <a:gd name="connsiteY4" fmla="*/ 0 h 72245"/>
              <a:gd name="connsiteX5" fmla="*/ 66419 w 66419"/>
              <a:gd name="connsiteY5" fmla="*/ 36123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6"/>
                </a:moveTo>
                <a:lnTo>
                  <a:pt x="0" y="72246"/>
                </a:lnTo>
                <a:lnTo>
                  <a:pt x="36123" y="36123"/>
                </a:lnTo>
                <a:lnTo>
                  <a:pt x="0" y="0"/>
                </a:lnTo>
                <a:lnTo>
                  <a:pt x="31462" y="0"/>
                </a:lnTo>
                <a:lnTo>
                  <a:pt x="66419" y="36123"/>
                </a:lnTo>
                <a:close/>
              </a:path>
            </a:pathLst>
          </a:custGeom>
          <a:solidFill>
            <a:srgbClr val="EEF2F5"/>
          </a:solidFill>
          <a:ln w="11643" cap="flat">
            <a:noFill/>
            <a:prstDash val="solid"/>
            <a:miter/>
          </a:ln>
        </p:spPr>
        <p:txBody>
          <a:bodyPr rtlCol="0" anchor="ctr"/>
          <a:lstStyle/>
          <a:p>
            <a:endParaRPr lang="de-DE"/>
          </a:p>
        </p:txBody>
      </p:sp>
      <p:sp>
        <p:nvSpPr>
          <p:cNvPr id="337" name="Freihandform: Form 336">
            <a:extLst>
              <a:ext uri="{FF2B5EF4-FFF2-40B4-BE49-F238E27FC236}">
                <a16:creationId xmlns:a16="http://schemas.microsoft.com/office/drawing/2014/main" id="{D4B1D857-1C19-4BB3-BEDF-7C0AF8F86DAA}"/>
              </a:ext>
            </a:extLst>
          </p:cNvPr>
          <p:cNvSpPr/>
          <p:nvPr userDrawn="1"/>
        </p:nvSpPr>
        <p:spPr>
          <a:xfrm>
            <a:off x="5948602" y="5622836"/>
            <a:ext cx="66419" cy="72245"/>
          </a:xfrm>
          <a:custGeom>
            <a:avLst/>
            <a:gdLst>
              <a:gd name="connsiteX0" fmla="*/ 30297 w 66419"/>
              <a:gd name="connsiteY0" fmla="*/ 72246 h 72245"/>
              <a:gd name="connsiteX1" fmla="*/ 0 w 66419"/>
              <a:gd name="connsiteY1" fmla="*/ 72246 h 72245"/>
              <a:gd name="connsiteX2" fmla="*/ 36123 w 66419"/>
              <a:gd name="connsiteY2" fmla="*/ 36123 h 72245"/>
              <a:gd name="connsiteX3" fmla="*/ 0 w 66419"/>
              <a:gd name="connsiteY3" fmla="*/ 0 h 72245"/>
              <a:gd name="connsiteX4" fmla="*/ 31462 w 66419"/>
              <a:gd name="connsiteY4" fmla="*/ 0 h 72245"/>
              <a:gd name="connsiteX5" fmla="*/ 66419 w 66419"/>
              <a:gd name="connsiteY5" fmla="*/ 34957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6"/>
                </a:moveTo>
                <a:lnTo>
                  <a:pt x="0" y="72246"/>
                </a:lnTo>
                <a:lnTo>
                  <a:pt x="36123" y="36123"/>
                </a:lnTo>
                <a:lnTo>
                  <a:pt x="0" y="0"/>
                </a:lnTo>
                <a:lnTo>
                  <a:pt x="31462" y="0"/>
                </a:lnTo>
                <a:lnTo>
                  <a:pt x="66419" y="34957"/>
                </a:lnTo>
                <a:close/>
              </a:path>
            </a:pathLst>
          </a:custGeom>
          <a:solidFill>
            <a:srgbClr val="EEF2F5"/>
          </a:solidFill>
          <a:ln w="11643" cap="flat">
            <a:noFill/>
            <a:prstDash val="solid"/>
            <a:miter/>
          </a:ln>
        </p:spPr>
        <p:txBody>
          <a:bodyPr rtlCol="0" anchor="ctr"/>
          <a:lstStyle/>
          <a:p>
            <a:endParaRPr lang="de-DE"/>
          </a:p>
        </p:txBody>
      </p:sp>
      <p:sp>
        <p:nvSpPr>
          <p:cNvPr id="338" name="Freihandform: Form 337">
            <a:extLst>
              <a:ext uri="{FF2B5EF4-FFF2-40B4-BE49-F238E27FC236}">
                <a16:creationId xmlns:a16="http://schemas.microsoft.com/office/drawing/2014/main" id="{4A0625DC-FF7E-46FA-85B3-D78075F3A91C}"/>
              </a:ext>
            </a:extLst>
          </p:cNvPr>
          <p:cNvSpPr/>
          <p:nvPr userDrawn="1"/>
        </p:nvSpPr>
        <p:spPr>
          <a:xfrm>
            <a:off x="5948602" y="5977071"/>
            <a:ext cx="66419" cy="72245"/>
          </a:xfrm>
          <a:custGeom>
            <a:avLst/>
            <a:gdLst>
              <a:gd name="connsiteX0" fmla="*/ 30297 w 66419"/>
              <a:gd name="connsiteY0" fmla="*/ 72246 h 72245"/>
              <a:gd name="connsiteX1" fmla="*/ 0 w 66419"/>
              <a:gd name="connsiteY1" fmla="*/ 72246 h 72245"/>
              <a:gd name="connsiteX2" fmla="*/ 36123 w 66419"/>
              <a:gd name="connsiteY2" fmla="*/ 36123 h 72245"/>
              <a:gd name="connsiteX3" fmla="*/ 0 w 66419"/>
              <a:gd name="connsiteY3" fmla="*/ 0 h 72245"/>
              <a:gd name="connsiteX4" fmla="*/ 31462 w 66419"/>
              <a:gd name="connsiteY4" fmla="*/ 0 h 72245"/>
              <a:gd name="connsiteX5" fmla="*/ 66419 w 66419"/>
              <a:gd name="connsiteY5" fmla="*/ 36123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6"/>
                </a:moveTo>
                <a:lnTo>
                  <a:pt x="0" y="72246"/>
                </a:lnTo>
                <a:lnTo>
                  <a:pt x="36123" y="36123"/>
                </a:lnTo>
                <a:lnTo>
                  <a:pt x="0" y="0"/>
                </a:lnTo>
                <a:lnTo>
                  <a:pt x="31462" y="0"/>
                </a:lnTo>
                <a:lnTo>
                  <a:pt x="66419" y="36123"/>
                </a:lnTo>
                <a:close/>
              </a:path>
            </a:pathLst>
          </a:custGeom>
          <a:solidFill>
            <a:srgbClr val="EEF2F5"/>
          </a:solidFill>
          <a:ln w="11643" cap="flat">
            <a:noFill/>
            <a:prstDash val="solid"/>
            <a:miter/>
          </a:ln>
        </p:spPr>
        <p:txBody>
          <a:bodyPr rtlCol="0" anchor="ctr"/>
          <a:lstStyle/>
          <a:p>
            <a:endParaRPr lang="de-DE"/>
          </a:p>
        </p:txBody>
      </p:sp>
      <p:sp>
        <p:nvSpPr>
          <p:cNvPr id="339" name="Freihandform: Form 338">
            <a:extLst>
              <a:ext uri="{FF2B5EF4-FFF2-40B4-BE49-F238E27FC236}">
                <a16:creationId xmlns:a16="http://schemas.microsoft.com/office/drawing/2014/main" id="{7BDD0DFC-6E9A-4DFD-896C-269B9F75D87D}"/>
              </a:ext>
            </a:extLst>
          </p:cNvPr>
          <p:cNvSpPr/>
          <p:nvPr userDrawn="1"/>
        </p:nvSpPr>
        <p:spPr>
          <a:xfrm>
            <a:off x="5948602" y="6332472"/>
            <a:ext cx="66419" cy="72245"/>
          </a:xfrm>
          <a:custGeom>
            <a:avLst/>
            <a:gdLst>
              <a:gd name="connsiteX0" fmla="*/ 30297 w 66419"/>
              <a:gd name="connsiteY0" fmla="*/ 72246 h 72245"/>
              <a:gd name="connsiteX1" fmla="*/ 0 w 66419"/>
              <a:gd name="connsiteY1" fmla="*/ 72246 h 72245"/>
              <a:gd name="connsiteX2" fmla="*/ 36123 w 66419"/>
              <a:gd name="connsiteY2" fmla="*/ 36123 h 72245"/>
              <a:gd name="connsiteX3" fmla="*/ 0 w 66419"/>
              <a:gd name="connsiteY3" fmla="*/ 0 h 72245"/>
              <a:gd name="connsiteX4" fmla="*/ 31462 w 66419"/>
              <a:gd name="connsiteY4" fmla="*/ 0 h 72245"/>
              <a:gd name="connsiteX5" fmla="*/ 66419 w 66419"/>
              <a:gd name="connsiteY5" fmla="*/ 34957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6"/>
                </a:moveTo>
                <a:lnTo>
                  <a:pt x="0" y="72246"/>
                </a:lnTo>
                <a:lnTo>
                  <a:pt x="36123" y="36123"/>
                </a:lnTo>
                <a:lnTo>
                  <a:pt x="0" y="0"/>
                </a:lnTo>
                <a:lnTo>
                  <a:pt x="31462" y="0"/>
                </a:lnTo>
                <a:lnTo>
                  <a:pt x="66419" y="34957"/>
                </a:lnTo>
                <a:close/>
              </a:path>
            </a:pathLst>
          </a:custGeom>
          <a:solidFill>
            <a:srgbClr val="EEF2F5"/>
          </a:solidFill>
          <a:ln w="11643" cap="flat">
            <a:noFill/>
            <a:prstDash val="solid"/>
            <a:miter/>
          </a:ln>
        </p:spPr>
        <p:txBody>
          <a:bodyPr rtlCol="0" anchor="ctr"/>
          <a:lstStyle/>
          <a:p>
            <a:endParaRPr lang="de-DE"/>
          </a:p>
        </p:txBody>
      </p:sp>
      <p:sp>
        <p:nvSpPr>
          <p:cNvPr id="340" name="Freihandform: Form 339">
            <a:extLst>
              <a:ext uri="{FF2B5EF4-FFF2-40B4-BE49-F238E27FC236}">
                <a16:creationId xmlns:a16="http://schemas.microsoft.com/office/drawing/2014/main" id="{CAC3908E-B3D7-4D15-B42A-11C8334C3FAE}"/>
              </a:ext>
            </a:extLst>
          </p:cNvPr>
          <p:cNvSpPr/>
          <p:nvPr userDrawn="1"/>
        </p:nvSpPr>
        <p:spPr>
          <a:xfrm>
            <a:off x="5948602" y="6686707"/>
            <a:ext cx="66419" cy="72245"/>
          </a:xfrm>
          <a:custGeom>
            <a:avLst/>
            <a:gdLst>
              <a:gd name="connsiteX0" fmla="*/ 30297 w 66419"/>
              <a:gd name="connsiteY0" fmla="*/ 72246 h 72245"/>
              <a:gd name="connsiteX1" fmla="*/ 0 w 66419"/>
              <a:gd name="connsiteY1" fmla="*/ 72246 h 72245"/>
              <a:gd name="connsiteX2" fmla="*/ 36123 w 66419"/>
              <a:gd name="connsiteY2" fmla="*/ 37288 h 72245"/>
              <a:gd name="connsiteX3" fmla="*/ 0 w 66419"/>
              <a:gd name="connsiteY3" fmla="*/ 0 h 72245"/>
              <a:gd name="connsiteX4" fmla="*/ 31462 w 66419"/>
              <a:gd name="connsiteY4" fmla="*/ 0 h 72245"/>
              <a:gd name="connsiteX5" fmla="*/ 66419 w 66419"/>
              <a:gd name="connsiteY5" fmla="*/ 36123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6"/>
                </a:moveTo>
                <a:lnTo>
                  <a:pt x="0" y="72246"/>
                </a:lnTo>
                <a:lnTo>
                  <a:pt x="36123" y="37288"/>
                </a:lnTo>
                <a:lnTo>
                  <a:pt x="0" y="0"/>
                </a:lnTo>
                <a:lnTo>
                  <a:pt x="31462" y="0"/>
                </a:lnTo>
                <a:lnTo>
                  <a:pt x="66419" y="36123"/>
                </a:lnTo>
                <a:close/>
              </a:path>
            </a:pathLst>
          </a:custGeom>
          <a:solidFill>
            <a:srgbClr val="EEF2F5"/>
          </a:solidFill>
          <a:ln w="11643" cap="flat">
            <a:noFill/>
            <a:prstDash val="solid"/>
            <a:miter/>
          </a:ln>
        </p:spPr>
        <p:txBody>
          <a:bodyPr rtlCol="0" anchor="ctr"/>
          <a:lstStyle/>
          <a:p>
            <a:endParaRPr lang="de-DE"/>
          </a:p>
        </p:txBody>
      </p:sp>
      <p:sp>
        <p:nvSpPr>
          <p:cNvPr id="341" name="Freihandform: Form 340">
            <a:extLst>
              <a:ext uri="{FF2B5EF4-FFF2-40B4-BE49-F238E27FC236}">
                <a16:creationId xmlns:a16="http://schemas.microsoft.com/office/drawing/2014/main" id="{A7FA91F1-E227-486C-9E3D-701B7ECBD358}"/>
              </a:ext>
            </a:extLst>
          </p:cNvPr>
          <p:cNvSpPr/>
          <p:nvPr userDrawn="1"/>
        </p:nvSpPr>
        <p:spPr>
          <a:xfrm>
            <a:off x="6294680" y="2064168"/>
            <a:ext cx="83897" cy="90889"/>
          </a:xfrm>
          <a:custGeom>
            <a:avLst/>
            <a:gdLst>
              <a:gd name="connsiteX0" fmla="*/ 38453 w 83897"/>
              <a:gd name="connsiteY0" fmla="*/ 90889 h 90889"/>
              <a:gd name="connsiteX1" fmla="*/ 0 w 83897"/>
              <a:gd name="connsiteY1" fmla="*/ 90889 h 90889"/>
              <a:gd name="connsiteX2" fmla="*/ 45445 w 83897"/>
              <a:gd name="connsiteY2" fmla="*/ 46610 h 90889"/>
              <a:gd name="connsiteX3" fmla="*/ 0 w 83897"/>
              <a:gd name="connsiteY3" fmla="*/ 0 h 90889"/>
              <a:gd name="connsiteX4" fmla="*/ 39618 w 83897"/>
              <a:gd name="connsiteY4" fmla="*/ 0 h 90889"/>
              <a:gd name="connsiteX5" fmla="*/ 83898 w 83897"/>
              <a:gd name="connsiteY5" fmla="*/ 45445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6610"/>
                </a:lnTo>
                <a:lnTo>
                  <a:pt x="0" y="0"/>
                </a:lnTo>
                <a:lnTo>
                  <a:pt x="39618" y="0"/>
                </a:lnTo>
                <a:lnTo>
                  <a:pt x="83898" y="45445"/>
                </a:lnTo>
                <a:close/>
              </a:path>
            </a:pathLst>
          </a:custGeom>
          <a:solidFill>
            <a:srgbClr val="EEF2F5"/>
          </a:solidFill>
          <a:ln w="11643" cap="flat">
            <a:noFill/>
            <a:prstDash val="solid"/>
            <a:miter/>
          </a:ln>
        </p:spPr>
        <p:txBody>
          <a:bodyPr rtlCol="0" anchor="ctr"/>
          <a:lstStyle/>
          <a:p>
            <a:endParaRPr lang="de-DE"/>
          </a:p>
        </p:txBody>
      </p:sp>
      <p:sp>
        <p:nvSpPr>
          <p:cNvPr id="342" name="Freihandform: Form 341">
            <a:extLst>
              <a:ext uri="{FF2B5EF4-FFF2-40B4-BE49-F238E27FC236}">
                <a16:creationId xmlns:a16="http://schemas.microsoft.com/office/drawing/2014/main" id="{84476B35-4E31-4636-A104-EFCF30564C85}"/>
              </a:ext>
            </a:extLst>
          </p:cNvPr>
          <p:cNvSpPr/>
          <p:nvPr userDrawn="1"/>
        </p:nvSpPr>
        <p:spPr>
          <a:xfrm>
            <a:off x="6294680" y="2419569"/>
            <a:ext cx="83897" cy="90889"/>
          </a:xfrm>
          <a:custGeom>
            <a:avLst/>
            <a:gdLst>
              <a:gd name="connsiteX0" fmla="*/ 38453 w 83897"/>
              <a:gd name="connsiteY0" fmla="*/ 90889 h 90889"/>
              <a:gd name="connsiteX1" fmla="*/ 0 w 83897"/>
              <a:gd name="connsiteY1" fmla="*/ 90889 h 90889"/>
              <a:gd name="connsiteX2" fmla="*/ 45445 w 83897"/>
              <a:gd name="connsiteY2" fmla="*/ 45445 h 90889"/>
              <a:gd name="connsiteX3" fmla="*/ 0 w 83897"/>
              <a:gd name="connsiteY3" fmla="*/ 0 h 90889"/>
              <a:gd name="connsiteX4" fmla="*/ 39618 w 83897"/>
              <a:gd name="connsiteY4" fmla="*/ 0 h 90889"/>
              <a:gd name="connsiteX5" fmla="*/ 83898 w 83897"/>
              <a:gd name="connsiteY5" fmla="*/ 44279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endParaRPr lang="de-DE"/>
          </a:p>
        </p:txBody>
      </p:sp>
      <p:sp>
        <p:nvSpPr>
          <p:cNvPr id="343" name="Freihandform: Form 342">
            <a:extLst>
              <a:ext uri="{FF2B5EF4-FFF2-40B4-BE49-F238E27FC236}">
                <a16:creationId xmlns:a16="http://schemas.microsoft.com/office/drawing/2014/main" id="{6E4C3BE2-5614-4053-AD7A-02597CC57C7F}"/>
              </a:ext>
            </a:extLst>
          </p:cNvPr>
          <p:cNvSpPr/>
          <p:nvPr userDrawn="1"/>
        </p:nvSpPr>
        <p:spPr>
          <a:xfrm>
            <a:off x="6294680" y="2773804"/>
            <a:ext cx="83897" cy="90889"/>
          </a:xfrm>
          <a:custGeom>
            <a:avLst/>
            <a:gdLst>
              <a:gd name="connsiteX0" fmla="*/ 38453 w 83897"/>
              <a:gd name="connsiteY0" fmla="*/ 90889 h 90889"/>
              <a:gd name="connsiteX1" fmla="*/ 0 w 83897"/>
              <a:gd name="connsiteY1" fmla="*/ 90889 h 90889"/>
              <a:gd name="connsiteX2" fmla="*/ 45445 w 83897"/>
              <a:gd name="connsiteY2" fmla="*/ 46610 h 90889"/>
              <a:gd name="connsiteX3" fmla="*/ 0 w 83897"/>
              <a:gd name="connsiteY3" fmla="*/ 0 h 90889"/>
              <a:gd name="connsiteX4" fmla="*/ 39618 w 83897"/>
              <a:gd name="connsiteY4" fmla="*/ 0 h 90889"/>
              <a:gd name="connsiteX5" fmla="*/ 83898 w 83897"/>
              <a:gd name="connsiteY5" fmla="*/ 45445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6610"/>
                </a:lnTo>
                <a:lnTo>
                  <a:pt x="0" y="0"/>
                </a:lnTo>
                <a:lnTo>
                  <a:pt x="39618" y="0"/>
                </a:lnTo>
                <a:lnTo>
                  <a:pt x="83898" y="45445"/>
                </a:lnTo>
                <a:close/>
              </a:path>
            </a:pathLst>
          </a:custGeom>
          <a:solidFill>
            <a:srgbClr val="EEF2F5"/>
          </a:solidFill>
          <a:ln w="11643" cap="flat">
            <a:noFill/>
            <a:prstDash val="solid"/>
            <a:miter/>
          </a:ln>
        </p:spPr>
        <p:txBody>
          <a:bodyPr rtlCol="0" anchor="ctr"/>
          <a:lstStyle/>
          <a:p>
            <a:endParaRPr lang="de-DE"/>
          </a:p>
        </p:txBody>
      </p:sp>
      <p:sp>
        <p:nvSpPr>
          <p:cNvPr id="344" name="Freihandform: Form 343">
            <a:extLst>
              <a:ext uri="{FF2B5EF4-FFF2-40B4-BE49-F238E27FC236}">
                <a16:creationId xmlns:a16="http://schemas.microsoft.com/office/drawing/2014/main" id="{6DD9ED1D-820B-4357-A470-36FDDF21B3EF}"/>
              </a:ext>
            </a:extLst>
          </p:cNvPr>
          <p:cNvSpPr/>
          <p:nvPr userDrawn="1"/>
        </p:nvSpPr>
        <p:spPr>
          <a:xfrm>
            <a:off x="6294680" y="3129205"/>
            <a:ext cx="83897" cy="90889"/>
          </a:xfrm>
          <a:custGeom>
            <a:avLst/>
            <a:gdLst>
              <a:gd name="connsiteX0" fmla="*/ 38453 w 83897"/>
              <a:gd name="connsiteY0" fmla="*/ 90889 h 90889"/>
              <a:gd name="connsiteX1" fmla="*/ 0 w 83897"/>
              <a:gd name="connsiteY1" fmla="*/ 90889 h 90889"/>
              <a:gd name="connsiteX2" fmla="*/ 45445 w 83897"/>
              <a:gd name="connsiteY2" fmla="*/ 45445 h 90889"/>
              <a:gd name="connsiteX3" fmla="*/ 0 w 83897"/>
              <a:gd name="connsiteY3" fmla="*/ 0 h 90889"/>
              <a:gd name="connsiteX4" fmla="*/ 39618 w 83897"/>
              <a:gd name="connsiteY4" fmla="*/ 0 h 90889"/>
              <a:gd name="connsiteX5" fmla="*/ 83898 w 83897"/>
              <a:gd name="connsiteY5" fmla="*/ 44279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endParaRPr lang="de-DE"/>
          </a:p>
        </p:txBody>
      </p:sp>
      <p:sp>
        <p:nvSpPr>
          <p:cNvPr id="345" name="Freihandform: Form 344">
            <a:extLst>
              <a:ext uri="{FF2B5EF4-FFF2-40B4-BE49-F238E27FC236}">
                <a16:creationId xmlns:a16="http://schemas.microsoft.com/office/drawing/2014/main" id="{AB5439D2-89C7-4CE8-94B8-29C5545E1F13}"/>
              </a:ext>
            </a:extLst>
          </p:cNvPr>
          <p:cNvSpPr/>
          <p:nvPr userDrawn="1"/>
        </p:nvSpPr>
        <p:spPr>
          <a:xfrm>
            <a:off x="6294680" y="3484606"/>
            <a:ext cx="83897" cy="89724"/>
          </a:xfrm>
          <a:custGeom>
            <a:avLst/>
            <a:gdLst>
              <a:gd name="connsiteX0" fmla="*/ 38453 w 83897"/>
              <a:gd name="connsiteY0" fmla="*/ 89724 h 89724"/>
              <a:gd name="connsiteX1" fmla="*/ 0 w 83897"/>
              <a:gd name="connsiteY1" fmla="*/ 89724 h 89724"/>
              <a:gd name="connsiteX2" fmla="*/ 45445 w 83897"/>
              <a:gd name="connsiteY2" fmla="*/ 45445 h 89724"/>
              <a:gd name="connsiteX3" fmla="*/ 0 w 83897"/>
              <a:gd name="connsiteY3" fmla="*/ 0 h 89724"/>
              <a:gd name="connsiteX4" fmla="*/ 39618 w 83897"/>
              <a:gd name="connsiteY4" fmla="*/ 0 h 89724"/>
              <a:gd name="connsiteX5" fmla="*/ 83898 w 83897"/>
              <a:gd name="connsiteY5" fmla="*/ 44279 h 89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89724">
                <a:moveTo>
                  <a:pt x="38453" y="89724"/>
                </a:moveTo>
                <a:lnTo>
                  <a:pt x="0" y="89724"/>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endParaRPr lang="de-DE"/>
          </a:p>
        </p:txBody>
      </p:sp>
      <p:sp>
        <p:nvSpPr>
          <p:cNvPr id="346" name="Freihandform: Form 345">
            <a:extLst>
              <a:ext uri="{FF2B5EF4-FFF2-40B4-BE49-F238E27FC236}">
                <a16:creationId xmlns:a16="http://schemas.microsoft.com/office/drawing/2014/main" id="{AF1E6C46-91F7-46BE-B34D-0F8FF181944E}"/>
              </a:ext>
            </a:extLst>
          </p:cNvPr>
          <p:cNvSpPr/>
          <p:nvPr userDrawn="1"/>
        </p:nvSpPr>
        <p:spPr>
          <a:xfrm>
            <a:off x="6294680" y="3838841"/>
            <a:ext cx="83897" cy="90889"/>
          </a:xfrm>
          <a:custGeom>
            <a:avLst/>
            <a:gdLst>
              <a:gd name="connsiteX0" fmla="*/ 38453 w 83897"/>
              <a:gd name="connsiteY0" fmla="*/ 90889 h 90889"/>
              <a:gd name="connsiteX1" fmla="*/ 0 w 83897"/>
              <a:gd name="connsiteY1" fmla="*/ 90889 h 90889"/>
              <a:gd name="connsiteX2" fmla="*/ 45445 w 83897"/>
              <a:gd name="connsiteY2" fmla="*/ 45445 h 90889"/>
              <a:gd name="connsiteX3" fmla="*/ 0 w 83897"/>
              <a:gd name="connsiteY3" fmla="*/ 0 h 90889"/>
              <a:gd name="connsiteX4" fmla="*/ 39618 w 83897"/>
              <a:gd name="connsiteY4" fmla="*/ 0 h 90889"/>
              <a:gd name="connsiteX5" fmla="*/ 83898 w 83897"/>
              <a:gd name="connsiteY5" fmla="*/ 44279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endParaRPr lang="de-DE"/>
          </a:p>
        </p:txBody>
      </p:sp>
      <p:sp>
        <p:nvSpPr>
          <p:cNvPr id="347" name="Freihandform: Form 346">
            <a:extLst>
              <a:ext uri="{FF2B5EF4-FFF2-40B4-BE49-F238E27FC236}">
                <a16:creationId xmlns:a16="http://schemas.microsoft.com/office/drawing/2014/main" id="{098A75FB-3BEC-4A6C-8897-8E57891AACC2}"/>
              </a:ext>
            </a:extLst>
          </p:cNvPr>
          <p:cNvSpPr/>
          <p:nvPr userDrawn="1"/>
        </p:nvSpPr>
        <p:spPr>
          <a:xfrm>
            <a:off x="6294680" y="4194242"/>
            <a:ext cx="83897" cy="89724"/>
          </a:xfrm>
          <a:custGeom>
            <a:avLst/>
            <a:gdLst>
              <a:gd name="connsiteX0" fmla="*/ 38453 w 83897"/>
              <a:gd name="connsiteY0" fmla="*/ 89724 h 89724"/>
              <a:gd name="connsiteX1" fmla="*/ 0 w 83897"/>
              <a:gd name="connsiteY1" fmla="*/ 89724 h 89724"/>
              <a:gd name="connsiteX2" fmla="*/ 45445 w 83897"/>
              <a:gd name="connsiteY2" fmla="*/ 45445 h 89724"/>
              <a:gd name="connsiteX3" fmla="*/ 0 w 83897"/>
              <a:gd name="connsiteY3" fmla="*/ 0 h 89724"/>
              <a:gd name="connsiteX4" fmla="*/ 39618 w 83897"/>
              <a:gd name="connsiteY4" fmla="*/ 0 h 89724"/>
              <a:gd name="connsiteX5" fmla="*/ 83898 w 83897"/>
              <a:gd name="connsiteY5" fmla="*/ 44279 h 89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89724">
                <a:moveTo>
                  <a:pt x="38453" y="89724"/>
                </a:moveTo>
                <a:lnTo>
                  <a:pt x="0" y="89724"/>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endParaRPr lang="de-DE"/>
          </a:p>
        </p:txBody>
      </p:sp>
      <p:sp>
        <p:nvSpPr>
          <p:cNvPr id="348" name="Freihandform: Form 347">
            <a:extLst>
              <a:ext uri="{FF2B5EF4-FFF2-40B4-BE49-F238E27FC236}">
                <a16:creationId xmlns:a16="http://schemas.microsoft.com/office/drawing/2014/main" id="{FB969AF5-A3F7-4A67-927C-8CDA08440EEA}"/>
              </a:ext>
            </a:extLst>
          </p:cNvPr>
          <p:cNvSpPr/>
          <p:nvPr userDrawn="1"/>
        </p:nvSpPr>
        <p:spPr>
          <a:xfrm>
            <a:off x="6294680" y="4903878"/>
            <a:ext cx="83897" cy="89724"/>
          </a:xfrm>
          <a:custGeom>
            <a:avLst/>
            <a:gdLst>
              <a:gd name="connsiteX0" fmla="*/ 38453 w 83897"/>
              <a:gd name="connsiteY0" fmla="*/ 89724 h 89724"/>
              <a:gd name="connsiteX1" fmla="*/ 0 w 83897"/>
              <a:gd name="connsiteY1" fmla="*/ 89724 h 89724"/>
              <a:gd name="connsiteX2" fmla="*/ 45445 w 83897"/>
              <a:gd name="connsiteY2" fmla="*/ 45445 h 89724"/>
              <a:gd name="connsiteX3" fmla="*/ 0 w 83897"/>
              <a:gd name="connsiteY3" fmla="*/ 0 h 89724"/>
              <a:gd name="connsiteX4" fmla="*/ 39618 w 83897"/>
              <a:gd name="connsiteY4" fmla="*/ 0 h 89724"/>
              <a:gd name="connsiteX5" fmla="*/ 83898 w 83897"/>
              <a:gd name="connsiteY5" fmla="*/ 44279 h 89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89724">
                <a:moveTo>
                  <a:pt x="38453" y="89724"/>
                </a:moveTo>
                <a:lnTo>
                  <a:pt x="0" y="89724"/>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endParaRPr lang="de-DE"/>
          </a:p>
        </p:txBody>
      </p:sp>
      <p:sp>
        <p:nvSpPr>
          <p:cNvPr id="349" name="Freihandform: Form 348">
            <a:extLst>
              <a:ext uri="{FF2B5EF4-FFF2-40B4-BE49-F238E27FC236}">
                <a16:creationId xmlns:a16="http://schemas.microsoft.com/office/drawing/2014/main" id="{2E6C2156-0A71-415E-B4B6-B6F43E9327C4}"/>
              </a:ext>
            </a:extLst>
          </p:cNvPr>
          <p:cNvSpPr/>
          <p:nvPr userDrawn="1"/>
        </p:nvSpPr>
        <p:spPr>
          <a:xfrm>
            <a:off x="6294680" y="5258113"/>
            <a:ext cx="83897" cy="90889"/>
          </a:xfrm>
          <a:custGeom>
            <a:avLst/>
            <a:gdLst>
              <a:gd name="connsiteX0" fmla="*/ 38453 w 83897"/>
              <a:gd name="connsiteY0" fmla="*/ 90889 h 90889"/>
              <a:gd name="connsiteX1" fmla="*/ 0 w 83897"/>
              <a:gd name="connsiteY1" fmla="*/ 90889 h 90889"/>
              <a:gd name="connsiteX2" fmla="*/ 45445 w 83897"/>
              <a:gd name="connsiteY2" fmla="*/ 45445 h 90889"/>
              <a:gd name="connsiteX3" fmla="*/ 0 w 83897"/>
              <a:gd name="connsiteY3" fmla="*/ 0 h 90889"/>
              <a:gd name="connsiteX4" fmla="*/ 39618 w 83897"/>
              <a:gd name="connsiteY4" fmla="*/ 0 h 90889"/>
              <a:gd name="connsiteX5" fmla="*/ 83898 w 83897"/>
              <a:gd name="connsiteY5" fmla="*/ 44279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endParaRPr lang="de-DE"/>
          </a:p>
        </p:txBody>
      </p:sp>
      <p:sp>
        <p:nvSpPr>
          <p:cNvPr id="350" name="Freihandform: Form 349">
            <a:extLst>
              <a:ext uri="{FF2B5EF4-FFF2-40B4-BE49-F238E27FC236}">
                <a16:creationId xmlns:a16="http://schemas.microsoft.com/office/drawing/2014/main" id="{ACCECFFB-F7F0-4072-9DC2-02D68E9052B1}"/>
              </a:ext>
            </a:extLst>
          </p:cNvPr>
          <p:cNvSpPr/>
          <p:nvPr userDrawn="1"/>
        </p:nvSpPr>
        <p:spPr>
          <a:xfrm>
            <a:off x="6294680" y="5613514"/>
            <a:ext cx="83897" cy="90889"/>
          </a:xfrm>
          <a:custGeom>
            <a:avLst/>
            <a:gdLst>
              <a:gd name="connsiteX0" fmla="*/ 38453 w 83897"/>
              <a:gd name="connsiteY0" fmla="*/ 90889 h 90889"/>
              <a:gd name="connsiteX1" fmla="*/ 0 w 83897"/>
              <a:gd name="connsiteY1" fmla="*/ 90889 h 90889"/>
              <a:gd name="connsiteX2" fmla="*/ 45445 w 83897"/>
              <a:gd name="connsiteY2" fmla="*/ 45445 h 90889"/>
              <a:gd name="connsiteX3" fmla="*/ 0 w 83897"/>
              <a:gd name="connsiteY3" fmla="*/ 0 h 90889"/>
              <a:gd name="connsiteX4" fmla="*/ 39618 w 83897"/>
              <a:gd name="connsiteY4" fmla="*/ 0 h 90889"/>
              <a:gd name="connsiteX5" fmla="*/ 83898 w 83897"/>
              <a:gd name="connsiteY5" fmla="*/ 44279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endParaRPr lang="de-DE"/>
          </a:p>
        </p:txBody>
      </p:sp>
      <p:sp>
        <p:nvSpPr>
          <p:cNvPr id="351" name="Freihandform: Form 350">
            <a:extLst>
              <a:ext uri="{FF2B5EF4-FFF2-40B4-BE49-F238E27FC236}">
                <a16:creationId xmlns:a16="http://schemas.microsoft.com/office/drawing/2014/main" id="{30860A54-535E-40E9-96AA-34D99A547843}"/>
              </a:ext>
            </a:extLst>
          </p:cNvPr>
          <p:cNvSpPr/>
          <p:nvPr userDrawn="1"/>
        </p:nvSpPr>
        <p:spPr>
          <a:xfrm>
            <a:off x="6294680" y="5967749"/>
            <a:ext cx="83897" cy="90889"/>
          </a:xfrm>
          <a:custGeom>
            <a:avLst/>
            <a:gdLst>
              <a:gd name="connsiteX0" fmla="*/ 38453 w 83897"/>
              <a:gd name="connsiteY0" fmla="*/ 90889 h 90889"/>
              <a:gd name="connsiteX1" fmla="*/ 0 w 83897"/>
              <a:gd name="connsiteY1" fmla="*/ 90889 h 90889"/>
              <a:gd name="connsiteX2" fmla="*/ 45445 w 83897"/>
              <a:gd name="connsiteY2" fmla="*/ 46610 h 90889"/>
              <a:gd name="connsiteX3" fmla="*/ 0 w 83897"/>
              <a:gd name="connsiteY3" fmla="*/ 0 h 90889"/>
              <a:gd name="connsiteX4" fmla="*/ 39618 w 83897"/>
              <a:gd name="connsiteY4" fmla="*/ 0 h 90889"/>
              <a:gd name="connsiteX5" fmla="*/ 83898 w 83897"/>
              <a:gd name="connsiteY5" fmla="*/ 45445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6610"/>
                </a:lnTo>
                <a:lnTo>
                  <a:pt x="0" y="0"/>
                </a:lnTo>
                <a:lnTo>
                  <a:pt x="39618" y="0"/>
                </a:lnTo>
                <a:lnTo>
                  <a:pt x="83898" y="45445"/>
                </a:lnTo>
                <a:close/>
              </a:path>
            </a:pathLst>
          </a:custGeom>
          <a:solidFill>
            <a:srgbClr val="EEF2F5"/>
          </a:solidFill>
          <a:ln w="11643" cap="flat">
            <a:noFill/>
            <a:prstDash val="solid"/>
            <a:miter/>
          </a:ln>
        </p:spPr>
        <p:txBody>
          <a:bodyPr rtlCol="0" anchor="ctr"/>
          <a:lstStyle/>
          <a:p>
            <a:endParaRPr lang="de-DE"/>
          </a:p>
        </p:txBody>
      </p:sp>
      <p:sp>
        <p:nvSpPr>
          <p:cNvPr id="352" name="Freihandform: Form 351">
            <a:extLst>
              <a:ext uri="{FF2B5EF4-FFF2-40B4-BE49-F238E27FC236}">
                <a16:creationId xmlns:a16="http://schemas.microsoft.com/office/drawing/2014/main" id="{74EA2C5C-043C-43FC-82F8-EBCDC51C4FFE}"/>
              </a:ext>
            </a:extLst>
          </p:cNvPr>
          <p:cNvSpPr/>
          <p:nvPr userDrawn="1"/>
        </p:nvSpPr>
        <p:spPr>
          <a:xfrm>
            <a:off x="6294680" y="6323150"/>
            <a:ext cx="83897" cy="90889"/>
          </a:xfrm>
          <a:custGeom>
            <a:avLst/>
            <a:gdLst>
              <a:gd name="connsiteX0" fmla="*/ 38453 w 83897"/>
              <a:gd name="connsiteY0" fmla="*/ 90889 h 90889"/>
              <a:gd name="connsiteX1" fmla="*/ 0 w 83897"/>
              <a:gd name="connsiteY1" fmla="*/ 90889 h 90889"/>
              <a:gd name="connsiteX2" fmla="*/ 45445 w 83897"/>
              <a:gd name="connsiteY2" fmla="*/ 45445 h 90889"/>
              <a:gd name="connsiteX3" fmla="*/ 0 w 83897"/>
              <a:gd name="connsiteY3" fmla="*/ 0 h 90889"/>
              <a:gd name="connsiteX4" fmla="*/ 39618 w 83897"/>
              <a:gd name="connsiteY4" fmla="*/ 0 h 90889"/>
              <a:gd name="connsiteX5" fmla="*/ 83898 w 83897"/>
              <a:gd name="connsiteY5" fmla="*/ 44279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endParaRPr lang="de-DE"/>
          </a:p>
        </p:txBody>
      </p:sp>
      <p:sp>
        <p:nvSpPr>
          <p:cNvPr id="353" name="Freihandform: Form 352">
            <a:extLst>
              <a:ext uri="{FF2B5EF4-FFF2-40B4-BE49-F238E27FC236}">
                <a16:creationId xmlns:a16="http://schemas.microsoft.com/office/drawing/2014/main" id="{C8CACB49-436D-4574-8377-C753156738F1}"/>
              </a:ext>
            </a:extLst>
          </p:cNvPr>
          <p:cNvSpPr/>
          <p:nvPr userDrawn="1"/>
        </p:nvSpPr>
        <p:spPr>
          <a:xfrm>
            <a:off x="6294680" y="6677385"/>
            <a:ext cx="83897" cy="90889"/>
          </a:xfrm>
          <a:custGeom>
            <a:avLst/>
            <a:gdLst>
              <a:gd name="connsiteX0" fmla="*/ 38453 w 83897"/>
              <a:gd name="connsiteY0" fmla="*/ 90889 h 90889"/>
              <a:gd name="connsiteX1" fmla="*/ 0 w 83897"/>
              <a:gd name="connsiteY1" fmla="*/ 90889 h 90889"/>
              <a:gd name="connsiteX2" fmla="*/ 45445 w 83897"/>
              <a:gd name="connsiteY2" fmla="*/ 46610 h 90889"/>
              <a:gd name="connsiteX3" fmla="*/ 0 w 83897"/>
              <a:gd name="connsiteY3" fmla="*/ 0 h 90889"/>
              <a:gd name="connsiteX4" fmla="*/ 39618 w 83897"/>
              <a:gd name="connsiteY4" fmla="*/ 0 h 90889"/>
              <a:gd name="connsiteX5" fmla="*/ 83898 w 83897"/>
              <a:gd name="connsiteY5" fmla="*/ 45445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6610"/>
                </a:lnTo>
                <a:lnTo>
                  <a:pt x="0" y="0"/>
                </a:lnTo>
                <a:lnTo>
                  <a:pt x="39618" y="0"/>
                </a:lnTo>
                <a:lnTo>
                  <a:pt x="83898" y="45445"/>
                </a:lnTo>
                <a:close/>
              </a:path>
            </a:pathLst>
          </a:custGeom>
          <a:solidFill>
            <a:srgbClr val="EEF2F5"/>
          </a:solidFill>
          <a:ln w="11643" cap="flat">
            <a:noFill/>
            <a:prstDash val="solid"/>
            <a:miter/>
          </a:ln>
        </p:spPr>
        <p:txBody>
          <a:bodyPr rtlCol="0" anchor="ctr"/>
          <a:lstStyle/>
          <a:p>
            <a:endParaRPr lang="de-DE"/>
          </a:p>
        </p:txBody>
      </p:sp>
      <p:sp>
        <p:nvSpPr>
          <p:cNvPr id="354" name="Freihandform: Form 353">
            <a:extLst>
              <a:ext uri="{FF2B5EF4-FFF2-40B4-BE49-F238E27FC236}">
                <a16:creationId xmlns:a16="http://schemas.microsoft.com/office/drawing/2014/main" id="{B29013A0-BCBB-40DB-8B64-C13F7A006ED1}"/>
              </a:ext>
            </a:extLst>
          </p:cNvPr>
          <p:cNvSpPr/>
          <p:nvPr userDrawn="1"/>
        </p:nvSpPr>
        <p:spPr>
          <a:xfrm>
            <a:off x="6641924" y="2056012"/>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3601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355" name="Freihandform: Form 354">
            <a:extLst>
              <a:ext uri="{FF2B5EF4-FFF2-40B4-BE49-F238E27FC236}">
                <a16:creationId xmlns:a16="http://schemas.microsoft.com/office/drawing/2014/main" id="{CFF769E7-83E6-4FFF-B7B6-43CAC363AE64}"/>
              </a:ext>
            </a:extLst>
          </p:cNvPr>
          <p:cNvSpPr/>
          <p:nvPr userDrawn="1"/>
        </p:nvSpPr>
        <p:spPr>
          <a:xfrm>
            <a:off x="6641924" y="2410247"/>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3601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356" name="Freihandform: Form 355">
            <a:extLst>
              <a:ext uri="{FF2B5EF4-FFF2-40B4-BE49-F238E27FC236}">
                <a16:creationId xmlns:a16="http://schemas.microsoft.com/office/drawing/2014/main" id="{B4DC8A4E-265A-423E-AB7E-52089C97E7ED}"/>
              </a:ext>
            </a:extLst>
          </p:cNvPr>
          <p:cNvSpPr/>
          <p:nvPr userDrawn="1"/>
        </p:nvSpPr>
        <p:spPr>
          <a:xfrm>
            <a:off x="6641924" y="2765648"/>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3601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357" name="Freihandform: Form 356">
            <a:extLst>
              <a:ext uri="{FF2B5EF4-FFF2-40B4-BE49-F238E27FC236}">
                <a16:creationId xmlns:a16="http://schemas.microsoft.com/office/drawing/2014/main" id="{8229E235-012D-4068-9887-186727B34CE4}"/>
              </a:ext>
            </a:extLst>
          </p:cNvPr>
          <p:cNvSpPr/>
          <p:nvPr userDrawn="1"/>
        </p:nvSpPr>
        <p:spPr>
          <a:xfrm>
            <a:off x="6641924" y="3119883"/>
            <a:ext cx="100211" cy="109533"/>
          </a:xfrm>
          <a:custGeom>
            <a:avLst/>
            <a:gdLst>
              <a:gd name="connsiteX0" fmla="*/ 45445 w 100211"/>
              <a:gd name="connsiteY0" fmla="*/ 109533 h 109533"/>
              <a:gd name="connsiteX1" fmla="*/ 0 w 100211"/>
              <a:gd name="connsiteY1" fmla="*/ 109533 h 109533"/>
              <a:gd name="connsiteX2" fmla="*/ 53601 w 100211"/>
              <a:gd name="connsiteY2" fmla="*/ 54767 h 109533"/>
              <a:gd name="connsiteX3" fmla="*/ 0 w 100211"/>
              <a:gd name="connsiteY3" fmla="*/ 0 h 109533"/>
              <a:gd name="connsiteX4" fmla="*/ 46610 w 100211"/>
              <a:gd name="connsiteY4" fmla="*/ 0 h 109533"/>
              <a:gd name="connsiteX5" fmla="*/ 100211 w 100211"/>
              <a:gd name="connsiteY5" fmla="*/ 53601 h 109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9533">
                <a:moveTo>
                  <a:pt x="45445" y="109533"/>
                </a:moveTo>
                <a:lnTo>
                  <a:pt x="0" y="109533"/>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358" name="Freihandform: Form 357">
            <a:extLst>
              <a:ext uri="{FF2B5EF4-FFF2-40B4-BE49-F238E27FC236}">
                <a16:creationId xmlns:a16="http://schemas.microsoft.com/office/drawing/2014/main" id="{984E28EA-AC69-4530-BB08-379D156F0B5F}"/>
              </a:ext>
            </a:extLst>
          </p:cNvPr>
          <p:cNvSpPr/>
          <p:nvPr userDrawn="1"/>
        </p:nvSpPr>
        <p:spPr>
          <a:xfrm>
            <a:off x="6641924" y="3475284"/>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3601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359" name="Freihandform: Form 358">
            <a:extLst>
              <a:ext uri="{FF2B5EF4-FFF2-40B4-BE49-F238E27FC236}">
                <a16:creationId xmlns:a16="http://schemas.microsoft.com/office/drawing/2014/main" id="{FEDFDF1D-F996-436D-95F7-5BE574FD9E43}"/>
              </a:ext>
            </a:extLst>
          </p:cNvPr>
          <p:cNvSpPr/>
          <p:nvPr userDrawn="1"/>
        </p:nvSpPr>
        <p:spPr>
          <a:xfrm>
            <a:off x="6641924" y="3829519"/>
            <a:ext cx="100211" cy="109533"/>
          </a:xfrm>
          <a:custGeom>
            <a:avLst/>
            <a:gdLst>
              <a:gd name="connsiteX0" fmla="*/ 45445 w 100211"/>
              <a:gd name="connsiteY0" fmla="*/ 109533 h 109533"/>
              <a:gd name="connsiteX1" fmla="*/ 0 w 100211"/>
              <a:gd name="connsiteY1" fmla="*/ 109533 h 109533"/>
              <a:gd name="connsiteX2" fmla="*/ 53601 w 100211"/>
              <a:gd name="connsiteY2" fmla="*/ 54767 h 109533"/>
              <a:gd name="connsiteX3" fmla="*/ 0 w 100211"/>
              <a:gd name="connsiteY3" fmla="*/ 0 h 109533"/>
              <a:gd name="connsiteX4" fmla="*/ 46610 w 100211"/>
              <a:gd name="connsiteY4" fmla="*/ 0 h 109533"/>
              <a:gd name="connsiteX5" fmla="*/ 100211 w 100211"/>
              <a:gd name="connsiteY5" fmla="*/ 53601 h 109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9533">
                <a:moveTo>
                  <a:pt x="45445" y="109533"/>
                </a:moveTo>
                <a:lnTo>
                  <a:pt x="0" y="109533"/>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360" name="Freihandform: Form 359">
            <a:extLst>
              <a:ext uri="{FF2B5EF4-FFF2-40B4-BE49-F238E27FC236}">
                <a16:creationId xmlns:a16="http://schemas.microsoft.com/office/drawing/2014/main" id="{8685CC1C-42AB-4B1F-A9DB-BA63AF39AC62}"/>
              </a:ext>
            </a:extLst>
          </p:cNvPr>
          <p:cNvSpPr/>
          <p:nvPr userDrawn="1"/>
        </p:nvSpPr>
        <p:spPr>
          <a:xfrm>
            <a:off x="6641924" y="4184920"/>
            <a:ext cx="100211" cy="108367"/>
          </a:xfrm>
          <a:custGeom>
            <a:avLst/>
            <a:gdLst>
              <a:gd name="connsiteX0" fmla="*/ 45445 w 100211"/>
              <a:gd name="connsiteY0" fmla="*/ 108368 h 108367"/>
              <a:gd name="connsiteX1" fmla="*/ 0 w 100211"/>
              <a:gd name="connsiteY1" fmla="*/ 108368 h 108367"/>
              <a:gd name="connsiteX2" fmla="*/ 53601 w 100211"/>
              <a:gd name="connsiteY2" fmla="*/ 54767 h 108367"/>
              <a:gd name="connsiteX3" fmla="*/ 0 w 100211"/>
              <a:gd name="connsiteY3" fmla="*/ 0 h 108367"/>
              <a:gd name="connsiteX4" fmla="*/ 46610 w 100211"/>
              <a:gd name="connsiteY4" fmla="*/ 0 h 108367"/>
              <a:gd name="connsiteX5" fmla="*/ 100211 w 100211"/>
              <a:gd name="connsiteY5" fmla="*/ 53601 h 108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7">
                <a:moveTo>
                  <a:pt x="45445" y="108368"/>
                </a:moveTo>
                <a:lnTo>
                  <a:pt x="0" y="108368"/>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361" name="Freihandform: Form 360">
            <a:extLst>
              <a:ext uri="{FF2B5EF4-FFF2-40B4-BE49-F238E27FC236}">
                <a16:creationId xmlns:a16="http://schemas.microsoft.com/office/drawing/2014/main" id="{48EE8789-AAA0-46DB-896E-70EAB25AAE92}"/>
              </a:ext>
            </a:extLst>
          </p:cNvPr>
          <p:cNvSpPr/>
          <p:nvPr userDrawn="1"/>
        </p:nvSpPr>
        <p:spPr>
          <a:xfrm>
            <a:off x="6641924" y="4539155"/>
            <a:ext cx="100211" cy="109533"/>
          </a:xfrm>
          <a:custGeom>
            <a:avLst/>
            <a:gdLst>
              <a:gd name="connsiteX0" fmla="*/ 45445 w 100211"/>
              <a:gd name="connsiteY0" fmla="*/ 109533 h 109533"/>
              <a:gd name="connsiteX1" fmla="*/ 0 w 100211"/>
              <a:gd name="connsiteY1" fmla="*/ 109533 h 109533"/>
              <a:gd name="connsiteX2" fmla="*/ 53601 w 100211"/>
              <a:gd name="connsiteY2" fmla="*/ 54767 h 109533"/>
              <a:gd name="connsiteX3" fmla="*/ 0 w 100211"/>
              <a:gd name="connsiteY3" fmla="*/ 0 h 109533"/>
              <a:gd name="connsiteX4" fmla="*/ 46610 w 100211"/>
              <a:gd name="connsiteY4" fmla="*/ 0 h 109533"/>
              <a:gd name="connsiteX5" fmla="*/ 100211 w 100211"/>
              <a:gd name="connsiteY5" fmla="*/ 53601 h 109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9533">
                <a:moveTo>
                  <a:pt x="45445" y="109533"/>
                </a:moveTo>
                <a:lnTo>
                  <a:pt x="0" y="109533"/>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362" name="Freihandform: Form 361">
            <a:extLst>
              <a:ext uri="{FF2B5EF4-FFF2-40B4-BE49-F238E27FC236}">
                <a16:creationId xmlns:a16="http://schemas.microsoft.com/office/drawing/2014/main" id="{102A4279-5E98-4085-A63D-1DC589536896}"/>
              </a:ext>
            </a:extLst>
          </p:cNvPr>
          <p:cNvSpPr/>
          <p:nvPr userDrawn="1"/>
        </p:nvSpPr>
        <p:spPr>
          <a:xfrm>
            <a:off x="6641924" y="4894556"/>
            <a:ext cx="100211" cy="108367"/>
          </a:xfrm>
          <a:custGeom>
            <a:avLst/>
            <a:gdLst>
              <a:gd name="connsiteX0" fmla="*/ 45445 w 100211"/>
              <a:gd name="connsiteY0" fmla="*/ 108368 h 108367"/>
              <a:gd name="connsiteX1" fmla="*/ 0 w 100211"/>
              <a:gd name="connsiteY1" fmla="*/ 108368 h 108367"/>
              <a:gd name="connsiteX2" fmla="*/ 53601 w 100211"/>
              <a:gd name="connsiteY2" fmla="*/ 54767 h 108367"/>
              <a:gd name="connsiteX3" fmla="*/ 0 w 100211"/>
              <a:gd name="connsiteY3" fmla="*/ 0 h 108367"/>
              <a:gd name="connsiteX4" fmla="*/ 46610 w 100211"/>
              <a:gd name="connsiteY4" fmla="*/ 0 h 108367"/>
              <a:gd name="connsiteX5" fmla="*/ 100211 w 100211"/>
              <a:gd name="connsiteY5" fmla="*/ 53601 h 108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7">
                <a:moveTo>
                  <a:pt x="45445" y="108368"/>
                </a:moveTo>
                <a:lnTo>
                  <a:pt x="0" y="108368"/>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363" name="Freihandform: Form 362">
            <a:extLst>
              <a:ext uri="{FF2B5EF4-FFF2-40B4-BE49-F238E27FC236}">
                <a16:creationId xmlns:a16="http://schemas.microsoft.com/office/drawing/2014/main" id="{F159DC3D-E9B7-40DC-80A5-80705CE3B859}"/>
              </a:ext>
            </a:extLst>
          </p:cNvPr>
          <p:cNvSpPr/>
          <p:nvPr userDrawn="1"/>
        </p:nvSpPr>
        <p:spPr>
          <a:xfrm>
            <a:off x="6641924" y="5249956"/>
            <a:ext cx="100211" cy="108367"/>
          </a:xfrm>
          <a:custGeom>
            <a:avLst/>
            <a:gdLst>
              <a:gd name="connsiteX0" fmla="*/ 45445 w 100211"/>
              <a:gd name="connsiteY0" fmla="*/ 108368 h 108367"/>
              <a:gd name="connsiteX1" fmla="*/ 0 w 100211"/>
              <a:gd name="connsiteY1" fmla="*/ 108368 h 108367"/>
              <a:gd name="connsiteX2" fmla="*/ 53601 w 100211"/>
              <a:gd name="connsiteY2" fmla="*/ 54767 h 108367"/>
              <a:gd name="connsiteX3" fmla="*/ 0 w 100211"/>
              <a:gd name="connsiteY3" fmla="*/ 0 h 108367"/>
              <a:gd name="connsiteX4" fmla="*/ 46610 w 100211"/>
              <a:gd name="connsiteY4" fmla="*/ 0 h 108367"/>
              <a:gd name="connsiteX5" fmla="*/ 100211 w 100211"/>
              <a:gd name="connsiteY5" fmla="*/ 52436 h 108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7">
                <a:moveTo>
                  <a:pt x="45445" y="108368"/>
                </a:moveTo>
                <a:lnTo>
                  <a:pt x="0" y="108368"/>
                </a:lnTo>
                <a:lnTo>
                  <a:pt x="53601" y="54767"/>
                </a:lnTo>
                <a:lnTo>
                  <a:pt x="0" y="0"/>
                </a:lnTo>
                <a:lnTo>
                  <a:pt x="46610" y="0"/>
                </a:lnTo>
                <a:lnTo>
                  <a:pt x="100211" y="52436"/>
                </a:lnTo>
                <a:close/>
              </a:path>
            </a:pathLst>
          </a:custGeom>
          <a:solidFill>
            <a:srgbClr val="EEF2F5"/>
          </a:solidFill>
          <a:ln w="11643" cap="flat">
            <a:noFill/>
            <a:prstDash val="solid"/>
            <a:miter/>
          </a:ln>
        </p:spPr>
        <p:txBody>
          <a:bodyPr rtlCol="0" anchor="ctr"/>
          <a:lstStyle/>
          <a:p>
            <a:endParaRPr lang="de-DE"/>
          </a:p>
        </p:txBody>
      </p:sp>
      <p:sp>
        <p:nvSpPr>
          <p:cNvPr id="364" name="Freihandform: Form 363">
            <a:extLst>
              <a:ext uri="{FF2B5EF4-FFF2-40B4-BE49-F238E27FC236}">
                <a16:creationId xmlns:a16="http://schemas.microsoft.com/office/drawing/2014/main" id="{72A08ED3-7BD7-47B4-8793-76366AD64EE4}"/>
              </a:ext>
            </a:extLst>
          </p:cNvPr>
          <p:cNvSpPr/>
          <p:nvPr userDrawn="1"/>
        </p:nvSpPr>
        <p:spPr>
          <a:xfrm>
            <a:off x="6641924" y="5604192"/>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3601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365" name="Freihandform: Form 364">
            <a:extLst>
              <a:ext uri="{FF2B5EF4-FFF2-40B4-BE49-F238E27FC236}">
                <a16:creationId xmlns:a16="http://schemas.microsoft.com/office/drawing/2014/main" id="{C895AAFE-E256-4007-9B16-BC9198849207}"/>
              </a:ext>
            </a:extLst>
          </p:cNvPr>
          <p:cNvSpPr/>
          <p:nvPr userDrawn="1"/>
        </p:nvSpPr>
        <p:spPr>
          <a:xfrm>
            <a:off x="6641924" y="5959592"/>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2436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2436"/>
                </a:lnTo>
                <a:close/>
              </a:path>
            </a:pathLst>
          </a:custGeom>
          <a:solidFill>
            <a:srgbClr val="EEF2F5"/>
          </a:solidFill>
          <a:ln w="11643" cap="flat">
            <a:noFill/>
            <a:prstDash val="solid"/>
            <a:miter/>
          </a:ln>
        </p:spPr>
        <p:txBody>
          <a:bodyPr rtlCol="0" anchor="ctr"/>
          <a:lstStyle/>
          <a:p>
            <a:endParaRPr lang="de-DE"/>
          </a:p>
        </p:txBody>
      </p:sp>
      <p:sp>
        <p:nvSpPr>
          <p:cNvPr id="366" name="Freihandform: Form 365">
            <a:extLst>
              <a:ext uri="{FF2B5EF4-FFF2-40B4-BE49-F238E27FC236}">
                <a16:creationId xmlns:a16="http://schemas.microsoft.com/office/drawing/2014/main" id="{6C173860-BF8F-4E2F-BCFC-7F292BAC3A01}"/>
              </a:ext>
            </a:extLst>
          </p:cNvPr>
          <p:cNvSpPr/>
          <p:nvPr userDrawn="1"/>
        </p:nvSpPr>
        <p:spPr>
          <a:xfrm>
            <a:off x="6641924" y="6313828"/>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3601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367" name="Freihandform: Form 366">
            <a:extLst>
              <a:ext uri="{FF2B5EF4-FFF2-40B4-BE49-F238E27FC236}">
                <a16:creationId xmlns:a16="http://schemas.microsoft.com/office/drawing/2014/main" id="{73853278-27BF-4E81-94D6-486931097CE6}"/>
              </a:ext>
            </a:extLst>
          </p:cNvPr>
          <p:cNvSpPr/>
          <p:nvPr userDrawn="1"/>
        </p:nvSpPr>
        <p:spPr>
          <a:xfrm>
            <a:off x="6641924" y="6669228"/>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2436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2436"/>
                </a:lnTo>
                <a:close/>
              </a:path>
            </a:pathLst>
          </a:custGeom>
          <a:solidFill>
            <a:srgbClr val="EEF2F5"/>
          </a:solidFill>
          <a:ln w="11643" cap="flat">
            <a:noFill/>
            <a:prstDash val="solid"/>
            <a:miter/>
          </a:ln>
        </p:spPr>
        <p:txBody>
          <a:bodyPr rtlCol="0" anchor="ctr"/>
          <a:lstStyle/>
          <a:p>
            <a:endParaRPr lang="de-DE"/>
          </a:p>
        </p:txBody>
      </p:sp>
      <p:sp>
        <p:nvSpPr>
          <p:cNvPr id="368" name="Freihandform: Form 367">
            <a:extLst>
              <a:ext uri="{FF2B5EF4-FFF2-40B4-BE49-F238E27FC236}">
                <a16:creationId xmlns:a16="http://schemas.microsoft.com/office/drawing/2014/main" id="{94E5B3F3-1943-4AAC-A8E5-78E273FC1825}"/>
              </a:ext>
            </a:extLst>
          </p:cNvPr>
          <p:cNvSpPr/>
          <p:nvPr userDrawn="1"/>
        </p:nvSpPr>
        <p:spPr>
          <a:xfrm>
            <a:off x="6988003" y="2046690"/>
            <a:ext cx="117690" cy="127012"/>
          </a:xfrm>
          <a:custGeom>
            <a:avLst/>
            <a:gdLst>
              <a:gd name="connsiteX0" fmla="*/ 53601 w 117690"/>
              <a:gd name="connsiteY0" fmla="*/ 127012 h 127012"/>
              <a:gd name="connsiteX1" fmla="*/ 0 w 117690"/>
              <a:gd name="connsiteY1" fmla="*/ 127012 h 127012"/>
              <a:gd name="connsiteX2" fmla="*/ 62924 w 117690"/>
              <a:gd name="connsiteY2" fmla="*/ 64089 h 127012"/>
              <a:gd name="connsiteX3" fmla="*/ 0 w 117690"/>
              <a:gd name="connsiteY3" fmla="*/ 0 h 127012"/>
              <a:gd name="connsiteX4" fmla="*/ 54767 w 117690"/>
              <a:gd name="connsiteY4" fmla="*/ 0 h 127012"/>
              <a:gd name="connsiteX5" fmla="*/ 117690 w 117690"/>
              <a:gd name="connsiteY5" fmla="*/ 61758 h 12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2">
                <a:moveTo>
                  <a:pt x="53601" y="127012"/>
                </a:moveTo>
                <a:lnTo>
                  <a:pt x="0" y="127012"/>
                </a:lnTo>
                <a:lnTo>
                  <a:pt x="62924" y="64089"/>
                </a:lnTo>
                <a:lnTo>
                  <a:pt x="0" y="0"/>
                </a:lnTo>
                <a:lnTo>
                  <a:pt x="54767" y="0"/>
                </a:lnTo>
                <a:lnTo>
                  <a:pt x="117690" y="61758"/>
                </a:lnTo>
                <a:close/>
              </a:path>
            </a:pathLst>
          </a:custGeom>
          <a:solidFill>
            <a:srgbClr val="EEF2F5"/>
          </a:solidFill>
          <a:ln w="11643" cap="flat">
            <a:noFill/>
            <a:prstDash val="solid"/>
            <a:miter/>
          </a:ln>
        </p:spPr>
        <p:txBody>
          <a:bodyPr rtlCol="0" anchor="ctr"/>
          <a:lstStyle/>
          <a:p>
            <a:endParaRPr lang="de-DE"/>
          </a:p>
        </p:txBody>
      </p:sp>
      <p:sp>
        <p:nvSpPr>
          <p:cNvPr id="369" name="Freihandform: Form 368">
            <a:extLst>
              <a:ext uri="{FF2B5EF4-FFF2-40B4-BE49-F238E27FC236}">
                <a16:creationId xmlns:a16="http://schemas.microsoft.com/office/drawing/2014/main" id="{EDD934F7-8866-497B-BDDF-333CE12CC342}"/>
              </a:ext>
            </a:extLst>
          </p:cNvPr>
          <p:cNvSpPr/>
          <p:nvPr userDrawn="1"/>
        </p:nvSpPr>
        <p:spPr>
          <a:xfrm>
            <a:off x="6988003" y="2400925"/>
            <a:ext cx="117690" cy="127012"/>
          </a:xfrm>
          <a:custGeom>
            <a:avLst/>
            <a:gdLst>
              <a:gd name="connsiteX0" fmla="*/ 53601 w 117690"/>
              <a:gd name="connsiteY0" fmla="*/ 127012 h 127012"/>
              <a:gd name="connsiteX1" fmla="*/ 0 w 117690"/>
              <a:gd name="connsiteY1" fmla="*/ 127012 h 127012"/>
              <a:gd name="connsiteX2" fmla="*/ 62924 w 117690"/>
              <a:gd name="connsiteY2" fmla="*/ 64089 h 127012"/>
              <a:gd name="connsiteX3" fmla="*/ 0 w 117690"/>
              <a:gd name="connsiteY3" fmla="*/ 0 h 127012"/>
              <a:gd name="connsiteX4" fmla="*/ 54767 w 117690"/>
              <a:gd name="connsiteY4" fmla="*/ 0 h 127012"/>
              <a:gd name="connsiteX5" fmla="*/ 117690 w 117690"/>
              <a:gd name="connsiteY5" fmla="*/ 62923 h 12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2">
                <a:moveTo>
                  <a:pt x="53601" y="127012"/>
                </a:moveTo>
                <a:lnTo>
                  <a:pt x="0" y="127012"/>
                </a:lnTo>
                <a:lnTo>
                  <a:pt x="62924" y="64089"/>
                </a:lnTo>
                <a:lnTo>
                  <a:pt x="0" y="0"/>
                </a:lnTo>
                <a:lnTo>
                  <a:pt x="54767" y="0"/>
                </a:lnTo>
                <a:lnTo>
                  <a:pt x="117690" y="62923"/>
                </a:lnTo>
                <a:close/>
              </a:path>
            </a:pathLst>
          </a:custGeom>
          <a:solidFill>
            <a:srgbClr val="EEF2F5"/>
          </a:solidFill>
          <a:ln w="11643" cap="flat">
            <a:noFill/>
            <a:prstDash val="solid"/>
            <a:miter/>
          </a:ln>
        </p:spPr>
        <p:txBody>
          <a:bodyPr rtlCol="0" anchor="ctr"/>
          <a:lstStyle/>
          <a:p>
            <a:endParaRPr lang="de-DE"/>
          </a:p>
        </p:txBody>
      </p:sp>
      <p:sp>
        <p:nvSpPr>
          <p:cNvPr id="370" name="Freihandform: Form 369">
            <a:extLst>
              <a:ext uri="{FF2B5EF4-FFF2-40B4-BE49-F238E27FC236}">
                <a16:creationId xmlns:a16="http://schemas.microsoft.com/office/drawing/2014/main" id="{56DAFA73-B8F0-4EB9-8D0E-120ABAAAC29F}"/>
              </a:ext>
            </a:extLst>
          </p:cNvPr>
          <p:cNvSpPr/>
          <p:nvPr userDrawn="1"/>
        </p:nvSpPr>
        <p:spPr>
          <a:xfrm>
            <a:off x="6988003" y="2756326"/>
            <a:ext cx="117690" cy="127012"/>
          </a:xfrm>
          <a:custGeom>
            <a:avLst/>
            <a:gdLst>
              <a:gd name="connsiteX0" fmla="*/ 53601 w 117690"/>
              <a:gd name="connsiteY0" fmla="*/ 127012 h 127012"/>
              <a:gd name="connsiteX1" fmla="*/ 0 w 117690"/>
              <a:gd name="connsiteY1" fmla="*/ 127012 h 127012"/>
              <a:gd name="connsiteX2" fmla="*/ 62924 w 117690"/>
              <a:gd name="connsiteY2" fmla="*/ 64089 h 127012"/>
              <a:gd name="connsiteX3" fmla="*/ 0 w 117690"/>
              <a:gd name="connsiteY3" fmla="*/ 0 h 127012"/>
              <a:gd name="connsiteX4" fmla="*/ 54767 w 117690"/>
              <a:gd name="connsiteY4" fmla="*/ 0 h 127012"/>
              <a:gd name="connsiteX5" fmla="*/ 117690 w 117690"/>
              <a:gd name="connsiteY5" fmla="*/ 61758 h 12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2">
                <a:moveTo>
                  <a:pt x="53601" y="127012"/>
                </a:moveTo>
                <a:lnTo>
                  <a:pt x="0" y="127012"/>
                </a:lnTo>
                <a:lnTo>
                  <a:pt x="62924" y="64089"/>
                </a:lnTo>
                <a:lnTo>
                  <a:pt x="0" y="0"/>
                </a:lnTo>
                <a:lnTo>
                  <a:pt x="54767" y="0"/>
                </a:lnTo>
                <a:lnTo>
                  <a:pt x="117690" y="61758"/>
                </a:lnTo>
                <a:close/>
              </a:path>
            </a:pathLst>
          </a:custGeom>
          <a:solidFill>
            <a:srgbClr val="EEF2F5"/>
          </a:solidFill>
          <a:ln w="11643" cap="flat">
            <a:noFill/>
            <a:prstDash val="solid"/>
            <a:miter/>
          </a:ln>
        </p:spPr>
        <p:txBody>
          <a:bodyPr rtlCol="0" anchor="ctr"/>
          <a:lstStyle/>
          <a:p>
            <a:endParaRPr lang="de-DE"/>
          </a:p>
        </p:txBody>
      </p:sp>
      <p:sp>
        <p:nvSpPr>
          <p:cNvPr id="371" name="Freihandform: Form 370">
            <a:extLst>
              <a:ext uri="{FF2B5EF4-FFF2-40B4-BE49-F238E27FC236}">
                <a16:creationId xmlns:a16="http://schemas.microsoft.com/office/drawing/2014/main" id="{240F5A60-B565-4874-BFA1-B6F0B7F354EE}"/>
              </a:ext>
            </a:extLst>
          </p:cNvPr>
          <p:cNvSpPr/>
          <p:nvPr userDrawn="1"/>
        </p:nvSpPr>
        <p:spPr>
          <a:xfrm>
            <a:off x="6988003" y="3111726"/>
            <a:ext cx="117690" cy="125846"/>
          </a:xfrm>
          <a:custGeom>
            <a:avLst/>
            <a:gdLst>
              <a:gd name="connsiteX0" fmla="*/ 53601 w 117690"/>
              <a:gd name="connsiteY0" fmla="*/ 125847 h 125846"/>
              <a:gd name="connsiteX1" fmla="*/ 0 w 117690"/>
              <a:gd name="connsiteY1" fmla="*/ 125847 h 125846"/>
              <a:gd name="connsiteX2" fmla="*/ 62924 w 117690"/>
              <a:gd name="connsiteY2" fmla="*/ 62923 h 125846"/>
              <a:gd name="connsiteX3" fmla="*/ 0 w 117690"/>
              <a:gd name="connsiteY3" fmla="*/ 0 h 125846"/>
              <a:gd name="connsiteX4" fmla="*/ 54767 w 117690"/>
              <a:gd name="connsiteY4" fmla="*/ 0 h 125846"/>
              <a:gd name="connsiteX5" fmla="*/ 117690 w 117690"/>
              <a:gd name="connsiteY5" fmla="*/ 61758 h 125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5846">
                <a:moveTo>
                  <a:pt x="53601" y="125847"/>
                </a:moveTo>
                <a:lnTo>
                  <a:pt x="0" y="125847"/>
                </a:lnTo>
                <a:lnTo>
                  <a:pt x="62924" y="62923"/>
                </a:lnTo>
                <a:lnTo>
                  <a:pt x="0" y="0"/>
                </a:lnTo>
                <a:lnTo>
                  <a:pt x="54767" y="0"/>
                </a:lnTo>
                <a:lnTo>
                  <a:pt x="117690" y="61758"/>
                </a:lnTo>
                <a:close/>
              </a:path>
            </a:pathLst>
          </a:custGeom>
          <a:solidFill>
            <a:srgbClr val="EEF2F5"/>
          </a:solidFill>
          <a:ln w="11643" cap="flat">
            <a:noFill/>
            <a:prstDash val="solid"/>
            <a:miter/>
          </a:ln>
        </p:spPr>
        <p:txBody>
          <a:bodyPr rtlCol="0" anchor="ctr"/>
          <a:lstStyle/>
          <a:p>
            <a:endParaRPr lang="de-DE"/>
          </a:p>
        </p:txBody>
      </p:sp>
      <p:sp>
        <p:nvSpPr>
          <p:cNvPr id="372" name="Freihandform: Form 371">
            <a:extLst>
              <a:ext uri="{FF2B5EF4-FFF2-40B4-BE49-F238E27FC236}">
                <a16:creationId xmlns:a16="http://schemas.microsoft.com/office/drawing/2014/main" id="{3C037353-0135-47CD-AF22-880B75EBAC3E}"/>
              </a:ext>
            </a:extLst>
          </p:cNvPr>
          <p:cNvSpPr/>
          <p:nvPr userDrawn="1"/>
        </p:nvSpPr>
        <p:spPr>
          <a:xfrm>
            <a:off x="6988003" y="3465962"/>
            <a:ext cx="117690" cy="127012"/>
          </a:xfrm>
          <a:custGeom>
            <a:avLst/>
            <a:gdLst>
              <a:gd name="connsiteX0" fmla="*/ 53601 w 117690"/>
              <a:gd name="connsiteY0" fmla="*/ 127012 h 127012"/>
              <a:gd name="connsiteX1" fmla="*/ 0 w 117690"/>
              <a:gd name="connsiteY1" fmla="*/ 127012 h 127012"/>
              <a:gd name="connsiteX2" fmla="*/ 62924 w 117690"/>
              <a:gd name="connsiteY2" fmla="*/ 64089 h 127012"/>
              <a:gd name="connsiteX3" fmla="*/ 0 w 117690"/>
              <a:gd name="connsiteY3" fmla="*/ 0 h 127012"/>
              <a:gd name="connsiteX4" fmla="*/ 54767 w 117690"/>
              <a:gd name="connsiteY4" fmla="*/ 0 h 127012"/>
              <a:gd name="connsiteX5" fmla="*/ 117690 w 117690"/>
              <a:gd name="connsiteY5" fmla="*/ 62923 h 12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2">
                <a:moveTo>
                  <a:pt x="53601" y="127012"/>
                </a:moveTo>
                <a:lnTo>
                  <a:pt x="0" y="127012"/>
                </a:lnTo>
                <a:lnTo>
                  <a:pt x="62924" y="64089"/>
                </a:lnTo>
                <a:lnTo>
                  <a:pt x="0" y="0"/>
                </a:lnTo>
                <a:lnTo>
                  <a:pt x="54767" y="0"/>
                </a:lnTo>
                <a:lnTo>
                  <a:pt x="117690" y="62923"/>
                </a:lnTo>
                <a:close/>
              </a:path>
            </a:pathLst>
          </a:custGeom>
          <a:solidFill>
            <a:srgbClr val="EEF2F5"/>
          </a:solidFill>
          <a:ln w="11643" cap="flat">
            <a:noFill/>
            <a:prstDash val="solid"/>
            <a:miter/>
          </a:ln>
        </p:spPr>
        <p:txBody>
          <a:bodyPr rtlCol="0" anchor="ctr"/>
          <a:lstStyle/>
          <a:p>
            <a:endParaRPr lang="de-DE"/>
          </a:p>
        </p:txBody>
      </p:sp>
      <p:sp>
        <p:nvSpPr>
          <p:cNvPr id="373" name="Freihandform: Form 372">
            <a:extLst>
              <a:ext uri="{FF2B5EF4-FFF2-40B4-BE49-F238E27FC236}">
                <a16:creationId xmlns:a16="http://schemas.microsoft.com/office/drawing/2014/main" id="{213D6103-FD9E-4D62-B7C4-1F08EA89236E}"/>
              </a:ext>
            </a:extLst>
          </p:cNvPr>
          <p:cNvSpPr/>
          <p:nvPr userDrawn="1"/>
        </p:nvSpPr>
        <p:spPr>
          <a:xfrm>
            <a:off x="6988003" y="3821362"/>
            <a:ext cx="117690" cy="125846"/>
          </a:xfrm>
          <a:custGeom>
            <a:avLst/>
            <a:gdLst>
              <a:gd name="connsiteX0" fmla="*/ 53601 w 117690"/>
              <a:gd name="connsiteY0" fmla="*/ 125847 h 125846"/>
              <a:gd name="connsiteX1" fmla="*/ 0 w 117690"/>
              <a:gd name="connsiteY1" fmla="*/ 125847 h 125846"/>
              <a:gd name="connsiteX2" fmla="*/ 62924 w 117690"/>
              <a:gd name="connsiteY2" fmla="*/ 62923 h 125846"/>
              <a:gd name="connsiteX3" fmla="*/ 0 w 117690"/>
              <a:gd name="connsiteY3" fmla="*/ 0 h 125846"/>
              <a:gd name="connsiteX4" fmla="*/ 54767 w 117690"/>
              <a:gd name="connsiteY4" fmla="*/ 0 h 125846"/>
              <a:gd name="connsiteX5" fmla="*/ 117690 w 117690"/>
              <a:gd name="connsiteY5" fmla="*/ 61758 h 125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5846">
                <a:moveTo>
                  <a:pt x="53601" y="125847"/>
                </a:moveTo>
                <a:lnTo>
                  <a:pt x="0" y="125847"/>
                </a:lnTo>
                <a:lnTo>
                  <a:pt x="62924" y="62923"/>
                </a:lnTo>
                <a:lnTo>
                  <a:pt x="0" y="0"/>
                </a:lnTo>
                <a:lnTo>
                  <a:pt x="54767" y="0"/>
                </a:lnTo>
                <a:lnTo>
                  <a:pt x="117690" y="61758"/>
                </a:lnTo>
                <a:close/>
              </a:path>
            </a:pathLst>
          </a:custGeom>
          <a:solidFill>
            <a:srgbClr val="EEF2F5"/>
          </a:solidFill>
          <a:ln w="11643" cap="flat">
            <a:noFill/>
            <a:prstDash val="solid"/>
            <a:miter/>
          </a:ln>
        </p:spPr>
        <p:txBody>
          <a:bodyPr rtlCol="0" anchor="ctr"/>
          <a:lstStyle/>
          <a:p>
            <a:endParaRPr lang="de-DE"/>
          </a:p>
        </p:txBody>
      </p:sp>
      <p:sp>
        <p:nvSpPr>
          <p:cNvPr id="374" name="Freihandform: Form 373">
            <a:extLst>
              <a:ext uri="{FF2B5EF4-FFF2-40B4-BE49-F238E27FC236}">
                <a16:creationId xmlns:a16="http://schemas.microsoft.com/office/drawing/2014/main" id="{BFE4BB97-0A78-4555-A56A-0CE8A922BBB4}"/>
              </a:ext>
            </a:extLst>
          </p:cNvPr>
          <p:cNvSpPr/>
          <p:nvPr userDrawn="1"/>
        </p:nvSpPr>
        <p:spPr>
          <a:xfrm>
            <a:off x="6988003" y="4175598"/>
            <a:ext cx="117690" cy="127011"/>
          </a:xfrm>
          <a:custGeom>
            <a:avLst/>
            <a:gdLst>
              <a:gd name="connsiteX0" fmla="*/ 53601 w 117690"/>
              <a:gd name="connsiteY0" fmla="*/ 127012 h 127011"/>
              <a:gd name="connsiteX1" fmla="*/ 0 w 117690"/>
              <a:gd name="connsiteY1" fmla="*/ 127012 h 127011"/>
              <a:gd name="connsiteX2" fmla="*/ 62924 w 117690"/>
              <a:gd name="connsiteY2" fmla="*/ 64089 h 127011"/>
              <a:gd name="connsiteX3" fmla="*/ 0 w 117690"/>
              <a:gd name="connsiteY3" fmla="*/ 0 h 127011"/>
              <a:gd name="connsiteX4" fmla="*/ 54767 w 117690"/>
              <a:gd name="connsiteY4" fmla="*/ 0 h 127011"/>
              <a:gd name="connsiteX5" fmla="*/ 117690 w 117690"/>
              <a:gd name="connsiteY5" fmla="*/ 62923 h 12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1">
                <a:moveTo>
                  <a:pt x="53601" y="127012"/>
                </a:moveTo>
                <a:lnTo>
                  <a:pt x="0" y="127012"/>
                </a:lnTo>
                <a:lnTo>
                  <a:pt x="62924" y="64089"/>
                </a:lnTo>
                <a:lnTo>
                  <a:pt x="0" y="0"/>
                </a:lnTo>
                <a:lnTo>
                  <a:pt x="54767" y="0"/>
                </a:lnTo>
                <a:lnTo>
                  <a:pt x="117690" y="62923"/>
                </a:lnTo>
                <a:close/>
              </a:path>
            </a:pathLst>
          </a:custGeom>
          <a:solidFill>
            <a:srgbClr val="EEF2F5"/>
          </a:solidFill>
          <a:ln w="11643" cap="flat">
            <a:noFill/>
            <a:prstDash val="solid"/>
            <a:miter/>
          </a:ln>
        </p:spPr>
        <p:txBody>
          <a:bodyPr rtlCol="0" anchor="ctr"/>
          <a:lstStyle/>
          <a:p>
            <a:endParaRPr lang="de-DE"/>
          </a:p>
        </p:txBody>
      </p:sp>
      <p:sp>
        <p:nvSpPr>
          <p:cNvPr id="375" name="Freihandform: Form 374">
            <a:extLst>
              <a:ext uri="{FF2B5EF4-FFF2-40B4-BE49-F238E27FC236}">
                <a16:creationId xmlns:a16="http://schemas.microsoft.com/office/drawing/2014/main" id="{A1B20E53-2B21-486E-9646-2EC1DD80CFC0}"/>
              </a:ext>
            </a:extLst>
          </p:cNvPr>
          <p:cNvSpPr/>
          <p:nvPr userDrawn="1"/>
        </p:nvSpPr>
        <p:spPr>
          <a:xfrm>
            <a:off x="6988003" y="4530998"/>
            <a:ext cx="117690" cy="125846"/>
          </a:xfrm>
          <a:custGeom>
            <a:avLst/>
            <a:gdLst>
              <a:gd name="connsiteX0" fmla="*/ 53601 w 117690"/>
              <a:gd name="connsiteY0" fmla="*/ 125847 h 125846"/>
              <a:gd name="connsiteX1" fmla="*/ 0 w 117690"/>
              <a:gd name="connsiteY1" fmla="*/ 125847 h 125846"/>
              <a:gd name="connsiteX2" fmla="*/ 62924 w 117690"/>
              <a:gd name="connsiteY2" fmla="*/ 64089 h 125846"/>
              <a:gd name="connsiteX3" fmla="*/ 0 w 117690"/>
              <a:gd name="connsiteY3" fmla="*/ 0 h 125846"/>
              <a:gd name="connsiteX4" fmla="*/ 54767 w 117690"/>
              <a:gd name="connsiteY4" fmla="*/ 0 h 125846"/>
              <a:gd name="connsiteX5" fmla="*/ 117690 w 117690"/>
              <a:gd name="connsiteY5" fmla="*/ 61758 h 125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5846">
                <a:moveTo>
                  <a:pt x="53601" y="125847"/>
                </a:moveTo>
                <a:lnTo>
                  <a:pt x="0" y="125847"/>
                </a:lnTo>
                <a:lnTo>
                  <a:pt x="62924" y="64089"/>
                </a:lnTo>
                <a:lnTo>
                  <a:pt x="0" y="0"/>
                </a:lnTo>
                <a:lnTo>
                  <a:pt x="54767" y="0"/>
                </a:lnTo>
                <a:lnTo>
                  <a:pt x="117690" y="61758"/>
                </a:lnTo>
                <a:close/>
              </a:path>
            </a:pathLst>
          </a:custGeom>
          <a:solidFill>
            <a:srgbClr val="EEF2F5"/>
          </a:solidFill>
          <a:ln w="11643" cap="flat">
            <a:noFill/>
            <a:prstDash val="solid"/>
            <a:miter/>
          </a:ln>
        </p:spPr>
        <p:txBody>
          <a:bodyPr rtlCol="0" anchor="ctr"/>
          <a:lstStyle/>
          <a:p>
            <a:endParaRPr lang="de-DE"/>
          </a:p>
        </p:txBody>
      </p:sp>
      <p:sp>
        <p:nvSpPr>
          <p:cNvPr id="376" name="Freihandform: Form 375">
            <a:extLst>
              <a:ext uri="{FF2B5EF4-FFF2-40B4-BE49-F238E27FC236}">
                <a16:creationId xmlns:a16="http://schemas.microsoft.com/office/drawing/2014/main" id="{4147BD00-94B9-4CCC-BFE6-30FC48042AA5}"/>
              </a:ext>
            </a:extLst>
          </p:cNvPr>
          <p:cNvSpPr/>
          <p:nvPr userDrawn="1"/>
        </p:nvSpPr>
        <p:spPr>
          <a:xfrm>
            <a:off x="6988003" y="4885234"/>
            <a:ext cx="117690" cy="127012"/>
          </a:xfrm>
          <a:custGeom>
            <a:avLst/>
            <a:gdLst>
              <a:gd name="connsiteX0" fmla="*/ 53601 w 117690"/>
              <a:gd name="connsiteY0" fmla="*/ 127012 h 127012"/>
              <a:gd name="connsiteX1" fmla="*/ 0 w 117690"/>
              <a:gd name="connsiteY1" fmla="*/ 127012 h 127012"/>
              <a:gd name="connsiteX2" fmla="*/ 62924 w 117690"/>
              <a:gd name="connsiteY2" fmla="*/ 64089 h 127012"/>
              <a:gd name="connsiteX3" fmla="*/ 0 w 117690"/>
              <a:gd name="connsiteY3" fmla="*/ 0 h 127012"/>
              <a:gd name="connsiteX4" fmla="*/ 54767 w 117690"/>
              <a:gd name="connsiteY4" fmla="*/ 0 h 127012"/>
              <a:gd name="connsiteX5" fmla="*/ 117690 w 117690"/>
              <a:gd name="connsiteY5" fmla="*/ 62923 h 12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2">
                <a:moveTo>
                  <a:pt x="53601" y="127012"/>
                </a:moveTo>
                <a:lnTo>
                  <a:pt x="0" y="127012"/>
                </a:lnTo>
                <a:lnTo>
                  <a:pt x="62924" y="64089"/>
                </a:lnTo>
                <a:lnTo>
                  <a:pt x="0" y="0"/>
                </a:lnTo>
                <a:lnTo>
                  <a:pt x="54767" y="0"/>
                </a:lnTo>
                <a:lnTo>
                  <a:pt x="117690" y="62923"/>
                </a:lnTo>
                <a:close/>
              </a:path>
            </a:pathLst>
          </a:custGeom>
          <a:solidFill>
            <a:srgbClr val="EEF2F5"/>
          </a:solidFill>
          <a:ln w="11643" cap="flat">
            <a:noFill/>
            <a:prstDash val="solid"/>
            <a:miter/>
          </a:ln>
        </p:spPr>
        <p:txBody>
          <a:bodyPr rtlCol="0" anchor="ctr"/>
          <a:lstStyle/>
          <a:p>
            <a:endParaRPr lang="de-DE"/>
          </a:p>
        </p:txBody>
      </p:sp>
      <p:sp>
        <p:nvSpPr>
          <p:cNvPr id="377" name="Freihandform: Form 376">
            <a:extLst>
              <a:ext uri="{FF2B5EF4-FFF2-40B4-BE49-F238E27FC236}">
                <a16:creationId xmlns:a16="http://schemas.microsoft.com/office/drawing/2014/main" id="{6FD55161-C60E-4123-94C6-998E3F0CBDAE}"/>
              </a:ext>
            </a:extLst>
          </p:cNvPr>
          <p:cNvSpPr/>
          <p:nvPr userDrawn="1"/>
        </p:nvSpPr>
        <p:spPr>
          <a:xfrm>
            <a:off x="6988003" y="5240634"/>
            <a:ext cx="117690" cy="127011"/>
          </a:xfrm>
          <a:custGeom>
            <a:avLst/>
            <a:gdLst>
              <a:gd name="connsiteX0" fmla="*/ 53601 w 117690"/>
              <a:gd name="connsiteY0" fmla="*/ 127012 h 127011"/>
              <a:gd name="connsiteX1" fmla="*/ 0 w 117690"/>
              <a:gd name="connsiteY1" fmla="*/ 127012 h 127011"/>
              <a:gd name="connsiteX2" fmla="*/ 62924 w 117690"/>
              <a:gd name="connsiteY2" fmla="*/ 64089 h 127011"/>
              <a:gd name="connsiteX3" fmla="*/ 0 w 117690"/>
              <a:gd name="connsiteY3" fmla="*/ 0 h 127011"/>
              <a:gd name="connsiteX4" fmla="*/ 54767 w 117690"/>
              <a:gd name="connsiteY4" fmla="*/ 0 h 127011"/>
              <a:gd name="connsiteX5" fmla="*/ 117690 w 117690"/>
              <a:gd name="connsiteY5" fmla="*/ 61758 h 12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1">
                <a:moveTo>
                  <a:pt x="53601" y="127012"/>
                </a:moveTo>
                <a:lnTo>
                  <a:pt x="0" y="127012"/>
                </a:lnTo>
                <a:lnTo>
                  <a:pt x="62924" y="64089"/>
                </a:lnTo>
                <a:lnTo>
                  <a:pt x="0" y="0"/>
                </a:lnTo>
                <a:lnTo>
                  <a:pt x="54767" y="0"/>
                </a:lnTo>
                <a:lnTo>
                  <a:pt x="117690" y="61758"/>
                </a:lnTo>
                <a:close/>
              </a:path>
            </a:pathLst>
          </a:custGeom>
          <a:solidFill>
            <a:srgbClr val="EEF2F5"/>
          </a:solidFill>
          <a:ln w="11643" cap="flat">
            <a:noFill/>
            <a:prstDash val="solid"/>
            <a:miter/>
          </a:ln>
        </p:spPr>
        <p:txBody>
          <a:bodyPr rtlCol="0" anchor="ctr"/>
          <a:lstStyle/>
          <a:p>
            <a:endParaRPr lang="de-DE"/>
          </a:p>
        </p:txBody>
      </p:sp>
      <p:sp>
        <p:nvSpPr>
          <p:cNvPr id="378" name="Freihandform: Form 377">
            <a:extLst>
              <a:ext uri="{FF2B5EF4-FFF2-40B4-BE49-F238E27FC236}">
                <a16:creationId xmlns:a16="http://schemas.microsoft.com/office/drawing/2014/main" id="{F3C8ECE6-A2EF-41DE-A87C-3FB86FCA1031}"/>
              </a:ext>
            </a:extLst>
          </p:cNvPr>
          <p:cNvSpPr/>
          <p:nvPr userDrawn="1"/>
        </p:nvSpPr>
        <p:spPr>
          <a:xfrm>
            <a:off x="6988003" y="5594870"/>
            <a:ext cx="117690" cy="127011"/>
          </a:xfrm>
          <a:custGeom>
            <a:avLst/>
            <a:gdLst>
              <a:gd name="connsiteX0" fmla="*/ 53601 w 117690"/>
              <a:gd name="connsiteY0" fmla="*/ 127012 h 127011"/>
              <a:gd name="connsiteX1" fmla="*/ 0 w 117690"/>
              <a:gd name="connsiteY1" fmla="*/ 127012 h 127011"/>
              <a:gd name="connsiteX2" fmla="*/ 62924 w 117690"/>
              <a:gd name="connsiteY2" fmla="*/ 64089 h 127011"/>
              <a:gd name="connsiteX3" fmla="*/ 0 w 117690"/>
              <a:gd name="connsiteY3" fmla="*/ 0 h 127011"/>
              <a:gd name="connsiteX4" fmla="*/ 54767 w 117690"/>
              <a:gd name="connsiteY4" fmla="*/ 0 h 127011"/>
              <a:gd name="connsiteX5" fmla="*/ 117690 w 117690"/>
              <a:gd name="connsiteY5" fmla="*/ 62923 h 12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1">
                <a:moveTo>
                  <a:pt x="53601" y="127012"/>
                </a:moveTo>
                <a:lnTo>
                  <a:pt x="0" y="127012"/>
                </a:lnTo>
                <a:lnTo>
                  <a:pt x="62924" y="64089"/>
                </a:lnTo>
                <a:lnTo>
                  <a:pt x="0" y="0"/>
                </a:lnTo>
                <a:lnTo>
                  <a:pt x="54767" y="0"/>
                </a:lnTo>
                <a:lnTo>
                  <a:pt x="117690" y="62923"/>
                </a:lnTo>
                <a:close/>
              </a:path>
            </a:pathLst>
          </a:custGeom>
          <a:solidFill>
            <a:srgbClr val="EEF2F5"/>
          </a:solidFill>
          <a:ln w="11643" cap="flat">
            <a:noFill/>
            <a:prstDash val="solid"/>
            <a:miter/>
          </a:ln>
        </p:spPr>
        <p:txBody>
          <a:bodyPr rtlCol="0" anchor="ctr"/>
          <a:lstStyle/>
          <a:p>
            <a:endParaRPr lang="de-DE"/>
          </a:p>
        </p:txBody>
      </p:sp>
      <p:sp>
        <p:nvSpPr>
          <p:cNvPr id="379" name="Freihandform: Form 378">
            <a:extLst>
              <a:ext uri="{FF2B5EF4-FFF2-40B4-BE49-F238E27FC236}">
                <a16:creationId xmlns:a16="http://schemas.microsoft.com/office/drawing/2014/main" id="{B757F792-E71A-486E-A79E-007A9729854D}"/>
              </a:ext>
            </a:extLst>
          </p:cNvPr>
          <p:cNvSpPr/>
          <p:nvPr userDrawn="1"/>
        </p:nvSpPr>
        <p:spPr>
          <a:xfrm>
            <a:off x="6988003" y="5950270"/>
            <a:ext cx="117690" cy="127011"/>
          </a:xfrm>
          <a:custGeom>
            <a:avLst/>
            <a:gdLst>
              <a:gd name="connsiteX0" fmla="*/ 53601 w 117690"/>
              <a:gd name="connsiteY0" fmla="*/ 127012 h 127011"/>
              <a:gd name="connsiteX1" fmla="*/ 0 w 117690"/>
              <a:gd name="connsiteY1" fmla="*/ 127012 h 127011"/>
              <a:gd name="connsiteX2" fmla="*/ 62924 w 117690"/>
              <a:gd name="connsiteY2" fmla="*/ 64089 h 127011"/>
              <a:gd name="connsiteX3" fmla="*/ 0 w 117690"/>
              <a:gd name="connsiteY3" fmla="*/ 0 h 127011"/>
              <a:gd name="connsiteX4" fmla="*/ 54767 w 117690"/>
              <a:gd name="connsiteY4" fmla="*/ 0 h 127011"/>
              <a:gd name="connsiteX5" fmla="*/ 117690 w 117690"/>
              <a:gd name="connsiteY5" fmla="*/ 61758 h 12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1">
                <a:moveTo>
                  <a:pt x="53601" y="127012"/>
                </a:moveTo>
                <a:lnTo>
                  <a:pt x="0" y="127012"/>
                </a:lnTo>
                <a:lnTo>
                  <a:pt x="62924" y="64089"/>
                </a:lnTo>
                <a:lnTo>
                  <a:pt x="0" y="0"/>
                </a:lnTo>
                <a:lnTo>
                  <a:pt x="54767" y="0"/>
                </a:lnTo>
                <a:lnTo>
                  <a:pt x="117690" y="61758"/>
                </a:lnTo>
                <a:close/>
              </a:path>
            </a:pathLst>
          </a:custGeom>
          <a:solidFill>
            <a:srgbClr val="EEF2F5"/>
          </a:solidFill>
          <a:ln w="11643" cap="flat">
            <a:noFill/>
            <a:prstDash val="solid"/>
            <a:miter/>
          </a:ln>
        </p:spPr>
        <p:txBody>
          <a:bodyPr rtlCol="0" anchor="ctr"/>
          <a:lstStyle/>
          <a:p>
            <a:endParaRPr lang="de-DE"/>
          </a:p>
        </p:txBody>
      </p:sp>
      <p:sp>
        <p:nvSpPr>
          <p:cNvPr id="380" name="Freihandform: Form 379">
            <a:extLst>
              <a:ext uri="{FF2B5EF4-FFF2-40B4-BE49-F238E27FC236}">
                <a16:creationId xmlns:a16="http://schemas.microsoft.com/office/drawing/2014/main" id="{15F4D627-864D-47BE-9457-2AFE1454DAE3}"/>
              </a:ext>
            </a:extLst>
          </p:cNvPr>
          <p:cNvSpPr/>
          <p:nvPr userDrawn="1"/>
        </p:nvSpPr>
        <p:spPr>
          <a:xfrm>
            <a:off x="6988003" y="6304506"/>
            <a:ext cx="117690" cy="127011"/>
          </a:xfrm>
          <a:custGeom>
            <a:avLst/>
            <a:gdLst>
              <a:gd name="connsiteX0" fmla="*/ 53601 w 117690"/>
              <a:gd name="connsiteY0" fmla="*/ 127012 h 127011"/>
              <a:gd name="connsiteX1" fmla="*/ 0 w 117690"/>
              <a:gd name="connsiteY1" fmla="*/ 127012 h 127011"/>
              <a:gd name="connsiteX2" fmla="*/ 62924 w 117690"/>
              <a:gd name="connsiteY2" fmla="*/ 64089 h 127011"/>
              <a:gd name="connsiteX3" fmla="*/ 0 w 117690"/>
              <a:gd name="connsiteY3" fmla="*/ 0 h 127011"/>
              <a:gd name="connsiteX4" fmla="*/ 54767 w 117690"/>
              <a:gd name="connsiteY4" fmla="*/ 0 h 127011"/>
              <a:gd name="connsiteX5" fmla="*/ 117690 w 117690"/>
              <a:gd name="connsiteY5" fmla="*/ 62923 h 12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1">
                <a:moveTo>
                  <a:pt x="53601" y="127012"/>
                </a:moveTo>
                <a:lnTo>
                  <a:pt x="0" y="127012"/>
                </a:lnTo>
                <a:lnTo>
                  <a:pt x="62924" y="64089"/>
                </a:lnTo>
                <a:lnTo>
                  <a:pt x="0" y="0"/>
                </a:lnTo>
                <a:lnTo>
                  <a:pt x="54767" y="0"/>
                </a:lnTo>
                <a:lnTo>
                  <a:pt x="117690" y="62923"/>
                </a:lnTo>
                <a:close/>
              </a:path>
            </a:pathLst>
          </a:custGeom>
          <a:solidFill>
            <a:srgbClr val="EEF2F5"/>
          </a:solidFill>
          <a:ln w="11643" cap="flat">
            <a:noFill/>
            <a:prstDash val="solid"/>
            <a:miter/>
          </a:ln>
        </p:spPr>
        <p:txBody>
          <a:bodyPr rtlCol="0" anchor="ctr"/>
          <a:lstStyle/>
          <a:p>
            <a:endParaRPr lang="de-DE"/>
          </a:p>
        </p:txBody>
      </p:sp>
      <p:sp>
        <p:nvSpPr>
          <p:cNvPr id="381" name="Freihandform: Form 380">
            <a:extLst>
              <a:ext uri="{FF2B5EF4-FFF2-40B4-BE49-F238E27FC236}">
                <a16:creationId xmlns:a16="http://schemas.microsoft.com/office/drawing/2014/main" id="{5B9A1A98-26A6-4C1D-928E-D24F433024ED}"/>
              </a:ext>
            </a:extLst>
          </p:cNvPr>
          <p:cNvSpPr/>
          <p:nvPr userDrawn="1"/>
        </p:nvSpPr>
        <p:spPr>
          <a:xfrm>
            <a:off x="6988003" y="6659906"/>
            <a:ext cx="117690" cy="127011"/>
          </a:xfrm>
          <a:custGeom>
            <a:avLst/>
            <a:gdLst>
              <a:gd name="connsiteX0" fmla="*/ 53601 w 117690"/>
              <a:gd name="connsiteY0" fmla="*/ 127012 h 127011"/>
              <a:gd name="connsiteX1" fmla="*/ 0 w 117690"/>
              <a:gd name="connsiteY1" fmla="*/ 127012 h 127011"/>
              <a:gd name="connsiteX2" fmla="*/ 62924 w 117690"/>
              <a:gd name="connsiteY2" fmla="*/ 64089 h 127011"/>
              <a:gd name="connsiteX3" fmla="*/ 0 w 117690"/>
              <a:gd name="connsiteY3" fmla="*/ 0 h 127011"/>
              <a:gd name="connsiteX4" fmla="*/ 54767 w 117690"/>
              <a:gd name="connsiteY4" fmla="*/ 0 h 127011"/>
              <a:gd name="connsiteX5" fmla="*/ 117690 w 117690"/>
              <a:gd name="connsiteY5" fmla="*/ 61758 h 12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1">
                <a:moveTo>
                  <a:pt x="53601" y="127012"/>
                </a:moveTo>
                <a:lnTo>
                  <a:pt x="0" y="127012"/>
                </a:lnTo>
                <a:lnTo>
                  <a:pt x="62924" y="64089"/>
                </a:lnTo>
                <a:lnTo>
                  <a:pt x="0" y="0"/>
                </a:lnTo>
                <a:lnTo>
                  <a:pt x="54767" y="0"/>
                </a:lnTo>
                <a:lnTo>
                  <a:pt x="117690" y="61758"/>
                </a:lnTo>
                <a:close/>
              </a:path>
            </a:pathLst>
          </a:custGeom>
          <a:solidFill>
            <a:srgbClr val="EEF2F5"/>
          </a:solidFill>
          <a:ln w="11643" cap="flat">
            <a:noFill/>
            <a:prstDash val="solid"/>
            <a:miter/>
          </a:ln>
        </p:spPr>
        <p:txBody>
          <a:bodyPr rtlCol="0" anchor="ctr"/>
          <a:lstStyle/>
          <a:p>
            <a:endParaRPr lang="de-DE"/>
          </a:p>
        </p:txBody>
      </p:sp>
      <p:sp>
        <p:nvSpPr>
          <p:cNvPr id="382" name="Freihandform: Form 381">
            <a:extLst>
              <a:ext uri="{FF2B5EF4-FFF2-40B4-BE49-F238E27FC236}">
                <a16:creationId xmlns:a16="http://schemas.microsoft.com/office/drawing/2014/main" id="{82A4EEA7-5CFB-4E90-9AD2-D5ED8D09BC3C}"/>
              </a:ext>
            </a:extLst>
          </p:cNvPr>
          <p:cNvSpPr/>
          <p:nvPr userDrawn="1"/>
        </p:nvSpPr>
        <p:spPr>
          <a:xfrm>
            <a:off x="7335247" y="2038533"/>
            <a:ext cx="132838" cy="143325"/>
          </a:xfrm>
          <a:custGeom>
            <a:avLst/>
            <a:gdLst>
              <a:gd name="connsiteX0" fmla="*/ 60593 w 132838"/>
              <a:gd name="connsiteY0" fmla="*/ 143326 h 143325"/>
              <a:gd name="connsiteX1" fmla="*/ 0 w 132838"/>
              <a:gd name="connsiteY1" fmla="*/ 143326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6"/>
                </a:moveTo>
                <a:lnTo>
                  <a:pt x="0" y="143326"/>
                </a:lnTo>
                <a:lnTo>
                  <a:pt x="71080" y="72245"/>
                </a:lnTo>
                <a:lnTo>
                  <a:pt x="0" y="0"/>
                </a:lnTo>
                <a:lnTo>
                  <a:pt x="61758" y="0"/>
                </a:lnTo>
                <a:lnTo>
                  <a:pt x="132838" y="69915"/>
                </a:lnTo>
                <a:close/>
              </a:path>
            </a:pathLst>
          </a:custGeom>
          <a:solidFill>
            <a:srgbClr val="EEF2F5"/>
          </a:solidFill>
          <a:ln w="11643" cap="flat">
            <a:noFill/>
            <a:prstDash val="solid"/>
            <a:miter/>
          </a:ln>
        </p:spPr>
        <p:txBody>
          <a:bodyPr rtlCol="0" anchor="ctr"/>
          <a:lstStyle/>
          <a:p>
            <a:endParaRPr lang="de-DE"/>
          </a:p>
        </p:txBody>
      </p:sp>
      <p:sp>
        <p:nvSpPr>
          <p:cNvPr id="383" name="Freihandform: Form 382">
            <a:extLst>
              <a:ext uri="{FF2B5EF4-FFF2-40B4-BE49-F238E27FC236}">
                <a16:creationId xmlns:a16="http://schemas.microsoft.com/office/drawing/2014/main" id="{6C9D3BF2-6E80-41A7-A83F-18F86CB24C49}"/>
              </a:ext>
            </a:extLst>
          </p:cNvPr>
          <p:cNvSpPr/>
          <p:nvPr userDrawn="1"/>
        </p:nvSpPr>
        <p:spPr>
          <a:xfrm>
            <a:off x="7335247" y="2392768"/>
            <a:ext cx="132838" cy="143325"/>
          </a:xfrm>
          <a:custGeom>
            <a:avLst/>
            <a:gdLst>
              <a:gd name="connsiteX0" fmla="*/ 60593 w 132838"/>
              <a:gd name="connsiteY0" fmla="*/ 143325 h 143325"/>
              <a:gd name="connsiteX1" fmla="*/ 0 w 132838"/>
              <a:gd name="connsiteY1" fmla="*/ 143325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71080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5"/>
                </a:moveTo>
                <a:lnTo>
                  <a:pt x="0" y="143325"/>
                </a:lnTo>
                <a:lnTo>
                  <a:pt x="71080" y="72245"/>
                </a:lnTo>
                <a:lnTo>
                  <a:pt x="0" y="0"/>
                </a:lnTo>
                <a:lnTo>
                  <a:pt x="61758" y="0"/>
                </a:lnTo>
                <a:lnTo>
                  <a:pt x="132838" y="71080"/>
                </a:lnTo>
                <a:close/>
              </a:path>
            </a:pathLst>
          </a:custGeom>
          <a:solidFill>
            <a:srgbClr val="EEF2F5"/>
          </a:solidFill>
          <a:ln w="11643" cap="flat">
            <a:noFill/>
            <a:prstDash val="solid"/>
            <a:miter/>
          </a:ln>
        </p:spPr>
        <p:txBody>
          <a:bodyPr rtlCol="0" anchor="ctr"/>
          <a:lstStyle/>
          <a:p>
            <a:endParaRPr lang="de-DE"/>
          </a:p>
        </p:txBody>
      </p:sp>
      <p:sp>
        <p:nvSpPr>
          <p:cNvPr id="384" name="Freihandform: Form 383">
            <a:extLst>
              <a:ext uri="{FF2B5EF4-FFF2-40B4-BE49-F238E27FC236}">
                <a16:creationId xmlns:a16="http://schemas.microsoft.com/office/drawing/2014/main" id="{DBA45F13-8F61-4402-AA92-16AA0BF673F4}"/>
              </a:ext>
            </a:extLst>
          </p:cNvPr>
          <p:cNvSpPr/>
          <p:nvPr userDrawn="1"/>
        </p:nvSpPr>
        <p:spPr>
          <a:xfrm>
            <a:off x="7335247" y="2748169"/>
            <a:ext cx="132838" cy="143325"/>
          </a:xfrm>
          <a:custGeom>
            <a:avLst/>
            <a:gdLst>
              <a:gd name="connsiteX0" fmla="*/ 60593 w 132838"/>
              <a:gd name="connsiteY0" fmla="*/ 143325 h 143325"/>
              <a:gd name="connsiteX1" fmla="*/ 0 w 132838"/>
              <a:gd name="connsiteY1" fmla="*/ 143325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5"/>
                </a:moveTo>
                <a:lnTo>
                  <a:pt x="0" y="143325"/>
                </a:lnTo>
                <a:lnTo>
                  <a:pt x="71080" y="72245"/>
                </a:lnTo>
                <a:lnTo>
                  <a:pt x="0" y="0"/>
                </a:lnTo>
                <a:lnTo>
                  <a:pt x="61758" y="0"/>
                </a:lnTo>
                <a:lnTo>
                  <a:pt x="132838" y="69915"/>
                </a:lnTo>
                <a:close/>
              </a:path>
            </a:pathLst>
          </a:custGeom>
          <a:solidFill>
            <a:srgbClr val="EEF2F5"/>
          </a:solidFill>
          <a:ln w="11643" cap="flat">
            <a:noFill/>
            <a:prstDash val="solid"/>
            <a:miter/>
          </a:ln>
        </p:spPr>
        <p:txBody>
          <a:bodyPr rtlCol="0" anchor="ctr"/>
          <a:lstStyle/>
          <a:p>
            <a:endParaRPr lang="de-DE"/>
          </a:p>
        </p:txBody>
      </p:sp>
      <p:sp>
        <p:nvSpPr>
          <p:cNvPr id="385" name="Freihandform: Form 384">
            <a:extLst>
              <a:ext uri="{FF2B5EF4-FFF2-40B4-BE49-F238E27FC236}">
                <a16:creationId xmlns:a16="http://schemas.microsoft.com/office/drawing/2014/main" id="{C75C3C28-90BF-4A16-BD17-5BEF223EA73E}"/>
              </a:ext>
            </a:extLst>
          </p:cNvPr>
          <p:cNvSpPr/>
          <p:nvPr userDrawn="1"/>
        </p:nvSpPr>
        <p:spPr>
          <a:xfrm>
            <a:off x="7335247" y="3102404"/>
            <a:ext cx="132838" cy="143325"/>
          </a:xfrm>
          <a:custGeom>
            <a:avLst/>
            <a:gdLst>
              <a:gd name="connsiteX0" fmla="*/ 60593 w 132838"/>
              <a:gd name="connsiteY0" fmla="*/ 143326 h 143325"/>
              <a:gd name="connsiteX1" fmla="*/ 0 w 132838"/>
              <a:gd name="connsiteY1" fmla="*/ 143326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71080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6"/>
                </a:moveTo>
                <a:lnTo>
                  <a:pt x="0" y="143326"/>
                </a:lnTo>
                <a:lnTo>
                  <a:pt x="71080" y="72245"/>
                </a:lnTo>
                <a:lnTo>
                  <a:pt x="0" y="0"/>
                </a:lnTo>
                <a:lnTo>
                  <a:pt x="61758" y="0"/>
                </a:lnTo>
                <a:lnTo>
                  <a:pt x="132838" y="71080"/>
                </a:lnTo>
                <a:close/>
              </a:path>
            </a:pathLst>
          </a:custGeom>
          <a:solidFill>
            <a:srgbClr val="EEF2F5"/>
          </a:solidFill>
          <a:ln w="11643" cap="flat">
            <a:noFill/>
            <a:prstDash val="solid"/>
            <a:miter/>
          </a:ln>
        </p:spPr>
        <p:txBody>
          <a:bodyPr rtlCol="0" anchor="ctr"/>
          <a:lstStyle/>
          <a:p>
            <a:endParaRPr lang="de-DE"/>
          </a:p>
        </p:txBody>
      </p:sp>
      <p:sp>
        <p:nvSpPr>
          <p:cNvPr id="386" name="Freihandform: Form 385">
            <a:extLst>
              <a:ext uri="{FF2B5EF4-FFF2-40B4-BE49-F238E27FC236}">
                <a16:creationId xmlns:a16="http://schemas.microsoft.com/office/drawing/2014/main" id="{1170380C-68A1-44F1-B1A8-DF05F90C065C}"/>
              </a:ext>
            </a:extLst>
          </p:cNvPr>
          <p:cNvSpPr/>
          <p:nvPr userDrawn="1"/>
        </p:nvSpPr>
        <p:spPr>
          <a:xfrm>
            <a:off x="7335247" y="3457805"/>
            <a:ext cx="132838" cy="143325"/>
          </a:xfrm>
          <a:custGeom>
            <a:avLst/>
            <a:gdLst>
              <a:gd name="connsiteX0" fmla="*/ 60593 w 132838"/>
              <a:gd name="connsiteY0" fmla="*/ 143326 h 143325"/>
              <a:gd name="connsiteX1" fmla="*/ 0 w 132838"/>
              <a:gd name="connsiteY1" fmla="*/ 143326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6"/>
                </a:moveTo>
                <a:lnTo>
                  <a:pt x="0" y="143326"/>
                </a:lnTo>
                <a:lnTo>
                  <a:pt x="71080" y="72245"/>
                </a:lnTo>
                <a:lnTo>
                  <a:pt x="0" y="0"/>
                </a:lnTo>
                <a:lnTo>
                  <a:pt x="61758" y="0"/>
                </a:lnTo>
                <a:lnTo>
                  <a:pt x="132838" y="69915"/>
                </a:lnTo>
                <a:close/>
              </a:path>
            </a:pathLst>
          </a:custGeom>
          <a:solidFill>
            <a:srgbClr val="EEF2F5"/>
          </a:solidFill>
          <a:ln w="11643" cap="flat">
            <a:noFill/>
            <a:prstDash val="solid"/>
            <a:miter/>
          </a:ln>
        </p:spPr>
        <p:txBody>
          <a:bodyPr rtlCol="0" anchor="ctr"/>
          <a:lstStyle/>
          <a:p>
            <a:endParaRPr lang="de-DE"/>
          </a:p>
        </p:txBody>
      </p:sp>
      <p:sp>
        <p:nvSpPr>
          <p:cNvPr id="387" name="Freihandform: Form 386">
            <a:extLst>
              <a:ext uri="{FF2B5EF4-FFF2-40B4-BE49-F238E27FC236}">
                <a16:creationId xmlns:a16="http://schemas.microsoft.com/office/drawing/2014/main" id="{553EF259-97B4-4E0D-B27F-A6E4D2E18BEB}"/>
              </a:ext>
            </a:extLst>
          </p:cNvPr>
          <p:cNvSpPr/>
          <p:nvPr userDrawn="1"/>
        </p:nvSpPr>
        <p:spPr>
          <a:xfrm>
            <a:off x="7335247" y="3812040"/>
            <a:ext cx="132838" cy="144490"/>
          </a:xfrm>
          <a:custGeom>
            <a:avLst/>
            <a:gdLst>
              <a:gd name="connsiteX0" fmla="*/ 60593 w 132838"/>
              <a:gd name="connsiteY0" fmla="*/ 144491 h 144490"/>
              <a:gd name="connsiteX1" fmla="*/ 0 w 132838"/>
              <a:gd name="connsiteY1" fmla="*/ 144491 h 144490"/>
              <a:gd name="connsiteX2" fmla="*/ 71080 w 132838"/>
              <a:gd name="connsiteY2" fmla="*/ 73410 h 144490"/>
              <a:gd name="connsiteX3" fmla="*/ 0 w 132838"/>
              <a:gd name="connsiteY3" fmla="*/ 0 h 144490"/>
              <a:gd name="connsiteX4" fmla="*/ 61758 w 132838"/>
              <a:gd name="connsiteY4" fmla="*/ 0 h 144490"/>
              <a:gd name="connsiteX5" fmla="*/ 132838 w 132838"/>
              <a:gd name="connsiteY5" fmla="*/ 71080 h 144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4490">
                <a:moveTo>
                  <a:pt x="60593" y="144491"/>
                </a:moveTo>
                <a:lnTo>
                  <a:pt x="0" y="144491"/>
                </a:lnTo>
                <a:lnTo>
                  <a:pt x="71080" y="73410"/>
                </a:lnTo>
                <a:lnTo>
                  <a:pt x="0" y="0"/>
                </a:lnTo>
                <a:lnTo>
                  <a:pt x="61758" y="0"/>
                </a:lnTo>
                <a:lnTo>
                  <a:pt x="132838" y="71080"/>
                </a:lnTo>
                <a:close/>
              </a:path>
            </a:pathLst>
          </a:custGeom>
          <a:solidFill>
            <a:srgbClr val="EEF2F5"/>
          </a:solidFill>
          <a:ln w="11643" cap="flat">
            <a:noFill/>
            <a:prstDash val="solid"/>
            <a:miter/>
          </a:ln>
        </p:spPr>
        <p:txBody>
          <a:bodyPr rtlCol="0" anchor="ctr"/>
          <a:lstStyle/>
          <a:p>
            <a:endParaRPr lang="de-DE"/>
          </a:p>
        </p:txBody>
      </p:sp>
      <p:sp>
        <p:nvSpPr>
          <p:cNvPr id="388" name="Freihandform: Form 387">
            <a:extLst>
              <a:ext uri="{FF2B5EF4-FFF2-40B4-BE49-F238E27FC236}">
                <a16:creationId xmlns:a16="http://schemas.microsoft.com/office/drawing/2014/main" id="{EB5F5B5A-9CB5-47D1-91FC-556189A9F9A6}"/>
              </a:ext>
            </a:extLst>
          </p:cNvPr>
          <p:cNvSpPr/>
          <p:nvPr userDrawn="1"/>
        </p:nvSpPr>
        <p:spPr>
          <a:xfrm>
            <a:off x="7335247" y="4167441"/>
            <a:ext cx="132838" cy="143325"/>
          </a:xfrm>
          <a:custGeom>
            <a:avLst/>
            <a:gdLst>
              <a:gd name="connsiteX0" fmla="*/ 60593 w 132838"/>
              <a:gd name="connsiteY0" fmla="*/ 143325 h 143325"/>
              <a:gd name="connsiteX1" fmla="*/ 0 w 132838"/>
              <a:gd name="connsiteY1" fmla="*/ 143325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5"/>
                </a:moveTo>
                <a:lnTo>
                  <a:pt x="0" y="143325"/>
                </a:lnTo>
                <a:lnTo>
                  <a:pt x="71080" y="72245"/>
                </a:lnTo>
                <a:lnTo>
                  <a:pt x="0" y="0"/>
                </a:lnTo>
                <a:lnTo>
                  <a:pt x="61758" y="0"/>
                </a:lnTo>
                <a:lnTo>
                  <a:pt x="132838" y="69915"/>
                </a:lnTo>
                <a:close/>
              </a:path>
            </a:pathLst>
          </a:custGeom>
          <a:solidFill>
            <a:srgbClr val="EEF2F5"/>
          </a:solidFill>
          <a:ln w="11643" cap="flat">
            <a:noFill/>
            <a:prstDash val="solid"/>
            <a:miter/>
          </a:ln>
        </p:spPr>
        <p:txBody>
          <a:bodyPr rtlCol="0" anchor="ctr"/>
          <a:lstStyle/>
          <a:p>
            <a:endParaRPr lang="de-DE"/>
          </a:p>
        </p:txBody>
      </p:sp>
      <p:sp>
        <p:nvSpPr>
          <p:cNvPr id="389" name="Freihandform: Form 388">
            <a:extLst>
              <a:ext uri="{FF2B5EF4-FFF2-40B4-BE49-F238E27FC236}">
                <a16:creationId xmlns:a16="http://schemas.microsoft.com/office/drawing/2014/main" id="{01DDC0E0-D1C4-4A00-B92F-DF0D19F49DE5}"/>
              </a:ext>
            </a:extLst>
          </p:cNvPr>
          <p:cNvSpPr/>
          <p:nvPr userDrawn="1"/>
        </p:nvSpPr>
        <p:spPr>
          <a:xfrm>
            <a:off x="7335247" y="4522842"/>
            <a:ext cx="132838" cy="143325"/>
          </a:xfrm>
          <a:custGeom>
            <a:avLst/>
            <a:gdLst>
              <a:gd name="connsiteX0" fmla="*/ 60593 w 132838"/>
              <a:gd name="connsiteY0" fmla="*/ 143325 h 143325"/>
              <a:gd name="connsiteX1" fmla="*/ 0 w 132838"/>
              <a:gd name="connsiteY1" fmla="*/ 143325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5"/>
                </a:moveTo>
                <a:lnTo>
                  <a:pt x="0" y="143325"/>
                </a:lnTo>
                <a:lnTo>
                  <a:pt x="71080" y="72245"/>
                </a:lnTo>
                <a:lnTo>
                  <a:pt x="0" y="0"/>
                </a:lnTo>
                <a:lnTo>
                  <a:pt x="61758" y="0"/>
                </a:lnTo>
                <a:lnTo>
                  <a:pt x="132838" y="69915"/>
                </a:lnTo>
                <a:close/>
              </a:path>
            </a:pathLst>
          </a:custGeom>
          <a:solidFill>
            <a:srgbClr val="EEF2F5"/>
          </a:solidFill>
          <a:ln w="11643" cap="flat">
            <a:noFill/>
            <a:prstDash val="solid"/>
            <a:miter/>
          </a:ln>
        </p:spPr>
        <p:txBody>
          <a:bodyPr rtlCol="0" anchor="ctr"/>
          <a:lstStyle/>
          <a:p>
            <a:endParaRPr lang="de-DE"/>
          </a:p>
        </p:txBody>
      </p:sp>
      <p:sp>
        <p:nvSpPr>
          <p:cNvPr id="390" name="Freihandform: Form 389">
            <a:extLst>
              <a:ext uri="{FF2B5EF4-FFF2-40B4-BE49-F238E27FC236}">
                <a16:creationId xmlns:a16="http://schemas.microsoft.com/office/drawing/2014/main" id="{F05542B7-5A13-43F4-A6B6-3D91FBE8F247}"/>
              </a:ext>
            </a:extLst>
          </p:cNvPr>
          <p:cNvSpPr/>
          <p:nvPr userDrawn="1"/>
        </p:nvSpPr>
        <p:spPr>
          <a:xfrm>
            <a:off x="7335247" y="4877077"/>
            <a:ext cx="132838" cy="143325"/>
          </a:xfrm>
          <a:custGeom>
            <a:avLst/>
            <a:gdLst>
              <a:gd name="connsiteX0" fmla="*/ 60593 w 132838"/>
              <a:gd name="connsiteY0" fmla="*/ 143325 h 143325"/>
              <a:gd name="connsiteX1" fmla="*/ 0 w 132838"/>
              <a:gd name="connsiteY1" fmla="*/ 143325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71080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5"/>
                </a:moveTo>
                <a:lnTo>
                  <a:pt x="0" y="143325"/>
                </a:lnTo>
                <a:lnTo>
                  <a:pt x="71080" y="72245"/>
                </a:lnTo>
                <a:lnTo>
                  <a:pt x="0" y="0"/>
                </a:lnTo>
                <a:lnTo>
                  <a:pt x="61758" y="0"/>
                </a:lnTo>
                <a:lnTo>
                  <a:pt x="132838" y="71080"/>
                </a:lnTo>
                <a:close/>
              </a:path>
            </a:pathLst>
          </a:custGeom>
          <a:solidFill>
            <a:srgbClr val="EEF2F5"/>
          </a:solidFill>
          <a:ln w="11643" cap="flat">
            <a:noFill/>
            <a:prstDash val="solid"/>
            <a:miter/>
          </a:ln>
        </p:spPr>
        <p:txBody>
          <a:bodyPr rtlCol="0" anchor="ctr"/>
          <a:lstStyle/>
          <a:p>
            <a:endParaRPr lang="de-DE"/>
          </a:p>
        </p:txBody>
      </p:sp>
      <p:sp>
        <p:nvSpPr>
          <p:cNvPr id="391" name="Freihandform: Form 390">
            <a:extLst>
              <a:ext uri="{FF2B5EF4-FFF2-40B4-BE49-F238E27FC236}">
                <a16:creationId xmlns:a16="http://schemas.microsoft.com/office/drawing/2014/main" id="{4A5DEDF6-969D-405A-A7AC-2CF3502C1348}"/>
              </a:ext>
            </a:extLst>
          </p:cNvPr>
          <p:cNvSpPr/>
          <p:nvPr userDrawn="1"/>
        </p:nvSpPr>
        <p:spPr>
          <a:xfrm>
            <a:off x="7335247" y="5232478"/>
            <a:ext cx="132838" cy="143325"/>
          </a:xfrm>
          <a:custGeom>
            <a:avLst/>
            <a:gdLst>
              <a:gd name="connsiteX0" fmla="*/ 60593 w 132838"/>
              <a:gd name="connsiteY0" fmla="*/ 143325 h 143325"/>
              <a:gd name="connsiteX1" fmla="*/ 0 w 132838"/>
              <a:gd name="connsiteY1" fmla="*/ 143325 h 143325"/>
              <a:gd name="connsiteX2" fmla="*/ 71080 w 132838"/>
              <a:gd name="connsiteY2" fmla="*/ 72246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5"/>
                </a:moveTo>
                <a:lnTo>
                  <a:pt x="0" y="143325"/>
                </a:lnTo>
                <a:lnTo>
                  <a:pt x="71080" y="72246"/>
                </a:lnTo>
                <a:lnTo>
                  <a:pt x="0" y="0"/>
                </a:lnTo>
                <a:lnTo>
                  <a:pt x="61758" y="0"/>
                </a:lnTo>
                <a:lnTo>
                  <a:pt x="132838" y="69915"/>
                </a:lnTo>
                <a:close/>
              </a:path>
            </a:pathLst>
          </a:custGeom>
          <a:solidFill>
            <a:srgbClr val="EEF2F5"/>
          </a:solidFill>
          <a:ln w="11643" cap="flat">
            <a:noFill/>
            <a:prstDash val="solid"/>
            <a:miter/>
          </a:ln>
        </p:spPr>
        <p:txBody>
          <a:bodyPr rtlCol="0" anchor="ctr"/>
          <a:lstStyle/>
          <a:p>
            <a:endParaRPr lang="de-DE"/>
          </a:p>
        </p:txBody>
      </p:sp>
      <p:sp>
        <p:nvSpPr>
          <p:cNvPr id="392" name="Freihandform: Form 391">
            <a:extLst>
              <a:ext uri="{FF2B5EF4-FFF2-40B4-BE49-F238E27FC236}">
                <a16:creationId xmlns:a16="http://schemas.microsoft.com/office/drawing/2014/main" id="{992F37D0-9AF3-405A-84A6-76CAAC63FCC5}"/>
              </a:ext>
            </a:extLst>
          </p:cNvPr>
          <p:cNvSpPr/>
          <p:nvPr userDrawn="1"/>
        </p:nvSpPr>
        <p:spPr>
          <a:xfrm>
            <a:off x="7335247" y="5586713"/>
            <a:ext cx="132838" cy="143325"/>
          </a:xfrm>
          <a:custGeom>
            <a:avLst/>
            <a:gdLst>
              <a:gd name="connsiteX0" fmla="*/ 60593 w 132838"/>
              <a:gd name="connsiteY0" fmla="*/ 143326 h 143325"/>
              <a:gd name="connsiteX1" fmla="*/ 0 w 132838"/>
              <a:gd name="connsiteY1" fmla="*/ 143326 h 143325"/>
              <a:gd name="connsiteX2" fmla="*/ 71080 w 132838"/>
              <a:gd name="connsiteY2" fmla="*/ 72246 h 143325"/>
              <a:gd name="connsiteX3" fmla="*/ 0 w 132838"/>
              <a:gd name="connsiteY3" fmla="*/ 0 h 143325"/>
              <a:gd name="connsiteX4" fmla="*/ 61758 w 132838"/>
              <a:gd name="connsiteY4" fmla="*/ 0 h 143325"/>
              <a:gd name="connsiteX5" fmla="*/ 132838 w 132838"/>
              <a:gd name="connsiteY5" fmla="*/ 71080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6"/>
                </a:moveTo>
                <a:lnTo>
                  <a:pt x="0" y="143326"/>
                </a:lnTo>
                <a:lnTo>
                  <a:pt x="71080" y="72246"/>
                </a:lnTo>
                <a:lnTo>
                  <a:pt x="0" y="0"/>
                </a:lnTo>
                <a:lnTo>
                  <a:pt x="61758" y="0"/>
                </a:lnTo>
                <a:lnTo>
                  <a:pt x="132838" y="71080"/>
                </a:lnTo>
                <a:close/>
              </a:path>
            </a:pathLst>
          </a:custGeom>
          <a:solidFill>
            <a:srgbClr val="EEF2F5"/>
          </a:solidFill>
          <a:ln w="11643" cap="flat">
            <a:noFill/>
            <a:prstDash val="solid"/>
            <a:miter/>
          </a:ln>
        </p:spPr>
        <p:txBody>
          <a:bodyPr rtlCol="0" anchor="ctr"/>
          <a:lstStyle/>
          <a:p>
            <a:endParaRPr lang="de-DE"/>
          </a:p>
        </p:txBody>
      </p:sp>
      <p:sp>
        <p:nvSpPr>
          <p:cNvPr id="393" name="Freihandform: Form 392">
            <a:extLst>
              <a:ext uri="{FF2B5EF4-FFF2-40B4-BE49-F238E27FC236}">
                <a16:creationId xmlns:a16="http://schemas.microsoft.com/office/drawing/2014/main" id="{A123B81C-0D5B-44AC-9677-41B2CE41672D}"/>
              </a:ext>
            </a:extLst>
          </p:cNvPr>
          <p:cNvSpPr/>
          <p:nvPr userDrawn="1"/>
        </p:nvSpPr>
        <p:spPr>
          <a:xfrm>
            <a:off x="7335247" y="5942114"/>
            <a:ext cx="132838" cy="143325"/>
          </a:xfrm>
          <a:custGeom>
            <a:avLst/>
            <a:gdLst>
              <a:gd name="connsiteX0" fmla="*/ 60593 w 132838"/>
              <a:gd name="connsiteY0" fmla="*/ 143326 h 143325"/>
              <a:gd name="connsiteX1" fmla="*/ 0 w 132838"/>
              <a:gd name="connsiteY1" fmla="*/ 143326 h 143325"/>
              <a:gd name="connsiteX2" fmla="*/ 71080 w 132838"/>
              <a:gd name="connsiteY2" fmla="*/ 72246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6"/>
                </a:moveTo>
                <a:lnTo>
                  <a:pt x="0" y="143326"/>
                </a:lnTo>
                <a:lnTo>
                  <a:pt x="71080" y="72246"/>
                </a:lnTo>
                <a:lnTo>
                  <a:pt x="0" y="0"/>
                </a:lnTo>
                <a:lnTo>
                  <a:pt x="61758" y="0"/>
                </a:lnTo>
                <a:lnTo>
                  <a:pt x="132838" y="69915"/>
                </a:lnTo>
                <a:close/>
              </a:path>
            </a:pathLst>
          </a:custGeom>
          <a:solidFill>
            <a:srgbClr val="EEF2F5"/>
          </a:solidFill>
          <a:ln w="11643" cap="flat">
            <a:noFill/>
            <a:prstDash val="solid"/>
            <a:miter/>
          </a:ln>
        </p:spPr>
        <p:txBody>
          <a:bodyPr rtlCol="0" anchor="ctr"/>
          <a:lstStyle/>
          <a:p>
            <a:endParaRPr lang="de-DE"/>
          </a:p>
        </p:txBody>
      </p:sp>
      <p:sp>
        <p:nvSpPr>
          <p:cNvPr id="394" name="Freihandform: Form 393">
            <a:extLst>
              <a:ext uri="{FF2B5EF4-FFF2-40B4-BE49-F238E27FC236}">
                <a16:creationId xmlns:a16="http://schemas.microsoft.com/office/drawing/2014/main" id="{10F8A7E4-CB0C-4156-A180-E4F1A603A10E}"/>
              </a:ext>
            </a:extLst>
          </p:cNvPr>
          <p:cNvSpPr/>
          <p:nvPr userDrawn="1"/>
        </p:nvSpPr>
        <p:spPr>
          <a:xfrm>
            <a:off x="7335247" y="6296349"/>
            <a:ext cx="132838" cy="143325"/>
          </a:xfrm>
          <a:custGeom>
            <a:avLst/>
            <a:gdLst>
              <a:gd name="connsiteX0" fmla="*/ 60593 w 132838"/>
              <a:gd name="connsiteY0" fmla="*/ 143326 h 143325"/>
              <a:gd name="connsiteX1" fmla="*/ 0 w 132838"/>
              <a:gd name="connsiteY1" fmla="*/ 143326 h 143325"/>
              <a:gd name="connsiteX2" fmla="*/ 71080 w 132838"/>
              <a:gd name="connsiteY2" fmla="*/ 72246 h 143325"/>
              <a:gd name="connsiteX3" fmla="*/ 0 w 132838"/>
              <a:gd name="connsiteY3" fmla="*/ 0 h 143325"/>
              <a:gd name="connsiteX4" fmla="*/ 61758 w 132838"/>
              <a:gd name="connsiteY4" fmla="*/ 0 h 143325"/>
              <a:gd name="connsiteX5" fmla="*/ 132838 w 132838"/>
              <a:gd name="connsiteY5" fmla="*/ 71080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6"/>
                </a:moveTo>
                <a:lnTo>
                  <a:pt x="0" y="143326"/>
                </a:lnTo>
                <a:lnTo>
                  <a:pt x="71080" y="72246"/>
                </a:lnTo>
                <a:lnTo>
                  <a:pt x="0" y="0"/>
                </a:lnTo>
                <a:lnTo>
                  <a:pt x="61758" y="0"/>
                </a:lnTo>
                <a:lnTo>
                  <a:pt x="132838" y="71080"/>
                </a:lnTo>
                <a:close/>
              </a:path>
            </a:pathLst>
          </a:custGeom>
          <a:solidFill>
            <a:srgbClr val="EEF2F5"/>
          </a:solidFill>
          <a:ln w="11643" cap="flat">
            <a:noFill/>
            <a:prstDash val="solid"/>
            <a:miter/>
          </a:ln>
        </p:spPr>
        <p:txBody>
          <a:bodyPr rtlCol="0" anchor="ctr"/>
          <a:lstStyle/>
          <a:p>
            <a:endParaRPr lang="de-DE"/>
          </a:p>
        </p:txBody>
      </p:sp>
      <p:sp>
        <p:nvSpPr>
          <p:cNvPr id="395" name="Freihandform: Form 394">
            <a:extLst>
              <a:ext uri="{FF2B5EF4-FFF2-40B4-BE49-F238E27FC236}">
                <a16:creationId xmlns:a16="http://schemas.microsoft.com/office/drawing/2014/main" id="{2595AD4F-3613-411F-AF5E-490AA23115BA}"/>
              </a:ext>
            </a:extLst>
          </p:cNvPr>
          <p:cNvSpPr/>
          <p:nvPr userDrawn="1"/>
        </p:nvSpPr>
        <p:spPr>
          <a:xfrm>
            <a:off x="7335247" y="6651749"/>
            <a:ext cx="132838" cy="143325"/>
          </a:xfrm>
          <a:custGeom>
            <a:avLst/>
            <a:gdLst>
              <a:gd name="connsiteX0" fmla="*/ 60593 w 132838"/>
              <a:gd name="connsiteY0" fmla="*/ 143326 h 143325"/>
              <a:gd name="connsiteX1" fmla="*/ 0 w 132838"/>
              <a:gd name="connsiteY1" fmla="*/ 143326 h 143325"/>
              <a:gd name="connsiteX2" fmla="*/ 71080 w 132838"/>
              <a:gd name="connsiteY2" fmla="*/ 72246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6"/>
                </a:moveTo>
                <a:lnTo>
                  <a:pt x="0" y="143326"/>
                </a:lnTo>
                <a:lnTo>
                  <a:pt x="71080" y="72246"/>
                </a:lnTo>
                <a:lnTo>
                  <a:pt x="0" y="0"/>
                </a:lnTo>
                <a:lnTo>
                  <a:pt x="61758" y="0"/>
                </a:lnTo>
                <a:lnTo>
                  <a:pt x="132838" y="69915"/>
                </a:lnTo>
                <a:close/>
              </a:path>
            </a:pathLst>
          </a:custGeom>
          <a:solidFill>
            <a:srgbClr val="EEF2F5"/>
          </a:solidFill>
          <a:ln w="11643" cap="flat">
            <a:noFill/>
            <a:prstDash val="solid"/>
            <a:miter/>
          </a:ln>
        </p:spPr>
        <p:txBody>
          <a:bodyPr rtlCol="0" anchor="ctr"/>
          <a:lstStyle/>
          <a:p>
            <a:endParaRPr lang="de-DE"/>
          </a:p>
        </p:txBody>
      </p:sp>
      <p:sp>
        <p:nvSpPr>
          <p:cNvPr id="396" name="Freihandform: Form 395">
            <a:extLst>
              <a:ext uri="{FF2B5EF4-FFF2-40B4-BE49-F238E27FC236}">
                <a16:creationId xmlns:a16="http://schemas.microsoft.com/office/drawing/2014/main" id="{9EBD3A98-044D-4031-AC35-3BF914F7302F}"/>
              </a:ext>
            </a:extLst>
          </p:cNvPr>
          <p:cNvSpPr/>
          <p:nvPr userDrawn="1"/>
        </p:nvSpPr>
        <p:spPr>
          <a:xfrm>
            <a:off x="7682491" y="2029211"/>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397" name="Freihandform: Form 396">
            <a:extLst>
              <a:ext uri="{FF2B5EF4-FFF2-40B4-BE49-F238E27FC236}">
                <a16:creationId xmlns:a16="http://schemas.microsoft.com/office/drawing/2014/main" id="{43C53F6D-4828-4940-97F4-B626CD126756}"/>
              </a:ext>
            </a:extLst>
          </p:cNvPr>
          <p:cNvSpPr/>
          <p:nvPr userDrawn="1"/>
        </p:nvSpPr>
        <p:spPr>
          <a:xfrm>
            <a:off x="7682491" y="2384612"/>
            <a:ext cx="147986" cy="160804"/>
          </a:xfrm>
          <a:custGeom>
            <a:avLst/>
            <a:gdLst>
              <a:gd name="connsiteX0" fmla="*/ 67584 w 147986"/>
              <a:gd name="connsiteY0" fmla="*/ 160804 h 160804"/>
              <a:gd name="connsiteX1" fmla="*/ 0 w 147986"/>
              <a:gd name="connsiteY1" fmla="*/ 160804 h 160804"/>
              <a:gd name="connsiteX2" fmla="*/ 79237 w 147986"/>
              <a:gd name="connsiteY2" fmla="*/ 80402 h 160804"/>
              <a:gd name="connsiteX3" fmla="*/ 0 w 147986"/>
              <a:gd name="connsiteY3" fmla="*/ 0 h 160804"/>
              <a:gd name="connsiteX4" fmla="*/ 68750 w 147986"/>
              <a:gd name="connsiteY4" fmla="*/ 0 h 160804"/>
              <a:gd name="connsiteX5" fmla="*/ 147986 w 147986"/>
              <a:gd name="connsiteY5" fmla="*/ 79237 h 160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0804">
                <a:moveTo>
                  <a:pt x="67584" y="160804"/>
                </a:moveTo>
                <a:lnTo>
                  <a:pt x="0" y="160804"/>
                </a:lnTo>
                <a:lnTo>
                  <a:pt x="79237" y="80402"/>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398" name="Freihandform: Form 397">
            <a:extLst>
              <a:ext uri="{FF2B5EF4-FFF2-40B4-BE49-F238E27FC236}">
                <a16:creationId xmlns:a16="http://schemas.microsoft.com/office/drawing/2014/main" id="{120E8F27-6892-406B-90DB-A43FCDE80878}"/>
              </a:ext>
            </a:extLst>
          </p:cNvPr>
          <p:cNvSpPr/>
          <p:nvPr userDrawn="1"/>
        </p:nvSpPr>
        <p:spPr>
          <a:xfrm>
            <a:off x="7682491" y="2738847"/>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399" name="Freihandform: Form 398">
            <a:extLst>
              <a:ext uri="{FF2B5EF4-FFF2-40B4-BE49-F238E27FC236}">
                <a16:creationId xmlns:a16="http://schemas.microsoft.com/office/drawing/2014/main" id="{5C717E3E-F6BC-42B4-A350-C1DEE9C442C9}"/>
              </a:ext>
            </a:extLst>
          </p:cNvPr>
          <p:cNvSpPr/>
          <p:nvPr userDrawn="1"/>
        </p:nvSpPr>
        <p:spPr>
          <a:xfrm>
            <a:off x="7682491" y="3094248"/>
            <a:ext cx="147986" cy="160804"/>
          </a:xfrm>
          <a:custGeom>
            <a:avLst/>
            <a:gdLst>
              <a:gd name="connsiteX0" fmla="*/ 67584 w 147986"/>
              <a:gd name="connsiteY0" fmla="*/ 160804 h 160804"/>
              <a:gd name="connsiteX1" fmla="*/ 0 w 147986"/>
              <a:gd name="connsiteY1" fmla="*/ 160804 h 160804"/>
              <a:gd name="connsiteX2" fmla="*/ 79237 w 147986"/>
              <a:gd name="connsiteY2" fmla="*/ 81567 h 160804"/>
              <a:gd name="connsiteX3" fmla="*/ 0 w 147986"/>
              <a:gd name="connsiteY3" fmla="*/ 0 h 160804"/>
              <a:gd name="connsiteX4" fmla="*/ 68750 w 147986"/>
              <a:gd name="connsiteY4" fmla="*/ 0 h 160804"/>
              <a:gd name="connsiteX5" fmla="*/ 147986 w 147986"/>
              <a:gd name="connsiteY5" fmla="*/ 79237 h 160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0804">
                <a:moveTo>
                  <a:pt x="67584" y="160804"/>
                </a:moveTo>
                <a:lnTo>
                  <a:pt x="0" y="160804"/>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400" name="Freihandform: Form 399">
            <a:extLst>
              <a:ext uri="{FF2B5EF4-FFF2-40B4-BE49-F238E27FC236}">
                <a16:creationId xmlns:a16="http://schemas.microsoft.com/office/drawing/2014/main" id="{4F410CDD-2620-4397-B84B-BC98C66C7973}"/>
              </a:ext>
            </a:extLst>
          </p:cNvPr>
          <p:cNvSpPr/>
          <p:nvPr userDrawn="1"/>
        </p:nvSpPr>
        <p:spPr>
          <a:xfrm>
            <a:off x="7682491" y="3448483"/>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401" name="Freihandform: Form 400">
            <a:extLst>
              <a:ext uri="{FF2B5EF4-FFF2-40B4-BE49-F238E27FC236}">
                <a16:creationId xmlns:a16="http://schemas.microsoft.com/office/drawing/2014/main" id="{02172315-7916-4D70-BD29-FC5BB87983F8}"/>
              </a:ext>
            </a:extLst>
          </p:cNvPr>
          <p:cNvSpPr/>
          <p:nvPr userDrawn="1"/>
        </p:nvSpPr>
        <p:spPr>
          <a:xfrm>
            <a:off x="7682491" y="3803883"/>
            <a:ext cx="147986" cy="160804"/>
          </a:xfrm>
          <a:custGeom>
            <a:avLst/>
            <a:gdLst>
              <a:gd name="connsiteX0" fmla="*/ 67584 w 147986"/>
              <a:gd name="connsiteY0" fmla="*/ 160804 h 160804"/>
              <a:gd name="connsiteX1" fmla="*/ 0 w 147986"/>
              <a:gd name="connsiteY1" fmla="*/ 160804 h 160804"/>
              <a:gd name="connsiteX2" fmla="*/ 79237 w 147986"/>
              <a:gd name="connsiteY2" fmla="*/ 81567 h 160804"/>
              <a:gd name="connsiteX3" fmla="*/ 0 w 147986"/>
              <a:gd name="connsiteY3" fmla="*/ 0 h 160804"/>
              <a:gd name="connsiteX4" fmla="*/ 68750 w 147986"/>
              <a:gd name="connsiteY4" fmla="*/ 0 h 160804"/>
              <a:gd name="connsiteX5" fmla="*/ 147986 w 147986"/>
              <a:gd name="connsiteY5" fmla="*/ 79237 h 160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0804">
                <a:moveTo>
                  <a:pt x="67584" y="160804"/>
                </a:moveTo>
                <a:lnTo>
                  <a:pt x="0" y="160804"/>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402" name="Freihandform: Form 401">
            <a:extLst>
              <a:ext uri="{FF2B5EF4-FFF2-40B4-BE49-F238E27FC236}">
                <a16:creationId xmlns:a16="http://schemas.microsoft.com/office/drawing/2014/main" id="{675200BF-627C-42A4-9F53-4A172D52E39B}"/>
              </a:ext>
            </a:extLst>
          </p:cNvPr>
          <p:cNvSpPr/>
          <p:nvPr userDrawn="1"/>
        </p:nvSpPr>
        <p:spPr>
          <a:xfrm>
            <a:off x="7682491" y="4158119"/>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403" name="Freihandform: Form 402">
            <a:extLst>
              <a:ext uri="{FF2B5EF4-FFF2-40B4-BE49-F238E27FC236}">
                <a16:creationId xmlns:a16="http://schemas.microsoft.com/office/drawing/2014/main" id="{CAF5CE73-97E8-49F4-906D-4FDA8880D376}"/>
              </a:ext>
            </a:extLst>
          </p:cNvPr>
          <p:cNvSpPr/>
          <p:nvPr userDrawn="1"/>
        </p:nvSpPr>
        <p:spPr>
          <a:xfrm>
            <a:off x="7682491" y="4513520"/>
            <a:ext cx="147986" cy="160804"/>
          </a:xfrm>
          <a:custGeom>
            <a:avLst/>
            <a:gdLst>
              <a:gd name="connsiteX0" fmla="*/ 67584 w 147986"/>
              <a:gd name="connsiteY0" fmla="*/ 160804 h 160804"/>
              <a:gd name="connsiteX1" fmla="*/ 0 w 147986"/>
              <a:gd name="connsiteY1" fmla="*/ 160804 h 160804"/>
              <a:gd name="connsiteX2" fmla="*/ 79237 w 147986"/>
              <a:gd name="connsiteY2" fmla="*/ 81567 h 160804"/>
              <a:gd name="connsiteX3" fmla="*/ 0 w 147986"/>
              <a:gd name="connsiteY3" fmla="*/ 0 h 160804"/>
              <a:gd name="connsiteX4" fmla="*/ 68750 w 147986"/>
              <a:gd name="connsiteY4" fmla="*/ 0 h 160804"/>
              <a:gd name="connsiteX5" fmla="*/ 147986 w 147986"/>
              <a:gd name="connsiteY5" fmla="*/ 79237 h 160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0804">
                <a:moveTo>
                  <a:pt x="67584" y="160804"/>
                </a:moveTo>
                <a:lnTo>
                  <a:pt x="0" y="160804"/>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404" name="Freihandform: Form 403">
            <a:extLst>
              <a:ext uri="{FF2B5EF4-FFF2-40B4-BE49-F238E27FC236}">
                <a16:creationId xmlns:a16="http://schemas.microsoft.com/office/drawing/2014/main" id="{218DF139-4DC1-4BCB-9F4E-581AFD9F6331}"/>
              </a:ext>
            </a:extLst>
          </p:cNvPr>
          <p:cNvSpPr/>
          <p:nvPr userDrawn="1"/>
        </p:nvSpPr>
        <p:spPr>
          <a:xfrm>
            <a:off x="7682491" y="4867755"/>
            <a:ext cx="147986" cy="161969"/>
          </a:xfrm>
          <a:custGeom>
            <a:avLst/>
            <a:gdLst>
              <a:gd name="connsiteX0" fmla="*/ 67584 w 147986"/>
              <a:gd name="connsiteY0" fmla="*/ 161970 h 161969"/>
              <a:gd name="connsiteX1" fmla="*/ 0 w 147986"/>
              <a:gd name="connsiteY1" fmla="*/ 161970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70"/>
                </a:moveTo>
                <a:lnTo>
                  <a:pt x="0" y="161970"/>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405" name="Freihandform: Form 404">
            <a:extLst>
              <a:ext uri="{FF2B5EF4-FFF2-40B4-BE49-F238E27FC236}">
                <a16:creationId xmlns:a16="http://schemas.microsoft.com/office/drawing/2014/main" id="{0A37C202-DA7A-49FE-8C7A-70FAA46867C6}"/>
              </a:ext>
            </a:extLst>
          </p:cNvPr>
          <p:cNvSpPr/>
          <p:nvPr userDrawn="1"/>
        </p:nvSpPr>
        <p:spPr>
          <a:xfrm>
            <a:off x="7682491" y="5223156"/>
            <a:ext cx="147986" cy="160804"/>
          </a:xfrm>
          <a:custGeom>
            <a:avLst/>
            <a:gdLst>
              <a:gd name="connsiteX0" fmla="*/ 67584 w 147986"/>
              <a:gd name="connsiteY0" fmla="*/ 160804 h 160804"/>
              <a:gd name="connsiteX1" fmla="*/ 0 w 147986"/>
              <a:gd name="connsiteY1" fmla="*/ 160804 h 160804"/>
              <a:gd name="connsiteX2" fmla="*/ 79237 w 147986"/>
              <a:gd name="connsiteY2" fmla="*/ 81567 h 160804"/>
              <a:gd name="connsiteX3" fmla="*/ 0 w 147986"/>
              <a:gd name="connsiteY3" fmla="*/ 0 h 160804"/>
              <a:gd name="connsiteX4" fmla="*/ 68750 w 147986"/>
              <a:gd name="connsiteY4" fmla="*/ 0 h 160804"/>
              <a:gd name="connsiteX5" fmla="*/ 147986 w 147986"/>
              <a:gd name="connsiteY5" fmla="*/ 79237 h 160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0804">
                <a:moveTo>
                  <a:pt x="67584" y="160804"/>
                </a:moveTo>
                <a:lnTo>
                  <a:pt x="0" y="160804"/>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406" name="Freihandform: Form 405">
            <a:extLst>
              <a:ext uri="{FF2B5EF4-FFF2-40B4-BE49-F238E27FC236}">
                <a16:creationId xmlns:a16="http://schemas.microsoft.com/office/drawing/2014/main" id="{9C4CC063-F063-49A1-A191-445FCAA404F3}"/>
              </a:ext>
            </a:extLst>
          </p:cNvPr>
          <p:cNvSpPr/>
          <p:nvPr userDrawn="1"/>
        </p:nvSpPr>
        <p:spPr>
          <a:xfrm>
            <a:off x="7682491" y="5577391"/>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407" name="Freihandform: Form 406">
            <a:extLst>
              <a:ext uri="{FF2B5EF4-FFF2-40B4-BE49-F238E27FC236}">
                <a16:creationId xmlns:a16="http://schemas.microsoft.com/office/drawing/2014/main" id="{E4A5A0CA-718E-4526-8905-36FE802C3C3C}"/>
              </a:ext>
            </a:extLst>
          </p:cNvPr>
          <p:cNvSpPr/>
          <p:nvPr userDrawn="1"/>
        </p:nvSpPr>
        <p:spPr>
          <a:xfrm>
            <a:off x="7682491" y="5932792"/>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408" name="Freihandform: Form 407">
            <a:extLst>
              <a:ext uri="{FF2B5EF4-FFF2-40B4-BE49-F238E27FC236}">
                <a16:creationId xmlns:a16="http://schemas.microsoft.com/office/drawing/2014/main" id="{F21B4889-030D-4F50-9502-7C167A1D25E3}"/>
              </a:ext>
            </a:extLst>
          </p:cNvPr>
          <p:cNvSpPr/>
          <p:nvPr userDrawn="1"/>
        </p:nvSpPr>
        <p:spPr>
          <a:xfrm>
            <a:off x="7682491" y="6287027"/>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80402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80402"/>
                </a:lnTo>
                <a:close/>
              </a:path>
            </a:pathLst>
          </a:custGeom>
          <a:solidFill>
            <a:srgbClr val="EEF2F5"/>
          </a:solidFill>
          <a:ln w="11643" cap="flat">
            <a:noFill/>
            <a:prstDash val="solid"/>
            <a:miter/>
          </a:ln>
        </p:spPr>
        <p:txBody>
          <a:bodyPr rtlCol="0" anchor="ctr"/>
          <a:lstStyle/>
          <a:p>
            <a:endParaRPr lang="de-DE"/>
          </a:p>
        </p:txBody>
      </p:sp>
      <p:sp>
        <p:nvSpPr>
          <p:cNvPr id="409" name="Freihandform: Form 408">
            <a:extLst>
              <a:ext uri="{FF2B5EF4-FFF2-40B4-BE49-F238E27FC236}">
                <a16:creationId xmlns:a16="http://schemas.microsoft.com/office/drawing/2014/main" id="{F20E497A-F5DB-4F96-B341-3DF47EDCD66D}"/>
              </a:ext>
            </a:extLst>
          </p:cNvPr>
          <p:cNvSpPr/>
          <p:nvPr userDrawn="1"/>
        </p:nvSpPr>
        <p:spPr>
          <a:xfrm>
            <a:off x="7682491" y="6642428"/>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410" name="Freihandform: Form 409">
            <a:extLst>
              <a:ext uri="{FF2B5EF4-FFF2-40B4-BE49-F238E27FC236}">
                <a16:creationId xmlns:a16="http://schemas.microsoft.com/office/drawing/2014/main" id="{20D583A8-A99E-46DB-A41A-3E08431963F8}"/>
              </a:ext>
            </a:extLst>
          </p:cNvPr>
          <p:cNvSpPr/>
          <p:nvPr userDrawn="1"/>
        </p:nvSpPr>
        <p:spPr>
          <a:xfrm>
            <a:off x="8028570" y="2019889"/>
            <a:ext cx="165465" cy="179448"/>
          </a:xfrm>
          <a:custGeom>
            <a:avLst/>
            <a:gdLst>
              <a:gd name="connsiteX0" fmla="*/ 75741 w 165465"/>
              <a:gd name="connsiteY0" fmla="*/ 179448 h 179448"/>
              <a:gd name="connsiteX1" fmla="*/ 0 w 165465"/>
              <a:gd name="connsiteY1" fmla="*/ 179448 h 179448"/>
              <a:gd name="connsiteX2" fmla="*/ 88559 w 165465"/>
              <a:gd name="connsiteY2" fmla="*/ 90889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411" name="Freihandform: Form 410">
            <a:extLst>
              <a:ext uri="{FF2B5EF4-FFF2-40B4-BE49-F238E27FC236}">
                <a16:creationId xmlns:a16="http://schemas.microsoft.com/office/drawing/2014/main" id="{09B60DC3-4079-4CF1-9FA2-3667E3169BE5}"/>
              </a:ext>
            </a:extLst>
          </p:cNvPr>
          <p:cNvSpPr/>
          <p:nvPr userDrawn="1"/>
        </p:nvSpPr>
        <p:spPr>
          <a:xfrm>
            <a:off x="8028570" y="2375290"/>
            <a:ext cx="165465" cy="179448"/>
          </a:xfrm>
          <a:custGeom>
            <a:avLst/>
            <a:gdLst>
              <a:gd name="connsiteX0" fmla="*/ 75741 w 165465"/>
              <a:gd name="connsiteY0" fmla="*/ 179448 h 179448"/>
              <a:gd name="connsiteX1" fmla="*/ 0 w 165465"/>
              <a:gd name="connsiteY1" fmla="*/ 179448 h 179448"/>
              <a:gd name="connsiteX2" fmla="*/ 88559 w 165465"/>
              <a:gd name="connsiteY2" fmla="*/ 90889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412" name="Freihandform: Form 411">
            <a:extLst>
              <a:ext uri="{FF2B5EF4-FFF2-40B4-BE49-F238E27FC236}">
                <a16:creationId xmlns:a16="http://schemas.microsoft.com/office/drawing/2014/main" id="{A28ECBD0-0C03-43BC-B913-C56FBFD468AD}"/>
              </a:ext>
            </a:extLst>
          </p:cNvPr>
          <p:cNvSpPr/>
          <p:nvPr userDrawn="1"/>
        </p:nvSpPr>
        <p:spPr>
          <a:xfrm>
            <a:off x="8028570" y="2729525"/>
            <a:ext cx="165465" cy="179448"/>
          </a:xfrm>
          <a:custGeom>
            <a:avLst/>
            <a:gdLst>
              <a:gd name="connsiteX0" fmla="*/ 75741 w 165465"/>
              <a:gd name="connsiteY0" fmla="*/ 179448 h 179448"/>
              <a:gd name="connsiteX1" fmla="*/ 0 w 165465"/>
              <a:gd name="connsiteY1" fmla="*/ 179448 h 179448"/>
              <a:gd name="connsiteX2" fmla="*/ 88559 w 165465"/>
              <a:gd name="connsiteY2" fmla="*/ 90889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413" name="Freihandform: Form 412">
            <a:extLst>
              <a:ext uri="{FF2B5EF4-FFF2-40B4-BE49-F238E27FC236}">
                <a16:creationId xmlns:a16="http://schemas.microsoft.com/office/drawing/2014/main" id="{81865AF8-BEB5-4A5A-A20B-57F13A2AC867}"/>
              </a:ext>
            </a:extLst>
          </p:cNvPr>
          <p:cNvSpPr/>
          <p:nvPr userDrawn="1"/>
        </p:nvSpPr>
        <p:spPr>
          <a:xfrm>
            <a:off x="8028570" y="3084926"/>
            <a:ext cx="165465" cy="179448"/>
          </a:xfrm>
          <a:custGeom>
            <a:avLst/>
            <a:gdLst>
              <a:gd name="connsiteX0" fmla="*/ 75741 w 165465"/>
              <a:gd name="connsiteY0" fmla="*/ 179448 h 179448"/>
              <a:gd name="connsiteX1" fmla="*/ 0 w 165465"/>
              <a:gd name="connsiteY1" fmla="*/ 179448 h 179448"/>
              <a:gd name="connsiteX2" fmla="*/ 88559 w 165465"/>
              <a:gd name="connsiteY2" fmla="*/ 90889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414" name="Freihandform: Form 413">
            <a:extLst>
              <a:ext uri="{FF2B5EF4-FFF2-40B4-BE49-F238E27FC236}">
                <a16:creationId xmlns:a16="http://schemas.microsoft.com/office/drawing/2014/main" id="{A77752D8-E05F-4500-BE69-EE4B76C596D4}"/>
              </a:ext>
            </a:extLst>
          </p:cNvPr>
          <p:cNvSpPr/>
          <p:nvPr userDrawn="1"/>
        </p:nvSpPr>
        <p:spPr>
          <a:xfrm>
            <a:off x="8028570" y="3439161"/>
            <a:ext cx="165465" cy="180613"/>
          </a:xfrm>
          <a:custGeom>
            <a:avLst/>
            <a:gdLst>
              <a:gd name="connsiteX0" fmla="*/ 75741 w 165465"/>
              <a:gd name="connsiteY0" fmla="*/ 180614 h 180613"/>
              <a:gd name="connsiteX1" fmla="*/ 0 w 165465"/>
              <a:gd name="connsiteY1" fmla="*/ 180614 h 180613"/>
              <a:gd name="connsiteX2" fmla="*/ 88559 w 165465"/>
              <a:gd name="connsiteY2" fmla="*/ 90889 h 180613"/>
              <a:gd name="connsiteX3" fmla="*/ 0 w 165465"/>
              <a:gd name="connsiteY3" fmla="*/ 0 h 180613"/>
              <a:gd name="connsiteX4" fmla="*/ 76906 w 165465"/>
              <a:gd name="connsiteY4" fmla="*/ 0 h 180613"/>
              <a:gd name="connsiteX5" fmla="*/ 165465 w 165465"/>
              <a:gd name="connsiteY5" fmla="*/ 88559 h 180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80613">
                <a:moveTo>
                  <a:pt x="75741" y="180614"/>
                </a:moveTo>
                <a:lnTo>
                  <a:pt x="0" y="180614"/>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415" name="Freihandform: Form 414">
            <a:extLst>
              <a:ext uri="{FF2B5EF4-FFF2-40B4-BE49-F238E27FC236}">
                <a16:creationId xmlns:a16="http://schemas.microsoft.com/office/drawing/2014/main" id="{5946384E-284D-4976-A3EC-765399D6C96E}"/>
              </a:ext>
            </a:extLst>
          </p:cNvPr>
          <p:cNvSpPr/>
          <p:nvPr userDrawn="1"/>
        </p:nvSpPr>
        <p:spPr>
          <a:xfrm>
            <a:off x="8028570" y="3794562"/>
            <a:ext cx="165465" cy="179448"/>
          </a:xfrm>
          <a:custGeom>
            <a:avLst/>
            <a:gdLst>
              <a:gd name="connsiteX0" fmla="*/ 75741 w 165465"/>
              <a:gd name="connsiteY0" fmla="*/ 179448 h 179448"/>
              <a:gd name="connsiteX1" fmla="*/ 0 w 165465"/>
              <a:gd name="connsiteY1" fmla="*/ 179448 h 179448"/>
              <a:gd name="connsiteX2" fmla="*/ 88559 w 165465"/>
              <a:gd name="connsiteY2" fmla="*/ 90889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416" name="Freihandform: Form 415">
            <a:extLst>
              <a:ext uri="{FF2B5EF4-FFF2-40B4-BE49-F238E27FC236}">
                <a16:creationId xmlns:a16="http://schemas.microsoft.com/office/drawing/2014/main" id="{90800565-457C-44CA-B5C7-654275474468}"/>
              </a:ext>
            </a:extLst>
          </p:cNvPr>
          <p:cNvSpPr/>
          <p:nvPr userDrawn="1"/>
        </p:nvSpPr>
        <p:spPr>
          <a:xfrm>
            <a:off x="8028570" y="4148797"/>
            <a:ext cx="165465" cy="180613"/>
          </a:xfrm>
          <a:custGeom>
            <a:avLst/>
            <a:gdLst>
              <a:gd name="connsiteX0" fmla="*/ 75741 w 165465"/>
              <a:gd name="connsiteY0" fmla="*/ 180613 h 180613"/>
              <a:gd name="connsiteX1" fmla="*/ 0 w 165465"/>
              <a:gd name="connsiteY1" fmla="*/ 180613 h 180613"/>
              <a:gd name="connsiteX2" fmla="*/ 88559 w 165465"/>
              <a:gd name="connsiteY2" fmla="*/ 90889 h 180613"/>
              <a:gd name="connsiteX3" fmla="*/ 0 w 165465"/>
              <a:gd name="connsiteY3" fmla="*/ 0 h 180613"/>
              <a:gd name="connsiteX4" fmla="*/ 76906 w 165465"/>
              <a:gd name="connsiteY4" fmla="*/ 0 h 180613"/>
              <a:gd name="connsiteX5" fmla="*/ 165465 w 165465"/>
              <a:gd name="connsiteY5" fmla="*/ 88559 h 180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80613">
                <a:moveTo>
                  <a:pt x="75741" y="180613"/>
                </a:moveTo>
                <a:lnTo>
                  <a:pt x="0" y="180613"/>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417" name="Freihandform: Form 416">
            <a:extLst>
              <a:ext uri="{FF2B5EF4-FFF2-40B4-BE49-F238E27FC236}">
                <a16:creationId xmlns:a16="http://schemas.microsoft.com/office/drawing/2014/main" id="{F42B60A2-B724-49DF-B9C1-DF590E07CED7}"/>
              </a:ext>
            </a:extLst>
          </p:cNvPr>
          <p:cNvSpPr/>
          <p:nvPr userDrawn="1"/>
        </p:nvSpPr>
        <p:spPr>
          <a:xfrm>
            <a:off x="8028570" y="4504198"/>
            <a:ext cx="165465" cy="179448"/>
          </a:xfrm>
          <a:custGeom>
            <a:avLst/>
            <a:gdLst>
              <a:gd name="connsiteX0" fmla="*/ 75741 w 165465"/>
              <a:gd name="connsiteY0" fmla="*/ 179448 h 179448"/>
              <a:gd name="connsiteX1" fmla="*/ 0 w 165465"/>
              <a:gd name="connsiteY1" fmla="*/ 179448 h 179448"/>
              <a:gd name="connsiteX2" fmla="*/ 88559 w 165465"/>
              <a:gd name="connsiteY2" fmla="*/ 90889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418" name="Freihandform: Form 417">
            <a:extLst>
              <a:ext uri="{FF2B5EF4-FFF2-40B4-BE49-F238E27FC236}">
                <a16:creationId xmlns:a16="http://schemas.microsoft.com/office/drawing/2014/main" id="{918786C3-E0C0-40D3-AEEC-2B0928087F67}"/>
              </a:ext>
            </a:extLst>
          </p:cNvPr>
          <p:cNvSpPr/>
          <p:nvPr userDrawn="1"/>
        </p:nvSpPr>
        <p:spPr>
          <a:xfrm>
            <a:off x="8028570" y="4859598"/>
            <a:ext cx="165465" cy="179448"/>
          </a:xfrm>
          <a:custGeom>
            <a:avLst/>
            <a:gdLst>
              <a:gd name="connsiteX0" fmla="*/ 75741 w 165465"/>
              <a:gd name="connsiteY0" fmla="*/ 179448 h 179448"/>
              <a:gd name="connsiteX1" fmla="*/ 0 w 165465"/>
              <a:gd name="connsiteY1" fmla="*/ 179448 h 179448"/>
              <a:gd name="connsiteX2" fmla="*/ 88559 w 165465"/>
              <a:gd name="connsiteY2" fmla="*/ 89724 h 179448"/>
              <a:gd name="connsiteX3" fmla="*/ 0 w 165465"/>
              <a:gd name="connsiteY3" fmla="*/ 0 h 179448"/>
              <a:gd name="connsiteX4" fmla="*/ 76906 w 165465"/>
              <a:gd name="connsiteY4" fmla="*/ 0 h 179448"/>
              <a:gd name="connsiteX5" fmla="*/ 165465 w 165465"/>
              <a:gd name="connsiteY5" fmla="*/ 87394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89724"/>
                </a:lnTo>
                <a:lnTo>
                  <a:pt x="0" y="0"/>
                </a:lnTo>
                <a:lnTo>
                  <a:pt x="76906" y="0"/>
                </a:lnTo>
                <a:lnTo>
                  <a:pt x="165465" y="87394"/>
                </a:lnTo>
                <a:close/>
              </a:path>
            </a:pathLst>
          </a:custGeom>
          <a:solidFill>
            <a:srgbClr val="EEF2F5"/>
          </a:solidFill>
          <a:ln w="11643" cap="flat">
            <a:noFill/>
            <a:prstDash val="solid"/>
            <a:miter/>
          </a:ln>
        </p:spPr>
        <p:txBody>
          <a:bodyPr rtlCol="0" anchor="ctr"/>
          <a:lstStyle/>
          <a:p>
            <a:endParaRPr lang="de-DE"/>
          </a:p>
        </p:txBody>
      </p:sp>
      <p:sp>
        <p:nvSpPr>
          <p:cNvPr id="419" name="Freihandform: Form 418">
            <a:extLst>
              <a:ext uri="{FF2B5EF4-FFF2-40B4-BE49-F238E27FC236}">
                <a16:creationId xmlns:a16="http://schemas.microsoft.com/office/drawing/2014/main" id="{5A95C5AF-A7DE-46D9-BD81-B38E5EE66F36}"/>
              </a:ext>
            </a:extLst>
          </p:cNvPr>
          <p:cNvSpPr/>
          <p:nvPr userDrawn="1"/>
        </p:nvSpPr>
        <p:spPr>
          <a:xfrm>
            <a:off x="8028570" y="5213834"/>
            <a:ext cx="165465" cy="179448"/>
          </a:xfrm>
          <a:custGeom>
            <a:avLst/>
            <a:gdLst>
              <a:gd name="connsiteX0" fmla="*/ 75741 w 165465"/>
              <a:gd name="connsiteY0" fmla="*/ 179448 h 179448"/>
              <a:gd name="connsiteX1" fmla="*/ 0 w 165465"/>
              <a:gd name="connsiteY1" fmla="*/ 179448 h 179448"/>
              <a:gd name="connsiteX2" fmla="*/ 88559 w 165465"/>
              <a:gd name="connsiteY2" fmla="*/ 90890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90"/>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420" name="Freihandform: Form 419">
            <a:extLst>
              <a:ext uri="{FF2B5EF4-FFF2-40B4-BE49-F238E27FC236}">
                <a16:creationId xmlns:a16="http://schemas.microsoft.com/office/drawing/2014/main" id="{E84E62F6-ABA2-4007-8DEC-26ABA65D4FD4}"/>
              </a:ext>
            </a:extLst>
          </p:cNvPr>
          <p:cNvSpPr/>
          <p:nvPr userDrawn="1"/>
        </p:nvSpPr>
        <p:spPr>
          <a:xfrm>
            <a:off x="8028570" y="5569234"/>
            <a:ext cx="165465" cy="179448"/>
          </a:xfrm>
          <a:custGeom>
            <a:avLst/>
            <a:gdLst>
              <a:gd name="connsiteX0" fmla="*/ 75741 w 165465"/>
              <a:gd name="connsiteY0" fmla="*/ 179448 h 179448"/>
              <a:gd name="connsiteX1" fmla="*/ 0 w 165465"/>
              <a:gd name="connsiteY1" fmla="*/ 179448 h 179448"/>
              <a:gd name="connsiteX2" fmla="*/ 88559 w 165465"/>
              <a:gd name="connsiteY2" fmla="*/ 89724 h 179448"/>
              <a:gd name="connsiteX3" fmla="*/ 0 w 165465"/>
              <a:gd name="connsiteY3" fmla="*/ 0 h 179448"/>
              <a:gd name="connsiteX4" fmla="*/ 76906 w 165465"/>
              <a:gd name="connsiteY4" fmla="*/ 0 h 179448"/>
              <a:gd name="connsiteX5" fmla="*/ 165465 w 165465"/>
              <a:gd name="connsiteY5" fmla="*/ 87394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89724"/>
                </a:lnTo>
                <a:lnTo>
                  <a:pt x="0" y="0"/>
                </a:lnTo>
                <a:lnTo>
                  <a:pt x="76906" y="0"/>
                </a:lnTo>
                <a:lnTo>
                  <a:pt x="165465" y="87394"/>
                </a:lnTo>
                <a:close/>
              </a:path>
            </a:pathLst>
          </a:custGeom>
          <a:solidFill>
            <a:srgbClr val="EEF2F5"/>
          </a:solidFill>
          <a:ln w="11643" cap="flat">
            <a:noFill/>
            <a:prstDash val="solid"/>
            <a:miter/>
          </a:ln>
        </p:spPr>
        <p:txBody>
          <a:bodyPr rtlCol="0" anchor="ctr"/>
          <a:lstStyle/>
          <a:p>
            <a:endParaRPr lang="de-DE"/>
          </a:p>
        </p:txBody>
      </p:sp>
      <p:sp>
        <p:nvSpPr>
          <p:cNvPr id="421" name="Freihandform: Form 420">
            <a:extLst>
              <a:ext uri="{FF2B5EF4-FFF2-40B4-BE49-F238E27FC236}">
                <a16:creationId xmlns:a16="http://schemas.microsoft.com/office/drawing/2014/main" id="{BA0B5D5D-DD77-4EAC-9B17-FCAA6E650A70}"/>
              </a:ext>
            </a:extLst>
          </p:cNvPr>
          <p:cNvSpPr/>
          <p:nvPr userDrawn="1"/>
        </p:nvSpPr>
        <p:spPr>
          <a:xfrm>
            <a:off x="8028570" y="5923469"/>
            <a:ext cx="165465" cy="179448"/>
          </a:xfrm>
          <a:custGeom>
            <a:avLst/>
            <a:gdLst>
              <a:gd name="connsiteX0" fmla="*/ 75741 w 165465"/>
              <a:gd name="connsiteY0" fmla="*/ 179448 h 179448"/>
              <a:gd name="connsiteX1" fmla="*/ 0 w 165465"/>
              <a:gd name="connsiteY1" fmla="*/ 179448 h 179448"/>
              <a:gd name="connsiteX2" fmla="*/ 88559 w 165465"/>
              <a:gd name="connsiteY2" fmla="*/ 90890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90"/>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422" name="Freihandform: Form 421">
            <a:extLst>
              <a:ext uri="{FF2B5EF4-FFF2-40B4-BE49-F238E27FC236}">
                <a16:creationId xmlns:a16="http://schemas.microsoft.com/office/drawing/2014/main" id="{5ED5F732-E2A1-428A-B725-5499FA571055}"/>
              </a:ext>
            </a:extLst>
          </p:cNvPr>
          <p:cNvSpPr/>
          <p:nvPr userDrawn="1"/>
        </p:nvSpPr>
        <p:spPr>
          <a:xfrm>
            <a:off x="8028570" y="6278870"/>
            <a:ext cx="165465" cy="179448"/>
          </a:xfrm>
          <a:custGeom>
            <a:avLst/>
            <a:gdLst>
              <a:gd name="connsiteX0" fmla="*/ 75741 w 165465"/>
              <a:gd name="connsiteY0" fmla="*/ 179448 h 179448"/>
              <a:gd name="connsiteX1" fmla="*/ 0 w 165465"/>
              <a:gd name="connsiteY1" fmla="*/ 179448 h 179448"/>
              <a:gd name="connsiteX2" fmla="*/ 88559 w 165465"/>
              <a:gd name="connsiteY2" fmla="*/ 89724 h 179448"/>
              <a:gd name="connsiteX3" fmla="*/ 0 w 165465"/>
              <a:gd name="connsiteY3" fmla="*/ 0 h 179448"/>
              <a:gd name="connsiteX4" fmla="*/ 76906 w 165465"/>
              <a:gd name="connsiteY4" fmla="*/ 0 h 179448"/>
              <a:gd name="connsiteX5" fmla="*/ 165465 w 165465"/>
              <a:gd name="connsiteY5" fmla="*/ 87394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89724"/>
                </a:lnTo>
                <a:lnTo>
                  <a:pt x="0" y="0"/>
                </a:lnTo>
                <a:lnTo>
                  <a:pt x="76906" y="0"/>
                </a:lnTo>
                <a:lnTo>
                  <a:pt x="165465" y="87394"/>
                </a:lnTo>
                <a:close/>
              </a:path>
            </a:pathLst>
          </a:custGeom>
          <a:solidFill>
            <a:srgbClr val="EEF2F5"/>
          </a:solidFill>
          <a:ln w="11643" cap="flat">
            <a:noFill/>
            <a:prstDash val="solid"/>
            <a:miter/>
          </a:ln>
        </p:spPr>
        <p:txBody>
          <a:bodyPr rtlCol="0" anchor="ctr"/>
          <a:lstStyle/>
          <a:p>
            <a:endParaRPr lang="de-DE"/>
          </a:p>
        </p:txBody>
      </p:sp>
      <p:sp>
        <p:nvSpPr>
          <p:cNvPr id="423" name="Freihandform: Form 422">
            <a:extLst>
              <a:ext uri="{FF2B5EF4-FFF2-40B4-BE49-F238E27FC236}">
                <a16:creationId xmlns:a16="http://schemas.microsoft.com/office/drawing/2014/main" id="{7CB387CA-4891-4983-8E5A-E36398952292}"/>
              </a:ext>
            </a:extLst>
          </p:cNvPr>
          <p:cNvSpPr/>
          <p:nvPr userDrawn="1"/>
        </p:nvSpPr>
        <p:spPr>
          <a:xfrm>
            <a:off x="8028570" y="6633106"/>
            <a:ext cx="165465" cy="179448"/>
          </a:xfrm>
          <a:custGeom>
            <a:avLst/>
            <a:gdLst>
              <a:gd name="connsiteX0" fmla="*/ 75741 w 165465"/>
              <a:gd name="connsiteY0" fmla="*/ 179448 h 179448"/>
              <a:gd name="connsiteX1" fmla="*/ 0 w 165465"/>
              <a:gd name="connsiteY1" fmla="*/ 179448 h 179448"/>
              <a:gd name="connsiteX2" fmla="*/ 88559 w 165465"/>
              <a:gd name="connsiteY2" fmla="*/ 90889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424" name="Freihandform: Form 423">
            <a:extLst>
              <a:ext uri="{FF2B5EF4-FFF2-40B4-BE49-F238E27FC236}">
                <a16:creationId xmlns:a16="http://schemas.microsoft.com/office/drawing/2014/main" id="{12CEA374-A1E4-4EDF-A88E-97BA00CE075E}"/>
              </a:ext>
            </a:extLst>
          </p:cNvPr>
          <p:cNvSpPr/>
          <p:nvPr userDrawn="1"/>
        </p:nvSpPr>
        <p:spPr>
          <a:xfrm>
            <a:off x="8375813" y="2011732"/>
            <a:ext cx="180613" cy="196926"/>
          </a:xfrm>
          <a:custGeom>
            <a:avLst/>
            <a:gdLst>
              <a:gd name="connsiteX0" fmla="*/ 82733 w 180613"/>
              <a:gd name="connsiteY0" fmla="*/ 196927 h 196926"/>
              <a:gd name="connsiteX1" fmla="*/ 0 w 180613"/>
              <a:gd name="connsiteY1" fmla="*/ 196927 h 196926"/>
              <a:gd name="connsiteX2" fmla="*/ 96715 w 180613"/>
              <a:gd name="connsiteY2" fmla="*/ 99046 h 196926"/>
              <a:gd name="connsiteX3" fmla="*/ 0 w 180613"/>
              <a:gd name="connsiteY3" fmla="*/ 0 h 196926"/>
              <a:gd name="connsiteX4" fmla="*/ 83898 w 180613"/>
              <a:gd name="connsiteY4" fmla="*/ 0 h 196926"/>
              <a:gd name="connsiteX5" fmla="*/ 180613 w 180613"/>
              <a:gd name="connsiteY5" fmla="*/ 96716 h 196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6926">
                <a:moveTo>
                  <a:pt x="82733" y="196927"/>
                </a:moveTo>
                <a:lnTo>
                  <a:pt x="0" y="196927"/>
                </a:lnTo>
                <a:lnTo>
                  <a:pt x="96715" y="99046"/>
                </a:lnTo>
                <a:lnTo>
                  <a:pt x="0" y="0"/>
                </a:lnTo>
                <a:lnTo>
                  <a:pt x="83898" y="0"/>
                </a:lnTo>
                <a:lnTo>
                  <a:pt x="180613" y="96716"/>
                </a:lnTo>
                <a:close/>
              </a:path>
            </a:pathLst>
          </a:custGeom>
          <a:solidFill>
            <a:srgbClr val="EEF2F5"/>
          </a:solidFill>
          <a:ln w="11643" cap="flat">
            <a:noFill/>
            <a:prstDash val="solid"/>
            <a:miter/>
          </a:ln>
        </p:spPr>
        <p:txBody>
          <a:bodyPr rtlCol="0" anchor="ctr"/>
          <a:lstStyle/>
          <a:p>
            <a:endParaRPr lang="de-DE"/>
          </a:p>
        </p:txBody>
      </p:sp>
      <p:sp>
        <p:nvSpPr>
          <p:cNvPr id="425" name="Freihandform: Form 424">
            <a:extLst>
              <a:ext uri="{FF2B5EF4-FFF2-40B4-BE49-F238E27FC236}">
                <a16:creationId xmlns:a16="http://schemas.microsoft.com/office/drawing/2014/main" id="{56C3244B-93A0-4C8E-AF15-1B7B4B778A1C}"/>
              </a:ext>
            </a:extLst>
          </p:cNvPr>
          <p:cNvSpPr/>
          <p:nvPr userDrawn="1"/>
        </p:nvSpPr>
        <p:spPr>
          <a:xfrm>
            <a:off x="8375813" y="2367133"/>
            <a:ext cx="180613" cy="195761"/>
          </a:xfrm>
          <a:custGeom>
            <a:avLst/>
            <a:gdLst>
              <a:gd name="connsiteX0" fmla="*/ 82733 w 180613"/>
              <a:gd name="connsiteY0" fmla="*/ 195762 h 195761"/>
              <a:gd name="connsiteX1" fmla="*/ 0 w 180613"/>
              <a:gd name="connsiteY1" fmla="*/ 195762 h 195761"/>
              <a:gd name="connsiteX2" fmla="*/ 96715 w 180613"/>
              <a:gd name="connsiteY2" fmla="*/ 99046 h 195761"/>
              <a:gd name="connsiteX3" fmla="*/ 0 w 180613"/>
              <a:gd name="connsiteY3" fmla="*/ 0 h 195761"/>
              <a:gd name="connsiteX4" fmla="*/ 83898 w 180613"/>
              <a:gd name="connsiteY4" fmla="*/ 0 h 195761"/>
              <a:gd name="connsiteX5" fmla="*/ 180613 w 180613"/>
              <a:gd name="connsiteY5" fmla="*/ 95550 h 19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5761">
                <a:moveTo>
                  <a:pt x="82733" y="195762"/>
                </a:moveTo>
                <a:lnTo>
                  <a:pt x="0" y="195762"/>
                </a:lnTo>
                <a:lnTo>
                  <a:pt x="96715" y="99046"/>
                </a:lnTo>
                <a:lnTo>
                  <a:pt x="0" y="0"/>
                </a:lnTo>
                <a:lnTo>
                  <a:pt x="83898" y="0"/>
                </a:lnTo>
                <a:lnTo>
                  <a:pt x="180613" y="95550"/>
                </a:lnTo>
                <a:close/>
              </a:path>
            </a:pathLst>
          </a:custGeom>
          <a:solidFill>
            <a:srgbClr val="EEF2F5"/>
          </a:solidFill>
          <a:ln w="11643" cap="flat">
            <a:noFill/>
            <a:prstDash val="solid"/>
            <a:miter/>
          </a:ln>
        </p:spPr>
        <p:txBody>
          <a:bodyPr rtlCol="0" anchor="ctr"/>
          <a:lstStyle/>
          <a:p>
            <a:endParaRPr lang="de-DE"/>
          </a:p>
        </p:txBody>
      </p:sp>
      <p:sp>
        <p:nvSpPr>
          <p:cNvPr id="426" name="Freihandform: Form 425">
            <a:extLst>
              <a:ext uri="{FF2B5EF4-FFF2-40B4-BE49-F238E27FC236}">
                <a16:creationId xmlns:a16="http://schemas.microsoft.com/office/drawing/2014/main" id="{5EF2422E-3B65-405D-A92A-FC38539348AE}"/>
              </a:ext>
            </a:extLst>
          </p:cNvPr>
          <p:cNvSpPr/>
          <p:nvPr userDrawn="1"/>
        </p:nvSpPr>
        <p:spPr>
          <a:xfrm>
            <a:off x="8375813" y="2721368"/>
            <a:ext cx="180613" cy="196926"/>
          </a:xfrm>
          <a:custGeom>
            <a:avLst/>
            <a:gdLst>
              <a:gd name="connsiteX0" fmla="*/ 82733 w 180613"/>
              <a:gd name="connsiteY0" fmla="*/ 196927 h 196926"/>
              <a:gd name="connsiteX1" fmla="*/ 0 w 180613"/>
              <a:gd name="connsiteY1" fmla="*/ 196927 h 196926"/>
              <a:gd name="connsiteX2" fmla="*/ 96715 w 180613"/>
              <a:gd name="connsiteY2" fmla="*/ 99046 h 196926"/>
              <a:gd name="connsiteX3" fmla="*/ 0 w 180613"/>
              <a:gd name="connsiteY3" fmla="*/ 0 h 196926"/>
              <a:gd name="connsiteX4" fmla="*/ 83898 w 180613"/>
              <a:gd name="connsiteY4" fmla="*/ 0 h 196926"/>
              <a:gd name="connsiteX5" fmla="*/ 180613 w 180613"/>
              <a:gd name="connsiteY5" fmla="*/ 96716 h 196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6926">
                <a:moveTo>
                  <a:pt x="82733" y="196927"/>
                </a:moveTo>
                <a:lnTo>
                  <a:pt x="0" y="196927"/>
                </a:lnTo>
                <a:lnTo>
                  <a:pt x="96715" y="99046"/>
                </a:lnTo>
                <a:lnTo>
                  <a:pt x="0" y="0"/>
                </a:lnTo>
                <a:lnTo>
                  <a:pt x="83898" y="0"/>
                </a:lnTo>
                <a:lnTo>
                  <a:pt x="180613" y="96716"/>
                </a:lnTo>
                <a:close/>
              </a:path>
            </a:pathLst>
          </a:custGeom>
          <a:solidFill>
            <a:srgbClr val="EEF2F5"/>
          </a:solidFill>
          <a:ln w="11643" cap="flat">
            <a:noFill/>
            <a:prstDash val="solid"/>
            <a:miter/>
          </a:ln>
        </p:spPr>
        <p:txBody>
          <a:bodyPr rtlCol="0" anchor="ctr"/>
          <a:lstStyle/>
          <a:p>
            <a:endParaRPr lang="de-DE"/>
          </a:p>
        </p:txBody>
      </p:sp>
      <p:sp>
        <p:nvSpPr>
          <p:cNvPr id="427" name="Freihandform: Form 426">
            <a:extLst>
              <a:ext uri="{FF2B5EF4-FFF2-40B4-BE49-F238E27FC236}">
                <a16:creationId xmlns:a16="http://schemas.microsoft.com/office/drawing/2014/main" id="{7C3432CB-7D40-43FB-A958-E3C261C7469F}"/>
              </a:ext>
            </a:extLst>
          </p:cNvPr>
          <p:cNvSpPr/>
          <p:nvPr userDrawn="1"/>
        </p:nvSpPr>
        <p:spPr>
          <a:xfrm>
            <a:off x="8375813" y="3076769"/>
            <a:ext cx="180613" cy="195761"/>
          </a:xfrm>
          <a:custGeom>
            <a:avLst/>
            <a:gdLst>
              <a:gd name="connsiteX0" fmla="*/ 82733 w 180613"/>
              <a:gd name="connsiteY0" fmla="*/ 195762 h 195761"/>
              <a:gd name="connsiteX1" fmla="*/ 0 w 180613"/>
              <a:gd name="connsiteY1" fmla="*/ 195762 h 195761"/>
              <a:gd name="connsiteX2" fmla="*/ 96715 w 180613"/>
              <a:gd name="connsiteY2" fmla="*/ 99046 h 195761"/>
              <a:gd name="connsiteX3" fmla="*/ 0 w 180613"/>
              <a:gd name="connsiteY3" fmla="*/ 0 h 195761"/>
              <a:gd name="connsiteX4" fmla="*/ 83898 w 180613"/>
              <a:gd name="connsiteY4" fmla="*/ 0 h 195761"/>
              <a:gd name="connsiteX5" fmla="*/ 180613 w 180613"/>
              <a:gd name="connsiteY5" fmla="*/ 95550 h 19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5761">
                <a:moveTo>
                  <a:pt x="82733" y="195762"/>
                </a:moveTo>
                <a:lnTo>
                  <a:pt x="0" y="195762"/>
                </a:lnTo>
                <a:lnTo>
                  <a:pt x="96715" y="99046"/>
                </a:lnTo>
                <a:lnTo>
                  <a:pt x="0" y="0"/>
                </a:lnTo>
                <a:lnTo>
                  <a:pt x="83898" y="0"/>
                </a:lnTo>
                <a:lnTo>
                  <a:pt x="180613" y="95550"/>
                </a:lnTo>
                <a:close/>
              </a:path>
            </a:pathLst>
          </a:custGeom>
          <a:solidFill>
            <a:srgbClr val="EEF2F5"/>
          </a:solidFill>
          <a:ln w="11643" cap="flat">
            <a:noFill/>
            <a:prstDash val="solid"/>
            <a:miter/>
          </a:ln>
        </p:spPr>
        <p:txBody>
          <a:bodyPr rtlCol="0" anchor="ctr"/>
          <a:lstStyle/>
          <a:p>
            <a:endParaRPr lang="de-DE"/>
          </a:p>
        </p:txBody>
      </p:sp>
      <p:sp>
        <p:nvSpPr>
          <p:cNvPr id="428" name="Freihandform: Form 427">
            <a:extLst>
              <a:ext uri="{FF2B5EF4-FFF2-40B4-BE49-F238E27FC236}">
                <a16:creationId xmlns:a16="http://schemas.microsoft.com/office/drawing/2014/main" id="{95CDAEC0-EF92-40D9-B669-FB01CC74ECF7}"/>
              </a:ext>
            </a:extLst>
          </p:cNvPr>
          <p:cNvSpPr/>
          <p:nvPr userDrawn="1"/>
        </p:nvSpPr>
        <p:spPr>
          <a:xfrm>
            <a:off x="8375813" y="3431004"/>
            <a:ext cx="180613" cy="196926"/>
          </a:xfrm>
          <a:custGeom>
            <a:avLst/>
            <a:gdLst>
              <a:gd name="connsiteX0" fmla="*/ 82733 w 180613"/>
              <a:gd name="connsiteY0" fmla="*/ 196927 h 196926"/>
              <a:gd name="connsiteX1" fmla="*/ 0 w 180613"/>
              <a:gd name="connsiteY1" fmla="*/ 196927 h 196926"/>
              <a:gd name="connsiteX2" fmla="*/ 96715 w 180613"/>
              <a:gd name="connsiteY2" fmla="*/ 99046 h 196926"/>
              <a:gd name="connsiteX3" fmla="*/ 0 w 180613"/>
              <a:gd name="connsiteY3" fmla="*/ 0 h 196926"/>
              <a:gd name="connsiteX4" fmla="*/ 83898 w 180613"/>
              <a:gd name="connsiteY4" fmla="*/ 0 h 196926"/>
              <a:gd name="connsiteX5" fmla="*/ 180613 w 180613"/>
              <a:gd name="connsiteY5" fmla="*/ 96716 h 196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6926">
                <a:moveTo>
                  <a:pt x="82733" y="196927"/>
                </a:moveTo>
                <a:lnTo>
                  <a:pt x="0" y="196927"/>
                </a:lnTo>
                <a:lnTo>
                  <a:pt x="96715" y="99046"/>
                </a:lnTo>
                <a:lnTo>
                  <a:pt x="0" y="0"/>
                </a:lnTo>
                <a:lnTo>
                  <a:pt x="83898" y="0"/>
                </a:lnTo>
                <a:lnTo>
                  <a:pt x="180613" y="96716"/>
                </a:lnTo>
                <a:close/>
              </a:path>
            </a:pathLst>
          </a:custGeom>
          <a:solidFill>
            <a:srgbClr val="EEF2F5"/>
          </a:solidFill>
          <a:ln w="11643" cap="flat">
            <a:noFill/>
            <a:prstDash val="solid"/>
            <a:miter/>
          </a:ln>
        </p:spPr>
        <p:txBody>
          <a:bodyPr rtlCol="0" anchor="ctr"/>
          <a:lstStyle/>
          <a:p>
            <a:endParaRPr lang="de-DE"/>
          </a:p>
        </p:txBody>
      </p:sp>
      <p:sp>
        <p:nvSpPr>
          <p:cNvPr id="429" name="Freihandform: Form 428">
            <a:extLst>
              <a:ext uri="{FF2B5EF4-FFF2-40B4-BE49-F238E27FC236}">
                <a16:creationId xmlns:a16="http://schemas.microsoft.com/office/drawing/2014/main" id="{B918A736-A720-49F8-86AD-DB321FB14B75}"/>
              </a:ext>
            </a:extLst>
          </p:cNvPr>
          <p:cNvSpPr/>
          <p:nvPr userDrawn="1"/>
        </p:nvSpPr>
        <p:spPr>
          <a:xfrm>
            <a:off x="8375813" y="3786405"/>
            <a:ext cx="180613" cy="195761"/>
          </a:xfrm>
          <a:custGeom>
            <a:avLst/>
            <a:gdLst>
              <a:gd name="connsiteX0" fmla="*/ 82733 w 180613"/>
              <a:gd name="connsiteY0" fmla="*/ 195762 h 195761"/>
              <a:gd name="connsiteX1" fmla="*/ 0 w 180613"/>
              <a:gd name="connsiteY1" fmla="*/ 195762 h 195761"/>
              <a:gd name="connsiteX2" fmla="*/ 96715 w 180613"/>
              <a:gd name="connsiteY2" fmla="*/ 99046 h 195761"/>
              <a:gd name="connsiteX3" fmla="*/ 0 w 180613"/>
              <a:gd name="connsiteY3" fmla="*/ 0 h 195761"/>
              <a:gd name="connsiteX4" fmla="*/ 83898 w 180613"/>
              <a:gd name="connsiteY4" fmla="*/ 0 h 195761"/>
              <a:gd name="connsiteX5" fmla="*/ 180613 w 180613"/>
              <a:gd name="connsiteY5" fmla="*/ 96716 h 19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5761">
                <a:moveTo>
                  <a:pt x="82733" y="195762"/>
                </a:moveTo>
                <a:lnTo>
                  <a:pt x="0" y="195762"/>
                </a:lnTo>
                <a:lnTo>
                  <a:pt x="96715" y="99046"/>
                </a:lnTo>
                <a:lnTo>
                  <a:pt x="0" y="0"/>
                </a:lnTo>
                <a:lnTo>
                  <a:pt x="83898" y="0"/>
                </a:lnTo>
                <a:lnTo>
                  <a:pt x="180613" y="96716"/>
                </a:lnTo>
                <a:close/>
              </a:path>
            </a:pathLst>
          </a:custGeom>
          <a:solidFill>
            <a:srgbClr val="EEF2F5"/>
          </a:solidFill>
          <a:ln w="11643" cap="flat">
            <a:noFill/>
            <a:prstDash val="solid"/>
            <a:miter/>
          </a:ln>
        </p:spPr>
        <p:txBody>
          <a:bodyPr rtlCol="0" anchor="ctr"/>
          <a:lstStyle/>
          <a:p>
            <a:endParaRPr lang="de-DE"/>
          </a:p>
        </p:txBody>
      </p:sp>
      <p:sp>
        <p:nvSpPr>
          <p:cNvPr id="430" name="Freihandform: Form 429">
            <a:extLst>
              <a:ext uri="{FF2B5EF4-FFF2-40B4-BE49-F238E27FC236}">
                <a16:creationId xmlns:a16="http://schemas.microsoft.com/office/drawing/2014/main" id="{CC0A0D46-E810-4C74-8A3D-EF4F2E9D55A7}"/>
              </a:ext>
            </a:extLst>
          </p:cNvPr>
          <p:cNvSpPr/>
          <p:nvPr userDrawn="1"/>
        </p:nvSpPr>
        <p:spPr>
          <a:xfrm>
            <a:off x="8375813" y="4140640"/>
            <a:ext cx="180613" cy="196926"/>
          </a:xfrm>
          <a:custGeom>
            <a:avLst/>
            <a:gdLst>
              <a:gd name="connsiteX0" fmla="*/ 82733 w 180613"/>
              <a:gd name="connsiteY0" fmla="*/ 196927 h 196926"/>
              <a:gd name="connsiteX1" fmla="*/ 0 w 180613"/>
              <a:gd name="connsiteY1" fmla="*/ 196927 h 196926"/>
              <a:gd name="connsiteX2" fmla="*/ 96715 w 180613"/>
              <a:gd name="connsiteY2" fmla="*/ 99046 h 196926"/>
              <a:gd name="connsiteX3" fmla="*/ 0 w 180613"/>
              <a:gd name="connsiteY3" fmla="*/ 0 h 196926"/>
              <a:gd name="connsiteX4" fmla="*/ 83898 w 180613"/>
              <a:gd name="connsiteY4" fmla="*/ 0 h 196926"/>
              <a:gd name="connsiteX5" fmla="*/ 180613 w 180613"/>
              <a:gd name="connsiteY5" fmla="*/ 96716 h 196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6926">
                <a:moveTo>
                  <a:pt x="82733" y="196927"/>
                </a:moveTo>
                <a:lnTo>
                  <a:pt x="0" y="196927"/>
                </a:lnTo>
                <a:lnTo>
                  <a:pt x="96715" y="99046"/>
                </a:lnTo>
                <a:lnTo>
                  <a:pt x="0" y="0"/>
                </a:lnTo>
                <a:lnTo>
                  <a:pt x="83898" y="0"/>
                </a:lnTo>
                <a:lnTo>
                  <a:pt x="180613" y="96716"/>
                </a:lnTo>
                <a:close/>
              </a:path>
            </a:pathLst>
          </a:custGeom>
          <a:solidFill>
            <a:srgbClr val="EEF2F5"/>
          </a:solidFill>
          <a:ln w="11643" cap="flat">
            <a:noFill/>
            <a:prstDash val="solid"/>
            <a:miter/>
          </a:ln>
        </p:spPr>
        <p:txBody>
          <a:bodyPr rtlCol="0" anchor="ctr"/>
          <a:lstStyle/>
          <a:p>
            <a:endParaRPr lang="de-DE"/>
          </a:p>
        </p:txBody>
      </p:sp>
      <p:sp>
        <p:nvSpPr>
          <p:cNvPr id="431" name="Freihandform: Form 430">
            <a:extLst>
              <a:ext uri="{FF2B5EF4-FFF2-40B4-BE49-F238E27FC236}">
                <a16:creationId xmlns:a16="http://schemas.microsoft.com/office/drawing/2014/main" id="{34C0EB52-123E-44D9-9EC9-7D7BEF0ABD80}"/>
              </a:ext>
            </a:extLst>
          </p:cNvPr>
          <p:cNvSpPr/>
          <p:nvPr userDrawn="1"/>
        </p:nvSpPr>
        <p:spPr>
          <a:xfrm>
            <a:off x="8375813" y="4496041"/>
            <a:ext cx="180613" cy="195761"/>
          </a:xfrm>
          <a:custGeom>
            <a:avLst/>
            <a:gdLst>
              <a:gd name="connsiteX0" fmla="*/ 82733 w 180613"/>
              <a:gd name="connsiteY0" fmla="*/ 195762 h 195761"/>
              <a:gd name="connsiteX1" fmla="*/ 0 w 180613"/>
              <a:gd name="connsiteY1" fmla="*/ 195762 h 195761"/>
              <a:gd name="connsiteX2" fmla="*/ 96715 w 180613"/>
              <a:gd name="connsiteY2" fmla="*/ 99046 h 195761"/>
              <a:gd name="connsiteX3" fmla="*/ 0 w 180613"/>
              <a:gd name="connsiteY3" fmla="*/ 0 h 195761"/>
              <a:gd name="connsiteX4" fmla="*/ 83898 w 180613"/>
              <a:gd name="connsiteY4" fmla="*/ 0 h 195761"/>
              <a:gd name="connsiteX5" fmla="*/ 180613 w 180613"/>
              <a:gd name="connsiteY5" fmla="*/ 96716 h 19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5761">
                <a:moveTo>
                  <a:pt x="82733" y="195762"/>
                </a:moveTo>
                <a:lnTo>
                  <a:pt x="0" y="195762"/>
                </a:lnTo>
                <a:lnTo>
                  <a:pt x="96715" y="99046"/>
                </a:lnTo>
                <a:lnTo>
                  <a:pt x="0" y="0"/>
                </a:lnTo>
                <a:lnTo>
                  <a:pt x="83898" y="0"/>
                </a:lnTo>
                <a:lnTo>
                  <a:pt x="180613" y="96716"/>
                </a:lnTo>
                <a:close/>
              </a:path>
            </a:pathLst>
          </a:custGeom>
          <a:solidFill>
            <a:srgbClr val="EEF2F5"/>
          </a:solidFill>
          <a:ln w="11643" cap="flat">
            <a:noFill/>
            <a:prstDash val="solid"/>
            <a:miter/>
          </a:ln>
        </p:spPr>
        <p:txBody>
          <a:bodyPr rtlCol="0" anchor="ctr"/>
          <a:lstStyle/>
          <a:p>
            <a:endParaRPr lang="de-DE"/>
          </a:p>
        </p:txBody>
      </p:sp>
      <p:sp>
        <p:nvSpPr>
          <p:cNvPr id="432" name="Freihandform: Form 431">
            <a:extLst>
              <a:ext uri="{FF2B5EF4-FFF2-40B4-BE49-F238E27FC236}">
                <a16:creationId xmlns:a16="http://schemas.microsoft.com/office/drawing/2014/main" id="{5219E8F1-626A-4690-864E-3909F2395641}"/>
              </a:ext>
            </a:extLst>
          </p:cNvPr>
          <p:cNvSpPr/>
          <p:nvPr userDrawn="1"/>
        </p:nvSpPr>
        <p:spPr>
          <a:xfrm>
            <a:off x="8375813" y="4850276"/>
            <a:ext cx="180613" cy="196927"/>
          </a:xfrm>
          <a:custGeom>
            <a:avLst/>
            <a:gdLst>
              <a:gd name="connsiteX0" fmla="*/ 82733 w 180613"/>
              <a:gd name="connsiteY0" fmla="*/ 196927 h 196927"/>
              <a:gd name="connsiteX1" fmla="*/ 0 w 180613"/>
              <a:gd name="connsiteY1" fmla="*/ 196927 h 196927"/>
              <a:gd name="connsiteX2" fmla="*/ 96715 w 180613"/>
              <a:gd name="connsiteY2" fmla="*/ 99046 h 196927"/>
              <a:gd name="connsiteX3" fmla="*/ 0 w 180613"/>
              <a:gd name="connsiteY3" fmla="*/ 0 h 196927"/>
              <a:gd name="connsiteX4" fmla="*/ 83898 w 180613"/>
              <a:gd name="connsiteY4" fmla="*/ 0 h 196927"/>
              <a:gd name="connsiteX5" fmla="*/ 180613 w 180613"/>
              <a:gd name="connsiteY5" fmla="*/ 96716 h 196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6927">
                <a:moveTo>
                  <a:pt x="82733" y="196927"/>
                </a:moveTo>
                <a:lnTo>
                  <a:pt x="0" y="196927"/>
                </a:lnTo>
                <a:lnTo>
                  <a:pt x="96715" y="99046"/>
                </a:lnTo>
                <a:lnTo>
                  <a:pt x="0" y="0"/>
                </a:lnTo>
                <a:lnTo>
                  <a:pt x="83898" y="0"/>
                </a:lnTo>
                <a:lnTo>
                  <a:pt x="180613" y="96716"/>
                </a:lnTo>
                <a:close/>
              </a:path>
            </a:pathLst>
          </a:custGeom>
          <a:solidFill>
            <a:srgbClr val="EEF2F5"/>
          </a:solidFill>
          <a:ln w="11643" cap="flat">
            <a:noFill/>
            <a:prstDash val="solid"/>
            <a:miter/>
          </a:ln>
        </p:spPr>
        <p:txBody>
          <a:bodyPr rtlCol="0" anchor="ctr"/>
          <a:lstStyle/>
          <a:p>
            <a:endParaRPr lang="de-DE"/>
          </a:p>
        </p:txBody>
      </p:sp>
      <p:sp>
        <p:nvSpPr>
          <p:cNvPr id="433" name="Freihandform: Form 432">
            <a:extLst>
              <a:ext uri="{FF2B5EF4-FFF2-40B4-BE49-F238E27FC236}">
                <a16:creationId xmlns:a16="http://schemas.microsoft.com/office/drawing/2014/main" id="{D51309D8-1401-412C-AF26-DDF972F4A03F}"/>
              </a:ext>
            </a:extLst>
          </p:cNvPr>
          <p:cNvSpPr/>
          <p:nvPr userDrawn="1"/>
        </p:nvSpPr>
        <p:spPr>
          <a:xfrm>
            <a:off x="8375813" y="5205677"/>
            <a:ext cx="180613" cy="195761"/>
          </a:xfrm>
          <a:custGeom>
            <a:avLst/>
            <a:gdLst>
              <a:gd name="connsiteX0" fmla="*/ 82733 w 180613"/>
              <a:gd name="connsiteY0" fmla="*/ 195762 h 195761"/>
              <a:gd name="connsiteX1" fmla="*/ 0 w 180613"/>
              <a:gd name="connsiteY1" fmla="*/ 195762 h 195761"/>
              <a:gd name="connsiteX2" fmla="*/ 96715 w 180613"/>
              <a:gd name="connsiteY2" fmla="*/ 99046 h 195761"/>
              <a:gd name="connsiteX3" fmla="*/ 0 w 180613"/>
              <a:gd name="connsiteY3" fmla="*/ 0 h 195761"/>
              <a:gd name="connsiteX4" fmla="*/ 83898 w 180613"/>
              <a:gd name="connsiteY4" fmla="*/ 0 h 195761"/>
              <a:gd name="connsiteX5" fmla="*/ 180613 w 180613"/>
              <a:gd name="connsiteY5" fmla="*/ 96715 h 19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5761">
                <a:moveTo>
                  <a:pt x="82733" y="195762"/>
                </a:moveTo>
                <a:lnTo>
                  <a:pt x="0" y="195762"/>
                </a:lnTo>
                <a:lnTo>
                  <a:pt x="96715" y="99046"/>
                </a:lnTo>
                <a:lnTo>
                  <a:pt x="0" y="0"/>
                </a:lnTo>
                <a:lnTo>
                  <a:pt x="83898" y="0"/>
                </a:lnTo>
                <a:lnTo>
                  <a:pt x="180613" y="96715"/>
                </a:lnTo>
                <a:close/>
              </a:path>
            </a:pathLst>
          </a:custGeom>
          <a:solidFill>
            <a:srgbClr val="EEF2F5"/>
          </a:solidFill>
          <a:ln w="11643" cap="flat">
            <a:noFill/>
            <a:prstDash val="solid"/>
            <a:miter/>
          </a:ln>
        </p:spPr>
        <p:txBody>
          <a:bodyPr rtlCol="0" anchor="ctr"/>
          <a:lstStyle/>
          <a:p>
            <a:endParaRPr lang="de-DE"/>
          </a:p>
        </p:txBody>
      </p:sp>
      <p:sp>
        <p:nvSpPr>
          <p:cNvPr id="434" name="Freihandform: Form 433">
            <a:extLst>
              <a:ext uri="{FF2B5EF4-FFF2-40B4-BE49-F238E27FC236}">
                <a16:creationId xmlns:a16="http://schemas.microsoft.com/office/drawing/2014/main" id="{18C115C5-2AC9-4E5E-BDA3-03481CD7237E}"/>
              </a:ext>
            </a:extLst>
          </p:cNvPr>
          <p:cNvSpPr/>
          <p:nvPr userDrawn="1"/>
        </p:nvSpPr>
        <p:spPr>
          <a:xfrm>
            <a:off x="8375813" y="5559912"/>
            <a:ext cx="180613" cy="196926"/>
          </a:xfrm>
          <a:custGeom>
            <a:avLst/>
            <a:gdLst>
              <a:gd name="connsiteX0" fmla="*/ 82733 w 180613"/>
              <a:gd name="connsiteY0" fmla="*/ 196927 h 196926"/>
              <a:gd name="connsiteX1" fmla="*/ 0 w 180613"/>
              <a:gd name="connsiteY1" fmla="*/ 196927 h 196926"/>
              <a:gd name="connsiteX2" fmla="*/ 96715 w 180613"/>
              <a:gd name="connsiteY2" fmla="*/ 99046 h 196926"/>
              <a:gd name="connsiteX3" fmla="*/ 0 w 180613"/>
              <a:gd name="connsiteY3" fmla="*/ 0 h 196926"/>
              <a:gd name="connsiteX4" fmla="*/ 83898 w 180613"/>
              <a:gd name="connsiteY4" fmla="*/ 0 h 196926"/>
              <a:gd name="connsiteX5" fmla="*/ 180613 w 180613"/>
              <a:gd name="connsiteY5" fmla="*/ 96715 h 196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6926">
                <a:moveTo>
                  <a:pt x="82733" y="196927"/>
                </a:moveTo>
                <a:lnTo>
                  <a:pt x="0" y="196927"/>
                </a:lnTo>
                <a:lnTo>
                  <a:pt x="96715" y="99046"/>
                </a:lnTo>
                <a:lnTo>
                  <a:pt x="0" y="0"/>
                </a:lnTo>
                <a:lnTo>
                  <a:pt x="83898" y="0"/>
                </a:lnTo>
                <a:lnTo>
                  <a:pt x="180613" y="96715"/>
                </a:lnTo>
                <a:close/>
              </a:path>
            </a:pathLst>
          </a:custGeom>
          <a:solidFill>
            <a:srgbClr val="EEF2F5"/>
          </a:solidFill>
          <a:ln w="11643" cap="flat">
            <a:noFill/>
            <a:prstDash val="solid"/>
            <a:miter/>
          </a:ln>
        </p:spPr>
        <p:txBody>
          <a:bodyPr rtlCol="0" anchor="ctr"/>
          <a:lstStyle/>
          <a:p>
            <a:endParaRPr lang="de-DE"/>
          </a:p>
        </p:txBody>
      </p:sp>
      <p:sp>
        <p:nvSpPr>
          <p:cNvPr id="435" name="Freihandform: Form 434">
            <a:extLst>
              <a:ext uri="{FF2B5EF4-FFF2-40B4-BE49-F238E27FC236}">
                <a16:creationId xmlns:a16="http://schemas.microsoft.com/office/drawing/2014/main" id="{6AF44250-C7AA-4392-96AF-9FBE14A0A151}"/>
              </a:ext>
            </a:extLst>
          </p:cNvPr>
          <p:cNvSpPr/>
          <p:nvPr userDrawn="1"/>
        </p:nvSpPr>
        <p:spPr>
          <a:xfrm>
            <a:off x="8375813" y="5915313"/>
            <a:ext cx="180613" cy="195761"/>
          </a:xfrm>
          <a:custGeom>
            <a:avLst/>
            <a:gdLst>
              <a:gd name="connsiteX0" fmla="*/ 82733 w 180613"/>
              <a:gd name="connsiteY0" fmla="*/ 195762 h 195761"/>
              <a:gd name="connsiteX1" fmla="*/ 0 w 180613"/>
              <a:gd name="connsiteY1" fmla="*/ 195762 h 195761"/>
              <a:gd name="connsiteX2" fmla="*/ 96715 w 180613"/>
              <a:gd name="connsiteY2" fmla="*/ 99046 h 195761"/>
              <a:gd name="connsiteX3" fmla="*/ 0 w 180613"/>
              <a:gd name="connsiteY3" fmla="*/ 0 h 195761"/>
              <a:gd name="connsiteX4" fmla="*/ 83898 w 180613"/>
              <a:gd name="connsiteY4" fmla="*/ 0 h 195761"/>
              <a:gd name="connsiteX5" fmla="*/ 180613 w 180613"/>
              <a:gd name="connsiteY5" fmla="*/ 96715 h 19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5761">
                <a:moveTo>
                  <a:pt x="82733" y="195762"/>
                </a:moveTo>
                <a:lnTo>
                  <a:pt x="0" y="195762"/>
                </a:lnTo>
                <a:lnTo>
                  <a:pt x="96715" y="99046"/>
                </a:lnTo>
                <a:lnTo>
                  <a:pt x="0" y="0"/>
                </a:lnTo>
                <a:lnTo>
                  <a:pt x="83898" y="0"/>
                </a:lnTo>
                <a:lnTo>
                  <a:pt x="180613" y="96715"/>
                </a:lnTo>
                <a:close/>
              </a:path>
            </a:pathLst>
          </a:custGeom>
          <a:solidFill>
            <a:srgbClr val="EEF2F5"/>
          </a:solidFill>
          <a:ln w="11643" cap="flat">
            <a:noFill/>
            <a:prstDash val="solid"/>
            <a:miter/>
          </a:ln>
        </p:spPr>
        <p:txBody>
          <a:bodyPr rtlCol="0" anchor="ctr"/>
          <a:lstStyle/>
          <a:p>
            <a:endParaRPr lang="de-DE"/>
          </a:p>
        </p:txBody>
      </p:sp>
      <p:sp>
        <p:nvSpPr>
          <p:cNvPr id="436" name="Freihandform: Form 435">
            <a:extLst>
              <a:ext uri="{FF2B5EF4-FFF2-40B4-BE49-F238E27FC236}">
                <a16:creationId xmlns:a16="http://schemas.microsoft.com/office/drawing/2014/main" id="{FC7422D5-7BFD-49F1-8CF8-41977E51E586}"/>
              </a:ext>
            </a:extLst>
          </p:cNvPr>
          <p:cNvSpPr/>
          <p:nvPr userDrawn="1"/>
        </p:nvSpPr>
        <p:spPr>
          <a:xfrm>
            <a:off x="8375813" y="6270714"/>
            <a:ext cx="180613" cy="195761"/>
          </a:xfrm>
          <a:custGeom>
            <a:avLst/>
            <a:gdLst>
              <a:gd name="connsiteX0" fmla="*/ 82733 w 180613"/>
              <a:gd name="connsiteY0" fmla="*/ 195762 h 195761"/>
              <a:gd name="connsiteX1" fmla="*/ 0 w 180613"/>
              <a:gd name="connsiteY1" fmla="*/ 195762 h 195761"/>
              <a:gd name="connsiteX2" fmla="*/ 96715 w 180613"/>
              <a:gd name="connsiteY2" fmla="*/ 97881 h 195761"/>
              <a:gd name="connsiteX3" fmla="*/ 0 w 180613"/>
              <a:gd name="connsiteY3" fmla="*/ 0 h 195761"/>
              <a:gd name="connsiteX4" fmla="*/ 83898 w 180613"/>
              <a:gd name="connsiteY4" fmla="*/ 0 h 195761"/>
              <a:gd name="connsiteX5" fmla="*/ 180613 w 180613"/>
              <a:gd name="connsiteY5" fmla="*/ 95550 h 19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5761">
                <a:moveTo>
                  <a:pt x="82733" y="195762"/>
                </a:moveTo>
                <a:lnTo>
                  <a:pt x="0" y="195762"/>
                </a:lnTo>
                <a:lnTo>
                  <a:pt x="96715" y="97881"/>
                </a:lnTo>
                <a:lnTo>
                  <a:pt x="0" y="0"/>
                </a:lnTo>
                <a:lnTo>
                  <a:pt x="83898" y="0"/>
                </a:lnTo>
                <a:lnTo>
                  <a:pt x="180613" y="95550"/>
                </a:lnTo>
                <a:close/>
              </a:path>
            </a:pathLst>
          </a:custGeom>
          <a:solidFill>
            <a:srgbClr val="EEF2F5"/>
          </a:solidFill>
          <a:ln w="11643" cap="flat">
            <a:noFill/>
            <a:prstDash val="solid"/>
            <a:miter/>
          </a:ln>
        </p:spPr>
        <p:txBody>
          <a:bodyPr rtlCol="0" anchor="ctr"/>
          <a:lstStyle/>
          <a:p>
            <a:endParaRPr lang="de-DE"/>
          </a:p>
        </p:txBody>
      </p:sp>
      <p:sp>
        <p:nvSpPr>
          <p:cNvPr id="437" name="Freihandform: Form 436">
            <a:extLst>
              <a:ext uri="{FF2B5EF4-FFF2-40B4-BE49-F238E27FC236}">
                <a16:creationId xmlns:a16="http://schemas.microsoft.com/office/drawing/2014/main" id="{E943456F-C9D7-440F-BAE7-3340B9DC6330}"/>
              </a:ext>
            </a:extLst>
          </p:cNvPr>
          <p:cNvSpPr/>
          <p:nvPr userDrawn="1"/>
        </p:nvSpPr>
        <p:spPr>
          <a:xfrm>
            <a:off x="8375813" y="6624949"/>
            <a:ext cx="180613" cy="196926"/>
          </a:xfrm>
          <a:custGeom>
            <a:avLst/>
            <a:gdLst>
              <a:gd name="connsiteX0" fmla="*/ 82733 w 180613"/>
              <a:gd name="connsiteY0" fmla="*/ 196927 h 196926"/>
              <a:gd name="connsiteX1" fmla="*/ 0 w 180613"/>
              <a:gd name="connsiteY1" fmla="*/ 196927 h 196926"/>
              <a:gd name="connsiteX2" fmla="*/ 96715 w 180613"/>
              <a:gd name="connsiteY2" fmla="*/ 99046 h 196926"/>
              <a:gd name="connsiteX3" fmla="*/ 0 w 180613"/>
              <a:gd name="connsiteY3" fmla="*/ 0 h 196926"/>
              <a:gd name="connsiteX4" fmla="*/ 83898 w 180613"/>
              <a:gd name="connsiteY4" fmla="*/ 0 h 196926"/>
              <a:gd name="connsiteX5" fmla="*/ 180613 w 180613"/>
              <a:gd name="connsiteY5" fmla="*/ 96715 h 196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6926">
                <a:moveTo>
                  <a:pt x="82733" y="196927"/>
                </a:moveTo>
                <a:lnTo>
                  <a:pt x="0" y="196927"/>
                </a:lnTo>
                <a:lnTo>
                  <a:pt x="96715" y="99046"/>
                </a:lnTo>
                <a:lnTo>
                  <a:pt x="0" y="0"/>
                </a:lnTo>
                <a:lnTo>
                  <a:pt x="83898" y="0"/>
                </a:lnTo>
                <a:lnTo>
                  <a:pt x="180613" y="96715"/>
                </a:lnTo>
                <a:close/>
              </a:path>
            </a:pathLst>
          </a:custGeom>
          <a:solidFill>
            <a:srgbClr val="EEF2F5"/>
          </a:solidFill>
          <a:ln w="11643" cap="flat">
            <a:noFill/>
            <a:prstDash val="solid"/>
            <a:miter/>
          </a:ln>
        </p:spPr>
        <p:txBody>
          <a:bodyPr rtlCol="0" anchor="ctr"/>
          <a:lstStyle/>
          <a:p>
            <a:endParaRPr lang="de-DE"/>
          </a:p>
        </p:txBody>
      </p:sp>
      <p:sp>
        <p:nvSpPr>
          <p:cNvPr id="438" name="Freihandform: Form 437">
            <a:extLst>
              <a:ext uri="{FF2B5EF4-FFF2-40B4-BE49-F238E27FC236}">
                <a16:creationId xmlns:a16="http://schemas.microsoft.com/office/drawing/2014/main" id="{51CAB98F-4CBB-4D06-A263-949D791C9F0B}"/>
              </a:ext>
            </a:extLst>
          </p:cNvPr>
          <p:cNvSpPr/>
          <p:nvPr userDrawn="1"/>
        </p:nvSpPr>
        <p:spPr>
          <a:xfrm>
            <a:off x="8721892" y="2002410"/>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6038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6038"/>
                </a:lnTo>
                <a:close/>
              </a:path>
            </a:pathLst>
          </a:custGeom>
          <a:solidFill>
            <a:srgbClr val="EEF2F5"/>
          </a:solidFill>
          <a:ln w="11643" cap="flat">
            <a:noFill/>
            <a:prstDash val="solid"/>
            <a:miter/>
          </a:ln>
        </p:spPr>
        <p:txBody>
          <a:bodyPr rtlCol="0" anchor="ctr"/>
          <a:lstStyle/>
          <a:p>
            <a:endParaRPr lang="de-DE"/>
          </a:p>
        </p:txBody>
      </p:sp>
      <p:sp>
        <p:nvSpPr>
          <p:cNvPr id="439" name="Freihandform: Form 438">
            <a:extLst>
              <a:ext uri="{FF2B5EF4-FFF2-40B4-BE49-F238E27FC236}">
                <a16:creationId xmlns:a16="http://schemas.microsoft.com/office/drawing/2014/main" id="{62F4C308-3870-47E2-8215-AAF8FAAB7155}"/>
              </a:ext>
            </a:extLst>
          </p:cNvPr>
          <p:cNvSpPr/>
          <p:nvPr userDrawn="1"/>
        </p:nvSpPr>
        <p:spPr>
          <a:xfrm>
            <a:off x="8721892" y="2357811"/>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4872"/>
                </a:lnTo>
                <a:close/>
              </a:path>
            </a:pathLst>
          </a:custGeom>
          <a:solidFill>
            <a:srgbClr val="EEF2F5"/>
          </a:solidFill>
          <a:ln w="11643" cap="flat">
            <a:noFill/>
            <a:prstDash val="solid"/>
            <a:miter/>
          </a:ln>
        </p:spPr>
        <p:txBody>
          <a:bodyPr rtlCol="0" anchor="ctr"/>
          <a:lstStyle/>
          <a:p>
            <a:endParaRPr lang="de-DE"/>
          </a:p>
        </p:txBody>
      </p:sp>
      <p:sp>
        <p:nvSpPr>
          <p:cNvPr id="440" name="Freihandform: Form 439">
            <a:extLst>
              <a:ext uri="{FF2B5EF4-FFF2-40B4-BE49-F238E27FC236}">
                <a16:creationId xmlns:a16="http://schemas.microsoft.com/office/drawing/2014/main" id="{D7322EBB-EAEE-4A42-9AD7-53B76C52A248}"/>
              </a:ext>
            </a:extLst>
          </p:cNvPr>
          <p:cNvSpPr/>
          <p:nvPr userDrawn="1"/>
        </p:nvSpPr>
        <p:spPr>
          <a:xfrm>
            <a:off x="8721892" y="2712046"/>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6038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6038"/>
                </a:lnTo>
                <a:close/>
              </a:path>
            </a:pathLst>
          </a:custGeom>
          <a:solidFill>
            <a:srgbClr val="EEF2F5"/>
          </a:solidFill>
          <a:ln w="11643" cap="flat">
            <a:noFill/>
            <a:prstDash val="solid"/>
            <a:miter/>
          </a:ln>
        </p:spPr>
        <p:txBody>
          <a:bodyPr rtlCol="0" anchor="ctr"/>
          <a:lstStyle/>
          <a:p>
            <a:endParaRPr lang="de-DE"/>
          </a:p>
        </p:txBody>
      </p:sp>
      <p:sp>
        <p:nvSpPr>
          <p:cNvPr id="441" name="Freihandform: Form 440">
            <a:extLst>
              <a:ext uri="{FF2B5EF4-FFF2-40B4-BE49-F238E27FC236}">
                <a16:creationId xmlns:a16="http://schemas.microsoft.com/office/drawing/2014/main" id="{2F1B8135-9A4E-476E-8711-64C2C031A7D4}"/>
              </a:ext>
            </a:extLst>
          </p:cNvPr>
          <p:cNvSpPr/>
          <p:nvPr userDrawn="1"/>
        </p:nvSpPr>
        <p:spPr>
          <a:xfrm>
            <a:off x="8721892" y="3067447"/>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4872"/>
                </a:lnTo>
                <a:close/>
              </a:path>
            </a:pathLst>
          </a:custGeom>
          <a:solidFill>
            <a:srgbClr val="EEF2F5"/>
          </a:solidFill>
          <a:ln w="11643" cap="flat">
            <a:noFill/>
            <a:prstDash val="solid"/>
            <a:miter/>
          </a:ln>
        </p:spPr>
        <p:txBody>
          <a:bodyPr rtlCol="0" anchor="ctr"/>
          <a:lstStyle/>
          <a:p>
            <a:endParaRPr lang="de-DE"/>
          </a:p>
        </p:txBody>
      </p:sp>
      <p:sp>
        <p:nvSpPr>
          <p:cNvPr id="442" name="Freihandform: Form 441">
            <a:extLst>
              <a:ext uri="{FF2B5EF4-FFF2-40B4-BE49-F238E27FC236}">
                <a16:creationId xmlns:a16="http://schemas.microsoft.com/office/drawing/2014/main" id="{6FC17601-18E6-4BF7-A8D1-2826F0BE14DB}"/>
              </a:ext>
            </a:extLst>
          </p:cNvPr>
          <p:cNvSpPr/>
          <p:nvPr userDrawn="1"/>
        </p:nvSpPr>
        <p:spPr>
          <a:xfrm>
            <a:off x="8721892" y="3421682"/>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6038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6038"/>
                </a:lnTo>
                <a:close/>
              </a:path>
            </a:pathLst>
          </a:custGeom>
          <a:solidFill>
            <a:srgbClr val="EEF2F5"/>
          </a:solidFill>
          <a:ln w="11643" cap="flat">
            <a:noFill/>
            <a:prstDash val="solid"/>
            <a:miter/>
          </a:ln>
        </p:spPr>
        <p:txBody>
          <a:bodyPr rtlCol="0" anchor="ctr"/>
          <a:lstStyle/>
          <a:p>
            <a:endParaRPr lang="de-DE"/>
          </a:p>
        </p:txBody>
      </p:sp>
      <p:sp>
        <p:nvSpPr>
          <p:cNvPr id="443" name="Freihandform: Form 442">
            <a:extLst>
              <a:ext uri="{FF2B5EF4-FFF2-40B4-BE49-F238E27FC236}">
                <a16:creationId xmlns:a16="http://schemas.microsoft.com/office/drawing/2014/main" id="{14285465-FDDA-4690-A394-8C87D559E31D}"/>
              </a:ext>
            </a:extLst>
          </p:cNvPr>
          <p:cNvSpPr/>
          <p:nvPr userDrawn="1"/>
        </p:nvSpPr>
        <p:spPr>
          <a:xfrm>
            <a:off x="8721892" y="3777083"/>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4872"/>
                </a:lnTo>
                <a:close/>
              </a:path>
            </a:pathLst>
          </a:custGeom>
          <a:solidFill>
            <a:srgbClr val="EEF2F5"/>
          </a:solidFill>
          <a:ln w="11643" cap="flat">
            <a:noFill/>
            <a:prstDash val="solid"/>
            <a:miter/>
          </a:ln>
        </p:spPr>
        <p:txBody>
          <a:bodyPr rtlCol="0" anchor="ctr"/>
          <a:lstStyle/>
          <a:p>
            <a:endParaRPr lang="de-DE"/>
          </a:p>
        </p:txBody>
      </p:sp>
      <p:sp>
        <p:nvSpPr>
          <p:cNvPr id="444" name="Freihandform: Form 443">
            <a:extLst>
              <a:ext uri="{FF2B5EF4-FFF2-40B4-BE49-F238E27FC236}">
                <a16:creationId xmlns:a16="http://schemas.microsoft.com/office/drawing/2014/main" id="{EF5CE05F-09D9-4E8A-A64E-CC6C5BB6F1A5}"/>
              </a:ext>
            </a:extLst>
          </p:cNvPr>
          <p:cNvSpPr/>
          <p:nvPr userDrawn="1"/>
        </p:nvSpPr>
        <p:spPr>
          <a:xfrm>
            <a:off x="8721892" y="4132484"/>
            <a:ext cx="198092" cy="214405"/>
          </a:xfrm>
          <a:custGeom>
            <a:avLst/>
            <a:gdLst>
              <a:gd name="connsiteX0" fmla="*/ 90889 w 198092"/>
              <a:gd name="connsiteY0" fmla="*/ 214406 h 214405"/>
              <a:gd name="connsiteX1" fmla="*/ 0 w 198092"/>
              <a:gd name="connsiteY1" fmla="*/ 214406 h 214405"/>
              <a:gd name="connsiteX2" fmla="*/ 106037 w 198092"/>
              <a:gd name="connsiteY2" fmla="*/ 107203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7203"/>
                </a:lnTo>
                <a:lnTo>
                  <a:pt x="0" y="0"/>
                </a:lnTo>
                <a:lnTo>
                  <a:pt x="92055" y="0"/>
                </a:lnTo>
                <a:lnTo>
                  <a:pt x="198092" y="104872"/>
                </a:lnTo>
                <a:close/>
              </a:path>
            </a:pathLst>
          </a:custGeom>
          <a:solidFill>
            <a:srgbClr val="EEF2F5"/>
          </a:solidFill>
          <a:ln w="11643" cap="flat">
            <a:noFill/>
            <a:prstDash val="solid"/>
            <a:miter/>
          </a:ln>
        </p:spPr>
        <p:txBody>
          <a:bodyPr rtlCol="0" anchor="ctr"/>
          <a:lstStyle/>
          <a:p>
            <a:endParaRPr lang="de-DE"/>
          </a:p>
        </p:txBody>
      </p:sp>
      <p:sp>
        <p:nvSpPr>
          <p:cNvPr id="445" name="Freihandform: Form 444">
            <a:extLst>
              <a:ext uri="{FF2B5EF4-FFF2-40B4-BE49-F238E27FC236}">
                <a16:creationId xmlns:a16="http://schemas.microsoft.com/office/drawing/2014/main" id="{252B6EA4-1D20-403F-A67B-8BCEBA7181EA}"/>
              </a:ext>
            </a:extLst>
          </p:cNvPr>
          <p:cNvSpPr/>
          <p:nvPr userDrawn="1"/>
        </p:nvSpPr>
        <p:spPr>
          <a:xfrm>
            <a:off x="8721892" y="4486719"/>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4872"/>
                </a:lnTo>
                <a:close/>
              </a:path>
            </a:pathLst>
          </a:custGeom>
          <a:solidFill>
            <a:srgbClr val="EEF2F5"/>
          </a:solidFill>
          <a:ln w="11643" cap="flat">
            <a:noFill/>
            <a:prstDash val="solid"/>
            <a:miter/>
          </a:ln>
        </p:spPr>
        <p:txBody>
          <a:bodyPr rtlCol="0" anchor="ctr"/>
          <a:lstStyle/>
          <a:p>
            <a:endParaRPr lang="de-DE"/>
          </a:p>
        </p:txBody>
      </p:sp>
      <p:sp>
        <p:nvSpPr>
          <p:cNvPr id="446" name="Freihandform: Form 445">
            <a:extLst>
              <a:ext uri="{FF2B5EF4-FFF2-40B4-BE49-F238E27FC236}">
                <a16:creationId xmlns:a16="http://schemas.microsoft.com/office/drawing/2014/main" id="{B34E7EF8-659D-41D0-A7E6-F80D2A72E4F5}"/>
              </a:ext>
            </a:extLst>
          </p:cNvPr>
          <p:cNvSpPr/>
          <p:nvPr userDrawn="1"/>
        </p:nvSpPr>
        <p:spPr>
          <a:xfrm>
            <a:off x="8721892" y="4842120"/>
            <a:ext cx="198092" cy="214405"/>
          </a:xfrm>
          <a:custGeom>
            <a:avLst/>
            <a:gdLst>
              <a:gd name="connsiteX0" fmla="*/ 90889 w 198092"/>
              <a:gd name="connsiteY0" fmla="*/ 214406 h 214405"/>
              <a:gd name="connsiteX1" fmla="*/ 0 w 198092"/>
              <a:gd name="connsiteY1" fmla="*/ 214406 h 214405"/>
              <a:gd name="connsiteX2" fmla="*/ 106037 w 198092"/>
              <a:gd name="connsiteY2" fmla="*/ 107203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7203"/>
                </a:lnTo>
                <a:lnTo>
                  <a:pt x="0" y="0"/>
                </a:lnTo>
                <a:lnTo>
                  <a:pt x="92055" y="0"/>
                </a:lnTo>
                <a:lnTo>
                  <a:pt x="198092" y="104872"/>
                </a:lnTo>
                <a:close/>
              </a:path>
            </a:pathLst>
          </a:custGeom>
          <a:solidFill>
            <a:srgbClr val="EEF2F5"/>
          </a:solidFill>
          <a:ln w="11643" cap="flat">
            <a:noFill/>
            <a:prstDash val="solid"/>
            <a:miter/>
          </a:ln>
        </p:spPr>
        <p:txBody>
          <a:bodyPr rtlCol="0" anchor="ctr"/>
          <a:lstStyle/>
          <a:p>
            <a:endParaRPr lang="de-DE"/>
          </a:p>
        </p:txBody>
      </p:sp>
      <p:sp>
        <p:nvSpPr>
          <p:cNvPr id="447" name="Freihandform: Form 446">
            <a:extLst>
              <a:ext uri="{FF2B5EF4-FFF2-40B4-BE49-F238E27FC236}">
                <a16:creationId xmlns:a16="http://schemas.microsoft.com/office/drawing/2014/main" id="{0755A084-00C6-4064-9BC1-07F7BB9E8B25}"/>
              </a:ext>
            </a:extLst>
          </p:cNvPr>
          <p:cNvSpPr/>
          <p:nvPr userDrawn="1"/>
        </p:nvSpPr>
        <p:spPr>
          <a:xfrm>
            <a:off x="8721892" y="5196355"/>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6038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6038"/>
                </a:lnTo>
                <a:close/>
              </a:path>
            </a:pathLst>
          </a:custGeom>
          <a:solidFill>
            <a:srgbClr val="EEF2F5"/>
          </a:solidFill>
          <a:ln w="11643" cap="flat">
            <a:noFill/>
            <a:prstDash val="solid"/>
            <a:miter/>
          </a:ln>
        </p:spPr>
        <p:txBody>
          <a:bodyPr rtlCol="0" anchor="ctr"/>
          <a:lstStyle/>
          <a:p>
            <a:endParaRPr lang="de-DE"/>
          </a:p>
        </p:txBody>
      </p:sp>
      <p:sp>
        <p:nvSpPr>
          <p:cNvPr id="448" name="Freihandform: Form 447">
            <a:extLst>
              <a:ext uri="{FF2B5EF4-FFF2-40B4-BE49-F238E27FC236}">
                <a16:creationId xmlns:a16="http://schemas.microsoft.com/office/drawing/2014/main" id="{EC6887F2-DD05-4AFE-B004-C0A73966DD5E}"/>
              </a:ext>
            </a:extLst>
          </p:cNvPr>
          <p:cNvSpPr/>
          <p:nvPr userDrawn="1"/>
        </p:nvSpPr>
        <p:spPr>
          <a:xfrm>
            <a:off x="8721892" y="5551755"/>
            <a:ext cx="198092" cy="214405"/>
          </a:xfrm>
          <a:custGeom>
            <a:avLst/>
            <a:gdLst>
              <a:gd name="connsiteX0" fmla="*/ 90889 w 198092"/>
              <a:gd name="connsiteY0" fmla="*/ 214406 h 214405"/>
              <a:gd name="connsiteX1" fmla="*/ 0 w 198092"/>
              <a:gd name="connsiteY1" fmla="*/ 214406 h 214405"/>
              <a:gd name="connsiteX2" fmla="*/ 106037 w 198092"/>
              <a:gd name="connsiteY2" fmla="*/ 107203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7203"/>
                </a:lnTo>
                <a:lnTo>
                  <a:pt x="0" y="0"/>
                </a:lnTo>
                <a:lnTo>
                  <a:pt x="92055" y="0"/>
                </a:lnTo>
                <a:lnTo>
                  <a:pt x="198092" y="104872"/>
                </a:lnTo>
                <a:close/>
              </a:path>
            </a:pathLst>
          </a:custGeom>
          <a:solidFill>
            <a:srgbClr val="EEF2F5"/>
          </a:solidFill>
          <a:ln w="11643" cap="flat">
            <a:noFill/>
            <a:prstDash val="solid"/>
            <a:miter/>
          </a:ln>
        </p:spPr>
        <p:txBody>
          <a:bodyPr rtlCol="0" anchor="ctr"/>
          <a:lstStyle/>
          <a:p>
            <a:endParaRPr lang="de-DE"/>
          </a:p>
        </p:txBody>
      </p:sp>
      <p:sp>
        <p:nvSpPr>
          <p:cNvPr id="449" name="Freihandform: Form 448">
            <a:extLst>
              <a:ext uri="{FF2B5EF4-FFF2-40B4-BE49-F238E27FC236}">
                <a16:creationId xmlns:a16="http://schemas.microsoft.com/office/drawing/2014/main" id="{A49E266A-420E-492F-9080-574F846C1DBD}"/>
              </a:ext>
            </a:extLst>
          </p:cNvPr>
          <p:cNvSpPr/>
          <p:nvPr userDrawn="1"/>
        </p:nvSpPr>
        <p:spPr>
          <a:xfrm>
            <a:off x="8721892" y="5905991"/>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6038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6038"/>
                </a:lnTo>
                <a:close/>
              </a:path>
            </a:pathLst>
          </a:custGeom>
          <a:solidFill>
            <a:srgbClr val="EEF2F5"/>
          </a:solidFill>
          <a:ln w="11643" cap="flat">
            <a:noFill/>
            <a:prstDash val="solid"/>
            <a:miter/>
          </a:ln>
        </p:spPr>
        <p:txBody>
          <a:bodyPr rtlCol="0" anchor="ctr"/>
          <a:lstStyle/>
          <a:p>
            <a:endParaRPr lang="de-DE"/>
          </a:p>
        </p:txBody>
      </p:sp>
      <p:sp>
        <p:nvSpPr>
          <p:cNvPr id="450" name="Freihandform: Form 449">
            <a:extLst>
              <a:ext uri="{FF2B5EF4-FFF2-40B4-BE49-F238E27FC236}">
                <a16:creationId xmlns:a16="http://schemas.microsoft.com/office/drawing/2014/main" id="{AEC0C683-94C7-4C89-B770-8C0D416A44C7}"/>
              </a:ext>
            </a:extLst>
          </p:cNvPr>
          <p:cNvSpPr/>
          <p:nvPr userDrawn="1"/>
        </p:nvSpPr>
        <p:spPr>
          <a:xfrm>
            <a:off x="8721892" y="6261391"/>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4872"/>
                </a:lnTo>
                <a:close/>
              </a:path>
            </a:pathLst>
          </a:custGeom>
          <a:solidFill>
            <a:srgbClr val="EEF2F5"/>
          </a:solidFill>
          <a:ln w="11643" cap="flat">
            <a:noFill/>
            <a:prstDash val="solid"/>
            <a:miter/>
          </a:ln>
        </p:spPr>
        <p:txBody>
          <a:bodyPr rtlCol="0" anchor="ctr"/>
          <a:lstStyle/>
          <a:p>
            <a:endParaRPr lang="de-DE"/>
          </a:p>
        </p:txBody>
      </p:sp>
      <p:sp>
        <p:nvSpPr>
          <p:cNvPr id="451" name="Freihandform: Form 450">
            <a:extLst>
              <a:ext uri="{FF2B5EF4-FFF2-40B4-BE49-F238E27FC236}">
                <a16:creationId xmlns:a16="http://schemas.microsoft.com/office/drawing/2014/main" id="{3270C365-CF3A-47A7-889C-ADD47E29F3FB}"/>
              </a:ext>
            </a:extLst>
          </p:cNvPr>
          <p:cNvSpPr/>
          <p:nvPr userDrawn="1"/>
        </p:nvSpPr>
        <p:spPr>
          <a:xfrm>
            <a:off x="8721892" y="6615627"/>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6037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6037"/>
                </a:lnTo>
                <a:close/>
              </a:path>
            </a:pathLst>
          </a:custGeom>
          <a:solidFill>
            <a:srgbClr val="EEF2F5"/>
          </a:solidFill>
          <a:ln w="11643" cap="flat">
            <a:noFill/>
            <a:prstDash val="solid"/>
            <a:miter/>
          </a:ln>
        </p:spPr>
        <p:txBody>
          <a:bodyPr rtlCol="0" anchor="ctr"/>
          <a:lstStyle/>
          <a:p>
            <a:endParaRPr lang="de-DE"/>
          </a:p>
        </p:txBody>
      </p:sp>
      <p:sp>
        <p:nvSpPr>
          <p:cNvPr id="452" name="Freihandform: Form 451">
            <a:extLst>
              <a:ext uri="{FF2B5EF4-FFF2-40B4-BE49-F238E27FC236}">
                <a16:creationId xmlns:a16="http://schemas.microsoft.com/office/drawing/2014/main" id="{26027323-4EC1-4CE3-A800-FC54F6FA3CC5}"/>
              </a:ext>
            </a:extLst>
          </p:cNvPr>
          <p:cNvSpPr/>
          <p:nvPr userDrawn="1"/>
        </p:nvSpPr>
        <p:spPr>
          <a:xfrm>
            <a:off x="9069136" y="1994253"/>
            <a:ext cx="214405" cy="231884"/>
          </a:xfrm>
          <a:custGeom>
            <a:avLst/>
            <a:gdLst>
              <a:gd name="connsiteX0" fmla="*/ 97881 w 214405"/>
              <a:gd name="connsiteY0" fmla="*/ 231884 h 231884"/>
              <a:gd name="connsiteX1" fmla="*/ 0 w 214405"/>
              <a:gd name="connsiteY1" fmla="*/ 231884 h 231884"/>
              <a:gd name="connsiteX2" fmla="*/ 114194 w 214405"/>
              <a:gd name="connsiteY2" fmla="*/ 116525 h 231884"/>
              <a:gd name="connsiteX3" fmla="*/ 0 w 214405"/>
              <a:gd name="connsiteY3" fmla="*/ 0 h 231884"/>
              <a:gd name="connsiteX4" fmla="*/ 100211 w 214405"/>
              <a:gd name="connsiteY4" fmla="*/ 0 h 231884"/>
              <a:gd name="connsiteX5" fmla="*/ 214406 w 214405"/>
              <a:gd name="connsiteY5" fmla="*/ 114194 h 23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1884">
                <a:moveTo>
                  <a:pt x="97881" y="231884"/>
                </a:moveTo>
                <a:lnTo>
                  <a:pt x="0" y="231884"/>
                </a:lnTo>
                <a:lnTo>
                  <a:pt x="114194" y="116525"/>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453" name="Freihandform: Form 452">
            <a:extLst>
              <a:ext uri="{FF2B5EF4-FFF2-40B4-BE49-F238E27FC236}">
                <a16:creationId xmlns:a16="http://schemas.microsoft.com/office/drawing/2014/main" id="{FEAF7BFB-37DF-46E2-B375-619668E31A63}"/>
              </a:ext>
            </a:extLst>
          </p:cNvPr>
          <p:cNvSpPr/>
          <p:nvPr userDrawn="1"/>
        </p:nvSpPr>
        <p:spPr>
          <a:xfrm>
            <a:off x="9069136" y="2348489"/>
            <a:ext cx="214405" cy="233049"/>
          </a:xfrm>
          <a:custGeom>
            <a:avLst/>
            <a:gdLst>
              <a:gd name="connsiteX0" fmla="*/ 97881 w 214405"/>
              <a:gd name="connsiteY0" fmla="*/ 233050 h 233049"/>
              <a:gd name="connsiteX1" fmla="*/ 0 w 214405"/>
              <a:gd name="connsiteY1" fmla="*/ 233050 h 233049"/>
              <a:gd name="connsiteX2" fmla="*/ 114194 w 214405"/>
              <a:gd name="connsiteY2" fmla="*/ 117690 h 233049"/>
              <a:gd name="connsiteX3" fmla="*/ 0 w 214405"/>
              <a:gd name="connsiteY3" fmla="*/ 0 h 233049"/>
              <a:gd name="connsiteX4" fmla="*/ 100211 w 214405"/>
              <a:gd name="connsiteY4" fmla="*/ 0 h 233049"/>
              <a:gd name="connsiteX5" fmla="*/ 214406 w 214405"/>
              <a:gd name="connsiteY5" fmla="*/ 114194 h 23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3048">
                <a:moveTo>
                  <a:pt x="97881" y="233050"/>
                </a:moveTo>
                <a:lnTo>
                  <a:pt x="0" y="233050"/>
                </a:lnTo>
                <a:lnTo>
                  <a:pt x="114194" y="117690"/>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454" name="Freihandform: Form 453">
            <a:extLst>
              <a:ext uri="{FF2B5EF4-FFF2-40B4-BE49-F238E27FC236}">
                <a16:creationId xmlns:a16="http://schemas.microsoft.com/office/drawing/2014/main" id="{FD5C6D0C-1BC8-4A1C-B6D3-6B1F2F12554E}"/>
              </a:ext>
            </a:extLst>
          </p:cNvPr>
          <p:cNvSpPr/>
          <p:nvPr userDrawn="1"/>
        </p:nvSpPr>
        <p:spPr>
          <a:xfrm>
            <a:off x="9069136" y="2703889"/>
            <a:ext cx="214405" cy="231884"/>
          </a:xfrm>
          <a:custGeom>
            <a:avLst/>
            <a:gdLst>
              <a:gd name="connsiteX0" fmla="*/ 97881 w 214405"/>
              <a:gd name="connsiteY0" fmla="*/ 231884 h 231884"/>
              <a:gd name="connsiteX1" fmla="*/ 0 w 214405"/>
              <a:gd name="connsiteY1" fmla="*/ 231884 h 231884"/>
              <a:gd name="connsiteX2" fmla="*/ 114194 w 214405"/>
              <a:gd name="connsiteY2" fmla="*/ 116525 h 231884"/>
              <a:gd name="connsiteX3" fmla="*/ 0 w 214405"/>
              <a:gd name="connsiteY3" fmla="*/ 0 h 231884"/>
              <a:gd name="connsiteX4" fmla="*/ 100211 w 214405"/>
              <a:gd name="connsiteY4" fmla="*/ 0 h 231884"/>
              <a:gd name="connsiteX5" fmla="*/ 214406 w 214405"/>
              <a:gd name="connsiteY5" fmla="*/ 114194 h 23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1884">
                <a:moveTo>
                  <a:pt x="97881" y="231884"/>
                </a:moveTo>
                <a:lnTo>
                  <a:pt x="0" y="231884"/>
                </a:lnTo>
                <a:lnTo>
                  <a:pt x="114194" y="116525"/>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455" name="Freihandform: Form 454">
            <a:extLst>
              <a:ext uri="{FF2B5EF4-FFF2-40B4-BE49-F238E27FC236}">
                <a16:creationId xmlns:a16="http://schemas.microsoft.com/office/drawing/2014/main" id="{A78779BD-37D4-49F3-88CC-B8EBBFCA2551}"/>
              </a:ext>
            </a:extLst>
          </p:cNvPr>
          <p:cNvSpPr/>
          <p:nvPr userDrawn="1"/>
        </p:nvSpPr>
        <p:spPr>
          <a:xfrm>
            <a:off x="9069136" y="3058125"/>
            <a:ext cx="214405" cy="233049"/>
          </a:xfrm>
          <a:custGeom>
            <a:avLst/>
            <a:gdLst>
              <a:gd name="connsiteX0" fmla="*/ 97881 w 214405"/>
              <a:gd name="connsiteY0" fmla="*/ 233050 h 233049"/>
              <a:gd name="connsiteX1" fmla="*/ 0 w 214405"/>
              <a:gd name="connsiteY1" fmla="*/ 233050 h 233049"/>
              <a:gd name="connsiteX2" fmla="*/ 114194 w 214405"/>
              <a:gd name="connsiteY2" fmla="*/ 117690 h 233049"/>
              <a:gd name="connsiteX3" fmla="*/ 0 w 214405"/>
              <a:gd name="connsiteY3" fmla="*/ 0 h 233049"/>
              <a:gd name="connsiteX4" fmla="*/ 100211 w 214405"/>
              <a:gd name="connsiteY4" fmla="*/ 0 h 233049"/>
              <a:gd name="connsiteX5" fmla="*/ 214406 w 214405"/>
              <a:gd name="connsiteY5" fmla="*/ 114194 h 23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3048">
                <a:moveTo>
                  <a:pt x="97881" y="233050"/>
                </a:moveTo>
                <a:lnTo>
                  <a:pt x="0" y="233050"/>
                </a:lnTo>
                <a:lnTo>
                  <a:pt x="114194" y="117690"/>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456" name="Freihandform: Form 455">
            <a:extLst>
              <a:ext uri="{FF2B5EF4-FFF2-40B4-BE49-F238E27FC236}">
                <a16:creationId xmlns:a16="http://schemas.microsoft.com/office/drawing/2014/main" id="{ADF13FA3-CD5F-4BCC-8A70-81E183EC3EB7}"/>
              </a:ext>
            </a:extLst>
          </p:cNvPr>
          <p:cNvSpPr/>
          <p:nvPr userDrawn="1"/>
        </p:nvSpPr>
        <p:spPr>
          <a:xfrm>
            <a:off x="9069136" y="3413526"/>
            <a:ext cx="214405" cy="231884"/>
          </a:xfrm>
          <a:custGeom>
            <a:avLst/>
            <a:gdLst>
              <a:gd name="connsiteX0" fmla="*/ 97881 w 214405"/>
              <a:gd name="connsiteY0" fmla="*/ 231884 h 231884"/>
              <a:gd name="connsiteX1" fmla="*/ 0 w 214405"/>
              <a:gd name="connsiteY1" fmla="*/ 231884 h 231884"/>
              <a:gd name="connsiteX2" fmla="*/ 114194 w 214405"/>
              <a:gd name="connsiteY2" fmla="*/ 116525 h 231884"/>
              <a:gd name="connsiteX3" fmla="*/ 0 w 214405"/>
              <a:gd name="connsiteY3" fmla="*/ 0 h 231884"/>
              <a:gd name="connsiteX4" fmla="*/ 100211 w 214405"/>
              <a:gd name="connsiteY4" fmla="*/ 0 h 231884"/>
              <a:gd name="connsiteX5" fmla="*/ 214406 w 214405"/>
              <a:gd name="connsiteY5" fmla="*/ 114194 h 23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1884">
                <a:moveTo>
                  <a:pt x="97881" y="231884"/>
                </a:moveTo>
                <a:lnTo>
                  <a:pt x="0" y="231884"/>
                </a:lnTo>
                <a:lnTo>
                  <a:pt x="114194" y="116525"/>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457" name="Freihandform: Form 456">
            <a:extLst>
              <a:ext uri="{FF2B5EF4-FFF2-40B4-BE49-F238E27FC236}">
                <a16:creationId xmlns:a16="http://schemas.microsoft.com/office/drawing/2014/main" id="{C201908D-C044-4D76-8D1A-438321DC7D12}"/>
              </a:ext>
            </a:extLst>
          </p:cNvPr>
          <p:cNvSpPr/>
          <p:nvPr userDrawn="1"/>
        </p:nvSpPr>
        <p:spPr>
          <a:xfrm>
            <a:off x="9069136" y="3767761"/>
            <a:ext cx="214405" cy="233049"/>
          </a:xfrm>
          <a:custGeom>
            <a:avLst/>
            <a:gdLst>
              <a:gd name="connsiteX0" fmla="*/ 97881 w 214405"/>
              <a:gd name="connsiteY0" fmla="*/ 233050 h 233049"/>
              <a:gd name="connsiteX1" fmla="*/ 0 w 214405"/>
              <a:gd name="connsiteY1" fmla="*/ 233050 h 233049"/>
              <a:gd name="connsiteX2" fmla="*/ 114194 w 214405"/>
              <a:gd name="connsiteY2" fmla="*/ 117690 h 233049"/>
              <a:gd name="connsiteX3" fmla="*/ 0 w 214405"/>
              <a:gd name="connsiteY3" fmla="*/ 0 h 233049"/>
              <a:gd name="connsiteX4" fmla="*/ 100211 w 214405"/>
              <a:gd name="connsiteY4" fmla="*/ 0 h 233049"/>
              <a:gd name="connsiteX5" fmla="*/ 214406 w 214405"/>
              <a:gd name="connsiteY5" fmla="*/ 114194 h 23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3048">
                <a:moveTo>
                  <a:pt x="97881" y="233050"/>
                </a:moveTo>
                <a:lnTo>
                  <a:pt x="0" y="233050"/>
                </a:lnTo>
                <a:lnTo>
                  <a:pt x="114194" y="117690"/>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458" name="Freihandform: Form 457">
            <a:extLst>
              <a:ext uri="{FF2B5EF4-FFF2-40B4-BE49-F238E27FC236}">
                <a16:creationId xmlns:a16="http://schemas.microsoft.com/office/drawing/2014/main" id="{D66CA348-96DF-49E0-9A09-19D76A480531}"/>
              </a:ext>
            </a:extLst>
          </p:cNvPr>
          <p:cNvSpPr/>
          <p:nvPr userDrawn="1"/>
        </p:nvSpPr>
        <p:spPr>
          <a:xfrm>
            <a:off x="9069136" y="4123162"/>
            <a:ext cx="214405" cy="231884"/>
          </a:xfrm>
          <a:custGeom>
            <a:avLst/>
            <a:gdLst>
              <a:gd name="connsiteX0" fmla="*/ 97881 w 214405"/>
              <a:gd name="connsiteY0" fmla="*/ 231884 h 231884"/>
              <a:gd name="connsiteX1" fmla="*/ 0 w 214405"/>
              <a:gd name="connsiteY1" fmla="*/ 231884 h 231884"/>
              <a:gd name="connsiteX2" fmla="*/ 114194 w 214405"/>
              <a:gd name="connsiteY2" fmla="*/ 116525 h 231884"/>
              <a:gd name="connsiteX3" fmla="*/ 0 w 214405"/>
              <a:gd name="connsiteY3" fmla="*/ 0 h 231884"/>
              <a:gd name="connsiteX4" fmla="*/ 100211 w 214405"/>
              <a:gd name="connsiteY4" fmla="*/ 0 h 231884"/>
              <a:gd name="connsiteX5" fmla="*/ 214406 w 214405"/>
              <a:gd name="connsiteY5" fmla="*/ 114194 h 23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1884">
                <a:moveTo>
                  <a:pt x="97881" y="231884"/>
                </a:moveTo>
                <a:lnTo>
                  <a:pt x="0" y="231884"/>
                </a:lnTo>
                <a:lnTo>
                  <a:pt x="114194" y="116525"/>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459" name="Freihandform: Form 458">
            <a:extLst>
              <a:ext uri="{FF2B5EF4-FFF2-40B4-BE49-F238E27FC236}">
                <a16:creationId xmlns:a16="http://schemas.microsoft.com/office/drawing/2014/main" id="{73DB73DF-6673-48E9-B28E-8EC17635427D}"/>
              </a:ext>
            </a:extLst>
          </p:cNvPr>
          <p:cNvSpPr/>
          <p:nvPr userDrawn="1"/>
        </p:nvSpPr>
        <p:spPr>
          <a:xfrm>
            <a:off x="9069136" y="4477397"/>
            <a:ext cx="214405" cy="233049"/>
          </a:xfrm>
          <a:custGeom>
            <a:avLst/>
            <a:gdLst>
              <a:gd name="connsiteX0" fmla="*/ 97881 w 214405"/>
              <a:gd name="connsiteY0" fmla="*/ 233050 h 233049"/>
              <a:gd name="connsiteX1" fmla="*/ 0 w 214405"/>
              <a:gd name="connsiteY1" fmla="*/ 233050 h 233049"/>
              <a:gd name="connsiteX2" fmla="*/ 114194 w 214405"/>
              <a:gd name="connsiteY2" fmla="*/ 117690 h 233049"/>
              <a:gd name="connsiteX3" fmla="*/ 0 w 214405"/>
              <a:gd name="connsiteY3" fmla="*/ 0 h 233049"/>
              <a:gd name="connsiteX4" fmla="*/ 100211 w 214405"/>
              <a:gd name="connsiteY4" fmla="*/ 0 h 233049"/>
              <a:gd name="connsiteX5" fmla="*/ 214406 w 214405"/>
              <a:gd name="connsiteY5" fmla="*/ 114194 h 23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3048">
                <a:moveTo>
                  <a:pt x="97881" y="233050"/>
                </a:moveTo>
                <a:lnTo>
                  <a:pt x="0" y="233050"/>
                </a:lnTo>
                <a:lnTo>
                  <a:pt x="114194" y="117690"/>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460" name="Freihandform: Form 459">
            <a:extLst>
              <a:ext uri="{FF2B5EF4-FFF2-40B4-BE49-F238E27FC236}">
                <a16:creationId xmlns:a16="http://schemas.microsoft.com/office/drawing/2014/main" id="{2AC000E1-63D7-4436-A71E-7F6A5657A1C6}"/>
              </a:ext>
            </a:extLst>
          </p:cNvPr>
          <p:cNvSpPr/>
          <p:nvPr userDrawn="1"/>
        </p:nvSpPr>
        <p:spPr>
          <a:xfrm>
            <a:off x="9069136" y="4832797"/>
            <a:ext cx="214405" cy="231884"/>
          </a:xfrm>
          <a:custGeom>
            <a:avLst/>
            <a:gdLst>
              <a:gd name="connsiteX0" fmla="*/ 97881 w 214405"/>
              <a:gd name="connsiteY0" fmla="*/ 231884 h 231884"/>
              <a:gd name="connsiteX1" fmla="*/ 0 w 214405"/>
              <a:gd name="connsiteY1" fmla="*/ 231884 h 231884"/>
              <a:gd name="connsiteX2" fmla="*/ 114194 w 214405"/>
              <a:gd name="connsiteY2" fmla="*/ 116525 h 231884"/>
              <a:gd name="connsiteX3" fmla="*/ 0 w 214405"/>
              <a:gd name="connsiteY3" fmla="*/ 0 h 231884"/>
              <a:gd name="connsiteX4" fmla="*/ 100211 w 214405"/>
              <a:gd name="connsiteY4" fmla="*/ 0 h 231884"/>
              <a:gd name="connsiteX5" fmla="*/ 214406 w 214405"/>
              <a:gd name="connsiteY5" fmla="*/ 114194 h 23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1884">
                <a:moveTo>
                  <a:pt x="97881" y="231884"/>
                </a:moveTo>
                <a:lnTo>
                  <a:pt x="0" y="231884"/>
                </a:lnTo>
                <a:lnTo>
                  <a:pt x="114194" y="116525"/>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461" name="Freihandform: Form 460">
            <a:extLst>
              <a:ext uri="{FF2B5EF4-FFF2-40B4-BE49-F238E27FC236}">
                <a16:creationId xmlns:a16="http://schemas.microsoft.com/office/drawing/2014/main" id="{D1CABC6A-77D1-495C-8BC3-9779693109C5}"/>
              </a:ext>
            </a:extLst>
          </p:cNvPr>
          <p:cNvSpPr/>
          <p:nvPr userDrawn="1"/>
        </p:nvSpPr>
        <p:spPr>
          <a:xfrm>
            <a:off x="9069136" y="5187033"/>
            <a:ext cx="214405" cy="233049"/>
          </a:xfrm>
          <a:custGeom>
            <a:avLst/>
            <a:gdLst>
              <a:gd name="connsiteX0" fmla="*/ 97881 w 214405"/>
              <a:gd name="connsiteY0" fmla="*/ 233050 h 233049"/>
              <a:gd name="connsiteX1" fmla="*/ 0 w 214405"/>
              <a:gd name="connsiteY1" fmla="*/ 233050 h 233049"/>
              <a:gd name="connsiteX2" fmla="*/ 114194 w 214405"/>
              <a:gd name="connsiteY2" fmla="*/ 117690 h 233049"/>
              <a:gd name="connsiteX3" fmla="*/ 0 w 214405"/>
              <a:gd name="connsiteY3" fmla="*/ 0 h 233049"/>
              <a:gd name="connsiteX4" fmla="*/ 100211 w 214405"/>
              <a:gd name="connsiteY4" fmla="*/ 0 h 233049"/>
              <a:gd name="connsiteX5" fmla="*/ 214406 w 214405"/>
              <a:gd name="connsiteY5" fmla="*/ 114194 h 23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3048">
                <a:moveTo>
                  <a:pt x="97881" y="233050"/>
                </a:moveTo>
                <a:lnTo>
                  <a:pt x="0" y="233050"/>
                </a:lnTo>
                <a:lnTo>
                  <a:pt x="114194" y="117690"/>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462" name="Freihandform: Form 461">
            <a:extLst>
              <a:ext uri="{FF2B5EF4-FFF2-40B4-BE49-F238E27FC236}">
                <a16:creationId xmlns:a16="http://schemas.microsoft.com/office/drawing/2014/main" id="{7EAB2106-7444-47F6-AF61-2FC7C13BD6CC}"/>
              </a:ext>
            </a:extLst>
          </p:cNvPr>
          <p:cNvSpPr/>
          <p:nvPr userDrawn="1"/>
        </p:nvSpPr>
        <p:spPr>
          <a:xfrm>
            <a:off x="9069136" y="5542434"/>
            <a:ext cx="214405" cy="231884"/>
          </a:xfrm>
          <a:custGeom>
            <a:avLst/>
            <a:gdLst>
              <a:gd name="connsiteX0" fmla="*/ 97881 w 214405"/>
              <a:gd name="connsiteY0" fmla="*/ 231884 h 231884"/>
              <a:gd name="connsiteX1" fmla="*/ 0 w 214405"/>
              <a:gd name="connsiteY1" fmla="*/ 231884 h 231884"/>
              <a:gd name="connsiteX2" fmla="*/ 114194 w 214405"/>
              <a:gd name="connsiteY2" fmla="*/ 117690 h 231884"/>
              <a:gd name="connsiteX3" fmla="*/ 0 w 214405"/>
              <a:gd name="connsiteY3" fmla="*/ 0 h 231884"/>
              <a:gd name="connsiteX4" fmla="*/ 100211 w 214405"/>
              <a:gd name="connsiteY4" fmla="*/ 0 h 231884"/>
              <a:gd name="connsiteX5" fmla="*/ 214406 w 214405"/>
              <a:gd name="connsiteY5" fmla="*/ 114194 h 23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1884">
                <a:moveTo>
                  <a:pt x="97881" y="231884"/>
                </a:moveTo>
                <a:lnTo>
                  <a:pt x="0" y="231884"/>
                </a:lnTo>
                <a:lnTo>
                  <a:pt x="114194" y="117690"/>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463" name="Freihandform: Form 462">
            <a:extLst>
              <a:ext uri="{FF2B5EF4-FFF2-40B4-BE49-F238E27FC236}">
                <a16:creationId xmlns:a16="http://schemas.microsoft.com/office/drawing/2014/main" id="{3AB53398-93E1-4699-9310-0395816CB2E8}"/>
              </a:ext>
            </a:extLst>
          </p:cNvPr>
          <p:cNvSpPr/>
          <p:nvPr userDrawn="1"/>
        </p:nvSpPr>
        <p:spPr>
          <a:xfrm>
            <a:off x="9069136" y="5896669"/>
            <a:ext cx="214405" cy="233049"/>
          </a:xfrm>
          <a:custGeom>
            <a:avLst/>
            <a:gdLst>
              <a:gd name="connsiteX0" fmla="*/ 97881 w 214405"/>
              <a:gd name="connsiteY0" fmla="*/ 233050 h 233049"/>
              <a:gd name="connsiteX1" fmla="*/ 0 w 214405"/>
              <a:gd name="connsiteY1" fmla="*/ 233050 h 233049"/>
              <a:gd name="connsiteX2" fmla="*/ 114194 w 214405"/>
              <a:gd name="connsiteY2" fmla="*/ 117690 h 233049"/>
              <a:gd name="connsiteX3" fmla="*/ 0 w 214405"/>
              <a:gd name="connsiteY3" fmla="*/ 0 h 233049"/>
              <a:gd name="connsiteX4" fmla="*/ 100211 w 214405"/>
              <a:gd name="connsiteY4" fmla="*/ 0 h 233049"/>
              <a:gd name="connsiteX5" fmla="*/ 214406 w 214405"/>
              <a:gd name="connsiteY5" fmla="*/ 114194 h 23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3048">
                <a:moveTo>
                  <a:pt x="97881" y="233050"/>
                </a:moveTo>
                <a:lnTo>
                  <a:pt x="0" y="233050"/>
                </a:lnTo>
                <a:lnTo>
                  <a:pt x="114194" y="117690"/>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464" name="Freihandform: Form 463">
            <a:extLst>
              <a:ext uri="{FF2B5EF4-FFF2-40B4-BE49-F238E27FC236}">
                <a16:creationId xmlns:a16="http://schemas.microsoft.com/office/drawing/2014/main" id="{4CCB3846-2B55-4B55-BF75-8867C7C59B82}"/>
              </a:ext>
            </a:extLst>
          </p:cNvPr>
          <p:cNvSpPr/>
          <p:nvPr userDrawn="1"/>
        </p:nvSpPr>
        <p:spPr>
          <a:xfrm>
            <a:off x="9069136" y="6252070"/>
            <a:ext cx="214405" cy="233049"/>
          </a:xfrm>
          <a:custGeom>
            <a:avLst/>
            <a:gdLst>
              <a:gd name="connsiteX0" fmla="*/ 97881 w 214405"/>
              <a:gd name="connsiteY0" fmla="*/ 233050 h 233049"/>
              <a:gd name="connsiteX1" fmla="*/ 0 w 214405"/>
              <a:gd name="connsiteY1" fmla="*/ 233050 h 233049"/>
              <a:gd name="connsiteX2" fmla="*/ 114194 w 214405"/>
              <a:gd name="connsiteY2" fmla="*/ 117690 h 233049"/>
              <a:gd name="connsiteX3" fmla="*/ 0 w 214405"/>
              <a:gd name="connsiteY3" fmla="*/ 0 h 233049"/>
              <a:gd name="connsiteX4" fmla="*/ 100211 w 214405"/>
              <a:gd name="connsiteY4" fmla="*/ 0 h 233049"/>
              <a:gd name="connsiteX5" fmla="*/ 214406 w 214405"/>
              <a:gd name="connsiteY5" fmla="*/ 114194 h 23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3048">
                <a:moveTo>
                  <a:pt x="97881" y="233050"/>
                </a:moveTo>
                <a:lnTo>
                  <a:pt x="0" y="233050"/>
                </a:lnTo>
                <a:lnTo>
                  <a:pt x="114194" y="117690"/>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465" name="Freihandform: Form 464">
            <a:extLst>
              <a:ext uri="{FF2B5EF4-FFF2-40B4-BE49-F238E27FC236}">
                <a16:creationId xmlns:a16="http://schemas.microsoft.com/office/drawing/2014/main" id="{40A79061-F4B0-42D9-9BD3-FD4BCED5445B}"/>
              </a:ext>
            </a:extLst>
          </p:cNvPr>
          <p:cNvSpPr/>
          <p:nvPr userDrawn="1"/>
        </p:nvSpPr>
        <p:spPr>
          <a:xfrm>
            <a:off x="9069136" y="6607470"/>
            <a:ext cx="214405" cy="231884"/>
          </a:xfrm>
          <a:custGeom>
            <a:avLst/>
            <a:gdLst>
              <a:gd name="connsiteX0" fmla="*/ 97881 w 214405"/>
              <a:gd name="connsiteY0" fmla="*/ 231884 h 231884"/>
              <a:gd name="connsiteX1" fmla="*/ 0 w 214405"/>
              <a:gd name="connsiteY1" fmla="*/ 231884 h 231884"/>
              <a:gd name="connsiteX2" fmla="*/ 114194 w 214405"/>
              <a:gd name="connsiteY2" fmla="*/ 116525 h 231884"/>
              <a:gd name="connsiteX3" fmla="*/ 0 w 214405"/>
              <a:gd name="connsiteY3" fmla="*/ 0 h 231884"/>
              <a:gd name="connsiteX4" fmla="*/ 100211 w 214405"/>
              <a:gd name="connsiteY4" fmla="*/ 0 h 231884"/>
              <a:gd name="connsiteX5" fmla="*/ 214406 w 214405"/>
              <a:gd name="connsiteY5" fmla="*/ 114194 h 23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1884">
                <a:moveTo>
                  <a:pt x="97881" y="231884"/>
                </a:moveTo>
                <a:lnTo>
                  <a:pt x="0" y="231884"/>
                </a:lnTo>
                <a:lnTo>
                  <a:pt x="114194" y="116525"/>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466" name="Freihandform: Form 465">
            <a:extLst>
              <a:ext uri="{FF2B5EF4-FFF2-40B4-BE49-F238E27FC236}">
                <a16:creationId xmlns:a16="http://schemas.microsoft.com/office/drawing/2014/main" id="{943EE673-B8FD-4F26-8BD5-4324C5F8C0F6}"/>
              </a:ext>
            </a:extLst>
          </p:cNvPr>
          <p:cNvSpPr/>
          <p:nvPr userDrawn="1"/>
        </p:nvSpPr>
        <p:spPr>
          <a:xfrm>
            <a:off x="9415215" y="1984931"/>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2351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5847"/>
                </a:lnTo>
                <a:lnTo>
                  <a:pt x="0" y="0"/>
                </a:lnTo>
                <a:lnTo>
                  <a:pt x="108368" y="0"/>
                </a:lnTo>
                <a:lnTo>
                  <a:pt x="230719" y="122351"/>
                </a:lnTo>
                <a:close/>
              </a:path>
            </a:pathLst>
          </a:custGeom>
          <a:solidFill>
            <a:srgbClr val="EEF2F5"/>
          </a:solidFill>
          <a:ln w="11643" cap="flat">
            <a:noFill/>
            <a:prstDash val="solid"/>
            <a:miter/>
          </a:ln>
        </p:spPr>
        <p:txBody>
          <a:bodyPr rtlCol="0" anchor="ctr"/>
          <a:lstStyle/>
          <a:p>
            <a:endParaRPr lang="de-DE"/>
          </a:p>
        </p:txBody>
      </p:sp>
      <p:sp>
        <p:nvSpPr>
          <p:cNvPr id="467" name="Freihandform: Form 466">
            <a:extLst>
              <a:ext uri="{FF2B5EF4-FFF2-40B4-BE49-F238E27FC236}">
                <a16:creationId xmlns:a16="http://schemas.microsoft.com/office/drawing/2014/main" id="{87A53D99-9883-4DF3-8F12-7929E8D22C53}"/>
              </a:ext>
            </a:extLst>
          </p:cNvPr>
          <p:cNvSpPr/>
          <p:nvPr userDrawn="1"/>
        </p:nvSpPr>
        <p:spPr>
          <a:xfrm>
            <a:off x="9415215" y="2339167"/>
            <a:ext cx="230718" cy="250528"/>
          </a:xfrm>
          <a:custGeom>
            <a:avLst/>
            <a:gdLst>
              <a:gd name="connsiteX0" fmla="*/ 106037 w 230718"/>
              <a:gd name="connsiteY0" fmla="*/ 250528 h 250528"/>
              <a:gd name="connsiteX1" fmla="*/ 0 w 230718"/>
              <a:gd name="connsiteY1" fmla="*/ 250528 h 250528"/>
              <a:gd name="connsiteX2" fmla="*/ 123516 w 230718"/>
              <a:gd name="connsiteY2" fmla="*/ 127012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7012"/>
                </a:lnTo>
                <a:lnTo>
                  <a:pt x="0" y="0"/>
                </a:lnTo>
                <a:lnTo>
                  <a:pt x="108368" y="0"/>
                </a:lnTo>
                <a:lnTo>
                  <a:pt x="230719" y="123516"/>
                </a:lnTo>
                <a:close/>
              </a:path>
            </a:pathLst>
          </a:custGeom>
          <a:solidFill>
            <a:srgbClr val="EEF2F5"/>
          </a:solidFill>
          <a:ln w="11643" cap="flat">
            <a:noFill/>
            <a:prstDash val="solid"/>
            <a:miter/>
          </a:ln>
        </p:spPr>
        <p:txBody>
          <a:bodyPr rtlCol="0" anchor="ctr"/>
          <a:lstStyle/>
          <a:p>
            <a:endParaRPr lang="de-DE"/>
          </a:p>
        </p:txBody>
      </p:sp>
      <p:sp>
        <p:nvSpPr>
          <p:cNvPr id="468" name="Freihandform: Form 467">
            <a:extLst>
              <a:ext uri="{FF2B5EF4-FFF2-40B4-BE49-F238E27FC236}">
                <a16:creationId xmlns:a16="http://schemas.microsoft.com/office/drawing/2014/main" id="{63252D08-D82D-4E5D-B69D-3C692A2048C4}"/>
              </a:ext>
            </a:extLst>
          </p:cNvPr>
          <p:cNvSpPr/>
          <p:nvPr userDrawn="1"/>
        </p:nvSpPr>
        <p:spPr>
          <a:xfrm>
            <a:off x="9415215" y="2694568"/>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5847"/>
                </a:lnTo>
                <a:lnTo>
                  <a:pt x="0" y="0"/>
                </a:lnTo>
                <a:lnTo>
                  <a:pt x="108368" y="0"/>
                </a:lnTo>
                <a:lnTo>
                  <a:pt x="230719" y="123516"/>
                </a:lnTo>
                <a:close/>
              </a:path>
            </a:pathLst>
          </a:custGeom>
          <a:solidFill>
            <a:srgbClr val="EEF2F5"/>
          </a:solidFill>
          <a:ln w="11643" cap="flat">
            <a:noFill/>
            <a:prstDash val="solid"/>
            <a:miter/>
          </a:ln>
        </p:spPr>
        <p:txBody>
          <a:bodyPr rtlCol="0" anchor="ctr"/>
          <a:lstStyle/>
          <a:p>
            <a:endParaRPr lang="de-DE"/>
          </a:p>
        </p:txBody>
      </p:sp>
      <p:sp>
        <p:nvSpPr>
          <p:cNvPr id="469" name="Freihandform: Form 468">
            <a:extLst>
              <a:ext uri="{FF2B5EF4-FFF2-40B4-BE49-F238E27FC236}">
                <a16:creationId xmlns:a16="http://schemas.microsoft.com/office/drawing/2014/main" id="{2D96FD4E-6BD4-4E95-B758-5237E3AF6CAC}"/>
              </a:ext>
            </a:extLst>
          </p:cNvPr>
          <p:cNvSpPr/>
          <p:nvPr userDrawn="1"/>
        </p:nvSpPr>
        <p:spPr>
          <a:xfrm>
            <a:off x="9415215" y="3048803"/>
            <a:ext cx="230718" cy="250528"/>
          </a:xfrm>
          <a:custGeom>
            <a:avLst/>
            <a:gdLst>
              <a:gd name="connsiteX0" fmla="*/ 106037 w 230718"/>
              <a:gd name="connsiteY0" fmla="*/ 250528 h 250528"/>
              <a:gd name="connsiteX1" fmla="*/ 0 w 230718"/>
              <a:gd name="connsiteY1" fmla="*/ 250528 h 250528"/>
              <a:gd name="connsiteX2" fmla="*/ 123516 w 230718"/>
              <a:gd name="connsiteY2" fmla="*/ 127012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7012"/>
                </a:lnTo>
                <a:lnTo>
                  <a:pt x="0" y="0"/>
                </a:lnTo>
                <a:lnTo>
                  <a:pt x="108368" y="0"/>
                </a:lnTo>
                <a:lnTo>
                  <a:pt x="230719" y="123516"/>
                </a:lnTo>
                <a:close/>
              </a:path>
            </a:pathLst>
          </a:custGeom>
          <a:solidFill>
            <a:srgbClr val="EEF2F5"/>
          </a:solidFill>
          <a:ln w="11643" cap="flat">
            <a:noFill/>
            <a:prstDash val="solid"/>
            <a:miter/>
          </a:ln>
        </p:spPr>
        <p:txBody>
          <a:bodyPr rtlCol="0" anchor="ctr"/>
          <a:lstStyle/>
          <a:p>
            <a:endParaRPr lang="de-DE"/>
          </a:p>
        </p:txBody>
      </p:sp>
      <p:sp>
        <p:nvSpPr>
          <p:cNvPr id="470" name="Freihandform: Form 469">
            <a:extLst>
              <a:ext uri="{FF2B5EF4-FFF2-40B4-BE49-F238E27FC236}">
                <a16:creationId xmlns:a16="http://schemas.microsoft.com/office/drawing/2014/main" id="{E226C185-80E2-4945-B19A-87F6D324436B}"/>
              </a:ext>
            </a:extLst>
          </p:cNvPr>
          <p:cNvSpPr/>
          <p:nvPr userDrawn="1"/>
        </p:nvSpPr>
        <p:spPr>
          <a:xfrm>
            <a:off x="9415215" y="3404203"/>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5847"/>
                </a:lnTo>
                <a:lnTo>
                  <a:pt x="0" y="0"/>
                </a:lnTo>
                <a:lnTo>
                  <a:pt x="108368" y="0"/>
                </a:lnTo>
                <a:lnTo>
                  <a:pt x="230719" y="123516"/>
                </a:lnTo>
                <a:close/>
              </a:path>
            </a:pathLst>
          </a:custGeom>
          <a:solidFill>
            <a:srgbClr val="EEF2F5"/>
          </a:solidFill>
          <a:ln w="11643" cap="flat">
            <a:noFill/>
            <a:prstDash val="solid"/>
            <a:miter/>
          </a:ln>
        </p:spPr>
        <p:txBody>
          <a:bodyPr rtlCol="0" anchor="ctr"/>
          <a:lstStyle/>
          <a:p>
            <a:endParaRPr lang="de-DE"/>
          </a:p>
        </p:txBody>
      </p:sp>
      <p:sp>
        <p:nvSpPr>
          <p:cNvPr id="471" name="Freihandform: Form 470">
            <a:extLst>
              <a:ext uri="{FF2B5EF4-FFF2-40B4-BE49-F238E27FC236}">
                <a16:creationId xmlns:a16="http://schemas.microsoft.com/office/drawing/2014/main" id="{8216F4B4-E4AF-4EE5-A82E-249143E44EB1}"/>
              </a:ext>
            </a:extLst>
          </p:cNvPr>
          <p:cNvSpPr/>
          <p:nvPr userDrawn="1"/>
        </p:nvSpPr>
        <p:spPr>
          <a:xfrm>
            <a:off x="9415215" y="3758439"/>
            <a:ext cx="230718" cy="251693"/>
          </a:xfrm>
          <a:custGeom>
            <a:avLst/>
            <a:gdLst>
              <a:gd name="connsiteX0" fmla="*/ 106037 w 230718"/>
              <a:gd name="connsiteY0" fmla="*/ 251694 h 251693"/>
              <a:gd name="connsiteX1" fmla="*/ 0 w 230718"/>
              <a:gd name="connsiteY1" fmla="*/ 251694 h 251693"/>
              <a:gd name="connsiteX2" fmla="*/ 123516 w 230718"/>
              <a:gd name="connsiteY2" fmla="*/ 127012 h 251693"/>
              <a:gd name="connsiteX3" fmla="*/ 0 w 230718"/>
              <a:gd name="connsiteY3" fmla="*/ 0 h 251693"/>
              <a:gd name="connsiteX4" fmla="*/ 108368 w 230718"/>
              <a:gd name="connsiteY4" fmla="*/ 0 h 251693"/>
              <a:gd name="connsiteX5" fmla="*/ 230719 w 230718"/>
              <a:gd name="connsiteY5" fmla="*/ 123516 h 251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1693">
                <a:moveTo>
                  <a:pt x="106037" y="251694"/>
                </a:moveTo>
                <a:lnTo>
                  <a:pt x="0" y="251694"/>
                </a:lnTo>
                <a:lnTo>
                  <a:pt x="123516" y="127012"/>
                </a:lnTo>
                <a:lnTo>
                  <a:pt x="0" y="0"/>
                </a:lnTo>
                <a:lnTo>
                  <a:pt x="108368" y="0"/>
                </a:lnTo>
                <a:lnTo>
                  <a:pt x="230719" y="123516"/>
                </a:lnTo>
                <a:close/>
              </a:path>
            </a:pathLst>
          </a:custGeom>
          <a:solidFill>
            <a:srgbClr val="EEF2F5"/>
          </a:solidFill>
          <a:ln w="11643" cap="flat">
            <a:noFill/>
            <a:prstDash val="solid"/>
            <a:miter/>
          </a:ln>
        </p:spPr>
        <p:txBody>
          <a:bodyPr rtlCol="0" anchor="ctr"/>
          <a:lstStyle/>
          <a:p>
            <a:endParaRPr lang="de-DE"/>
          </a:p>
        </p:txBody>
      </p:sp>
      <p:sp>
        <p:nvSpPr>
          <p:cNvPr id="472" name="Freihandform: Form 471">
            <a:extLst>
              <a:ext uri="{FF2B5EF4-FFF2-40B4-BE49-F238E27FC236}">
                <a16:creationId xmlns:a16="http://schemas.microsoft.com/office/drawing/2014/main" id="{C3611650-5A39-417A-8E28-06A016589A86}"/>
              </a:ext>
            </a:extLst>
          </p:cNvPr>
          <p:cNvSpPr/>
          <p:nvPr userDrawn="1"/>
        </p:nvSpPr>
        <p:spPr>
          <a:xfrm>
            <a:off x="9415215" y="4113840"/>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5847"/>
                </a:lnTo>
                <a:lnTo>
                  <a:pt x="0" y="0"/>
                </a:lnTo>
                <a:lnTo>
                  <a:pt x="108368" y="0"/>
                </a:lnTo>
                <a:lnTo>
                  <a:pt x="230719" y="123516"/>
                </a:lnTo>
                <a:close/>
              </a:path>
            </a:pathLst>
          </a:custGeom>
          <a:solidFill>
            <a:srgbClr val="EEF2F5"/>
          </a:solidFill>
          <a:ln w="11643" cap="flat">
            <a:noFill/>
            <a:prstDash val="solid"/>
            <a:miter/>
          </a:ln>
        </p:spPr>
        <p:txBody>
          <a:bodyPr rtlCol="0" anchor="ctr"/>
          <a:lstStyle/>
          <a:p>
            <a:endParaRPr lang="de-DE"/>
          </a:p>
        </p:txBody>
      </p:sp>
      <p:sp>
        <p:nvSpPr>
          <p:cNvPr id="473" name="Freihandform: Form 472">
            <a:extLst>
              <a:ext uri="{FF2B5EF4-FFF2-40B4-BE49-F238E27FC236}">
                <a16:creationId xmlns:a16="http://schemas.microsoft.com/office/drawing/2014/main" id="{A4834F6A-C40A-4A2D-BB8B-EF97775C175E}"/>
              </a:ext>
            </a:extLst>
          </p:cNvPr>
          <p:cNvSpPr/>
          <p:nvPr userDrawn="1"/>
        </p:nvSpPr>
        <p:spPr>
          <a:xfrm>
            <a:off x="9415215" y="4469240"/>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2351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5847"/>
                </a:lnTo>
                <a:lnTo>
                  <a:pt x="0" y="0"/>
                </a:lnTo>
                <a:lnTo>
                  <a:pt x="108368" y="0"/>
                </a:lnTo>
                <a:lnTo>
                  <a:pt x="230719" y="122351"/>
                </a:lnTo>
                <a:close/>
              </a:path>
            </a:pathLst>
          </a:custGeom>
          <a:solidFill>
            <a:srgbClr val="EEF2F5"/>
          </a:solidFill>
          <a:ln w="11643" cap="flat">
            <a:noFill/>
            <a:prstDash val="solid"/>
            <a:miter/>
          </a:ln>
        </p:spPr>
        <p:txBody>
          <a:bodyPr rtlCol="0" anchor="ctr"/>
          <a:lstStyle/>
          <a:p>
            <a:endParaRPr lang="de-DE"/>
          </a:p>
        </p:txBody>
      </p:sp>
      <p:sp>
        <p:nvSpPr>
          <p:cNvPr id="474" name="Freihandform: Form 473">
            <a:extLst>
              <a:ext uri="{FF2B5EF4-FFF2-40B4-BE49-F238E27FC236}">
                <a16:creationId xmlns:a16="http://schemas.microsoft.com/office/drawing/2014/main" id="{BD3150AE-B016-44F0-AD8A-CC24BB0B8DCC}"/>
              </a:ext>
            </a:extLst>
          </p:cNvPr>
          <p:cNvSpPr/>
          <p:nvPr userDrawn="1"/>
        </p:nvSpPr>
        <p:spPr>
          <a:xfrm>
            <a:off x="9415215" y="4823475"/>
            <a:ext cx="230718" cy="250528"/>
          </a:xfrm>
          <a:custGeom>
            <a:avLst/>
            <a:gdLst>
              <a:gd name="connsiteX0" fmla="*/ 106037 w 230718"/>
              <a:gd name="connsiteY0" fmla="*/ 250528 h 250528"/>
              <a:gd name="connsiteX1" fmla="*/ 0 w 230718"/>
              <a:gd name="connsiteY1" fmla="*/ 250528 h 250528"/>
              <a:gd name="connsiteX2" fmla="*/ 123516 w 230718"/>
              <a:gd name="connsiteY2" fmla="*/ 127012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7012"/>
                </a:lnTo>
                <a:lnTo>
                  <a:pt x="0" y="0"/>
                </a:lnTo>
                <a:lnTo>
                  <a:pt x="108368" y="0"/>
                </a:lnTo>
                <a:lnTo>
                  <a:pt x="230719" y="123516"/>
                </a:lnTo>
                <a:close/>
              </a:path>
            </a:pathLst>
          </a:custGeom>
          <a:solidFill>
            <a:srgbClr val="EEF2F5"/>
          </a:solidFill>
          <a:ln w="11643" cap="flat">
            <a:noFill/>
            <a:prstDash val="solid"/>
            <a:miter/>
          </a:ln>
        </p:spPr>
        <p:txBody>
          <a:bodyPr rtlCol="0" anchor="ctr"/>
          <a:lstStyle/>
          <a:p>
            <a:endParaRPr lang="de-DE"/>
          </a:p>
        </p:txBody>
      </p:sp>
      <p:sp>
        <p:nvSpPr>
          <p:cNvPr id="475" name="Freihandform: Form 474">
            <a:extLst>
              <a:ext uri="{FF2B5EF4-FFF2-40B4-BE49-F238E27FC236}">
                <a16:creationId xmlns:a16="http://schemas.microsoft.com/office/drawing/2014/main" id="{8F46F2FC-CCE2-4282-AA26-153D1EA218A1}"/>
              </a:ext>
            </a:extLst>
          </p:cNvPr>
          <p:cNvSpPr/>
          <p:nvPr userDrawn="1"/>
        </p:nvSpPr>
        <p:spPr>
          <a:xfrm>
            <a:off x="9415215" y="5178876"/>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2351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5847"/>
                </a:lnTo>
                <a:lnTo>
                  <a:pt x="0" y="0"/>
                </a:lnTo>
                <a:lnTo>
                  <a:pt x="108368" y="0"/>
                </a:lnTo>
                <a:lnTo>
                  <a:pt x="230719" y="122351"/>
                </a:lnTo>
                <a:close/>
              </a:path>
            </a:pathLst>
          </a:custGeom>
          <a:solidFill>
            <a:srgbClr val="EEF2F5"/>
          </a:solidFill>
          <a:ln w="11643" cap="flat">
            <a:noFill/>
            <a:prstDash val="solid"/>
            <a:miter/>
          </a:ln>
        </p:spPr>
        <p:txBody>
          <a:bodyPr rtlCol="0" anchor="ctr"/>
          <a:lstStyle/>
          <a:p>
            <a:endParaRPr lang="de-DE"/>
          </a:p>
        </p:txBody>
      </p:sp>
      <p:sp>
        <p:nvSpPr>
          <p:cNvPr id="476" name="Freihandform: Form 475">
            <a:extLst>
              <a:ext uri="{FF2B5EF4-FFF2-40B4-BE49-F238E27FC236}">
                <a16:creationId xmlns:a16="http://schemas.microsoft.com/office/drawing/2014/main" id="{A29055BD-1B52-4B46-A495-DD92BB1DBC0E}"/>
              </a:ext>
            </a:extLst>
          </p:cNvPr>
          <p:cNvSpPr/>
          <p:nvPr userDrawn="1"/>
        </p:nvSpPr>
        <p:spPr>
          <a:xfrm>
            <a:off x="9415215" y="5533111"/>
            <a:ext cx="230718" cy="250528"/>
          </a:xfrm>
          <a:custGeom>
            <a:avLst/>
            <a:gdLst>
              <a:gd name="connsiteX0" fmla="*/ 106037 w 230718"/>
              <a:gd name="connsiteY0" fmla="*/ 250528 h 250528"/>
              <a:gd name="connsiteX1" fmla="*/ 0 w 230718"/>
              <a:gd name="connsiteY1" fmla="*/ 250528 h 250528"/>
              <a:gd name="connsiteX2" fmla="*/ 123516 w 230718"/>
              <a:gd name="connsiteY2" fmla="*/ 127012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7012"/>
                </a:lnTo>
                <a:lnTo>
                  <a:pt x="0" y="0"/>
                </a:lnTo>
                <a:lnTo>
                  <a:pt x="108368" y="0"/>
                </a:lnTo>
                <a:lnTo>
                  <a:pt x="230719" y="123516"/>
                </a:lnTo>
                <a:close/>
              </a:path>
            </a:pathLst>
          </a:custGeom>
          <a:solidFill>
            <a:srgbClr val="EEF2F5"/>
          </a:solidFill>
          <a:ln w="11643" cap="flat">
            <a:noFill/>
            <a:prstDash val="solid"/>
            <a:miter/>
          </a:ln>
        </p:spPr>
        <p:txBody>
          <a:bodyPr rtlCol="0" anchor="ctr"/>
          <a:lstStyle/>
          <a:p>
            <a:endParaRPr lang="de-DE"/>
          </a:p>
        </p:txBody>
      </p:sp>
      <p:sp>
        <p:nvSpPr>
          <p:cNvPr id="477" name="Freihandform: Form 476">
            <a:extLst>
              <a:ext uri="{FF2B5EF4-FFF2-40B4-BE49-F238E27FC236}">
                <a16:creationId xmlns:a16="http://schemas.microsoft.com/office/drawing/2014/main" id="{D44339B8-50B8-4AC9-8B2C-02D44C591DF6}"/>
              </a:ext>
            </a:extLst>
          </p:cNvPr>
          <p:cNvSpPr/>
          <p:nvPr userDrawn="1"/>
        </p:nvSpPr>
        <p:spPr>
          <a:xfrm>
            <a:off x="9415215" y="5888512"/>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2351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5847"/>
                </a:lnTo>
                <a:lnTo>
                  <a:pt x="0" y="0"/>
                </a:lnTo>
                <a:lnTo>
                  <a:pt x="108368" y="0"/>
                </a:lnTo>
                <a:lnTo>
                  <a:pt x="230719" y="122351"/>
                </a:lnTo>
                <a:close/>
              </a:path>
            </a:pathLst>
          </a:custGeom>
          <a:solidFill>
            <a:srgbClr val="EEF2F5"/>
          </a:solidFill>
          <a:ln w="11643" cap="flat">
            <a:noFill/>
            <a:prstDash val="solid"/>
            <a:miter/>
          </a:ln>
        </p:spPr>
        <p:txBody>
          <a:bodyPr rtlCol="0" anchor="ctr"/>
          <a:lstStyle/>
          <a:p>
            <a:endParaRPr lang="de-DE"/>
          </a:p>
        </p:txBody>
      </p:sp>
      <p:sp>
        <p:nvSpPr>
          <p:cNvPr id="478" name="Freihandform: Form 477">
            <a:extLst>
              <a:ext uri="{FF2B5EF4-FFF2-40B4-BE49-F238E27FC236}">
                <a16:creationId xmlns:a16="http://schemas.microsoft.com/office/drawing/2014/main" id="{66AF7D49-3A28-449B-B645-34567CF2F4E2}"/>
              </a:ext>
            </a:extLst>
          </p:cNvPr>
          <p:cNvSpPr/>
          <p:nvPr userDrawn="1"/>
        </p:nvSpPr>
        <p:spPr>
          <a:xfrm>
            <a:off x="9415215" y="6242748"/>
            <a:ext cx="230718" cy="250528"/>
          </a:xfrm>
          <a:custGeom>
            <a:avLst/>
            <a:gdLst>
              <a:gd name="connsiteX0" fmla="*/ 106037 w 230718"/>
              <a:gd name="connsiteY0" fmla="*/ 250528 h 250528"/>
              <a:gd name="connsiteX1" fmla="*/ 0 w 230718"/>
              <a:gd name="connsiteY1" fmla="*/ 250528 h 250528"/>
              <a:gd name="connsiteX2" fmla="*/ 123516 w 230718"/>
              <a:gd name="connsiteY2" fmla="*/ 127012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7012"/>
                </a:lnTo>
                <a:lnTo>
                  <a:pt x="0" y="0"/>
                </a:lnTo>
                <a:lnTo>
                  <a:pt x="108368" y="0"/>
                </a:lnTo>
                <a:lnTo>
                  <a:pt x="230719" y="123516"/>
                </a:lnTo>
                <a:close/>
              </a:path>
            </a:pathLst>
          </a:custGeom>
          <a:solidFill>
            <a:srgbClr val="EEF2F5"/>
          </a:solidFill>
          <a:ln w="11643" cap="flat">
            <a:noFill/>
            <a:prstDash val="solid"/>
            <a:miter/>
          </a:ln>
        </p:spPr>
        <p:txBody>
          <a:bodyPr rtlCol="0" anchor="ctr"/>
          <a:lstStyle/>
          <a:p>
            <a:endParaRPr lang="de-DE"/>
          </a:p>
        </p:txBody>
      </p:sp>
      <p:sp>
        <p:nvSpPr>
          <p:cNvPr id="479" name="Freihandform: Form 478">
            <a:extLst>
              <a:ext uri="{FF2B5EF4-FFF2-40B4-BE49-F238E27FC236}">
                <a16:creationId xmlns:a16="http://schemas.microsoft.com/office/drawing/2014/main" id="{F2247E83-ADCA-4D56-80E1-AFB3483E8B0F}"/>
              </a:ext>
            </a:extLst>
          </p:cNvPr>
          <p:cNvSpPr/>
          <p:nvPr userDrawn="1"/>
        </p:nvSpPr>
        <p:spPr>
          <a:xfrm>
            <a:off x="9415215" y="6598148"/>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2351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5847"/>
                </a:lnTo>
                <a:lnTo>
                  <a:pt x="0" y="0"/>
                </a:lnTo>
                <a:lnTo>
                  <a:pt x="108368" y="0"/>
                </a:lnTo>
                <a:lnTo>
                  <a:pt x="230719" y="122351"/>
                </a:lnTo>
                <a:close/>
              </a:path>
            </a:pathLst>
          </a:custGeom>
          <a:solidFill>
            <a:srgbClr val="EEF2F5"/>
          </a:solidFill>
          <a:ln w="11643" cap="flat">
            <a:noFill/>
            <a:prstDash val="solid"/>
            <a:miter/>
          </a:ln>
        </p:spPr>
        <p:txBody>
          <a:bodyPr rtlCol="0" anchor="ctr"/>
          <a:lstStyle/>
          <a:p>
            <a:endParaRPr lang="de-DE"/>
          </a:p>
        </p:txBody>
      </p:sp>
      <p:sp>
        <p:nvSpPr>
          <p:cNvPr id="480" name="Freihandform: Form 479">
            <a:extLst>
              <a:ext uri="{FF2B5EF4-FFF2-40B4-BE49-F238E27FC236}">
                <a16:creationId xmlns:a16="http://schemas.microsoft.com/office/drawing/2014/main" id="{2A4D62B8-F7F3-4271-9A21-481EA11F2C07}"/>
              </a:ext>
            </a:extLst>
          </p:cNvPr>
          <p:cNvSpPr/>
          <p:nvPr userDrawn="1"/>
        </p:nvSpPr>
        <p:spPr>
          <a:xfrm>
            <a:off x="9761293" y="1975610"/>
            <a:ext cx="248198" cy="269172"/>
          </a:xfrm>
          <a:custGeom>
            <a:avLst/>
            <a:gdLst>
              <a:gd name="connsiteX0" fmla="*/ 114195 w 248198"/>
              <a:gd name="connsiteY0" fmla="*/ 269172 h 269172"/>
              <a:gd name="connsiteX1" fmla="*/ 0 w 248198"/>
              <a:gd name="connsiteY1" fmla="*/ 269172 h 269172"/>
              <a:gd name="connsiteX2" fmla="*/ 132838 w 248198"/>
              <a:gd name="connsiteY2" fmla="*/ 135169 h 269172"/>
              <a:gd name="connsiteX3" fmla="*/ 0 w 248198"/>
              <a:gd name="connsiteY3" fmla="*/ 0 h 269172"/>
              <a:gd name="connsiteX4" fmla="*/ 116525 w 248198"/>
              <a:gd name="connsiteY4" fmla="*/ 0 h 269172"/>
              <a:gd name="connsiteX5" fmla="*/ 248198 w 248198"/>
              <a:gd name="connsiteY5" fmla="*/ 131673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endParaRPr lang="de-DE"/>
          </a:p>
        </p:txBody>
      </p:sp>
      <p:sp>
        <p:nvSpPr>
          <p:cNvPr id="481" name="Freihandform: Form 480">
            <a:extLst>
              <a:ext uri="{FF2B5EF4-FFF2-40B4-BE49-F238E27FC236}">
                <a16:creationId xmlns:a16="http://schemas.microsoft.com/office/drawing/2014/main" id="{4DF1C417-D96B-403C-8543-89A9B26955F5}"/>
              </a:ext>
            </a:extLst>
          </p:cNvPr>
          <p:cNvSpPr/>
          <p:nvPr userDrawn="1"/>
        </p:nvSpPr>
        <p:spPr>
          <a:xfrm>
            <a:off x="9761293" y="2331010"/>
            <a:ext cx="248198" cy="268007"/>
          </a:xfrm>
          <a:custGeom>
            <a:avLst/>
            <a:gdLst>
              <a:gd name="connsiteX0" fmla="*/ 114195 w 248198"/>
              <a:gd name="connsiteY0" fmla="*/ 268007 h 268007"/>
              <a:gd name="connsiteX1" fmla="*/ 0 w 248198"/>
              <a:gd name="connsiteY1" fmla="*/ 268007 h 268007"/>
              <a:gd name="connsiteX2" fmla="*/ 132838 w 248198"/>
              <a:gd name="connsiteY2" fmla="*/ 135169 h 268007"/>
              <a:gd name="connsiteX3" fmla="*/ 0 w 248198"/>
              <a:gd name="connsiteY3" fmla="*/ 0 h 268007"/>
              <a:gd name="connsiteX4" fmla="*/ 116525 w 248198"/>
              <a:gd name="connsiteY4" fmla="*/ 0 h 268007"/>
              <a:gd name="connsiteX5" fmla="*/ 248198 w 248198"/>
              <a:gd name="connsiteY5" fmla="*/ 131673 h 268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8007">
                <a:moveTo>
                  <a:pt x="114195" y="268007"/>
                </a:moveTo>
                <a:lnTo>
                  <a:pt x="0" y="268007"/>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endParaRPr lang="de-DE"/>
          </a:p>
        </p:txBody>
      </p:sp>
      <p:sp>
        <p:nvSpPr>
          <p:cNvPr id="482" name="Freihandform: Form 481">
            <a:extLst>
              <a:ext uri="{FF2B5EF4-FFF2-40B4-BE49-F238E27FC236}">
                <a16:creationId xmlns:a16="http://schemas.microsoft.com/office/drawing/2014/main" id="{88DE78C6-B3E8-4EA0-AC89-A5BAEF371677}"/>
              </a:ext>
            </a:extLst>
          </p:cNvPr>
          <p:cNvSpPr/>
          <p:nvPr userDrawn="1"/>
        </p:nvSpPr>
        <p:spPr>
          <a:xfrm>
            <a:off x="9761293" y="2685246"/>
            <a:ext cx="248198" cy="269172"/>
          </a:xfrm>
          <a:custGeom>
            <a:avLst/>
            <a:gdLst>
              <a:gd name="connsiteX0" fmla="*/ 114195 w 248198"/>
              <a:gd name="connsiteY0" fmla="*/ 269172 h 269172"/>
              <a:gd name="connsiteX1" fmla="*/ 0 w 248198"/>
              <a:gd name="connsiteY1" fmla="*/ 269172 h 269172"/>
              <a:gd name="connsiteX2" fmla="*/ 132838 w 248198"/>
              <a:gd name="connsiteY2" fmla="*/ 135169 h 269172"/>
              <a:gd name="connsiteX3" fmla="*/ 0 w 248198"/>
              <a:gd name="connsiteY3" fmla="*/ 0 h 269172"/>
              <a:gd name="connsiteX4" fmla="*/ 116525 w 248198"/>
              <a:gd name="connsiteY4" fmla="*/ 0 h 269172"/>
              <a:gd name="connsiteX5" fmla="*/ 248198 w 248198"/>
              <a:gd name="connsiteY5" fmla="*/ 131673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endParaRPr lang="de-DE"/>
          </a:p>
        </p:txBody>
      </p:sp>
      <p:sp>
        <p:nvSpPr>
          <p:cNvPr id="483" name="Freihandform: Form 482">
            <a:extLst>
              <a:ext uri="{FF2B5EF4-FFF2-40B4-BE49-F238E27FC236}">
                <a16:creationId xmlns:a16="http://schemas.microsoft.com/office/drawing/2014/main" id="{7E5B19BA-DB7F-4287-886F-9833AAC59D5F}"/>
              </a:ext>
            </a:extLst>
          </p:cNvPr>
          <p:cNvSpPr/>
          <p:nvPr userDrawn="1"/>
        </p:nvSpPr>
        <p:spPr>
          <a:xfrm>
            <a:off x="9761293" y="3040646"/>
            <a:ext cx="248198" cy="268007"/>
          </a:xfrm>
          <a:custGeom>
            <a:avLst/>
            <a:gdLst>
              <a:gd name="connsiteX0" fmla="*/ 114195 w 248198"/>
              <a:gd name="connsiteY0" fmla="*/ 268007 h 268007"/>
              <a:gd name="connsiteX1" fmla="*/ 0 w 248198"/>
              <a:gd name="connsiteY1" fmla="*/ 268007 h 268007"/>
              <a:gd name="connsiteX2" fmla="*/ 132838 w 248198"/>
              <a:gd name="connsiteY2" fmla="*/ 135169 h 268007"/>
              <a:gd name="connsiteX3" fmla="*/ 0 w 248198"/>
              <a:gd name="connsiteY3" fmla="*/ 0 h 268007"/>
              <a:gd name="connsiteX4" fmla="*/ 116525 w 248198"/>
              <a:gd name="connsiteY4" fmla="*/ 0 h 268007"/>
              <a:gd name="connsiteX5" fmla="*/ 248198 w 248198"/>
              <a:gd name="connsiteY5" fmla="*/ 131673 h 268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8007">
                <a:moveTo>
                  <a:pt x="114195" y="268007"/>
                </a:moveTo>
                <a:lnTo>
                  <a:pt x="0" y="268007"/>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endParaRPr lang="de-DE"/>
          </a:p>
        </p:txBody>
      </p:sp>
      <p:sp>
        <p:nvSpPr>
          <p:cNvPr id="484" name="Freihandform: Form 483">
            <a:extLst>
              <a:ext uri="{FF2B5EF4-FFF2-40B4-BE49-F238E27FC236}">
                <a16:creationId xmlns:a16="http://schemas.microsoft.com/office/drawing/2014/main" id="{292EFE73-2F46-4190-B4FC-3E703117A105}"/>
              </a:ext>
            </a:extLst>
          </p:cNvPr>
          <p:cNvSpPr/>
          <p:nvPr userDrawn="1"/>
        </p:nvSpPr>
        <p:spPr>
          <a:xfrm>
            <a:off x="9761293" y="3394882"/>
            <a:ext cx="248198" cy="269172"/>
          </a:xfrm>
          <a:custGeom>
            <a:avLst/>
            <a:gdLst>
              <a:gd name="connsiteX0" fmla="*/ 114195 w 248198"/>
              <a:gd name="connsiteY0" fmla="*/ 269172 h 269172"/>
              <a:gd name="connsiteX1" fmla="*/ 0 w 248198"/>
              <a:gd name="connsiteY1" fmla="*/ 269172 h 269172"/>
              <a:gd name="connsiteX2" fmla="*/ 132838 w 248198"/>
              <a:gd name="connsiteY2" fmla="*/ 135169 h 269172"/>
              <a:gd name="connsiteX3" fmla="*/ 0 w 248198"/>
              <a:gd name="connsiteY3" fmla="*/ 0 h 269172"/>
              <a:gd name="connsiteX4" fmla="*/ 116525 w 248198"/>
              <a:gd name="connsiteY4" fmla="*/ 0 h 269172"/>
              <a:gd name="connsiteX5" fmla="*/ 248198 w 248198"/>
              <a:gd name="connsiteY5" fmla="*/ 131673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endParaRPr lang="de-DE"/>
          </a:p>
        </p:txBody>
      </p:sp>
      <p:sp>
        <p:nvSpPr>
          <p:cNvPr id="485" name="Freihandform: Form 484">
            <a:extLst>
              <a:ext uri="{FF2B5EF4-FFF2-40B4-BE49-F238E27FC236}">
                <a16:creationId xmlns:a16="http://schemas.microsoft.com/office/drawing/2014/main" id="{8200EA12-ED68-4A99-80A6-A22CF802AF1C}"/>
              </a:ext>
            </a:extLst>
          </p:cNvPr>
          <p:cNvSpPr/>
          <p:nvPr userDrawn="1"/>
        </p:nvSpPr>
        <p:spPr>
          <a:xfrm>
            <a:off x="9761293" y="3750282"/>
            <a:ext cx="248198" cy="268007"/>
          </a:xfrm>
          <a:custGeom>
            <a:avLst/>
            <a:gdLst>
              <a:gd name="connsiteX0" fmla="*/ 114195 w 248198"/>
              <a:gd name="connsiteY0" fmla="*/ 268007 h 268007"/>
              <a:gd name="connsiteX1" fmla="*/ 0 w 248198"/>
              <a:gd name="connsiteY1" fmla="*/ 268007 h 268007"/>
              <a:gd name="connsiteX2" fmla="*/ 132838 w 248198"/>
              <a:gd name="connsiteY2" fmla="*/ 135169 h 268007"/>
              <a:gd name="connsiteX3" fmla="*/ 0 w 248198"/>
              <a:gd name="connsiteY3" fmla="*/ 0 h 268007"/>
              <a:gd name="connsiteX4" fmla="*/ 116525 w 248198"/>
              <a:gd name="connsiteY4" fmla="*/ 0 h 268007"/>
              <a:gd name="connsiteX5" fmla="*/ 248198 w 248198"/>
              <a:gd name="connsiteY5" fmla="*/ 131673 h 268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8007">
                <a:moveTo>
                  <a:pt x="114195" y="268007"/>
                </a:moveTo>
                <a:lnTo>
                  <a:pt x="0" y="268007"/>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endParaRPr lang="de-DE"/>
          </a:p>
        </p:txBody>
      </p:sp>
      <p:sp>
        <p:nvSpPr>
          <p:cNvPr id="486" name="Freihandform: Form 485">
            <a:extLst>
              <a:ext uri="{FF2B5EF4-FFF2-40B4-BE49-F238E27FC236}">
                <a16:creationId xmlns:a16="http://schemas.microsoft.com/office/drawing/2014/main" id="{F786CFD9-D7C8-441E-B62F-0EB92655CAFC}"/>
              </a:ext>
            </a:extLst>
          </p:cNvPr>
          <p:cNvSpPr/>
          <p:nvPr userDrawn="1"/>
        </p:nvSpPr>
        <p:spPr>
          <a:xfrm>
            <a:off x="9761293" y="4104518"/>
            <a:ext cx="248198" cy="269172"/>
          </a:xfrm>
          <a:custGeom>
            <a:avLst/>
            <a:gdLst>
              <a:gd name="connsiteX0" fmla="*/ 114195 w 248198"/>
              <a:gd name="connsiteY0" fmla="*/ 269172 h 269172"/>
              <a:gd name="connsiteX1" fmla="*/ 0 w 248198"/>
              <a:gd name="connsiteY1" fmla="*/ 269172 h 269172"/>
              <a:gd name="connsiteX2" fmla="*/ 132838 w 248198"/>
              <a:gd name="connsiteY2" fmla="*/ 136334 h 269172"/>
              <a:gd name="connsiteX3" fmla="*/ 0 w 248198"/>
              <a:gd name="connsiteY3" fmla="*/ 0 h 269172"/>
              <a:gd name="connsiteX4" fmla="*/ 116525 w 248198"/>
              <a:gd name="connsiteY4" fmla="*/ 0 h 269172"/>
              <a:gd name="connsiteX5" fmla="*/ 248198 w 248198"/>
              <a:gd name="connsiteY5" fmla="*/ 132838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6334"/>
                </a:lnTo>
                <a:lnTo>
                  <a:pt x="0" y="0"/>
                </a:lnTo>
                <a:lnTo>
                  <a:pt x="116525" y="0"/>
                </a:lnTo>
                <a:lnTo>
                  <a:pt x="248198" y="132838"/>
                </a:lnTo>
                <a:close/>
              </a:path>
            </a:pathLst>
          </a:custGeom>
          <a:solidFill>
            <a:srgbClr val="EEF2F5"/>
          </a:solidFill>
          <a:ln w="11643" cap="flat">
            <a:noFill/>
            <a:prstDash val="solid"/>
            <a:miter/>
          </a:ln>
        </p:spPr>
        <p:txBody>
          <a:bodyPr rtlCol="0" anchor="ctr"/>
          <a:lstStyle/>
          <a:p>
            <a:endParaRPr lang="de-DE"/>
          </a:p>
        </p:txBody>
      </p:sp>
      <p:sp>
        <p:nvSpPr>
          <p:cNvPr id="487" name="Freihandform: Form 486">
            <a:extLst>
              <a:ext uri="{FF2B5EF4-FFF2-40B4-BE49-F238E27FC236}">
                <a16:creationId xmlns:a16="http://schemas.microsoft.com/office/drawing/2014/main" id="{01FD0002-F436-4142-A628-D55068EAF9A4}"/>
              </a:ext>
            </a:extLst>
          </p:cNvPr>
          <p:cNvSpPr/>
          <p:nvPr userDrawn="1"/>
        </p:nvSpPr>
        <p:spPr>
          <a:xfrm>
            <a:off x="9761293" y="4459918"/>
            <a:ext cx="248198" cy="268007"/>
          </a:xfrm>
          <a:custGeom>
            <a:avLst/>
            <a:gdLst>
              <a:gd name="connsiteX0" fmla="*/ 114195 w 248198"/>
              <a:gd name="connsiteY0" fmla="*/ 268007 h 268007"/>
              <a:gd name="connsiteX1" fmla="*/ 0 w 248198"/>
              <a:gd name="connsiteY1" fmla="*/ 268007 h 268007"/>
              <a:gd name="connsiteX2" fmla="*/ 132838 w 248198"/>
              <a:gd name="connsiteY2" fmla="*/ 135169 h 268007"/>
              <a:gd name="connsiteX3" fmla="*/ 0 w 248198"/>
              <a:gd name="connsiteY3" fmla="*/ 0 h 268007"/>
              <a:gd name="connsiteX4" fmla="*/ 116525 w 248198"/>
              <a:gd name="connsiteY4" fmla="*/ 0 h 268007"/>
              <a:gd name="connsiteX5" fmla="*/ 248198 w 248198"/>
              <a:gd name="connsiteY5" fmla="*/ 131673 h 268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8007">
                <a:moveTo>
                  <a:pt x="114195" y="268007"/>
                </a:moveTo>
                <a:lnTo>
                  <a:pt x="0" y="268007"/>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endParaRPr lang="de-DE"/>
          </a:p>
        </p:txBody>
      </p:sp>
      <p:sp>
        <p:nvSpPr>
          <p:cNvPr id="488" name="Freihandform: Form 487">
            <a:extLst>
              <a:ext uri="{FF2B5EF4-FFF2-40B4-BE49-F238E27FC236}">
                <a16:creationId xmlns:a16="http://schemas.microsoft.com/office/drawing/2014/main" id="{06660CCF-FEE4-4A5F-8E5C-895C66A8B07F}"/>
              </a:ext>
            </a:extLst>
          </p:cNvPr>
          <p:cNvSpPr/>
          <p:nvPr userDrawn="1"/>
        </p:nvSpPr>
        <p:spPr>
          <a:xfrm>
            <a:off x="9761293" y="4814154"/>
            <a:ext cx="248198" cy="269172"/>
          </a:xfrm>
          <a:custGeom>
            <a:avLst/>
            <a:gdLst>
              <a:gd name="connsiteX0" fmla="*/ 114195 w 248198"/>
              <a:gd name="connsiteY0" fmla="*/ 269172 h 269172"/>
              <a:gd name="connsiteX1" fmla="*/ 0 w 248198"/>
              <a:gd name="connsiteY1" fmla="*/ 269172 h 269172"/>
              <a:gd name="connsiteX2" fmla="*/ 132838 w 248198"/>
              <a:gd name="connsiteY2" fmla="*/ 136334 h 269172"/>
              <a:gd name="connsiteX3" fmla="*/ 0 w 248198"/>
              <a:gd name="connsiteY3" fmla="*/ 0 h 269172"/>
              <a:gd name="connsiteX4" fmla="*/ 116525 w 248198"/>
              <a:gd name="connsiteY4" fmla="*/ 0 h 269172"/>
              <a:gd name="connsiteX5" fmla="*/ 248198 w 248198"/>
              <a:gd name="connsiteY5" fmla="*/ 132838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6334"/>
                </a:lnTo>
                <a:lnTo>
                  <a:pt x="0" y="0"/>
                </a:lnTo>
                <a:lnTo>
                  <a:pt x="116525" y="0"/>
                </a:lnTo>
                <a:lnTo>
                  <a:pt x="248198" y="132838"/>
                </a:lnTo>
                <a:close/>
              </a:path>
            </a:pathLst>
          </a:custGeom>
          <a:solidFill>
            <a:srgbClr val="EEF2F5"/>
          </a:solidFill>
          <a:ln w="11643" cap="flat">
            <a:noFill/>
            <a:prstDash val="solid"/>
            <a:miter/>
          </a:ln>
        </p:spPr>
        <p:txBody>
          <a:bodyPr rtlCol="0" anchor="ctr"/>
          <a:lstStyle/>
          <a:p>
            <a:endParaRPr lang="de-DE"/>
          </a:p>
        </p:txBody>
      </p:sp>
      <p:sp>
        <p:nvSpPr>
          <p:cNvPr id="489" name="Freihandform: Form 488">
            <a:extLst>
              <a:ext uri="{FF2B5EF4-FFF2-40B4-BE49-F238E27FC236}">
                <a16:creationId xmlns:a16="http://schemas.microsoft.com/office/drawing/2014/main" id="{6E41AC2D-718A-468C-AC62-C1169CCB8D98}"/>
              </a:ext>
            </a:extLst>
          </p:cNvPr>
          <p:cNvSpPr/>
          <p:nvPr userDrawn="1"/>
        </p:nvSpPr>
        <p:spPr>
          <a:xfrm>
            <a:off x="9761293" y="5169554"/>
            <a:ext cx="248198" cy="268007"/>
          </a:xfrm>
          <a:custGeom>
            <a:avLst/>
            <a:gdLst>
              <a:gd name="connsiteX0" fmla="*/ 114195 w 248198"/>
              <a:gd name="connsiteY0" fmla="*/ 268007 h 268007"/>
              <a:gd name="connsiteX1" fmla="*/ 0 w 248198"/>
              <a:gd name="connsiteY1" fmla="*/ 268007 h 268007"/>
              <a:gd name="connsiteX2" fmla="*/ 132838 w 248198"/>
              <a:gd name="connsiteY2" fmla="*/ 135169 h 268007"/>
              <a:gd name="connsiteX3" fmla="*/ 0 w 248198"/>
              <a:gd name="connsiteY3" fmla="*/ 0 h 268007"/>
              <a:gd name="connsiteX4" fmla="*/ 116525 w 248198"/>
              <a:gd name="connsiteY4" fmla="*/ 0 h 268007"/>
              <a:gd name="connsiteX5" fmla="*/ 248198 w 248198"/>
              <a:gd name="connsiteY5" fmla="*/ 131673 h 268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8007">
                <a:moveTo>
                  <a:pt x="114195" y="268007"/>
                </a:moveTo>
                <a:lnTo>
                  <a:pt x="0" y="268007"/>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endParaRPr lang="de-DE"/>
          </a:p>
        </p:txBody>
      </p:sp>
      <p:sp>
        <p:nvSpPr>
          <p:cNvPr id="490" name="Freihandform: Form 489">
            <a:extLst>
              <a:ext uri="{FF2B5EF4-FFF2-40B4-BE49-F238E27FC236}">
                <a16:creationId xmlns:a16="http://schemas.microsoft.com/office/drawing/2014/main" id="{4BE823B6-3CF5-4C0A-8FBC-8BF3D89E62E6}"/>
              </a:ext>
            </a:extLst>
          </p:cNvPr>
          <p:cNvSpPr/>
          <p:nvPr userDrawn="1"/>
        </p:nvSpPr>
        <p:spPr>
          <a:xfrm>
            <a:off x="9761293" y="5523790"/>
            <a:ext cx="248198" cy="269172"/>
          </a:xfrm>
          <a:custGeom>
            <a:avLst/>
            <a:gdLst>
              <a:gd name="connsiteX0" fmla="*/ 114195 w 248198"/>
              <a:gd name="connsiteY0" fmla="*/ 269172 h 269172"/>
              <a:gd name="connsiteX1" fmla="*/ 0 w 248198"/>
              <a:gd name="connsiteY1" fmla="*/ 269172 h 269172"/>
              <a:gd name="connsiteX2" fmla="*/ 132838 w 248198"/>
              <a:gd name="connsiteY2" fmla="*/ 136334 h 269172"/>
              <a:gd name="connsiteX3" fmla="*/ 0 w 248198"/>
              <a:gd name="connsiteY3" fmla="*/ 0 h 269172"/>
              <a:gd name="connsiteX4" fmla="*/ 116525 w 248198"/>
              <a:gd name="connsiteY4" fmla="*/ 0 h 269172"/>
              <a:gd name="connsiteX5" fmla="*/ 248198 w 248198"/>
              <a:gd name="connsiteY5" fmla="*/ 132838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6334"/>
                </a:lnTo>
                <a:lnTo>
                  <a:pt x="0" y="0"/>
                </a:lnTo>
                <a:lnTo>
                  <a:pt x="116525" y="0"/>
                </a:lnTo>
                <a:lnTo>
                  <a:pt x="248198" y="132838"/>
                </a:lnTo>
                <a:close/>
              </a:path>
            </a:pathLst>
          </a:custGeom>
          <a:solidFill>
            <a:srgbClr val="EEF2F5"/>
          </a:solidFill>
          <a:ln w="11643" cap="flat">
            <a:noFill/>
            <a:prstDash val="solid"/>
            <a:miter/>
          </a:ln>
        </p:spPr>
        <p:txBody>
          <a:bodyPr rtlCol="0" anchor="ctr"/>
          <a:lstStyle/>
          <a:p>
            <a:endParaRPr lang="de-DE"/>
          </a:p>
        </p:txBody>
      </p:sp>
      <p:sp>
        <p:nvSpPr>
          <p:cNvPr id="491" name="Freihandform: Form 490">
            <a:extLst>
              <a:ext uri="{FF2B5EF4-FFF2-40B4-BE49-F238E27FC236}">
                <a16:creationId xmlns:a16="http://schemas.microsoft.com/office/drawing/2014/main" id="{B0586C0A-D3A9-43C8-BC22-E34DC9A911FC}"/>
              </a:ext>
            </a:extLst>
          </p:cNvPr>
          <p:cNvSpPr/>
          <p:nvPr userDrawn="1"/>
        </p:nvSpPr>
        <p:spPr>
          <a:xfrm>
            <a:off x="9761293" y="5879190"/>
            <a:ext cx="248198" cy="269172"/>
          </a:xfrm>
          <a:custGeom>
            <a:avLst/>
            <a:gdLst>
              <a:gd name="connsiteX0" fmla="*/ 114195 w 248198"/>
              <a:gd name="connsiteY0" fmla="*/ 269172 h 269172"/>
              <a:gd name="connsiteX1" fmla="*/ 0 w 248198"/>
              <a:gd name="connsiteY1" fmla="*/ 269172 h 269172"/>
              <a:gd name="connsiteX2" fmla="*/ 132838 w 248198"/>
              <a:gd name="connsiteY2" fmla="*/ 135169 h 269172"/>
              <a:gd name="connsiteX3" fmla="*/ 0 w 248198"/>
              <a:gd name="connsiteY3" fmla="*/ 0 h 269172"/>
              <a:gd name="connsiteX4" fmla="*/ 116525 w 248198"/>
              <a:gd name="connsiteY4" fmla="*/ 0 h 269172"/>
              <a:gd name="connsiteX5" fmla="*/ 248198 w 248198"/>
              <a:gd name="connsiteY5" fmla="*/ 131673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endParaRPr lang="de-DE"/>
          </a:p>
        </p:txBody>
      </p:sp>
      <p:sp>
        <p:nvSpPr>
          <p:cNvPr id="492" name="Freihandform: Form 491">
            <a:extLst>
              <a:ext uri="{FF2B5EF4-FFF2-40B4-BE49-F238E27FC236}">
                <a16:creationId xmlns:a16="http://schemas.microsoft.com/office/drawing/2014/main" id="{BAA83463-E746-448C-AEF2-15F032667EAD}"/>
              </a:ext>
            </a:extLst>
          </p:cNvPr>
          <p:cNvSpPr/>
          <p:nvPr userDrawn="1"/>
        </p:nvSpPr>
        <p:spPr>
          <a:xfrm>
            <a:off x="9761293" y="6233426"/>
            <a:ext cx="248198" cy="269172"/>
          </a:xfrm>
          <a:custGeom>
            <a:avLst/>
            <a:gdLst>
              <a:gd name="connsiteX0" fmla="*/ 114195 w 248198"/>
              <a:gd name="connsiteY0" fmla="*/ 269172 h 269172"/>
              <a:gd name="connsiteX1" fmla="*/ 0 w 248198"/>
              <a:gd name="connsiteY1" fmla="*/ 269172 h 269172"/>
              <a:gd name="connsiteX2" fmla="*/ 132838 w 248198"/>
              <a:gd name="connsiteY2" fmla="*/ 136334 h 269172"/>
              <a:gd name="connsiteX3" fmla="*/ 0 w 248198"/>
              <a:gd name="connsiteY3" fmla="*/ 0 h 269172"/>
              <a:gd name="connsiteX4" fmla="*/ 116525 w 248198"/>
              <a:gd name="connsiteY4" fmla="*/ 0 h 269172"/>
              <a:gd name="connsiteX5" fmla="*/ 248198 w 248198"/>
              <a:gd name="connsiteY5" fmla="*/ 132838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6334"/>
                </a:lnTo>
                <a:lnTo>
                  <a:pt x="0" y="0"/>
                </a:lnTo>
                <a:lnTo>
                  <a:pt x="116525" y="0"/>
                </a:lnTo>
                <a:lnTo>
                  <a:pt x="248198" y="132838"/>
                </a:lnTo>
                <a:close/>
              </a:path>
            </a:pathLst>
          </a:custGeom>
          <a:solidFill>
            <a:srgbClr val="EEF2F5"/>
          </a:solidFill>
          <a:ln w="11643" cap="flat">
            <a:noFill/>
            <a:prstDash val="solid"/>
            <a:miter/>
          </a:ln>
        </p:spPr>
        <p:txBody>
          <a:bodyPr rtlCol="0" anchor="ctr"/>
          <a:lstStyle/>
          <a:p>
            <a:endParaRPr lang="de-DE"/>
          </a:p>
        </p:txBody>
      </p:sp>
      <p:sp>
        <p:nvSpPr>
          <p:cNvPr id="493" name="Freihandform: Form 492">
            <a:extLst>
              <a:ext uri="{FF2B5EF4-FFF2-40B4-BE49-F238E27FC236}">
                <a16:creationId xmlns:a16="http://schemas.microsoft.com/office/drawing/2014/main" id="{630922BC-26BD-42F2-898F-FEDC66EF3731}"/>
              </a:ext>
            </a:extLst>
          </p:cNvPr>
          <p:cNvSpPr/>
          <p:nvPr userDrawn="1"/>
        </p:nvSpPr>
        <p:spPr>
          <a:xfrm>
            <a:off x="9761293" y="6588826"/>
            <a:ext cx="248198" cy="269172"/>
          </a:xfrm>
          <a:custGeom>
            <a:avLst/>
            <a:gdLst>
              <a:gd name="connsiteX0" fmla="*/ 114195 w 248198"/>
              <a:gd name="connsiteY0" fmla="*/ 269172 h 269172"/>
              <a:gd name="connsiteX1" fmla="*/ 0 w 248198"/>
              <a:gd name="connsiteY1" fmla="*/ 269172 h 269172"/>
              <a:gd name="connsiteX2" fmla="*/ 132838 w 248198"/>
              <a:gd name="connsiteY2" fmla="*/ 135169 h 269172"/>
              <a:gd name="connsiteX3" fmla="*/ 0 w 248198"/>
              <a:gd name="connsiteY3" fmla="*/ 0 h 269172"/>
              <a:gd name="connsiteX4" fmla="*/ 116525 w 248198"/>
              <a:gd name="connsiteY4" fmla="*/ 0 h 269172"/>
              <a:gd name="connsiteX5" fmla="*/ 248198 w 248198"/>
              <a:gd name="connsiteY5" fmla="*/ 131673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endParaRPr lang="de-DE"/>
          </a:p>
        </p:txBody>
      </p:sp>
      <p:grpSp>
        <p:nvGrpSpPr>
          <p:cNvPr id="39" name="Gruppieren 38">
            <a:extLst>
              <a:ext uri="{FF2B5EF4-FFF2-40B4-BE49-F238E27FC236}">
                <a16:creationId xmlns:a16="http://schemas.microsoft.com/office/drawing/2014/main" id="{AA666764-7F63-4EE2-87ED-D1E80C7F6AA1}"/>
              </a:ext>
            </a:extLst>
          </p:cNvPr>
          <p:cNvGrpSpPr/>
          <p:nvPr userDrawn="1"/>
        </p:nvGrpSpPr>
        <p:grpSpPr>
          <a:xfrm>
            <a:off x="4814318" y="4632993"/>
            <a:ext cx="421976" cy="421976"/>
            <a:chOff x="4991839" y="5657214"/>
            <a:chExt cx="203835" cy="203835"/>
          </a:xfrm>
        </p:grpSpPr>
        <p:sp>
          <p:nvSpPr>
            <p:cNvPr id="38" name="Grafik 3">
              <a:extLst>
                <a:ext uri="{FF2B5EF4-FFF2-40B4-BE49-F238E27FC236}">
                  <a16:creationId xmlns:a16="http://schemas.microsoft.com/office/drawing/2014/main" id="{3ACBFD09-2BCE-47C1-82F9-F67E69F50CD5}"/>
                </a:ext>
              </a:extLst>
            </p:cNvPr>
            <p:cNvSpPr/>
            <p:nvPr/>
          </p:nvSpPr>
          <p:spPr>
            <a:xfrm>
              <a:off x="4991839" y="5657214"/>
              <a:ext cx="203835" cy="203835"/>
            </a:xfrm>
            <a:custGeom>
              <a:avLst/>
              <a:gdLst>
                <a:gd name="connsiteX0" fmla="*/ 203835 w 203835"/>
                <a:gd name="connsiteY0" fmla="*/ 101918 h 203835"/>
                <a:gd name="connsiteX1" fmla="*/ 101918 w 203835"/>
                <a:gd name="connsiteY1" fmla="*/ 203835 h 203835"/>
                <a:gd name="connsiteX2" fmla="*/ 0 w 203835"/>
                <a:gd name="connsiteY2" fmla="*/ 101918 h 203835"/>
                <a:gd name="connsiteX3" fmla="*/ 101918 w 203835"/>
                <a:gd name="connsiteY3" fmla="*/ 0 h 203835"/>
                <a:gd name="connsiteX4" fmla="*/ 203835 w 203835"/>
                <a:gd name="connsiteY4" fmla="*/ 101918 h 2038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3835" h="203835">
                  <a:moveTo>
                    <a:pt x="203835" y="101918"/>
                  </a:moveTo>
                  <a:cubicBezTo>
                    <a:pt x="203835" y="158205"/>
                    <a:pt x="158205" y="203835"/>
                    <a:pt x="101918" y="203835"/>
                  </a:cubicBezTo>
                  <a:cubicBezTo>
                    <a:pt x="45630" y="203835"/>
                    <a:pt x="0" y="158205"/>
                    <a:pt x="0" y="101918"/>
                  </a:cubicBezTo>
                  <a:cubicBezTo>
                    <a:pt x="0" y="45630"/>
                    <a:pt x="45630" y="0"/>
                    <a:pt x="101918" y="0"/>
                  </a:cubicBezTo>
                  <a:cubicBezTo>
                    <a:pt x="158205" y="0"/>
                    <a:pt x="203835" y="45630"/>
                    <a:pt x="203835" y="101918"/>
                  </a:cubicBezTo>
                  <a:close/>
                </a:path>
              </a:pathLst>
            </a:custGeom>
            <a:solidFill>
              <a:srgbClr val="ECF0F4"/>
            </a:solidFill>
            <a:ln w="9525" cap="flat">
              <a:noFill/>
              <a:prstDash val="solid"/>
              <a:miter/>
            </a:ln>
          </p:spPr>
          <p:txBody>
            <a:bodyPr rtlCol="0" anchor="ctr"/>
            <a:lstStyle/>
            <a:p>
              <a:endParaRPr lang="de-DE"/>
            </a:p>
          </p:txBody>
        </p:sp>
        <p:sp>
          <p:nvSpPr>
            <p:cNvPr id="37" name="Grafik 30">
              <a:extLst>
                <a:ext uri="{FF2B5EF4-FFF2-40B4-BE49-F238E27FC236}">
                  <a16:creationId xmlns:a16="http://schemas.microsoft.com/office/drawing/2014/main" id="{0F7F147F-AAE3-4BE1-B657-9037D1087DC9}"/>
                </a:ext>
              </a:extLst>
            </p:cNvPr>
            <p:cNvSpPr/>
            <p:nvPr/>
          </p:nvSpPr>
          <p:spPr>
            <a:xfrm>
              <a:off x="5039940" y="5721508"/>
              <a:ext cx="107632" cy="75247"/>
            </a:xfrm>
            <a:custGeom>
              <a:avLst/>
              <a:gdLst>
                <a:gd name="connsiteX0" fmla="*/ 98108 w 107632"/>
                <a:gd name="connsiteY0" fmla="*/ 0 h 75247"/>
                <a:gd name="connsiteX1" fmla="*/ 9525 w 107632"/>
                <a:gd name="connsiteY1" fmla="*/ 0 h 75247"/>
                <a:gd name="connsiteX2" fmla="*/ 0 w 107632"/>
                <a:gd name="connsiteY2" fmla="*/ 9525 h 75247"/>
                <a:gd name="connsiteX3" fmla="*/ 0 w 107632"/>
                <a:gd name="connsiteY3" fmla="*/ 65723 h 75247"/>
                <a:gd name="connsiteX4" fmla="*/ 9525 w 107632"/>
                <a:gd name="connsiteY4" fmla="*/ 75248 h 75247"/>
                <a:gd name="connsiteX5" fmla="*/ 98108 w 107632"/>
                <a:gd name="connsiteY5" fmla="*/ 75248 h 75247"/>
                <a:gd name="connsiteX6" fmla="*/ 107633 w 107632"/>
                <a:gd name="connsiteY6" fmla="*/ 65723 h 75247"/>
                <a:gd name="connsiteX7" fmla="*/ 107633 w 107632"/>
                <a:gd name="connsiteY7" fmla="*/ 9525 h 75247"/>
                <a:gd name="connsiteX8" fmla="*/ 98108 w 107632"/>
                <a:gd name="connsiteY8" fmla="*/ 0 h 75247"/>
                <a:gd name="connsiteX9" fmla="*/ 96203 w 107632"/>
                <a:gd name="connsiteY9" fmla="*/ 6668 h 75247"/>
                <a:gd name="connsiteX10" fmla="*/ 60008 w 107632"/>
                <a:gd name="connsiteY10" fmla="*/ 41910 h 75247"/>
                <a:gd name="connsiteX11" fmla="*/ 53340 w 107632"/>
                <a:gd name="connsiteY11" fmla="*/ 44768 h 75247"/>
                <a:gd name="connsiteX12" fmla="*/ 46673 w 107632"/>
                <a:gd name="connsiteY12" fmla="*/ 41910 h 75247"/>
                <a:gd name="connsiteX13" fmla="*/ 10478 w 107632"/>
                <a:gd name="connsiteY13" fmla="*/ 6668 h 75247"/>
                <a:gd name="connsiteX14" fmla="*/ 96203 w 107632"/>
                <a:gd name="connsiteY14" fmla="*/ 6668 h 75247"/>
                <a:gd name="connsiteX15" fmla="*/ 6668 w 107632"/>
                <a:gd name="connsiteY15" fmla="*/ 64770 h 75247"/>
                <a:gd name="connsiteX16" fmla="*/ 6668 w 107632"/>
                <a:gd name="connsiteY16" fmla="*/ 10478 h 75247"/>
                <a:gd name="connsiteX17" fmla="*/ 33338 w 107632"/>
                <a:gd name="connsiteY17" fmla="*/ 38100 h 75247"/>
                <a:gd name="connsiteX18" fmla="*/ 6668 w 107632"/>
                <a:gd name="connsiteY18" fmla="*/ 64770 h 75247"/>
                <a:gd name="connsiteX19" fmla="*/ 10478 w 107632"/>
                <a:gd name="connsiteY19" fmla="*/ 68580 h 75247"/>
                <a:gd name="connsiteX20" fmla="*/ 38100 w 107632"/>
                <a:gd name="connsiteY20" fmla="*/ 41910 h 75247"/>
                <a:gd name="connsiteX21" fmla="*/ 42863 w 107632"/>
                <a:gd name="connsiteY21" fmla="*/ 46673 h 75247"/>
                <a:gd name="connsiteX22" fmla="*/ 54293 w 107632"/>
                <a:gd name="connsiteY22" fmla="*/ 51435 h 75247"/>
                <a:gd name="connsiteX23" fmla="*/ 65723 w 107632"/>
                <a:gd name="connsiteY23" fmla="*/ 46673 h 75247"/>
                <a:gd name="connsiteX24" fmla="*/ 70485 w 107632"/>
                <a:gd name="connsiteY24" fmla="*/ 41910 h 75247"/>
                <a:gd name="connsiteX25" fmla="*/ 97155 w 107632"/>
                <a:gd name="connsiteY25" fmla="*/ 68580 h 75247"/>
                <a:gd name="connsiteX26" fmla="*/ 10478 w 107632"/>
                <a:gd name="connsiteY26" fmla="*/ 68580 h 75247"/>
                <a:gd name="connsiteX27" fmla="*/ 100965 w 107632"/>
                <a:gd name="connsiteY27" fmla="*/ 64770 h 75247"/>
                <a:gd name="connsiteX28" fmla="*/ 73343 w 107632"/>
                <a:gd name="connsiteY28" fmla="*/ 38100 h 75247"/>
                <a:gd name="connsiteX29" fmla="*/ 100013 w 107632"/>
                <a:gd name="connsiteY29" fmla="*/ 11430 h 75247"/>
                <a:gd name="connsiteX30" fmla="*/ 100013 w 107632"/>
                <a:gd name="connsiteY30" fmla="*/ 64770 h 75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07632" h="75247">
                  <a:moveTo>
                    <a:pt x="98108" y="0"/>
                  </a:moveTo>
                  <a:lnTo>
                    <a:pt x="9525" y="0"/>
                  </a:lnTo>
                  <a:cubicBezTo>
                    <a:pt x="3810" y="0"/>
                    <a:pt x="0" y="3810"/>
                    <a:pt x="0" y="9525"/>
                  </a:cubicBezTo>
                  <a:lnTo>
                    <a:pt x="0" y="65723"/>
                  </a:lnTo>
                  <a:cubicBezTo>
                    <a:pt x="0" y="70485"/>
                    <a:pt x="3810" y="75248"/>
                    <a:pt x="9525" y="75248"/>
                  </a:cubicBezTo>
                  <a:lnTo>
                    <a:pt x="98108" y="75248"/>
                  </a:lnTo>
                  <a:cubicBezTo>
                    <a:pt x="102870" y="75248"/>
                    <a:pt x="107633" y="71438"/>
                    <a:pt x="107633" y="65723"/>
                  </a:cubicBezTo>
                  <a:lnTo>
                    <a:pt x="107633" y="9525"/>
                  </a:lnTo>
                  <a:cubicBezTo>
                    <a:pt x="106680" y="3810"/>
                    <a:pt x="102870" y="0"/>
                    <a:pt x="98108" y="0"/>
                  </a:cubicBezTo>
                  <a:close/>
                  <a:moveTo>
                    <a:pt x="96203" y="6668"/>
                  </a:moveTo>
                  <a:cubicBezTo>
                    <a:pt x="94298" y="8573"/>
                    <a:pt x="60960" y="40958"/>
                    <a:pt x="60008" y="41910"/>
                  </a:cubicBezTo>
                  <a:cubicBezTo>
                    <a:pt x="58103" y="43815"/>
                    <a:pt x="56198" y="44768"/>
                    <a:pt x="53340" y="44768"/>
                  </a:cubicBezTo>
                  <a:cubicBezTo>
                    <a:pt x="50483" y="44768"/>
                    <a:pt x="48578" y="43815"/>
                    <a:pt x="46673" y="41910"/>
                  </a:cubicBezTo>
                  <a:cubicBezTo>
                    <a:pt x="45720" y="41910"/>
                    <a:pt x="13335" y="8573"/>
                    <a:pt x="10478" y="6668"/>
                  </a:cubicBezTo>
                  <a:lnTo>
                    <a:pt x="96203" y="6668"/>
                  </a:lnTo>
                  <a:close/>
                  <a:moveTo>
                    <a:pt x="6668" y="64770"/>
                  </a:moveTo>
                  <a:lnTo>
                    <a:pt x="6668" y="10478"/>
                  </a:lnTo>
                  <a:lnTo>
                    <a:pt x="33338" y="38100"/>
                  </a:lnTo>
                  <a:lnTo>
                    <a:pt x="6668" y="64770"/>
                  </a:lnTo>
                  <a:close/>
                  <a:moveTo>
                    <a:pt x="10478" y="68580"/>
                  </a:moveTo>
                  <a:lnTo>
                    <a:pt x="38100" y="41910"/>
                  </a:lnTo>
                  <a:lnTo>
                    <a:pt x="42863" y="46673"/>
                  </a:lnTo>
                  <a:cubicBezTo>
                    <a:pt x="45720" y="49530"/>
                    <a:pt x="49530" y="51435"/>
                    <a:pt x="54293" y="51435"/>
                  </a:cubicBezTo>
                  <a:cubicBezTo>
                    <a:pt x="58103" y="51435"/>
                    <a:pt x="62865" y="49530"/>
                    <a:pt x="65723" y="46673"/>
                  </a:cubicBezTo>
                  <a:lnTo>
                    <a:pt x="70485" y="41910"/>
                  </a:lnTo>
                  <a:lnTo>
                    <a:pt x="97155" y="68580"/>
                  </a:lnTo>
                  <a:lnTo>
                    <a:pt x="10478" y="68580"/>
                  </a:lnTo>
                  <a:close/>
                  <a:moveTo>
                    <a:pt x="100965" y="64770"/>
                  </a:moveTo>
                  <a:lnTo>
                    <a:pt x="73343" y="38100"/>
                  </a:lnTo>
                  <a:lnTo>
                    <a:pt x="100013" y="11430"/>
                  </a:lnTo>
                  <a:lnTo>
                    <a:pt x="100013" y="64770"/>
                  </a:lnTo>
                  <a:close/>
                </a:path>
              </a:pathLst>
            </a:custGeom>
            <a:solidFill>
              <a:srgbClr val="3A5C7D"/>
            </a:solidFill>
            <a:ln w="9525" cap="flat">
              <a:noFill/>
              <a:prstDash val="solid"/>
              <a:miter/>
            </a:ln>
          </p:spPr>
          <p:txBody>
            <a:bodyPr rtlCol="0" anchor="ctr"/>
            <a:lstStyle/>
            <a:p>
              <a:endParaRPr lang="de-DE"/>
            </a:p>
          </p:txBody>
        </p:sp>
      </p:grpSp>
      <p:grpSp>
        <p:nvGrpSpPr>
          <p:cNvPr id="36" name="Gruppieren 35">
            <a:extLst>
              <a:ext uri="{FF2B5EF4-FFF2-40B4-BE49-F238E27FC236}">
                <a16:creationId xmlns:a16="http://schemas.microsoft.com/office/drawing/2014/main" id="{66A2E61D-F083-418F-919D-66394DC26082}"/>
              </a:ext>
            </a:extLst>
          </p:cNvPr>
          <p:cNvGrpSpPr/>
          <p:nvPr userDrawn="1"/>
        </p:nvGrpSpPr>
        <p:grpSpPr>
          <a:xfrm>
            <a:off x="4812959" y="4085094"/>
            <a:ext cx="424694" cy="424694"/>
            <a:chOff x="4702667" y="5218499"/>
            <a:chExt cx="203835" cy="203835"/>
          </a:xfrm>
        </p:grpSpPr>
        <p:sp>
          <p:nvSpPr>
            <p:cNvPr id="34" name="Grafik 31">
              <a:extLst>
                <a:ext uri="{FF2B5EF4-FFF2-40B4-BE49-F238E27FC236}">
                  <a16:creationId xmlns:a16="http://schemas.microsoft.com/office/drawing/2014/main" id="{E92F21DB-71AC-49E2-A5A9-E6D54A01D532}"/>
                </a:ext>
              </a:extLst>
            </p:cNvPr>
            <p:cNvSpPr/>
            <p:nvPr/>
          </p:nvSpPr>
          <p:spPr>
            <a:xfrm>
              <a:off x="4702667" y="5218499"/>
              <a:ext cx="203835" cy="203835"/>
            </a:xfrm>
            <a:custGeom>
              <a:avLst/>
              <a:gdLst>
                <a:gd name="connsiteX0" fmla="*/ 203835 w 203835"/>
                <a:gd name="connsiteY0" fmla="*/ 101918 h 203835"/>
                <a:gd name="connsiteX1" fmla="*/ 101918 w 203835"/>
                <a:gd name="connsiteY1" fmla="*/ 203835 h 203835"/>
                <a:gd name="connsiteX2" fmla="*/ 0 w 203835"/>
                <a:gd name="connsiteY2" fmla="*/ 101918 h 203835"/>
                <a:gd name="connsiteX3" fmla="*/ 101918 w 203835"/>
                <a:gd name="connsiteY3" fmla="*/ 0 h 203835"/>
                <a:gd name="connsiteX4" fmla="*/ 203835 w 203835"/>
                <a:gd name="connsiteY4" fmla="*/ 101918 h 2038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3835" h="203835">
                  <a:moveTo>
                    <a:pt x="203835" y="101918"/>
                  </a:moveTo>
                  <a:cubicBezTo>
                    <a:pt x="203835" y="158205"/>
                    <a:pt x="158205" y="203835"/>
                    <a:pt x="101918" y="203835"/>
                  </a:cubicBezTo>
                  <a:cubicBezTo>
                    <a:pt x="45630" y="203835"/>
                    <a:pt x="0" y="158205"/>
                    <a:pt x="0" y="101918"/>
                  </a:cubicBezTo>
                  <a:cubicBezTo>
                    <a:pt x="0" y="45630"/>
                    <a:pt x="45630" y="0"/>
                    <a:pt x="101918" y="0"/>
                  </a:cubicBezTo>
                  <a:cubicBezTo>
                    <a:pt x="158205" y="0"/>
                    <a:pt x="203835" y="45630"/>
                    <a:pt x="203835" y="101918"/>
                  </a:cubicBezTo>
                  <a:close/>
                </a:path>
              </a:pathLst>
            </a:custGeom>
            <a:solidFill>
              <a:srgbClr val="ECF0F4"/>
            </a:solidFill>
            <a:ln w="9525" cap="flat">
              <a:noFill/>
              <a:prstDash val="solid"/>
              <a:miter/>
            </a:ln>
          </p:spPr>
          <p:txBody>
            <a:bodyPr rtlCol="0" anchor="ctr"/>
            <a:lstStyle/>
            <a:p>
              <a:endParaRPr lang="de-DE"/>
            </a:p>
          </p:txBody>
        </p:sp>
        <p:sp>
          <p:nvSpPr>
            <p:cNvPr id="33" name="Grafik 29">
              <a:extLst>
                <a:ext uri="{FF2B5EF4-FFF2-40B4-BE49-F238E27FC236}">
                  <a16:creationId xmlns:a16="http://schemas.microsoft.com/office/drawing/2014/main" id="{C5CDD651-6752-43FB-B542-3447DAD562C2}"/>
                </a:ext>
              </a:extLst>
            </p:cNvPr>
            <p:cNvSpPr/>
            <p:nvPr/>
          </p:nvSpPr>
          <p:spPr>
            <a:xfrm>
              <a:off x="4749870" y="5265171"/>
              <a:ext cx="109428" cy="110490"/>
            </a:xfrm>
            <a:custGeom>
              <a:avLst/>
              <a:gdLst>
                <a:gd name="connsiteX0" fmla="*/ 105728 w 109428"/>
                <a:gd name="connsiteY0" fmla="*/ 80010 h 110490"/>
                <a:gd name="connsiteX1" fmla="*/ 92393 w 109428"/>
                <a:gd name="connsiteY1" fmla="*/ 65723 h 110490"/>
                <a:gd name="connsiteX2" fmla="*/ 83820 w 109428"/>
                <a:gd name="connsiteY2" fmla="*/ 62865 h 110490"/>
                <a:gd name="connsiteX3" fmla="*/ 76200 w 109428"/>
                <a:gd name="connsiteY3" fmla="*/ 65723 h 110490"/>
                <a:gd name="connsiteX4" fmla="*/ 67628 w 109428"/>
                <a:gd name="connsiteY4" fmla="*/ 74295 h 110490"/>
                <a:gd name="connsiteX5" fmla="*/ 65723 w 109428"/>
                <a:gd name="connsiteY5" fmla="*/ 73343 h 110490"/>
                <a:gd name="connsiteX6" fmla="*/ 62865 w 109428"/>
                <a:gd name="connsiteY6" fmla="*/ 72390 h 110490"/>
                <a:gd name="connsiteX7" fmla="*/ 42863 w 109428"/>
                <a:gd name="connsiteY7" fmla="*/ 53340 h 110490"/>
                <a:gd name="connsiteX8" fmla="*/ 35243 w 109428"/>
                <a:gd name="connsiteY8" fmla="*/ 41910 h 110490"/>
                <a:gd name="connsiteX9" fmla="*/ 41910 w 109428"/>
                <a:gd name="connsiteY9" fmla="*/ 36195 h 110490"/>
                <a:gd name="connsiteX10" fmla="*/ 43815 w 109428"/>
                <a:gd name="connsiteY10" fmla="*/ 34290 h 110490"/>
                <a:gd name="connsiteX11" fmla="*/ 47625 w 109428"/>
                <a:gd name="connsiteY11" fmla="*/ 25718 h 110490"/>
                <a:gd name="connsiteX12" fmla="*/ 43815 w 109428"/>
                <a:gd name="connsiteY12" fmla="*/ 17145 h 110490"/>
                <a:gd name="connsiteX13" fmla="*/ 37148 w 109428"/>
                <a:gd name="connsiteY13" fmla="*/ 10478 h 110490"/>
                <a:gd name="connsiteX14" fmla="*/ 34290 w 109428"/>
                <a:gd name="connsiteY14" fmla="*/ 8573 h 110490"/>
                <a:gd name="connsiteX15" fmla="*/ 29528 w 109428"/>
                <a:gd name="connsiteY15" fmla="*/ 3810 h 110490"/>
                <a:gd name="connsiteX16" fmla="*/ 21908 w 109428"/>
                <a:gd name="connsiteY16" fmla="*/ 0 h 110490"/>
                <a:gd name="connsiteX17" fmla="*/ 14288 w 109428"/>
                <a:gd name="connsiteY17" fmla="*/ 3810 h 110490"/>
                <a:gd name="connsiteX18" fmla="*/ 5715 w 109428"/>
                <a:gd name="connsiteY18" fmla="*/ 12383 h 110490"/>
                <a:gd name="connsiteX19" fmla="*/ 0 w 109428"/>
                <a:gd name="connsiteY19" fmla="*/ 22860 h 110490"/>
                <a:gd name="connsiteX20" fmla="*/ 2858 w 109428"/>
                <a:gd name="connsiteY20" fmla="*/ 41910 h 110490"/>
                <a:gd name="connsiteX21" fmla="*/ 21908 w 109428"/>
                <a:gd name="connsiteY21" fmla="*/ 73343 h 110490"/>
                <a:gd name="connsiteX22" fmla="*/ 60960 w 109428"/>
                <a:gd name="connsiteY22" fmla="*/ 103823 h 110490"/>
                <a:gd name="connsiteX23" fmla="*/ 82868 w 109428"/>
                <a:gd name="connsiteY23" fmla="*/ 110490 h 110490"/>
                <a:gd name="connsiteX24" fmla="*/ 84773 w 109428"/>
                <a:gd name="connsiteY24" fmla="*/ 110490 h 110490"/>
                <a:gd name="connsiteX25" fmla="*/ 99060 w 109428"/>
                <a:gd name="connsiteY25" fmla="*/ 104775 h 110490"/>
                <a:gd name="connsiteX26" fmla="*/ 99060 w 109428"/>
                <a:gd name="connsiteY26" fmla="*/ 104775 h 110490"/>
                <a:gd name="connsiteX27" fmla="*/ 103823 w 109428"/>
                <a:gd name="connsiteY27" fmla="*/ 100013 h 110490"/>
                <a:gd name="connsiteX28" fmla="*/ 106680 w 109428"/>
                <a:gd name="connsiteY28" fmla="*/ 97155 h 110490"/>
                <a:gd name="connsiteX29" fmla="*/ 105728 w 109428"/>
                <a:gd name="connsiteY29" fmla="*/ 80010 h 110490"/>
                <a:gd name="connsiteX30" fmla="*/ 101918 w 109428"/>
                <a:gd name="connsiteY30" fmla="*/ 92393 h 110490"/>
                <a:gd name="connsiteX31" fmla="*/ 99060 w 109428"/>
                <a:gd name="connsiteY31" fmla="*/ 95250 h 110490"/>
                <a:gd name="connsiteX32" fmla="*/ 94298 w 109428"/>
                <a:gd name="connsiteY32" fmla="*/ 100013 h 110490"/>
                <a:gd name="connsiteX33" fmla="*/ 84773 w 109428"/>
                <a:gd name="connsiteY33" fmla="*/ 103823 h 110490"/>
                <a:gd name="connsiteX34" fmla="*/ 83820 w 109428"/>
                <a:gd name="connsiteY34" fmla="*/ 103823 h 110490"/>
                <a:gd name="connsiteX35" fmla="*/ 63818 w 109428"/>
                <a:gd name="connsiteY35" fmla="*/ 98108 h 110490"/>
                <a:gd name="connsiteX36" fmla="*/ 26670 w 109428"/>
                <a:gd name="connsiteY36" fmla="*/ 69533 h 110490"/>
                <a:gd name="connsiteX37" fmla="*/ 8573 w 109428"/>
                <a:gd name="connsiteY37" fmla="*/ 40005 h 110490"/>
                <a:gd name="connsiteX38" fmla="*/ 5715 w 109428"/>
                <a:gd name="connsiteY38" fmla="*/ 23813 h 110490"/>
                <a:gd name="connsiteX39" fmla="*/ 9525 w 109428"/>
                <a:gd name="connsiteY39" fmla="*/ 16193 h 110490"/>
                <a:gd name="connsiteX40" fmla="*/ 18098 w 109428"/>
                <a:gd name="connsiteY40" fmla="*/ 7620 h 110490"/>
                <a:gd name="connsiteX41" fmla="*/ 21908 w 109428"/>
                <a:gd name="connsiteY41" fmla="*/ 5715 h 110490"/>
                <a:gd name="connsiteX42" fmla="*/ 25718 w 109428"/>
                <a:gd name="connsiteY42" fmla="*/ 7620 h 110490"/>
                <a:gd name="connsiteX43" fmla="*/ 30480 w 109428"/>
                <a:gd name="connsiteY43" fmla="*/ 12383 h 110490"/>
                <a:gd name="connsiteX44" fmla="*/ 32385 w 109428"/>
                <a:gd name="connsiteY44" fmla="*/ 15240 h 110490"/>
                <a:gd name="connsiteX45" fmla="*/ 39053 w 109428"/>
                <a:gd name="connsiteY45" fmla="*/ 21908 h 110490"/>
                <a:gd name="connsiteX46" fmla="*/ 40958 w 109428"/>
                <a:gd name="connsiteY46" fmla="*/ 25718 h 110490"/>
                <a:gd name="connsiteX47" fmla="*/ 39053 w 109428"/>
                <a:gd name="connsiteY47" fmla="*/ 29528 h 110490"/>
                <a:gd name="connsiteX48" fmla="*/ 38100 w 109428"/>
                <a:gd name="connsiteY48" fmla="*/ 32385 h 110490"/>
                <a:gd name="connsiteX49" fmla="*/ 31433 w 109428"/>
                <a:gd name="connsiteY49" fmla="*/ 38100 h 110490"/>
                <a:gd name="connsiteX50" fmla="*/ 31433 w 109428"/>
                <a:gd name="connsiteY50" fmla="*/ 38100 h 110490"/>
                <a:gd name="connsiteX51" fmla="*/ 30480 w 109428"/>
                <a:gd name="connsiteY51" fmla="*/ 42863 h 110490"/>
                <a:gd name="connsiteX52" fmla="*/ 30480 w 109428"/>
                <a:gd name="connsiteY52" fmla="*/ 42863 h 110490"/>
                <a:gd name="connsiteX53" fmla="*/ 38100 w 109428"/>
                <a:gd name="connsiteY53" fmla="*/ 56198 h 110490"/>
                <a:gd name="connsiteX54" fmla="*/ 60008 w 109428"/>
                <a:gd name="connsiteY54" fmla="*/ 76200 h 110490"/>
                <a:gd name="connsiteX55" fmla="*/ 62865 w 109428"/>
                <a:gd name="connsiteY55" fmla="*/ 78105 h 110490"/>
                <a:gd name="connsiteX56" fmla="*/ 65723 w 109428"/>
                <a:gd name="connsiteY56" fmla="*/ 79058 h 110490"/>
                <a:gd name="connsiteX57" fmla="*/ 65723 w 109428"/>
                <a:gd name="connsiteY57" fmla="*/ 79058 h 110490"/>
                <a:gd name="connsiteX58" fmla="*/ 67628 w 109428"/>
                <a:gd name="connsiteY58" fmla="*/ 80010 h 110490"/>
                <a:gd name="connsiteX59" fmla="*/ 71438 w 109428"/>
                <a:gd name="connsiteY59" fmla="*/ 78105 h 110490"/>
                <a:gd name="connsiteX60" fmla="*/ 80010 w 109428"/>
                <a:gd name="connsiteY60" fmla="*/ 69533 h 110490"/>
                <a:gd name="connsiteX61" fmla="*/ 83820 w 109428"/>
                <a:gd name="connsiteY61" fmla="*/ 67628 h 110490"/>
                <a:gd name="connsiteX62" fmla="*/ 87630 w 109428"/>
                <a:gd name="connsiteY62" fmla="*/ 69533 h 110490"/>
                <a:gd name="connsiteX63" fmla="*/ 100965 w 109428"/>
                <a:gd name="connsiteY63" fmla="*/ 82868 h 110490"/>
                <a:gd name="connsiteX64" fmla="*/ 101918 w 109428"/>
                <a:gd name="connsiteY64" fmla="*/ 92393 h 110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109428" h="110489">
                  <a:moveTo>
                    <a:pt x="105728" y="80010"/>
                  </a:moveTo>
                  <a:lnTo>
                    <a:pt x="92393" y="65723"/>
                  </a:lnTo>
                  <a:cubicBezTo>
                    <a:pt x="89535" y="63818"/>
                    <a:pt x="87630" y="62865"/>
                    <a:pt x="83820" y="62865"/>
                  </a:cubicBezTo>
                  <a:cubicBezTo>
                    <a:pt x="80963" y="62865"/>
                    <a:pt x="78105" y="63818"/>
                    <a:pt x="76200" y="65723"/>
                  </a:cubicBezTo>
                  <a:lnTo>
                    <a:pt x="67628" y="74295"/>
                  </a:lnTo>
                  <a:cubicBezTo>
                    <a:pt x="67628" y="73343"/>
                    <a:pt x="66675" y="73343"/>
                    <a:pt x="65723" y="73343"/>
                  </a:cubicBezTo>
                  <a:cubicBezTo>
                    <a:pt x="64770" y="73343"/>
                    <a:pt x="63818" y="72390"/>
                    <a:pt x="62865" y="72390"/>
                  </a:cubicBezTo>
                  <a:cubicBezTo>
                    <a:pt x="56198" y="66675"/>
                    <a:pt x="48578" y="60960"/>
                    <a:pt x="42863" y="53340"/>
                  </a:cubicBezTo>
                  <a:cubicBezTo>
                    <a:pt x="39053" y="48578"/>
                    <a:pt x="37148" y="45720"/>
                    <a:pt x="35243" y="41910"/>
                  </a:cubicBezTo>
                  <a:cubicBezTo>
                    <a:pt x="38100" y="40005"/>
                    <a:pt x="40005" y="38100"/>
                    <a:pt x="41910" y="36195"/>
                  </a:cubicBezTo>
                  <a:cubicBezTo>
                    <a:pt x="42863" y="35243"/>
                    <a:pt x="42863" y="35243"/>
                    <a:pt x="43815" y="34290"/>
                  </a:cubicBezTo>
                  <a:cubicBezTo>
                    <a:pt x="46673" y="31433"/>
                    <a:pt x="47625" y="28575"/>
                    <a:pt x="47625" y="25718"/>
                  </a:cubicBezTo>
                  <a:cubicBezTo>
                    <a:pt x="47625" y="22860"/>
                    <a:pt x="46673" y="20003"/>
                    <a:pt x="43815" y="17145"/>
                  </a:cubicBezTo>
                  <a:lnTo>
                    <a:pt x="37148" y="10478"/>
                  </a:lnTo>
                  <a:cubicBezTo>
                    <a:pt x="36195" y="9525"/>
                    <a:pt x="35243" y="8573"/>
                    <a:pt x="34290" y="8573"/>
                  </a:cubicBezTo>
                  <a:cubicBezTo>
                    <a:pt x="33338" y="6668"/>
                    <a:pt x="31433" y="4763"/>
                    <a:pt x="29528" y="3810"/>
                  </a:cubicBezTo>
                  <a:cubicBezTo>
                    <a:pt x="27623" y="953"/>
                    <a:pt x="24765" y="0"/>
                    <a:pt x="21908" y="0"/>
                  </a:cubicBezTo>
                  <a:cubicBezTo>
                    <a:pt x="19050" y="0"/>
                    <a:pt x="16193" y="953"/>
                    <a:pt x="14288" y="3810"/>
                  </a:cubicBezTo>
                  <a:lnTo>
                    <a:pt x="5715" y="12383"/>
                  </a:lnTo>
                  <a:cubicBezTo>
                    <a:pt x="1905" y="15240"/>
                    <a:pt x="0" y="19050"/>
                    <a:pt x="0" y="22860"/>
                  </a:cubicBezTo>
                  <a:cubicBezTo>
                    <a:pt x="0" y="28575"/>
                    <a:pt x="953" y="34290"/>
                    <a:pt x="2858" y="41910"/>
                  </a:cubicBezTo>
                  <a:cubicBezTo>
                    <a:pt x="6668" y="52388"/>
                    <a:pt x="13335" y="62865"/>
                    <a:pt x="21908" y="73343"/>
                  </a:cubicBezTo>
                  <a:cubicBezTo>
                    <a:pt x="32385" y="86678"/>
                    <a:pt x="45720" y="96203"/>
                    <a:pt x="60960" y="103823"/>
                  </a:cubicBezTo>
                  <a:cubicBezTo>
                    <a:pt x="66675" y="106680"/>
                    <a:pt x="74295" y="109538"/>
                    <a:pt x="82868" y="110490"/>
                  </a:cubicBezTo>
                  <a:cubicBezTo>
                    <a:pt x="83820" y="110490"/>
                    <a:pt x="83820" y="110490"/>
                    <a:pt x="84773" y="110490"/>
                  </a:cubicBezTo>
                  <a:cubicBezTo>
                    <a:pt x="90488" y="110490"/>
                    <a:pt x="95250" y="108585"/>
                    <a:pt x="99060" y="104775"/>
                  </a:cubicBezTo>
                  <a:cubicBezTo>
                    <a:pt x="99060" y="104775"/>
                    <a:pt x="99060" y="104775"/>
                    <a:pt x="99060" y="104775"/>
                  </a:cubicBezTo>
                  <a:cubicBezTo>
                    <a:pt x="100013" y="102870"/>
                    <a:pt x="101918" y="101918"/>
                    <a:pt x="103823" y="100013"/>
                  </a:cubicBezTo>
                  <a:cubicBezTo>
                    <a:pt x="104775" y="99060"/>
                    <a:pt x="105728" y="98108"/>
                    <a:pt x="106680" y="97155"/>
                  </a:cubicBezTo>
                  <a:cubicBezTo>
                    <a:pt x="110490" y="91440"/>
                    <a:pt x="110490" y="84773"/>
                    <a:pt x="105728" y="80010"/>
                  </a:cubicBezTo>
                  <a:close/>
                  <a:moveTo>
                    <a:pt x="101918" y="92393"/>
                  </a:moveTo>
                  <a:cubicBezTo>
                    <a:pt x="100965" y="93345"/>
                    <a:pt x="100013" y="94298"/>
                    <a:pt x="99060" y="95250"/>
                  </a:cubicBezTo>
                  <a:cubicBezTo>
                    <a:pt x="97155" y="97155"/>
                    <a:pt x="96203" y="98108"/>
                    <a:pt x="94298" y="100013"/>
                  </a:cubicBezTo>
                  <a:cubicBezTo>
                    <a:pt x="91440" y="102870"/>
                    <a:pt x="88583" y="103823"/>
                    <a:pt x="84773" y="103823"/>
                  </a:cubicBezTo>
                  <a:cubicBezTo>
                    <a:pt x="84773" y="103823"/>
                    <a:pt x="83820" y="103823"/>
                    <a:pt x="83820" y="103823"/>
                  </a:cubicBezTo>
                  <a:cubicBezTo>
                    <a:pt x="76200" y="102870"/>
                    <a:pt x="69533" y="100013"/>
                    <a:pt x="63818" y="98108"/>
                  </a:cubicBezTo>
                  <a:cubicBezTo>
                    <a:pt x="49530" y="91440"/>
                    <a:pt x="37148" y="81915"/>
                    <a:pt x="26670" y="69533"/>
                  </a:cubicBezTo>
                  <a:cubicBezTo>
                    <a:pt x="18098" y="59055"/>
                    <a:pt x="12383" y="49530"/>
                    <a:pt x="8573" y="40005"/>
                  </a:cubicBezTo>
                  <a:cubicBezTo>
                    <a:pt x="5715" y="33338"/>
                    <a:pt x="5715" y="28575"/>
                    <a:pt x="5715" y="23813"/>
                  </a:cubicBezTo>
                  <a:cubicBezTo>
                    <a:pt x="5715" y="20955"/>
                    <a:pt x="7620" y="18098"/>
                    <a:pt x="9525" y="16193"/>
                  </a:cubicBezTo>
                  <a:lnTo>
                    <a:pt x="18098" y="7620"/>
                  </a:lnTo>
                  <a:cubicBezTo>
                    <a:pt x="19050" y="6668"/>
                    <a:pt x="20955" y="5715"/>
                    <a:pt x="21908" y="5715"/>
                  </a:cubicBezTo>
                  <a:cubicBezTo>
                    <a:pt x="22860" y="5715"/>
                    <a:pt x="24765" y="6668"/>
                    <a:pt x="25718" y="7620"/>
                  </a:cubicBezTo>
                  <a:cubicBezTo>
                    <a:pt x="27623" y="8573"/>
                    <a:pt x="28575" y="10478"/>
                    <a:pt x="30480" y="12383"/>
                  </a:cubicBezTo>
                  <a:cubicBezTo>
                    <a:pt x="31433" y="13335"/>
                    <a:pt x="32385" y="14288"/>
                    <a:pt x="32385" y="15240"/>
                  </a:cubicBezTo>
                  <a:lnTo>
                    <a:pt x="39053" y="21908"/>
                  </a:lnTo>
                  <a:cubicBezTo>
                    <a:pt x="40005" y="22860"/>
                    <a:pt x="40958" y="24765"/>
                    <a:pt x="40958" y="25718"/>
                  </a:cubicBezTo>
                  <a:cubicBezTo>
                    <a:pt x="40958" y="26670"/>
                    <a:pt x="40005" y="28575"/>
                    <a:pt x="39053" y="29528"/>
                  </a:cubicBezTo>
                  <a:cubicBezTo>
                    <a:pt x="39053" y="30480"/>
                    <a:pt x="38100" y="31433"/>
                    <a:pt x="38100" y="32385"/>
                  </a:cubicBezTo>
                  <a:cubicBezTo>
                    <a:pt x="35243" y="34290"/>
                    <a:pt x="33338" y="36195"/>
                    <a:pt x="31433" y="38100"/>
                  </a:cubicBezTo>
                  <a:cubicBezTo>
                    <a:pt x="31433" y="38100"/>
                    <a:pt x="31433" y="38100"/>
                    <a:pt x="31433" y="38100"/>
                  </a:cubicBezTo>
                  <a:cubicBezTo>
                    <a:pt x="29528" y="40005"/>
                    <a:pt x="29528" y="41910"/>
                    <a:pt x="30480" y="42863"/>
                  </a:cubicBezTo>
                  <a:cubicBezTo>
                    <a:pt x="30480" y="42863"/>
                    <a:pt x="30480" y="42863"/>
                    <a:pt x="30480" y="42863"/>
                  </a:cubicBezTo>
                  <a:cubicBezTo>
                    <a:pt x="32385" y="47625"/>
                    <a:pt x="34290" y="51435"/>
                    <a:pt x="38100" y="56198"/>
                  </a:cubicBezTo>
                  <a:cubicBezTo>
                    <a:pt x="44768" y="64770"/>
                    <a:pt x="52388" y="71438"/>
                    <a:pt x="60008" y="76200"/>
                  </a:cubicBezTo>
                  <a:cubicBezTo>
                    <a:pt x="60960" y="77153"/>
                    <a:pt x="61913" y="77153"/>
                    <a:pt x="62865" y="78105"/>
                  </a:cubicBezTo>
                  <a:cubicBezTo>
                    <a:pt x="63818" y="78105"/>
                    <a:pt x="64770" y="79058"/>
                    <a:pt x="65723" y="79058"/>
                  </a:cubicBezTo>
                  <a:cubicBezTo>
                    <a:pt x="65723" y="79058"/>
                    <a:pt x="65723" y="79058"/>
                    <a:pt x="65723" y="79058"/>
                  </a:cubicBezTo>
                  <a:cubicBezTo>
                    <a:pt x="66675" y="79058"/>
                    <a:pt x="67628" y="80010"/>
                    <a:pt x="67628" y="80010"/>
                  </a:cubicBezTo>
                  <a:cubicBezTo>
                    <a:pt x="69533" y="80010"/>
                    <a:pt x="70485" y="79058"/>
                    <a:pt x="71438" y="78105"/>
                  </a:cubicBezTo>
                  <a:lnTo>
                    <a:pt x="80010" y="69533"/>
                  </a:lnTo>
                  <a:cubicBezTo>
                    <a:pt x="80963" y="68580"/>
                    <a:pt x="82868" y="67628"/>
                    <a:pt x="83820" y="67628"/>
                  </a:cubicBezTo>
                  <a:cubicBezTo>
                    <a:pt x="85725" y="67628"/>
                    <a:pt x="86678" y="68580"/>
                    <a:pt x="87630" y="69533"/>
                  </a:cubicBezTo>
                  <a:lnTo>
                    <a:pt x="100965" y="82868"/>
                  </a:lnTo>
                  <a:cubicBezTo>
                    <a:pt x="104775" y="86678"/>
                    <a:pt x="104775" y="89535"/>
                    <a:pt x="101918" y="92393"/>
                  </a:cubicBezTo>
                  <a:close/>
                </a:path>
              </a:pathLst>
            </a:custGeom>
            <a:solidFill>
              <a:srgbClr val="3A5C7D"/>
            </a:solidFill>
            <a:ln w="9525" cap="flat">
              <a:noFill/>
              <a:prstDash val="solid"/>
              <a:miter/>
            </a:ln>
          </p:spPr>
          <p:txBody>
            <a:bodyPr rtlCol="0" anchor="ctr"/>
            <a:lstStyle/>
            <a:p>
              <a:endParaRPr lang="de-DE"/>
            </a:p>
          </p:txBody>
        </p:sp>
      </p:grpSp>
      <p:sp>
        <p:nvSpPr>
          <p:cNvPr id="2" name="Titel 1">
            <a:extLst>
              <a:ext uri="{FF2B5EF4-FFF2-40B4-BE49-F238E27FC236}">
                <a16:creationId xmlns:a16="http://schemas.microsoft.com/office/drawing/2014/main" id="{0526DC72-FA1D-422D-8055-3374742D122B}"/>
              </a:ext>
            </a:extLst>
          </p:cNvPr>
          <p:cNvSpPr>
            <a:spLocks noGrp="1"/>
          </p:cNvSpPr>
          <p:nvPr>
            <p:ph type="title"/>
          </p:nvPr>
        </p:nvSpPr>
        <p:spPr/>
        <p:txBody>
          <a:bodyPr/>
          <a:lstStyle>
            <a:lvl1pPr>
              <a:lnSpc>
                <a:spcPct val="100000"/>
              </a:lnSpc>
              <a:defRPr/>
            </a:lvl1pPr>
          </a:lstStyle>
          <a:p>
            <a:r>
              <a:rPr lang="de-DE"/>
              <a:t>Mastertitelformat bearbeiten</a:t>
            </a:r>
          </a:p>
        </p:txBody>
      </p:sp>
      <p:sp>
        <p:nvSpPr>
          <p:cNvPr id="3" name="Foliennummernplatzhalter 2">
            <a:extLst>
              <a:ext uri="{FF2B5EF4-FFF2-40B4-BE49-F238E27FC236}">
                <a16:creationId xmlns:a16="http://schemas.microsoft.com/office/drawing/2014/main" id="{5B327254-466C-4606-8589-BCC72CBDADDF}"/>
              </a:ext>
            </a:extLst>
          </p:cNvPr>
          <p:cNvSpPr>
            <a:spLocks noGrp="1"/>
          </p:cNvSpPr>
          <p:nvPr>
            <p:ph type="sldNum" sz="quarter" idx="10"/>
          </p:nvPr>
        </p:nvSpPr>
        <p:spPr/>
        <p:txBody>
          <a:bodyPr/>
          <a:lstStyle/>
          <a:p>
            <a:fld id="{A04BEB4F-8CE1-4F18-986F-6CE0A0BE9470}" type="slidenum">
              <a:rPr lang="de-DE" smtClean="0"/>
              <a:t>‹#›</a:t>
            </a:fld>
            <a:endParaRPr lang="de-DE"/>
          </a:p>
        </p:txBody>
      </p:sp>
      <p:sp>
        <p:nvSpPr>
          <p:cNvPr id="244" name="Bildplatzhalter 243">
            <a:extLst>
              <a:ext uri="{FF2B5EF4-FFF2-40B4-BE49-F238E27FC236}">
                <a16:creationId xmlns:a16="http://schemas.microsoft.com/office/drawing/2014/main" id="{BEFA9F10-608F-4384-8CB7-67B15BA77E30}"/>
              </a:ext>
            </a:extLst>
          </p:cNvPr>
          <p:cNvSpPr>
            <a:spLocks noGrp="1"/>
          </p:cNvSpPr>
          <p:nvPr>
            <p:ph type="pic" sz="quarter" idx="11" hasCustomPrompt="1"/>
          </p:nvPr>
        </p:nvSpPr>
        <p:spPr>
          <a:xfrm>
            <a:off x="815952" y="1979612"/>
            <a:ext cx="3677602" cy="3677602"/>
          </a:xfrm>
          <a:custGeom>
            <a:avLst/>
            <a:gdLst>
              <a:gd name="connsiteX0" fmla="*/ 161297 w 3677602"/>
              <a:gd name="connsiteY0" fmla="*/ 0 h 3677602"/>
              <a:gd name="connsiteX1" fmla="*/ 3677602 w 3677602"/>
              <a:gd name="connsiteY1" fmla="*/ 0 h 3677602"/>
              <a:gd name="connsiteX2" fmla="*/ 3677602 w 3677602"/>
              <a:gd name="connsiteY2" fmla="*/ 1627609 h 3677602"/>
              <a:gd name="connsiteX3" fmla="*/ 3677602 w 3677602"/>
              <a:gd name="connsiteY3" fmla="*/ 1851070 h 3677602"/>
              <a:gd name="connsiteX4" fmla="*/ 3677602 w 3677602"/>
              <a:gd name="connsiteY4" fmla="*/ 3487700 h 3677602"/>
              <a:gd name="connsiteX5" fmla="*/ 3676079 w 3677602"/>
              <a:gd name="connsiteY5" fmla="*/ 3504386 h 3677602"/>
              <a:gd name="connsiteX6" fmla="*/ 3506882 w 3677602"/>
              <a:gd name="connsiteY6" fmla="*/ 3674433 h 3677602"/>
              <a:gd name="connsiteX7" fmla="*/ 3475439 w 3677602"/>
              <a:gd name="connsiteY7" fmla="*/ 3677602 h 3677602"/>
              <a:gd name="connsiteX8" fmla="*/ 0 w 3677602"/>
              <a:gd name="connsiteY8" fmla="*/ 3677602 h 3677602"/>
              <a:gd name="connsiteX9" fmla="*/ 0 w 3677602"/>
              <a:gd name="connsiteY9" fmla="*/ 1851070 h 3677602"/>
              <a:gd name="connsiteX10" fmla="*/ 0 w 3677602"/>
              <a:gd name="connsiteY10" fmla="*/ 1627609 h 3677602"/>
              <a:gd name="connsiteX11" fmla="*/ 0 w 3677602"/>
              <a:gd name="connsiteY11" fmla="*/ 166948 h 3677602"/>
              <a:gd name="connsiteX12" fmla="*/ 23 w 3677602"/>
              <a:gd name="connsiteY12" fmla="*/ 166723 h 3677602"/>
              <a:gd name="connsiteX13" fmla="*/ 128514 w 3677602"/>
              <a:gd name="connsiteY13" fmla="*/ 10240 h 3677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77601" h="3677601">
                <a:moveTo>
                  <a:pt x="161297" y="0"/>
                </a:moveTo>
                <a:lnTo>
                  <a:pt x="3677602" y="0"/>
                </a:lnTo>
                <a:lnTo>
                  <a:pt x="3677602" y="1627609"/>
                </a:lnTo>
                <a:lnTo>
                  <a:pt x="3677602" y="1851070"/>
                </a:lnTo>
                <a:lnTo>
                  <a:pt x="3677602" y="3487700"/>
                </a:lnTo>
                <a:lnTo>
                  <a:pt x="3676079" y="3504386"/>
                </a:lnTo>
                <a:cubicBezTo>
                  <a:pt x="3659344" y="3589744"/>
                  <a:pt x="3592225" y="3656968"/>
                  <a:pt x="3506882" y="3674433"/>
                </a:cubicBezTo>
                <a:lnTo>
                  <a:pt x="3475439" y="3677602"/>
                </a:lnTo>
                <a:lnTo>
                  <a:pt x="0" y="3677602"/>
                </a:lnTo>
                <a:lnTo>
                  <a:pt x="0" y="1851070"/>
                </a:lnTo>
                <a:lnTo>
                  <a:pt x="0" y="1627609"/>
                </a:lnTo>
                <a:lnTo>
                  <a:pt x="0" y="166948"/>
                </a:lnTo>
                <a:lnTo>
                  <a:pt x="23" y="166723"/>
                </a:lnTo>
                <a:cubicBezTo>
                  <a:pt x="14564" y="96199"/>
                  <a:pt x="63599" y="37834"/>
                  <a:pt x="128514" y="10240"/>
                </a:cubicBezTo>
                <a:close/>
              </a:path>
            </a:pathLst>
          </a:custGeom>
          <a:effectLst>
            <a:outerShdw blurRad="190500" dist="127000" algn="ctr" rotWithShape="0">
              <a:prstClr val="black">
                <a:alpha val="10000"/>
              </a:prstClr>
            </a:outerShdw>
          </a:effectLst>
        </p:spPr>
        <p:txBody>
          <a:bodyPr wrap="square">
            <a:noAutofit/>
          </a:bodyPr>
          <a:lstStyle>
            <a:lvl1pPr marL="0" marR="0" indent="0" algn="l" defTabSz="1644650" rtl="0" eaLnBrk="0" fontAlgn="base" latinLnBrk="0" hangingPunct="0">
              <a:lnSpc>
                <a:spcPct val="130000"/>
              </a:lnSpc>
              <a:spcBef>
                <a:spcPct val="0"/>
              </a:spcBef>
              <a:spcAft>
                <a:spcPts val="1200"/>
              </a:spcAft>
              <a:buClr>
                <a:srgbClr val="004C99"/>
              </a:buClr>
              <a:buSzPct val="120000"/>
              <a:buFontTx/>
              <a:buBlip>
                <a:blip r:embed="rId2"/>
              </a:buBlip>
              <a:defRPr/>
            </a:lvl1pPr>
            <a:lvl2pPr marL="344488" indent="0" algn="l">
              <a:buNone/>
              <a:defRPr/>
            </a:lvl2pPr>
            <a:lvl3pPr marL="990600" marR="0" indent="-285750" algn="l" defTabSz="1644650" rtl="0" eaLnBrk="0" fontAlgn="base" latinLnBrk="0" hangingPunct="0">
              <a:lnSpc>
                <a:spcPct val="130000"/>
              </a:lnSpc>
              <a:spcBef>
                <a:spcPct val="0"/>
              </a:spcBef>
              <a:spcAft>
                <a:spcPts val="1200"/>
              </a:spcAft>
              <a:buClr>
                <a:srgbClr val="004C99"/>
              </a:buClr>
              <a:buSzPct val="120000"/>
              <a:defRPr/>
            </a:lvl3pPr>
          </a:lstStyle>
          <a:p>
            <a:pPr marL="285750" marR="0" lvl="0" indent="-285750" algn="l" defTabSz="1644650" rtl="0" eaLnBrk="0" fontAlgn="base" latinLnBrk="0" hangingPunct="0">
              <a:lnSpc>
                <a:spcPct val="130000"/>
              </a:lnSpc>
              <a:spcBef>
                <a:spcPct val="0"/>
              </a:spcBef>
              <a:spcAft>
                <a:spcPts val="1200"/>
              </a:spcAft>
              <a:buClr>
                <a:srgbClr val="004C99"/>
              </a:buClr>
              <a:buSzPct val="120000"/>
              <a:defRPr/>
            </a:pPr>
            <a:r>
              <a:rPr lang="de-DE"/>
              <a:t>Please insert image</a:t>
            </a:r>
          </a:p>
        </p:txBody>
      </p:sp>
      <p:sp>
        <p:nvSpPr>
          <p:cNvPr id="19" name="Textplatzhalter 16">
            <a:extLst>
              <a:ext uri="{FF2B5EF4-FFF2-40B4-BE49-F238E27FC236}">
                <a16:creationId xmlns:a16="http://schemas.microsoft.com/office/drawing/2014/main" id="{93A96B82-B2E7-4ED9-BED8-958994003381}"/>
              </a:ext>
            </a:extLst>
          </p:cNvPr>
          <p:cNvSpPr>
            <a:spLocks noGrp="1"/>
          </p:cNvSpPr>
          <p:nvPr>
            <p:ph type="body" sz="quarter" idx="12" hasCustomPrompt="1"/>
          </p:nvPr>
        </p:nvSpPr>
        <p:spPr>
          <a:xfrm>
            <a:off x="4815065" y="1979612"/>
            <a:ext cx="6560982" cy="508000"/>
          </a:xfrm>
        </p:spPr>
        <p:txBody>
          <a:bodyPr/>
          <a:lstStyle>
            <a:lvl1pPr marL="0" indent="0">
              <a:buNone/>
              <a:defRPr b="0">
                <a:latin typeface="Roboto Medium" panose="02000000000000000000" pitchFamily="2" charset="0"/>
                <a:ea typeface="Roboto Medium" panose="02000000000000000000" pitchFamily="2" charset="0"/>
              </a:defRPr>
            </a:lvl1pPr>
          </a:lstStyle>
          <a:p>
            <a:pPr lvl="0"/>
            <a:r>
              <a:rPr lang="de-DE"/>
              <a:t>Enter name</a:t>
            </a:r>
          </a:p>
        </p:txBody>
      </p:sp>
      <p:sp>
        <p:nvSpPr>
          <p:cNvPr id="20" name="Textplatzhalter 16">
            <a:extLst>
              <a:ext uri="{FF2B5EF4-FFF2-40B4-BE49-F238E27FC236}">
                <a16:creationId xmlns:a16="http://schemas.microsoft.com/office/drawing/2014/main" id="{142F198E-1DB4-4E63-A2C7-0A4547AC0674}"/>
              </a:ext>
            </a:extLst>
          </p:cNvPr>
          <p:cNvSpPr>
            <a:spLocks noGrp="1"/>
          </p:cNvSpPr>
          <p:nvPr>
            <p:ph type="body" sz="quarter" idx="13" hasCustomPrompt="1"/>
          </p:nvPr>
        </p:nvSpPr>
        <p:spPr>
          <a:xfrm>
            <a:off x="4815065" y="2601912"/>
            <a:ext cx="6560982" cy="1250110"/>
          </a:xfrm>
        </p:spPr>
        <p:txBody>
          <a:bodyPr>
            <a:normAutofit/>
          </a:bodyPr>
          <a:lstStyle>
            <a:lvl1pPr marL="0" indent="0">
              <a:buNone/>
              <a:defRPr sz="1800" baseline="0">
                <a:solidFill>
                  <a:schemeClr val="tx1"/>
                </a:solidFill>
                <a:latin typeface="+mn-lt"/>
                <a:ea typeface="Roboto Medium" panose="02000000000000000000" pitchFamily="2" charset="0"/>
              </a:defRPr>
            </a:lvl1pPr>
          </a:lstStyle>
          <a:p>
            <a:pPr lvl="0"/>
            <a:r>
              <a:rPr lang="de-DE"/>
              <a:t>Enter job title and adress</a:t>
            </a:r>
          </a:p>
        </p:txBody>
      </p:sp>
      <p:sp>
        <p:nvSpPr>
          <p:cNvPr id="27" name="Textplatzhalter 16">
            <a:extLst>
              <a:ext uri="{FF2B5EF4-FFF2-40B4-BE49-F238E27FC236}">
                <a16:creationId xmlns:a16="http://schemas.microsoft.com/office/drawing/2014/main" id="{7014F03A-61A7-4B14-B49F-D025A3D18EC3}"/>
              </a:ext>
            </a:extLst>
          </p:cNvPr>
          <p:cNvSpPr>
            <a:spLocks noGrp="1"/>
          </p:cNvSpPr>
          <p:nvPr>
            <p:ph type="body" sz="quarter" idx="14" hasCustomPrompt="1"/>
          </p:nvPr>
        </p:nvSpPr>
        <p:spPr>
          <a:xfrm>
            <a:off x="5561269" y="4045011"/>
            <a:ext cx="5814777" cy="421976"/>
          </a:xfrm>
        </p:spPr>
        <p:txBody>
          <a:bodyPr anchor="ctr">
            <a:normAutofit/>
          </a:bodyPr>
          <a:lstStyle>
            <a:lvl1pPr marL="0" indent="0">
              <a:buNone/>
              <a:defRPr sz="1800">
                <a:solidFill>
                  <a:schemeClr val="tx1"/>
                </a:solidFill>
                <a:latin typeface="+mn-lt"/>
                <a:ea typeface="Roboto Medium" panose="02000000000000000000" pitchFamily="2" charset="0"/>
              </a:defRPr>
            </a:lvl1pPr>
          </a:lstStyle>
          <a:p>
            <a:pPr lvl="0"/>
            <a:r>
              <a:rPr lang="de-DE"/>
              <a:t>Enter phone</a:t>
            </a:r>
          </a:p>
        </p:txBody>
      </p:sp>
      <p:sp>
        <p:nvSpPr>
          <p:cNvPr id="28" name="Textplatzhalter 16">
            <a:extLst>
              <a:ext uri="{FF2B5EF4-FFF2-40B4-BE49-F238E27FC236}">
                <a16:creationId xmlns:a16="http://schemas.microsoft.com/office/drawing/2014/main" id="{903F4678-5805-4A88-8976-545B16AEBDEC}"/>
              </a:ext>
            </a:extLst>
          </p:cNvPr>
          <p:cNvSpPr>
            <a:spLocks noGrp="1"/>
          </p:cNvSpPr>
          <p:nvPr>
            <p:ph type="body" sz="quarter" idx="15" hasCustomPrompt="1"/>
          </p:nvPr>
        </p:nvSpPr>
        <p:spPr>
          <a:xfrm>
            <a:off x="5561270" y="4590192"/>
            <a:ext cx="5814776" cy="421976"/>
          </a:xfrm>
        </p:spPr>
        <p:txBody>
          <a:bodyPr anchor="ctr">
            <a:normAutofit/>
          </a:bodyPr>
          <a:lstStyle>
            <a:lvl1pPr marL="0" indent="0">
              <a:buNone/>
              <a:defRPr sz="1800">
                <a:solidFill>
                  <a:schemeClr val="tx1"/>
                </a:solidFill>
                <a:latin typeface="+mn-lt"/>
                <a:ea typeface="Roboto Medium" panose="02000000000000000000" pitchFamily="2" charset="0"/>
              </a:defRPr>
            </a:lvl1pPr>
          </a:lstStyle>
          <a:p>
            <a:pPr lvl="0"/>
            <a:r>
              <a:rPr lang="de-DE"/>
              <a:t>Enter email</a:t>
            </a:r>
          </a:p>
        </p:txBody>
      </p:sp>
    </p:spTree>
    <p:extLst>
      <p:ext uri="{BB962C8B-B14F-4D97-AF65-F5344CB8AC3E}">
        <p14:creationId xmlns:p14="http://schemas.microsoft.com/office/powerpoint/2010/main" val="1195344806"/>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8" dur="1000" decel="10000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0-#ppt_w/2"/>
                                          </p:val>
                                        </p:tav>
                                        <p:tav tm="100000">
                                          <p:val>
                                            <p:strVal val="#ppt_x"/>
                                          </p:val>
                                        </p:tav>
                                      </p:tavLst>
                                    </p:anim>
                                    <p:anim calcmode="lin" valueType="num">
                                      <p:cBhvr additive="base">
                                        <p:cTn id="8" dur="1000" fill="hold"/>
                                        <p:tgtEl>
                                          <p:spTgt spid="2"/>
                                        </p:tgtEl>
                                        <p:attrNameLst>
                                          <p:attrName>ppt_y</p:attrName>
                                        </p:attrNameLst>
                                      </p:cBhvr>
                                      <p:tavLst>
                                        <p:tav tm="0">
                                          <p:val>
                                            <p:strVal val="#ppt_y"/>
                                          </p:val>
                                        </p:tav>
                                        <p:tav tm="100000">
                                          <p:val>
                                            <p:strVal val="#ppt_y"/>
                                          </p:val>
                                        </p:tav>
                                      </p:tavLst>
                                    </p:anim>
                                  </p:childTnLst>
                                </p:cTn>
                              </p:par>
                              <p:par>
                                <p:cTn id="9" presetID="2" presetClass="entr" presetSubtype="2" dur="1000" decel="100000" fill="hold" grpId="0" nodeType="withEffect">
                                  <p:stCondLst>
                                    <p:cond delay="250"/>
                                  </p:stCondLst>
                                  <p:childTnLst>
                                    <p:set>
                                      <p:cBhvr>
                                        <p:cTn id="10" dur="1" fill="hold">
                                          <p:stCondLst>
                                            <p:cond delay="0"/>
                                          </p:stCondLst>
                                        </p:cTn>
                                        <p:tgtEl>
                                          <p:spTgt spid="19"/>
                                        </p:tgtEl>
                                        <p:attrNameLst>
                                          <p:attrName>style.visibility</p:attrName>
                                        </p:attrNameLst>
                                      </p:cBhvr>
                                      <p:to>
                                        <p:strVal val="visible"/>
                                      </p:to>
                                    </p:set>
                                    <p:anim calcmode="lin" valueType="num">
                                      <p:cBhvr additive="base">
                                        <p:cTn id="11" dur="1000" fill="hold"/>
                                        <p:tgtEl>
                                          <p:spTgt spid="19"/>
                                        </p:tgtEl>
                                        <p:attrNameLst>
                                          <p:attrName>ppt_x</p:attrName>
                                        </p:attrNameLst>
                                      </p:cBhvr>
                                      <p:tavLst>
                                        <p:tav tm="0">
                                          <p:val>
                                            <p:strVal val="1+#ppt_w/2"/>
                                          </p:val>
                                        </p:tav>
                                        <p:tav tm="100000">
                                          <p:val>
                                            <p:strVal val="#ppt_x"/>
                                          </p:val>
                                        </p:tav>
                                      </p:tavLst>
                                    </p:anim>
                                    <p:anim calcmode="lin" valueType="num">
                                      <p:cBhvr additive="base">
                                        <p:cTn id="12" dur="1000" fill="hold"/>
                                        <p:tgtEl>
                                          <p:spTgt spid="19"/>
                                        </p:tgtEl>
                                        <p:attrNameLst>
                                          <p:attrName>ppt_y</p:attrName>
                                        </p:attrNameLst>
                                      </p:cBhvr>
                                      <p:tavLst>
                                        <p:tav tm="0">
                                          <p:val>
                                            <p:strVal val="#ppt_y"/>
                                          </p:val>
                                        </p:tav>
                                        <p:tav tm="100000">
                                          <p:val>
                                            <p:strVal val="#ppt_y"/>
                                          </p:val>
                                        </p:tav>
                                      </p:tavLst>
                                    </p:anim>
                                  </p:childTnLst>
                                </p:cTn>
                              </p:par>
                              <p:par>
                                <p:cTn id="13" presetID="2" presetClass="entr" presetSubtype="2" dur="1000" decel="100000" fill="hold" grpId="0" nodeType="withEffect">
                                  <p:stCondLst>
                                    <p:cond delay="250"/>
                                  </p:stCondLst>
                                  <p:childTnLst>
                                    <p:set>
                                      <p:cBhvr>
                                        <p:cTn id="14" dur="1" fill="hold">
                                          <p:stCondLst>
                                            <p:cond delay="0"/>
                                          </p:stCondLst>
                                        </p:cTn>
                                        <p:tgtEl>
                                          <p:spTgt spid="20"/>
                                        </p:tgtEl>
                                        <p:attrNameLst>
                                          <p:attrName>style.visibility</p:attrName>
                                        </p:attrNameLst>
                                      </p:cBhvr>
                                      <p:to>
                                        <p:strVal val="visible"/>
                                      </p:to>
                                    </p:set>
                                    <p:anim calcmode="lin" valueType="num">
                                      <p:cBhvr additive="base">
                                        <p:cTn id="15" dur="1000" fill="hold"/>
                                        <p:tgtEl>
                                          <p:spTgt spid="20"/>
                                        </p:tgtEl>
                                        <p:attrNameLst>
                                          <p:attrName>ppt_x</p:attrName>
                                        </p:attrNameLst>
                                      </p:cBhvr>
                                      <p:tavLst>
                                        <p:tav tm="0">
                                          <p:val>
                                            <p:strVal val="1+#ppt_w/2"/>
                                          </p:val>
                                        </p:tav>
                                        <p:tav tm="100000">
                                          <p:val>
                                            <p:strVal val="#ppt_x"/>
                                          </p:val>
                                        </p:tav>
                                      </p:tavLst>
                                    </p:anim>
                                    <p:anim calcmode="lin" valueType="num">
                                      <p:cBhvr additive="base">
                                        <p:cTn id="16" dur="1000" fill="hold"/>
                                        <p:tgtEl>
                                          <p:spTgt spid="20"/>
                                        </p:tgtEl>
                                        <p:attrNameLst>
                                          <p:attrName>ppt_y</p:attrName>
                                        </p:attrNameLst>
                                      </p:cBhvr>
                                      <p:tavLst>
                                        <p:tav tm="0">
                                          <p:val>
                                            <p:strVal val="#ppt_y"/>
                                          </p:val>
                                        </p:tav>
                                        <p:tav tm="100000">
                                          <p:val>
                                            <p:strVal val="#ppt_y"/>
                                          </p:val>
                                        </p:tav>
                                      </p:tavLst>
                                    </p:anim>
                                  </p:childTnLst>
                                </p:cTn>
                              </p:par>
                              <p:par>
                                <p:cTn id="17" presetID="2" presetClass="entr" presetSubtype="2" dur="1000" decel="100000" fill="hold" nodeType="withEffect">
                                  <p:stCondLst>
                                    <p:cond delay="250"/>
                                  </p:stCondLst>
                                  <p:childTnLst>
                                    <p:set>
                                      <p:cBhvr>
                                        <p:cTn id="18" dur="1" fill="hold">
                                          <p:stCondLst>
                                            <p:cond delay="0"/>
                                          </p:stCondLst>
                                        </p:cTn>
                                        <p:tgtEl>
                                          <p:spTgt spid="36"/>
                                        </p:tgtEl>
                                        <p:attrNameLst>
                                          <p:attrName>style.visibility</p:attrName>
                                        </p:attrNameLst>
                                      </p:cBhvr>
                                      <p:to>
                                        <p:strVal val="visible"/>
                                      </p:to>
                                    </p:set>
                                    <p:anim calcmode="lin" valueType="num">
                                      <p:cBhvr additive="base">
                                        <p:cTn id="19" dur="1000" fill="hold"/>
                                        <p:tgtEl>
                                          <p:spTgt spid="36"/>
                                        </p:tgtEl>
                                        <p:attrNameLst>
                                          <p:attrName>ppt_x</p:attrName>
                                        </p:attrNameLst>
                                      </p:cBhvr>
                                      <p:tavLst>
                                        <p:tav tm="0">
                                          <p:val>
                                            <p:strVal val="1+#ppt_w/2"/>
                                          </p:val>
                                        </p:tav>
                                        <p:tav tm="100000">
                                          <p:val>
                                            <p:strVal val="#ppt_x"/>
                                          </p:val>
                                        </p:tav>
                                      </p:tavLst>
                                    </p:anim>
                                    <p:anim calcmode="lin" valueType="num">
                                      <p:cBhvr additive="base">
                                        <p:cTn id="20" dur="1000" fill="hold"/>
                                        <p:tgtEl>
                                          <p:spTgt spid="36"/>
                                        </p:tgtEl>
                                        <p:attrNameLst>
                                          <p:attrName>ppt_y</p:attrName>
                                        </p:attrNameLst>
                                      </p:cBhvr>
                                      <p:tavLst>
                                        <p:tav tm="0">
                                          <p:val>
                                            <p:strVal val="#ppt_y"/>
                                          </p:val>
                                        </p:tav>
                                        <p:tav tm="100000">
                                          <p:val>
                                            <p:strVal val="#ppt_y"/>
                                          </p:val>
                                        </p:tav>
                                      </p:tavLst>
                                    </p:anim>
                                  </p:childTnLst>
                                </p:cTn>
                              </p:par>
                              <p:par>
                                <p:cTn id="21" presetID="2" presetClass="entr" presetSubtype="2" dur="1000" decel="100000" fill="hold" nodeType="withEffect">
                                  <p:stCondLst>
                                    <p:cond delay="250"/>
                                  </p:stCondLst>
                                  <p:childTnLst>
                                    <p:set>
                                      <p:cBhvr>
                                        <p:cTn id="22" dur="1" fill="hold">
                                          <p:stCondLst>
                                            <p:cond delay="0"/>
                                          </p:stCondLst>
                                        </p:cTn>
                                        <p:tgtEl>
                                          <p:spTgt spid="39"/>
                                        </p:tgtEl>
                                        <p:attrNameLst>
                                          <p:attrName>style.visibility</p:attrName>
                                        </p:attrNameLst>
                                      </p:cBhvr>
                                      <p:to>
                                        <p:strVal val="visible"/>
                                      </p:to>
                                    </p:set>
                                    <p:anim calcmode="lin" valueType="num">
                                      <p:cBhvr additive="base">
                                        <p:cTn id="23" dur="1000" fill="hold"/>
                                        <p:tgtEl>
                                          <p:spTgt spid="39"/>
                                        </p:tgtEl>
                                        <p:attrNameLst>
                                          <p:attrName>ppt_x</p:attrName>
                                        </p:attrNameLst>
                                      </p:cBhvr>
                                      <p:tavLst>
                                        <p:tav tm="0">
                                          <p:val>
                                            <p:strVal val="1+#ppt_w/2"/>
                                          </p:val>
                                        </p:tav>
                                        <p:tav tm="100000">
                                          <p:val>
                                            <p:strVal val="#ppt_x"/>
                                          </p:val>
                                        </p:tav>
                                      </p:tavLst>
                                    </p:anim>
                                    <p:anim calcmode="lin" valueType="num">
                                      <p:cBhvr additive="base">
                                        <p:cTn id="24" dur="1000" fill="hold"/>
                                        <p:tgtEl>
                                          <p:spTgt spid="39"/>
                                        </p:tgtEl>
                                        <p:attrNameLst>
                                          <p:attrName>ppt_y</p:attrName>
                                        </p:attrNameLst>
                                      </p:cBhvr>
                                      <p:tavLst>
                                        <p:tav tm="0">
                                          <p:val>
                                            <p:strVal val="#ppt_y"/>
                                          </p:val>
                                        </p:tav>
                                        <p:tav tm="100000">
                                          <p:val>
                                            <p:strVal val="#ppt_y"/>
                                          </p:val>
                                        </p:tav>
                                      </p:tavLst>
                                    </p:anim>
                                  </p:childTnLst>
                                </p:cTn>
                              </p:par>
                              <p:par>
                                <p:cTn id="25" presetID="2" presetClass="entr" presetSubtype="2" dur="1000" decel="100000" fill="hold" grpId="0" nodeType="withEffect">
                                  <p:stCondLst>
                                    <p:cond delay="250"/>
                                  </p:stCondLst>
                                  <p:childTnLst>
                                    <p:set>
                                      <p:cBhvr>
                                        <p:cTn id="26" dur="1" fill="hold">
                                          <p:stCondLst>
                                            <p:cond delay="0"/>
                                          </p:stCondLst>
                                        </p:cTn>
                                        <p:tgtEl>
                                          <p:spTgt spid="27">
                                            <p:txEl>
                                              <p:pRg st="0" end="0"/>
                                            </p:txEl>
                                          </p:spTgt>
                                        </p:tgtEl>
                                        <p:attrNameLst>
                                          <p:attrName>style.visibility</p:attrName>
                                        </p:attrNameLst>
                                      </p:cBhvr>
                                      <p:to>
                                        <p:strVal val="visible"/>
                                      </p:to>
                                    </p:set>
                                    <p:anim calcmode="lin" valueType="num">
                                      <p:cBhvr additive="base">
                                        <p:cTn id="27" dur="1000" fill="hold"/>
                                        <p:tgtEl>
                                          <p:spTgt spid="27">
                                            <p:txEl>
                                              <p:pRg st="0" end="0"/>
                                            </p:txEl>
                                          </p:spTgt>
                                        </p:tgtEl>
                                        <p:attrNameLst>
                                          <p:attrName>ppt_x</p:attrName>
                                        </p:attrNameLst>
                                      </p:cBhvr>
                                      <p:tavLst>
                                        <p:tav tm="0">
                                          <p:val>
                                            <p:strVal val="1+#ppt_w/2"/>
                                          </p:val>
                                        </p:tav>
                                        <p:tav tm="100000">
                                          <p:val>
                                            <p:strVal val="#ppt_x"/>
                                          </p:val>
                                        </p:tav>
                                      </p:tavLst>
                                    </p:anim>
                                    <p:anim calcmode="lin" valueType="num">
                                      <p:cBhvr additive="base">
                                        <p:cTn id="28" dur="1000" fill="hold"/>
                                        <p:tgtEl>
                                          <p:spTgt spid="27">
                                            <p:txEl>
                                              <p:pRg st="0" end="0"/>
                                            </p:txEl>
                                          </p:spTgt>
                                        </p:tgtEl>
                                        <p:attrNameLst>
                                          <p:attrName>ppt_y</p:attrName>
                                        </p:attrNameLst>
                                      </p:cBhvr>
                                      <p:tavLst>
                                        <p:tav tm="0">
                                          <p:val>
                                            <p:strVal val="#ppt_y"/>
                                          </p:val>
                                        </p:tav>
                                        <p:tav tm="100000">
                                          <p:val>
                                            <p:strVal val="#ppt_y"/>
                                          </p:val>
                                        </p:tav>
                                      </p:tavLst>
                                    </p:anim>
                                  </p:childTnLst>
                                </p:cTn>
                              </p:par>
                              <p:par>
                                <p:cTn id="29" presetID="2" presetClass="entr" presetSubtype="2" dur="1000" decel="100000" fill="hold" grpId="0" nodeType="withEffect">
                                  <p:stCondLst>
                                    <p:cond delay="250"/>
                                  </p:stCondLst>
                                  <p:childTnLst>
                                    <p:set>
                                      <p:cBhvr>
                                        <p:cTn id="30" dur="1" fill="hold">
                                          <p:stCondLst>
                                            <p:cond delay="0"/>
                                          </p:stCondLst>
                                        </p:cTn>
                                        <p:tgtEl>
                                          <p:spTgt spid="28">
                                            <p:txEl>
                                              <p:pRg st="0" end="0"/>
                                            </p:txEl>
                                          </p:spTgt>
                                        </p:tgtEl>
                                        <p:attrNameLst>
                                          <p:attrName>style.visibility</p:attrName>
                                        </p:attrNameLst>
                                      </p:cBhvr>
                                      <p:to>
                                        <p:strVal val="visible"/>
                                      </p:to>
                                    </p:set>
                                    <p:anim calcmode="lin" valueType="num">
                                      <p:cBhvr additive="base">
                                        <p:cTn id="31" dur="1000" fill="hold"/>
                                        <p:tgtEl>
                                          <p:spTgt spid="28">
                                            <p:txEl>
                                              <p:pRg st="0" end="0"/>
                                            </p:txEl>
                                          </p:spTgt>
                                        </p:tgtEl>
                                        <p:attrNameLst>
                                          <p:attrName>ppt_x</p:attrName>
                                        </p:attrNameLst>
                                      </p:cBhvr>
                                      <p:tavLst>
                                        <p:tav tm="0">
                                          <p:val>
                                            <p:strVal val="1+#ppt_w/2"/>
                                          </p:val>
                                        </p:tav>
                                        <p:tav tm="100000">
                                          <p:val>
                                            <p:strVal val="#ppt_x"/>
                                          </p:val>
                                        </p:tav>
                                      </p:tavLst>
                                    </p:anim>
                                    <p:anim calcmode="lin" valueType="num">
                                      <p:cBhvr additive="base">
                                        <p:cTn id="32" dur="1000" fill="hold"/>
                                        <p:tgtEl>
                                          <p:spTgt spid="28">
                                            <p:txEl>
                                              <p:pRg st="0" end="0"/>
                                            </p:txEl>
                                          </p:spTgt>
                                        </p:tgtEl>
                                        <p:attrNameLst>
                                          <p:attrName>ppt_y</p:attrName>
                                        </p:attrNameLst>
                                      </p:cBhvr>
                                      <p:tavLst>
                                        <p:tav tm="0">
                                          <p:val>
                                            <p:strVal val="#ppt_y"/>
                                          </p:val>
                                        </p:tav>
                                        <p:tav tm="100000">
                                          <p:val>
                                            <p:strVal val="#ppt_y"/>
                                          </p:val>
                                        </p:tav>
                                      </p:tavLst>
                                    </p:anim>
                                  </p:childTnLst>
                                </p:cTn>
                              </p:par>
                              <p:par>
                                <p:cTn id="33" presetID="26" presetClass="emph" presetSubtype="0" dur="2000" repeatCount="indefinite" fill="hold" grpId="0" nodeType="withEffect">
                                  <p:stCondLst>
                                    <p:cond delay="0"/>
                                  </p:stCondLst>
                                  <p:childTnLst>
                                    <p:animEffect transition="out" filter="fade">
                                      <p:cBhvr>
                                        <p:cTn id="34" dur="2000" tmFilter="0, 0; .2, .5; .8, .5; 1, 0"/>
                                        <p:tgtEl>
                                          <p:spTgt spid="309"/>
                                        </p:tgtEl>
                                      </p:cBhvr>
                                    </p:animEffect>
                                    <p:animScale>
                                      <p:cBhvr>
                                        <p:cTn id="35" dur="1000" autoRev="1" fill="hold"/>
                                        <p:tgtEl>
                                          <p:spTgt spid="309"/>
                                        </p:tgtEl>
                                      </p:cBhvr>
                                      <p:by x="105000" y="105000"/>
                                    </p:animScale>
                                  </p:childTnLst>
                                </p:cTn>
                              </p:par>
                              <p:par>
                                <p:cTn id="36" presetID="26" presetClass="emph" presetSubtype="0" dur="2000" repeatCount="indefinite" fill="hold" grpId="0" nodeType="withEffect">
                                  <p:stCondLst>
                                    <p:cond delay="0"/>
                                  </p:stCondLst>
                                  <p:childTnLst>
                                    <p:animEffect transition="out" filter="fade">
                                      <p:cBhvr>
                                        <p:cTn id="37" dur="2000" tmFilter="0, 0; .2, .5; .8, .5; 1, 0"/>
                                        <p:tgtEl>
                                          <p:spTgt spid="310"/>
                                        </p:tgtEl>
                                      </p:cBhvr>
                                    </p:animEffect>
                                    <p:animScale>
                                      <p:cBhvr>
                                        <p:cTn id="38" dur="1000" autoRev="1" fill="hold"/>
                                        <p:tgtEl>
                                          <p:spTgt spid="310"/>
                                        </p:tgtEl>
                                      </p:cBhvr>
                                      <p:by x="105000" y="105000"/>
                                    </p:animScale>
                                  </p:childTnLst>
                                </p:cTn>
                              </p:par>
                              <p:par>
                                <p:cTn id="39" presetID="26" presetClass="emph" presetSubtype="0" dur="2000" repeatCount="indefinite" fill="hold" grpId="0" nodeType="withEffect">
                                  <p:stCondLst>
                                    <p:cond delay="0"/>
                                  </p:stCondLst>
                                  <p:childTnLst>
                                    <p:animEffect transition="out" filter="fade">
                                      <p:cBhvr>
                                        <p:cTn id="40" dur="2000" tmFilter="0, 0; .2, .5; .8, .5; 1, 0"/>
                                        <p:tgtEl>
                                          <p:spTgt spid="311"/>
                                        </p:tgtEl>
                                      </p:cBhvr>
                                    </p:animEffect>
                                    <p:animScale>
                                      <p:cBhvr>
                                        <p:cTn id="41" dur="1000" autoRev="1" fill="hold"/>
                                        <p:tgtEl>
                                          <p:spTgt spid="311"/>
                                        </p:tgtEl>
                                      </p:cBhvr>
                                      <p:by x="105000" y="105000"/>
                                    </p:animScale>
                                  </p:childTnLst>
                                </p:cTn>
                              </p:par>
                              <p:par>
                                <p:cTn id="42" presetID="26" presetClass="emph" presetSubtype="0" dur="2000" repeatCount="indefinite" fill="hold" grpId="0" nodeType="withEffect">
                                  <p:stCondLst>
                                    <p:cond delay="0"/>
                                  </p:stCondLst>
                                  <p:childTnLst>
                                    <p:animEffect transition="out" filter="fade">
                                      <p:cBhvr>
                                        <p:cTn id="43" dur="2000" tmFilter="0, 0; .2, .5; .8, .5; 1, 0"/>
                                        <p:tgtEl>
                                          <p:spTgt spid="312"/>
                                        </p:tgtEl>
                                      </p:cBhvr>
                                    </p:animEffect>
                                    <p:animScale>
                                      <p:cBhvr>
                                        <p:cTn id="44" dur="1000" autoRev="1" fill="hold"/>
                                        <p:tgtEl>
                                          <p:spTgt spid="312"/>
                                        </p:tgtEl>
                                      </p:cBhvr>
                                      <p:by x="105000" y="105000"/>
                                    </p:animScale>
                                  </p:childTnLst>
                                </p:cTn>
                              </p:par>
                              <p:par>
                                <p:cTn id="45" presetID="26" presetClass="emph" presetSubtype="0" dur="2000" repeatCount="indefinite" fill="hold" grpId="0" nodeType="withEffect">
                                  <p:stCondLst>
                                    <p:cond delay="0"/>
                                  </p:stCondLst>
                                  <p:childTnLst>
                                    <p:animEffect transition="out" filter="fade">
                                      <p:cBhvr>
                                        <p:cTn id="46" dur="2000" tmFilter="0, 0; .2, .5; .8, .5; 1, 0"/>
                                        <p:tgtEl>
                                          <p:spTgt spid="313"/>
                                        </p:tgtEl>
                                      </p:cBhvr>
                                    </p:animEffect>
                                    <p:animScale>
                                      <p:cBhvr>
                                        <p:cTn id="47" dur="1000" autoRev="1" fill="hold"/>
                                        <p:tgtEl>
                                          <p:spTgt spid="313"/>
                                        </p:tgtEl>
                                      </p:cBhvr>
                                      <p:by x="105000" y="105000"/>
                                    </p:animScale>
                                  </p:childTnLst>
                                </p:cTn>
                              </p:par>
                              <p:par>
                                <p:cTn id="48" presetID="26" presetClass="emph" presetSubtype="0" dur="2000" repeatCount="indefinite" fill="hold" grpId="0" nodeType="withEffect">
                                  <p:stCondLst>
                                    <p:cond delay="250"/>
                                  </p:stCondLst>
                                  <p:childTnLst>
                                    <p:animEffect transition="out" filter="fade">
                                      <p:cBhvr>
                                        <p:cTn id="49" dur="2000" tmFilter="0, 0; .2, .5; .8, .5; 1, 0"/>
                                        <p:tgtEl>
                                          <p:spTgt spid="314"/>
                                        </p:tgtEl>
                                      </p:cBhvr>
                                    </p:animEffect>
                                    <p:animScale>
                                      <p:cBhvr>
                                        <p:cTn id="50" dur="1000" autoRev="1" fill="hold"/>
                                        <p:tgtEl>
                                          <p:spTgt spid="314"/>
                                        </p:tgtEl>
                                      </p:cBhvr>
                                      <p:by x="105000" y="105000"/>
                                    </p:animScale>
                                  </p:childTnLst>
                                </p:cTn>
                              </p:par>
                              <p:par>
                                <p:cTn id="51" presetID="26" presetClass="emph" presetSubtype="0" dur="2000" repeatCount="indefinite" fill="hold" grpId="0" nodeType="withEffect">
                                  <p:stCondLst>
                                    <p:cond delay="250"/>
                                  </p:stCondLst>
                                  <p:childTnLst>
                                    <p:animEffect transition="out" filter="fade">
                                      <p:cBhvr>
                                        <p:cTn id="52" dur="2000" tmFilter="0, 0; .2, .5; .8, .5; 1, 0"/>
                                        <p:tgtEl>
                                          <p:spTgt spid="315"/>
                                        </p:tgtEl>
                                      </p:cBhvr>
                                    </p:animEffect>
                                    <p:animScale>
                                      <p:cBhvr>
                                        <p:cTn id="53" dur="1000" autoRev="1" fill="hold"/>
                                        <p:tgtEl>
                                          <p:spTgt spid="315"/>
                                        </p:tgtEl>
                                      </p:cBhvr>
                                      <p:by x="105000" y="105000"/>
                                    </p:animScale>
                                  </p:childTnLst>
                                </p:cTn>
                              </p:par>
                              <p:par>
                                <p:cTn id="54" presetID="26" presetClass="emph" presetSubtype="0" dur="2000" repeatCount="indefinite" fill="hold" grpId="0" nodeType="withEffect">
                                  <p:stCondLst>
                                    <p:cond delay="250"/>
                                  </p:stCondLst>
                                  <p:childTnLst>
                                    <p:animEffect transition="out" filter="fade">
                                      <p:cBhvr>
                                        <p:cTn id="55" dur="2000" tmFilter="0, 0; .2, .5; .8, .5; 1, 0"/>
                                        <p:tgtEl>
                                          <p:spTgt spid="316"/>
                                        </p:tgtEl>
                                      </p:cBhvr>
                                    </p:animEffect>
                                    <p:animScale>
                                      <p:cBhvr>
                                        <p:cTn id="56" dur="1000" autoRev="1" fill="hold"/>
                                        <p:tgtEl>
                                          <p:spTgt spid="316"/>
                                        </p:tgtEl>
                                      </p:cBhvr>
                                      <p:by x="105000" y="105000"/>
                                    </p:animScale>
                                  </p:childTnLst>
                                </p:cTn>
                              </p:par>
                              <p:par>
                                <p:cTn id="57" presetID="26" presetClass="emph" presetSubtype="0" dur="2000" repeatCount="indefinite" fill="hold" grpId="0" nodeType="withEffect">
                                  <p:stCondLst>
                                    <p:cond delay="250"/>
                                  </p:stCondLst>
                                  <p:childTnLst>
                                    <p:animEffect transition="out" filter="fade">
                                      <p:cBhvr>
                                        <p:cTn id="58" dur="2000" tmFilter="0, 0; .2, .5; .8, .5; 1, 0"/>
                                        <p:tgtEl>
                                          <p:spTgt spid="317"/>
                                        </p:tgtEl>
                                      </p:cBhvr>
                                    </p:animEffect>
                                    <p:animScale>
                                      <p:cBhvr>
                                        <p:cTn id="59" dur="1000" autoRev="1" fill="hold"/>
                                        <p:tgtEl>
                                          <p:spTgt spid="317"/>
                                        </p:tgtEl>
                                      </p:cBhvr>
                                      <p:by x="105000" y="105000"/>
                                    </p:animScale>
                                  </p:childTnLst>
                                </p:cTn>
                              </p:par>
                              <p:par>
                                <p:cTn id="60" presetID="26" presetClass="emph" presetSubtype="0" dur="2000" repeatCount="indefinite" fill="hold" grpId="0" nodeType="withEffect">
                                  <p:stCondLst>
                                    <p:cond delay="250"/>
                                  </p:stCondLst>
                                  <p:childTnLst>
                                    <p:animEffect transition="out" filter="fade">
                                      <p:cBhvr>
                                        <p:cTn id="61" dur="2000" tmFilter="0, 0; .2, .5; .8, .5; 1, 0"/>
                                        <p:tgtEl>
                                          <p:spTgt spid="318"/>
                                        </p:tgtEl>
                                      </p:cBhvr>
                                    </p:animEffect>
                                    <p:animScale>
                                      <p:cBhvr>
                                        <p:cTn id="62" dur="1000" autoRev="1" fill="hold"/>
                                        <p:tgtEl>
                                          <p:spTgt spid="318"/>
                                        </p:tgtEl>
                                      </p:cBhvr>
                                      <p:by x="105000" y="105000"/>
                                    </p:animScale>
                                  </p:childTnLst>
                                </p:cTn>
                              </p:par>
                              <p:par>
                                <p:cTn id="63" presetID="26" presetClass="emph" presetSubtype="0" dur="2000" repeatCount="indefinite" fill="hold" grpId="0" nodeType="withEffect">
                                  <p:stCondLst>
                                    <p:cond delay="250"/>
                                  </p:stCondLst>
                                  <p:childTnLst>
                                    <p:animEffect transition="out" filter="fade">
                                      <p:cBhvr>
                                        <p:cTn id="64" dur="2000" tmFilter="0, 0; .2, .5; .8, .5; 1, 0"/>
                                        <p:tgtEl>
                                          <p:spTgt spid="319"/>
                                        </p:tgtEl>
                                      </p:cBhvr>
                                    </p:animEffect>
                                    <p:animScale>
                                      <p:cBhvr>
                                        <p:cTn id="65" dur="1000" autoRev="1" fill="hold"/>
                                        <p:tgtEl>
                                          <p:spTgt spid="319"/>
                                        </p:tgtEl>
                                      </p:cBhvr>
                                      <p:by x="105000" y="105000"/>
                                    </p:animScale>
                                  </p:childTnLst>
                                </p:cTn>
                              </p:par>
                              <p:par>
                                <p:cTn id="66" presetID="26" presetClass="emph" presetSubtype="0" dur="2000" repeatCount="indefinite" fill="hold" grpId="0" nodeType="withEffect">
                                  <p:stCondLst>
                                    <p:cond delay="250"/>
                                  </p:stCondLst>
                                  <p:childTnLst>
                                    <p:animEffect transition="out" filter="fade">
                                      <p:cBhvr>
                                        <p:cTn id="67" dur="2000" tmFilter="0, 0; .2, .5; .8, .5; 1, 0"/>
                                        <p:tgtEl>
                                          <p:spTgt spid="320"/>
                                        </p:tgtEl>
                                      </p:cBhvr>
                                    </p:animEffect>
                                    <p:animScale>
                                      <p:cBhvr>
                                        <p:cTn id="68" dur="1000" autoRev="1" fill="hold"/>
                                        <p:tgtEl>
                                          <p:spTgt spid="320"/>
                                        </p:tgtEl>
                                      </p:cBhvr>
                                      <p:by x="105000" y="105000"/>
                                    </p:animScale>
                                  </p:childTnLst>
                                </p:cTn>
                              </p:par>
                              <p:par>
                                <p:cTn id="69" presetID="26" presetClass="emph" presetSubtype="0" dur="2000" repeatCount="indefinite" fill="hold" grpId="0" nodeType="withEffect">
                                  <p:stCondLst>
                                    <p:cond delay="500"/>
                                  </p:stCondLst>
                                  <p:childTnLst>
                                    <p:animEffect transition="out" filter="fade">
                                      <p:cBhvr>
                                        <p:cTn id="70" dur="2000" tmFilter="0, 0; .2, .5; .8, .5; 1, 0"/>
                                        <p:tgtEl>
                                          <p:spTgt spid="321"/>
                                        </p:tgtEl>
                                      </p:cBhvr>
                                    </p:animEffect>
                                    <p:animScale>
                                      <p:cBhvr>
                                        <p:cTn id="71" dur="1000" autoRev="1" fill="hold"/>
                                        <p:tgtEl>
                                          <p:spTgt spid="321"/>
                                        </p:tgtEl>
                                      </p:cBhvr>
                                      <p:by x="105000" y="105000"/>
                                    </p:animScale>
                                  </p:childTnLst>
                                </p:cTn>
                              </p:par>
                              <p:par>
                                <p:cTn id="72" presetID="26" presetClass="emph" presetSubtype="0" dur="2000" repeatCount="indefinite" fill="hold" grpId="0" nodeType="withEffect">
                                  <p:stCondLst>
                                    <p:cond delay="500"/>
                                  </p:stCondLst>
                                  <p:childTnLst>
                                    <p:animEffect transition="out" filter="fade">
                                      <p:cBhvr>
                                        <p:cTn id="73" dur="2000" tmFilter="0, 0; .2, .5; .8, .5; 1, 0"/>
                                        <p:tgtEl>
                                          <p:spTgt spid="322"/>
                                        </p:tgtEl>
                                      </p:cBhvr>
                                    </p:animEffect>
                                    <p:animScale>
                                      <p:cBhvr>
                                        <p:cTn id="74" dur="1000" autoRev="1" fill="hold"/>
                                        <p:tgtEl>
                                          <p:spTgt spid="322"/>
                                        </p:tgtEl>
                                      </p:cBhvr>
                                      <p:by x="105000" y="105000"/>
                                    </p:animScale>
                                  </p:childTnLst>
                                </p:cTn>
                              </p:par>
                              <p:par>
                                <p:cTn id="75" presetID="26" presetClass="emph" presetSubtype="0" dur="2000" repeatCount="indefinite" fill="hold" grpId="0" nodeType="withEffect">
                                  <p:stCondLst>
                                    <p:cond delay="500"/>
                                  </p:stCondLst>
                                  <p:childTnLst>
                                    <p:animEffect transition="out" filter="fade">
                                      <p:cBhvr>
                                        <p:cTn id="76" dur="2000" tmFilter="0, 0; .2, .5; .8, .5; 1, 0"/>
                                        <p:tgtEl>
                                          <p:spTgt spid="323"/>
                                        </p:tgtEl>
                                      </p:cBhvr>
                                    </p:animEffect>
                                    <p:animScale>
                                      <p:cBhvr>
                                        <p:cTn id="77" dur="1000" autoRev="1" fill="hold"/>
                                        <p:tgtEl>
                                          <p:spTgt spid="323"/>
                                        </p:tgtEl>
                                      </p:cBhvr>
                                      <p:by x="105000" y="105000"/>
                                    </p:animScale>
                                  </p:childTnLst>
                                </p:cTn>
                              </p:par>
                              <p:par>
                                <p:cTn id="78" presetID="26" presetClass="emph" presetSubtype="0" dur="2000" repeatCount="indefinite" fill="hold" grpId="0" nodeType="withEffect">
                                  <p:stCondLst>
                                    <p:cond delay="500"/>
                                  </p:stCondLst>
                                  <p:childTnLst>
                                    <p:animEffect transition="out" filter="fade">
                                      <p:cBhvr>
                                        <p:cTn id="79" dur="2000" tmFilter="0, 0; .2, .5; .8, .5; 1, 0"/>
                                        <p:tgtEl>
                                          <p:spTgt spid="324"/>
                                        </p:tgtEl>
                                      </p:cBhvr>
                                    </p:animEffect>
                                    <p:animScale>
                                      <p:cBhvr>
                                        <p:cTn id="80" dur="1000" autoRev="1" fill="hold"/>
                                        <p:tgtEl>
                                          <p:spTgt spid="324"/>
                                        </p:tgtEl>
                                      </p:cBhvr>
                                      <p:by x="105000" y="105000"/>
                                    </p:animScale>
                                  </p:childTnLst>
                                </p:cTn>
                              </p:par>
                              <p:par>
                                <p:cTn id="81" presetID="26" presetClass="emph" presetSubtype="0" dur="2000" repeatCount="indefinite" fill="hold" grpId="0" nodeType="withEffect">
                                  <p:stCondLst>
                                    <p:cond delay="500"/>
                                  </p:stCondLst>
                                  <p:childTnLst>
                                    <p:animEffect transition="out" filter="fade">
                                      <p:cBhvr>
                                        <p:cTn id="82" dur="2000" tmFilter="0, 0; .2, .5; .8, .5; 1, 0"/>
                                        <p:tgtEl>
                                          <p:spTgt spid="325"/>
                                        </p:tgtEl>
                                      </p:cBhvr>
                                    </p:animEffect>
                                    <p:animScale>
                                      <p:cBhvr>
                                        <p:cTn id="83" dur="1000" autoRev="1" fill="hold"/>
                                        <p:tgtEl>
                                          <p:spTgt spid="325"/>
                                        </p:tgtEl>
                                      </p:cBhvr>
                                      <p:by x="105000" y="105000"/>
                                    </p:animScale>
                                  </p:childTnLst>
                                </p:cTn>
                              </p:par>
                              <p:par>
                                <p:cTn id="84" presetID="26" presetClass="emph" presetSubtype="0" dur="2000" repeatCount="indefinite" fill="hold" grpId="0" nodeType="withEffect">
                                  <p:stCondLst>
                                    <p:cond delay="500"/>
                                  </p:stCondLst>
                                  <p:childTnLst>
                                    <p:animEffect transition="out" filter="fade">
                                      <p:cBhvr>
                                        <p:cTn id="85" dur="2000" tmFilter="0, 0; .2, .5; .8, .5; 1, 0"/>
                                        <p:tgtEl>
                                          <p:spTgt spid="326"/>
                                        </p:tgtEl>
                                      </p:cBhvr>
                                    </p:animEffect>
                                    <p:animScale>
                                      <p:cBhvr>
                                        <p:cTn id="86" dur="1000" autoRev="1" fill="hold"/>
                                        <p:tgtEl>
                                          <p:spTgt spid="326"/>
                                        </p:tgtEl>
                                      </p:cBhvr>
                                      <p:by x="105000" y="105000"/>
                                    </p:animScale>
                                  </p:childTnLst>
                                </p:cTn>
                              </p:par>
                              <p:par>
                                <p:cTn id="87" presetID="26" presetClass="emph" presetSubtype="0" dur="2000" repeatCount="indefinite" fill="hold" grpId="0" nodeType="withEffect">
                                  <p:stCondLst>
                                    <p:cond delay="500"/>
                                  </p:stCondLst>
                                  <p:childTnLst>
                                    <p:animEffect transition="out" filter="fade">
                                      <p:cBhvr>
                                        <p:cTn id="88" dur="2000" tmFilter="0, 0; .2, .5; .8, .5; 1, 0"/>
                                        <p:tgtEl>
                                          <p:spTgt spid="327"/>
                                        </p:tgtEl>
                                      </p:cBhvr>
                                    </p:animEffect>
                                    <p:animScale>
                                      <p:cBhvr>
                                        <p:cTn id="89" dur="1000" autoRev="1" fill="hold"/>
                                        <p:tgtEl>
                                          <p:spTgt spid="327"/>
                                        </p:tgtEl>
                                      </p:cBhvr>
                                      <p:by x="105000" y="105000"/>
                                    </p:animScale>
                                  </p:childTnLst>
                                </p:cTn>
                              </p:par>
                              <p:par>
                                <p:cTn id="90" presetID="26" presetClass="emph" presetSubtype="0" dur="2000" repeatCount="indefinite" fill="hold" grpId="0" nodeType="withEffect">
                                  <p:stCondLst>
                                    <p:cond delay="500"/>
                                  </p:stCondLst>
                                  <p:childTnLst>
                                    <p:animEffect transition="out" filter="fade">
                                      <p:cBhvr>
                                        <p:cTn id="91" dur="2000" tmFilter="0, 0; .2, .5; .8, .5; 1, 0"/>
                                        <p:tgtEl>
                                          <p:spTgt spid="328"/>
                                        </p:tgtEl>
                                      </p:cBhvr>
                                    </p:animEffect>
                                    <p:animScale>
                                      <p:cBhvr>
                                        <p:cTn id="92" dur="1000" autoRev="1" fill="hold"/>
                                        <p:tgtEl>
                                          <p:spTgt spid="328"/>
                                        </p:tgtEl>
                                      </p:cBhvr>
                                      <p:by x="105000" y="105000"/>
                                    </p:animScale>
                                  </p:childTnLst>
                                </p:cTn>
                              </p:par>
                              <p:par>
                                <p:cTn id="93" presetID="26" presetClass="emph" presetSubtype="0" dur="2000" repeatCount="indefinite" fill="hold" grpId="0" nodeType="withEffect">
                                  <p:stCondLst>
                                    <p:cond delay="500"/>
                                  </p:stCondLst>
                                  <p:childTnLst>
                                    <p:animEffect transition="out" filter="fade">
                                      <p:cBhvr>
                                        <p:cTn id="94" dur="2000" tmFilter="0, 0; .2, .5; .8, .5; 1, 0"/>
                                        <p:tgtEl>
                                          <p:spTgt spid="329"/>
                                        </p:tgtEl>
                                      </p:cBhvr>
                                    </p:animEffect>
                                    <p:animScale>
                                      <p:cBhvr>
                                        <p:cTn id="95" dur="1000" autoRev="1" fill="hold"/>
                                        <p:tgtEl>
                                          <p:spTgt spid="329"/>
                                        </p:tgtEl>
                                      </p:cBhvr>
                                      <p:by x="105000" y="105000"/>
                                    </p:animScale>
                                  </p:childTnLst>
                                </p:cTn>
                              </p:par>
                              <p:par>
                                <p:cTn id="96" presetID="26" presetClass="emph" presetSubtype="0" dur="2000" repeatCount="indefinite" fill="hold" grpId="0" nodeType="withEffect">
                                  <p:stCondLst>
                                    <p:cond delay="750"/>
                                  </p:stCondLst>
                                  <p:childTnLst>
                                    <p:animEffect transition="out" filter="fade">
                                      <p:cBhvr>
                                        <p:cTn id="97" dur="2000" tmFilter="0, 0; .2, .5; .8, .5; 1, 0"/>
                                        <p:tgtEl>
                                          <p:spTgt spid="330"/>
                                        </p:tgtEl>
                                      </p:cBhvr>
                                    </p:animEffect>
                                    <p:animScale>
                                      <p:cBhvr>
                                        <p:cTn id="98" dur="1000" autoRev="1" fill="hold"/>
                                        <p:tgtEl>
                                          <p:spTgt spid="330"/>
                                        </p:tgtEl>
                                      </p:cBhvr>
                                      <p:by x="105000" y="105000"/>
                                    </p:animScale>
                                  </p:childTnLst>
                                </p:cTn>
                              </p:par>
                              <p:par>
                                <p:cTn id="99" presetID="26" presetClass="emph" presetSubtype="0" dur="2000" repeatCount="indefinite" fill="hold" grpId="0" nodeType="withEffect">
                                  <p:stCondLst>
                                    <p:cond delay="750"/>
                                  </p:stCondLst>
                                  <p:childTnLst>
                                    <p:animEffect transition="out" filter="fade">
                                      <p:cBhvr>
                                        <p:cTn id="100" dur="2000" tmFilter="0, 0; .2, .5; .8, .5; 1, 0"/>
                                        <p:tgtEl>
                                          <p:spTgt spid="331"/>
                                        </p:tgtEl>
                                      </p:cBhvr>
                                    </p:animEffect>
                                    <p:animScale>
                                      <p:cBhvr>
                                        <p:cTn id="101" dur="1000" autoRev="1" fill="hold"/>
                                        <p:tgtEl>
                                          <p:spTgt spid="331"/>
                                        </p:tgtEl>
                                      </p:cBhvr>
                                      <p:by x="105000" y="105000"/>
                                    </p:animScale>
                                  </p:childTnLst>
                                </p:cTn>
                              </p:par>
                              <p:par>
                                <p:cTn id="102" presetID="26" presetClass="emph" presetSubtype="0" dur="2000" repeatCount="indefinite" fill="hold" grpId="0" nodeType="withEffect">
                                  <p:stCondLst>
                                    <p:cond delay="750"/>
                                  </p:stCondLst>
                                  <p:childTnLst>
                                    <p:animEffect transition="out" filter="fade">
                                      <p:cBhvr>
                                        <p:cTn id="103" dur="2000" tmFilter="0, 0; .2, .5; .8, .5; 1, 0"/>
                                        <p:tgtEl>
                                          <p:spTgt spid="332"/>
                                        </p:tgtEl>
                                      </p:cBhvr>
                                    </p:animEffect>
                                    <p:animScale>
                                      <p:cBhvr>
                                        <p:cTn id="104" dur="1000" autoRev="1" fill="hold"/>
                                        <p:tgtEl>
                                          <p:spTgt spid="332"/>
                                        </p:tgtEl>
                                      </p:cBhvr>
                                      <p:by x="105000" y="105000"/>
                                    </p:animScale>
                                  </p:childTnLst>
                                </p:cTn>
                              </p:par>
                              <p:par>
                                <p:cTn id="105" presetID="26" presetClass="emph" presetSubtype="0" dur="2000" repeatCount="indefinite" fill="hold" grpId="0" nodeType="withEffect">
                                  <p:stCondLst>
                                    <p:cond delay="750"/>
                                  </p:stCondLst>
                                  <p:childTnLst>
                                    <p:animEffect transition="out" filter="fade">
                                      <p:cBhvr>
                                        <p:cTn id="106" dur="2000" tmFilter="0, 0; .2, .5; .8, .5; 1, 0"/>
                                        <p:tgtEl>
                                          <p:spTgt spid="333"/>
                                        </p:tgtEl>
                                      </p:cBhvr>
                                    </p:animEffect>
                                    <p:animScale>
                                      <p:cBhvr>
                                        <p:cTn id="107" dur="1000" autoRev="1" fill="hold"/>
                                        <p:tgtEl>
                                          <p:spTgt spid="333"/>
                                        </p:tgtEl>
                                      </p:cBhvr>
                                      <p:by x="105000" y="105000"/>
                                    </p:animScale>
                                  </p:childTnLst>
                                </p:cTn>
                              </p:par>
                              <p:par>
                                <p:cTn id="108" presetID="26" presetClass="emph" presetSubtype="0" dur="2000" repeatCount="indefinite" fill="hold" grpId="0" nodeType="withEffect">
                                  <p:stCondLst>
                                    <p:cond delay="750"/>
                                  </p:stCondLst>
                                  <p:childTnLst>
                                    <p:animEffect transition="out" filter="fade">
                                      <p:cBhvr>
                                        <p:cTn id="109" dur="2000" tmFilter="0, 0; .2, .5; .8, .5; 1, 0"/>
                                        <p:tgtEl>
                                          <p:spTgt spid="334"/>
                                        </p:tgtEl>
                                      </p:cBhvr>
                                    </p:animEffect>
                                    <p:animScale>
                                      <p:cBhvr>
                                        <p:cTn id="110" dur="1000" autoRev="1" fill="hold"/>
                                        <p:tgtEl>
                                          <p:spTgt spid="334"/>
                                        </p:tgtEl>
                                      </p:cBhvr>
                                      <p:by x="105000" y="105000"/>
                                    </p:animScale>
                                  </p:childTnLst>
                                </p:cTn>
                              </p:par>
                              <p:par>
                                <p:cTn id="111" presetID="26" presetClass="emph" presetSubtype="0" dur="2000" repeatCount="indefinite" fill="hold" grpId="0" nodeType="withEffect">
                                  <p:stCondLst>
                                    <p:cond delay="750"/>
                                  </p:stCondLst>
                                  <p:childTnLst>
                                    <p:animEffect transition="out" filter="fade">
                                      <p:cBhvr>
                                        <p:cTn id="112" dur="2000" tmFilter="0, 0; .2, .5; .8, .5; 1, 0"/>
                                        <p:tgtEl>
                                          <p:spTgt spid="335"/>
                                        </p:tgtEl>
                                      </p:cBhvr>
                                    </p:animEffect>
                                    <p:animScale>
                                      <p:cBhvr>
                                        <p:cTn id="113" dur="1000" autoRev="1" fill="hold"/>
                                        <p:tgtEl>
                                          <p:spTgt spid="335"/>
                                        </p:tgtEl>
                                      </p:cBhvr>
                                      <p:by x="105000" y="105000"/>
                                    </p:animScale>
                                  </p:childTnLst>
                                </p:cTn>
                              </p:par>
                              <p:par>
                                <p:cTn id="114" presetID="26" presetClass="emph" presetSubtype="0" dur="2000" repeatCount="indefinite" fill="hold" grpId="0" nodeType="withEffect">
                                  <p:stCondLst>
                                    <p:cond delay="750"/>
                                  </p:stCondLst>
                                  <p:childTnLst>
                                    <p:animEffect transition="out" filter="fade">
                                      <p:cBhvr>
                                        <p:cTn id="115" dur="2000" tmFilter="0, 0; .2, .5; .8, .5; 1, 0"/>
                                        <p:tgtEl>
                                          <p:spTgt spid="336"/>
                                        </p:tgtEl>
                                      </p:cBhvr>
                                    </p:animEffect>
                                    <p:animScale>
                                      <p:cBhvr>
                                        <p:cTn id="116" dur="1000" autoRev="1" fill="hold"/>
                                        <p:tgtEl>
                                          <p:spTgt spid="336"/>
                                        </p:tgtEl>
                                      </p:cBhvr>
                                      <p:by x="105000" y="105000"/>
                                    </p:animScale>
                                  </p:childTnLst>
                                </p:cTn>
                              </p:par>
                              <p:par>
                                <p:cTn id="117" presetID="26" presetClass="emph" presetSubtype="0" dur="2000" repeatCount="indefinite" fill="hold" grpId="0" nodeType="withEffect">
                                  <p:stCondLst>
                                    <p:cond delay="750"/>
                                  </p:stCondLst>
                                  <p:childTnLst>
                                    <p:animEffect transition="out" filter="fade">
                                      <p:cBhvr>
                                        <p:cTn id="118" dur="2000" tmFilter="0, 0; .2, .5; .8, .5; 1, 0"/>
                                        <p:tgtEl>
                                          <p:spTgt spid="337"/>
                                        </p:tgtEl>
                                      </p:cBhvr>
                                    </p:animEffect>
                                    <p:animScale>
                                      <p:cBhvr>
                                        <p:cTn id="119" dur="1000" autoRev="1" fill="hold"/>
                                        <p:tgtEl>
                                          <p:spTgt spid="337"/>
                                        </p:tgtEl>
                                      </p:cBhvr>
                                      <p:by x="105000" y="105000"/>
                                    </p:animScale>
                                  </p:childTnLst>
                                </p:cTn>
                              </p:par>
                              <p:par>
                                <p:cTn id="120" presetID="26" presetClass="emph" presetSubtype="0" dur="2000" repeatCount="indefinite" fill="hold" grpId="0" nodeType="withEffect">
                                  <p:stCondLst>
                                    <p:cond delay="750"/>
                                  </p:stCondLst>
                                  <p:childTnLst>
                                    <p:animEffect transition="out" filter="fade">
                                      <p:cBhvr>
                                        <p:cTn id="121" dur="2000" tmFilter="0, 0; .2, .5; .8, .5; 1, 0"/>
                                        <p:tgtEl>
                                          <p:spTgt spid="338"/>
                                        </p:tgtEl>
                                      </p:cBhvr>
                                    </p:animEffect>
                                    <p:animScale>
                                      <p:cBhvr>
                                        <p:cTn id="122" dur="1000" autoRev="1" fill="hold"/>
                                        <p:tgtEl>
                                          <p:spTgt spid="338"/>
                                        </p:tgtEl>
                                      </p:cBhvr>
                                      <p:by x="105000" y="105000"/>
                                    </p:animScale>
                                  </p:childTnLst>
                                </p:cTn>
                              </p:par>
                              <p:par>
                                <p:cTn id="123" presetID="26" presetClass="emph" presetSubtype="0" dur="2000" repeatCount="indefinite" fill="hold" grpId="0" nodeType="withEffect">
                                  <p:stCondLst>
                                    <p:cond delay="750"/>
                                  </p:stCondLst>
                                  <p:childTnLst>
                                    <p:animEffect transition="out" filter="fade">
                                      <p:cBhvr>
                                        <p:cTn id="124" dur="2000" tmFilter="0, 0; .2, .5; .8, .5; 1, 0"/>
                                        <p:tgtEl>
                                          <p:spTgt spid="339"/>
                                        </p:tgtEl>
                                      </p:cBhvr>
                                    </p:animEffect>
                                    <p:animScale>
                                      <p:cBhvr>
                                        <p:cTn id="125" dur="1000" autoRev="1" fill="hold"/>
                                        <p:tgtEl>
                                          <p:spTgt spid="339"/>
                                        </p:tgtEl>
                                      </p:cBhvr>
                                      <p:by x="105000" y="105000"/>
                                    </p:animScale>
                                  </p:childTnLst>
                                </p:cTn>
                              </p:par>
                              <p:par>
                                <p:cTn id="126" presetID="26" presetClass="emph" presetSubtype="0" dur="2000" repeatCount="indefinite" fill="hold" grpId="0" nodeType="withEffect">
                                  <p:stCondLst>
                                    <p:cond delay="750"/>
                                  </p:stCondLst>
                                  <p:childTnLst>
                                    <p:animEffect transition="out" filter="fade">
                                      <p:cBhvr>
                                        <p:cTn id="127" dur="2000" tmFilter="0, 0; .2, .5; .8, .5; 1, 0"/>
                                        <p:tgtEl>
                                          <p:spTgt spid="340"/>
                                        </p:tgtEl>
                                      </p:cBhvr>
                                    </p:animEffect>
                                    <p:animScale>
                                      <p:cBhvr>
                                        <p:cTn id="128" dur="1000" autoRev="1" fill="hold"/>
                                        <p:tgtEl>
                                          <p:spTgt spid="340"/>
                                        </p:tgtEl>
                                      </p:cBhvr>
                                      <p:by x="105000" y="105000"/>
                                    </p:animScale>
                                  </p:childTnLst>
                                </p:cTn>
                              </p:par>
                              <p:par>
                                <p:cTn id="129" presetID="26" presetClass="emph" presetSubtype="0" dur="2000" repeatCount="indefinite" fill="hold" grpId="0" nodeType="withEffect">
                                  <p:stCondLst>
                                    <p:cond delay="1000"/>
                                  </p:stCondLst>
                                  <p:childTnLst>
                                    <p:animEffect transition="out" filter="fade">
                                      <p:cBhvr>
                                        <p:cTn id="130" dur="2000" tmFilter="0, 0; .2, .5; .8, .5; 1, 0"/>
                                        <p:tgtEl>
                                          <p:spTgt spid="341"/>
                                        </p:tgtEl>
                                      </p:cBhvr>
                                    </p:animEffect>
                                    <p:animScale>
                                      <p:cBhvr>
                                        <p:cTn id="131" dur="1000" autoRev="1" fill="hold"/>
                                        <p:tgtEl>
                                          <p:spTgt spid="341"/>
                                        </p:tgtEl>
                                      </p:cBhvr>
                                      <p:by x="105000" y="105000"/>
                                    </p:animScale>
                                  </p:childTnLst>
                                </p:cTn>
                              </p:par>
                              <p:par>
                                <p:cTn id="132" presetID="26" presetClass="emph" presetSubtype="0" dur="2000" repeatCount="indefinite" fill="hold" grpId="0" nodeType="withEffect">
                                  <p:stCondLst>
                                    <p:cond delay="1000"/>
                                  </p:stCondLst>
                                  <p:childTnLst>
                                    <p:animEffect transition="out" filter="fade">
                                      <p:cBhvr>
                                        <p:cTn id="133" dur="2000" tmFilter="0, 0; .2, .5; .8, .5; 1, 0"/>
                                        <p:tgtEl>
                                          <p:spTgt spid="342"/>
                                        </p:tgtEl>
                                      </p:cBhvr>
                                    </p:animEffect>
                                    <p:animScale>
                                      <p:cBhvr>
                                        <p:cTn id="134" dur="1000" autoRev="1" fill="hold"/>
                                        <p:tgtEl>
                                          <p:spTgt spid="342"/>
                                        </p:tgtEl>
                                      </p:cBhvr>
                                      <p:by x="105000" y="105000"/>
                                    </p:animScale>
                                  </p:childTnLst>
                                </p:cTn>
                              </p:par>
                              <p:par>
                                <p:cTn id="135" presetID="26" presetClass="emph" presetSubtype="0" dur="2000" repeatCount="indefinite" fill="hold" grpId="0" nodeType="withEffect">
                                  <p:stCondLst>
                                    <p:cond delay="1000"/>
                                  </p:stCondLst>
                                  <p:childTnLst>
                                    <p:animEffect transition="out" filter="fade">
                                      <p:cBhvr>
                                        <p:cTn id="136" dur="2000" tmFilter="0, 0; .2, .5; .8, .5; 1, 0"/>
                                        <p:tgtEl>
                                          <p:spTgt spid="343"/>
                                        </p:tgtEl>
                                      </p:cBhvr>
                                    </p:animEffect>
                                    <p:animScale>
                                      <p:cBhvr>
                                        <p:cTn id="137" dur="1000" autoRev="1" fill="hold"/>
                                        <p:tgtEl>
                                          <p:spTgt spid="343"/>
                                        </p:tgtEl>
                                      </p:cBhvr>
                                      <p:by x="105000" y="105000"/>
                                    </p:animScale>
                                  </p:childTnLst>
                                </p:cTn>
                              </p:par>
                              <p:par>
                                <p:cTn id="138" presetID="26" presetClass="emph" presetSubtype="0" dur="2000" repeatCount="indefinite" fill="hold" grpId="0" nodeType="withEffect">
                                  <p:stCondLst>
                                    <p:cond delay="1000"/>
                                  </p:stCondLst>
                                  <p:childTnLst>
                                    <p:animEffect transition="out" filter="fade">
                                      <p:cBhvr>
                                        <p:cTn id="139" dur="2000" tmFilter="0, 0; .2, .5; .8, .5; 1, 0"/>
                                        <p:tgtEl>
                                          <p:spTgt spid="344"/>
                                        </p:tgtEl>
                                      </p:cBhvr>
                                    </p:animEffect>
                                    <p:animScale>
                                      <p:cBhvr>
                                        <p:cTn id="140" dur="1000" autoRev="1" fill="hold"/>
                                        <p:tgtEl>
                                          <p:spTgt spid="344"/>
                                        </p:tgtEl>
                                      </p:cBhvr>
                                      <p:by x="105000" y="105000"/>
                                    </p:animScale>
                                  </p:childTnLst>
                                </p:cTn>
                              </p:par>
                              <p:par>
                                <p:cTn id="141" presetID="26" presetClass="emph" presetSubtype="0" dur="2000" repeatCount="indefinite" fill="hold" grpId="0" nodeType="withEffect">
                                  <p:stCondLst>
                                    <p:cond delay="1000"/>
                                  </p:stCondLst>
                                  <p:childTnLst>
                                    <p:animEffect transition="out" filter="fade">
                                      <p:cBhvr>
                                        <p:cTn id="142" dur="2000" tmFilter="0, 0; .2, .5; .8, .5; 1, 0"/>
                                        <p:tgtEl>
                                          <p:spTgt spid="345"/>
                                        </p:tgtEl>
                                      </p:cBhvr>
                                    </p:animEffect>
                                    <p:animScale>
                                      <p:cBhvr>
                                        <p:cTn id="143" dur="1000" autoRev="1" fill="hold"/>
                                        <p:tgtEl>
                                          <p:spTgt spid="345"/>
                                        </p:tgtEl>
                                      </p:cBhvr>
                                      <p:by x="105000" y="105000"/>
                                    </p:animScale>
                                  </p:childTnLst>
                                </p:cTn>
                              </p:par>
                              <p:par>
                                <p:cTn id="144" presetID="26" presetClass="emph" presetSubtype="0" dur="2000" repeatCount="indefinite" fill="hold" grpId="0" nodeType="withEffect">
                                  <p:stCondLst>
                                    <p:cond delay="1000"/>
                                  </p:stCondLst>
                                  <p:childTnLst>
                                    <p:animEffect transition="out" filter="fade">
                                      <p:cBhvr>
                                        <p:cTn id="145" dur="2000" tmFilter="0, 0; .2, .5; .8, .5; 1, 0"/>
                                        <p:tgtEl>
                                          <p:spTgt spid="346"/>
                                        </p:tgtEl>
                                      </p:cBhvr>
                                    </p:animEffect>
                                    <p:animScale>
                                      <p:cBhvr>
                                        <p:cTn id="146" dur="1000" autoRev="1" fill="hold"/>
                                        <p:tgtEl>
                                          <p:spTgt spid="346"/>
                                        </p:tgtEl>
                                      </p:cBhvr>
                                      <p:by x="105000" y="105000"/>
                                    </p:animScale>
                                  </p:childTnLst>
                                </p:cTn>
                              </p:par>
                              <p:par>
                                <p:cTn id="147" presetID="26" presetClass="emph" presetSubtype="0" dur="2000" repeatCount="indefinite" fill="hold" grpId="0" nodeType="withEffect">
                                  <p:stCondLst>
                                    <p:cond delay="1000"/>
                                  </p:stCondLst>
                                  <p:childTnLst>
                                    <p:animEffect transition="out" filter="fade">
                                      <p:cBhvr>
                                        <p:cTn id="148" dur="2000" tmFilter="0, 0; .2, .5; .8, .5; 1, 0"/>
                                        <p:tgtEl>
                                          <p:spTgt spid="347"/>
                                        </p:tgtEl>
                                      </p:cBhvr>
                                    </p:animEffect>
                                    <p:animScale>
                                      <p:cBhvr>
                                        <p:cTn id="149" dur="1000" autoRev="1" fill="hold"/>
                                        <p:tgtEl>
                                          <p:spTgt spid="347"/>
                                        </p:tgtEl>
                                      </p:cBhvr>
                                      <p:by x="105000" y="105000"/>
                                    </p:animScale>
                                  </p:childTnLst>
                                </p:cTn>
                              </p:par>
                              <p:par>
                                <p:cTn id="150" presetID="26" presetClass="emph" presetSubtype="0" dur="2000" repeatCount="indefinite" fill="hold" grpId="0" nodeType="withEffect">
                                  <p:stCondLst>
                                    <p:cond delay="1000"/>
                                  </p:stCondLst>
                                  <p:childTnLst>
                                    <p:animEffect transition="out" filter="fade">
                                      <p:cBhvr>
                                        <p:cTn id="151" dur="2000" tmFilter="0, 0; .2, .5; .8, .5; 1, 0"/>
                                        <p:tgtEl>
                                          <p:spTgt spid="348"/>
                                        </p:tgtEl>
                                      </p:cBhvr>
                                    </p:animEffect>
                                    <p:animScale>
                                      <p:cBhvr>
                                        <p:cTn id="152" dur="1000" autoRev="1" fill="hold"/>
                                        <p:tgtEl>
                                          <p:spTgt spid="348"/>
                                        </p:tgtEl>
                                      </p:cBhvr>
                                      <p:by x="105000" y="105000"/>
                                    </p:animScale>
                                  </p:childTnLst>
                                </p:cTn>
                              </p:par>
                              <p:par>
                                <p:cTn id="153" presetID="26" presetClass="emph" presetSubtype="0" dur="2000" repeatCount="indefinite" fill="hold" grpId="0" nodeType="withEffect">
                                  <p:stCondLst>
                                    <p:cond delay="1000"/>
                                  </p:stCondLst>
                                  <p:childTnLst>
                                    <p:animEffect transition="out" filter="fade">
                                      <p:cBhvr>
                                        <p:cTn id="154" dur="2000" tmFilter="0, 0; .2, .5; .8, .5; 1, 0"/>
                                        <p:tgtEl>
                                          <p:spTgt spid="349"/>
                                        </p:tgtEl>
                                      </p:cBhvr>
                                    </p:animEffect>
                                    <p:animScale>
                                      <p:cBhvr>
                                        <p:cTn id="155" dur="1000" autoRev="1" fill="hold"/>
                                        <p:tgtEl>
                                          <p:spTgt spid="349"/>
                                        </p:tgtEl>
                                      </p:cBhvr>
                                      <p:by x="105000" y="105000"/>
                                    </p:animScale>
                                  </p:childTnLst>
                                </p:cTn>
                              </p:par>
                              <p:par>
                                <p:cTn id="156" presetID="26" presetClass="emph" presetSubtype="0" dur="2000" repeatCount="indefinite" fill="hold" grpId="0" nodeType="withEffect">
                                  <p:stCondLst>
                                    <p:cond delay="1000"/>
                                  </p:stCondLst>
                                  <p:childTnLst>
                                    <p:animEffect transition="out" filter="fade">
                                      <p:cBhvr>
                                        <p:cTn id="157" dur="2000" tmFilter="0, 0; .2, .5; .8, .5; 1, 0"/>
                                        <p:tgtEl>
                                          <p:spTgt spid="350"/>
                                        </p:tgtEl>
                                      </p:cBhvr>
                                    </p:animEffect>
                                    <p:animScale>
                                      <p:cBhvr>
                                        <p:cTn id="158" dur="1000" autoRev="1" fill="hold"/>
                                        <p:tgtEl>
                                          <p:spTgt spid="350"/>
                                        </p:tgtEl>
                                      </p:cBhvr>
                                      <p:by x="105000" y="105000"/>
                                    </p:animScale>
                                  </p:childTnLst>
                                </p:cTn>
                              </p:par>
                              <p:par>
                                <p:cTn id="159" presetID="26" presetClass="emph" presetSubtype="0" dur="2000" repeatCount="indefinite" fill="hold" grpId="0" nodeType="withEffect">
                                  <p:stCondLst>
                                    <p:cond delay="1000"/>
                                  </p:stCondLst>
                                  <p:childTnLst>
                                    <p:animEffect transition="out" filter="fade">
                                      <p:cBhvr>
                                        <p:cTn id="160" dur="2000" tmFilter="0, 0; .2, .5; .8, .5; 1, 0"/>
                                        <p:tgtEl>
                                          <p:spTgt spid="351"/>
                                        </p:tgtEl>
                                      </p:cBhvr>
                                    </p:animEffect>
                                    <p:animScale>
                                      <p:cBhvr>
                                        <p:cTn id="161" dur="1000" autoRev="1" fill="hold"/>
                                        <p:tgtEl>
                                          <p:spTgt spid="351"/>
                                        </p:tgtEl>
                                      </p:cBhvr>
                                      <p:by x="105000" y="105000"/>
                                    </p:animScale>
                                  </p:childTnLst>
                                </p:cTn>
                              </p:par>
                              <p:par>
                                <p:cTn id="162" presetID="26" presetClass="emph" presetSubtype="0" dur="2000" repeatCount="indefinite" fill="hold" grpId="0" nodeType="withEffect">
                                  <p:stCondLst>
                                    <p:cond delay="1000"/>
                                  </p:stCondLst>
                                  <p:childTnLst>
                                    <p:animEffect transition="out" filter="fade">
                                      <p:cBhvr>
                                        <p:cTn id="163" dur="2000" tmFilter="0, 0; .2, .5; .8, .5; 1, 0"/>
                                        <p:tgtEl>
                                          <p:spTgt spid="352"/>
                                        </p:tgtEl>
                                      </p:cBhvr>
                                    </p:animEffect>
                                    <p:animScale>
                                      <p:cBhvr>
                                        <p:cTn id="164" dur="1000" autoRev="1" fill="hold"/>
                                        <p:tgtEl>
                                          <p:spTgt spid="352"/>
                                        </p:tgtEl>
                                      </p:cBhvr>
                                      <p:by x="105000" y="105000"/>
                                    </p:animScale>
                                  </p:childTnLst>
                                </p:cTn>
                              </p:par>
                              <p:par>
                                <p:cTn id="165" presetID="26" presetClass="emph" presetSubtype="0" dur="2000" repeatCount="indefinite" fill="hold" grpId="0" nodeType="withEffect">
                                  <p:stCondLst>
                                    <p:cond delay="1000"/>
                                  </p:stCondLst>
                                  <p:childTnLst>
                                    <p:animEffect transition="out" filter="fade">
                                      <p:cBhvr>
                                        <p:cTn id="166" dur="2000" tmFilter="0, 0; .2, .5; .8, .5; 1, 0"/>
                                        <p:tgtEl>
                                          <p:spTgt spid="353"/>
                                        </p:tgtEl>
                                      </p:cBhvr>
                                    </p:animEffect>
                                    <p:animScale>
                                      <p:cBhvr>
                                        <p:cTn id="167" dur="1000" autoRev="1" fill="hold"/>
                                        <p:tgtEl>
                                          <p:spTgt spid="353"/>
                                        </p:tgtEl>
                                      </p:cBhvr>
                                      <p:by x="105000" y="105000"/>
                                    </p:animScale>
                                  </p:childTnLst>
                                </p:cTn>
                              </p:par>
                              <p:par>
                                <p:cTn id="168" presetID="26" presetClass="emph" presetSubtype="0" dur="2000" repeatCount="indefinite" fill="hold" grpId="0" nodeType="withEffect">
                                  <p:stCondLst>
                                    <p:cond delay="1250"/>
                                  </p:stCondLst>
                                  <p:childTnLst>
                                    <p:animEffect transition="out" filter="fade">
                                      <p:cBhvr>
                                        <p:cTn id="169" dur="2000" tmFilter="0, 0; .2, .5; .8, .5; 1, 0"/>
                                        <p:tgtEl>
                                          <p:spTgt spid="354"/>
                                        </p:tgtEl>
                                      </p:cBhvr>
                                    </p:animEffect>
                                    <p:animScale>
                                      <p:cBhvr>
                                        <p:cTn id="170" dur="1000" autoRev="1" fill="hold"/>
                                        <p:tgtEl>
                                          <p:spTgt spid="354"/>
                                        </p:tgtEl>
                                      </p:cBhvr>
                                      <p:by x="105000" y="105000"/>
                                    </p:animScale>
                                  </p:childTnLst>
                                </p:cTn>
                              </p:par>
                              <p:par>
                                <p:cTn id="171" presetID="26" presetClass="emph" presetSubtype="0" dur="2000" repeatCount="indefinite" fill="hold" grpId="0" nodeType="withEffect">
                                  <p:stCondLst>
                                    <p:cond delay="1250"/>
                                  </p:stCondLst>
                                  <p:childTnLst>
                                    <p:animEffect transition="out" filter="fade">
                                      <p:cBhvr>
                                        <p:cTn id="172" dur="2000" tmFilter="0, 0; .2, .5; .8, .5; 1, 0"/>
                                        <p:tgtEl>
                                          <p:spTgt spid="355"/>
                                        </p:tgtEl>
                                      </p:cBhvr>
                                    </p:animEffect>
                                    <p:animScale>
                                      <p:cBhvr>
                                        <p:cTn id="173" dur="1000" autoRev="1" fill="hold"/>
                                        <p:tgtEl>
                                          <p:spTgt spid="355"/>
                                        </p:tgtEl>
                                      </p:cBhvr>
                                      <p:by x="105000" y="105000"/>
                                    </p:animScale>
                                  </p:childTnLst>
                                </p:cTn>
                              </p:par>
                              <p:par>
                                <p:cTn id="174" presetID="26" presetClass="emph" presetSubtype="0" dur="2000" repeatCount="indefinite" fill="hold" grpId="0" nodeType="withEffect">
                                  <p:stCondLst>
                                    <p:cond delay="1250"/>
                                  </p:stCondLst>
                                  <p:childTnLst>
                                    <p:animEffect transition="out" filter="fade">
                                      <p:cBhvr>
                                        <p:cTn id="175" dur="2000" tmFilter="0, 0; .2, .5; .8, .5; 1, 0"/>
                                        <p:tgtEl>
                                          <p:spTgt spid="356"/>
                                        </p:tgtEl>
                                      </p:cBhvr>
                                    </p:animEffect>
                                    <p:animScale>
                                      <p:cBhvr>
                                        <p:cTn id="176" dur="1000" autoRev="1" fill="hold"/>
                                        <p:tgtEl>
                                          <p:spTgt spid="356"/>
                                        </p:tgtEl>
                                      </p:cBhvr>
                                      <p:by x="105000" y="105000"/>
                                    </p:animScale>
                                  </p:childTnLst>
                                </p:cTn>
                              </p:par>
                              <p:par>
                                <p:cTn id="177" presetID="26" presetClass="emph" presetSubtype="0" dur="2000" repeatCount="indefinite" fill="hold" grpId="0" nodeType="withEffect">
                                  <p:stCondLst>
                                    <p:cond delay="1250"/>
                                  </p:stCondLst>
                                  <p:childTnLst>
                                    <p:animEffect transition="out" filter="fade">
                                      <p:cBhvr>
                                        <p:cTn id="178" dur="2000" tmFilter="0, 0; .2, .5; .8, .5; 1, 0"/>
                                        <p:tgtEl>
                                          <p:spTgt spid="357"/>
                                        </p:tgtEl>
                                      </p:cBhvr>
                                    </p:animEffect>
                                    <p:animScale>
                                      <p:cBhvr>
                                        <p:cTn id="179" dur="1000" autoRev="1" fill="hold"/>
                                        <p:tgtEl>
                                          <p:spTgt spid="357"/>
                                        </p:tgtEl>
                                      </p:cBhvr>
                                      <p:by x="105000" y="105000"/>
                                    </p:animScale>
                                  </p:childTnLst>
                                </p:cTn>
                              </p:par>
                              <p:par>
                                <p:cTn id="180" presetID="26" presetClass="emph" presetSubtype="0" dur="2000" repeatCount="indefinite" fill="hold" grpId="0" nodeType="withEffect">
                                  <p:stCondLst>
                                    <p:cond delay="1250"/>
                                  </p:stCondLst>
                                  <p:childTnLst>
                                    <p:animEffect transition="out" filter="fade">
                                      <p:cBhvr>
                                        <p:cTn id="181" dur="2000" tmFilter="0, 0; .2, .5; .8, .5; 1, 0"/>
                                        <p:tgtEl>
                                          <p:spTgt spid="358"/>
                                        </p:tgtEl>
                                      </p:cBhvr>
                                    </p:animEffect>
                                    <p:animScale>
                                      <p:cBhvr>
                                        <p:cTn id="182" dur="1000" autoRev="1" fill="hold"/>
                                        <p:tgtEl>
                                          <p:spTgt spid="358"/>
                                        </p:tgtEl>
                                      </p:cBhvr>
                                      <p:by x="105000" y="105000"/>
                                    </p:animScale>
                                  </p:childTnLst>
                                </p:cTn>
                              </p:par>
                              <p:par>
                                <p:cTn id="183" presetID="26" presetClass="emph" presetSubtype="0" dur="2000" repeatCount="indefinite" fill="hold" grpId="0" nodeType="withEffect">
                                  <p:stCondLst>
                                    <p:cond delay="1250"/>
                                  </p:stCondLst>
                                  <p:childTnLst>
                                    <p:animEffect transition="out" filter="fade">
                                      <p:cBhvr>
                                        <p:cTn id="184" dur="2000" tmFilter="0, 0; .2, .5; .8, .5; 1, 0"/>
                                        <p:tgtEl>
                                          <p:spTgt spid="359"/>
                                        </p:tgtEl>
                                      </p:cBhvr>
                                    </p:animEffect>
                                    <p:animScale>
                                      <p:cBhvr>
                                        <p:cTn id="185" dur="1000" autoRev="1" fill="hold"/>
                                        <p:tgtEl>
                                          <p:spTgt spid="359"/>
                                        </p:tgtEl>
                                      </p:cBhvr>
                                      <p:by x="105000" y="105000"/>
                                    </p:animScale>
                                  </p:childTnLst>
                                </p:cTn>
                              </p:par>
                              <p:par>
                                <p:cTn id="186" presetID="26" presetClass="emph" presetSubtype="0" dur="2000" repeatCount="indefinite" fill="hold" grpId="0" nodeType="withEffect">
                                  <p:stCondLst>
                                    <p:cond delay="1250"/>
                                  </p:stCondLst>
                                  <p:childTnLst>
                                    <p:animEffect transition="out" filter="fade">
                                      <p:cBhvr>
                                        <p:cTn id="187" dur="2000" tmFilter="0, 0; .2, .5; .8, .5; 1, 0"/>
                                        <p:tgtEl>
                                          <p:spTgt spid="360"/>
                                        </p:tgtEl>
                                      </p:cBhvr>
                                    </p:animEffect>
                                    <p:animScale>
                                      <p:cBhvr>
                                        <p:cTn id="188" dur="1000" autoRev="1" fill="hold"/>
                                        <p:tgtEl>
                                          <p:spTgt spid="360"/>
                                        </p:tgtEl>
                                      </p:cBhvr>
                                      <p:by x="105000" y="105000"/>
                                    </p:animScale>
                                  </p:childTnLst>
                                </p:cTn>
                              </p:par>
                              <p:par>
                                <p:cTn id="189" presetID="26" presetClass="emph" presetSubtype="0" dur="2000" repeatCount="indefinite" fill="hold" grpId="0" nodeType="withEffect">
                                  <p:stCondLst>
                                    <p:cond delay="1250"/>
                                  </p:stCondLst>
                                  <p:childTnLst>
                                    <p:animEffect transition="out" filter="fade">
                                      <p:cBhvr>
                                        <p:cTn id="190" dur="2000" tmFilter="0, 0; .2, .5; .8, .5; 1, 0"/>
                                        <p:tgtEl>
                                          <p:spTgt spid="361"/>
                                        </p:tgtEl>
                                      </p:cBhvr>
                                    </p:animEffect>
                                    <p:animScale>
                                      <p:cBhvr>
                                        <p:cTn id="191" dur="1000" autoRev="1" fill="hold"/>
                                        <p:tgtEl>
                                          <p:spTgt spid="361"/>
                                        </p:tgtEl>
                                      </p:cBhvr>
                                      <p:by x="105000" y="105000"/>
                                    </p:animScale>
                                  </p:childTnLst>
                                </p:cTn>
                              </p:par>
                              <p:par>
                                <p:cTn id="192" presetID="26" presetClass="emph" presetSubtype="0" dur="2000" repeatCount="indefinite" fill="hold" grpId="0" nodeType="withEffect">
                                  <p:stCondLst>
                                    <p:cond delay="1250"/>
                                  </p:stCondLst>
                                  <p:childTnLst>
                                    <p:animEffect transition="out" filter="fade">
                                      <p:cBhvr>
                                        <p:cTn id="193" dur="2000" tmFilter="0, 0; .2, .5; .8, .5; 1, 0"/>
                                        <p:tgtEl>
                                          <p:spTgt spid="362"/>
                                        </p:tgtEl>
                                      </p:cBhvr>
                                    </p:animEffect>
                                    <p:animScale>
                                      <p:cBhvr>
                                        <p:cTn id="194" dur="1000" autoRev="1" fill="hold"/>
                                        <p:tgtEl>
                                          <p:spTgt spid="362"/>
                                        </p:tgtEl>
                                      </p:cBhvr>
                                      <p:by x="105000" y="105000"/>
                                    </p:animScale>
                                  </p:childTnLst>
                                </p:cTn>
                              </p:par>
                              <p:par>
                                <p:cTn id="195" presetID="26" presetClass="emph" presetSubtype="0" dur="2000" repeatCount="indefinite" fill="hold" grpId="0" nodeType="withEffect">
                                  <p:stCondLst>
                                    <p:cond delay="1250"/>
                                  </p:stCondLst>
                                  <p:childTnLst>
                                    <p:animEffect transition="out" filter="fade">
                                      <p:cBhvr>
                                        <p:cTn id="196" dur="2000" tmFilter="0, 0; .2, .5; .8, .5; 1, 0"/>
                                        <p:tgtEl>
                                          <p:spTgt spid="363"/>
                                        </p:tgtEl>
                                      </p:cBhvr>
                                    </p:animEffect>
                                    <p:animScale>
                                      <p:cBhvr>
                                        <p:cTn id="197" dur="1000" autoRev="1" fill="hold"/>
                                        <p:tgtEl>
                                          <p:spTgt spid="363"/>
                                        </p:tgtEl>
                                      </p:cBhvr>
                                      <p:by x="105000" y="105000"/>
                                    </p:animScale>
                                  </p:childTnLst>
                                </p:cTn>
                              </p:par>
                              <p:par>
                                <p:cTn id="198" presetID="26" presetClass="emph" presetSubtype="0" dur="2000" repeatCount="indefinite" fill="hold" grpId="0" nodeType="withEffect">
                                  <p:stCondLst>
                                    <p:cond delay="1250"/>
                                  </p:stCondLst>
                                  <p:childTnLst>
                                    <p:animEffect transition="out" filter="fade">
                                      <p:cBhvr>
                                        <p:cTn id="199" dur="2000" tmFilter="0, 0; .2, .5; .8, .5; 1, 0"/>
                                        <p:tgtEl>
                                          <p:spTgt spid="364"/>
                                        </p:tgtEl>
                                      </p:cBhvr>
                                    </p:animEffect>
                                    <p:animScale>
                                      <p:cBhvr>
                                        <p:cTn id="200" dur="1000" autoRev="1" fill="hold"/>
                                        <p:tgtEl>
                                          <p:spTgt spid="364"/>
                                        </p:tgtEl>
                                      </p:cBhvr>
                                      <p:by x="105000" y="105000"/>
                                    </p:animScale>
                                  </p:childTnLst>
                                </p:cTn>
                              </p:par>
                              <p:par>
                                <p:cTn id="201" presetID="26" presetClass="emph" presetSubtype="0" dur="2000" repeatCount="indefinite" fill="hold" grpId="0" nodeType="withEffect">
                                  <p:stCondLst>
                                    <p:cond delay="1250"/>
                                  </p:stCondLst>
                                  <p:childTnLst>
                                    <p:animEffect transition="out" filter="fade">
                                      <p:cBhvr>
                                        <p:cTn id="202" dur="2000" tmFilter="0, 0; .2, .5; .8, .5; 1, 0"/>
                                        <p:tgtEl>
                                          <p:spTgt spid="365"/>
                                        </p:tgtEl>
                                      </p:cBhvr>
                                    </p:animEffect>
                                    <p:animScale>
                                      <p:cBhvr>
                                        <p:cTn id="203" dur="1000" autoRev="1" fill="hold"/>
                                        <p:tgtEl>
                                          <p:spTgt spid="365"/>
                                        </p:tgtEl>
                                      </p:cBhvr>
                                      <p:by x="105000" y="105000"/>
                                    </p:animScale>
                                  </p:childTnLst>
                                </p:cTn>
                              </p:par>
                              <p:par>
                                <p:cTn id="204" presetID="26" presetClass="emph" presetSubtype="0" dur="2000" repeatCount="indefinite" fill="hold" grpId="0" nodeType="withEffect">
                                  <p:stCondLst>
                                    <p:cond delay="1250"/>
                                  </p:stCondLst>
                                  <p:childTnLst>
                                    <p:animEffect transition="out" filter="fade">
                                      <p:cBhvr>
                                        <p:cTn id="205" dur="2000" tmFilter="0, 0; .2, .5; .8, .5; 1, 0"/>
                                        <p:tgtEl>
                                          <p:spTgt spid="366"/>
                                        </p:tgtEl>
                                      </p:cBhvr>
                                    </p:animEffect>
                                    <p:animScale>
                                      <p:cBhvr>
                                        <p:cTn id="206" dur="1000" autoRev="1" fill="hold"/>
                                        <p:tgtEl>
                                          <p:spTgt spid="366"/>
                                        </p:tgtEl>
                                      </p:cBhvr>
                                      <p:by x="105000" y="105000"/>
                                    </p:animScale>
                                  </p:childTnLst>
                                </p:cTn>
                              </p:par>
                              <p:par>
                                <p:cTn id="207" presetID="26" presetClass="emph" presetSubtype="0" dur="2000" repeatCount="indefinite" fill="hold" grpId="0" nodeType="withEffect">
                                  <p:stCondLst>
                                    <p:cond delay="1250"/>
                                  </p:stCondLst>
                                  <p:childTnLst>
                                    <p:animEffect transition="out" filter="fade">
                                      <p:cBhvr>
                                        <p:cTn id="208" dur="2000" tmFilter="0, 0; .2, .5; .8, .5; 1, 0"/>
                                        <p:tgtEl>
                                          <p:spTgt spid="367"/>
                                        </p:tgtEl>
                                      </p:cBhvr>
                                    </p:animEffect>
                                    <p:animScale>
                                      <p:cBhvr>
                                        <p:cTn id="209" dur="1000" autoRev="1" fill="hold"/>
                                        <p:tgtEl>
                                          <p:spTgt spid="367"/>
                                        </p:tgtEl>
                                      </p:cBhvr>
                                      <p:by x="105000" y="105000"/>
                                    </p:animScale>
                                  </p:childTnLst>
                                </p:cTn>
                              </p:par>
                              <p:par>
                                <p:cTn id="210" presetID="26" presetClass="emph" presetSubtype="0" dur="2000" repeatCount="indefinite" fill="hold" grpId="0" nodeType="withEffect">
                                  <p:stCondLst>
                                    <p:cond delay="1500"/>
                                  </p:stCondLst>
                                  <p:childTnLst>
                                    <p:animEffect transition="out" filter="fade">
                                      <p:cBhvr>
                                        <p:cTn id="211" dur="2000" tmFilter="0, 0; .2, .5; .8, .5; 1, 0"/>
                                        <p:tgtEl>
                                          <p:spTgt spid="368"/>
                                        </p:tgtEl>
                                      </p:cBhvr>
                                    </p:animEffect>
                                    <p:animScale>
                                      <p:cBhvr>
                                        <p:cTn id="212" dur="1000" autoRev="1" fill="hold"/>
                                        <p:tgtEl>
                                          <p:spTgt spid="368"/>
                                        </p:tgtEl>
                                      </p:cBhvr>
                                      <p:by x="105000" y="105000"/>
                                    </p:animScale>
                                  </p:childTnLst>
                                </p:cTn>
                              </p:par>
                              <p:par>
                                <p:cTn id="213" presetID="26" presetClass="emph" presetSubtype="0" dur="2000" repeatCount="indefinite" fill="hold" grpId="0" nodeType="withEffect">
                                  <p:stCondLst>
                                    <p:cond delay="1500"/>
                                  </p:stCondLst>
                                  <p:childTnLst>
                                    <p:animEffect transition="out" filter="fade">
                                      <p:cBhvr>
                                        <p:cTn id="214" dur="2000" tmFilter="0, 0; .2, .5; .8, .5; 1, 0"/>
                                        <p:tgtEl>
                                          <p:spTgt spid="369"/>
                                        </p:tgtEl>
                                      </p:cBhvr>
                                    </p:animEffect>
                                    <p:animScale>
                                      <p:cBhvr>
                                        <p:cTn id="215" dur="1000" autoRev="1" fill="hold"/>
                                        <p:tgtEl>
                                          <p:spTgt spid="369"/>
                                        </p:tgtEl>
                                      </p:cBhvr>
                                      <p:by x="105000" y="105000"/>
                                    </p:animScale>
                                  </p:childTnLst>
                                </p:cTn>
                              </p:par>
                              <p:par>
                                <p:cTn id="216" presetID="26" presetClass="emph" presetSubtype="0" dur="2000" repeatCount="indefinite" fill="hold" grpId="0" nodeType="withEffect">
                                  <p:stCondLst>
                                    <p:cond delay="1500"/>
                                  </p:stCondLst>
                                  <p:childTnLst>
                                    <p:animEffect transition="out" filter="fade">
                                      <p:cBhvr>
                                        <p:cTn id="217" dur="2000" tmFilter="0, 0; .2, .5; .8, .5; 1, 0"/>
                                        <p:tgtEl>
                                          <p:spTgt spid="370"/>
                                        </p:tgtEl>
                                      </p:cBhvr>
                                    </p:animEffect>
                                    <p:animScale>
                                      <p:cBhvr>
                                        <p:cTn id="218" dur="1000" autoRev="1" fill="hold"/>
                                        <p:tgtEl>
                                          <p:spTgt spid="370"/>
                                        </p:tgtEl>
                                      </p:cBhvr>
                                      <p:by x="105000" y="105000"/>
                                    </p:animScale>
                                  </p:childTnLst>
                                </p:cTn>
                              </p:par>
                              <p:par>
                                <p:cTn id="219" presetID="26" presetClass="emph" presetSubtype="0" dur="2000" repeatCount="indefinite" fill="hold" grpId="0" nodeType="withEffect">
                                  <p:stCondLst>
                                    <p:cond delay="1500"/>
                                  </p:stCondLst>
                                  <p:childTnLst>
                                    <p:animEffect transition="out" filter="fade">
                                      <p:cBhvr>
                                        <p:cTn id="220" dur="2000" tmFilter="0, 0; .2, .5; .8, .5; 1, 0"/>
                                        <p:tgtEl>
                                          <p:spTgt spid="371"/>
                                        </p:tgtEl>
                                      </p:cBhvr>
                                    </p:animEffect>
                                    <p:animScale>
                                      <p:cBhvr>
                                        <p:cTn id="221" dur="1000" autoRev="1" fill="hold"/>
                                        <p:tgtEl>
                                          <p:spTgt spid="371"/>
                                        </p:tgtEl>
                                      </p:cBhvr>
                                      <p:by x="105000" y="105000"/>
                                    </p:animScale>
                                  </p:childTnLst>
                                </p:cTn>
                              </p:par>
                              <p:par>
                                <p:cTn id="222" presetID="26" presetClass="emph" presetSubtype="0" dur="2000" repeatCount="indefinite" fill="hold" grpId="0" nodeType="withEffect">
                                  <p:stCondLst>
                                    <p:cond delay="1500"/>
                                  </p:stCondLst>
                                  <p:childTnLst>
                                    <p:animEffect transition="out" filter="fade">
                                      <p:cBhvr>
                                        <p:cTn id="223" dur="2000" tmFilter="0, 0; .2, .5; .8, .5; 1, 0"/>
                                        <p:tgtEl>
                                          <p:spTgt spid="372"/>
                                        </p:tgtEl>
                                      </p:cBhvr>
                                    </p:animEffect>
                                    <p:animScale>
                                      <p:cBhvr>
                                        <p:cTn id="224" dur="1000" autoRev="1" fill="hold"/>
                                        <p:tgtEl>
                                          <p:spTgt spid="372"/>
                                        </p:tgtEl>
                                      </p:cBhvr>
                                      <p:by x="105000" y="105000"/>
                                    </p:animScale>
                                  </p:childTnLst>
                                </p:cTn>
                              </p:par>
                              <p:par>
                                <p:cTn id="225" presetID="26" presetClass="emph" presetSubtype="0" dur="2000" repeatCount="indefinite" fill="hold" grpId="0" nodeType="withEffect">
                                  <p:stCondLst>
                                    <p:cond delay="1500"/>
                                  </p:stCondLst>
                                  <p:childTnLst>
                                    <p:animEffect transition="out" filter="fade">
                                      <p:cBhvr>
                                        <p:cTn id="226" dur="2000" tmFilter="0, 0; .2, .5; .8, .5; 1, 0"/>
                                        <p:tgtEl>
                                          <p:spTgt spid="373"/>
                                        </p:tgtEl>
                                      </p:cBhvr>
                                    </p:animEffect>
                                    <p:animScale>
                                      <p:cBhvr>
                                        <p:cTn id="227" dur="1000" autoRev="1" fill="hold"/>
                                        <p:tgtEl>
                                          <p:spTgt spid="373"/>
                                        </p:tgtEl>
                                      </p:cBhvr>
                                      <p:by x="105000" y="105000"/>
                                    </p:animScale>
                                  </p:childTnLst>
                                </p:cTn>
                              </p:par>
                              <p:par>
                                <p:cTn id="228" presetID="26" presetClass="emph" presetSubtype="0" dur="2000" repeatCount="indefinite" fill="hold" grpId="0" nodeType="withEffect">
                                  <p:stCondLst>
                                    <p:cond delay="1500"/>
                                  </p:stCondLst>
                                  <p:childTnLst>
                                    <p:animEffect transition="out" filter="fade">
                                      <p:cBhvr>
                                        <p:cTn id="229" dur="2000" tmFilter="0, 0; .2, .5; .8, .5; 1, 0"/>
                                        <p:tgtEl>
                                          <p:spTgt spid="374"/>
                                        </p:tgtEl>
                                      </p:cBhvr>
                                    </p:animEffect>
                                    <p:animScale>
                                      <p:cBhvr>
                                        <p:cTn id="230" dur="1000" autoRev="1" fill="hold"/>
                                        <p:tgtEl>
                                          <p:spTgt spid="374"/>
                                        </p:tgtEl>
                                      </p:cBhvr>
                                      <p:by x="105000" y="105000"/>
                                    </p:animScale>
                                  </p:childTnLst>
                                </p:cTn>
                              </p:par>
                              <p:par>
                                <p:cTn id="231" presetID="26" presetClass="emph" presetSubtype="0" dur="2000" repeatCount="indefinite" fill="hold" grpId="0" nodeType="withEffect">
                                  <p:stCondLst>
                                    <p:cond delay="1500"/>
                                  </p:stCondLst>
                                  <p:childTnLst>
                                    <p:animEffect transition="out" filter="fade">
                                      <p:cBhvr>
                                        <p:cTn id="232" dur="2000" tmFilter="0, 0; .2, .5; .8, .5; 1, 0"/>
                                        <p:tgtEl>
                                          <p:spTgt spid="375"/>
                                        </p:tgtEl>
                                      </p:cBhvr>
                                    </p:animEffect>
                                    <p:animScale>
                                      <p:cBhvr>
                                        <p:cTn id="233" dur="1000" autoRev="1" fill="hold"/>
                                        <p:tgtEl>
                                          <p:spTgt spid="375"/>
                                        </p:tgtEl>
                                      </p:cBhvr>
                                      <p:by x="105000" y="105000"/>
                                    </p:animScale>
                                  </p:childTnLst>
                                </p:cTn>
                              </p:par>
                              <p:par>
                                <p:cTn id="234" presetID="26" presetClass="emph" presetSubtype="0" dur="2000" repeatCount="indefinite" fill="hold" grpId="0" nodeType="withEffect">
                                  <p:stCondLst>
                                    <p:cond delay="1500"/>
                                  </p:stCondLst>
                                  <p:childTnLst>
                                    <p:animEffect transition="out" filter="fade">
                                      <p:cBhvr>
                                        <p:cTn id="235" dur="2000" tmFilter="0, 0; .2, .5; .8, .5; 1, 0"/>
                                        <p:tgtEl>
                                          <p:spTgt spid="376"/>
                                        </p:tgtEl>
                                      </p:cBhvr>
                                    </p:animEffect>
                                    <p:animScale>
                                      <p:cBhvr>
                                        <p:cTn id="236" dur="1000" autoRev="1" fill="hold"/>
                                        <p:tgtEl>
                                          <p:spTgt spid="376"/>
                                        </p:tgtEl>
                                      </p:cBhvr>
                                      <p:by x="105000" y="105000"/>
                                    </p:animScale>
                                  </p:childTnLst>
                                </p:cTn>
                              </p:par>
                              <p:par>
                                <p:cTn id="237" presetID="26" presetClass="emph" presetSubtype="0" dur="2000" repeatCount="indefinite" fill="hold" grpId="0" nodeType="withEffect">
                                  <p:stCondLst>
                                    <p:cond delay="1500"/>
                                  </p:stCondLst>
                                  <p:childTnLst>
                                    <p:animEffect transition="out" filter="fade">
                                      <p:cBhvr>
                                        <p:cTn id="238" dur="2000" tmFilter="0, 0; .2, .5; .8, .5; 1, 0"/>
                                        <p:tgtEl>
                                          <p:spTgt spid="377"/>
                                        </p:tgtEl>
                                      </p:cBhvr>
                                    </p:animEffect>
                                    <p:animScale>
                                      <p:cBhvr>
                                        <p:cTn id="239" dur="1000" autoRev="1" fill="hold"/>
                                        <p:tgtEl>
                                          <p:spTgt spid="377"/>
                                        </p:tgtEl>
                                      </p:cBhvr>
                                      <p:by x="105000" y="105000"/>
                                    </p:animScale>
                                  </p:childTnLst>
                                </p:cTn>
                              </p:par>
                              <p:par>
                                <p:cTn id="240" presetID="26" presetClass="emph" presetSubtype="0" dur="2000" repeatCount="indefinite" fill="hold" grpId="0" nodeType="withEffect">
                                  <p:stCondLst>
                                    <p:cond delay="1500"/>
                                  </p:stCondLst>
                                  <p:childTnLst>
                                    <p:animEffect transition="out" filter="fade">
                                      <p:cBhvr>
                                        <p:cTn id="241" dur="2000" tmFilter="0, 0; .2, .5; .8, .5; 1, 0"/>
                                        <p:tgtEl>
                                          <p:spTgt spid="378"/>
                                        </p:tgtEl>
                                      </p:cBhvr>
                                    </p:animEffect>
                                    <p:animScale>
                                      <p:cBhvr>
                                        <p:cTn id="242" dur="1000" autoRev="1" fill="hold"/>
                                        <p:tgtEl>
                                          <p:spTgt spid="378"/>
                                        </p:tgtEl>
                                      </p:cBhvr>
                                      <p:by x="105000" y="105000"/>
                                    </p:animScale>
                                  </p:childTnLst>
                                </p:cTn>
                              </p:par>
                              <p:par>
                                <p:cTn id="243" presetID="26" presetClass="emph" presetSubtype="0" dur="2000" repeatCount="indefinite" fill="hold" grpId="0" nodeType="withEffect">
                                  <p:stCondLst>
                                    <p:cond delay="1500"/>
                                  </p:stCondLst>
                                  <p:childTnLst>
                                    <p:animEffect transition="out" filter="fade">
                                      <p:cBhvr>
                                        <p:cTn id="244" dur="2000" tmFilter="0, 0; .2, .5; .8, .5; 1, 0"/>
                                        <p:tgtEl>
                                          <p:spTgt spid="379"/>
                                        </p:tgtEl>
                                      </p:cBhvr>
                                    </p:animEffect>
                                    <p:animScale>
                                      <p:cBhvr>
                                        <p:cTn id="245" dur="1000" autoRev="1" fill="hold"/>
                                        <p:tgtEl>
                                          <p:spTgt spid="379"/>
                                        </p:tgtEl>
                                      </p:cBhvr>
                                      <p:by x="105000" y="105000"/>
                                    </p:animScale>
                                  </p:childTnLst>
                                </p:cTn>
                              </p:par>
                              <p:par>
                                <p:cTn id="246" presetID="26" presetClass="emph" presetSubtype="0" dur="2000" repeatCount="indefinite" fill="hold" grpId="0" nodeType="withEffect">
                                  <p:stCondLst>
                                    <p:cond delay="1500"/>
                                  </p:stCondLst>
                                  <p:childTnLst>
                                    <p:animEffect transition="out" filter="fade">
                                      <p:cBhvr>
                                        <p:cTn id="247" dur="2000" tmFilter="0, 0; .2, .5; .8, .5; 1, 0"/>
                                        <p:tgtEl>
                                          <p:spTgt spid="380"/>
                                        </p:tgtEl>
                                      </p:cBhvr>
                                    </p:animEffect>
                                    <p:animScale>
                                      <p:cBhvr>
                                        <p:cTn id="248" dur="1000" autoRev="1" fill="hold"/>
                                        <p:tgtEl>
                                          <p:spTgt spid="380"/>
                                        </p:tgtEl>
                                      </p:cBhvr>
                                      <p:by x="105000" y="105000"/>
                                    </p:animScale>
                                  </p:childTnLst>
                                </p:cTn>
                              </p:par>
                              <p:par>
                                <p:cTn id="249" presetID="26" presetClass="emph" presetSubtype="0" dur="2000" repeatCount="indefinite" fill="hold" grpId="0" nodeType="withEffect">
                                  <p:stCondLst>
                                    <p:cond delay="1500"/>
                                  </p:stCondLst>
                                  <p:childTnLst>
                                    <p:animEffect transition="out" filter="fade">
                                      <p:cBhvr>
                                        <p:cTn id="250" dur="2000" tmFilter="0, 0; .2, .5; .8, .5; 1, 0"/>
                                        <p:tgtEl>
                                          <p:spTgt spid="381"/>
                                        </p:tgtEl>
                                      </p:cBhvr>
                                    </p:animEffect>
                                    <p:animScale>
                                      <p:cBhvr>
                                        <p:cTn id="251" dur="1000" autoRev="1" fill="hold"/>
                                        <p:tgtEl>
                                          <p:spTgt spid="381"/>
                                        </p:tgtEl>
                                      </p:cBhvr>
                                      <p:by x="105000" y="105000"/>
                                    </p:animScale>
                                  </p:childTnLst>
                                </p:cTn>
                              </p:par>
                              <p:par>
                                <p:cTn id="252" presetID="26" presetClass="emph" presetSubtype="0" dur="2000" repeatCount="indefinite" fill="hold" grpId="0" nodeType="withEffect">
                                  <p:stCondLst>
                                    <p:cond delay="1750"/>
                                  </p:stCondLst>
                                  <p:childTnLst>
                                    <p:animEffect transition="out" filter="fade">
                                      <p:cBhvr>
                                        <p:cTn id="253" dur="2000" tmFilter="0, 0; .2, .5; .8, .5; 1, 0"/>
                                        <p:tgtEl>
                                          <p:spTgt spid="382"/>
                                        </p:tgtEl>
                                      </p:cBhvr>
                                    </p:animEffect>
                                    <p:animScale>
                                      <p:cBhvr>
                                        <p:cTn id="254" dur="1000" autoRev="1" fill="hold"/>
                                        <p:tgtEl>
                                          <p:spTgt spid="382"/>
                                        </p:tgtEl>
                                      </p:cBhvr>
                                      <p:by x="105000" y="105000"/>
                                    </p:animScale>
                                  </p:childTnLst>
                                </p:cTn>
                              </p:par>
                              <p:par>
                                <p:cTn id="255" presetID="26" presetClass="emph" presetSubtype="0" dur="2000" repeatCount="indefinite" fill="hold" grpId="0" nodeType="withEffect">
                                  <p:stCondLst>
                                    <p:cond delay="1750"/>
                                  </p:stCondLst>
                                  <p:childTnLst>
                                    <p:animEffect transition="out" filter="fade">
                                      <p:cBhvr>
                                        <p:cTn id="256" dur="2000" tmFilter="0, 0; .2, .5; .8, .5; 1, 0"/>
                                        <p:tgtEl>
                                          <p:spTgt spid="383"/>
                                        </p:tgtEl>
                                      </p:cBhvr>
                                    </p:animEffect>
                                    <p:animScale>
                                      <p:cBhvr>
                                        <p:cTn id="257" dur="1000" autoRev="1" fill="hold"/>
                                        <p:tgtEl>
                                          <p:spTgt spid="383"/>
                                        </p:tgtEl>
                                      </p:cBhvr>
                                      <p:by x="105000" y="105000"/>
                                    </p:animScale>
                                  </p:childTnLst>
                                </p:cTn>
                              </p:par>
                              <p:par>
                                <p:cTn id="258" presetID="26" presetClass="emph" presetSubtype="0" dur="2000" repeatCount="indefinite" fill="hold" grpId="0" nodeType="withEffect">
                                  <p:stCondLst>
                                    <p:cond delay="1750"/>
                                  </p:stCondLst>
                                  <p:childTnLst>
                                    <p:animEffect transition="out" filter="fade">
                                      <p:cBhvr>
                                        <p:cTn id="259" dur="2000" tmFilter="0, 0; .2, .5; .8, .5; 1, 0"/>
                                        <p:tgtEl>
                                          <p:spTgt spid="384"/>
                                        </p:tgtEl>
                                      </p:cBhvr>
                                    </p:animEffect>
                                    <p:animScale>
                                      <p:cBhvr>
                                        <p:cTn id="260" dur="1000" autoRev="1" fill="hold"/>
                                        <p:tgtEl>
                                          <p:spTgt spid="384"/>
                                        </p:tgtEl>
                                      </p:cBhvr>
                                      <p:by x="105000" y="105000"/>
                                    </p:animScale>
                                  </p:childTnLst>
                                </p:cTn>
                              </p:par>
                              <p:par>
                                <p:cTn id="261" presetID="26" presetClass="emph" presetSubtype="0" dur="2000" repeatCount="indefinite" fill="hold" grpId="0" nodeType="withEffect">
                                  <p:stCondLst>
                                    <p:cond delay="1750"/>
                                  </p:stCondLst>
                                  <p:childTnLst>
                                    <p:animEffect transition="out" filter="fade">
                                      <p:cBhvr>
                                        <p:cTn id="262" dur="2000" tmFilter="0, 0; .2, .5; .8, .5; 1, 0"/>
                                        <p:tgtEl>
                                          <p:spTgt spid="385"/>
                                        </p:tgtEl>
                                      </p:cBhvr>
                                    </p:animEffect>
                                    <p:animScale>
                                      <p:cBhvr>
                                        <p:cTn id="263" dur="1000" autoRev="1" fill="hold"/>
                                        <p:tgtEl>
                                          <p:spTgt spid="385"/>
                                        </p:tgtEl>
                                      </p:cBhvr>
                                      <p:by x="105000" y="105000"/>
                                    </p:animScale>
                                  </p:childTnLst>
                                </p:cTn>
                              </p:par>
                              <p:par>
                                <p:cTn id="264" presetID="26" presetClass="emph" presetSubtype="0" dur="2000" repeatCount="indefinite" fill="hold" grpId="0" nodeType="withEffect">
                                  <p:stCondLst>
                                    <p:cond delay="1750"/>
                                  </p:stCondLst>
                                  <p:childTnLst>
                                    <p:animEffect transition="out" filter="fade">
                                      <p:cBhvr>
                                        <p:cTn id="265" dur="2000" tmFilter="0, 0; .2, .5; .8, .5; 1, 0"/>
                                        <p:tgtEl>
                                          <p:spTgt spid="386"/>
                                        </p:tgtEl>
                                      </p:cBhvr>
                                    </p:animEffect>
                                    <p:animScale>
                                      <p:cBhvr>
                                        <p:cTn id="266" dur="1000" autoRev="1" fill="hold"/>
                                        <p:tgtEl>
                                          <p:spTgt spid="386"/>
                                        </p:tgtEl>
                                      </p:cBhvr>
                                      <p:by x="105000" y="105000"/>
                                    </p:animScale>
                                  </p:childTnLst>
                                </p:cTn>
                              </p:par>
                              <p:par>
                                <p:cTn id="267" presetID="26" presetClass="emph" presetSubtype="0" dur="2000" repeatCount="indefinite" fill="hold" grpId="0" nodeType="withEffect">
                                  <p:stCondLst>
                                    <p:cond delay="1750"/>
                                  </p:stCondLst>
                                  <p:childTnLst>
                                    <p:animEffect transition="out" filter="fade">
                                      <p:cBhvr>
                                        <p:cTn id="268" dur="2000" tmFilter="0, 0; .2, .5; .8, .5; 1, 0"/>
                                        <p:tgtEl>
                                          <p:spTgt spid="387"/>
                                        </p:tgtEl>
                                      </p:cBhvr>
                                    </p:animEffect>
                                    <p:animScale>
                                      <p:cBhvr>
                                        <p:cTn id="269" dur="1000" autoRev="1" fill="hold"/>
                                        <p:tgtEl>
                                          <p:spTgt spid="387"/>
                                        </p:tgtEl>
                                      </p:cBhvr>
                                      <p:by x="105000" y="105000"/>
                                    </p:animScale>
                                  </p:childTnLst>
                                </p:cTn>
                              </p:par>
                              <p:par>
                                <p:cTn id="270" presetID="26" presetClass="emph" presetSubtype="0" dur="2000" repeatCount="indefinite" fill="hold" grpId="0" nodeType="withEffect">
                                  <p:stCondLst>
                                    <p:cond delay="1750"/>
                                  </p:stCondLst>
                                  <p:childTnLst>
                                    <p:animEffect transition="out" filter="fade">
                                      <p:cBhvr>
                                        <p:cTn id="271" dur="2000" tmFilter="0, 0; .2, .5; .8, .5; 1, 0"/>
                                        <p:tgtEl>
                                          <p:spTgt spid="388"/>
                                        </p:tgtEl>
                                      </p:cBhvr>
                                    </p:animEffect>
                                    <p:animScale>
                                      <p:cBhvr>
                                        <p:cTn id="272" dur="1000" autoRev="1" fill="hold"/>
                                        <p:tgtEl>
                                          <p:spTgt spid="388"/>
                                        </p:tgtEl>
                                      </p:cBhvr>
                                      <p:by x="105000" y="105000"/>
                                    </p:animScale>
                                  </p:childTnLst>
                                </p:cTn>
                              </p:par>
                              <p:par>
                                <p:cTn id="273" presetID="26" presetClass="emph" presetSubtype="0" dur="2000" repeatCount="indefinite" fill="hold" grpId="0" nodeType="withEffect">
                                  <p:stCondLst>
                                    <p:cond delay="1750"/>
                                  </p:stCondLst>
                                  <p:childTnLst>
                                    <p:animEffect transition="out" filter="fade">
                                      <p:cBhvr>
                                        <p:cTn id="274" dur="2000" tmFilter="0, 0; .2, .5; .8, .5; 1, 0"/>
                                        <p:tgtEl>
                                          <p:spTgt spid="389"/>
                                        </p:tgtEl>
                                      </p:cBhvr>
                                    </p:animEffect>
                                    <p:animScale>
                                      <p:cBhvr>
                                        <p:cTn id="275" dur="1000" autoRev="1" fill="hold"/>
                                        <p:tgtEl>
                                          <p:spTgt spid="389"/>
                                        </p:tgtEl>
                                      </p:cBhvr>
                                      <p:by x="105000" y="105000"/>
                                    </p:animScale>
                                  </p:childTnLst>
                                </p:cTn>
                              </p:par>
                              <p:par>
                                <p:cTn id="276" presetID="26" presetClass="emph" presetSubtype="0" dur="2000" repeatCount="indefinite" fill="hold" grpId="0" nodeType="withEffect">
                                  <p:stCondLst>
                                    <p:cond delay="1750"/>
                                  </p:stCondLst>
                                  <p:childTnLst>
                                    <p:animEffect transition="out" filter="fade">
                                      <p:cBhvr>
                                        <p:cTn id="277" dur="2000" tmFilter="0, 0; .2, .5; .8, .5; 1, 0"/>
                                        <p:tgtEl>
                                          <p:spTgt spid="390"/>
                                        </p:tgtEl>
                                      </p:cBhvr>
                                    </p:animEffect>
                                    <p:animScale>
                                      <p:cBhvr>
                                        <p:cTn id="278" dur="1000" autoRev="1" fill="hold"/>
                                        <p:tgtEl>
                                          <p:spTgt spid="390"/>
                                        </p:tgtEl>
                                      </p:cBhvr>
                                      <p:by x="105000" y="105000"/>
                                    </p:animScale>
                                  </p:childTnLst>
                                </p:cTn>
                              </p:par>
                              <p:par>
                                <p:cTn id="279" presetID="26" presetClass="emph" presetSubtype="0" dur="2000" repeatCount="indefinite" fill="hold" grpId="0" nodeType="withEffect">
                                  <p:stCondLst>
                                    <p:cond delay="1750"/>
                                  </p:stCondLst>
                                  <p:childTnLst>
                                    <p:animEffect transition="out" filter="fade">
                                      <p:cBhvr>
                                        <p:cTn id="280" dur="2000" tmFilter="0, 0; .2, .5; .8, .5; 1, 0"/>
                                        <p:tgtEl>
                                          <p:spTgt spid="391"/>
                                        </p:tgtEl>
                                      </p:cBhvr>
                                    </p:animEffect>
                                    <p:animScale>
                                      <p:cBhvr>
                                        <p:cTn id="281" dur="1000" autoRev="1" fill="hold"/>
                                        <p:tgtEl>
                                          <p:spTgt spid="391"/>
                                        </p:tgtEl>
                                      </p:cBhvr>
                                      <p:by x="105000" y="105000"/>
                                    </p:animScale>
                                  </p:childTnLst>
                                </p:cTn>
                              </p:par>
                              <p:par>
                                <p:cTn id="282" presetID="26" presetClass="emph" presetSubtype="0" dur="2000" repeatCount="indefinite" fill="hold" grpId="0" nodeType="withEffect">
                                  <p:stCondLst>
                                    <p:cond delay="1750"/>
                                  </p:stCondLst>
                                  <p:childTnLst>
                                    <p:animEffect transition="out" filter="fade">
                                      <p:cBhvr>
                                        <p:cTn id="283" dur="2000" tmFilter="0, 0; .2, .5; .8, .5; 1, 0"/>
                                        <p:tgtEl>
                                          <p:spTgt spid="392"/>
                                        </p:tgtEl>
                                      </p:cBhvr>
                                    </p:animEffect>
                                    <p:animScale>
                                      <p:cBhvr>
                                        <p:cTn id="284" dur="1000" autoRev="1" fill="hold"/>
                                        <p:tgtEl>
                                          <p:spTgt spid="392"/>
                                        </p:tgtEl>
                                      </p:cBhvr>
                                      <p:by x="105000" y="105000"/>
                                    </p:animScale>
                                  </p:childTnLst>
                                </p:cTn>
                              </p:par>
                              <p:par>
                                <p:cTn id="285" presetID="26" presetClass="emph" presetSubtype="0" dur="2000" repeatCount="indefinite" fill="hold" grpId="0" nodeType="withEffect">
                                  <p:stCondLst>
                                    <p:cond delay="1750"/>
                                  </p:stCondLst>
                                  <p:childTnLst>
                                    <p:animEffect transition="out" filter="fade">
                                      <p:cBhvr>
                                        <p:cTn id="286" dur="2000" tmFilter="0, 0; .2, .5; .8, .5; 1, 0"/>
                                        <p:tgtEl>
                                          <p:spTgt spid="393"/>
                                        </p:tgtEl>
                                      </p:cBhvr>
                                    </p:animEffect>
                                    <p:animScale>
                                      <p:cBhvr>
                                        <p:cTn id="287" dur="1000" autoRev="1" fill="hold"/>
                                        <p:tgtEl>
                                          <p:spTgt spid="393"/>
                                        </p:tgtEl>
                                      </p:cBhvr>
                                      <p:by x="105000" y="105000"/>
                                    </p:animScale>
                                  </p:childTnLst>
                                </p:cTn>
                              </p:par>
                              <p:par>
                                <p:cTn id="288" presetID="26" presetClass="emph" presetSubtype="0" dur="2000" repeatCount="indefinite" fill="hold" grpId="0" nodeType="withEffect">
                                  <p:stCondLst>
                                    <p:cond delay="1750"/>
                                  </p:stCondLst>
                                  <p:childTnLst>
                                    <p:animEffect transition="out" filter="fade">
                                      <p:cBhvr>
                                        <p:cTn id="289" dur="2000" tmFilter="0, 0; .2, .5; .8, .5; 1, 0"/>
                                        <p:tgtEl>
                                          <p:spTgt spid="394"/>
                                        </p:tgtEl>
                                      </p:cBhvr>
                                    </p:animEffect>
                                    <p:animScale>
                                      <p:cBhvr>
                                        <p:cTn id="290" dur="1000" autoRev="1" fill="hold"/>
                                        <p:tgtEl>
                                          <p:spTgt spid="394"/>
                                        </p:tgtEl>
                                      </p:cBhvr>
                                      <p:by x="105000" y="105000"/>
                                    </p:animScale>
                                  </p:childTnLst>
                                </p:cTn>
                              </p:par>
                              <p:par>
                                <p:cTn id="291" presetID="26" presetClass="emph" presetSubtype="0" dur="2000" repeatCount="indefinite" fill="hold" grpId="0" nodeType="withEffect">
                                  <p:stCondLst>
                                    <p:cond delay="1750"/>
                                  </p:stCondLst>
                                  <p:childTnLst>
                                    <p:animEffect transition="out" filter="fade">
                                      <p:cBhvr>
                                        <p:cTn id="292" dur="2000" tmFilter="0, 0; .2, .5; .8, .5; 1, 0"/>
                                        <p:tgtEl>
                                          <p:spTgt spid="395"/>
                                        </p:tgtEl>
                                      </p:cBhvr>
                                    </p:animEffect>
                                    <p:animScale>
                                      <p:cBhvr>
                                        <p:cTn id="293" dur="1000" autoRev="1" fill="hold"/>
                                        <p:tgtEl>
                                          <p:spTgt spid="395"/>
                                        </p:tgtEl>
                                      </p:cBhvr>
                                      <p:by x="105000" y="105000"/>
                                    </p:animScale>
                                  </p:childTnLst>
                                </p:cTn>
                              </p:par>
                              <p:par>
                                <p:cTn id="294" presetID="26" presetClass="emph" presetSubtype="0" dur="2000" repeatCount="indefinite" fill="hold" grpId="0" nodeType="withEffect">
                                  <p:stCondLst>
                                    <p:cond delay="2000"/>
                                  </p:stCondLst>
                                  <p:childTnLst>
                                    <p:animEffect transition="out" filter="fade">
                                      <p:cBhvr>
                                        <p:cTn id="295" dur="2000" tmFilter="0, 0; .2, .5; .8, .5; 1, 0"/>
                                        <p:tgtEl>
                                          <p:spTgt spid="396"/>
                                        </p:tgtEl>
                                      </p:cBhvr>
                                    </p:animEffect>
                                    <p:animScale>
                                      <p:cBhvr>
                                        <p:cTn id="296" dur="1000" autoRev="1" fill="hold"/>
                                        <p:tgtEl>
                                          <p:spTgt spid="396"/>
                                        </p:tgtEl>
                                      </p:cBhvr>
                                      <p:by x="105000" y="105000"/>
                                    </p:animScale>
                                  </p:childTnLst>
                                </p:cTn>
                              </p:par>
                              <p:par>
                                <p:cTn id="297" presetID="26" presetClass="emph" presetSubtype="0" dur="2000" repeatCount="indefinite" fill="hold" grpId="0" nodeType="withEffect">
                                  <p:stCondLst>
                                    <p:cond delay="2000"/>
                                  </p:stCondLst>
                                  <p:childTnLst>
                                    <p:animEffect transition="out" filter="fade">
                                      <p:cBhvr>
                                        <p:cTn id="298" dur="2000" tmFilter="0, 0; .2, .5; .8, .5; 1, 0"/>
                                        <p:tgtEl>
                                          <p:spTgt spid="397"/>
                                        </p:tgtEl>
                                      </p:cBhvr>
                                    </p:animEffect>
                                    <p:animScale>
                                      <p:cBhvr>
                                        <p:cTn id="299" dur="1000" autoRev="1" fill="hold"/>
                                        <p:tgtEl>
                                          <p:spTgt spid="397"/>
                                        </p:tgtEl>
                                      </p:cBhvr>
                                      <p:by x="105000" y="105000"/>
                                    </p:animScale>
                                  </p:childTnLst>
                                </p:cTn>
                              </p:par>
                              <p:par>
                                <p:cTn id="300" presetID="26" presetClass="emph" presetSubtype="0" dur="2000" repeatCount="indefinite" fill="hold" grpId="0" nodeType="withEffect">
                                  <p:stCondLst>
                                    <p:cond delay="2000"/>
                                  </p:stCondLst>
                                  <p:childTnLst>
                                    <p:animEffect transition="out" filter="fade">
                                      <p:cBhvr>
                                        <p:cTn id="301" dur="2000" tmFilter="0, 0; .2, .5; .8, .5; 1, 0"/>
                                        <p:tgtEl>
                                          <p:spTgt spid="398"/>
                                        </p:tgtEl>
                                      </p:cBhvr>
                                    </p:animEffect>
                                    <p:animScale>
                                      <p:cBhvr>
                                        <p:cTn id="302" dur="1000" autoRev="1" fill="hold"/>
                                        <p:tgtEl>
                                          <p:spTgt spid="398"/>
                                        </p:tgtEl>
                                      </p:cBhvr>
                                      <p:by x="105000" y="105000"/>
                                    </p:animScale>
                                  </p:childTnLst>
                                </p:cTn>
                              </p:par>
                              <p:par>
                                <p:cTn id="303" presetID="26" presetClass="emph" presetSubtype="0" dur="2000" repeatCount="indefinite" fill="hold" grpId="0" nodeType="withEffect">
                                  <p:stCondLst>
                                    <p:cond delay="2000"/>
                                  </p:stCondLst>
                                  <p:childTnLst>
                                    <p:animEffect transition="out" filter="fade">
                                      <p:cBhvr>
                                        <p:cTn id="304" dur="2000" tmFilter="0, 0; .2, .5; .8, .5; 1, 0"/>
                                        <p:tgtEl>
                                          <p:spTgt spid="399"/>
                                        </p:tgtEl>
                                      </p:cBhvr>
                                    </p:animEffect>
                                    <p:animScale>
                                      <p:cBhvr>
                                        <p:cTn id="305" dur="1000" autoRev="1" fill="hold"/>
                                        <p:tgtEl>
                                          <p:spTgt spid="399"/>
                                        </p:tgtEl>
                                      </p:cBhvr>
                                      <p:by x="105000" y="105000"/>
                                    </p:animScale>
                                  </p:childTnLst>
                                </p:cTn>
                              </p:par>
                              <p:par>
                                <p:cTn id="306" presetID="26" presetClass="emph" presetSubtype="0" dur="2000" repeatCount="indefinite" fill="hold" grpId="0" nodeType="withEffect">
                                  <p:stCondLst>
                                    <p:cond delay="2000"/>
                                  </p:stCondLst>
                                  <p:childTnLst>
                                    <p:animEffect transition="out" filter="fade">
                                      <p:cBhvr>
                                        <p:cTn id="307" dur="2000" tmFilter="0, 0; .2, .5; .8, .5; 1, 0"/>
                                        <p:tgtEl>
                                          <p:spTgt spid="400"/>
                                        </p:tgtEl>
                                      </p:cBhvr>
                                    </p:animEffect>
                                    <p:animScale>
                                      <p:cBhvr>
                                        <p:cTn id="308" dur="1000" autoRev="1" fill="hold"/>
                                        <p:tgtEl>
                                          <p:spTgt spid="400"/>
                                        </p:tgtEl>
                                      </p:cBhvr>
                                      <p:by x="105000" y="105000"/>
                                    </p:animScale>
                                  </p:childTnLst>
                                </p:cTn>
                              </p:par>
                              <p:par>
                                <p:cTn id="309" presetID="26" presetClass="emph" presetSubtype="0" dur="2000" repeatCount="indefinite" fill="hold" grpId="0" nodeType="withEffect">
                                  <p:stCondLst>
                                    <p:cond delay="2000"/>
                                  </p:stCondLst>
                                  <p:childTnLst>
                                    <p:animEffect transition="out" filter="fade">
                                      <p:cBhvr>
                                        <p:cTn id="310" dur="2000" tmFilter="0, 0; .2, .5; .8, .5; 1, 0"/>
                                        <p:tgtEl>
                                          <p:spTgt spid="401"/>
                                        </p:tgtEl>
                                      </p:cBhvr>
                                    </p:animEffect>
                                    <p:animScale>
                                      <p:cBhvr>
                                        <p:cTn id="311" dur="1000" autoRev="1" fill="hold"/>
                                        <p:tgtEl>
                                          <p:spTgt spid="401"/>
                                        </p:tgtEl>
                                      </p:cBhvr>
                                      <p:by x="105000" y="105000"/>
                                    </p:animScale>
                                  </p:childTnLst>
                                </p:cTn>
                              </p:par>
                              <p:par>
                                <p:cTn id="312" presetID="26" presetClass="emph" presetSubtype="0" dur="2000" repeatCount="indefinite" fill="hold" grpId="0" nodeType="withEffect">
                                  <p:stCondLst>
                                    <p:cond delay="2000"/>
                                  </p:stCondLst>
                                  <p:childTnLst>
                                    <p:animEffect transition="out" filter="fade">
                                      <p:cBhvr>
                                        <p:cTn id="313" dur="2000" tmFilter="0, 0; .2, .5; .8, .5; 1, 0"/>
                                        <p:tgtEl>
                                          <p:spTgt spid="402"/>
                                        </p:tgtEl>
                                      </p:cBhvr>
                                    </p:animEffect>
                                    <p:animScale>
                                      <p:cBhvr>
                                        <p:cTn id="314" dur="1000" autoRev="1" fill="hold"/>
                                        <p:tgtEl>
                                          <p:spTgt spid="402"/>
                                        </p:tgtEl>
                                      </p:cBhvr>
                                      <p:by x="105000" y="105000"/>
                                    </p:animScale>
                                  </p:childTnLst>
                                </p:cTn>
                              </p:par>
                              <p:par>
                                <p:cTn id="315" presetID="26" presetClass="emph" presetSubtype="0" dur="2000" repeatCount="indefinite" fill="hold" grpId="0" nodeType="withEffect">
                                  <p:stCondLst>
                                    <p:cond delay="2000"/>
                                  </p:stCondLst>
                                  <p:childTnLst>
                                    <p:animEffect transition="out" filter="fade">
                                      <p:cBhvr>
                                        <p:cTn id="316" dur="2000" tmFilter="0, 0; .2, .5; .8, .5; 1, 0"/>
                                        <p:tgtEl>
                                          <p:spTgt spid="403"/>
                                        </p:tgtEl>
                                      </p:cBhvr>
                                    </p:animEffect>
                                    <p:animScale>
                                      <p:cBhvr>
                                        <p:cTn id="317" dur="1000" autoRev="1" fill="hold"/>
                                        <p:tgtEl>
                                          <p:spTgt spid="403"/>
                                        </p:tgtEl>
                                      </p:cBhvr>
                                      <p:by x="105000" y="105000"/>
                                    </p:animScale>
                                  </p:childTnLst>
                                </p:cTn>
                              </p:par>
                              <p:par>
                                <p:cTn id="318" presetID="26" presetClass="emph" presetSubtype="0" dur="2000" repeatCount="indefinite" fill="hold" grpId="0" nodeType="withEffect">
                                  <p:stCondLst>
                                    <p:cond delay="2000"/>
                                  </p:stCondLst>
                                  <p:childTnLst>
                                    <p:animEffect transition="out" filter="fade">
                                      <p:cBhvr>
                                        <p:cTn id="319" dur="2000" tmFilter="0, 0; .2, .5; .8, .5; 1, 0"/>
                                        <p:tgtEl>
                                          <p:spTgt spid="404"/>
                                        </p:tgtEl>
                                      </p:cBhvr>
                                    </p:animEffect>
                                    <p:animScale>
                                      <p:cBhvr>
                                        <p:cTn id="320" dur="1000" autoRev="1" fill="hold"/>
                                        <p:tgtEl>
                                          <p:spTgt spid="404"/>
                                        </p:tgtEl>
                                      </p:cBhvr>
                                      <p:by x="105000" y="105000"/>
                                    </p:animScale>
                                  </p:childTnLst>
                                </p:cTn>
                              </p:par>
                              <p:par>
                                <p:cTn id="321" presetID="26" presetClass="emph" presetSubtype="0" dur="2000" repeatCount="indefinite" fill="hold" grpId="0" nodeType="withEffect">
                                  <p:stCondLst>
                                    <p:cond delay="2000"/>
                                  </p:stCondLst>
                                  <p:childTnLst>
                                    <p:animEffect transition="out" filter="fade">
                                      <p:cBhvr>
                                        <p:cTn id="322" dur="2000" tmFilter="0, 0; .2, .5; .8, .5; 1, 0"/>
                                        <p:tgtEl>
                                          <p:spTgt spid="405"/>
                                        </p:tgtEl>
                                      </p:cBhvr>
                                    </p:animEffect>
                                    <p:animScale>
                                      <p:cBhvr>
                                        <p:cTn id="323" dur="1000" autoRev="1" fill="hold"/>
                                        <p:tgtEl>
                                          <p:spTgt spid="405"/>
                                        </p:tgtEl>
                                      </p:cBhvr>
                                      <p:by x="105000" y="105000"/>
                                    </p:animScale>
                                  </p:childTnLst>
                                </p:cTn>
                              </p:par>
                              <p:par>
                                <p:cTn id="324" presetID="26" presetClass="emph" presetSubtype="0" dur="2000" repeatCount="indefinite" fill="hold" grpId="0" nodeType="withEffect">
                                  <p:stCondLst>
                                    <p:cond delay="2000"/>
                                  </p:stCondLst>
                                  <p:childTnLst>
                                    <p:animEffect transition="out" filter="fade">
                                      <p:cBhvr>
                                        <p:cTn id="325" dur="2000" tmFilter="0, 0; .2, .5; .8, .5; 1, 0"/>
                                        <p:tgtEl>
                                          <p:spTgt spid="406"/>
                                        </p:tgtEl>
                                      </p:cBhvr>
                                    </p:animEffect>
                                    <p:animScale>
                                      <p:cBhvr>
                                        <p:cTn id="326" dur="1000" autoRev="1" fill="hold"/>
                                        <p:tgtEl>
                                          <p:spTgt spid="406"/>
                                        </p:tgtEl>
                                      </p:cBhvr>
                                      <p:by x="105000" y="105000"/>
                                    </p:animScale>
                                  </p:childTnLst>
                                </p:cTn>
                              </p:par>
                              <p:par>
                                <p:cTn id="327" presetID="26" presetClass="emph" presetSubtype="0" dur="2000" repeatCount="indefinite" fill="hold" grpId="0" nodeType="withEffect">
                                  <p:stCondLst>
                                    <p:cond delay="2000"/>
                                  </p:stCondLst>
                                  <p:childTnLst>
                                    <p:animEffect transition="out" filter="fade">
                                      <p:cBhvr>
                                        <p:cTn id="328" dur="2000" tmFilter="0, 0; .2, .5; .8, .5; 1, 0"/>
                                        <p:tgtEl>
                                          <p:spTgt spid="407"/>
                                        </p:tgtEl>
                                      </p:cBhvr>
                                    </p:animEffect>
                                    <p:animScale>
                                      <p:cBhvr>
                                        <p:cTn id="329" dur="1000" autoRev="1" fill="hold"/>
                                        <p:tgtEl>
                                          <p:spTgt spid="407"/>
                                        </p:tgtEl>
                                      </p:cBhvr>
                                      <p:by x="105000" y="105000"/>
                                    </p:animScale>
                                  </p:childTnLst>
                                </p:cTn>
                              </p:par>
                              <p:par>
                                <p:cTn id="330" presetID="26" presetClass="emph" presetSubtype="0" dur="2000" repeatCount="indefinite" fill="hold" grpId="0" nodeType="withEffect">
                                  <p:stCondLst>
                                    <p:cond delay="2000"/>
                                  </p:stCondLst>
                                  <p:childTnLst>
                                    <p:animEffect transition="out" filter="fade">
                                      <p:cBhvr>
                                        <p:cTn id="331" dur="2000" tmFilter="0, 0; .2, .5; .8, .5; 1, 0"/>
                                        <p:tgtEl>
                                          <p:spTgt spid="408"/>
                                        </p:tgtEl>
                                      </p:cBhvr>
                                    </p:animEffect>
                                    <p:animScale>
                                      <p:cBhvr>
                                        <p:cTn id="332" dur="1000" autoRev="1" fill="hold"/>
                                        <p:tgtEl>
                                          <p:spTgt spid="408"/>
                                        </p:tgtEl>
                                      </p:cBhvr>
                                      <p:by x="105000" y="105000"/>
                                    </p:animScale>
                                  </p:childTnLst>
                                </p:cTn>
                              </p:par>
                              <p:par>
                                <p:cTn id="333" presetID="26" presetClass="emph" presetSubtype="0" dur="2000" repeatCount="indefinite" fill="hold" grpId="0" nodeType="withEffect">
                                  <p:stCondLst>
                                    <p:cond delay="2000"/>
                                  </p:stCondLst>
                                  <p:childTnLst>
                                    <p:animEffect transition="out" filter="fade">
                                      <p:cBhvr>
                                        <p:cTn id="334" dur="2000" tmFilter="0, 0; .2, .5; .8, .5; 1, 0"/>
                                        <p:tgtEl>
                                          <p:spTgt spid="409"/>
                                        </p:tgtEl>
                                      </p:cBhvr>
                                    </p:animEffect>
                                    <p:animScale>
                                      <p:cBhvr>
                                        <p:cTn id="335" dur="1000" autoRev="1" fill="hold"/>
                                        <p:tgtEl>
                                          <p:spTgt spid="409"/>
                                        </p:tgtEl>
                                      </p:cBhvr>
                                      <p:by x="105000" y="105000"/>
                                    </p:animScale>
                                  </p:childTnLst>
                                </p:cTn>
                              </p:par>
                              <p:par>
                                <p:cTn id="336" presetID="26" presetClass="emph" presetSubtype="0" dur="2000" repeatCount="indefinite" fill="hold" grpId="0" nodeType="withEffect">
                                  <p:stCondLst>
                                    <p:cond delay="2250"/>
                                  </p:stCondLst>
                                  <p:childTnLst>
                                    <p:animEffect transition="out" filter="fade">
                                      <p:cBhvr>
                                        <p:cTn id="337" dur="2000" tmFilter="0, 0; .2, .5; .8, .5; 1, 0"/>
                                        <p:tgtEl>
                                          <p:spTgt spid="410"/>
                                        </p:tgtEl>
                                      </p:cBhvr>
                                    </p:animEffect>
                                    <p:animScale>
                                      <p:cBhvr>
                                        <p:cTn id="338" dur="1000" autoRev="1" fill="hold"/>
                                        <p:tgtEl>
                                          <p:spTgt spid="410"/>
                                        </p:tgtEl>
                                      </p:cBhvr>
                                      <p:by x="105000" y="105000"/>
                                    </p:animScale>
                                  </p:childTnLst>
                                </p:cTn>
                              </p:par>
                              <p:par>
                                <p:cTn id="339" presetID="26" presetClass="emph" presetSubtype="0" dur="2000" repeatCount="indefinite" fill="hold" grpId="0" nodeType="withEffect">
                                  <p:stCondLst>
                                    <p:cond delay="2250"/>
                                  </p:stCondLst>
                                  <p:childTnLst>
                                    <p:animEffect transition="out" filter="fade">
                                      <p:cBhvr>
                                        <p:cTn id="340" dur="2000" tmFilter="0, 0; .2, .5; .8, .5; 1, 0"/>
                                        <p:tgtEl>
                                          <p:spTgt spid="411"/>
                                        </p:tgtEl>
                                      </p:cBhvr>
                                    </p:animEffect>
                                    <p:animScale>
                                      <p:cBhvr>
                                        <p:cTn id="341" dur="1000" autoRev="1" fill="hold"/>
                                        <p:tgtEl>
                                          <p:spTgt spid="411"/>
                                        </p:tgtEl>
                                      </p:cBhvr>
                                      <p:by x="105000" y="105000"/>
                                    </p:animScale>
                                  </p:childTnLst>
                                </p:cTn>
                              </p:par>
                              <p:par>
                                <p:cTn id="342" presetID="26" presetClass="emph" presetSubtype="0" dur="2000" repeatCount="indefinite" fill="hold" grpId="0" nodeType="withEffect">
                                  <p:stCondLst>
                                    <p:cond delay="2250"/>
                                  </p:stCondLst>
                                  <p:childTnLst>
                                    <p:animEffect transition="out" filter="fade">
                                      <p:cBhvr>
                                        <p:cTn id="343" dur="2000" tmFilter="0, 0; .2, .5; .8, .5; 1, 0"/>
                                        <p:tgtEl>
                                          <p:spTgt spid="412"/>
                                        </p:tgtEl>
                                      </p:cBhvr>
                                    </p:animEffect>
                                    <p:animScale>
                                      <p:cBhvr>
                                        <p:cTn id="344" dur="1000" autoRev="1" fill="hold"/>
                                        <p:tgtEl>
                                          <p:spTgt spid="412"/>
                                        </p:tgtEl>
                                      </p:cBhvr>
                                      <p:by x="105000" y="105000"/>
                                    </p:animScale>
                                  </p:childTnLst>
                                </p:cTn>
                              </p:par>
                              <p:par>
                                <p:cTn id="345" presetID="26" presetClass="emph" presetSubtype="0" dur="2000" repeatCount="indefinite" fill="hold" grpId="0" nodeType="withEffect">
                                  <p:stCondLst>
                                    <p:cond delay="2250"/>
                                  </p:stCondLst>
                                  <p:childTnLst>
                                    <p:animEffect transition="out" filter="fade">
                                      <p:cBhvr>
                                        <p:cTn id="346" dur="2000" tmFilter="0, 0; .2, .5; .8, .5; 1, 0"/>
                                        <p:tgtEl>
                                          <p:spTgt spid="413"/>
                                        </p:tgtEl>
                                      </p:cBhvr>
                                    </p:animEffect>
                                    <p:animScale>
                                      <p:cBhvr>
                                        <p:cTn id="347" dur="1000" autoRev="1" fill="hold"/>
                                        <p:tgtEl>
                                          <p:spTgt spid="413"/>
                                        </p:tgtEl>
                                      </p:cBhvr>
                                      <p:by x="105000" y="105000"/>
                                    </p:animScale>
                                  </p:childTnLst>
                                </p:cTn>
                              </p:par>
                              <p:par>
                                <p:cTn id="348" presetID="26" presetClass="emph" presetSubtype="0" dur="2000" repeatCount="indefinite" fill="hold" grpId="0" nodeType="withEffect">
                                  <p:stCondLst>
                                    <p:cond delay="2250"/>
                                  </p:stCondLst>
                                  <p:childTnLst>
                                    <p:animEffect transition="out" filter="fade">
                                      <p:cBhvr>
                                        <p:cTn id="349" dur="2000" tmFilter="0, 0; .2, .5; .8, .5; 1, 0"/>
                                        <p:tgtEl>
                                          <p:spTgt spid="414"/>
                                        </p:tgtEl>
                                      </p:cBhvr>
                                    </p:animEffect>
                                    <p:animScale>
                                      <p:cBhvr>
                                        <p:cTn id="350" dur="1000" autoRev="1" fill="hold"/>
                                        <p:tgtEl>
                                          <p:spTgt spid="414"/>
                                        </p:tgtEl>
                                      </p:cBhvr>
                                      <p:by x="105000" y="105000"/>
                                    </p:animScale>
                                  </p:childTnLst>
                                </p:cTn>
                              </p:par>
                              <p:par>
                                <p:cTn id="351" presetID="26" presetClass="emph" presetSubtype="0" dur="2000" repeatCount="indefinite" fill="hold" grpId="0" nodeType="withEffect">
                                  <p:stCondLst>
                                    <p:cond delay="2250"/>
                                  </p:stCondLst>
                                  <p:childTnLst>
                                    <p:animEffect transition="out" filter="fade">
                                      <p:cBhvr>
                                        <p:cTn id="352" dur="2000" tmFilter="0, 0; .2, .5; .8, .5; 1, 0"/>
                                        <p:tgtEl>
                                          <p:spTgt spid="415"/>
                                        </p:tgtEl>
                                      </p:cBhvr>
                                    </p:animEffect>
                                    <p:animScale>
                                      <p:cBhvr>
                                        <p:cTn id="353" dur="1000" autoRev="1" fill="hold"/>
                                        <p:tgtEl>
                                          <p:spTgt spid="415"/>
                                        </p:tgtEl>
                                      </p:cBhvr>
                                      <p:by x="105000" y="105000"/>
                                    </p:animScale>
                                  </p:childTnLst>
                                </p:cTn>
                              </p:par>
                              <p:par>
                                <p:cTn id="354" presetID="26" presetClass="emph" presetSubtype="0" dur="2000" repeatCount="indefinite" fill="hold" grpId="0" nodeType="withEffect">
                                  <p:stCondLst>
                                    <p:cond delay="2250"/>
                                  </p:stCondLst>
                                  <p:childTnLst>
                                    <p:animEffect transition="out" filter="fade">
                                      <p:cBhvr>
                                        <p:cTn id="355" dur="2000" tmFilter="0, 0; .2, .5; .8, .5; 1, 0"/>
                                        <p:tgtEl>
                                          <p:spTgt spid="416"/>
                                        </p:tgtEl>
                                      </p:cBhvr>
                                    </p:animEffect>
                                    <p:animScale>
                                      <p:cBhvr>
                                        <p:cTn id="356" dur="1000" autoRev="1" fill="hold"/>
                                        <p:tgtEl>
                                          <p:spTgt spid="416"/>
                                        </p:tgtEl>
                                      </p:cBhvr>
                                      <p:by x="105000" y="105000"/>
                                    </p:animScale>
                                  </p:childTnLst>
                                </p:cTn>
                              </p:par>
                              <p:par>
                                <p:cTn id="357" presetID="26" presetClass="emph" presetSubtype="0" dur="2000" repeatCount="indefinite" fill="hold" grpId="0" nodeType="withEffect">
                                  <p:stCondLst>
                                    <p:cond delay="2250"/>
                                  </p:stCondLst>
                                  <p:childTnLst>
                                    <p:animEffect transition="out" filter="fade">
                                      <p:cBhvr>
                                        <p:cTn id="358" dur="2000" tmFilter="0, 0; .2, .5; .8, .5; 1, 0"/>
                                        <p:tgtEl>
                                          <p:spTgt spid="417"/>
                                        </p:tgtEl>
                                      </p:cBhvr>
                                    </p:animEffect>
                                    <p:animScale>
                                      <p:cBhvr>
                                        <p:cTn id="359" dur="1000" autoRev="1" fill="hold"/>
                                        <p:tgtEl>
                                          <p:spTgt spid="417"/>
                                        </p:tgtEl>
                                      </p:cBhvr>
                                      <p:by x="105000" y="105000"/>
                                    </p:animScale>
                                  </p:childTnLst>
                                </p:cTn>
                              </p:par>
                              <p:par>
                                <p:cTn id="360" presetID="26" presetClass="emph" presetSubtype="0" dur="2000" repeatCount="indefinite" fill="hold" grpId="0" nodeType="withEffect">
                                  <p:stCondLst>
                                    <p:cond delay="2250"/>
                                  </p:stCondLst>
                                  <p:childTnLst>
                                    <p:animEffect transition="out" filter="fade">
                                      <p:cBhvr>
                                        <p:cTn id="361" dur="2000" tmFilter="0, 0; .2, .5; .8, .5; 1, 0"/>
                                        <p:tgtEl>
                                          <p:spTgt spid="418"/>
                                        </p:tgtEl>
                                      </p:cBhvr>
                                    </p:animEffect>
                                    <p:animScale>
                                      <p:cBhvr>
                                        <p:cTn id="362" dur="1000" autoRev="1" fill="hold"/>
                                        <p:tgtEl>
                                          <p:spTgt spid="418"/>
                                        </p:tgtEl>
                                      </p:cBhvr>
                                      <p:by x="105000" y="105000"/>
                                    </p:animScale>
                                  </p:childTnLst>
                                </p:cTn>
                              </p:par>
                              <p:par>
                                <p:cTn id="363" presetID="26" presetClass="emph" presetSubtype="0" dur="2000" repeatCount="indefinite" fill="hold" grpId="0" nodeType="withEffect">
                                  <p:stCondLst>
                                    <p:cond delay="2250"/>
                                  </p:stCondLst>
                                  <p:childTnLst>
                                    <p:animEffect transition="out" filter="fade">
                                      <p:cBhvr>
                                        <p:cTn id="364" dur="2000" tmFilter="0, 0; .2, .5; .8, .5; 1, 0"/>
                                        <p:tgtEl>
                                          <p:spTgt spid="419"/>
                                        </p:tgtEl>
                                      </p:cBhvr>
                                    </p:animEffect>
                                    <p:animScale>
                                      <p:cBhvr>
                                        <p:cTn id="365" dur="1000" autoRev="1" fill="hold"/>
                                        <p:tgtEl>
                                          <p:spTgt spid="419"/>
                                        </p:tgtEl>
                                      </p:cBhvr>
                                      <p:by x="105000" y="105000"/>
                                    </p:animScale>
                                  </p:childTnLst>
                                </p:cTn>
                              </p:par>
                              <p:par>
                                <p:cTn id="366" presetID="26" presetClass="emph" presetSubtype="0" dur="2000" repeatCount="indefinite" fill="hold" grpId="0" nodeType="withEffect">
                                  <p:stCondLst>
                                    <p:cond delay="2250"/>
                                  </p:stCondLst>
                                  <p:childTnLst>
                                    <p:animEffect transition="out" filter="fade">
                                      <p:cBhvr>
                                        <p:cTn id="367" dur="2000" tmFilter="0, 0; .2, .5; .8, .5; 1, 0"/>
                                        <p:tgtEl>
                                          <p:spTgt spid="420"/>
                                        </p:tgtEl>
                                      </p:cBhvr>
                                    </p:animEffect>
                                    <p:animScale>
                                      <p:cBhvr>
                                        <p:cTn id="368" dur="1000" autoRev="1" fill="hold"/>
                                        <p:tgtEl>
                                          <p:spTgt spid="420"/>
                                        </p:tgtEl>
                                      </p:cBhvr>
                                      <p:by x="105000" y="105000"/>
                                    </p:animScale>
                                  </p:childTnLst>
                                </p:cTn>
                              </p:par>
                              <p:par>
                                <p:cTn id="369" presetID="26" presetClass="emph" presetSubtype="0" dur="2000" repeatCount="indefinite" fill="hold" grpId="0" nodeType="withEffect">
                                  <p:stCondLst>
                                    <p:cond delay="2250"/>
                                  </p:stCondLst>
                                  <p:childTnLst>
                                    <p:animEffect transition="out" filter="fade">
                                      <p:cBhvr>
                                        <p:cTn id="370" dur="2000" tmFilter="0, 0; .2, .5; .8, .5; 1, 0"/>
                                        <p:tgtEl>
                                          <p:spTgt spid="421"/>
                                        </p:tgtEl>
                                      </p:cBhvr>
                                    </p:animEffect>
                                    <p:animScale>
                                      <p:cBhvr>
                                        <p:cTn id="371" dur="1000" autoRev="1" fill="hold"/>
                                        <p:tgtEl>
                                          <p:spTgt spid="421"/>
                                        </p:tgtEl>
                                      </p:cBhvr>
                                      <p:by x="105000" y="105000"/>
                                    </p:animScale>
                                  </p:childTnLst>
                                </p:cTn>
                              </p:par>
                              <p:par>
                                <p:cTn id="372" presetID="26" presetClass="emph" presetSubtype="0" dur="2000" repeatCount="indefinite" fill="hold" grpId="0" nodeType="withEffect">
                                  <p:stCondLst>
                                    <p:cond delay="2250"/>
                                  </p:stCondLst>
                                  <p:childTnLst>
                                    <p:animEffect transition="out" filter="fade">
                                      <p:cBhvr>
                                        <p:cTn id="373" dur="2000" tmFilter="0, 0; .2, .5; .8, .5; 1, 0"/>
                                        <p:tgtEl>
                                          <p:spTgt spid="422"/>
                                        </p:tgtEl>
                                      </p:cBhvr>
                                    </p:animEffect>
                                    <p:animScale>
                                      <p:cBhvr>
                                        <p:cTn id="374" dur="1000" autoRev="1" fill="hold"/>
                                        <p:tgtEl>
                                          <p:spTgt spid="422"/>
                                        </p:tgtEl>
                                      </p:cBhvr>
                                      <p:by x="105000" y="105000"/>
                                    </p:animScale>
                                  </p:childTnLst>
                                </p:cTn>
                              </p:par>
                              <p:par>
                                <p:cTn id="375" presetID="26" presetClass="emph" presetSubtype="0" dur="2000" repeatCount="indefinite" fill="hold" grpId="0" nodeType="withEffect">
                                  <p:stCondLst>
                                    <p:cond delay="2250"/>
                                  </p:stCondLst>
                                  <p:childTnLst>
                                    <p:animEffect transition="out" filter="fade">
                                      <p:cBhvr>
                                        <p:cTn id="376" dur="2000" tmFilter="0, 0; .2, .5; .8, .5; 1, 0"/>
                                        <p:tgtEl>
                                          <p:spTgt spid="423"/>
                                        </p:tgtEl>
                                      </p:cBhvr>
                                    </p:animEffect>
                                    <p:animScale>
                                      <p:cBhvr>
                                        <p:cTn id="377" dur="1000" autoRev="1" fill="hold"/>
                                        <p:tgtEl>
                                          <p:spTgt spid="423"/>
                                        </p:tgtEl>
                                      </p:cBhvr>
                                      <p:by x="105000" y="105000"/>
                                    </p:animScale>
                                  </p:childTnLst>
                                </p:cTn>
                              </p:par>
                              <p:par>
                                <p:cTn id="378" presetID="26" presetClass="emph" presetSubtype="0" dur="2000" repeatCount="indefinite" fill="hold" grpId="0" nodeType="withEffect">
                                  <p:stCondLst>
                                    <p:cond delay="2500"/>
                                  </p:stCondLst>
                                  <p:childTnLst>
                                    <p:animEffect transition="out" filter="fade">
                                      <p:cBhvr>
                                        <p:cTn id="379" dur="2000" tmFilter="0, 0; .2, .5; .8, .5; 1, 0"/>
                                        <p:tgtEl>
                                          <p:spTgt spid="424"/>
                                        </p:tgtEl>
                                      </p:cBhvr>
                                    </p:animEffect>
                                    <p:animScale>
                                      <p:cBhvr>
                                        <p:cTn id="380" dur="1000" autoRev="1" fill="hold"/>
                                        <p:tgtEl>
                                          <p:spTgt spid="424"/>
                                        </p:tgtEl>
                                      </p:cBhvr>
                                      <p:by x="105000" y="105000"/>
                                    </p:animScale>
                                  </p:childTnLst>
                                </p:cTn>
                              </p:par>
                              <p:par>
                                <p:cTn id="381" presetID="26" presetClass="emph" presetSubtype="0" dur="2000" repeatCount="indefinite" fill="hold" grpId="0" nodeType="withEffect">
                                  <p:stCondLst>
                                    <p:cond delay="2500"/>
                                  </p:stCondLst>
                                  <p:childTnLst>
                                    <p:animEffect transition="out" filter="fade">
                                      <p:cBhvr>
                                        <p:cTn id="382" dur="2000" tmFilter="0, 0; .2, .5; .8, .5; 1, 0"/>
                                        <p:tgtEl>
                                          <p:spTgt spid="425"/>
                                        </p:tgtEl>
                                      </p:cBhvr>
                                    </p:animEffect>
                                    <p:animScale>
                                      <p:cBhvr>
                                        <p:cTn id="383" dur="1000" autoRev="1" fill="hold"/>
                                        <p:tgtEl>
                                          <p:spTgt spid="425"/>
                                        </p:tgtEl>
                                      </p:cBhvr>
                                      <p:by x="105000" y="105000"/>
                                    </p:animScale>
                                  </p:childTnLst>
                                </p:cTn>
                              </p:par>
                              <p:par>
                                <p:cTn id="384" presetID="26" presetClass="emph" presetSubtype="0" dur="2000" repeatCount="indefinite" fill="hold" grpId="0" nodeType="withEffect">
                                  <p:stCondLst>
                                    <p:cond delay="2500"/>
                                  </p:stCondLst>
                                  <p:childTnLst>
                                    <p:animEffect transition="out" filter="fade">
                                      <p:cBhvr>
                                        <p:cTn id="385" dur="2000" tmFilter="0, 0; .2, .5; .8, .5; 1, 0"/>
                                        <p:tgtEl>
                                          <p:spTgt spid="426"/>
                                        </p:tgtEl>
                                      </p:cBhvr>
                                    </p:animEffect>
                                    <p:animScale>
                                      <p:cBhvr>
                                        <p:cTn id="386" dur="1000" autoRev="1" fill="hold"/>
                                        <p:tgtEl>
                                          <p:spTgt spid="426"/>
                                        </p:tgtEl>
                                      </p:cBhvr>
                                      <p:by x="105000" y="105000"/>
                                    </p:animScale>
                                  </p:childTnLst>
                                </p:cTn>
                              </p:par>
                              <p:par>
                                <p:cTn id="387" presetID="26" presetClass="emph" presetSubtype="0" dur="2000" repeatCount="indefinite" fill="hold" grpId="0" nodeType="withEffect">
                                  <p:stCondLst>
                                    <p:cond delay="2500"/>
                                  </p:stCondLst>
                                  <p:childTnLst>
                                    <p:animEffect transition="out" filter="fade">
                                      <p:cBhvr>
                                        <p:cTn id="388" dur="2000" tmFilter="0, 0; .2, .5; .8, .5; 1, 0"/>
                                        <p:tgtEl>
                                          <p:spTgt spid="427"/>
                                        </p:tgtEl>
                                      </p:cBhvr>
                                    </p:animEffect>
                                    <p:animScale>
                                      <p:cBhvr>
                                        <p:cTn id="389" dur="1000" autoRev="1" fill="hold"/>
                                        <p:tgtEl>
                                          <p:spTgt spid="427"/>
                                        </p:tgtEl>
                                      </p:cBhvr>
                                      <p:by x="105000" y="105000"/>
                                    </p:animScale>
                                  </p:childTnLst>
                                </p:cTn>
                              </p:par>
                              <p:par>
                                <p:cTn id="390" presetID="26" presetClass="emph" presetSubtype="0" dur="2000" repeatCount="indefinite" fill="hold" grpId="0" nodeType="withEffect">
                                  <p:stCondLst>
                                    <p:cond delay="2500"/>
                                  </p:stCondLst>
                                  <p:childTnLst>
                                    <p:animEffect transition="out" filter="fade">
                                      <p:cBhvr>
                                        <p:cTn id="391" dur="2000" tmFilter="0, 0; .2, .5; .8, .5; 1, 0"/>
                                        <p:tgtEl>
                                          <p:spTgt spid="428"/>
                                        </p:tgtEl>
                                      </p:cBhvr>
                                    </p:animEffect>
                                    <p:animScale>
                                      <p:cBhvr>
                                        <p:cTn id="392" dur="1000" autoRev="1" fill="hold"/>
                                        <p:tgtEl>
                                          <p:spTgt spid="428"/>
                                        </p:tgtEl>
                                      </p:cBhvr>
                                      <p:by x="105000" y="105000"/>
                                    </p:animScale>
                                  </p:childTnLst>
                                </p:cTn>
                              </p:par>
                              <p:par>
                                <p:cTn id="393" presetID="26" presetClass="emph" presetSubtype="0" dur="2000" repeatCount="indefinite" fill="hold" grpId="0" nodeType="withEffect">
                                  <p:stCondLst>
                                    <p:cond delay="2500"/>
                                  </p:stCondLst>
                                  <p:childTnLst>
                                    <p:animEffect transition="out" filter="fade">
                                      <p:cBhvr>
                                        <p:cTn id="394" dur="2000" tmFilter="0, 0; .2, .5; .8, .5; 1, 0"/>
                                        <p:tgtEl>
                                          <p:spTgt spid="429"/>
                                        </p:tgtEl>
                                      </p:cBhvr>
                                    </p:animEffect>
                                    <p:animScale>
                                      <p:cBhvr>
                                        <p:cTn id="395" dur="1000" autoRev="1" fill="hold"/>
                                        <p:tgtEl>
                                          <p:spTgt spid="429"/>
                                        </p:tgtEl>
                                      </p:cBhvr>
                                      <p:by x="105000" y="105000"/>
                                    </p:animScale>
                                  </p:childTnLst>
                                </p:cTn>
                              </p:par>
                              <p:par>
                                <p:cTn id="396" presetID="26" presetClass="emph" presetSubtype="0" dur="2000" repeatCount="indefinite" fill="hold" grpId="0" nodeType="withEffect">
                                  <p:stCondLst>
                                    <p:cond delay="2500"/>
                                  </p:stCondLst>
                                  <p:childTnLst>
                                    <p:animEffect transition="out" filter="fade">
                                      <p:cBhvr>
                                        <p:cTn id="397" dur="2000" tmFilter="0, 0; .2, .5; .8, .5; 1, 0"/>
                                        <p:tgtEl>
                                          <p:spTgt spid="430"/>
                                        </p:tgtEl>
                                      </p:cBhvr>
                                    </p:animEffect>
                                    <p:animScale>
                                      <p:cBhvr>
                                        <p:cTn id="398" dur="1000" autoRev="1" fill="hold"/>
                                        <p:tgtEl>
                                          <p:spTgt spid="430"/>
                                        </p:tgtEl>
                                      </p:cBhvr>
                                      <p:by x="105000" y="105000"/>
                                    </p:animScale>
                                  </p:childTnLst>
                                </p:cTn>
                              </p:par>
                              <p:par>
                                <p:cTn id="399" presetID="26" presetClass="emph" presetSubtype="0" dur="2000" repeatCount="indefinite" fill="hold" grpId="0" nodeType="withEffect">
                                  <p:stCondLst>
                                    <p:cond delay="2500"/>
                                  </p:stCondLst>
                                  <p:childTnLst>
                                    <p:animEffect transition="out" filter="fade">
                                      <p:cBhvr>
                                        <p:cTn id="400" dur="2000" tmFilter="0, 0; .2, .5; .8, .5; 1, 0"/>
                                        <p:tgtEl>
                                          <p:spTgt spid="431"/>
                                        </p:tgtEl>
                                      </p:cBhvr>
                                    </p:animEffect>
                                    <p:animScale>
                                      <p:cBhvr>
                                        <p:cTn id="401" dur="1000" autoRev="1" fill="hold"/>
                                        <p:tgtEl>
                                          <p:spTgt spid="431"/>
                                        </p:tgtEl>
                                      </p:cBhvr>
                                      <p:by x="105000" y="105000"/>
                                    </p:animScale>
                                  </p:childTnLst>
                                </p:cTn>
                              </p:par>
                              <p:par>
                                <p:cTn id="402" presetID="26" presetClass="emph" presetSubtype="0" dur="2000" repeatCount="indefinite" fill="hold" grpId="0" nodeType="withEffect">
                                  <p:stCondLst>
                                    <p:cond delay="2500"/>
                                  </p:stCondLst>
                                  <p:childTnLst>
                                    <p:animEffect transition="out" filter="fade">
                                      <p:cBhvr>
                                        <p:cTn id="403" dur="2000" tmFilter="0, 0; .2, .5; .8, .5; 1, 0"/>
                                        <p:tgtEl>
                                          <p:spTgt spid="432"/>
                                        </p:tgtEl>
                                      </p:cBhvr>
                                    </p:animEffect>
                                    <p:animScale>
                                      <p:cBhvr>
                                        <p:cTn id="404" dur="1000" autoRev="1" fill="hold"/>
                                        <p:tgtEl>
                                          <p:spTgt spid="432"/>
                                        </p:tgtEl>
                                      </p:cBhvr>
                                      <p:by x="105000" y="105000"/>
                                    </p:animScale>
                                  </p:childTnLst>
                                </p:cTn>
                              </p:par>
                              <p:par>
                                <p:cTn id="405" presetID="26" presetClass="emph" presetSubtype="0" dur="2000" repeatCount="indefinite" fill="hold" grpId="0" nodeType="withEffect">
                                  <p:stCondLst>
                                    <p:cond delay="2500"/>
                                  </p:stCondLst>
                                  <p:childTnLst>
                                    <p:animEffect transition="out" filter="fade">
                                      <p:cBhvr>
                                        <p:cTn id="406" dur="2000" tmFilter="0, 0; .2, .5; .8, .5; 1, 0"/>
                                        <p:tgtEl>
                                          <p:spTgt spid="433"/>
                                        </p:tgtEl>
                                      </p:cBhvr>
                                    </p:animEffect>
                                    <p:animScale>
                                      <p:cBhvr>
                                        <p:cTn id="407" dur="1000" autoRev="1" fill="hold"/>
                                        <p:tgtEl>
                                          <p:spTgt spid="433"/>
                                        </p:tgtEl>
                                      </p:cBhvr>
                                      <p:by x="105000" y="105000"/>
                                    </p:animScale>
                                  </p:childTnLst>
                                </p:cTn>
                              </p:par>
                              <p:par>
                                <p:cTn id="408" presetID="26" presetClass="emph" presetSubtype="0" dur="2000" repeatCount="indefinite" fill="hold" grpId="0" nodeType="withEffect">
                                  <p:stCondLst>
                                    <p:cond delay="2500"/>
                                  </p:stCondLst>
                                  <p:childTnLst>
                                    <p:animEffect transition="out" filter="fade">
                                      <p:cBhvr>
                                        <p:cTn id="409" dur="2000" tmFilter="0, 0; .2, .5; .8, .5; 1, 0"/>
                                        <p:tgtEl>
                                          <p:spTgt spid="434"/>
                                        </p:tgtEl>
                                      </p:cBhvr>
                                    </p:animEffect>
                                    <p:animScale>
                                      <p:cBhvr>
                                        <p:cTn id="410" dur="1000" autoRev="1" fill="hold"/>
                                        <p:tgtEl>
                                          <p:spTgt spid="434"/>
                                        </p:tgtEl>
                                      </p:cBhvr>
                                      <p:by x="105000" y="105000"/>
                                    </p:animScale>
                                  </p:childTnLst>
                                </p:cTn>
                              </p:par>
                              <p:par>
                                <p:cTn id="411" presetID="26" presetClass="emph" presetSubtype="0" dur="2000" repeatCount="indefinite" fill="hold" grpId="0" nodeType="withEffect">
                                  <p:stCondLst>
                                    <p:cond delay="2500"/>
                                  </p:stCondLst>
                                  <p:childTnLst>
                                    <p:animEffect transition="out" filter="fade">
                                      <p:cBhvr>
                                        <p:cTn id="412" dur="2000" tmFilter="0, 0; .2, .5; .8, .5; 1, 0"/>
                                        <p:tgtEl>
                                          <p:spTgt spid="435"/>
                                        </p:tgtEl>
                                      </p:cBhvr>
                                    </p:animEffect>
                                    <p:animScale>
                                      <p:cBhvr>
                                        <p:cTn id="413" dur="1000" autoRev="1" fill="hold"/>
                                        <p:tgtEl>
                                          <p:spTgt spid="435"/>
                                        </p:tgtEl>
                                      </p:cBhvr>
                                      <p:by x="105000" y="105000"/>
                                    </p:animScale>
                                  </p:childTnLst>
                                </p:cTn>
                              </p:par>
                              <p:par>
                                <p:cTn id="414" presetID="26" presetClass="emph" presetSubtype="0" dur="2000" repeatCount="indefinite" fill="hold" grpId="0" nodeType="withEffect">
                                  <p:stCondLst>
                                    <p:cond delay="2500"/>
                                  </p:stCondLst>
                                  <p:childTnLst>
                                    <p:animEffect transition="out" filter="fade">
                                      <p:cBhvr>
                                        <p:cTn id="415" dur="2000" tmFilter="0, 0; .2, .5; .8, .5; 1, 0"/>
                                        <p:tgtEl>
                                          <p:spTgt spid="436"/>
                                        </p:tgtEl>
                                      </p:cBhvr>
                                    </p:animEffect>
                                    <p:animScale>
                                      <p:cBhvr>
                                        <p:cTn id="416" dur="1000" autoRev="1" fill="hold"/>
                                        <p:tgtEl>
                                          <p:spTgt spid="436"/>
                                        </p:tgtEl>
                                      </p:cBhvr>
                                      <p:by x="105000" y="105000"/>
                                    </p:animScale>
                                  </p:childTnLst>
                                </p:cTn>
                              </p:par>
                              <p:par>
                                <p:cTn id="417" presetID="26" presetClass="emph" presetSubtype="0" dur="2000" repeatCount="indefinite" fill="hold" grpId="0" nodeType="withEffect">
                                  <p:stCondLst>
                                    <p:cond delay="2500"/>
                                  </p:stCondLst>
                                  <p:childTnLst>
                                    <p:animEffect transition="out" filter="fade">
                                      <p:cBhvr>
                                        <p:cTn id="418" dur="2000" tmFilter="0, 0; .2, .5; .8, .5; 1, 0"/>
                                        <p:tgtEl>
                                          <p:spTgt spid="437"/>
                                        </p:tgtEl>
                                      </p:cBhvr>
                                    </p:animEffect>
                                    <p:animScale>
                                      <p:cBhvr>
                                        <p:cTn id="419" dur="1000" autoRev="1" fill="hold"/>
                                        <p:tgtEl>
                                          <p:spTgt spid="437"/>
                                        </p:tgtEl>
                                      </p:cBhvr>
                                      <p:by x="105000" y="105000"/>
                                    </p:animScale>
                                  </p:childTnLst>
                                </p:cTn>
                              </p:par>
                              <p:par>
                                <p:cTn id="420" presetID="26" presetClass="emph" presetSubtype="0" dur="2000" repeatCount="indefinite" fill="hold" grpId="0" nodeType="withEffect">
                                  <p:stCondLst>
                                    <p:cond delay="2750"/>
                                  </p:stCondLst>
                                  <p:childTnLst>
                                    <p:animEffect transition="out" filter="fade">
                                      <p:cBhvr>
                                        <p:cTn id="421" dur="2000" tmFilter="0, 0; .2, .5; .8, .5; 1, 0"/>
                                        <p:tgtEl>
                                          <p:spTgt spid="438"/>
                                        </p:tgtEl>
                                      </p:cBhvr>
                                    </p:animEffect>
                                    <p:animScale>
                                      <p:cBhvr>
                                        <p:cTn id="422" dur="1000" autoRev="1" fill="hold"/>
                                        <p:tgtEl>
                                          <p:spTgt spid="438"/>
                                        </p:tgtEl>
                                      </p:cBhvr>
                                      <p:by x="105000" y="105000"/>
                                    </p:animScale>
                                  </p:childTnLst>
                                </p:cTn>
                              </p:par>
                              <p:par>
                                <p:cTn id="423" presetID="26" presetClass="emph" presetSubtype="0" dur="2000" repeatCount="indefinite" fill="hold" grpId="0" nodeType="withEffect">
                                  <p:stCondLst>
                                    <p:cond delay="2750"/>
                                  </p:stCondLst>
                                  <p:childTnLst>
                                    <p:animEffect transition="out" filter="fade">
                                      <p:cBhvr>
                                        <p:cTn id="424" dur="2000" tmFilter="0, 0; .2, .5; .8, .5; 1, 0"/>
                                        <p:tgtEl>
                                          <p:spTgt spid="439"/>
                                        </p:tgtEl>
                                      </p:cBhvr>
                                    </p:animEffect>
                                    <p:animScale>
                                      <p:cBhvr>
                                        <p:cTn id="425" dur="1000" autoRev="1" fill="hold"/>
                                        <p:tgtEl>
                                          <p:spTgt spid="439"/>
                                        </p:tgtEl>
                                      </p:cBhvr>
                                      <p:by x="105000" y="105000"/>
                                    </p:animScale>
                                  </p:childTnLst>
                                </p:cTn>
                              </p:par>
                              <p:par>
                                <p:cTn id="426" presetID="26" presetClass="emph" presetSubtype="0" dur="2000" repeatCount="indefinite" fill="hold" grpId="0" nodeType="withEffect">
                                  <p:stCondLst>
                                    <p:cond delay="2750"/>
                                  </p:stCondLst>
                                  <p:childTnLst>
                                    <p:animEffect transition="out" filter="fade">
                                      <p:cBhvr>
                                        <p:cTn id="427" dur="2000" tmFilter="0, 0; .2, .5; .8, .5; 1, 0"/>
                                        <p:tgtEl>
                                          <p:spTgt spid="440"/>
                                        </p:tgtEl>
                                      </p:cBhvr>
                                    </p:animEffect>
                                    <p:animScale>
                                      <p:cBhvr>
                                        <p:cTn id="428" dur="1000" autoRev="1" fill="hold"/>
                                        <p:tgtEl>
                                          <p:spTgt spid="440"/>
                                        </p:tgtEl>
                                      </p:cBhvr>
                                      <p:by x="105000" y="105000"/>
                                    </p:animScale>
                                  </p:childTnLst>
                                </p:cTn>
                              </p:par>
                              <p:par>
                                <p:cTn id="429" presetID="26" presetClass="emph" presetSubtype="0" dur="2000" repeatCount="indefinite" fill="hold" grpId="0" nodeType="withEffect">
                                  <p:stCondLst>
                                    <p:cond delay="2750"/>
                                  </p:stCondLst>
                                  <p:childTnLst>
                                    <p:animEffect transition="out" filter="fade">
                                      <p:cBhvr>
                                        <p:cTn id="430" dur="2000" tmFilter="0, 0; .2, .5; .8, .5; 1, 0"/>
                                        <p:tgtEl>
                                          <p:spTgt spid="441"/>
                                        </p:tgtEl>
                                      </p:cBhvr>
                                    </p:animEffect>
                                    <p:animScale>
                                      <p:cBhvr>
                                        <p:cTn id="431" dur="1000" autoRev="1" fill="hold"/>
                                        <p:tgtEl>
                                          <p:spTgt spid="441"/>
                                        </p:tgtEl>
                                      </p:cBhvr>
                                      <p:by x="105000" y="105000"/>
                                    </p:animScale>
                                  </p:childTnLst>
                                </p:cTn>
                              </p:par>
                              <p:par>
                                <p:cTn id="432" presetID="26" presetClass="emph" presetSubtype="0" dur="2000" repeatCount="indefinite" fill="hold" grpId="0" nodeType="withEffect">
                                  <p:stCondLst>
                                    <p:cond delay="2750"/>
                                  </p:stCondLst>
                                  <p:childTnLst>
                                    <p:animEffect transition="out" filter="fade">
                                      <p:cBhvr>
                                        <p:cTn id="433" dur="2000" tmFilter="0, 0; .2, .5; .8, .5; 1, 0"/>
                                        <p:tgtEl>
                                          <p:spTgt spid="442"/>
                                        </p:tgtEl>
                                      </p:cBhvr>
                                    </p:animEffect>
                                    <p:animScale>
                                      <p:cBhvr>
                                        <p:cTn id="434" dur="1000" autoRev="1" fill="hold"/>
                                        <p:tgtEl>
                                          <p:spTgt spid="442"/>
                                        </p:tgtEl>
                                      </p:cBhvr>
                                      <p:by x="105000" y="105000"/>
                                    </p:animScale>
                                  </p:childTnLst>
                                </p:cTn>
                              </p:par>
                              <p:par>
                                <p:cTn id="435" presetID="26" presetClass="emph" presetSubtype="0" dur="2000" repeatCount="indefinite" fill="hold" grpId="0" nodeType="withEffect">
                                  <p:stCondLst>
                                    <p:cond delay="2750"/>
                                  </p:stCondLst>
                                  <p:childTnLst>
                                    <p:animEffect transition="out" filter="fade">
                                      <p:cBhvr>
                                        <p:cTn id="436" dur="2000" tmFilter="0, 0; .2, .5; .8, .5; 1, 0"/>
                                        <p:tgtEl>
                                          <p:spTgt spid="443"/>
                                        </p:tgtEl>
                                      </p:cBhvr>
                                    </p:animEffect>
                                    <p:animScale>
                                      <p:cBhvr>
                                        <p:cTn id="437" dur="1000" autoRev="1" fill="hold"/>
                                        <p:tgtEl>
                                          <p:spTgt spid="443"/>
                                        </p:tgtEl>
                                      </p:cBhvr>
                                      <p:by x="105000" y="105000"/>
                                    </p:animScale>
                                  </p:childTnLst>
                                </p:cTn>
                              </p:par>
                              <p:par>
                                <p:cTn id="438" presetID="26" presetClass="emph" presetSubtype="0" dur="2000" repeatCount="indefinite" fill="hold" grpId="0" nodeType="withEffect">
                                  <p:stCondLst>
                                    <p:cond delay="2750"/>
                                  </p:stCondLst>
                                  <p:childTnLst>
                                    <p:animEffect transition="out" filter="fade">
                                      <p:cBhvr>
                                        <p:cTn id="439" dur="2000" tmFilter="0, 0; .2, .5; .8, .5; 1, 0"/>
                                        <p:tgtEl>
                                          <p:spTgt spid="444"/>
                                        </p:tgtEl>
                                      </p:cBhvr>
                                    </p:animEffect>
                                    <p:animScale>
                                      <p:cBhvr>
                                        <p:cTn id="440" dur="1000" autoRev="1" fill="hold"/>
                                        <p:tgtEl>
                                          <p:spTgt spid="444"/>
                                        </p:tgtEl>
                                      </p:cBhvr>
                                      <p:by x="105000" y="105000"/>
                                    </p:animScale>
                                  </p:childTnLst>
                                </p:cTn>
                              </p:par>
                              <p:par>
                                <p:cTn id="441" presetID="26" presetClass="emph" presetSubtype="0" dur="2000" repeatCount="indefinite" fill="hold" grpId="0" nodeType="withEffect">
                                  <p:stCondLst>
                                    <p:cond delay="2750"/>
                                  </p:stCondLst>
                                  <p:childTnLst>
                                    <p:animEffect transition="out" filter="fade">
                                      <p:cBhvr>
                                        <p:cTn id="442" dur="2000" tmFilter="0, 0; .2, .5; .8, .5; 1, 0"/>
                                        <p:tgtEl>
                                          <p:spTgt spid="445"/>
                                        </p:tgtEl>
                                      </p:cBhvr>
                                    </p:animEffect>
                                    <p:animScale>
                                      <p:cBhvr>
                                        <p:cTn id="443" dur="1000" autoRev="1" fill="hold"/>
                                        <p:tgtEl>
                                          <p:spTgt spid="445"/>
                                        </p:tgtEl>
                                      </p:cBhvr>
                                      <p:by x="105000" y="105000"/>
                                    </p:animScale>
                                  </p:childTnLst>
                                </p:cTn>
                              </p:par>
                              <p:par>
                                <p:cTn id="444" presetID="26" presetClass="emph" presetSubtype="0" dur="2000" repeatCount="indefinite" fill="hold" grpId="0" nodeType="withEffect">
                                  <p:stCondLst>
                                    <p:cond delay="2750"/>
                                  </p:stCondLst>
                                  <p:childTnLst>
                                    <p:animEffect transition="out" filter="fade">
                                      <p:cBhvr>
                                        <p:cTn id="445" dur="2000" tmFilter="0, 0; .2, .5; .8, .5; 1, 0"/>
                                        <p:tgtEl>
                                          <p:spTgt spid="446"/>
                                        </p:tgtEl>
                                      </p:cBhvr>
                                    </p:animEffect>
                                    <p:animScale>
                                      <p:cBhvr>
                                        <p:cTn id="446" dur="1000" autoRev="1" fill="hold"/>
                                        <p:tgtEl>
                                          <p:spTgt spid="446"/>
                                        </p:tgtEl>
                                      </p:cBhvr>
                                      <p:by x="105000" y="105000"/>
                                    </p:animScale>
                                  </p:childTnLst>
                                </p:cTn>
                              </p:par>
                              <p:par>
                                <p:cTn id="447" presetID="26" presetClass="emph" presetSubtype="0" dur="2000" repeatCount="indefinite" fill="hold" grpId="0" nodeType="withEffect">
                                  <p:stCondLst>
                                    <p:cond delay="2750"/>
                                  </p:stCondLst>
                                  <p:childTnLst>
                                    <p:animEffect transition="out" filter="fade">
                                      <p:cBhvr>
                                        <p:cTn id="448" dur="2000" tmFilter="0, 0; .2, .5; .8, .5; 1, 0"/>
                                        <p:tgtEl>
                                          <p:spTgt spid="447"/>
                                        </p:tgtEl>
                                      </p:cBhvr>
                                    </p:animEffect>
                                    <p:animScale>
                                      <p:cBhvr>
                                        <p:cTn id="449" dur="1000" autoRev="1" fill="hold"/>
                                        <p:tgtEl>
                                          <p:spTgt spid="447"/>
                                        </p:tgtEl>
                                      </p:cBhvr>
                                      <p:by x="105000" y="105000"/>
                                    </p:animScale>
                                  </p:childTnLst>
                                </p:cTn>
                              </p:par>
                              <p:par>
                                <p:cTn id="450" presetID="26" presetClass="emph" presetSubtype="0" dur="2000" repeatCount="indefinite" fill="hold" grpId="0" nodeType="withEffect">
                                  <p:stCondLst>
                                    <p:cond delay="2750"/>
                                  </p:stCondLst>
                                  <p:childTnLst>
                                    <p:animEffect transition="out" filter="fade">
                                      <p:cBhvr>
                                        <p:cTn id="451" dur="2000" tmFilter="0, 0; .2, .5; .8, .5; 1, 0"/>
                                        <p:tgtEl>
                                          <p:spTgt spid="448"/>
                                        </p:tgtEl>
                                      </p:cBhvr>
                                    </p:animEffect>
                                    <p:animScale>
                                      <p:cBhvr>
                                        <p:cTn id="452" dur="1000" autoRev="1" fill="hold"/>
                                        <p:tgtEl>
                                          <p:spTgt spid="448"/>
                                        </p:tgtEl>
                                      </p:cBhvr>
                                      <p:by x="105000" y="105000"/>
                                    </p:animScale>
                                  </p:childTnLst>
                                </p:cTn>
                              </p:par>
                              <p:par>
                                <p:cTn id="453" presetID="26" presetClass="emph" presetSubtype="0" dur="2000" repeatCount="indefinite" fill="hold" grpId="0" nodeType="withEffect">
                                  <p:stCondLst>
                                    <p:cond delay="2750"/>
                                  </p:stCondLst>
                                  <p:childTnLst>
                                    <p:animEffect transition="out" filter="fade">
                                      <p:cBhvr>
                                        <p:cTn id="454" dur="2000" tmFilter="0, 0; .2, .5; .8, .5; 1, 0"/>
                                        <p:tgtEl>
                                          <p:spTgt spid="449"/>
                                        </p:tgtEl>
                                      </p:cBhvr>
                                    </p:animEffect>
                                    <p:animScale>
                                      <p:cBhvr>
                                        <p:cTn id="455" dur="1000" autoRev="1" fill="hold"/>
                                        <p:tgtEl>
                                          <p:spTgt spid="449"/>
                                        </p:tgtEl>
                                      </p:cBhvr>
                                      <p:by x="105000" y="105000"/>
                                    </p:animScale>
                                  </p:childTnLst>
                                </p:cTn>
                              </p:par>
                              <p:par>
                                <p:cTn id="456" presetID="26" presetClass="emph" presetSubtype="0" dur="2000" repeatCount="indefinite" fill="hold" grpId="0" nodeType="withEffect">
                                  <p:stCondLst>
                                    <p:cond delay="2750"/>
                                  </p:stCondLst>
                                  <p:childTnLst>
                                    <p:animEffect transition="out" filter="fade">
                                      <p:cBhvr>
                                        <p:cTn id="457" dur="2000" tmFilter="0, 0; .2, .5; .8, .5; 1, 0"/>
                                        <p:tgtEl>
                                          <p:spTgt spid="450"/>
                                        </p:tgtEl>
                                      </p:cBhvr>
                                    </p:animEffect>
                                    <p:animScale>
                                      <p:cBhvr>
                                        <p:cTn id="458" dur="1000" autoRev="1" fill="hold"/>
                                        <p:tgtEl>
                                          <p:spTgt spid="450"/>
                                        </p:tgtEl>
                                      </p:cBhvr>
                                      <p:by x="105000" y="105000"/>
                                    </p:animScale>
                                  </p:childTnLst>
                                </p:cTn>
                              </p:par>
                              <p:par>
                                <p:cTn id="459" presetID="26" presetClass="emph" presetSubtype="0" dur="2000" repeatCount="indefinite" fill="hold" grpId="0" nodeType="withEffect">
                                  <p:stCondLst>
                                    <p:cond delay="2750"/>
                                  </p:stCondLst>
                                  <p:childTnLst>
                                    <p:animEffect transition="out" filter="fade">
                                      <p:cBhvr>
                                        <p:cTn id="460" dur="2000" tmFilter="0, 0; .2, .5; .8, .5; 1, 0"/>
                                        <p:tgtEl>
                                          <p:spTgt spid="451"/>
                                        </p:tgtEl>
                                      </p:cBhvr>
                                    </p:animEffect>
                                    <p:animScale>
                                      <p:cBhvr>
                                        <p:cTn id="461" dur="1000" autoRev="1" fill="hold"/>
                                        <p:tgtEl>
                                          <p:spTgt spid="451"/>
                                        </p:tgtEl>
                                      </p:cBhvr>
                                      <p:by x="105000" y="105000"/>
                                    </p:animScale>
                                  </p:childTnLst>
                                </p:cTn>
                              </p:par>
                              <p:par>
                                <p:cTn id="462" presetID="26" presetClass="emph" presetSubtype="0" dur="2000" repeatCount="indefinite" fill="hold" grpId="0" nodeType="withEffect">
                                  <p:stCondLst>
                                    <p:cond delay="3000"/>
                                  </p:stCondLst>
                                  <p:childTnLst>
                                    <p:animEffect transition="out" filter="fade">
                                      <p:cBhvr>
                                        <p:cTn id="463" dur="2000" tmFilter="0, 0; .2, .5; .8, .5; 1, 0"/>
                                        <p:tgtEl>
                                          <p:spTgt spid="452"/>
                                        </p:tgtEl>
                                      </p:cBhvr>
                                    </p:animEffect>
                                    <p:animScale>
                                      <p:cBhvr>
                                        <p:cTn id="464" dur="1000" autoRev="1" fill="hold"/>
                                        <p:tgtEl>
                                          <p:spTgt spid="452"/>
                                        </p:tgtEl>
                                      </p:cBhvr>
                                      <p:by x="105000" y="105000"/>
                                    </p:animScale>
                                  </p:childTnLst>
                                </p:cTn>
                              </p:par>
                              <p:par>
                                <p:cTn id="465" presetID="26" presetClass="emph" presetSubtype="0" dur="2000" repeatCount="indefinite" fill="hold" grpId="0" nodeType="withEffect">
                                  <p:stCondLst>
                                    <p:cond delay="3000"/>
                                  </p:stCondLst>
                                  <p:childTnLst>
                                    <p:animEffect transition="out" filter="fade">
                                      <p:cBhvr>
                                        <p:cTn id="466" dur="2000" tmFilter="0, 0; .2, .5; .8, .5; 1, 0"/>
                                        <p:tgtEl>
                                          <p:spTgt spid="453"/>
                                        </p:tgtEl>
                                      </p:cBhvr>
                                    </p:animEffect>
                                    <p:animScale>
                                      <p:cBhvr>
                                        <p:cTn id="467" dur="1000" autoRev="1" fill="hold"/>
                                        <p:tgtEl>
                                          <p:spTgt spid="453"/>
                                        </p:tgtEl>
                                      </p:cBhvr>
                                      <p:by x="105000" y="105000"/>
                                    </p:animScale>
                                  </p:childTnLst>
                                </p:cTn>
                              </p:par>
                              <p:par>
                                <p:cTn id="468" presetID="26" presetClass="emph" presetSubtype="0" dur="2000" repeatCount="indefinite" fill="hold" grpId="0" nodeType="withEffect">
                                  <p:stCondLst>
                                    <p:cond delay="3000"/>
                                  </p:stCondLst>
                                  <p:childTnLst>
                                    <p:animEffect transition="out" filter="fade">
                                      <p:cBhvr>
                                        <p:cTn id="469" dur="2000" tmFilter="0, 0; .2, .5; .8, .5; 1, 0"/>
                                        <p:tgtEl>
                                          <p:spTgt spid="454"/>
                                        </p:tgtEl>
                                      </p:cBhvr>
                                    </p:animEffect>
                                    <p:animScale>
                                      <p:cBhvr>
                                        <p:cTn id="470" dur="1000" autoRev="1" fill="hold"/>
                                        <p:tgtEl>
                                          <p:spTgt spid="454"/>
                                        </p:tgtEl>
                                      </p:cBhvr>
                                      <p:by x="105000" y="105000"/>
                                    </p:animScale>
                                  </p:childTnLst>
                                </p:cTn>
                              </p:par>
                              <p:par>
                                <p:cTn id="471" presetID="26" presetClass="emph" presetSubtype="0" dur="2000" repeatCount="indefinite" fill="hold" grpId="0" nodeType="withEffect">
                                  <p:stCondLst>
                                    <p:cond delay="3000"/>
                                  </p:stCondLst>
                                  <p:childTnLst>
                                    <p:animEffect transition="out" filter="fade">
                                      <p:cBhvr>
                                        <p:cTn id="472" dur="2000" tmFilter="0, 0; .2, .5; .8, .5; 1, 0"/>
                                        <p:tgtEl>
                                          <p:spTgt spid="455"/>
                                        </p:tgtEl>
                                      </p:cBhvr>
                                    </p:animEffect>
                                    <p:animScale>
                                      <p:cBhvr>
                                        <p:cTn id="473" dur="1000" autoRev="1" fill="hold"/>
                                        <p:tgtEl>
                                          <p:spTgt spid="455"/>
                                        </p:tgtEl>
                                      </p:cBhvr>
                                      <p:by x="105000" y="105000"/>
                                    </p:animScale>
                                  </p:childTnLst>
                                </p:cTn>
                              </p:par>
                              <p:par>
                                <p:cTn id="474" presetID="26" presetClass="emph" presetSubtype="0" dur="2000" repeatCount="indefinite" fill="hold" grpId="0" nodeType="withEffect">
                                  <p:stCondLst>
                                    <p:cond delay="3000"/>
                                  </p:stCondLst>
                                  <p:childTnLst>
                                    <p:animEffect transition="out" filter="fade">
                                      <p:cBhvr>
                                        <p:cTn id="475" dur="2000" tmFilter="0, 0; .2, .5; .8, .5; 1, 0"/>
                                        <p:tgtEl>
                                          <p:spTgt spid="456"/>
                                        </p:tgtEl>
                                      </p:cBhvr>
                                    </p:animEffect>
                                    <p:animScale>
                                      <p:cBhvr>
                                        <p:cTn id="476" dur="1000" autoRev="1" fill="hold"/>
                                        <p:tgtEl>
                                          <p:spTgt spid="456"/>
                                        </p:tgtEl>
                                      </p:cBhvr>
                                      <p:by x="105000" y="105000"/>
                                    </p:animScale>
                                  </p:childTnLst>
                                </p:cTn>
                              </p:par>
                              <p:par>
                                <p:cTn id="477" presetID="26" presetClass="emph" presetSubtype="0" dur="2000" repeatCount="indefinite" fill="hold" grpId="0" nodeType="withEffect">
                                  <p:stCondLst>
                                    <p:cond delay="3000"/>
                                  </p:stCondLst>
                                  <p:childTnLst>
                                    <p:animEffect transition="out" filter="fade">
                                      <p:cBhvr>
                                        <p:cTn id="478" dur="2000" tmFilter="0, 0; .2, .5; .8, .5; 1, 0"/>
                                        <p:tgtEl>
                                          <p:spTgt spid="457"/>
                                        </p:tgtEl>
                                      </p:cBhvr>
                                    </p:animEffect>
                                    <p:animScale>
                                      <p:cBhvr>
                                        <p:cTn id="479" dur="1000" autoRev="1" fill="hold"/>
                                        <p:tgtEl>
                                          <p:spTgt spid="457"/>
                                        </p:tgtEl>
                                      </p:cBhvr>
                                      <p:by x="105000" y="105000"/>
                                    </p:animScale>
                                  </p:childTnLst>
                                </p:cTn>
                              </p:par>
                              <p:par>
                                <p:cTn id="480" presetID="26" presetClass="emph" presetSubtype="0" dur="2000" repeatCount="indefinite" fill="hold" grpId="0" nodeType="withEffect">
                                  <p:stCondLst>
                                    <p:cond delay="3000"/>
                                  </p:stCondLst>
                                  <p:childTnLst>
                                    <p:animEffect transition="out" filter="fade">
                                      <p:cBhvr>
                                        <p:cTn id="481" dur="2000" tmFilter="0, 0; .2, .5; .8, .5; 1, 0"/>
                                        <p:tgtEl>
                                          <p:spTgt spid="458"/>
                                        </p:tgtEl>
                                      </p:cBhvr>
                                    </p:animEffect>
                                    <p:animScale>
                                      <p:cBhvr>
                                        <p:cTn id="482" dur="1000" autoRev="1" fill="hold"/>
                                        <p:tgtEl>
                                          <p:spTgt spid="458"/>
                                        </p:tgtEl>
                                      </p:cBhvr>
                                      <p:by x="105000" y="105000"/>
                                    </p:animScale>
                                  </p:childTnLst>
                                </p:cTn>
                              </p:par>
                              <p:par>
                                <p:cTn id="483" presetID="26" presetClass="emph" presetSubtype="0" dur="2000" repeatCount="indefinite" fill="hold" grpId="0" nodeType="withEffect">
                                  <p:stCondLst>
                                    <p:cond delay="3000"/>
                                  </p:stCondLst>
                                  <p:childTnLst>
                                    <p:animEffect transition="out" filter="fade">
                                      <p:cBhvr>
                                        <p:cTn id="484" dur="2000" tmFilter="0, 0; .2, .5; .8, .5; 1, 0"/>
                                        <p:tgtEl>
                                          <p:spTgt spid="459"/>
                                        </p:tgtEl>
                                      </p:cBhvr>
                                    </p:animEffect>
                                    <p:animScale>
                                      <p:cBhvr>
                                        <p:cTn id="485" dur="1000" autoRev="1" fill="hold"/>
                                        <p:tgtEl>
                                          <p:spTgt spid="459"/>
                                        </p:tgtEl>
                                      </p:cBhvr>
                                      <p:by x="105000" y="105000"/>
                                    </p:animScale>
                                  </p:childTnLst>
                                </p:cTn>
                              </p:par>
                              <p:par>
                                <p:cTn id="486" presetID="26" presetClass="emph" presetSubtype="0" dur="2000" repeatCount="indefinite" fill="hold" grpId="0" nodeType="withEffect">
                                  <p:stCondLst>
                                    <p:cond delay="3000"/>
                                  </p:stCondLst>
                                  <p:childTnLst>
                                    <p:animEffect transition="out" filter="fade">
                                      <p:cBhvr>
                                        <p:cTn id="487" dur="2000" tmFilter="0, 0; .2, .5; .8, .5; 1, 0"/>
                                        <p:tgtEl>
                                          <p:spTgt spid="460"/>
                                        </p:tgtEl>
                                      </p:cBhvr>
                                    </p:animEffect>
                                    <p:animScale>
                                      <p:cBhvr>
                                        <p:cTn id="488" dur="1000" autoRev="1" fill="hold"/>
                                        <p:tgtEl>
                                          <p:spTgt spid="460"/>
                                        </p:tgtEl>
                                      </p:cBhvr>
                                      <p:by x="105000" y="105000"/>
                                    </p:animScale>
                                  </p:childTnLst>
                                </p:cTn>
                              </p:par>
                              <p:par>
                                <p:cTn id="489" presetID="26" presetClass="emph" presetSubtype="0" dur="2000" repeatCount="indefinite" fill="hold" grpId="0" nodeType="withEffect">
                                  <p:stCondLst>
                                    <p:cond delay="3000"/>
                                  </p:stCondLst>
                                  <p:childTnLst>
                                    <p:animEffect transition="out" filter="fade">
                                      <p:cBhvr>
                                        <p:cTn id="490" dur="2000" tmFilter="0, 0; .2, .5; .8, .5; 1, 0"/>
                                        <p:tgtEl>
                                          <p:spTgt spid="461"/>
                                        </p:tgtEl>
                                      </p:cBhvr>
                                    </p:animEffect>
                                    <p:animScale>
                                      <p:cBhvr>
                                        <p:cTn id="491" dur="1000" autoRev="1" fill="hold"/>
                                        <p:tgtEl>
                                          <p:spTgt spid="461"/>
                                        </p:tgtEl>
                                      </p:cBhvr>
                                      <p:by x="105000" y="105000"/>
                                    </p:animScale>
                                  </p:childTnLst>
                                </p:cTn>
                              </p:par>
                              <p:par>
                                <p:cTn id="492" presetID="26" presetClass="emph" presetSubtype="0" dur="2000" repeatCount="indefinite" fill="hold" grpId="0" nodeType="withEffect">
                                  <p:stCondLst>
                                    <p:cond delay="3000"/>
                                  </p:stCondLst>
                                  <p:childTnLst>
                                    <p:animEffect transition="out" filter="fade">
                                      <p:cBhvr>
                                        <p:cTn id="493" dur="2000" tmFilter="0, 0; .2, .5; .8, .5; 1, 0"/>
                                        <p:tgtEl>
                                          <p:spTgt spid="462"/>
                                        </p:tgtEl>
                                      </p:cBhvr>
                                    </p:animEffect>
                                    <p:animScale>
                                      <p:cBhvr>
                                        <p:cTn id="494" dur="1000" autoRev="1" fill="hold"/>
                                        <p:tgtEl>
                                          <p:spTgt spid="462"/>
                                        </p:tgtEl>
                                      </p:cBhvr>
                                      <p:by x="105000" y="105000"/>
                                    </p:animScale>
                                  </p:childTnLst>
                                </p:cTn>
                              </p:par>
                              <p:par>
                                <p:cTn id="495" presetID="26" presetClass="emph" presetSubtype="0" dur="2000" repeatCount="indefinite" fill="hold" grpId="0" nodeType="withEffect">
                                  <p:stCondLst>
                                    <p:cond delay="3000"/>
                                  </p:stCondLst>
                                  <p:childTnLst>
                                    <p:animEffect transition="out" filter="fade">
                                      <p:cBhvr>
                                        <p:cTn id="496" dur="2000" tmFilter="0, 0; .2, .5; .8, .5; 1, 0"/>
                                        <p:tgtEl>
                                          <p:spTgt spid="463"/>
                                        </p:tgtEl>
                                      </p:cBhvr>
                                    </p:animEffect>
                                    <p:animScale>
                                      <p:cBhvr>
                                        <p:cTn id="497" dur="1000" autoRev="1" fill="hold"/>
                                        <p:tgtEl>
                                          <p:spTgt spid="463"/>
                                        </p:tgtEl>
                                      </p:cBhvr>
                                      <p:by x="105000" y="105000"/>
                                    </p:animScale>
                                  </p:childTnLst>
                                </p:cTn>
                              </p:par>
                              <p:par>
                                <p:cTn id="498" presetID="26" presetClass="emph" presetSubtype="0" dur="2000" repeatCount="indefinite" fill="hold" grpId="0" nodeType="withEffect">
                                  <p:stCondLst>
                                    <p:cond delay="3000"/>
                                  </p:stCondLst>
                                  <p:childTnLst>
                                    <p:animEffect transition="out" filter="fade">
                                      <p:cBhvr>
                                        <p:cTn id="499" dur="2000" tmFilter="0, 0; .2, .5; .8, .5; 1, 0"/>
                                        <p:tgtEl>
                                          <p:spTgt spid="464"/>
                                        </p:tgtEl>
                                      </p:cBhvr>
                                    </p:animEffect>
                                    <p:animScale>
                                      <p:cBhvr>
                                        <p:cTn id="500" dur="1000" autoRev="1" fill="hold"/>
                                        <p:tgtEl>
                                          <p:spTgt spid="464"/>
                                        </p:tgtEl>
                                      </p:cBhvr>
                                      <p:by x="105000" y="105000"/>
                                    </p:animScale>
                                  </p:childTnLst>
                                </p:cTn>
                              </p:par>
                              <p:par>
                                <p:cTn id="501" presetID="26" presetClass="emph" presetSubtype="0" dur="2000" repeatCount="indefinite" fill="hold" grpId="0" nodeType="withEffect">
                                  <p:stCondLst>
                                    <p:cond delay="3000"/>
                                  </p:stCondLst>
                                  <p:childTnLst>
                                    <p:animEffect transition="out" filter="fade">
                                      <p:cBhvr>
                                        <p:cTn id="502" dur="2000" tmFilter="0, 0; .2, .5; .8, .5; 1, 0"/>
                                        <p:tgtEl>
                                          <p:spTgt spid="465"/>
                                        </p:tgtEl>
                                      </p:cBhvr>
                                    </p:animEffect>
                                    <p:animScale>
                                      <p:cBhvr>
                                        <p:cTn id="503" dur="1000" autoRev="1" fill="hold"/>
                                        <p:tgtEl>
                                          <p:spTgt spid="465"/>
                                        </p:tgtEl>
                                      </p:cBhvr>
                                      <p:by x="105000" y="105000"/>
                                    </p:animScale>
                                  </p:childTnLst>
                                </p:cTn>
                              </p:par>
                              <p:par>
                                <p:cTn id="504" presetID="26" presetClass="emph" presetSubtype="0" dur="2000" repeatCount="indefinite" fill="hold" grpId="0" nodeType="withEffect">
                                  <p:stCondLst>
                                    <p:cond delay="3250"/>
                                  </p:stCondLst>
                                  <p:childTnLst>
                                    <p:animEffect transition="out" filter="fade">
                                      <p:cBhvr>
                                        <p:cTn id="505" dur="2000" tmFilter="0, 0; .2, .5; .8, .5; 1, 0"/>
                                        <p:tgtEl>
                                          <p:spTgt spid="466"/>
                                        </p:tgtEl>
                                      </p:cBhvr>
                                    </p:animEffect>
                                    <p:animScale>
                                      <p:cBhvr>
                                        <p:cTn id="506" dur="1000" autoRev="1" fill="hold"/>
                                        <p:tgtEl>
                                          <p:spTgt spid="466"/>
                                        </p:tgtEl>
                                      </p:cBhvr>
                                      <p:by x="105000" y="105000"/>
                                    </p:animScale>
                                  </p:childTnLst>
                                </p:cTn>
                              </p:par>
                              <p:par>
                                <p:cTn id="507" presetID="26" presetClass="emph" presetSubtype="0" dur="2000" repeatCount="indefinite" fill="hold" grpId="0" nodeType="withEffect">
                                  <p:stCondLst>
                                    <p:cond delay="3250"/>
                                  </p:stCondLst>
                                  <p:childTnLst>
                                    <p:animEffect transition="out" filter="fade">
                                      <p:cBhvr>
                                        <p:cTn id="508" dur="2000" tmFilter="0, 0; .2, .5; .8, .5; 1, 0"/>
                                        <p:tgtEl>
                                          <p:spTgt spid="467"/>
                                        </p:tgtEl>
                                      </p:cBhvr>
                                    </p:animEffect>
                                    <p:animScale>
                                      <p:cBhvr>
                                        <p:cTn id="509" dur="1000" autoRev="1" fill="hold"/>
                                        <p:tgtEl>
                                          <p:spTgt spid="467"/>
                                        </p:tgtEl>
                                      </p:cBhvr>
                                      <p:by x="105000" y="105000"/>
                                    </p:animScale>
                                  </p:childTnLst>
                                </p:cTn>
                              </p:par>
                              <p:par>
                                <p:cTn id="510" presetID="26" presetClass="emph" presetSubtype="0" dur="2000" repeatCount="indefinite" fill="hold" grpId="0" nodeType="withEffect">
                                  <p:stCondLst>
                                    <p:cond delay="3250"/>
                                  </p:stCondLst>
                                  <p:childTnLst>
                                    <p:animEffect transition="out" filter="fade">
                                      <p:cBhvr>
                                        <p:cTn id="511" dur="2000" tmFilter="0, 0; .2, .5; .8, .5; 1, 0"/>
                                        <p:tgtEl>
                                          <p:spTgt spid="468"/>
                                        </p:tgtEl>
                                      </p:cBhvr>
                                    </p:animEffect>
                                    <p:animScale>
                                      <p:cBhvr>
                                        <p:cTn id="512" dur="1000" autoRev="1" fill="hold"/>
                                        <p:tgtEl>
                                          <p:spTgt spid="468"/>
                                        </p:tgtEl>
                                      </p:cBhvr>
                                      <p:by x="105000" y="105000"/>
                                    </p:animScale>
                                  </p:childTnLst>
                                </p:cTn>
                              </p:par>
                              <p:par>
                                <p:cTn id="513" presetID="26" presetClass="emph" presetSubtype="0" dur="2000" repeatCount="indefinite" fill="hold" grpId="0" nodeType="withEffect">
                                  <p:stCondLst>
                                    <p:cond delay="3250"/>
                                  </p:stCondLst>
                                  <p:childTnLst>
                                    <p:animEffect transition="out" filter="fade">
                                      <p:cBhvr>
                                        <p:cTn id="514" dur="2000" tmFilter="0, 0; .2, .5; .8, .5; 1, 0"/>
                                        <p:tgtEl>
                                          <p:spTgt spid="469"/>
                                        </p:tgtEl>
                                      </p:cBhvr>
                                    </p:animEffect>
                                    <p:animScale>
                                      <p:cBhvr>
                                        <p:cTn id="515" dur="1000" autoRev="1" fill="hold"/>
                                        <p:tgtEl>
                                          <p:spTgt spid="469"/>
                                        </p:tgtEl>
                                      </p:cBhvr>
                                      <p:by x="105000" y="105000"/>
                                    </p:animScale>
                                  </p:childTnLst>
                                </p:cTn>
                              </p:par>
                              <p:par>
                                <p:cTn id="516" presetID="26" presetClass="emph" presetSubtype="0" dur="2000" repeatCount="indefinite" fill="hold" grpId="0" nodeType="withEffect">
                                  <p:stCondLst>
                                    <p:cond delay="3250"/>
                                  </p:stCondLst>
                                  <p:childTnLst>
                                    <p:animEffect transition="out" filter="fade">
                                      <p:cBhvr>
                                        <p:cTn id="517" dur="2000" tmFilter="0, 0; .2, .5; .8, .5; 1, 0"/>
                                        <p:tgtEl>
                                          <p:spTgt spid="470"/>
                                        </p:tgtEl>
                                      </p:cBhvr>
                                    </p:animEffect>
                                    <p:animScale>
                                      <p:cBhvr>
                                        <p:cTn id="518" dur="1000" autoRev="1" fill="hold"/>
                                        <p:tgtEl>
                                          <p:spTgt spid="470"/>
                                        </p:tgtEl>
                                      </p:cBhvr>
                                      <p:by x="105000" y="105000"/>
                                    </p:animScale>
                                  </p:childTnLst>
                                </p:cTn>
                              </p:par>
                              <p:par>
                                <p:cTn id="519" presetID="26" presetClass="emph" presetSubtype="0" dur="2000" repeatCount="indefinite" fill="hold" grpId="0" nodeType="withEffect">
                                  <p:stCondLst>
                                    <p:cond delay="3250"/>
                                  </p:stCondLst>
                                  <p:childTnLst>
                                    <p:animEffect transition="out" filter="fade">
                                      <p:cBhvr>
                                        <p:cTn id="520" dur="2000" tmFilter="0, 0; .2, .5; .8, .5; 1, 0"/>
                                        <p:tgtEl>
                                          <p:spTgt spid="471"/>
                                        </p:tgtEl>
                                      </p:cBhvr>
                                    </p:animEffect>
                                    <p:animScale>
                                      <p:cBhvr>
                                        <p:cTn id="521" dur="1000" autoRev="1" fill="hold"/>
                                        <p:tgtEl>
                                          <p:spTgt spid="471"/>
                                        </p:tgtEl>
                                      </p:cBhvr>
                                      <p:by x="105000" y="105000"/>
                                    </p:animScale>
                                  </p:childTnLst>
                                </p:cTn>
                              </p:par>
                              <p:par>
                                <p:cTn id="522" presetID="26" presetClass="emph" presetSubtype="0" dur="2000" repeatCount="indefinite" fill="hold" grpId="0" nodeType="withEffect">
                                  <p:stCondLst>
                                    <p:cond delay="3250"/>
                                  </p:stCondLst>
                                  <p:childTnLst>
                                    <p:animEffect transition="out" filter="fade">
                                      <p:cBhvr>
                                        <p:cTn id="523" dur="2000" tmFilter="0, 0; .2, .5; .8, .5; 1, 0"/>
                                        <p:tgtEl>
                                          <p:spTgt spid="472"/>
                                        </p:tgtEl>
                                      </p:cBhvr>
                                    </p:animEffect>
                                    <p:animScale>
                                      <p:cBhvr>
                                        <p:cTn id="524" dur="1000" autoRev="1" fill="hold"/>
                                        <p:tgtEl>
                                          <p:spTgt spid="472"/>
                                        </p:tgtEl>
                                      </p:cBhvr>
                                      <p:by x="105000" y="105000"/>
                                    </p:animScale>
                                  </p:childTnLst>
                                </p:cTn>
                              </p:par>
                              <p:par>
                                <p:cTn id="525" presetID="26" presetClass="emph" presetSubtype="0" dur="2000" repeatCount="indefinite" fill="hold" grpId="0" nodeType="withEffect">
                                  <p:stCondLst>
                                    <p:cond delay="3250"/>
                                  </p:stCondLst>
                                  <p:childTnLst>
                                    <p:animEffect transition="out" filter="fade">
                                      <p:cBhvr>
                                        <p:cTn id="526" dur="2000" tmFilter="0, 0; .2, .5; .8, .5; 1, 0"/>
                                        <p:tgtEl>
                                          <p:spTgt spid="473"/>
                                        </p:tgtEl>
                                      </p:cBhvr>
                                    </p:animEffect>
                                    <p:animScale>
                                      <p:cBhvr>
                                        <p:cTn id="527" dur="1000" autoRev="1" fill="hold"/>
                                        <p:tgtEl>
                                          <p:spTgt spid="473"/>
                                        </p:tgtEl>
                                      </p:cBhvr>
                                      <p:by x="105000" y="105000"/>
                                    </p:animScale>
                                  </p:childTnLst>
                                </p:cTn>
                              </p:par>
                              <p:par>
                                <p:cTn id="528" presetID="26" presetClass="emph" presetSubtype="0" dur="2000" repeatCount="indefinite" fill="hold" grpId="0" nodeType="withEffect">
                                  <p:stCondLst>
                                    <p:cond delay="3250"/>
                                  </p:stCondLst>
                                  <p:childTnLst>
                                    <p:animEffect transition="out" filter="fade">
                                      <p:cBhvr>
                                        <p:cTn id="529" dur="2000" tmFilter="0, 0; .2, .5; .8, .5; 1, 0"/>
                                        <p:tgtEl>
                                          <p:spTgt spid="474"/>
                                        </p:tgtEl>
                                      </p:cBhvr>
                                    </p:animEffect>
                                    <p:animScale>
                                      <p:cBhvr>
                                        <p:cTn id="530" dur="1000" autoRev="1" fill="hold"/>
                                        <p:tgtEl>
                                          <p:spTgt spid="474"/>
                                        </p:tgtEl>
                                      </p:cBhvr>
                                      <p:by x="105000" y="105000"/>
                                    </p:animScale>
                                  </p:childTnLst>
                                </p:cTn>
                              </p:par>
                              <p:par>
                                <p:cTn id="531" presetID="26" presetClass="emph" presetSubtype="0" dur="2000" repeatCount="indefinite" fill="hold" grpId="0" nodeType="withEffect">
                                  <p:stCondLst>
                                    <p:cond delay="3250"/>
                                  </p:stCondLst>
                                  <p:childTnLst>
                                    <p:animEffect transition="out" filter="fade">
                                      <p:cBhvr>
                                        <p:cTn id="532" dur="2000" tmFilter="0, 0; .2, .5; .8, .5; 1, 0"/>
                                        <p:tgtEl>
                                          <p:spTgt spid="475"/>
                                        </p:tgtEl>
                                      </p:cBhvr>
                                    </p:animEffect>
                                    <p:animScale>
                                      <p:cBhvr>
                                        <p:cTn id="533" dur="1000" autoRev="1" fill="hold"/>
                                        <p:tgtEl>
                                          <p:spTgt spid="475"/>
                                        </p:tgtEl>
                                      </p:cBhvr>
                                      <p:by x="105000" y="105000"/>
                                    </p:animScale>
                                  </p:childTnLst>
                                </p:cTn>
                              </p:par>
                              <p:par>
                                <p:cTn id="534" presetID="26" presetClass="emph" presetSubtype="0" dur="2000" repeatCount="indefinite" fill="hold" grpId="0" nodeType="withEffect">
                                  <p:stCondLst>
                                    <p:cond delay="3250"/>
                                  </p:stCondLst>
                                  <p:childTnLst>
                                    <p:animEffect transition="out" filter="fade">
                                      <p:cBhvr>
                                        <p:cTn id="535" dur="2000" tmFilter="0, 0; .2, .5; .8, .5; 1, 0"/>
                                        <p:tgtEl>
                                          <p:spTgt spid="476"/>
                                        </p:tgtEl>
                                      </p:cBhvr>
                                    </p:animEffect>
                                    <p:animScale>
                                      <p:cBhvr>
                                        <p:cTn id="536" dur="1000" autoRev="1" fill="hold"/>
                                        <p:tgtEl>
                                          <p:spTgt spid="476"/>
                                        </p:tgtEl>
                                      </p:cBhvr>
                                      <p:by x="105000" y="105000"/>
                                    </p:animScale>
                                  </p:childTnLst>
                                </p:cTn>
                              </p:par>
                              <p:par>
                                <p:cTn id="537" presetID="26" presetClass="emph" presetSubtype="0" dur="2000" repeatCount="indefinite" fill="hold" grpId="0" nodeType="withEffect">
                                  <p:stCondLst>
                                    <p:cond delay="3250"/>
                                  </p:stCondLst>
                                  <p:childTnLst>
                                    <p:animEffect transition="out" filter="fade">
                                      <p:cBhvr>
                                        <p:cTn id="538" dur="2000" tmFilter="0, 0; .2, .5; .8, .5; 1, 0"/>
                                        <p:tgtEl>
                                          <p:spTgt spid="477"/>
                                        </p:tgtEl>
                                      </p:cBhvr>
                                    </p:animEffect>
                                    <p:animScale>
                                      <p:cBhvr>
                                        <p:cTn id="539" dur="1000" autoRev="1" fill="hold"/>
                                        <p:tgtEl>
                                          <p:spTgt spid="477"/>
                                        </p:tgtEl>
                                      </p:cBhvr>
                                      <p:by x="105000" y="105000"/>
                                    </p:animScale>
                                  </p:childTnLst>
                                </p:cTn>
                              </p:par>
                              <p:par>
                                <p:cTn id="540" presetID="26" presetClass="emph" presetSubtype="0" dur="2000" repeatCount="indefinite" fill="hold" grpId="0" nodeType="withEffect">
                                  <p:stCondLst>
                                    <p:cond delay="3250"/>
                                  </p:stCondLst>
                                  <p:childTnLst>
                                    <p:animEffect transition="out" filter="fade">
                                      <p:cBhvr>
                                        <p:cTn id="541" dur="2000" tmFilter="0, 0; .2, .5; .8, .5; 1, 0"/>
                                        <p:tgtEl>
                                          <p:spTgt spid="478"/>
                                        </p:tgtEl>
                                      </p:cBhvr>
                                    </p:animEffect>
                                    <p:animScale>
                                      <p:cBhvr>
                                        <p:cTn id="542" dur="1000" autoRev="1" fill="hold"/>
                                        <p:tgtEl>
                                          <p:spTgt spid="478"/>
                                        </p:tgtEl>
                                      </p:cBhvr>
                                      <p:by x="105000" y="105000"/>
                                    </p:animScale>
                                  </p:childTnLst>
                                </p:cTn>
                              </p:par>
                              <p:par>
                                <p:cTn id="543" presetID="26" presetClass="emph" presetSubtype="0" dur="2000" repeatCount="indefinite" fill="hold" grpId="0" nodeType="withEffect">
                                  <p:stCondLst>
                                    <p:cond delay="3250"/>
                                  </p:stCondLst>
                                  <p:childTnLst>
                                    <p:animEffect transition="out" filter="fade">
                                      <p:cBhvr>
                                        <p:cTn id="544" dur="2000" tmFilter="0, 0; .2, .5; .8, .5; 1, 0"/>
                                        <p:tgtEl>
                                          <p:spTgt spid="479"/>
                                        </p:tgtEl>
                                      </p:cBhvr>
                                    </p:animEffect>
                                    <p:animScale>
                                      <p:cBhvr>
                                        <p:cTn id="545" dur="1000" autoRev="1" fill="hold"/>
                                        <p:tgtEl>
                                          <p:spTgt spid="479"/>
                                        </p:tgtEl>
                                      </p:cBhvr>
                                      <p:by x="105000" y="105000"/>
                                    </p:animScale>
                                  </p:childTnLst>
                                </p:cTn>
                              </p:par>
                              <p:par>
                                <p:cTn id="546" presetID="26" presetClass="emph" presetSubtype="0" dur="2000" repeatCount="indefinite" fill="hold" grpId="0" nodeType="withEffect">
                                  <p:stCondLst>
                                    <p:cond delay="3500"/>
                                  </p:stCondLst>
                                  <p:childTnLst>
                                    <p:animEffect transition="out" filter="fade">
                                      <p:cBhvr>
                                        <p:cTn id="547" dur="2000" tmFilter="0, 0; .2, .5; .8, .5; 1, 0"/>
                                        <p:tgtEl>
                                          <p:spTgt spid="480"/>
                                        </p:tgtEl>
                                      </p:cBhvr>
                                    </p:animEffect>
                                    <p:animScale>
                                      <p:cBhvr>
                                        <p:cTn id="548" dur="1000" autoRev="1" fill="hold"/>
                                        <p:tgtEl>
                                          <p:spTgt spid="480"/>
                                        </p:tgtEl>
                                      </p:cBhvr>
                                      <p:by x="105000" y="105000"/>
                                    </p:animScale>
                                  </p:childTnLst>
                                </p:cTn>
                              </p:par>
                              <p:par>
                                <p:cTn id="549" presetID="26" presetClass="emph" presetSubtype="0" dur="2000" repeatCount="indefinite" fill="hold" grpId="0" nodeType="withEffect">
                                  <p:stCondLst>
                                    <p:cond delay="3500"/>
                                  </p:stCondLst>
                                  <p:childTnLst>
                                    <p:animEffect transition="out" filter="fade">
                                      <p:cBhvr>
                                        <p:cTn id="550" dur="2000" tmFilter="0, 0; .2, .5; .8, .5; 1, 0"/>
                                        <p:tgtEl>
                                          <p:spTgt spid="481"/>
                                        </p:tgtEl>
                                      </p:cBhvr>
                                    </p:animEffect>
                                    <p:animScale>
                                      <p:cBhvr>
                                        <p:cTn id="551" dur="1000" autoRev="1" fill="hold"/>
                                        <p:tgtEl>
                                          <p:spTgt spid="481"/>
                                        </p:tgtEl>
                                      </p:cBhvr>
                                      <p:by x="105000" y="105000"/>
                                    </p:animScale>
                                  </p:childTnLst>
                                </p:cTn>
                              </p:par>
                              <p:par>
                                <p:cTn id="552" presetID="26" presetClass="emph" presetSubtype="0" dur="2000" repeatCount="indefinite" fill="hold" grpId="0" nodeType="withEffect">
                                  <p:stCondLst>
                                    <p:cond delay="3500"/>
                                  </p:stCondLst>
                                  <p:childTnLst>
                                    <p:animEffect transition="out" filter="fade">
                                      <p:cBhvr>
                                        <p:cTn id="553" dur="2000" tmFilter="0, 0; .2, .5; .8, .5; 1, 0"/>
                                        <p:tgtEl>
                                          <p:spTgt spid="482"/>
                                        </p:tgtEl>
                                      </p:cBhvr>
                                    </p:animEffect>
                                    <p:animScale>
                                      <p:cBhvr>
                                        <p:cTn id="554" dur="1000" autoRev="1" fill="hold"/>
                                        <p:tgtEl>
                                          <p:spTgt spid="482"/>
                                        </p:tgtEl>
                                      </p:cBhvr>
                                      <p:by x="105000" y="105000"/>
                                    </p:animScale>
                                  </p:childTnLst>
                                </p:cTn>
                              </p:par>
                              <p:par>
                                <p:cTn id="555" presetID="26" presetClass="emph" presetSubtype="0" dur="2000" repeatCount="indefinite" fill="hold" grpId="0" nodeType="withEffect">
                                  <p:stCondLst>
                                    <p:cond delay="3500"/>
                                  </p:stCondLst>
                                  <p:childTnLst>
                                    <p:animEffect transition="out" filter="fade">
                                      <p:cBhvr>
                                        <p:cTn id="556" dur="2000" tmFilter="0, 0; .2, .5; .8, .5; 1, 0"/>
                                        <p:tgtEl>
                                          <p:spTgt spid="483"/>
                                        </p:tgtEl>
                                      </p:cBhvr>
                                    </p:animEffect>
                                    <p:animScale>
                                      <p:cBhvr>
                                        <p:cTn id="557" dur="1000" autoRev="1" fill="hold"/>
                                        <p:tgtEl>
                                          <p:spTgt spid="483"/>
                                        </p:tgtEl>
                                      </p:cBhvr>
                                      <p:by x="105000" y="105000"/>
                                    </p:animScale>
                                  </p:childTnLst>
                                </p:cTn>
                              </p:par>
                              <p:par>
                                <p:cTn id="558" presetID="26" presetClass="emph" presetSubtype="0" dur="2000" repeatCount="indefinite" fill="hold" grpId="0" nodeType="withEffect">
                                  <p:stCondLst>
                                    <p:cond delay="3500"/>
                                  </p:stCondLst>
                                  <p:childTnLst>
                                    <p:animEffect transition="out" filter="fade">
                                      <p:cBhvr>
                                        <p:cTn id="559" dur="2000" tmFilter="0, 0; .2, .5; .8, .5; 1, 0"/>
                                        <p:tgtEl>
                                          <p:spTgt spid="484"/>
                                        </p:tgtEl>
                                      </p:cBhvr>
                                    </p:animEffect>
                                    <p:animScale>
                                      <p:cBhvr>
                                        <p:cTn id="560" dur="1000" autoRev="1" fill="hold"/>
                                        <p:tgtEl>
                                          <p:spTgt spid="484"/>
                                        </p:tgtEl>
                                      </p:cBhvr>
                                      <p:by x="105000" y="105000"/>
                                    </p:animScale>
                                  </p:childTnLst>
                                </p:cTn>
                              </p:par>
                              <p:par>
                                <p:cTn id="561" presetID="26" presetClass="emph" presetSubtype="0" dur="2000" repeatCount="indefinite" fill="hold" grpId="0" nodeType="withEffect">
                                  <p:stCondLst>
                                    <p:cond delay="3500"/>
                                  </p:stCondLst>
                                  <p:childTnLst>
                                    <p:animEffect transition="out" filter="fade">
                                      <p:cBhvr>
                                        <p:cTn id="562" dur="2000" tmFilter="0, 0; .2, .5; .8, .5; 1, 0"/>
                                        <p:tgtEl>
                                          <p:spTgt spid="485"/>
                                        </p:tgtEl>
                                      </p:cBhvr>
                                    </p:animEffect>
                                    <p:animScale>
                                      <p:cBhvr>
                                        <p:cTn id="563" dur="1000" autoRev="1" fill="hold"/>
                                        <p:tgtEl>
                                          <p:spTgt spid="485"/>
                                        </p:tgtEl>
                                      </p:cBhvr>
                                      <p:by x="105000" y="105000"/>
                                    </p:animScale>
                                  </p:childTnLst>
                                </p:cTn>
                              </p:par>
                              <p:par>
                                <p:cTn id="564" presetID="26" presetClass="emph" presetSubtype="0" dur="2000" repeatCount="indefinite" fill="hold" grpId="0" nodeType="withEffect">
                                  <p:stCondLst>
                                    <p:cond delay="3500"/>
                                  </p:stCondLst>
                                  <p:childTnLst>
                                    <p:animEffect transition="out" filter="fade">
                                      <p:cBhvr>
                                        <p:cTn id="565" dur="2000" tmFilter="0, 0; .2, .5; .8, .5; 1, 0"/>
                                        <p:tgtEl>
                                          <p:spTgt spid="486"/>
                                        </p:tgtEl>
                                      </p:cBhvr>
                                    </p:animEffect>
                                    <p:animScale>
                                      <p:cBhvr>
                                        <p:cTn id="566" dur="1000" autoRev="1" fill="hold"/>
                                        <p:tgtEl>
                                          <p:spTgt spid="486"/>
                                        </p:tgtEl>
                                      </p:cBhvr>
                                      <p:by x="105000" y="105000"/>
                                    </p:animScale>
                                  </p:childTnLst>
                                </p:cTn>
                              </p:par>
                              <p:par>
                                <p:cTn id="567" presetID="26" presetClass="emph" presetSubtype="0" dur="2000" repeatCount="indefinite" fill="hold" grpId="0" nodeType="withEffect">
                                  <p:stCondLst>
                                    <p:cond delay="3500"/>
                                  </p:stCondLst>
                                  <p:childTnLst>
                                    <p:animEffect transition="out" filter="fade">
                                      <p:cBhvr>
                                        <p:cTn id="568" dur="2000" tmFilter="0, 0; .2, .5; .8, .5; 1, 0"/>
                                        <p:tgtEl>
                                          <p:spTgt spid="487"/>
                                        </p:tgtEl>
                                      </p:cBhvr>
                                    </p:animEffect>
                                    <p:animScale>
                                      <p:cBhvr>
                                        <p:cTn id="569" dur="1000" autoRev="1" fill="hold"/>
                                        <p:tgtEl>
                                          <p:spTgt spid="487"/>
                                        </p:tgtEl>
                                      </p:cBhvr>
                                      <p:by x="105000" y="105000"/>
                                    </p:animScale>
                                  </p:childTnLst>
                                </p:cTn>
                              </p:par>
                              <p:par>
                                <p:cTn id="570" presetID="26" presetClass="emph" presetSubtype="0" dur="2000" repeatCount="indefinite" fill="hold" grpId="0" nodeType="withEffect">
                                  <p:stCondLst>
                                    <p:cond delay="3500"/>
                                  </p:stCondLst>
                                  <p:childTnLst>
                                    <p:animEffect transition="out" filter="fade">
                                      <p:cBhvr>
                                        <p:cTn id="571" dur="2000" tmFilter="0, 0; .2, .5; .8, .5; 1, 0"/>
                                        <p:tgtEl>
                                          <p:spTgt spid="488"/>
                                        </p:tgtEl>
                                      </p:cBhvr>
                                    </p:animEffect>
                                    <p:animScale>
                                      <p:cBhvr>
                                        <p:cTn id="572" dur="1000" autoRev="1" fill="hold"/>
                                        <p:tgtEl>
                                          <p:spTgt spid="488"/>
                                        </p:tgtEl>
                                      </p:cBhvr>
                                      <p:by x="105000" y="105000"/>
                                    </p:animScale>
                                  </p:childTnLst>
                                </p:cTn>
                              </p:par>
                              <p:par>
                                <p:cTn id="573" presetID="26" presetClass="emph" presetSubtype="0" dur="2000" repeatCount="indefinite" fill="hold" grpId="0" nodeType="withEffect">
                                  <p:stCondLst>
                                    <p:cond delay="3500"/>
                                  </p:stCondLst>
                                  <p:childTnLst>
                                    <p:animEffect transition="out" filter="fade">
                                      <p:cBhvr>
                                        <p:cTn id="574" dur="2000" tmFilter="0, 0; .2, .5; .8, .5; 1, 0"/>
                                        <p:tgtEl>
                                          <p:spTgt spid="489"/>
                                        </p:tgtEl>
                                      </p:cBhvr>
                                    </p:animEffect>
                                    <p:animScale>
                                      <p:cBhvr>
                                        <p:cTn id="575" dur="1000" autoRev="1" fill="hold"/>
                                        <p:tgtEl>
                                          <p:spTgt spid="489"/>
                                        </p:tgtEl>
                                      </p:cBhvr>
                                      <p:by x="105000" y="105000"/>
                                    </p:animScale>
                                  </p:childTnLst>
                                </p:cTn>
                              </p:par>
                              <p:par>
                                <p:cTn id="576" presetID="26" presetClass="emph" presetSubtype="0" dur="2000" repeatCount="indefinite" fill="hold" grpId="0" nodeType="withEffect">
                                  <p:stCondLst>
                                    <p:cond delay="3500"/>
                                  </p:stCondLst>
                                  <p:childTnLst>
                                    <p:animEffect transition="out" filter="fade">
                                      <p:cBhvr>
                                        <p:cTn id="577" dur="2000" tmFilter="0, 0; .2, .5; .8, .5; 1, 0"/>
                                        <p:tgtEl>
                                          <p:spTgt spid="490"/>
                                        </p:tgtEl>
                                      </p:cBhvr>
                                    </p:animEffect>
                                    <p:animScale>
                                      <p:cBhvr>
                                        <p:cTn id="578" dur="1000" autoRev="1" fill="hold"/>
                                        <p:tgtEl>
                                          <p:spTgt spid="490"/>
                                        </p:tgtEl>
                                      </p:cBhvr>
                                      <p:by x="105000" y="105000"/>
                                    </p:animScale>
                                  </p:childTnLst>
                                </p:cTn>
                              </p:par>
                              <p:par>
                                <p:cTn id="579" presetID="26" presetClass="emph" presetSubtype="0" dur="2000" repeatCount="indefinite" fill="hold" grpId="0" nodeType="withEffect">
                                  <p:stCondLst>
                                    <p:cond delay="3500"/>
                                  </p:stCondLst>
                                  <p:childTnLst>
                                    <p:animEffect transition="out" filter="fade">
                                      <p:cBhvr>
                                        <p:cTn id="580" dur="2000" tmFilter="0, 0; .2, .5; .8, .5; 1, 0"/>
                                        <p:tgtEl>
                                          <p:spTgt spid="491"/>
                                        </p:tgtEl>
                                      </p:cBhvr>
                                    </p:animEffect>
                                    <p:animScale>
                                      <p:cBhvr>
                                        <p:cTn id="581" dur="1000" autoRev="1" fill="hold"/>
                                        <p:tgtEl>
                                          <p:spTgt spid="491"/>
                                        </p:tgtEl>
                                      </p:cBhvr>
                                      <p:by x="105000" y="105000"/>
                                    </p:animScale>
                                  </p:childTnLst>
                                </p:cTn>
                              </p:par>
                              <p:par>
                                <p:cTn id="582" presetID="26" presetClass="emph" presetSubtype="0" dur="2000" repeatCount="indefinite" fill="hold" grpId="0" nodeType="withEffect">
                                  <p:stCondLst>
                                    <p:cond delay="3500"/>
                                  </p:stCondLst>
                                  <p:childTnLst>
                                    <p:animEffect transition="out" filter="fade">
                                      <p:cBhvr>
                                        <p:cTn id="583" dur="2000" tmFilter="0, 0; .2, .5; .8, .5; 1, 0"/>
                                        <p:tgtEl>
                                          <p:spTgt spid="492"/>
                                        </p:tgtEl>
                                      </p:cBhvr>
                                    </p:animEffect>
                                    <p:animScale>
                                      <p:cBhvr>
                                        <p:cTn id="584" dur="1000" autoRev="1" fill="hold"/>
                                        <p:tgtEl>
                                          <p:spTgt spid="492"/>
                                        </p:tgtEl>
                                      </p:cBhvr>
                                      <p:by x="105000" y="105000"/>
                                    </p:animScale>
                                  </p:childTnLst>
                                </p:cTn>
                              </p:par>
                              <p:par>
                                <p:cTn id="585" presetID="26" presetClass="emph" presetSubtype="0" dur="2000" repeatCount="indefinite" fill="hold" grpId="0" nodeType="withEffect">
                                  <p:stCondLst>
                                    <p:cond delay="3500"/>
                                  </p:stCondLst>
                                  <p:childTnLst>
                                    <p:animEffect transition="out" filter="fade">
                                      <p:cBhvr>
                                        <p:cTn id="586" dur="2000" tmFilter="0, 0; .2, .5; .8, .5; 1, 0"/>
                                        <p:tgtEl>
                                          <p:spTgt spid="493"/>
                                        </p:tgtEl>
                                      </p:cBhvr>
                                    </p:animEffect>
                                    <p:animScale>
                                      <p:cBhvr>
                                        <p:cTn id="587" dur="1000" autoRev="1" fill="hold"/>
                                        <p:tgtEl>
                                          <p:spTgt spid="493"/>
                                        </p:tgtEl>
                                      </p:cBhvr>
                                      <p:by x="105000" y="105000"/>
                                    </p:animScale>
                                  </p:childTnLst>
                                </p:cTn>
                              </p:par>
                              <p:par>
                                <p:cTn id="588" presetID="26" presetClass="emph" presetSubtype="0" dur="2000" repeatCount="indefinite" fill="hold" grpId="0" nodeType="withEffect">
                                  <p:stCondLst>
                                    <p:cond delay="3750"/>
                                  </p:stCondLst>
                                  <p:childTnLst>
                                    <p:animEffect transition="out" filter="fade">
                                      <p:cBhvr>
                                        <p:cTn id="589" dur="2000" tmFilter="0, 0; .2, .5; .8, .5; 1, 0"/>
                                        <p:tgtEl>
                                          <p:spTgt spid="297"/>
                                        </p:tgtEl>
                                      </p:cBhvr>
                                    </p:animEffect>
                                    <p:animScale>
                                      <p:cBhvr>
                                        <p:cTn id="590" dur="1000" autoRev="1" fill="hold"/>
                                        <p:tgtEl>
                                          <p:spTgt spid="297"/>
                                        </p:tgtEl>
                                      </p:cBhvr>
                                      <p:by x="105000" y="105000"/>
                                    </p:animScale>
                                  </p:childTnLst>
                                </p:cTn>
                              </p:par>
                              <p:par>
                                <p:cTn id="591" presetID="26" presetClass="emph" presetSubtype="0" dur="2000" repeatCount="indefinite" fill="hold" grpId="0" nodeType="withEffect">
                                  <p:stCondLst>
                                    <p:cond delay="3750"/>
                                  </p:stCondLst>
                                  <p:childTnLst>
                                    <p:animEffect transition="out" filter="fade">
                                      <p:cBhvr>
                                        <p:cTn id="592" dur="2000" tmFilter="0, 0; .2, .5; .8, .5; 1, 0"/>
                                        <p:tgtEl>
                                          <p:spTgt spid="298"/>
                                        </p:tgtEl>
                                      </p:cBhvr>
                                    </p:animEffect>
                                    <p:animScale>
                                      <p:cBhvr>
                                        <p:cTn id="593" dur="1000" autoRev="1" fill="hold"/>
                                        <p:tgtEl>
                                          <p:spTgt spid="298"/>
                                        </p:tgtEl>
                                      </p:cBhvr>
                                      <p:by x="105000" y="105000"/>
                                    </p:animScale>
                                  </p:childTnLst>
                                </p:cTn>
                              </p:par>
                              <p:par>
                                <p:cTn id="594" presetID="26" presetClass="emph" presetSubtype="0" dur="2000" repeatCount="indefinite" fill="hold" grpId="0" nodeType="withEffect">
                                  <p:stCondLst>
                                    <p:cond delay="3750"/>
                                  </p:stCondLst>
                                  <p:childTnLst>
                                    <p:animEffect transition="out" filter="fade">
                                      <p:cBhvr>
                                        <p:cTn id="595" dur="2000" tmFilter="0, 0; .2, .5; .8, .5; 1, 0"/>
                                        <p:tgtEl>
                                          <p:spTgt spid="299"/>
                                        </p:tgtEl>
                                      </p:cBhvr>
                                    </p:animEffect>
                                    <p:animScale>
                                      <p:cBhvr>
                                        <p:cTn id="596" dur="1000" autoRev="1" fill="hold"/>
                                        <p:tgtEl>
                                          <p:spTgt spid="299"/>
                                        </p:tgtEl>
                                      </p:cBhvr>
                                      <p:by x="105000" y="105000"/>
                                    </p:animScale>
                                  </p:childTnLst>
                                </p:cTn>
                              </p:par>
                              <p:par>
                                <p:cTn id="597" presetID="26" presetClass="emph" presetSubtype="0" dur="2000" repeatCount="indefinite" fill="hold" grpId="0" nodeType="withEffect">
                                  <p:stCondLst>
                                    <p:cond delay="3750"/>
                                  </p:stCondLst>
                                  <p:childTnLst>
                                    <p:animEffect transition="out" filter="fade">
                                      <p:cBhvr>
                                        <p:cTn id="598" dur="2000" tmFilter="0, 0; .2, .5; .8, .5; 1, 0"/>
                                        <p:tgtEl>
                                          <p:spTgt spid="300"/>
                                        </p:tgtEl>
                                      </p:cBhvr>
                                    </p:animEffect>
                                    <p:animScale>
                                      <p:cBhvr>
                                        <p:cTn id="599" dur="1000" autoRev="1" fill="hold"/>
                                        <p:tgtEl>
                                          <p:spTgt spid="300"/>
                                        </p:tgtEl>
                                      </p:cBhvr>
                                      <p:by x="105000" y="105000"/>
                                    </p:animScale>
                                  </p:childTnLst>
                                </p:cTn>
                              </p:par>
                              <p:par>
                                <p:cTn id="600" presetID="26" presetClass="emph" presetSubtype="0" dur="2000" repeatCount="indefinite" fill="hold" grpId="0" nodeType="withEffect">
                                  <p:stCondLst>
                                    <p:cond delay="3750"/>
                                  </p:stCondLst>
                                  <p:childTnLst>
                                    <p:animEffect transition="out" filter="fade">
                                      <p:cBhvr>
                                        <p:cTn id="601" dur="2000" tmFilter="0, 0; .2, .5; .8, .5; 1, 0"/>
                                        <p:tgtEl>
                                          <p:spTgt spid="301"/>
                                        </p:tgtEl>
                                      </p:cBhvr>
                                    </p:animEffect>
                                    <p:animScale>
                                      <p:cBhvr>
                                        <p:cTn id="602" dur="1000" autoRev="1" fill="hold"/>
                                        <p:tgtEl>
                                          <p:spTgt spid="301"/>
                                        </p:tgtEl>
                                      </p:cBhvr>
                                      <p:by x="105000" y="105000"/>
                                    </p:animScale>
                                  </p:childTnLst>
                                </p:cTn>
                              </p:par>
                              <p:par>
                                <p:cTn id="603" presetID="26" presetClass="emph" presetSubtype="0" dur="2000" repeatCount="indefinite" fill="hold" grpId="0" nodeType="withEffect">
                                  <p:stCondLst>
                                    <p:cond delay="3750"/>
                                  </p:stCondLst>
                                  <p:childTnLst>
                                    <p:animEffect transition="out" filter="fade">
                                      <p:cBhvr>
                                        <p:cTn id="604" dur="2000" tmFilter="0, 0; .2, .5; .8, .5; 1, 0"/>
                                        <p:tgtEl>
                                          <p:spTgt spid="302"/>
                                        </p:tgtEl>
                                      </p:cBhvr>
                                    </p:animEffect>
                                    <p:animScale>
                                      <p:cBhvr>
                                        <p:cTn id="605" dur="1000" autoRev="1" fill="hold"/>
                                        <p:tgtEl>
                                          <p:spTgt spid="302"/>
                                        </p:tgtEl>
                                      </p:cBhvr>
                                      <p:by x="105000" y="105000"/>
                                    </p:animScale>
                                  </p:childTnLst>
                                </p:cTn>
                              </p:par>
                              <p:par>
                                <p:cTn id="606" presetID="26" presetClass="emph" presetSubtype="0" dur="2000" repeatCount="indefinite" fill="hold" grpId="0" nodeType="withEffect">
                                  <p:stCondLst>
                                    <p:cond delay="3750"/>
                                  </p:stCondLst>
                                  <p:childTnLst>
                                    <p:animEffect transition="out" filter="fade">
                                      <p:cBhvr>
                                        <p:cTn id="607" dur="2000" tmFilter="0, 0; .2, .5; .8, .5; 1, 0"/>
                                        <p:tgtEl>
                                          <p:spTgt spid="303"/>
                                        </p:tgtEl>
                                      </p:cBhvr>
                                    </p:animEffect>
                                    <p:animScale>
                                      <p:cBhvr>
                                        <p:cTn id="608" dur="1000" autoRev="1" fill="hold"/>
                                        <p:tgtEl>
                                          <p:spTgt spid="303"/>
                                        </p:tgtEl>
                                      </p:cBhvr>
                                      <p:by x="105000" y="105000"/>
                                    </p:animScale>
                                  </p:childTnLst>
                                </p:cTn>
                              </p:par>
                              <p:par>
                                <p:cTn id="609" presetID="26" presetClass="emph" presetSubtype="0" dur="2000" repeatCount="indefinite" fill="hold" grpId="0" nodeType="withEffect">
                                  <p:stCondLst>
                                    <p:cond delay="3750"/>
                                  </p:stCondLst>
                                  <p:childTnLst>
                                    <p:animEffect transition="out" filter="fade">
                                      <p:cBhvr>
                                        <p:cTn id="610" dur="2000" tmFilter="0, 0; .2, .5; .8, .5; 1, 0"/>
                                        <p:tgtEl>
                                          <p:spTgt spid="304"/>
                                        </p:tgtEl>
                                      </p:cBhvr>
                                    </p:animEffect>
                                    <p:animScale>
                                      <p:cBhvr>
                                        <p:cTn id="611" dur="1000" autoRev="1" fill="hold"/>
                                        <p:tgtEl>
                                          <p:spTgt spid="304"/>
                                        </p:tgtEl>
                                      </p:cBhvr>
                                      <p:by x="105000" y="105000"/>
                                    </p:animScale>
                                  </p:childTnLst>
                                </p:cTn>
                              </p:par>
                              <p:par>
                                <p:cTn id="612" presetID="26" presetClass="emph" presetSubtype="0" dur="2000" repeatCount="indefinite" fill="hold" grpId="0" nodeType="withEffect">
                                  <p:stCondLst>
                                    <p:cond delay="3750"/>
                                  </p:stCondLst>
                                  <p:childTnLst>
                                    <p:animEffect transition="out" filter="fade">
                                      <p:cBhvr>
                                        <p:cTn id="613" dur="2000" tmFilter="0, 0; .2, .5; .8, .5; 1, 0"/>
                                        <p:tgtEl>
                                          <p:spTgt spid="305"/>
                                        </p:tgtEl>
                                      </p:cBhvr>
                                    </p:animEffect>
                                    <p:animScale>
                                      <p:cBhvr>
                                        <p:cTn id="614" dur="1000" autoRev="1" fill="hold"/>
                                        <p:tgtEl>
                                          <p:spTgt spid="305"/>
                                        </p:tgtEl>
                                      </p:cBhvr>
                                      <p:by x="105000" y="105000"/>
                                    </p:animScale>
                                  </p:childTnLst>
                                </p:cTn>
                              </p:par>
                              <p:par>
                                <p:cTn id="615" presetID="26" presetClass="emph" presetSubtype="0" dur="2000" repeatCount="indefinite" fill="hold" grpId="0" nodeType="withEffect">
                                  <p:stCondLst>
                                    <p:cond delay="3750"/>
                                  </p:stCondLst>
                                  <p:childTnLst>
                                    <p:animEffect transition="out" filter="fade">
                                      <p:cBhvr>
                                        <p:cTn id="616" dur="2000" tmFilter="0, 0; .2, .5; .8, .5; 1, 0"/>
                                        <p:tgtEl>
                                          <p:spTgt spid="306"/>
                                        </p:tgtEl>
                                      </p:cBhvr>
                                    </p:animEffect>
                                    <p:animScale>
                                      <p:cBhvr>
                                        <p:cTn id="617" dur="1000" autoRev="1" fill="hold"/>
                                        <p:tgtEl>
                                          <p:spTgt spid="306"/>
                                        </p:tgtEl>
                                      </p:cBhvr>
                                      <p:by x="105000" y="105000"/>
                                    </p:animScale>
                                  </p:childTnLst>
                                </p:cTn>
                              </p:par>
                              <p:par>
                                <p:cTn id="618" presetID="26" presetClass="emph" presetSubtype="0" dur="2000" repeatCount="indefinite" fill="hold" grpId="0" nodeType="withEffect">
                                  <p:stCondLst>
                                    <p:cond delay="3750"/>
                                  </p:stCondLst>
                                  <p:childTnLst>
                                    <p:animEffect transition="out" filter="fade">
                                      <p:cBhvr>
                                        <p:cTn id="619" dur="2000" tmFilter="0, 0; .2, .5; .8, .5; 1, 0"/>
                                        <p:tgtEl>
                                          <p:spTgt spid="307"/>
                                        </p:tgtEl>
                                      </p:cBhvr>
                                    </p:animEffect>
                                    <p:animScale>
                                      <p:cBhvr>
                                        <p:cTn id="620" dur="1000" autoRev="1" fill="hold"/>
                                        <p:tgtEl>
                                          <p:spTgt spid="307"/>
                                        </p:tgtEl>
                                      </p:cBhvr>
                                      <p:by x="105000" y="105000"/>
                                    </p:animScale>
                                  </p:childTnLst>
                                </p:cTn>
                              </p:par>
                              <p:par>
                                <p:cTn id="621" presetID="26" presetClass="emph" presetSubtype="0" dur="2000" repeatCount="indefinite" fill="hold" grpId="0" nodeType="withEffect">
                                  <p:stCondLst>
                                    <p:cond delay="3750"/>
                                  </p:stCondLst>
                                  <p:childTnLst>
                                    <p:animEffect transition="out" filter="fade">
                                      <p:cBhvr>
                                        <p:cTn id="622" dur="2000" tmFilter="0, 0; .2, .5; .8, .5; 1, 0"/>
                                        <p:tgtEl>
                                          <p:spTgt spid="308"/>
                                        </p:tgtEl>
                                      </p:cBhvr>
                                    </p:animEffect>
                                    <p:animScale>
                                      <p:cBhvr>
                                        <p:cTn id="623" dur="1000" autoRev="1" fill="hold"/>
                                        <p:tgtEl>
                                          <p:spTgt spid="308"/>
                                        </p:tgtEl>
                                      </p:cBhvr>
                                      <p:by x="105000" y="105000"/>
                                    </p:animScale>
                                  </p:childTnLst>
                                </p:cTn>
                              </p:par>
                              <p:par>
                                <p:cTn id="624" presetID="26" presetClass="emph" presetSubtype="0" dur="2000" repeatCount="indefinite" fill="hold" grpId="0" nodeType="withEffect">
                                  <p:stCondLst>
                                    <p:cond delay="4000"/>
                                  </p:stCondLst>
                                  <p:childTnLst>
                                    <p:animEffect transition="out" filter="fade">
                                      <p:cBhvr>
                                        <p:cTn id="625" dur="2000" tmFilter="0, 0; .2, .5; .8, .5; 1, 0"/>
                                        <p:tgtEl>
                                          <p:spTgt spid="287"/>
                                        </p:tgtEl>
                                      </p:cBhvr>
                                    </p:animEffect>
                                    <p:animScale>
                                      <p:cBhvr>
                                        <p:cTn id="626" dur="1000" autoRev="1" fill="hold"/>
                                        <p:tgtEl>
                                          <p:spTgt spid="287"/>
                                        </p:tgtEl>
                                      </p:cBhvr>
                                      <p:by x="105000" y="105000"/>
                                    </p:animScale>
                                  </p:childTnLst>
                                </p:cTn>
                              </p:par>
                              <p:par>
                                <p:cTn id="627" presetID="26" presetClass="emph" presetSubtype="0" dur="2000" repeatCount="indefinite" fill="hold" grpId="0" nodeType="withEffect">
                                  <p:stCondLst>
                                    <p:cond delay="4000"/>
                                  </p:stCondLst>
                                  <p:childTnLst>
                                    <p:animEffect transition="out" filter="fade">
                                      <p:cBhvr>
                                        <p:cTn id="628" dur="2000" tmFilter="0, 0; .2, .5; .8, .5; 1, 0"/>
                                        <p:tgtEl>
                                          <p:spTgt spid="288"/>
                                        </p:tgtEl>
                                      </p:cBhvr>
                                    </p:animEffect>
                                    <p:animScale>
                                      <p:cBhvr>
                                        <p:cTn id="629" dur="1000" autoRev="1" fill="hold"/>
                                        <p:tgtEl>
                                          <p:spTgt spid="288"/>
                                        </p:tgtEl>
                                      </p:cBhvr>
                                      <p:by x="105000" y="105000"/>
                                    </p:animScale>
                                  </p:childTnLst>
                                </p:cTn>
                              </p:par>
                              <p:par>
                                <p:cTn id="630" presetID="26" presetClass="emph" presetSubtype="0" dur="2000" repeatCount="indefinite" fill="hold" grpId="0" nodeType="withEffect">
                                  <p:stCondLst>
                                    <p:cond delay="4000"/>
                                  </p:stCondLst>
                                  <p:childTnLst>
                                    <p:animEffect transition="out" filter="fade">
                                      <p:cBhvr>
                                        <p:cTn id="631" dur="2000" tmFilter="0, 0; .2, .5; .8, .5; 1, 0"/>
                                        <p:tgtEl>
                                          <p:spTgt spid="289"/>
                                        </p:tgtEl>
                                      </p:cBhvr>
                                    </p:animEffect>
                                    <p:animScale>
                                      <p:cBhvr>
                                        <p:cTn id="632" dur="1000" autoRev="1" fill="hold"/>
                                        <p:tgtEl>
                                          <p:spTgt spid="289"/>
                                        </p:tgtEl>
                                      </p:cBhvr>
                                      <p:by x="105000" y="105000"/>
                                    </p:animScale>
                                  </p:childTnLst>
                                </p:cTn>
                              </p:par>
                              <p:par>
                                <p:cTn id="633" presetID="26" presetClass="emph" presetSubtype="0" dur="2000" repeatCount="indefinite" fill="hold" grpId="0" nodeType="withEffect">
                                  <p:stCondLst>
                                    <p:cond delay="4000"/>
                                  </p:stCondLst>
                                  <p:childTnLst>
                                    <p:animEffect transition="out" filter="fade">
                                      <p:cBhvr>
                                        <p:cTn id="634" dur="2000" tmFilter="0, 0; .2, .5; .8, .5; 1, 0"/>
                                        <p:tgtEl>
                                          <p:spTgt spid="290"/>
                                        </p:tgtEl>
                                      </p:cBhvr>
                                    </p:animEffect>
                                    <p:animScale>
                                      <p:cBhvr>
                                        <p:cTn id="635" dur="1000" autoRev="1" fill="hold"/>
                                        <p:tgtEl>
                                          <p:spTgt spid="290"/>
                                        </p:tgtEl>
                                      </p:cBhvr>
                                      <p:by x="105000" y="105000"/>
                                    </p:animScale>
                                  </p:childTnLst>
                                </p:cTn>
                              </p:par>
                              <p:par>
                                <p:cTn id="636" presetID="26" presetClass="emph" presetSubtype="0" dur="2000" repeatCount="indefinite" fill="hold" grpId="0" nodeType="withEffect">
                                  <p:stCondLst>
                                    <p:cond delay="4000"/>
                                  </p:stCondLst>
                                  <p:childTnLst>
                                    <p:animEffect transition="out" filter="fade">
                                      <p:cBhvr>
                                        <p:cTn id="637" dur="2000" tmFilter="0, 0; .2, .5; .8, .5; 1, 0"/>
                                        <p:tgtEl>
                                          <p:spTgt spid="291"/>
                                        </p:tgtEl>
                                      </p:cBhvr>
                                    </p:animEffect>
                                    <p:animScale>
                                      <p:cBhvr>
                                        <p:cTn id="638" dur="1000" autoRev="1" fill="hold"/>
                                        <p:tgtEl>
                                          <p:spTgt spid="291"/>
                                        </p:tgtEl>
                                      </p:cBhvr>
                                      <p:by x="105000" y="105000"/>
                                    </p:animScale>
                                  </p:childTnLst>
                                </p:cTn>
                              </p:par>
                              <p:par>
                                <p:cTn id="639" presetID="26" presetClass="emph" presetSubtype="0" dur="2000" repeatCount="indefinite" fill="hold" grpId="0" nodeType="withEffect">
                                  <p:stCondLst>
                                    <p:cond delay="4000"/>
                                  </p:stCondLst>
                                  <p:childTnLst>
                                    <p:animEffect transition="out" filter="fade">
                                      <p:cBhvr>
                                        <p:cTn id="640" dur="2000" tmFilter="0, 0; .2, .5; .8, .5; 1, 0"/>
                                        <p:tgtEl>
                                          <p:spTgt spid="292"/>
                                        </p:tgtEl>
                                      </p:cBhvr>
                                    </p:animEffect>
                                    <p:animScale>
                                      <p:cBhvr>
                                        <p:cTn id="641" dur="1000" autoRev="1" fill="hold"/>
                                        <p:tgtEl>
                                          <p:spTgt spid="292"/>
                                        </p:tgtEl>
                                      </p:cBhvr>
                                      <p:by x="105000" y="105000"/>
                                    </p:animScale>
                                  </p:childTnLst>
                                </p:cTn>
                              </p:par>
                              <p:par>
                                <p:cTn id="642" presetID="26" presetClass="emph" presetSubtype="0" dur="2000" repeatCount="indefinite" fill="hold" grpId="0" nodeType="withEffect">
                                  <p:stCondLst>
                                    <p:cond delay="4000"/>
                                  </p:stCondLst>
                                  <p:childTnLst>
                                    <p:animEffect transition="out" filter="fade">
                                      <p:cBhvr>
                                        <p:cTn id="643" dur="2000" tmFilter="0, 0; .2, .5; .8, .5; 1, 0"/>
                                        <p:tgtEl>
                                          <p:spTgt spid="293"/>
                                        </p:tgtEl>
                                      </p:cBhvr>
                                    </p:animEffect>
                                    <p:animScale>
                                      <p:cBhvr>
                                        <p:cTn id="644" dur="1000" autoRev="1" fill="hold"/>
                                        <p:tgtEl>
                                          <p:spTgt spid="293"/>
                                        </p:tgtEl>
                                      </p:cBhvr>
                                      <p:by x="105000" y="105000"/>
                                    </p:animScale>
                                  </p:childTnLst>
                                </p:cTn>
                              </p:par>
                              <p:par>
                                <p:cTn id="645" presetID="26" presetClass="emph" presetSubtype="0" dur="2000" repeatCount="indefinite" fill="hold" grpId="0" nodeType="withEffect">
                                  <p:stCondLst>
                                    <p:cond delay="4000"/>
                                  </p:stCondLst>
                                  <p:childTnLst>
                                    <p:animEffect transition="out" filter="fade">
                                      <p:cBhvr>
                                        <p:cTn id="646" dur="2000" tmFilter="0, 0; .2, .5; .8, .5; 1, 0"/>
                                        <p:tgtEl>
                                          <p:spTgt spid="294"/>
                                        </p:tgtEl>
                                      </p:cBhvr>
                                    </p:animEffect>
                                    <p:animScale>
                                      <p:cBhvr>
                                        <p:cTn id="647" dur="1000" autoRev="1" fill="hold"/>
                                        <p:tgtEl>
                                          <p:spTgt spid="294"/>
                                        </p:tgtEl>
                                      </p:cBhvr>
                                      <p:by x="105000" y="105000"/>
                                    </p:animScale>
                                  </p:childTnLst>
                                </p:cTn>
                              </p:par>
                              <p:par>
                                <p:cTn id="648" presetID="26" presetClass="emph" presetSubtype="0" dur="2000" repeatCount="indefinite" fill="hold" grpId="0" nodeType="withEffect">
                                  <p:stCondLst>
                                    <p:cond delay="4000"/>
                                  </p:stCondLst>
                                  <p:childTnLst>
                                    <p:animEffect transition="out" filter="fade">
                                      <p:cBhvr>
                                        <p:cTn id="649" dur="2000" tmFilter="0, 0; .2, .5; .8, .5; 1, 0"/>
                                        <p:tgtEl>
                                          <p:spTgt spid="295"/>
                                        </p:tgtEl>
                                      </p:cBhvr>
                                    </p:animEffect>
                                    <p:animScale>
                                      <p:cBhvr>
                                        <p:cTn id="650" dur="1000" autoRev="1" fill="hold"/>
                                        <p:tgtEl>
                                          <p:spTgt spid="295"/>
                                        </p:tgtEl>
                                      </p:cBhvr>
                                      <p:by x="105000" y="105000"/>
                                    </p:animScale>
                                  </p:childTnLst>
                                </p:cTn>
                              </p:par>
                              <p:par>
                                <p:cTn id="651" presetID="26" presetClass="emph" presetSubtype="0" dur="2000" repeatCount="indefinite" fill="hold" grpId="0" nodeType="withEffect">
                                  <p:stCondLst>
                                    <p:cond delay="4000"/>
                                  </p:stCondLst>
                                  <p:childTnLst>
                                    <p:animEffect transition="out" filter="fade">
                                      <p:cBhvr>
                                        <p:cTn id="652" dur="2000" tmFilter="0, 0; .2, .5; .8, .5; 1, 0"/>
                                        <p:tgtEl>
                                          <p:spTgt spid="296"/>
                                        </p:tgtEl>
                                      </p:cBhvr>
                                    </p:animEffect>
                                    <p:animScale>
                                      <p:cBhvr>
                                        <p:cTn id="653" dur="1000" autoRev="1" fill="hold"/>
                                        <p:tgtEl>
                                          <p:spTgt spid="296"/>
                                        </p:tgtEl>
                                      </p:cBhvr>
                                      <p:by x="105000" y="105000"/>
                                    </p:animScale>
                                  </p:childTnLst>
                                </p:cTn>
                              </p:par>
                              <p:par>
                                <p:cTn id="654" presetID="26" presetClass="emph" presetSubtype="0" dur="2000" repeatCount="indefinite" fill="hold" grpId="0" nodeType="withEffect">
                                  <p:stCondLst>
                                    <p:cond delay="4250"/>
                                  </p:stCondLst>
                                  <p:childTnLst>
                                    <p:animEffect transition="out" filter="fade">
                                      <p:cBhvr>
                                        <p:cTn id="655" dur="2000" tmFilter="0, 0; .2, .5; .8, .5; 1, 0"/>
                                        <p:tgtEl>
                                          <p:spTgt spid="279"/>
                                        </p:tgtEl>
                                      </p:cBhvr>
                                    </p:animEffect>
                                    <p:animScale>
                                      <p:cBhvr>
                                        <p:cTn id="656" dur="1000" autoRev="1" fill="hold"/>
                                        <p:tgtEl>
                                          <p:spTgt spid="279"/>
                                        </p:tgtEl>
                                      </p:cBhvr>
                                      <p:by x="105000" y="105000"/>
                                    </p:animScale>
                                  </p:childTnLst>
                                </p:cTn>
                              </p:par>
                              <p:par>
                                <p:cTn id="657" presetID="26" presetClass="emph" presetSubtype="0" dur="2000" repeatCount="indefinite" fill="hold" grpId="0" nodeType="withEffect">
                                  <p:stCondLst>
                                    <p:cond delay="4250"/>
                                  </p:stCondLst>
                                  <p:childTnLst>
                                    <p:animEffect transition="out" filter="fade">
                                      <p:cBhvr>
                                        <p:cTn id="658" dur="2000" tmFilter="0, 0; .2, .5; .8, .5; 1, 0"/>
                                        <p:tgtEl>
                                          <p:spTgt spid="280"/>
                                        </p:tgtEl>
                                      </p:cBhvr>
                                    </p:animEffect>
                                    <p:animScale>
                                      <p:cBhvr>
                                        <p:cTn id="659" dur="1000" autoRev="1" fill="hold"/>
                                        <p:tgtEl>
                                          <p:spTgt spid="280"/>
                                        </p:tgtEl>
                                      </p:cBhvr>
                                      <p:by x="105000" y="105000"/>
                                    </p:animScale>
                                  </p:childTnLst>
                                </p:cTn>
                              </p:par>
                              <p:par>
                                <p:cTn id="660" presetID="26" presetClass="emph" presetSubtype="0" dur="2000" repeatCount="indefinite" fill="hold" grpId="0" nodeType="withEffect">
                                  <p:stCondLst>
                                    <p:cond delay="4250"/>
                                  </p:stCondLst>
                                  <p:childTnLst>
                                    <p:animEffect transition="out" filter="fade">
                                      <p:cBhvr>
                                        <p:cTn id="661" dur="2000" tmFilter="0, 0; .2, .5; .8, .5; 1, 0"/>
                                        <p:tgtEl>
                                          <p:spTgt spid="281"/>
                                        </p:tgtEl>
                                      </p:cBhvr>
                                    </p:animEffect>
                                    <p:animScale>
                                      <p:cBhvr>
                                        <p:cTn id="662" dur="1000" autoRev="1" fill="hold"/>
                                        <p:tgtEl>
                                          <p:spTgt spid="281"/>
                                        </p:tgtEl>
                                      </p:cBhvr>
                                      <p:by x="105000" y="105000"/>
                                    </p:animScale>
                                  </p:childTnLst>
                                </p:cTn>
                              </p:par>
                              <p:par>
                                <p:cTn id="663" presetID="26" presetClass="emph" presetSubtype="0" dur="2000" repeatCount="indefinite" fill="hold" grpId="0" nodeType="withEffect">
                                  <p:stCondLst>
                                    <p:cond delay="4250"/>
                                  </p:stCondLst>
                                  <p:childTnLst>
                                    <p:animEffect transition="out" filter="fade">
                                      <p:cBhvr>
                                        <p:cTn id="664" dur="2000" tmFilter="0, 0; .2, .5; .8, .5; 1, 0"/>
                                        <p:tgtEl>
                                          <p:spTgt spid="282"/>
                                        </p:tgtEl>
                                      </p:cBhvr>
                                    </p:animEffect>
                                    <p:animScale>
                                      <p:cBhvr>
                                        <p:cTn id="665" dur="1000" autoRev="1" fill="hold"/>
                                        <p:tgtEl>
                                          <p:spTgt spid="282"/>
                                        </p:tgtEl>
                                      </p:cBhvr>
                                      <p:by x="105000" y="105000"/>
                                    </p:animScale>
                                  </p:childTnLst>
                                </p:cTn>
                              </p:par>
                              <p:par>
                                <p:cTn id="666" presetID="26" presetClass="emph" presetSubtype="0" dur="2000" repeatCount="indefinite" fill="hold" grpId="0" nodeType="withEffect">
                                  <p:stCondLst>
                                    <p:cond delay="4250"/>
                                  </p:stCondLst>
                                  <p:childTnLst>
                                    <p:animEffect transition="out" filter="fade">
                                      <p:cBhvr>
                                        <p:cTn id="667" dur="2000" tmFilter="0, 0; .2, .5; .8, .5; 1, 0"/>
                                        <p:tgtEl>
                                          <p:spTgt spid="283"/>
                                        </p:tgtEl>
                                      </p:cBhvr>
                                    </p:animEffect>
                                    <p:animScale>
                                      <p:cBhvr>
                                        <p:cTn id="668" dur="1000" autoRev="1" fill="hold"/>
                                        <p:tgtEl>
                                          <p:spTgt spid="283"/>
                                        </p:tgtEl>
                                      </p:cBhvr>
                                      <p:by x="105000" y="105000"/>
                                    </p:animScale>
                                  </p:childTnLst>
                                </p:cTn>
                              </p:par>
                              <p:par>
                                <p:cTn id="669" presetID="26" presetClass="emph" presetSubtype="0" dur="2000" repeatCount="indefinite" fill="hold" grpId="0" nodeType="withEffect">
                                  <p:stCondLst>
                                    <p:cond delay="4250"/>
                                  </p:stCondLst>
                                  <p:childTnLst>
                                    <p:animEffect transition="out" filter="fade">
                                      <p:cBhvr>
                                        <p:cTn id="670" dur="2000" tmFilter="0, 0; .2, .5; .8, .5; 1, 0"/>
                                        <p:tgtEl>
                                          <p:spTgt spid="284"/>
                                        </p:tgtEl>
                                      </p:cBhvr>
                                    </p:animEffect>
                                    <p:animScale>
                                      <p:cBhvr>
                                        <p:cTn id="671" dur="1000" autoRev="1" fill="hold"/>
                                        <p:tgtEl>
                                          <p:spTgt spid="284"/>
                                        </p:tgtEl>
                                      </p:cBhvr>
                                      <p:by x="105000" y="105000"/>
                                    </p:animScale>
                                  </p:childTnLst>
                                </p:cTn>
                              </p:par>
                              <p:par>
                                <p:cTn id="672" presetID="26" presetClass="emph" presetSubtype="0" dur="2000" repeatCount="indefinite" fill="hold" grpId="0" nodeType="withEffect">
                                  <p:stCondLst>
                                    <p:cond delay="4250"/>
                                  </p:stCondLst>
                                  <p:childTnLst>
                                    <p:animEffect transition="out" filter="fade">
                                      <p:cBhvr>
                                        <p:cTn id="673" dur="2000" tmFilter="0, 0; .2, .5; .8, .5; 1, 0"/>
                                        <p:tgtEl>
                                          <p:spTgt spid="285"/>
                                        </p:tgtEl>
                                      </p:cBhvr>
                                    </p:animEffect>
                                    <p:animScale>
                                      <p:cBhvr>
                                        <p:cTn id="674" dur="1000" autoRev="1" fill="hold"/>
                                        <p:tgtEl>
                                          <p:spTgt spid="285"/>
                                        </p:tgtEl>
                                      </p:cBhvr>
                                      <p:by x="105000" y="105000"/>
                                    </p:animScale>
                                  </p:childTnLst>
                                </p:cTn>
                              </p:par>
                              <p:par>
                                <p:cTn id="675" presetID="26" presetClass="emph" presetSubtype="0" dur="2000" repeatCount="indefinite" fill="hold" grpId="0" nodeType="withEffect">
                                  <p:stCondLst>
                                    <p:cond delay="4250"/>
                                  </p:stCondLst>
                                  <p:childTnLst>
                                    <p:animEffect transition="out" filter="fade">
                                      <p:cBhvr>
                                        <p:cTn id="676" dur="2000" tmFilter="0, 0; .2, .5; .8, .5; 1, 0"/>
                                        <p:tgtEl>
                                          <p:spTgt spid="286"/>
                                        </p:tgtEl>
                                      </p:cBhvr>
                                    </p:animEffect>
                                    <p:animScale>
                                      <p:cBhvr>
                                        <p:cTn id="677" dur="1000" autoRev="1" fill="hold"/>
                                        <p:tgtEl>
                                          <p:spTgt spid="286"/>
                                        </p:tgtEl>
                                      </p:cBhvr>
                                      <p:by x="105000" y="105000"/>
                                    </p:animScale>
                                  </p:childTnLst>
                                </p:cTn>
                              </p:par>
                              <p:par>
                                <p:cTn id="678" presetID="26" presetClass="emph" presetSubtype="0" dur="2000" repeatCount="indefinite" fill="hold" grpId="0" nodeType="withEffect">
                                  <p:stCondLst>
                                    <p:cond delay="4500"/>
                                  </p:stCondLst>
                                  <p:childTnLst>
                                    <p:animEffect transition="out" filter="fade">
                                      <p:cBhvr>
                                        <p:cTn id="679" dur="2000" tmFilter="0, 0; .2, .5; .8, .5; 1, 0"/>
                                        <p:tgtEl>
                                          <p:spTgt spid="273"/>
                                        </p:tgtEl>
                                      </p:cBhvr>
                                    </p:animEffect>
                                    <p:animScale>
                                      <p:cBhvr>
                                        <p:cTn id="680" dur="1000" autoRev="1" fill="hold"/>
                                        <p:tgtEl>
                                          <p:spTgt spid="273"/>
                                        </p:tgtEl>
                                      </p:cBhvr>
                                      <p:by x="105000" y="105000"/>
                                    </p:animScale>
                                  </p:childTnLst>
                                </p:cTn>
                              </p:par>
                              <p:par>
                                <p:cTn id="681" presetID="26" presetClass="emph" presetSubtype="0" dur="2000" repeatCount="indefinite" fill="hold" grpId="0" nodeType="withEffect">
                                  <p:stCondLst>
                                    <p:cond delay="4500"/>
                                  </p:stCondLst>
                                  <p:childTnLst>
                                    <p:animEffect transition="out" filter="fade">
                                      <p:cBhvr>
                                        <p:cTn id="682" dur="2000" tmFilter="0, 0; .2, .5; .8, .5; 1, 0"/>
                                        <p:tgtEl>
                                          <p:spTgt spid="274"/>
                                        </p:tgtEl>
                                      </p:cBhvr>
                                    </p:animEffect>
                                    <p:animScale>
                                      <p:cBhvr>
                                        <p:cTn id="683" dur="1000" autoRev="1" fill="hold"/>
                                        <p:tgtEl>
                                          <p:spTgt spid="274"/>
                                        </p:tgtEl>
                                      </p:cBhvr>
                                      <p:by x="105000" y="105000"/>
                                    </p:animScale>
                                  </p:childTnLst>
                                </p:cTn>
                              </p:par>
                              <p:par>
                                <p:cTn id="684" presetID="26" presetClass="emph" presetSubtype="0" dur="2000" repeatCount="indefinite" fill="hold" grpId="0" nodeType="withEffect">
                                  <p:stCondLst>
                                    <p:cond delay="4500"/>
                                  </p:stCondLst>
                                  <p:childTnLst>
                                    <p:animEffect transition="out" filter="fade">
                                      <p:cBhvr>
                                        <p:cTn id="685" dur="2000" tmFilter="0, 0; .2, .5; .8, .5; 1, 0"/>
                                        <p:tgtEl>
                                          <p:spTgt spid="275"/>
                                        </p:tgtEl>
                                      </p:cBhvr>
                                    </p:animEffect>
                                    <p:animScale>
                                      <p:cBhvr>
                                        <p:cTn id="686" dur="1000" autoRev="1" fill="hold"/>
                                        <p:tgtEl>
                                          <p:spTgt spid="275"/>
                                        </p:tgtEl>
                                      </p:cBhvr>
                                      <p:by x="105000" y="105000"/>
                                    </p:animScale>
                                  </p:childTnLst>
                                </p:cTn>
                              </p:par>
                              <p:par>
                                <p:cTn id="687" presetID="26" presetClass="emph" presetSubtype="0" dur="2000" repeatCount="indefinite" fill="hold" grpId="0" nodeType="withEffect">
                                  <p:stCondLst>
                                    <p:cond delay="4500"/>
                                  </p:stCondLst>
                                  <p:childTnLst>
                                    <p:animEffect transition="out" filter="fade">
                                      <p:cBhvr>
                                        <p:cTn id="688" dur="2000" tmFilter="0, 0; .2, .5; .8, .5; 1, 0"/>
                                        <p:tgtEl>
                                          <p:spTgt spid="276"/>
                                        </p:tgtEl>
                                      </p:cBhvr>
                                    </p:animEffect>
                                    <p:animScale>
                                      <p:cBhvr>
                                        <p:cTn id="689" dur="1000" autoRev="1" fill="hold"/>
                                        <p:tgtEl>
                                          <p:spTgt spid="276"/>
                                        </p:tgtEl>
                                      </p:cBhvr>
                                      <p:by x="105000" y="105000"/>
                                    </p:animScale>
                                  </p:childTnLst>
                                </p:cTn>
                              </p:par>
                              <p:par>
                                <p:cTn id="690" presetID="26" presetClass="emph" presetSubtype="0" dur="2000" repeatCount="indefinite" fill="hold" grpId="0" nodeType="withEffect">
                                  <p:stCondLst>
                                    <p:cond delay="4500"/>
                                  </p:stCondLst>
                                  <p:childTnLst>
                                    <p:animEffect transition="out" filter="fade">
                                      <p:cBhvr>
                                        <p:cTn id="691" dur="2000" tmFilter="0, 0; .2, .5; .8, .5; 1, 0"/>
                                        <p:tgtEl>
                                          <p:spTgt spid="277"/>
                                        </p:tgtEl>
                                      </p:cBhvr>
                                    </p:animEffect>
                                    <p:animScale>
                                      <p:cBhvr>
                                        <p:cTn id="692" dur="1000" autoRev="1" fill="hold"/>
                                        <p:tgtEl>
                                          <p:spTgt spid="277"/>
                                        </p:tgtEl>
                                      </p:cBhvr>
                                      <p:by x="105000" y="105000"/>
                                    </p:animScale>
                                  </p:childTnLst>
                                </p:cTn>
                              </p:par>
                              <p:par>
                                <p:cTn id="693" presetID="26" presetClass="emph" presetSubtype="0" dur="2000" repeatCount="indefinite" fill="hold" grpId="0" nodeType="withEffect">
                                  <p:stCondLst>
                                    <p:cond delay="4500"/>
                                  </p:stCondLst>
                                  <p:childTnLst>
                                    <p:animEffect transition="out" filter="fade">
                                      <p:cBhvr>
                                        <p:cTn id="694" dur="2000" tmFilter="0, 0; .2, .5; .8, .5; 1, 0"/>
                                        <p:tgtEl>
                                          <p:spTgt spid="278"/>
                                        </p:tgtEl>
                                      </p:cBhvr>
                                    </p:animEffect>
                                    <p:animScale>
                                      <p:cBhvr>
                                        <p:cTn id="695" dur="1000" autoRev="1" fill="hold"/>
                                        <p:tgtEl>
                                          <p:spTgt spid="278"/>
                                        </p:tgtEl>
                                      </p:cBhvr>
                                      <p:by x="105000" y="105000"/>
                                    </p:animScale>
                                  </p:childTnLst>
                                </p:cTn>
                              </p:par>
                              <p:par>
                                <p:cTn id="696" presetID="26" presetClass="emph" presetSubtype="0" dur="2000" repeatCount="indefinite" fill="hold" grpId="0" nodeType="withEffect">
                                  <p:stCondLst>
                                    <p:cond delay="4750"/>
                                  </p:stCondLst>
                                  <p:childTnLst>
                                    <p:animEffect transition="out" filter="fade">
                                      <p:cBhvr>
                                        <p:cTn id="697" dur="2000" tmFilter="0, 0; .2, .5; .8, .5; 1, 0"/>
                                        <p:tgtEl>
                                          <p:spTgt spid="269"/>
                                        </p:tgtEl>
                                      </p:cBhvr>
                                    </p:animEffect>
                                    <p:animScale>
                                      <p:cBhvr>
                                        <p:cTn id="698" dur="1000" autoRev="1" fill="hold"/>
                                        <p:tgtEl>
                                          <p:spTgt spid="269"/>
                                        </p:tgtEl>
                                      </p:cBhvr>
                                      <p:by x="105000" y="105000"/>
                                    </p:animScale>
                                  </p:childTnLst>
                                </p:cTn>
                              </p:par>
                              <p:par>
                                <p:cTn id="699" presetID="26" presetClass="emph" presetSubtype="0" dur="2000" repeatCount="indefinite" fill="hold" grpId="0" nodeType="withEffect">
                                  <p:stCondLst>
                                    <p:cond delay="4750"/>
                                  </p:stCondLst>
                                  <p:childTnLst>
                                    <p:animEffect transition="out" filter="fade">
                                      <p:cBhvr>
                                        <p:cTn id="700" dur="2000" tmFilter="0, 0; .2, .5; .8, .5; 1, 0"/>
                                        <p:tgtEl>
                                          <p:spTgt spid="270"/>
                                        </p:tgtEl>
                                      </p:cBhvr>
                                    </p:animEffect>
                                    <p:animScale>
                                      <p:cBhvr>
                                        <p:cTn id="701" dur="1000" autoRev="1" fill="hold"/>
                                        <p:tgtEl>
                                          <p:spTgt spid="270"/>
                                        </p:tgtEl>
                                      </p:cBhvr>
                                      <p:by x="105000" y="105000"/>
                                    </p:animScale>
                                  </p:childTnLst>
                                </p:cTn>
                              </p:par>
                              <p:par>
                                <p:cTn id="702" presetID="26" presetClass="emph" presetSubtype="0" dur="2000" repeatCount="indefinite" fill="hold" grpId="0" nodeType="withEffect">
                                  <p:stCondLst>
                                    <p:cond delay="4750"/>
                                  </p:stCondLst>
                                  <p:childTnLst>
                                    <p:animEffect transition="out" filter="fade">
                                      <p:cBhvr>
                                        <p:cTn id="703" dur="2000" tmFilter="0, 0; .2, .5; .8, .5; 1, 0"/>
                                        <p:tgtEl>
                                          <p:spTgt spid="271"/>
                                        </p:tgtEl>
                                      </p:cBhvr>
                                    </p:animEffect>
                                    <p:animScale>
                                      <p:cBhvr>
                                        <p:cTn id="704" dur="1000" autoRev="1" fill="hold"/>
                                        <p:tgtEl>
                                          <p:spTgt spid="271"/>
                                        </p:tgtEl>
                                      </p:cBhvr>
                                      <p:by x="105000" y="105000"/>
                                    </p:animScale>
                                  </p:childTnLst>
                                </p:cTn>
                              </p:par>
                              <p:par>
                                <p:cTn id="705" presetID="26" presetClass="emph" presetSubtype="0" dur="2000" repeatCount="indefinite" fill="hold" grpId="0" nodeType="withEffect">
                                  <p:stCondLst>
                                    <p:cond delay="4750"/>
                                  </p:stCondLst>
                                  <p:childTnLst>
                                    <p:animEffect transition="out" filter="fade">
                                      <p:cBhvr>
                                        <p:cTn id="706" dur="2000" tmFilter="0, 0; .2, .5; .8, .5; 1, 0"/>
                                        <p:tgtEl>
                                          <p:spTgt spid="272"/>
                                        </p:tgtEl>
                                      </p:cBhvr>
                                    </p:animEffect>
                                    <p:animScale>
                                      <p:cBhvr>
                                        <p:cTn id="707" dur="1000" autoRev="1" fill="hold"/>
                                        <p:tgtEl>
                                          <p:spTgt spid="272"/>
                                        </p:tgtEl>
                                      </p:cBhvr>
                                      <p:by x="105000" y="105000"/>
                                    </p:animScale>
                                  </p:childTnLst>
                                </p:cTn>
                              </p:par>
                              <p:par>
                                <p:cTn id="708" presetID="26" presetClass="emph" presetSubtype="0" dur="2000" repeatCount="indefinite" fill="hold" grpId="0" nodeType="withEffect">
                                  <p:stCondLst>
                                    <p:cond delay="5000"/>
                                  </p:stCondLst>
                                  <p:childTnLst>
                                    <p:animEffect transition="out" filter="fade">
                                      <p:cBhvr>
                                        <p:cTn id="709" dur="2000" tmFilter="0, 0; .2, .5; .8, .5; 1, 0"/>
                                        <p:tgtEl>
                                          <p:spTgt spid="267"/>
                                        </p:tgtEl>
                                      </p:cBhvr>
                                    </p:animEffect>
                                    <p:animScale>
                                      <p:cBhvr>
                                        <p:cTn id="710" dur="1000" autoRev="1" fill="hold"/>
                                        <p:tgtEl>
                                          <p:spTgt spid="267"/>
                                        </p:tgtEl>
                                      </p:cBhvr>
                                      <p:by x="105000" y="105000"/>
                                    </p:animScale>
                                  </p:childTnLst>
                                </p:cTn>
                              </p:par>
                              <p:par>
                                <p:cTn id="711" presetID="26" presetClass="emph" presetSubtype="0" dur="2000" repeatCount="indefinite" fill="hold" grpId="0" nodeType="withEffect">
                                  <p:stCondLst>
                                    <p:cond delay="5000"/>
                                  </p:stCondLst>
                                  <p:childTnLst>
                                    <p:animEffect transition="out" filter="fade">
                                      <p:cBhvr>
                                        <p:cTn id="712" dur="2000" tmFilter="0, 0; .2, .5; .8, .5; 1, 0"/>
                                        <p:tgtEl>
                                          <p:spTgt spid="268"/>
                                        </p:tgtEl>
                                      </p:cBhvr>
                                    </p:animEffect>
                                    <p:animScale>
                                      <p:cBhvr>
                                        <p:cTn id="713" dur="1000" autoRev="1" fill="hold"/>
                                        <p:tgtEl>
                                          <p:spTgt spid="268"/>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7" grpId="0" animBg="1"/>
      <p:bldP spid="268" grpId="0" animBg="1"/>
      <p:bldP spid="269" grpId="0" animBg="1"/>
      <p:bldP spid="270" grpId="0" animBg="1"/>
      <p:bldP spid="271" grpId="0" animBg="1"/>
      <p:bldP spid="272" grpId="0" animBg="1"/>
      <p:bldP spid="273" grpId="0" animBg="1"/>
      <p:bldP spid="274" grpId="0" animBg="1"/>
      <p:bldP spid="275" grpId="0" animBg="1"/>
      <p:bldP spid="276" grpId="0" animBg="1"/>
      <p:bldP spid="277" grpId="0" animBg="1"/>
      <p:bldP spid="278" grpId="0" animBg="1"/>
      <p:bldP spid="279" grpId="0" animBg="1"/>
      <p:bldP spid="280" grpId="0" animBg="1"/>
      <p:bldP spid="281" grpId="0" animBg="1"/>
      <p:bldP spid="282" grpId="0" animBg="1"/>
      <p:bldP spid="283" grpId="0" animBg="1"/>
      <p:bldP spid="284" grpId="0" animBg="1"/>
      <p:bldP spid="285" grpId="0" animBg="1"/>
      <p:bldP spid="286" grpId="0" animBg="1"/>
      <p:bldP spid="287" grpId="0" animBg="1"/>
      <p:bldP spid="288" grpId="0" animBg="1"/>
      <p:bldP spid="289" grpId="0" animBg="1"/>
      <p:bldP spid="290" grpId="0" animBg="1"/>
      <p:bldP spid="291" grpId="0" animBg="1"/>
      <p:bldP spid="292" grpId="0" animBg="1"/>
      <p:bldP spid="293" grpId="0" animBg="1"/>
      <p:bldP spid="294" grpId="0" animBg="1"/>
      <p:bldP spid="295" grpId="0" animBg="1"/>
      <p:bldP spid="296" grpId="0" animBg="1"/>
      <p:bldP spid="297" grpId="0" animBg="1"/>
      <p:bldP spid="298" grpId="0" animBg="1"/>
      <p:bldP spid="299" grpId="0" animBg="1"/>
      <p:bldP spid="300" grpId="0" animBg="1"/>
      <p:bldP spid="301" grpId="0" animBg="1"/>
      <p:bldP spid="302" grpId="0" animBg="1"/>
      <p:bldP spid="303" grpId="0" animBg="1"/>
      <p:bldP spid="304" grpId="0" animBg="1"/>
      <p:bldP spid="305" grpId="0" animBg="1"/>
      <p:bldP spid="306" grpId="0" animBg="1"/>
      <p:bldP spid="307" grpId="0" animBg="1"/>
      <p:bldP spid="308" grpId="0" animBg="1"/>
      <p:bldP spid="309" grpId="0" animBg="1"/>
      <p:bldP spid="310" grpId="0" animBg="1"/>
      <p:bldP spid="311" grpId="0" animBg="1"/>
      <p:bldP spid="312" grpId="0" animBg="1"/>
      <p:bldP spid="313" grpId="0" animBg="1"/>
      <p:bldP spid="314" grpId="0" animBg="1"/>
      <p:bldP spid="315" grpId="0" animBg="1"/>
      <p:bldP spid="316" grpId="0" animBg="1"/>
      <p:bldP spid="317" grpId="0" animBg="1"/>
      <p:bldP spid="318" grpId="0" animBg="1"/>
      <p:bldP spid="319" grpId="0" animBg="1"/>
      <p:bldP spid="320" grpId="0" animBg="1"/>
      <p:bldP spid="321" grpId="0" animBg="1"/>
      <p:bldP spid="322" grpId="0" animBg="1"/>
      <p:bldP spid="323" grpId="0" animBg="1"/>
      <p:bldP spid="324" grpId="0" animBg="1"/>
      <p:bldP spid="325" grpId="0" animBg="1"/>
      <p:bldP spid="326" grpId="0" animBg="1"/>
      <p:bldP spid="327" grpId="0" animBg="1"/>
      <p:bldP spid="328" grpId="0" animBg="1"/>
      <p:bldP spid="329" grpId="0" animBg="1"/>
      <p:bldP spid="330" grpId="0" animBg="1"/>
      <p:bldP spid="331" grpId="0" animBg="1"/>
      <p:bldP spid="332" grpId="0" animBg="1"/>
      <p:bldP spid="333" grpId="0" animBg="1"/>
      <p:bldP spid="334" grpId="0" animBg="1"/>
      <p:bldP spid="335" grpId="0" animBg="1"/>
      <p:bldP spid="336" grpId="0" animBg="1"/>
      <p:bldP spid="337" grpId="0" animBg="1"/>
      <p:bldP spid="338" grpId="0" animBg="1"/>
      <p:bldP spid="339" grpId="0" animBg="1"/>
      <p:bldP spid="340" grpId="0" animBg="1"/>
      <p:bldP spid="341" grpId="0" animBg="1"/>
      <p:bldP spid="342" grpId="0" animBg="1"/>
      <p:bldP spid="343" grpId="0" animBg="1"/>
      <p:bldP spid="344" grpId="0" animBg="1"/>
      <p:bldP spid="345" grpId="0" animBg="1"/>
      <p:bldP spid="346" grpId="0" animBg="1"/>
      <p:bldP spid="347" grpId="0" animBg="1"/>
      <p:bldP spid="348" grpId="0" animBg="1"/>
      <p:bldP spid="349" grpId="0" animBg="1"/>
      <p:bldP spid="350" grpId="0" animBg="1"/>
      <p:bldP spid="351" grpId="0" animBg="1"/>
      <p:bldP spid="352" grpId="0" animBg="1"/>
      <p:bldP spid="353" grpId="0" animBg="1"/>
      <p:bldP spid="354" grpId="0" animBg="1"/>
      <p:bldP spid="355" grpId="0" animBg="1"/>
      <p:bldP spid="356" grpId="0" animBg="1"/>
      <p:bldP spid="357" grpId="0" animBg="1"/>
      <p:bldP spid="358" grpId="0" animBg="1"/>
      <p:bldP spid="359" grpId="0" animBg="1"/>
      <p:bldP spid="360" grpId="0" animBg="1"/>
      <p:bldP spid="361" grpId="0" animBg="1"/>
      <p:bldP spid="362" grpId="0" animBg="1"/>
      <p:bldP spid="363" grpId="0" animBg="1"/>
      <p:bldP spid="364" grpId="0" animBg="1"/>
      <p:bldP spid="365" grpId="0" animBg="1"/>
      <p:bldP spid="366" grpId="0" animBg="1"/>
      <p:bldP spid="367" grpId="0" animBg="1"/>
      <p:bldP spid="368" grpId="0" animBg="1"/>
      <p:bldP spid="369" grpId="0" animBg="1"/>
      <p:bldP spid="370" grpId="0" animBg="1"/>
      <p:bldP spid="371" grpId="0" animBg="1"/>
      <p:bldP spid="372" grpId="0" animBg="1"/>
      <p:bldP spid="373" grpId="0" animBg="1"/>
      <p:bldP spid="374" grpId="0" animBg="1"/>
      <p:bldP spid="375" grpId="0" animBg="1"/>
      <p:bldP spid="376" grpId="0" animBg="1"/>
      <p:bldP spid="377" grpId="0" animBg="1"/>
      <p:bldP spid="378" grpId="0" animBg="1"/>
      <p:bldP spid="379" grpId="0" animBg="1"/>
      <p:bldP spid="380" grpId="0" animBg="1"/>
      <p:bldP spid="381" grpId="0" animBg="1"/>
      <p:bldP spid="382" grpId="0" animBg="1"/>
      <p:bldP spid="383" grpId="0" animBg="1"/>
      <p:bldP spid="384" grpId="0" animBg="1"/>
      <p:bldP spid="385" grpId="0" animBg="1"/>
      <p:bldP spid="386" grpId="0" animBg="1"/>
      <p:bldP spid="387" grpId="0" animBg="1"/>
      <p:bldP spid="388" grpId="0" animBg="1"/>
      <p:bldP spid="389" grpId="0" animBg="1"/>
      <p:bldP spid="390" grpId="0" animBg="1"/>
      <p:bldP spid="391" grpId="0" animBg="1"/>
      <p:bldP spid="392" grpId="0" animBg="1"/>
      <p:bldP spid="393" grpId="0" animBg="1"/>
      <p:bldP spid="394" grpId="0" animBg="1"/>
      <p:bldP spid="395" grpId="0" animBg="1"/>
      <p:bldP spid="396" grpId="0" animBg="1"/>
      <p:bldP spid="397" grpId="0" animBg="1"/>
      <p:bldP spid="398" grpId="0" animBg="1"/>
      <p:bldP spid="399" grpId="0" animBg="1"/>
      <p:bldP spid="400" grpId="0" animBg="1"/>
      <p:bldP spid="401" grpId="0" animBg="1"/>
      <p:bldP spid="402" grpId="0" animBg="1"/>
      <p:bldP spid="403" grpId="0" animBg="1"/>
      <p:bldP spid="404" grpId="0" animBg="1"/>
      <p:bldP spid="405" grpId="0" animBg="1"/>
      <p:bldP spid="406" grpId="0" animBg="1"/>
      <p:bldP spid="407" grpId="0" animBg="1"/>
      <p:bldP spid="408" grpId="0" animBg="1"/>
      <p:bldP spid="409" grpId="0" animBg="1"/>
      <p:bldP spid="410" grpId="0" animBg="1"/>
      <p:bldP spid="411" grpId="0" animBg="1"/>
      <p:bldP spid="412" grpId="0" animBg="1"/>
      <p:bldP spid="413" grpId="0" animBg="1"/>
      <p:bldP spid="414" grpId="0" animBg="1"/>
      <p:bldP spid="415" grpId="0" animBg="1"/>
      <p:bldP spid="416" grpId="0" animBg="1"/>
      <p:bldP spid="417" grpId="0" animBg="1"/>
      <p:bldP spid="418" grpId="0" animBg="1"/>
      <p:bldP spid="419" grpId="0" animBg="1"/>
      <p:bldP spid="420" grpId="0" animBg="1"/>
      <p:bldP spid="421" grpId="0" animBg="1"/>
      <p:bldP spid="422" grpId="0" animBg="1"/>
      <p:bldP spid="423" grpId="0" animBg="1"/>
      <p:bldP spid="424" grpId="0" animBg="1"/>
      <p:bldP spid="425" grpId="0" animBg="1"/>
      <p:bldP spid="426" grpId="0" animBg="1"/>
      <p:bldP spid="427" grpId="0" animBg="1"/>
      <p:bldP spid="428" grpId="0" animBg="1"/>
      <p:bldP spid="429" grpId="0" animBg="1"/>
      <p:bldP spid="430" grpId="0" animBg="1"/>
      <p:bldP spid="431" grpId="0" animBg="1"/>
      <p:bldP spid="432" grpId="0" animBg="1"/>
      <p:bldP spid="433" grpId="0" animBg="1"/>
      <p:bldP spid="434" grpId="0" animBg="1"/>
      <p:bldP spid="435" grpId="0" animBg="1"/>
      <p:bldP spid="436" grpId="0" animBg="1"/>
      <p:bldP spid="437" grpId="0" animBg="1"/>
      <p:bldP spid="438" grpId="0" animBg="1"/>
      <p:bldP spid="439" grpId="0" animBg="1"/>
      <p:bldP spid="440" grpId="0" animBg="1"/>
      <p:bldP spid="441" grpId="0" animBg="1"/>
      <p:bldP spid="442" grpId="0" animBg="1"/>
      <p:bldP spid="443" grpId="0" animBg="1"/>
      <p:bldP spid="444" grpId="0" animBg="1"/>
      <p:bldP spid="445" grpId="0" animBg="1"/>
      <p:bldP spid="446" grpId="0" animBg="1"/>
      <p:bldP spid="447" grpId="0" animBg="1"/>
      <p:bldP spid="448" grpId="0" animBg="1"/>
      <p:bldP spid="449" grpId="0" animBg="1"/>
      <p:bldP spid="450" grpId="0" animBg="1"/>
      <p:bldP spid="451" grpId="0" animBg="1"/>
      <p:bldP spid="452" grpId="0" animBg="1"/>
      <p:bldP spid="453" grpId="0" animBg="1"/>
      <p:bldP spid="454" grpId="0" animBg="1"/>
      <p:bldP spid="455" grpId="0" animBg="1"/>
      <p:bldP spid="456" grpId="0" animBg="1"/>
      <p:bldP spid="457" grpId="0" animBg="1"/>
      <p:bldP spid="458" grpId="0" animBg="1"/>
      <p:bldP spid="459" grpId="0" animBg="1"/>
      <p:bldP spid="460" grpId="0" animBg="1"/>
      <p:bldP spid="461" grpId="0" animBg="1"/>
      <p:bldP spid="462" grpId="0" animBg="1"/>
      <p:bldP spid="463" grpId="0" animBg="1"/>
      <p:bldP spid="464" grpId="0" animBg="1"/>
      <p:bldP spid="465" grpId="0" animBg="1"/>
      <p:bldP spid="466" grpId="0" animBg="1"/>
      <p:bldP spid="467" grpId="0" animBg="1"/>
      <p:bldP spid="468" grpId="0" animBg="1"/>
      <p:bldP spid="469" grpId="0" animBg="1"/>
      <p:bldP spid="470" grpId="0" animBg="1"/>
      <p:bldP spid="471" grpId="0" animBg="1"/>
      <p:bldP spid="472" grpId="0" animBg="1"/>
      <p:bldP spid="473" grpId="0" animBg="1"/>
      <p:bldP spid="474" grpId="0" animBg="1"/>
      <p:bldP spid="475" grpId="0" animBg="1"/>
      <p:bldP spid="476" grpId="0" animBg="1"/>
      <p:bldP spid="477" grpId="0" animBg="1"/>
      <p:bldP spid="478" grpId="0" animBg="1"/>
      <p:bldP spid="479" grpId="0" animBg="1"/>
      <p:bldP spid="480" grpId="0" animBg="1"/>
      <p:bldP spid="481" grpId="0" animBg="1"/>
      <p:bldP spid="482" grpId="0" animBg="1"/>
      <p:bldP spid="483" grpId="0" animBg="1"/>
      <p:bldP spid="484" grpId="0" animBg="1"/>
      <p:bldP spid="485" grpId="0" animBg="1"/>
      <p:bldP spid="486" grpId="0" animBg="1"/>
      <p:bldP spid="487" grpId="0" animBg="1"/>
      <p:bldP spid="488" grpId="0" animBg="1"/>
      <p:bldP spid="489" grpId="0" animBg="1"/>
      <p:bldP spid="490" grpId="0" animBg="1"/>
      <p:bldP spid="491" grpId="0" animBg="1"/>
      <p:bldP spid="492" grpId="0" animBg="1"/>
      <p:bldP spid="493" grpId="0" animBg="1"/>
      <p:bldP spid="2" grpId="0"/>
      <p:bldP spid="19" grpId="0">
        <p:tmplLst>
          <p:tmpl>
            <p:tnLst>
              <p:par>
                <p:cTn presetID="2" presetClass="entr" presetSubtype="2" decel="100000" fill="hold" nodeType="withEffect">
                  <p:stCondLst>
                    <p:cond delay="250"/>
                  </p:stCondLst>
                  <p:childTnLst>
                    <p:set>
                      <p:cBhvr>
                        <p:cTn dur="1" fill="hold">
                          <p:stCondLst>
                            <p:cond delay="0"/>
                          </p:stCondLst>
                        </p:cTn>
                        <p:tgtEl>
                          <p:spTgt spid="19"/>
                        </p:tgtEl>
                        <p:attrNameLst>
                          <p:attrName>style.visibility</p:attrName>
                        </p:attrNameLst>
                      </p:cBhvr>
                      <p:to>
                        <p:strVal val="visible"/>
                      </p:to>
                    </p:set>
                    <p:anim calcmode="lin" valueType="num">
                      <p:cBhvr additive="base">
                        <p:cTn dur="1000" fill="hold"/>
                        <p:tgtEl>
                          <p:spTgt spid="19"/>
                        </p:tgtEl>
                        <p:attrNameLst>
                          <p:attrName>ppt_x</p:attrName>
                        </p:attrNameLst>
                      </p:cBhvr>
                      <p:tavLst>
                        <p:tav tm="0">
                          <p:val>
                            <p:strVal val="1+#ppt_w/2"/>
                          </p:val>
                        </p:tav>
                        <p:tav tm="100000">
                          <p:val>
                            <p:strVal val="#ppt_x"/>
                          </p:val>
                        </p:tav>
                      </p:tavLst>
                    </p:anim>
                    <p:anim calcmode="lin" valueType="num">
                      <p:cBhvr additive="base">
                        <p:cTn dur="1000" fill="hold"/>
                        <p:tgtEl>
                          <p:spTgt spid="19"/>
                        </p:tgtEl>
                        <p:attrNameLst>
                          <p:attrName>ppt_y</p:attrName>
                        </p:attrNameLst>
                      </p:cBhvr>
                      <p:tavLst>
                        <p:tav tm="0">
                          <p:val>
                            <p:strVal val="#ppt_y"/>
                          </p:val>
                        </p:tav>
                        <p:tav tm="100000">
                          <p:val>
                            <p:strVal val="#ppt_y"/>
                          </p:val>
                        </p:tav>
                      </p:tavLst>
                    </p:anim>
                  </p:childTnLst>
                </p:cTn>
              </p:par>
            </p:tnLst>
          </p:tmpl>
        </p:tmplLst>
      </p:bldP>
      <p:bldP spid="20" grpId="0">
        <p:tmplLst>
          <p:tmpl>
            <p:tnLst>
              <p:par>
                <p:cTn presetID="2" presetClass="entr" presetSubtype="2" decel="100000" fill="hold" nodeType="withEffect">
                  <p:stCondLst>
                    <p:cond delay="250"/>
                  </p:stCondLst>
                  <p:childTnLst>
                    <p:set>
                      <p:cBhvr>
                        <p:cTn dur="1" fill="hold">
                          <p:stCondLst>
                            <p:cond delay="0"/>
                          </p:stCondLst>
                        </p:cTn>
                        <p:tgtEl>
                          <p:spTgt spid="20"/>
                        </p:tgtEl>
                        <p:attrNameLst>
                          <p:attrName>style.visibility</p:attrName>
                        </p:attrNameLst>
                      </p:cBhvr>
                      <p:to>
                        <p:strVal val="visible"/>
                      </p:to>
                    </p:set>
                    <p:anim calcmode="lin" valueType="num">
                      <p:cBhvr additive="base">
                        <p:cTn dur="1000" fill="hold"/>
                        <p:tgtEl>
                          <p:spTgt spid="20"/>
                        </p:tgtEl>
                        <p:attrNameLst>
                          <p:attrName>ppt_x</p:attrName>
                        </p:attrNameLst>
                      </p:cBhvr>
                      <p:tavLst>
                        <p:tav tm="0">
                          <p:val>
                            <p:strVal val="1+#ppt_w/2"/>
                          </p:val>
                        </p:tav>
                        <p:tav tm="100000">
                          <p:val>
                            <p:strVal val="#ppt_x"/>
                          </p:val>
                        </p:tav>
                      </p:tavLst>
                    </p:anim>
                    <p:anim calcmode="lin" valueType="num">
                      <p:cBhvr additive="base">
                        <p:cTn dur="1000" fill="hold"/>
                        <p:tgtEl>
                          <p:spTgt spid="20"/>
                        </p:tgtEl>
                        <p:attrNameLst>
                          <p:attrName>ppt_y</p:attrName>
                        </p:attrNameLst>
                      </p:cBhvr>
                      <p:tavLst>
                        <p:tav tm="0">
                          <p:val>
                            <p:strVal val="#ppt_y"/>
                          </p:val>
                        </p:tav>
                        <p:tav tm="100000">
                          <p:val>
                            <p:strVal val="#ppt_y"/>
                          </p:val>
                        </p:tav>
                      </p:tavLst>
                    </p:anim>
                  </p:childTnLst>
                </p:cTn>
              </p:par>
            </p:tnLst>
          </p:tmpl>
        </p:tmplLst>
      </p:bldP>
      <p:bldP spid="27" grpId="0" build="p">
        <p:tmplLst>
          <p:tmpl lvl="1">
            <p:tnLst>
              <p:par>
                <p:cTn presetID="2" presetClass="entr" presetSubtype="2" decel="100000" fill="hold" nodeType="withEffect">
                  <p:stCondLst>
                    <p:cond delay="250"/>
                  </p:stCondLst>
                  <p:childTnLst>
                    <p:set>
                      <p:cBhvr>
                        <p:cTn dur="1" fill="hold">
                          <p:stCondLst>
                            <p:cond delay="0"/>
                          </p:stCondLst>
                        </p:cTn>
                        <p:tgtEl>
                          <p:spTgt spid="27"/>
                        </p:tgtEl>
                        <p:attrNameLst>
                          <p:attrName>style.visibility</p:attrName>
                        </p:attrNameLst>
                      </p:cBhvr>
                      <p:to>
                        <p:strVal val="visible"/>
                      </p:to>
                    </p:set>
                    <p:anim calcmode="lin" valueType="num">
                      <p:cBhvr additive="base">
                        <p:cTn dur="1000" fill="hold"/>
                        <p:tgtEl>
                          <p:spTgt spid="27"/>
                        </p:tgtEl>
                        <p:attrNameLst>
                          <p:attrName>ppt_x</p:attrName>
                        </p:attrNameLst>
                      </p:cBhvr>
                      <p:tavLst>
                        <p:tav tm="0">
                          <p:val>
                            <p:strVal val="1+#ppt_w/2"/>
                          </p:val>
                        </p:tav>
                        <p:tav tm="100000">
                          <p:val>
                            <p:strVal val="#ppt_x"/>
                          </p:val>
                        </p:tav>
                      </p:tavLst>
                    </p:anim>
                    <p:anim calcmode="lin" valueType="num">
                      <p:cBhvr additive="base">
                        <p:cTn dur="1000" fill="hold"/>
                        <p:tgtEl>
                          <p:spTgt spid="27"/>
                        </p:tgtEl>
                        <p:attrNameLst>
                          <p:attrName>ppt_y</p:attrName>
                        </p:attrNameLst>
                      </p:cBhvr>
                      <p:tavLst>
                        <p:tav tm="0">
                          <p:val>
                            <p:strVal val="#ppt_y"/>
                          </p:val>
                        </p:tav>
                        <p:tav tm="100000">
                          <p:val>
                            <p:strVal val="#ppt_y"/>
                          </p:val>
                        </p:tav>
                      </p:tavLst>
                    </p:anim>
                  </p:childTnLst>
                </p:cTn>
              </p:par>
            </p:tnLst>
          </p:tmpl>
        </p:tmplLst>
      </p:bldP>
      <p:bldP spid="28" grpId="0" build="p">
        <p:tmplLst>
          <p:tmpl lvl="1">
            <p:tnLst>
              <p:par>
                <p:cTn presetID="2" presetClass="entr" presetSubtype="2" decel="100000" fill="hold" nodeType="withEffect">
                  <p:stCondLst>
                    <p:cond delay="250"/>
                  </p:stCondLst>
                  <p:childTnLst>
                    <p:set>
                      <p:cBhvr>
                        <p:cTn dur="1" fill="hold">
                          <p:stCondLst>
                            <p:cond delay="0"/>
                          </p:stCondLst>
                        </p:cTn>
                        <p:tgtEl>
                          <p:spTgt spid="28"/>
                        </p:tgtEl>
                        <p:attrNameLst>
                          <p:attrName>style.visibility</p:attrName>
                        </p:attrNameLst>
                      </p:cBhvr>
                      <p:to>
                        <p:strVal val="visible"/>
                      </p:to>
                    </p:set>
                    <p:anim calcmode="lin" valueType="num">
                      <p:cBhvr additive="base">
                        <p:cTn dur="1000" fill="hold"/>
                        <p:tgtEl>
                          <p:spTgt spid="28"/>
                        </p:tgtEl>
                        <p:attrNameLst>
                          <p:attrName>ppt_x</p:attrName>
                        </p:attrNameLst>
                      </p:cBhvr>
                      <p:tavLst>
                        <p:tav tm="0">
                          <p:val>
                            <p:strVal val="1+#ppt_w/2"/>
                          </p:val>
                        </p:tav>
                        <p:tav tm="100000">
                          <p:val>
                            <p:strVal val="#ppt_x"/>
                          </p:val>
                        </p:tav>
                      </p:tavLst>
                    </p:anim>
                    <p:anim calcmode="lin" valueType="num">
                      <p:cBhvr additive="base">
                        <p:cTn dur="1000" fill="hold"/>
                        <p:tgtEl>
                          <p:spTgt spid="28"/>
                        </p:tgtEl>
                        <p:attrNameLst>
                          <p:attrName>ppt_y</p:attrName>
                        </p:attrNameLst>
                      </p:cBhvr>
                      <p:tavLst>
                        <p:tav tm="0">
                          <p:val>
                            <p:strVal val="#ppt_y"/>
                          </p:val>
                        </p:tav>
                        <p:tav tm="100000">
                          <p:val>
                            <p:strVal val="#ppt_y"/>
                          </p:val>
                        </p:tav>
                      </p:tavLst>
                    </p:anim>
                  </p:childTnLst>
                </p:cTn>
              </p:par>
            </p:tnLst>
          </p:tmpl>
        </p:tmplLst>
      </p:bldP>
    </p:bldLst>
  </p:timing>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88_Custom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F2516F8B-E0FE-4C4A-820B-A5DC7B2F2B55}"/>
              </a:ext>
            </a:extLst>
          </p:cNvPr>
          <p:cNvSpPr>
            <a:spLocks noGrp="1"/>
          </p:cNvSpPr>
          <p:nvPr>
            <p:ph type="pic" sz="quarter" idx="19" hasCustomPrompt="1"/>
          </p:nvPr>
        </p:nvSpPr>
        <p:spPr>
          <a:xfrm>
            <a:off x="4178324" y="-82822"/>
            <a:ext cx="3154269" cy="749808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rot lat="18420000" lon="3000000" rev="17310000"/>
            </a:camera>
            <a:lightRig rig="threePt" dir="t"/>
          </a:scene3d>
          <a:sp3d prstMaterial="matte"/>
        </p:spPr>
        <p:txBody>
          <a:bodyPr wrap="square" anchor="ctr">
            <a:noAutofit/>
          </a:bodyPr>
          <a:lstStyle>
            <a:lvl1pPr marL="0" indent="0" algn="ctr">
              <a:buFontTx/>
              <a:buNone/>
              <a:defRPr sz="1200"/>
            </a:lvl1pPr>
          </a:lstStyle>
          <a:p>
            <a:r>
              <a:rPr lang="en-US"/>
              <a:t> </a:t>
            </a:r>
          </a:p>
        </p:txBody>
      </p:sp>
      <p:sp>
        <p:nvSpPr>
          <p:cNvPr id="23" name="Picture Placeholder 6">
            <a:extLst>
              <a:ext uri="{FF2B5EF4-FFF2-40B4-BE49-F238E27FC236}">
                <a16:creationId xmlns:a16="http://schemas.microsoft.com/office/drawing/2014/main" id="{A4626463-2253-4697-9500-AEF47C1C3A30}"/>
              </a:ext>
            </a:extLst>
          </p:cNvPr>
          <p:cNvSpPr>
            <a:spLocks noGrp="1"/>
          </p:cNvSpPr>
          <p:nvPr>
            <p:ph type="pic" sz="quarter" idx="20" hasCustomPrompt="1"/>
          </p:nvPr>
        </p:nvSpPr>
        <p:spPr>
          <a:xfrm>
            <a:off x="9435489" y="-1820952"/>
            <a:ext cx="3154269" cy="749808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rot lat="18420000" lon="3000000" rev="17310000"/>
            </a:camera>
            <a:lightRig rig="threePt" dir="t"/>
          </a:scene3d>
          <a:sp3d prstMaterial="matte"/>
        </p:spPr>
        <p:txBody>
          <a:bodyPr wrap="square" anchor="ctr">
            <a:noAutofit/>
          </a:bodyPr>
          <a:lstStyle>
            <a:lvl1pPr marL="0" indent="0" algn="ctr">
              <a:buFontTx/>
              <a:buNone/>
              <a:defRPr sz="1200"/>
            </a:lvl1pPr>
          </a:lstStyle>
          <a:p>
            <a:r>
              <a:rPr lang="en-US"/>
              <a:t> </a:t>
            </a:r>
          </a:p>
        </p:txBody>
      </p:sp>
      <p:sp>
        <p:nvSpPr>
          <p:cNvPr id="24" name="Picture Placeholder 6">
            <a:extLst>
              <a:ext uri="{FF2B5EF4-FFF2-40B4-BE49-F238E27FC236}">
                <a16:creationId xmlns:a16="http://schemas.microsoft.com/office/drawing/2014/main" id="{7703B000-8D12-4B1A-ACB6-C06DD087F7AB}"/>
              </a:ext>
            </a:extLst>
          </p:cNvPr>
          <p:cNvSpPr>
            <a:spLocks noGrp="1"/>
          </p:cNvSpPr>
          <p:nvPr>
            <p:ph type="pic" sz="quarter" idx="21" hasCustomPrompt="1"/>
          </p:nvPr>
        </p:nvSpPr>
        <p:spPr>
          <a:xfrm>
            <a:off x="-1024430" y="1650794"/>
            <a:ext cx="3154269" cy="749808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rot lat="18420000" lon="3000000" rev="17310000"/>
            </a:camera>
            <a:lightRig rig="threePt" dir="t"/>
          </a:scene3d>
          <a:sp3d prstMaterial="matte"/>
        </p:spPr>
        <p:txBody>
          <a:bodyPr wrap="square" anchor="ctr">
            <a:noAutofit/>
          </a:bodyPr>
          <a:lstStyle>
            <a:lvl1pPr marL="0" indent="0" algn="ctr">
              <a:buFontTx/>
              <a:buNone/>
              <a:defRPr sz="1200"/>
            </a:lvl1pPr>
          </a:lstStyle>
          <a:p>
            <a:r>
              <a:rPr lang="en-US"/>
              <a:t> </a:t>
            </a:r>
          </a:p>
        </p:txBody>
      </p:sp>
      <p:sp>
        <p:nvSpPr>
          <p:cNvPr id="25" name="Picture Placeholder 6">
            <a:extLst>
              <a:ext uri="{FF2B5EF4-FFF2-40B4-BE49-F238E27FC236}">
                <a16:creationId xmlns:a16="http://schemas.microsoft.com/office/drawing/2014/main" id="{8000927B-DD2F-4561-A86B-BAA2792A8F74}"/>
              </a:ext>
            </a:extLst>
          </p:cNvPr>
          <p:cNvSpPr>
            <a:spLocks noGrp="1"/>
          </p:cNvSpPr>
          <p:nvPr>
            <p:ph type="pic" sz="quarter" idx="22" hasCustomPrompt="1"/>
          </p:nvPr>
        </p:nvSpPr>
        <p:spPr>
          <a:xfrm>
            <a:off x="-6246799" y="3379874"/>
            <a:ext cx="3154269" cy="749808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rot lat="18420000" lon="3000000" rev="17310000"/>
            </a:camera>
            <a:lightRig rig="threePt" dir="t"/>
          </a:scene3d>
          <a:sp3d prstMaterial="matte"/>
        </p:spPr>
        <p:txBody>
          <a:bodyPr wrap="square" anchor="ctr">
            <a:noAutofit/>
          </a:bodyPr>
          <a:lstStyle>
            <a:lvl1pPr marL="0" indent="0" algn="ctr">
              <a:buFontTx/>
              <a:buNone/>
              <a:defRPr sz="1200"/>
            </a:lvl1pPr>
          </a:lstStyle>
          <a:p>
            <a:r>
              <a:rPr lang="en-US"/>
              <a:t> </a:t>
            </a:r>
          </a:p>
        </p:txBody>
      </p:sp>
      <p:sp>
        <p:nvSpPr>
          <p:cNvPr id="26" name="Picture Placeholder 6">
            <a:extLst>
              <a:ext uri="{FF2B5EF4-FFF2-40B4-BE49-F238E27FC236}">
                <a16:creationId xmlns:a16="http://schemas.microsoft.com/office/drawing/2014/main" id="{0A9600A9-5EAC-4F18-91A0-4E6C5F394585}"/>
              </a:ext>
            </a:extLst>
          </p:cNvPr>
          <p:cNvSpPr>
            <a:spLocks noGrp="1"/>
          </p:cNvSpPr>
          <p:nvPr>
            <p:ph type="pic" sz="quarter" idx="23" hasCustomPrompt="1"/>
          </p:nvPr>
        </p:nvSpPr>
        <p:spPr>
          <a:xfrm>
            <a:off x="-11632841" y="5171234"/>
            <a:ext cx="3154269" cy="749808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rot lat="18420000" lon="3000000" rev="17310000"/>
            </a:camera>
            <a:lightRig rig="threePt" dir="t"/>
          </a:scene3d>
          <a:sp3d prstMaterial="matte"/>
        </p:spPr>
        <p:txBody>
          <a:bodyPr wrap="square" anchor="ctr">
            <a:noAutofit/>
          </a:bodyPr>
          <a:lstStyle>
            <a:lvl1pPr marL="0" indent="0" algn="ctr">
              <a:buFontTx/>
              <a:buNone/>
              <a:defRPr sz="1200"/>
            </a:lvl1pPr>
          </a:lstStyle>
          <a:p>
            <a:r>
              <a:rPr lang="en-US"/>
              <a:t> </a:t>
            </a:r>
          </a:p>
        </p:txBody>
      </p:sp>
      <p:sp>
        <p:nvSpPr>
          <p:cNvPr id="27" name="Picture Placeholder 6">
            <a:extLst>
              <a:ext uri="{FF2B5EF4-FFF2-40B4-BE49-F238E27FC236}">
                <a16:creationId xmlns:a16="http://schemas.microsoft.com/office/drawing/2014/main" id="{37EEC992-E907-4E25-8861-053D3E578F0C}"/>
              </a:ext>
            </a:extLst>
          </p:cNvPr>
          <p:cNvSpPr>
            <a:spLocks noGrp="1"/>
          </p:cNvSpPr>
          <p:nvPr>
            <p:ph type="pic" sz="quarter" idx="24" hasCustomPrompt="1"/>
          </p:nvPr>
        </p:nvSpPr>
        <p:spPr>
          <a:xfrm>
            <a:off x="20764331" y="-2359182"/>
            <a:ext cx="3154269" cy="749808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rot lat="18420000" lon="3000000" rev="17310000"/>
            </a:camera>
            <a:lightRig rig="threePt" dir="t"/>
          </a:scene3d>
          <a:sp3d prstMaterial="matte"/>
        </p:spPr>
        <p:txBody>
          <a:bodyPr wrap="square" anchor="ctr">
            <a:noAutofit/>
          </a:bodyPr>
          <a:lstStyle>
            <a:lvl1pPr marL="0" indent="0" algn="ctr">
              <a:buFontTx/>
              <a:buNone/>
              <a:defRPr sz="1200"/>
            </a:lvl1pPr>
          </a:lstStyle>
          <a:p>
            <a:r>
              <a:rPr lang="en-US"/>
              <a:t> </a:t>
            </a:r>
          </a:p>
        </p:txBody>
      </p:sp>
      <p:sp>
        <p:nvSpPr>
          <p:cNvPr id="28" name="Picture Placeholder 6">
            <a:extLst>
              <a:ext uri="{FF2B5EF4-FFF2-40B4-BE49-F238E27FC236}">
                <a16:creationId xmlns:a16="http://schemas.microsoft.com/office/drawing/2014/main" id="{611DF2A1-D74B-4D29-98F3-927F8A285DB3}"/>
              </a:ext>
            </a:extLst>
          </p:cNvPr>
          <p:cNvSpPr>
            <a:spLocks noGrp="1"/>
          </p:cNvSpPr>
          <p:nvPr>
            <p:ph type="pic" sz="quarter" idx="25" hasCustomPrompt="1"/>
          </p:nvPr>
        </p:nvSpPr>
        <p:spPr>
          <a:xfrm>
            <a:off x="26021497" y="-4097312"/>
            <a:ext cx="3154269" cy="749808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rot lat="18420000" lon="3000000" rev="17310000"/>
            </a:camera>
            <a:lightRig rig="threePt" dir="t"/>
          </a:scene3d>
          <a:sp3d prstMaterial="matte"/>
        </p:spPr>
        <p:txBody>
          <a:bodyPr wrap="square" anchor="ctr">
            <a:noAutofit/>
          </a:bodyPr>
          <a:lstStyle>
            <a:lvl1pPr marL="0" indent="0" algn="ctr">
              <a:buFontTx/>
              <a:buNone/>
              <a:defRPr sz="1200"/>
            </a:lvl1pPr>
          </a:lstStyle>
          <a:p>
            <a:r>
              <a:rPr lang="en-US"/>
              <a:t> </a:t>
            </a:r>
          </a:p>
        </p:txBody>
      </p:sp>
      <p:sp>
        <p:nvSpPr>
          <p:cNvPr id="29" name="Picture Placeholder 6">
            <a:extLst>
              <a:ext uri="{FF2B5EF4-FFF2-40B4-BE49-F238E27FC236}">
                <a16:creationId xmlns:a16="http://schemas.microsoft.com/office/drawing/2014/main" id="{4E68B947-3A67-4B79-9911-051D6B757252}"/>
              </a:ext>
            </a:extLst>
          </p:cNvPr>
          <p:cNvSpPr>
            <a:spLocks noGrp="1"/>
          </p:cNvSpPr>
          <p:nvPr>
            <p:ph type="pic" sz="quarter" idx="26" hasCustomPrompt="1"/>
          </p:nvPr>
        </p:nvSpPr>
        <p:spPr>
          <a:xfrm>
            <a:off x="15561577" y="-625566"/>
            <a:ext cx="3154269" cy="749808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rot lat="18420000" lon="3000000" rev="17310000"/>
            </a:camera>
            <a:lightRig rig="threePt" dir="t"/>
          </a:scene3d>
          <a:sp3d prstMaterial="matte"/>
        </p:spPr>
        <p:txBody>
          <a:bodyPr wrap="square" anchor="ctr">
            <a:noAutofit/>
          </a:bodyPr>
          <a:lstStyle>
            <a:lvl1pPr marL="0" indent="0" algn="ctr">
              <a:buFontTx/>
              <a:buNone/>
              <a:defRPr sz="1200"/>
            </a:lvl1pPr>
          </a:lstStyle>
          <a:p>
            <a:r>
              <a:rPr lang="en-US"/>
              <a:t> </a:t>
            </a:r>
          </a:p>
        </p:txBody>
      </p:sp>
      <p:sp>
        <p:nvSpPr>
          <p:cNvPr id="30" name="Picture Placeholder 6">
            <a:extLst>
              <a:ext uri="{FF2B5EF4-FFF2-40B4-BE49-F238E27FC236}">
                <a16:creationId xmlns:a16="http://schemas.microsoft.com/office/drawing/2014/main" id="{4060BDBD-2126-4E95-81A9-F0DE44CC68D1}"/>
              </a:ext>
            </a:extLst>
          </p:cNvPr>
          <p:cNvSpPr>
            <a:spLocks noGrp="1"/>
          </p:cNvSpPr>
          <p:nvPr>
            <p:ph type="pic" sz="quarter" idx="27" hasCustomPrompt="1"/>
          </p:nvPr>
        </p:nvSpPr>
        <p:spPr>
          <a:xfrm>
            <a:off x="10339208" y="1103514"/>
            <a:ext cx="3154269" cy="749808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rot lat="18420000" lon="3000000" rev="17310000"/>
            </a:camera>
            <a:lightRig rig="threePt" dir="t"/>
          </a:scene3d>
          <a:sp3d prstMaterial="matte"/>
        </p:spPr>
        <p:txBody>
          <a:bodyPr wrap="square" anchor="ctr">
            <a:noAutofit/>
          </a:bodyPr>
          <a:lstStyle>
            <a:lvl1pPr marL="0" indent="0" algn="ctr">
              <a:buFontTx/>
              <a:buNone/>
              <a:defRPr sz="1200"/>
            </a:lvl1pPr>
          </a:lstStyle>
          <a:p>
            <a:r>
              <a:rPr lang="en-US"/>
              <a:t> </a:t>
            </a:r>
          </a:p>
        </p:txBody>
      </p:sp>
      <p:sp>
        <p:nvSpPr>
          <p:cNvPr id="31" name="Picture Placeholder 6">
            <a:extLst>
              <a:ext uri="{FF2B5EF4-FFF2-40B4-BE49-F238E27FC236}">
                <a16:creationId xmlns:a16="http://schemas.microsoft.com/office/drawing/2014/main" id="{7D11A113-C1B4-4B9C-AC18-EC628568D82B}"/>
              </a:ext>
            </a:extLst>
          </p:cNvPr>
          <p:cNvSpPr>
            <a:spLocks noGrp="1"/>
          </p:cNvSpPr>
          <p:nvPr>
            <p:ph type="pic" sz="quarter" idx="28" hasCustomPrompt="1"/>
          </p:nvPr>
        </p:nvSpPr>
        <p:spPr>
          <a:xfrm>
            <a:off x="4953166" y="2894874"/>
            <a:ext cx="3154269" cy="749808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rot lat="18420000" lon="3000000" rev="17310000"/>
            </a:camera>
            <a:lightRig rig="threePt" dir="t"/>
          </a:scene3d>
          <a:sp3d prstMaterial="matte"/>
        </p:spPr>
        <p:txBody>
          <a:bodyPr wrap="square" anchor="ctr">
            <a:noAutofit/>
          </a:bodyPr>
          <a:lstStyle>
            <a:lvl1pPr marL="0" indent="0" algn="ctr">
              <a:buFontTx/>
              <a:buNone/>
              <a:defRPr sz="1200"/>
            </a:lvl1pPr>
          </a:lstStyle>
          <a:p>
            <a:r>
              <a:rPr lang="en-US"/>
              <a:t> </a:t>
            </a:r>
          </a:p>
        </p:txBody>
      </p:sp>
      <p:sp>
        <p:nvSpPr>
          <p:cNvPr id="32" name="Picture Placeholder 6">
            <a:extLst>
              <a:ext uri="{FF2B5EF4-FFF2-40B4-BE49-F238E27FC236}">
                <a16:creationId xmlns:a16="http://schemas.microsoft.com/office/drawing/2014/main" id="{71596971-2921-4B94-B0AB-B47F97CA222A}"/>
              </a:ext>
            </a:extLst>
          </p:cNvPr>
          <p:cNvSpPr>
            <a:spLocks noGrp="1"/>
          </p:cNvSpPr>
          <p:nvPr>
            <p:ph type="pic" sz="quarter" idx="29" hasCustomPrompt="1"/>
          </p:nvPr>
        </p:nvSpPr>
        <p:spPr>
          <a:xfrm>
            <a:off x="13826551" y="-6479347"/>
            <a:ext cx="3154269" cy="749808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rot lat="18420000" lon="3000000" rev="17310000"/>
            </a:camera>
            <a:lightRig rig="threePt" dir="t"/>
          </a:scene3d>
          <a:sp3d prstMaterial="matte"/>
        </p:spPr>
        <p:txBody>
          <a:bodyPr wrap="square" anchor="ctr">
            <a:noAutofit/>
          </a:bodyPr>
          <a:lstStyle>
            <a:lvl1pPr marL="0" indent="0" algn="ctr">
              <a:buFontTx/>
              <a:buNone/>
              <a:defRPr sz="1200"/>
            </a:lvl1pPr>
          </a:lstStyle>
          <a:p>
            <a:r>
              <a:rPr lang="en-US"/>
              <a:t> </a:t>
            </a:r>
          </a:p>
        </p:txBody>
      </p:sp>
      <p:sp>
        <p:nvSpPr>
          <p:cNvPr id="33" name="Picture Placeholder 6">
            <a:extLst>
              <a:ext uri="{FF2B5EF4-FFF2-40B4-BE49-F238E27FC236}">
                <a16:creationId xmlns:a16="http://schemas.microsoft.com/office/drawing/2014/main" id="{0D869799-5865-4C17-A764-D9457241E00D}"/>
              </a:ext>
            </a:extLst>
          </p:cNvPr>
          <p:cNvSpPr>
            <a:spLocks noGrp="1"/>
          </p:cNvSpPr>
          <p:nvPr>
            <p:ph type="pic" sz="quarter" idx="30" hasCustomPrompt="1"/>
          </p:nvPr>
        </p:nvSpPr>
        <p:spPr>
          <a:xfrm>
            <a:off x="19083716" y="-8217477"/>
            <a:ext cx="3154269" cy="749808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rot lat="18420000" lon="3000000" rev="17310000"/>
            </a:camera>
            <a:lightRig rig="threePt" dir="t"/>
          </a:scene3d>
          <a:sp3d prstMaterial="matte"/>
        </p:spPr>
        <p:txBody>
          <a:bodyPr wrap="square" anchor="ctr">
            <a:noAutofit/>
          </a:bodyPr>
          <a:lstStyle>
            <a:lvl1pPr marL="0" indent="0" algn="ctr">
              <a:buFontTx/>
              <a:buNone/>
              <a:defRPr sz="1200"/>
            </a:lvl1pPr>
          </a:lstStyle>
          <a:p>
            <a:r>
              <a:rPr lang="en-US"/>
              <a:t> </a:t>
            </a:r>
          </a:p>
        </p:txBody>
      </p:sp>
      <p:sp>
        <p:nvSpPr>
          <p:cNvPr id="34" name="Picture Placeholder 6">
            <a:extLst>
              <a:ext uri="{FF2B5EF4-FFF2-40B4-BE49-F238E27FC236}">
                <a16:creationId xmlns:a16="http://schemas.microsoft.com/office/drawing/2014/main" id="{566937C7-F205-4656-A8E8-906793DD2E11}"/>
              </a:ext>
            </a:extLst>
          </p:cNvPr>
          <p:cNvSpPr>
            <a:spLocks noGrp="1"/>
          </p:cNvSpPr>
          <p:nvPr>
            <p:ph type="pic" sz="quarter" idx="31" hasCustomPrompt="1"/>
          </p:nvPr>
        </p:nvSpPr>
        <p:spPr>
          <a:xfrm>
            <a:off x="8623797" y="-4745731"/>
            <a:ext cx="3154269" cy="749808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rot lat="18420000" lon="3000000" rev="17310000"/>
            </a:camera>
            <a:lightRig rig="threePt" dir="t"/>
          </a:scene3d>
          <a:sp3d prstMaterial="matte"/>
        </p:spPr>
        <p:txBody>
          <a:bodyPr wrap="square" anchor="ctr">
            <a:noAutofit/>
          </a:bodyPr>
          <a:lstStyle>
            <a:lvl1pPr marL="0" indent="0" algn="ctr">
              <a:buFontTx/>
              <a:buNone/>
              <a:defRPr sz="1200"/>
            </a:lvl1pPr>
          </a:lstStyle>
          <a:p>
            <a:r>
              <a:rPr lang="en-US"/>
              <a:t> </a:t>
            </a:r>
          </a:p>
        </p:txBody>
      </p:sp>
      <p:sp>
        <p:nvSpPr>
          <p:cNvPr id="35" name="Picture Placeholder 6">
            <a:extLst>
              <a:ext uri="{FF2B5EF4-FFF2-40B4-BE49-F238E27FC236}">
                <a16:creationId xmlns:a16="http://schemas.microsoft.com/office/drawing/2014/main" id="{D72442AB-B35D-4075-8B3B-92AA68A6072F}"/>
              </a:ext>
            </a:extLst>
          </p:cNvPr>
          <p:cNvSpPr>
            <a:spLocks noGrp="1"/>
          </p:cNvSpPr>
          <p:nvPr>
            <p:ph type="pic" sz="quarter" idx="32" hasCustomPrompt="1"/>
          </p:nvPr>
        </p:nvSpPr>
        <p:spPr>
          <a:xfrm>
            <a:off x="3401428" y="-3016651"/>
            <a:ext cx="3154269" cy="749808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rot lat="18420000" lon="3000000" rev="17310000"/>
            </a:camera>
            <a:lightRig rig="threePt" dir="t"/>
          </a:scene3d>
          <a:sp3d prstMaterial="matte"/>
        </p:spPr>
        <p:txBody>
          <a:bodyPr wrap="square" anchor="ctr">
            <a:noAutofit/>
          </a:bodyPr>
          <a:lstStyle>
            <a:lvl1pPr marL="0" indent="0" algn="ctr">
              <a:buFontTx/>
              <a:buNone/>
              <a:defRPr sz="1200"/>
            </a:lvl1pPr>
          </a:lstStyle>
          <a:p>
            <a:r>
              <a:rPr lang="en-US"/>
              <a:t> </a:t>
            </a:r>
          </a:p>
        </p:txBody>
      </p:sp>
      <p:sp>
        <p:nvSpPr>
          <p:cNvPr id="36" name="Picture Placeholder 6">
            <a:extLst>
              <a:ext uri="{FF2B5EF4-FFF2-40B4-BE49-F238E27FC236}">
                <a16:creationId xmlns:a16="http://schemas.microsoft.com/office/drawing/2014/main" id="{6B46F04C-4E8E-4C12-BDE6-6EE31FC8A4EA}"/>
              </a:ext>
            </a:extLst>
          </p:cNvPr>
          <p:cNvSpPr>
            <a:spLocks noGrp="1"/>
          </p:cNvSpPr>
          <p:nvPr>
            <p:ph type="pic" sz="quarter" idx="33" hasCustomPrompt="1"/>
          </p:nvPr>
        </p:nvSpPr>
        <p:spPr>
          <a:xfrm>
            <a:off x="-1984613" y="-1225291"/>
            <a:ext cx="3154269" cy="749808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rot lat="18420000" lon="3000000" rev="17310000"/>
            </a:camera>
            <a:lightRig rig="threePt" dir="t"/>
          </a:scene3d>
          <a:sp3d prstMaterial="matte"/>
        </p:spPr>
        <p:txBody>
          <a:bodyPr wrap="square" anchor="ctr">
            <a:noAutofit/>
          </a:bodyPr>
          <a:lstStyle>
            <a:lvl1pPr marL="0" indent="0" algn="ctr">
              <a:buFontTx/>
              <a:buNone/>
              <a:defRPr sz="1200"/>
            </a:lvl1pPr>
          </a:lstStyle>
          <a:p>
            <a:r>
              <a:rPr lang="en-US"/>
              <a:t> </a:t>
            </a:r>
          </a:p>
        </p:txBody>
      </p:sp>
    </p:spTree>
    <p:extLst>
      <p:ext uri="{BB962C8B-B14F-4D97-AF65-F5344CB8AC3E}">
        <p14:creationId xmlns:p14="http://schemas.microsoft.com/office/powerpoint/2010/main" val="264224517"/>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42" presetClass="path" presetSubtype="0" dur="6000" repeatCount="indefinite" accel="50000" decel="50000" autoRev="1" fill="hold" grpId="0" nodeType="withEffect">
                                  <p:stCondLst>
                                    <p:cond delay="0"/>
                                  </p:stCondLst>
                                  <p:childTnLst>
                                    <p:animMotion origin="layout" path="M 3.62062E-06 5E-06 L 0.86967 -0.51355" pathEditMode="relative" rAng="0" ptsTypes="AA">
                                      <p:cBhvr>
                                        <p:cTn id="6" dur="6000" fill="hold"/>
                                        <p:tgtEl>
                                          <p:spTgt spid="26"/>
                                        </p:tgtEl>
                                        <p:attrNameLst>
                                          <p:attrName>ppt_x</p:attrName>
                                          <p:attrName>ppt_y</p:attrName>
                                        </p:attrNameLst>
                                      </p:cBhvr>
                                      <p:rCtr x="43484" y="-25683"/>
                                    </p:animMotion>
                                  </p:childTnLst>
                                </p:cTn>
                              </p:par>
                              <p:par>
                                <p:cTn id="7" presetID="42" presetClass="path" presetSubtype="0" dur="6000" repeatCount="indefinite" accel="50000" decel="50000" autoRev="1" fill="hold" grpId="0" nodeType="withEffect">
                                  <p:stCondLst>
                                    <p:cond delay="0"/>
                                  </p:stCondLst>
                                  <p:childTnLst>
                                    <p:animMotion origin="layout" path="M 3.62062E-06 5E-06 L 0.86967 -0.51355" pathEditMode="relative" rAng="0" ptsTypes="AA">
                                      <p:cBhvr>
                                        <p:cTn id="8" dur="6000" fill="hold"/>
                                        <p:tgtEl>
                                          <p:spTgt spid="25"/>
                                        </p:tgtEl>
                                        <p:attrNameLst>
                                          <p:attrName>ppt_x</p:attrName>
                                          <p:attrName>ppt_y</p:attrName>
                                        </p:attrNameLst>
                                      </p:cBhvr>
                                      <p:rCtr x="43484" y="-25683"/>
                                    </p:animMotion>
                                  </p:childTnLst>
                                </p:cTn>
                              </p:par>
                              <p:par>
                                <p:cTn id="9" presetID="42" presetClass="path" presetSubtype="0" dur="6000" repeatCount="indefinite" accel="50000" decel="50000" autoRev="1" fill="hold" grpId="0" nodeType="withEffect">
                                  <p:stCondLst>
                                    <p:cond delay="0"/>
                                  </p:stCondLst>
                                  <p:childTnLst>
                                    <p:animMotion origin="layout" path="M 3.62062E-06 5E-06 L 0.86967 -0.51355" pathEditMode="relative" rAng="0" ptsTypes="AA">
                                      <p:cBhvr>
                                        <p:cTn id="10" dur="6000" fill="hold"/>
                                        <p:tgtEl>
                                          <p:spTgt spid="24"/>
                                        </p:tgtEl>
                                        <p:attrNameLst>
                                          <p:attrName>ppt_x</p:attrName>
                                          <p:attrName>ppt_y</p:attrName>
                                        </p:attrNameLst>
                                      </p:cBhvr>
                                      <p:rCtr x="43484" y="-25683"/>
                                    </p:animMotion>
                                  </p:childTnLst>
                                </p:cTn>
                              </p:par>
                              <p:par>
                                <p:cTn id="11" presetID="42" presetClass="path" presetSubtype="0" dur="6000" repeatCount="indefinite" accel="50000" decel="50000" autoRev="1" fill="hold" grpId="0" nodeType="withEffect">
                                  <p:stCondLst>
                                    <p:cond delay="0"/>
                                  </p:stCondLst>
                                  <p:childTnLst>
                                    <p:animMotion origin="layout" path="M 3.62062E-06 5E-06 L 0.86967 -0.51355" pathEditMode="relative" rAng="0" ptsTypes="AA">
                                      <p:cBhvr>
                                        <p:cTn id="12" dur="6000" fill="hold"/>
                                        <p:tgtEl>
                                          <p:spTgt spid="7"/>
                                        </p:tgtEl>
                                        <p:attrNameLst>
                                          <p:attrName>ppt_x</p:attrName>
                                          <p:attrName>ppt_y</p:attrName>
                                        </p:attrNameLst>
                                      </p:cBhvr>
                                      <p:rCtr x="43484" y="-25683"/>
                                    </p:animMotion>
                                  </p:childTnLst>
                                </p:cTn>
                              </p:par>
                              <p:par>
                                <p:cTn id="13" presetID="42" presetClass="path" presetSubtype="0" dur="6000" repeatCount="indefinite" accel="50000" decel="50000" autoRev="1" fill="hold" grpId="0" nodeType="withEffect">
                                  <p:stCondLst>
                                    <p:cond delay="0"/>
                                  </p:stCondLst>
                                  <p:childTnLst>
                                    <p:animMotion origin="layout" path="M 3.62062E-06 5E-06 L 0.86967 -0.51355" pathEditMode="relative" rAng="0" ptsTypes="AA">
                                      <p:cBhvr>
                                        <p:cTn id="14" dur="6000" fill="hold"/>
                                        <p:tgtEl>
                                          <p:spTgt spid="23"/>
                                        </p:tgtEl>
                                        <p:attrNameLst>
                                          <p:attrName>ppt_x</p:attrName>
                                          <p:attrName>ppt_y</p:attrName>
                                        </p:attrNameLst>
                                      </p:cBhvr>
                                      <p:rCtr x="43484" y="-25683"/>
                                    </p:animMotion>
                                  </p:childTnLst>
                                </p:cTn>
                              </p:par>
                              <p:par>
                                <p:cTn id="15" presetID="42" presetClass="path" presetSubtype="0" dur="8000" repeatCount="indefinite" accel="50000" decel="50000" autoRev="1" fill="hold" grpId="0" nodeType="withEffect">
                                  <p:stCondLst>
                                    <p:cond delay="0"/>
                                  </p:stCondLst>
                                  <p:childTnLst>
                                    <p:animMotion origin="layout" path="M 3.09855E-06 1.2963E-06 L -1.28714 0.75949" pathEditMode="relative" rAng="0" ptsTypes="AA">
                                      <p:cBhvr>
                                        <p:cTn id="16" dur="8000" fill="hold"/>
                                        <p:tgtEl>
                                          <p:spTgt spid="28"/>
                                        </p:tgtEl>
                                        <p:attrNameLst>
                                          <p:attrName>ppt_x</p:attrName>
                                          <p:attrName>ppt_y</p:attrName>
                                        </p:attrNameLst>
                                      </p:cBhvr>
                                      <p:rCtr x="-64360" y="37975"/>
                                    </p:animMotion>
                                  </p:childTnLst>
                                </p:cTn>
                              </p:par>
                              <p:par>
                                <p:cTn id="17" presetID="42" presetClass="path" presetSubtype="0" dur="8000" repeatCount="indefinite" accel="50000" decel="50000" autoRev="1" fill="hold" grpId="0" nodeType="withEffect">
                                  <p:stCondLst>
                                    <p:cond delay="0"/>
                                  </p:stCondLst>
                                  <p:childTnLst>
                                    <p:animMotion origin="layout" path="M 3.09855E-06 1.2963E-06 L -1.28714 0.75949" pathEditMode="relative" rAng="0" ptsTypes="AA">
                                      <p:cBhvr>
                                        <p:cTn id="18" dur="8000" fill="hold"/>
                                        <p:tgtEl>
                                          <p:spTgt spid="27"/>
                                        </p:tgtEl>
                                        <p:attrNameLst>
                                          <p:attrName>ppt_x</p:attrName>
                                          <p:attrName>ppt_y</p:attrName>
                                        </p:attrNameLst>
                                      </p:cBhvr>
                                      <p:rCtr x="-64360" y="37975"/>
                                    </p:animMotion>
                                  </p:childTnLst>
                                </p:cTn>
                              </p:par>
                              <p:par>
                                <p:cTn id="19" presetID="42" presetClass="path" presetSubtype="0" dur="8000" repeatCount="indefinite" accel="50000" decel="50000" autoRev="1" fill="hold" grpId="0" nodeType="withEffect">
                                  <p:stCondLst>
                                    <p:cond delay="0"/>
                                  </p:stCondLst>
                                  <p:childTnLst>
                                    <p:animMotion origin="layout" path="M 3.09855E-06 1.2963E-06 L -1.28714 0.75949" pathEditMode="relative" rAng="0" ptsTypes="AA">
                                      <p:cBhvr>
                                        <p:cTn id="20" dur="8000" fill="hold"/>
                                        <p:tgtEl>
                                          <p:spTgt spid="29"/>
                                        </p:tgtEl>
                                        <p:attrNameLst>
                                          <p:attrName>ppt_x</p:attrName>
                                          <p:attrName>ppt_y</p:attrName>
                                        </p:attrNameLst>
                                      </p:cBhvr>
                                      <p:rCtr x="-64360" y="37975"/>
                                    </p:animMotion>
                                  </p:childTnLst>
                                </p:cTn>
                              </p:par>
                              <p:par>
                                <p:cTn id="21" presetID="42" presetClass="path" presetSubtype="0" dur="8000" repeatCount="indefinite" accel="50000" decel="50000" autoRev="1" fill="hold" grpId="0" nodeType="withEffect">
                                  <p:stCondLst>
                                    <p:cond delay="0"/>
                                  </p:stCondLst>
                                  <p:childTnLst>
                                    <p:animMotion origin="layout" path="M 3.09855E-06 1.2963E-06 L -1.28714 0.75949" pathEditMode="relative" rAng="0" ptsTypes="AA">
                                      <p:cBhvr>
                                        <p:cTn id="22" dur="8000" fill="hold"/>
                                        <p:tgtEl>
                                          <p:spTgt spid="30"/>
                                        </p:tgtEl>
                                        <p:attrNameLst>
                                          <p:attrName>ppt_x</p:attrName>
                                          <p:attrName>ppt_y</p:attrName>
                                        </p:attrNameLst>
                                      </p:cBhvr>
                                      <p:rCtr x="-64360" y="37975"/>
                                    </p:animMotion>
                                  </p:childTnLst>
                                </p:cTn>
                              </p:par>
                              <p:par>
                                <p:cTn id="23" presetID="42" presetClass="path" presetSubtype="0" dur="8000" repeatCount="indefinite" accel="50000" decel="50000" autoRev="1" fill="hold" grpId="0" nodeType="withEffect">
                                  <p:stCondLst>
                                    <p:cond delay="0"/>
                                  </p:stCondLst>
                                  <p:childTnLst>
                                    <p:animMotion origin="layout" path="M 3.09855E-06 1.2963E-06 L -1.28714 0.75949" pathEditMode="relative" rAng="0" ptsTypes="AA">
                                      <p:cBhvr>
                                        <p:cTn id="24" dur="8000" fill="hold"/>
                                        <p:tgtEl>
                                          <p:spTgt spid="31"/>
                                        </p:tgtEl>
                                        <p:attrNameLst>
                                          <p:attrName>ppt_x</p:attrName>
                                          <p:attrName>ppt_y</p:attrName>
                                        </p:attrNameLst>
                                      </p:cBhvr>
                                      <p:rCtr x="-64360" y="37975"/>
                                    </p:animMotion>
                                  </p:childTnLst>
                                </p:cTn>
                              </p:par>
                              <p:par>
                                <p:cTn id="25" presetID="42" presetClass="path" presetSubtype="0" dur="10000" repeatCount="indefinite" accel="50000" decel="50000" autoRev="1" fill="hold" grpId="0" nodeType="withEffect">
                                  <p:stCondLst>
                                    <p:cond delay="0"/>
                                  </p:stCondLst>
                                  <p:childTnLst>
                                    <p:animMotion origin="layout" path="M 3.09855E-06 1.2963E-06 L -1.28714 0.75949" pathEditMode="relative" rAng="0" ptsTypes="AA">
                                      <p:cBhvr>
                                        <p:cTn id="26" dur="10000" fill="hold"/>
                                        <p:tgtEl>
                                          <p:spTgt spid="33"/>
                                        </p:tgtEl>
                                        <p:attrNameLst>
                                          <p:attrName>ppt_x</p:attrName>
                                          <p:attrName>ppt_y</p:attrName>
                                        </p:attrNameLst>
                                      </p:cBhvr>
                                      <p:rCtr x="-64360" y="37975"/>
                                    </p:animMotion>
                                  </p:childTnLst>
                                </p:cTn>
                              </p:par>
                              <p:par>
                                <p:cTn id="27" presetID="42" presetClass="path" presetSubtype="0" dur="10000" repeatCount="indefinite" accel="50000" decel="50000" autoRev="1" fill="hold" grpId="0" nodeType="withEffect">
                                  <p:stCondLst>
                                    <p:cond delay="0"/>
                                  </p:stCondLst>
                                  <p:childTnLst>
                                    <p:animMotion origin="layout" path="M 3.09855E-06 1.2963E-06 L -1.28714 0.75949" pathEditMode="relative" rAng="0" ptsTypes="AA">
                                      <p:cBhvr>
                                        <p:cTn id="28" dur="10000" fill="hold"/>
                                        <p:tgtEl>
                                          <p:spTgt spid="32"/>
                                        </p:tgtEl>
                                        <p:attrNameLst>
                                          <p:attrName>ppt_x</p:attrName>
                                          <p:attrName>ppt_y</p:attrName>
                                        </p:attrNameLst>
                                      </p:cBhvr>
                                      <p:rCtr x="-64360" y="37975"/>
                                    </p:animMotion>
                                  </p:childTnLst>
                                </p:cTn>
                              </p:par>
                              <p:par>
                                <p:cTn id="29" presetID="42" presetClass="path" presetSubtype="0" dur="10000" repeatCount="indefinite" accel="50000" decel="50000" autoRev="1" fill="hold" grpId="0" nodeType="withEffect">
                                  <p:stCondLst>
                                    <p:cond delay="0"/>
                                  </p:stCondLst>
                                  <p:childTnLst>
                                    <p:animMotion origin="layout" path="M 3.09855E-06 1.2963E-06 L -1.28714 0.75949" pathEditMode="relative" rAng="0" ptsTypes="AA">
                                      <p:cBhvr>
                                        <p:cTn id="30" dur="10000" fill="hold"/>
                                        <p:tgtEl>
                                          <p:spTgt spid="34"/>
                                        </p:tgtEl>
                                        <p:attrNameLst>
                                          <p:attrName>ppt_x</p:attrName>
                                          <p:attrName>ppt_y</p:attrName>
                                        </p:attrNameLst>
                                      </p:cBhvr>
                                      <p:rCtr x="-64360" y="37975"/>
                                    </p:animMotion>
                                  </p:childTnLst>
                                </p:cTn>
                              </p:par>
                              <p:par>
                                <p:cTn id="31" presetID="42" presetClass="path" presetSubtype="0" dur="10000" repeatCount="indefinite" accel="50000" decel="50000" autoRev="1" fill="hold" grpId="0" nodeType="withEffect">
                                  <p:stCondLst>
                                    <p:cond delay="0"/>
                                  </p:stCondLst>
                                  <p:childTnLst>
                                    <p:animMotion origin="layout" path="M 3.09855E-06 1.2963E-06 L -1.28714 0.75949" pathEditMode="relative" rAng="0" ptsTypes="AA">
                                      <p:cBhvr>
                                        <p:cTn id="32" dur="10000" fill="hold"/>
                                        <p:tgtEl>
                                          <p:spTgt spid="35"/>
                                        </p:tgtEl>
                                        <p:attrNameLst>
                                          <p:attrName>ppt_x</p:attrName>
                                          <p:attrName>ppt_y</p:attrName>
                                        </p:attrNameLst>
                                      </p:cBhvr>
                                      <p:rCtr x="-64360" y="37975"/>
                                    </p:animMotion>
                                  </p:childTnLst>
                                </p:cTn>
                              </p:par>
                              <p:par>
                                <p:cTn id="33" presetID="42" presetClass="path" presetSubtype="0" dur="10000" repeatCount="indefinite" accel="50000" decel="50000" autoRev="1" fill="hold" grpId="0" nodeType="withEffect">
                                  <p:stCondLst>
                                    <p:cond delay="0"/>
                                  </p:stCondLst>
                                  <p:childTnLst>
                                    <p:animMotion origin="layout" path="M 3.09855E-06 1.2963E-06 L -1.28714 0.75949" pathEditMode="relative" rAng="0" ptsTypes="AA">
                                      <p:cBhvr>
                                        <p:cTn id="34" dur="10000" fill="hold"/>
                                        <p:tgtEl>
                                          <p:spTgt spid="36"/>
                                        </p:tgtEl>
                                        <p:attrNameLst>
                                          <p:attrName>ppt_x</p:attrName>
                                          <p:attrName>ppt_y</p:attrName>
                                        </p:attrNameLst>
                                      </p:cBhvr>
                                      <p:rCtr x="-64360" y="3797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23" grpId="0" animBg="1"/>
      <p:bldP spid="24" grpId="0" animBg="1"/>
      <p:bldP spid="25" grpId="0" animBg="1"/>
      <p:bldP spid="26" grpId="0" animBg="1"/>
      <p:bldP spid="27" grpId="0" animBg="1"/>
      <p:bldP spid="28" grpId="0" animBg="1"/>
      <p:bldP spid="29" grpId="0" animBg="1"/>
      <p:bldP spid="30" grpId="0" animBg="1"/>
      <p:bldP spid="31" grpId="0" animBg="1"/>
      <p:bldP spid="32" grpId="0" animBg="1"/>
      <p:bldP spid="33" grpId="0" animBg="1"/>
      <p:bldP spid="34" grpId="0" animBg="1"/>
      <p:bldP spid="35" grpId="0" animBg="1"/>
      <p:bldP spid="36" grpId="0" animBg="1"/>
    </p:bldLst>
  </p:timing>
</p:sldLayout>
</file>

<file path=ppt/slideLayouts/slideLayout221.xml><?xml version="1.0" encoding="utf-8"?>
<p:sldLayout xmlns:a="http://schemas.openxmlformats.org/drawingml/2006/main" xmlns:r="http://schemas.openxmlformats.org/officeDocument/2006/relationships" xmlns:p="http://schemas.openxmlformats.org/presentationml/2006/main" type="title" preserve="1">
  <p:cSld name="Blank Page Light">
    <p:spTree>
      <p:nvGrpSpPr>
        <p:cNvPr id="1" name=""/>
        <p:cNvGrpSpPr/>
        <p:nvPr/>
      </p:nvGrpSpPr>
      <p:grpSpPr>
        <a:xfrm>
          <a:off x="0" y="0"/>
          <a:ext cx="0" cy="0"/>
          <a:chOff x="0" y="0"/>
          <a:chExt cx="0" cy="0"/>
        </a:xfrm>
      </p:grpSpPr>
      <p:sp>
        <p:nvSpPr>
          <p:cNvPr id="11" name="Foliennumm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496637031"/>
      </p:ext>
    </p:extLst>
  </p:cSld>
  <p:clrMapOvr>
    <a:masterClrMapping/>
  </p:clrMapOvr>
  <p:transition spd="med"/>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DIVIDER / CONCLUSION">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7A909DB3-37A5-48AF-BE1A-924B9EB8FB7C}"/>
              </a:ext>
            </a:extLst>
          </p:cNvPr>
          <p:cNvSpPr/>
          <p:nvPr userDrawn="1"/>
        </p:nvSpPr>
        <p:spPr>
          <a:xfrm>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162EBB97-69F6-4196-B4E4-174B0DFEE6DF}"/>
              </a:ext>
            </a:extLst>
          </p:cNvPr>
          <p:cNvSpPr>
            <a:spLocks noGrp="1"/>
          </p:cNvSpPr>
          <p:nvPr>
            <p:ph type="sldNum" sz="quarter" idx="10"/>
          </p:nvPr>
        </p:nvSpPr>
        <p:spPr/>
        <p:txBody>
          <a:bodyPr/>
          <a:lstStyle/>
          <a:p>
            <a:fld id="{A04BEB4F-8CE1-4F18-986F-6CE0A0BE9470}" type="slidenum">
              <a:rPr lang="de-DE" smtClean="0"/>
              <a:t>‹#›</a:t>
            </a:fld>
            <a:endParaRPr lang="de-DE"/>
          </a:p>
        </p:txBody>
      </p:sp>
      <p:sp>
        <p:nvSpPr>
          <p:cNvPr id="10" name="Bildplatzhalter 9">
            <a:extLst>
              <a:ext uri="{FF2B5EF4-FFF2-40B4-BE49-F238E27FC236}">
                <a16:creationId xmlns:a16="http://schemas.microsoft.com/office/drawing/2014/main" id="{1889C30B-2AF6-4ED6-B1F5-7CDD03B7A298}"/>
              </a:ext>
            </a:extLst>
          </p:cNvPr>
          <p:cNvSpPr>
            <a:spLocks noGrp="1"/>
          </p:cNvSpPr>
          <p:nvPr>
            <p:ph type="pic" sz="quarter" idx="11"/>
          </p:nvPr>
        </p:nvSpPr>
        <p:spPr>
          <a:xfrm>
            <a:off x="0" y="0"/>
            <a:ext cx="12192000" cy="6858000"/>
          </a:xfrm>
          <a:custGeom>
            <a:avLst/>
            <a:gdLst/>
            <a:ahLst/>
            <a:cxnLst/>
            <a:rect l="l" t="t" r="r" b="b"/>
            <a:pathLst>
              <a:path w="12192000" h="6858000">
                <a:moveTo>
                  <a:pt x="12192000" y="6419420"/>
                </a:moveTo>
                <a:lnTo>
                  <a:pt x="12192000" y="6858000"/>
                </a:lnTo>
                <a:lnTo>
                  <a:pt x="11898071" y="6858000"/>
                </a:lnTo>
                <a:close/>
                <a:moveTo>
                  <a:pt x="10540367" y="4596486"/>
                </a:moveTo>
                <a:lnTo>
                  <a:pt x="10827251" y="4596486"/>
                </a:lnTo>
                <a:cubicBezTo>
                  <a:pt x="10859934" y="4596486"/>
                  <a:pt x="10901091" y="4618275"/>
                  <a:pt x="10919248" y="4644906"/>
                </a:cubicBezTo>
                <a:lnTo>
                  <a:pt x="11819847" y="5989752"/>
                </a:lnTo>
                <a:cubicBezTo>
                  <a:pt x="11836794" y="6015172"/>
                  <a:pt x="11836794" y="6057539"/>
                  <a:pt x="11819847" y="6082959"/>
                </a:cubicBezTo>
                <a:lnTo>
                  <a:pt x="11299646" y="6858000"/>
                </a:lnTo>
                <a:lnTo>
                  <a:pt x="10921262" y="6858000"/>
                </a:lnTo>
                <a:lnTo>
                  <a:pt x="11427651" y="6103537"/>
                </a:lnTo>
                <a:cubicBezTo>
                  <a:pt x="11453071" y="6066012"/>
                  <a:pt x="11453071" y="6006699"/>
                  <a:pt x="11427651" y="5969174"/>
                </a:cubicBezTo>
                <a:lnTo>
                  <a:pt x="10525841" y="4625538"/>
                </a:lnTo>
                <a:cubicBezTo>
                  <a:pt x="10518578" y="4614644"/>
                  <a:pt x="10517368" y="4607381"/>
                  <a:pt x="10519789" y="4603749"/>
                </a:cubicBezTo>
                <a:cubicBezTo>
                  <a:pt x="10520999" y="4600118"/>
                  <a:pt x="10528262" y="4596486"/>
                  <a:pt x="10540367" y="4596486"/>
                </a:cubicBezTo>
                <a:close/>
                <a:moveTo>
                  <a:pt x="2719933" y="363014"/>
                </a:moveTo>
                <a:lnTo>
                  <a:pt x="2719933" y="376799"/>
                </a:lnTo>
                <a:lnTo>
                  <a:pt x="2785484" y="376799"/>
                </a:lnTo>
                <a:lnTo>
                  <a:pt x="2785484" y="363014"/>
                </a:lnTo>
                <a:close/>
                <a:moveTo>
                  <a:pt x="4027010" y="345722"/>
                </a:moveTo>
                <a:lnTo>
                  <a:pt x="4027372" y="345722"/>
                </a:lnTo>
                <a:lnTo>
                  <a:pt x="4038255" y="380306"/>
                </a:lnTo>
                <a:lnTo>
                  <a:pt x="4016066" y="380306"/>
                </a:lnTo>
                <a:close/>
                <a:moveTo>
                  <a:pt x="2464909" y="345722"/>
                </a:moveTo>
                <a:lnTo>
                  <a:pt x="2465272" y="345722"/>
                </a:lnTo>
                <a:lnTo>
                  <a:pt x="2476155" y="380306"/>
                </a:lnTo>
                <a:lnTo>
                  <a:pt x="2453966" y="380306"/>
                </a:lnTo>
                <a:close/>
                <a:moveTo>
                  <a:pt x="2179159" y="345722"/>
                </a:moveTo>
                <a:lnTo>
                  <a:pt x="2179522" y="345722"/>
                </a:lnTo>
                <a:lnTo>
                  <a:pt x="2190405" y="380306"/>
                </a:lnTo>
                <a:lnTo>
                  <a:pt x="2168216" y="380306"/>
                </a:lnTo>
                <a:close/>
                <a:moveTo>
                  <a:pt x="4213068" y="338708"/>
                </a:moveTo>
                <a:lnTo>
                  <a:pt x="4224737" y="338708"/>
                </a:lnTo>
                <a:cubicBezTo>
                  <a:pt x="4231065" y="338708"/>
                  <a:pt x="4236023" y="340842"/>
                  <a:pt x="4239610" y="345111"/>
                </a:cubicBezTo>
                <a:cubicBezTo>
                  <a:pt x="4243198" y="349379"/>
                  <a:pt x="4244992" y="354916"/>
                  <a:pt x="4244992" y="361721"/>
                </a:cubicBezTo>
                <a:lnTo>
                  <a:pt x="4244992" y="376398"/>
                </a:lnTo>
                <a:cubicBezTo>
                  <a:pt x="4244992" y="383284"/>
                  <a:pt x="4243198" y="388861"/>
                  <a:pt x="4239610" y="393129"/>
                </a:cubicBezTo>
                <a:cubicBezTo>
                  <a:pt x="4236023" y="397398"/>
                  <a:pt x="4231065" y="399532"/>
                  <a:pt x="4224737" y="399532"/>
                </a:cubicBezTo>
                <a:lnTo>
                  <a:pt x="4213068" y="399532"/>
                </a:lnTo>
                <a:close/>
                <a:moveTo>
                  <a:pt x="4108293" y="338708"/>
                </a:moveTo>
                <a:lnTo>
                  <a:pt x="4123832" y="338708"/>
                </a:lnTo>
                <a:cubicBezTo>
                  <a:pt x="4128588" y="338708"/>
                  <a:pt x="4132185" y="339897"/>
                  <a:pt x="4134624" y="342275"/>
                </a:cubicBezTo>
                <a:cubicBezTo>
                  <a:pt x="4137062" y="344654"/>
                  <a:pt x="4138282" y="347858"/>
                  <a:pt x="4138282" y="351889"/>
                </a:cubicBezTo>
                <a:cubicBezTo>
                  <a:pt x="4138282" y="356000"/>
                  <a:pt x="4137062" y="359104"/>
                  <a:pt x="4134624" y="361200"/>
                </a:cubicBezTo>
                <a:cubicBezTo>
                  <a:pt x="4132185" y="363296"/>
                  <a:pt x="4128487" y="364344"/>
                  <a:pt x="4123529" y="364344"/>
                </a:cubicBezTo>
                <a:lnTo>
                  <a:pt x="4108293" y="364344"/>
                </a:lnTo>
                <a:close/>
                <a:moveTo>
                  <a:pt x="3774918" y="338708"/>
                </a:moveTo>
                <a:lnTo>
                  <a:pt x="3790457" y="338708"/>
                </a:lnTo>
                <a:cubicBezTo>
                  <a:pt x="3795213" y="338708"/>
                  <a:pt x="3798810" y="339897"/>
                  <a:pt x="3801249" y="342275"/>
                </a:cubicBezTo>
                <a:cubicBezTo>
                  <a:pt x="3803687" y="344654"/>
                  <a:pt x="3804907" y="347858"/>
                  <a:pt x="3804907" y="351889"/>
                </a:cubicBezTo>
                <a:cubicBezTo>
                  <a:pt x="3804907" y="356000"/>
                  <a:pt x="3803687" y="359104"/>
                  <a:pt x="3801249" y="361200"/>
                </a:cubicBezTo>
                <a:cubicBezTo>
                  <a:pt x="3798810" y="363296"/>
                  <a:pt x="3795112" y="364344"/>
                  <a:pt x="3790154" y="364344"/>
                </a:cubicBezTo>
                <a:lnTo>
                  <a:pt x="3774918" y="364344"/>
                </a:lnTo>
                <a:close/>
                <a:moveTo>
                  <a:pt x="2546193" y="338708"/>
                </a:moveTo>
                <a:lnTo>
                  <a:pt x="2557862" y="338708"/>
                </a:lnTo>
                <a:cubicBezTo>
                  <a:pt x="2564190" y="338708"/>
                  <a:pt x="2569148" y="340842"/>
                  <a:pt x="2572735" y="345111"/>
                </a:cubicBezTo>
                <a:cubicBezTo>
                  <a:pt x="2576323" y="349379"/>
                  <a:pt x="2578116" y="354916"/>
                  <a:pt x="2578116" y="361721"/>
                </a:cubicBezTo>
                <a:lnTo>
                  <a:pt x="2578116" y="376398"/>
                </a:lnTo>
                <a:cubicBezTo>
                  <a:pt x="2578116" y="383284"/>
                  <a:pt x="2576323" y="388861"/>
                  <a:pt x="2572735" y="393129"/>
                </a:cubicBezTo>
                <a:cubicBezTo>
                  <a:pt x="2569148" y="397398"/>
                  <a:pt x="2564190" y="399532"/>
                  <a:pt x="2557862" y="399532"/>
                </a:cubicBezTo>
                <a:lnTo>
                  <a:pt x="2546193" y="399532"/>
                </a:lnTo>
                <a:close/>
                <a:moveTo>
                  <a:pt x="3686347" y="337620"/>
                </a:moveTo>
                <a:cubicBezTo>
                  <a:pt x="3692352" y="337620"/>
                  <a:pt x="3697068" y="339821"/>
                  <a:pt x="3700495" y="344223"/>
                </a:cubicBezTo>
                <a:cubicBezTo>
                  <a:pt x="3703921" y="348625"/>
                  <a:pt x="3705634" y="354259"/>
                  <a:pt x="3705634" y="361124"/>
                </a:cubicBezTo>
                <a:lnTo>
                  <a:pt x="3705634" y="377116"/>
                </a:lnTo>
                <a:cubicBezTo>
                  <a:pt x="3705634" y="384103"/>
                  <a:pt x="3703941" y="389797"/>
                  <a:pt x="3700555" y="394199"/>
                </a:cubicBezTo>
                <a:cubicBezTo>
                  <a:pt x="3697169" y="398601"/>
                  <a:pt x="3692453" y="400802"/>
                  <a:pt x="3686407" y="400802"/>
                </a:cubicBezTo>
                <a:cubicBezTo>
                  <a:pt x="3680441" y="400802"/>
                  <a:pt x="3675786" y="398601"/>
                  <a:pt x="3672440" y="394199"/>
                </a:cubicBezTo>
                <a:cubicBezTo>
                  <a:pt x="3669095" y="389797"/>
                  <a:pt x="3667422" y="384103"/>
                  <a:pt x="3667422" y="377116"/>
                </a:cubicBezTo>
                <a:lnTo>
                  <a:pt x="3667422" y="361124"/>
                </a:lnTo>
                <a:cubicBezTo>
                  <a:pt x="3667422" y="354218"/>
                  <a:pt x="3669074" y="348575"/>
                  <a:pt x="3672380" y="344193"/>
                </a:cubicBezTo>
                <a:cubicBezTo>
                  <a:pt x="3675685" y="339811"/>
                  <a:pt x="3680341" y="337620"/>
                  <a:pt x="3686347" y="337620"/>
                </a:cubicBezTo>
                <a:close/>
                <a:moveTo>
                  <a:pt x="3038647" y="337620"/>
                </a:moveTo>
                <a:cubicBezTo>
                  <a:pt x="3044652" y="337620"/>
                  <a:pt x="3049368" y="339821"/>
                  <a:pt x="3052794" y="344223"/>
                </a:cubicBezTo>
                <a:cubicBezTo>
                  <a:pt x="3056221" y="348625"/>
                  <a:pt x="3057934" y="354259"/>
                  <a:pt x="3057934" y="361124"/>
                </a:cubicBezTo>
                <a:lnTo>
                  <a:pt x="3057934" y="377116"/>
                </a:lnTo>
                <a:cubicBezTo>
                  <a:pt x="3057934" y="384103"/>
                  <a:pt x="3056241" y="389797"/>
                  <a:pt x="3052855" y="394199"/>
                </a:cubicBezTo>
                <a:cubicBezTo>
                  <a:pt x="3049469" y="398601"/>
                  <a:pt x="3044753" y="400802"/>
                  <a:pt x="3038707" y="400802"/>
                </a:cubicBezTo>
                <a:cubicBezTo>
                  <a:pt x="3032741" y="400802"/>
                  <a:pt x="3028086" y="398601"/>
                  <a:pt x="3024740" y="394199"/>
                </a:cubicBezTo>
                <a:cubicBezTo>
                  <a:pt x="3021395" y="389797"/>
                  <a:pt x="3019722" y="384103"/>
                  <a:pt x="3019722" y="377116"/>
                </a:cubicBezTo>
                <a:lnTo>
                  <a:pt x="3019722" y="361124"/>
                </a:lnTo>
                <a:cubicBezTo>
                  <a:pt x="3019722" y="354218"/>
                  <a:pt x="3021375" y="348575"/>
                  <a:pt x="3024680" y="344193"/>
                </a:cubicBezTo>
                <a:cubicBezTo>
                  <a:pt x="3027985" y="339811"/>
                  <a:pt x="3032641" y="337620"/>
                  <a:pt x="3038647" y="337620"/>
                </a:cubicBezTo>
                <a:close/>
                <a:moveTo>
                  <a:pt x="4195413" y="325104"/>
                </a:moveTo>
                <a:lnTo>
                  <a:pt x="4195413" y="413136"/>
                </a:lnTo>
                <a:lnTo>
                  <a:pt x="4225644" y="413136"/>
                </a:lnTo>
                <a:cubicBezTo>
                  <a:pt x="4236406" y="413136"/>
                  <a:pt x="4245273" y="409720"/>
                  <a:pt x="4252247" y="402888"/>
                </a:cubicBezTo>
                <a:cubicBezTo>
                  <a:pt x="4259220" y="396056"/>
                  <a:pt x="4262707" y="387239"/>
                  <a:pt x="4262707" y="376436"/>
                </a:cubicBezTo>
                <a:lnTo>
                  <a:pt x="4262707" y="361865"/>
                </a:lnTo>
                <a:cubicBezTo>
                  <a:pt x="4262707" y="351103"/>
                  <a:pt x="4259220" y="342285"/>
                  <a:pt x="4252247" y="335413"/>
                </a:cubicBezTo>
                <a:cubicBezTo>
                  <a:pt x="4245273" y="328540"/>
                  <a:pt x="4236406" y="325104"/>
                  <a:pt x="4225644" y="325104"/>
                </a:cubicBezTo>
                <a:close/>
                <a:moveTo>
                  <a:pt x="4090638" y="325104"/>
                </a:moveTo>
                <a:lnTo>
                  <a:pt x="4090638" y="413136"/>
                </a:lnTo>
                <a:lnTo>
                  <a:pt x="4108293" y="413136"/>
                </a:lnTo>
                <a:lnTo>
                  <a:pt x="4108293" y="377948"/>
                </a:lnTo>
                <a:lnTo>
                  <a:pt x="4125101" y="377948"/>
                </a:lnTo>
                <a:cubicBezTo>
                  <a:pt x="4129454" y="377948"/>
                  <a:pt x="4132830" y="379167"/>
                  <a:pt x="4135228" y="381605"/>
                </a:cubicBezTo>
                <a:cubicBezTo>
                  <a:pt x="4137627" y="384044"/>
                  <a:pt x="4138826" y="387460"/>
                  <a:pt x="4138826" y="391854"/>
                </a:cubicBezTo>
                <a:lnTo>
                  <a:pt x="4138826" y="398081"/>
                </a:lnTo>
                <a:cubicBezTo>
                  <a:pt x="4138826" y="400782"/>
                  <a:pt x="4139068" y="403644"/>
                  <a:pt x="4139551" y="406667"/>
                </a:cubicBezTo>
                <a:cubicBezTo>
                  <a:pt x="4140035" y="409690"/>
                  <a:pt x="4141083" y="411846"/>
                  <a:pt x="4142695" y="413136"/>
                </a:cubicBezTo>
                <a:lnTo>
                  <a:pt x="4160894" y="413136"/>
                </a:lnTo>
                <a:lnTo>
                  <a:pt x="4160894" y="411866"/>
                </a:lnTo>
                <a:cubicBezTo>
                  <a:pt x="4159282" y="410577"/>
                  <a:pt x="4158143" y="408591"/>
                  <a:pt x="4157478" y="405911"/>
                </a:cubicBezTo>
                <a:cubicBezTo>
                  <a:pt x="4156813" y="403231"/>
                  <a:pt x="4156481" y="400661"/>
                  <a:pt x="4156481" y="398202"/>
                </a:cubicBezTo>
                <a:lnTo>
                  <a:pt x="4156481" y="391733"/>
                </a:lnTo>
                <a:cubicBezTo>
                  <a:pt x="4156481" y="386452"/>
                  <a:pt x="4155342" y="382019"/>
                  <a:pt x="4153065" y="378431"/>
                </a:cubicBezTo>
                <a:cubicBezTo>
                  <a:pt x="4150787" y="374844"/>
                  <a:pt x="4147049" y="372284"/>
                  <a:pt x="4141849" y="370753"/>
                </a:cubicBezTo>
                <a:cubicBezTo>
                  <a:pt x="4146444" y="368737"/>
                  <a:pt x="4149930" y="366097"/>
                  <a:pt x="4152309" y="362832"/>
                </a:cubicBezTo>
                <a:cubicBezTo>
                  <a:pt x="4154687" y="359567"/>
                  <a:pt x="4155876" y="355657"/>
                  <a:pt x="4155876" y="351103"/>
                </a:cubicBezTo>
                <a:cubicBezTo>
                  <a:pt x="4155876" y="342920"/>
                  <a:pt x="4153044" y="336542"/>
                  <a:pt x="4147381" y="331967"/>
                </a:cubicBezTo>
                <a:cubicBezTo>
                  <a:pt x="4141718" y="327392"/>
                  <a:pt x="4133868" y="325104"/>
                  <a:pt x="4123832" y="325104"/>
                </a:cubicBezTo>
                <a:close/>
                <a:moveTo>
                  <a:pt x="4018182" y="325104"/>
                </a:moveTo>
                <a:lnTo>
                  <a:pt x="3987891" y="413136"/>
                </a:lnTo>
                <a:lnTo>
                  <a:pt x="4005727" y="413136"/>
                </a:lnTo>
                <a:lnTo>
                  <a:pt x="4011713" y="394151"/>
                </a:lnTo>
                <a:lnTo>
                  <a:pt x="4042609" y="394151"/>
                </a:lnTo>
                <a:lnTo>
                  <a:pt x="4048594" y="413136"/>
                </a:lnTo>
                <a:lnTo>
                  <a:pt x="4066430" y="413136"/>
                </a:lnTo>
                <a:lnTo>
                  <a:pt x="4036260" y="325104"/>
                </a:lnTo>
                <a:close/>
                <a:moveTo>
                  <a:pt x="3855267" y="325104"/>
                </a:moveTo>
                <a:lnTo>
                  <a:pt x="3875884" y="413136"/>
                </a:lnTo>
                <a:lnTo>
                  <a:pt x="3892269" y="413136"/>
                </a:lnTo>
                <a:lnTo>
                  <a:pt x="3908412" y="355033"/>
                </a:lnTo>
                <a:lnTo>
                  <a:pt x="3908775" y="355033"/>
                </a:lnTo>
                <a:lnTo>
                  <a:pt x="3924918" y="413136"/>
                </a:lnTo>
                <a:lnTo>
                  <a:pt x="3941303" y="413136"/>
                </a:lnTo>
                <a:lnTo>
                  <a:pt x="3961860" y="325104"/>
                </a:lnTo>
                <a:lnTo>
                  <a:pt x="3944628" y="325104"/>
                </a:lnTo>
                <a:lnTo>
                  <a:pt x="3932053" y="385445"/>
                </a:lnTo>
                <a:lnTo>
                  <a:pt x="3931690" y="385445"/>
                </a:lnTo>
                <a:lnTo>
                  <a:pt x="3915063" y="325104"/>
                </a:lnTo>
                <a:lnTo>
                  <a:pt x="3902064" y="325104"/>
                </a:lnTo>
                <a:lnTo>
                  <a:pt x="3885557" y="385445"/>
                </a:lnTo>
                <a:lnTo>
                  <a:pt x="3885195" y="385384"/>
                </a:lnTo>
                <a:lnTo>
                  <a:pt x="3872558" y="325104"/>
                </a:lnTo>
                <a:close/>
                <a:moveTo>
                  <a:pt x="3757263" y="325104"/>
                </a:moveTo>
                <a:lnTo>
                  <a:pt x="3757263" y="413136"/>
                </a:lnTo>
                <a:lnTo>
                  <a:pt x="3774918" y="413136"/>
                </a:lnTo>
                <a:lnTo>
                  <a:pt x="3774918" y="377948"/>
                </a:lnTo>
                <a:lnTo>
                  <a:pt x="3791726" y="377948"/>
                </a:lnTo>
                <a:cubicBezTo>
                  <a:pt x="3796079" y="377948"/>
                  <a:pt x="3799455" y="379167"/>
                  <a:pt x="3801853" y="381605"/>
                </a:cubicBezTo>
                <a:cubicBezTo>
                  <a:pt x="3804252" y="384044"/>
                  <a:pt x="3805451" y="387460"/>
                  <a:pt x="3805451" y="391854"/>
                </a:cubicBezTo>
                <a:lnTo>
                  <a:pt x="3805451" y="398081"/>
                </a:lnTo>
                <a:cubicBezTo>
                  <a:pt x="3805451" y="400782"/>
                  <a:pt x="3805693" y="403644"/>
                  <a:pt x="3806176" y="406667"/>
                </a:cubicBezTo>
                <a:cubicBezTo>
                  <a:pt x="3806660" y="409690"/>
                  <a:pt x="3807708" y="411846"/>
                  <a:pt x="3809320" y="413136"/>
                </a:cubicBezTo>
                <a:lnTo>
                  <a:pt x="3827519" y="413136"/>
                </a:lnTo>
                <a:lnTo>
                  <a:pt x="3827519" y="411866"/>
                </a:lnTo>
                <a:cubicBezTo>
                  <a:pt x="3825907" y="410577"/>
                  <a:pt x="3824768" y="408591"/>
                  <a:pt x="3824103" y="405911"/>
                </a:cubicBezTo>
                <a:cubicBezTo>
                  <a:pt x="3823438" y="403231"/>
                  <a:pt x="3823106" y="400661"/>
                  <a:pt x="3823106" y="398202"/>
                </a:cubicBezTo>
                <a:lnTo>
                  <a:pt x="3823106" y="391733"/>
                </a:lnTo>
                <a:cubicBezTo>
                  <a:pt x="3823106" y="386452"/>
                  <a:pt x="3821967" y="382019"/>
                  <a:pt x="3819690" y="378431"/>
                </a:cubicBezTo>
                <a:cubicBezTo>
                  <a:pt x="3817412" y="374844"/>
                  <a:pt x="3813674" y="372284"/>
                  <a:pt x="3808474" y="370753"/>
                </a:cubicBezTo>
                <a:cubicBezTo>
                  <a:pt x="3813069" y="368737"/>
                  <a:pt x="3816556" y="366097"/>
                  <a:pt x="3818934" y="362832"/>
                </a:cubicBezTo>
                <a:cubicBezTo>
                  <a:pt x="3821312" y="359567"/>
                  <a:pt x="3822501" y="355657"/>
                  <a:pt x="3822501" y="351103"/>
                </a:cubicBezTo>
                <a:cubicBezTo>
                  <a:pt x="3822501" y="342920"/>
                  <a:pt x="3819670" y="336542"/>
                  <a:pt x="3814006" y="331967"/>
                </a:cubicBezTo>
                <a:cubicBezTo>
                  <a:pt x="3808343" y="327392"/>
                  <a:pt x="3800493" y="325104"/>
                  <a:pt x="3790457" y="325104"/>
                </a:cubicBezTo>
                <a:close/>
                <a:moveTo>
                  <a:pt x="3557238" y="325104"/>
                </a:moveTo>
                <a:lnTo>
                  <a:pt x="3557238" y="413136"/>
                </a:lnTo>
                <a:lnTo>
                  <a:pt x="3574893" y="413136"/>
                </a:lnTo>
                <a:lnTo>
                  <a:pt x="3574893" y="376557"/>
                </a:lnTo>
                <a:lnTo>
                  <a:pt x="3611774" y="376557"/>
                </a:lnTo>
                <a:lnTo>
                  <a:pt x="3611774" y="362953"/>
                </a:lnTo>
                <a:lnTo>
                  <a:pt x="3574893" y="362953"/>
                </a:lnTo>
                <a:lnTo>
                  <a:pt x="3574893" y="338708"/>
                </a:lnTo>
                <a:lnTo>
                  <a:pt x="3617941" y="338708"/>
                </a:lnTo>
                <a:lnTo>
                  <a:pt x="3617941" y="325104"/>
                </a:lnTo>
                <a:close/>
                <a:moveTo>
                  <a:pt x="3261963" y="325104"/>
                </a:moveTo>
                <a:lnTo>
                  <a:pt x="3261963" y="413136"/>
                </a:lnTo>
                <a:lnTo>
                  <a:pt x="3279618" y="413136"/>
                </a:lnTo>
                <a:lnTo>
                  <a:pt x="3279618" y="353037"/>
                </a:lnTo>
                <a:lnTo>
                  <a:pt x="3279981" y="352977"/>
                </a:lnTo>
                <a:lnTo>
                  <a:pt x="3315532" y="413136"/>
                </a:lnTo>
                <a:lnTo>
                  <a:pt x="3333126" y="413136"/>
                </a:lnTo>
                <a:lnTo>
                  <a:pt x="3333126" y="325104"/>
                </a:lnTo>
                <a:lnTo>
                  <a:pt x="3315532" y="325104"/>
                </a:lnTo>
                <a:lnTo>
                  <a:pt x="3315532" y="385142"/>
                </a:lnTo>
                <a:lnTo>
                  <a:pt x="3315169" y="385203"/>
                </a:lnTo>
                <a:lnTo>
                  <a:pt x="3279618" y="325104"/>
                </a:lnTo>
                <a:close/>
                <a:moveTo>
                  <a:pt x="3205901" y="325104"/>
                </a:moveTo>
                <a:lnTo>
                  <a:pt x="3205901" y="413136"/>
                </a:lnTo>
                <a:lnTo>
                  <a:pt x="3223556" y="413136"/>
                </a:lnTo>
                <a:lnTo>
                  <a:pt x="3223556" y="325104"/>
                </a:lnTo>
                <a:close/>
                <a:moveTo>
                  <a:pt x="3101764" y="325104"/>
                </a:moveTo>
                <a:lnTo>
                  <a:pt x="3131631" y="413136"/>
                </a:lnTo>
                <a:lnTo>
                  <a:pt x="3149770" y="413136"/>
                </a:lnTo>
                <a:lnTo>
                  <a:pt x="3179698" y="325104"/>
                </a:lnTo>
                <a:lnTo>
                  <a:pt x="3161076" y="325104"/>
                </a:lnTo>
                <a:lnTo>
                  <a:pt x="3141910" y="389859"/>
                </a:lnTo>
                <a:lnTo>
                  <a:pt x="3140882" y="394514"/>
                </a:lnTo>
                <a:lnTo>
                  <a:pt x="3140519" y="394514"/>
                </a:lnTo>
                <a:lnTo>
                  <a:pt x="3139431" y="389738"/>
                </a:lnTo>
                <a:lnTo>
                  <a:pt x="3120386" y="325104"/>
                </a:lnTo>
                <a:close/>
                <a:moveTo>
                  <a:pt x="2880963" y="325104"/>
                </a:moveTo>
                <a:lnTo>
                  <a:pt x="2880963" y="413136"/>
                </a:lnTo>
                <a:lnTo>
                  <a:pt x="2898618" y="413136"/>
                </a:lnTo>
                <a:lnTo>
                  <a:pt x="2898618" y="386896"/>
                </a:lnTo>
                <a:lnTo>
                  <a:pt x="2896925" y="348261"/>
                </a:lnTo>
                <a:lnTo>
                  <a:pt x="2897288" y="348201"/>
                </a:lnTo>
                <a:lnTo>
                  <a:pt x="2920747" y="413136"/>
                </a:lnTo>
                <a:lnTo>
                  <a:pt x="2932597" y="413136"/>
                </a:lnTo>
                <a:lnTo>
                  <a:pt x="2956177" y="347959"/>
                </a:lnTo>
                <a:lnTo>
                  <a:pt x="2956540" y="348019"/>
                </a:lnTo>
                <a:lnTo>
                  <a:pt x="2954847" y="386896"/>
                </a:lnTo>
                <a:lnTo>
                  <a:pt x="2954847" y="413136"/>
                </a:lnTo>
                <a:lnTo>
                  <a:pt x="2972502" y="413136"/>
                </a:lnTo>
                <a:lnTo>
                  <a:pt x="2972502" y="325104"/>
                </a:lnTo>
                <a:lnTo>
                  <a:pt x="2949405" y="325104"/>
                </a:lnTo>
                <a:lnTo>
                  <a:pt x="2926793" y="389979"/>
                </a:lnTo>
                <a:lnTo>
                  <a:pt x="2926430" y="389979"/>
                </a:lnTo>
                <a:lnTo>
                  <a:pt x="2903999" y="325104"/>
                </a:lnTo>
                <a:close/>
                <a:moveTo>
                  <a:pt x="2528538" y="325104"/>
                </a:moveTo>
                <a:lnTo>
                  <a:pt x="2528538" y="413136"/>
                </a:lnTo>
                <a:lnTo>
                  <a:pt x="2558769" y="413136"/>
                </a:lnTo>
                <a:cubicBezTo>
                  <a:pt x="2569531" y="413136"/>
                  <a:pt x="2578399" y="409720"/>
                  <a:pt x="2585372" y="402888"/>
                </a:cubicBezTo>
                <a:cubicBezTo>
                  <a:pt x="2592345" y="396056"/>
                  <a:pt x="2595832" y="387239"/>
                  <a:pt x="2595832" y="376436"/>
                </a:cubicBezTo>
                <a:lnTo>
                  <a:pt x="2595832" y="361865"/>
                </a:lnTo>
                <a:cubicBezTo>
                  <a:pt x="2595832" y="351103"/>
                  <a:pt x="2592345" y="342285"/>
                  <a:pt x="2585372" y="335413"/>
                </a:cubicBezTo>
                <a:cubicBezTo>
                  <a:pt x="2578399" y="328540"/>
                  <a:pt x="2569531" y="325104"/>
                  <a:pt x="2558769" y="325104"/>
                </a:cubicBezTo>
                <a:close/>
                <a:moveTo>
                  <a:pt x="2456082" y="325104"/>
                </a:moveTo>
                <a:lnTo>
                  <a:pt x="2425791" y="413136"/>
                </a:lnTo>
                <a:lnTo>
                  <a:pt x="2443627" y="413136"/>
                </a:lnTo>
                <a:lnTo>
                  <a:pt x="2449613" y="394151"/>
                </a:lnTo>
                <a:lnTo>
                  <a:pt x="2480508" y="394151"/>
                </a:lnTo>
                <a:lnTo>
                  <a:pt x="2486494" y="413136"/>
                </a:lnTo>
                <a:lnTo>
                  <a:pt x="2504330" y="413136"/>
                </a:lnTo>
                <a:lnTo>
                  <a:pt x="2474160" y="325104"/>
                </a:lnTo>
                <a:close/>
                <a:moveTo>
                  <a:pt x="2347563" y="325104"/>
                </a:moveTo>
                <a:lnTo>
                  <a:pt x="2347563" y="413136"/>
                </a:lnTo>
                <a:lnTo>
                  <a:pt x="2407843" y="413136"/>
                </a:lnTo>
                <a:lnTo>
                  <a:pt x="2407843" y="399532"/>
                </a:lnTo>
                <a:lnTo>
                  <a:pt x="2365218" y="399532"/>
                </a:lnTo>
                <a:lnTo>
                  <a:pt x="2365218" y="374441"/>
                </a:lnTo>
                <a:lnTo>
                  <a:pt x="2401676" y="374441"/>
                </a:lnTo>
                <a:lnTo>
                  <a:pt x="2401676" y="360837"/>
                </a:lnTo>
                <a:lnTo>
                  <a:pt x="2365218" y="360837"/>
                </a:lnTo>
                <a:lnTo>
                  <a:pt x="2365218" y="338708"/>
                </a:lnTo>
                <a:lnTo>
                  <a:pt x="2407722" y="338708"/>
                </a:lnTo>
                <a:lnTo>
                  <a:pt x="2407722" y="325104"/>
                </a:lnTo>
                <a:close/>
                <a:moveTo>
                  <a:pt x="2242788" y="325104"/>
                </a:moveTo>
                <a:lnTo>
                  <a:pt x="2242788" y="413136"/>
                </a:lnTo>
                <a:lnTo>
                  <a:pt x="2260443" y="413136"/>
                </a:lnTo>
                <a:lnTo>
                  <a:pt x="2260443" y="376557"/>
                </a:lnTo>
                <a:lnTo>
                  <a:pt x="2296357" y="376557"/>
                </a:lnTo>
                <a:lnTo>
                  <a:pt x="2296357" y="413136"/>
                </a:lnTo>
                <a:lnTo>
                  <a:pt x="2313951" y="413136"/>
                </a:lnTo>
                <a:lnTo>
                  <a:pt x="2313951" y="325104"/>
                </a:lnTo>
                <a:lnTo>
                  <a:pt x="2296357" y="325104"/>
                </a:lnTo>
                <a:lnTo>
                  <a:pt x="2296357" y="362953"/>
                </a:lnTo>
                <a:lnTo>
                  <a:pt x="2260443" y="362953"/>
                </a:lnTo>
                <a:lnTo>
                  <a:pt x="2260443" y="325104"/>
                </a:lnTo>
                <a:close/>
                <a:moveTo>
                  <a:pt x="2170332" y="325104"/>
                </a:moveTo>
                <a:lnTo>
                  <a:pt x="2140041" y="413136"/>
                </a:lnTo>
                <a:lnTo>
                  <a:pt x="2157877" y="413136"/>
                </a:lnTo>
                <a:lnTo>
                  <a:pt x="2163863" y="394151"/>
                </a:lnTo>
                <a:lnTo>
                  <a:pt x="2194758" y="394151"/>
                </a:lnTo>
                <a:lnTo>
                  <a:pt x="2200744" y="413136"/>
                </a:lnTo>
                <a:lnTo>
                  <a:pt x="2218580" y="413136"/>
                </a:lnTo>
                <a:lnTo>
                  <a:pt x="2188410" y="325104"/>
                </a:lnTo>
                <a:close/>
                <a:moveTo>
                  <a:pt x="1842738" y="325104"/>
                </a:moveTo>
                <a:lnTo>
                  <a:pt x="1842738" y="413136"/>
                </a:lnTo>
                <a:lnTo>
                  <a:pt x="1860393" y="413136"/>
                </a:lnTo>
                <a:lnTo>
                  <a:pt x="1860393" y="353037"/>
                </a:lnTo>
                <a:lnTo>
                  <a:pt x="1860755" y="352977"/>
                </a:lnTo>
                <a:lnTo>
                  <a:pt x="1896307" y="413136"/>
                </a:lnTo>
                <a:lnTo>
                  <a:pt x="1913901" y="413136"/>
                </a:lnTo>
                <a:lnTo>
                  <a:pt x="1913901" y="325104"/>
                </a:lnTo>
                <a:lnTo>
                  <a:pt x="1896307" y="325104"/>
                </a:lnTo>
                <a:lnTo>
                  <a:pt x="1896307" y="385142"/>
                </a:lnTo>
                <a:lnTo>
                  <a:pt x="1895944" y="385203"/>
                </a:lnTo>
                <a:lnTo>
                  <a:pt x="1860393" y="325104"/>
                </a:lnTo>
                <a:close/>
                <a:moveTo>
                  <a:pt x="1786676" y="325104"/>
                </a:moveTo>
                <a:lnTo>
                  <a:pt x="1786676" y="413136"/>
                </a:lnTo>
                <a:lnTo>
                  <a:pt x="1804331" y="413136"/>
                </a:lnTo>
                <a:lnTo>
                  <a:pt x="1804331" y="325104"/>
                </a:lnTo>
                <a:close/>
                <a:moveTo>
                  <a:pt x="1690338" y="325104"/>
                </a:moveTo>
                <a:lnTo>
                  <a:pt x="1690338" y="413136"/>
                </a:lnTo>
                <a:lnTo>
                  <a:pt x="1707993" y="413136"/>
                </a:lnTo>
                <a:lnTo>
                  <a:pt x="1707993" y="376376"/>
                </a:lnTo>
                <a:lnTo>
                  <a:pt x="1717787" y="376376"/>
                </a:lnTo>
                <a:lnTo>
                  <a:pt x="1741428" y="413136"/>
                </a:lnTo>
                <a:lnTo>
                  <a:pt x="1762952" y="413136"/>
                </a:lnTo>
                <a:lnTo>
                  <a:pt x="1730968" y="366097"/>
                </a:lnTo>
                <a:lnTo>
                  <a:pt x="1760594" y="325104"/>
                </a:lnTo>
                <a:lnTo>
                  <a:pt x="1739009" y="325104"/>
                </a:lnTo>
                <a:lnTo>
                  <a:pt x="1715671" y="361079"/>
                </a:lnTo>
                <a:lnTo>
                  <a:pt x="1707993" y="361079"/>
                </a:lnTo>
                <a:lnTo>
                  <a:pt x="1707993" y="325104"/>
                </a:lnTo>
                <a:close/>
                <a:moveTo>
                  <a:pt x="1585563" y="325104"/>
                </a:moveTo>
                <a:lnTo>
                  <a:pt x="1585563" y="413136"/>
                </a:lnTo>
                <a:lnTo>
                  <a:pt x="1603218" y="413136"/>
                </a:lnTo>
                <a:lnTo>
                  <a:pt x="1603218" y="353037"/>
                </a:lnTo>
                <a:lnTo>
                  <a:pt x="1603580" y="352977"/>
                </a:lnTo>
                <a:lnTo>
                  <a:pt x="1639132" y="413136"/>
                </a:lnTo>
                <a:lnTo>
                  <a:pt x="1656726" y="413136"/>
                </a:lnTo>
                <a:lnTo>
                  <a:pt x="1656726" y="325104"/>
                </a:lnTo>
                <a:lnTo>
                  <a:pt x="1639132" y="325104"/>
                </a:lnTo>
                <a:lnTo>
                  <a:pt x="1639132" y="385142"/>
                </a:lnTo>
                <a:lnTo>
                  <a:pt x="1638769" y="385203"/>
                </a:lnTo>
                <a:lnTo>
                  <a:pt x="1603218" y="325104"/>
                </a:lnTo>
                <a:close/>
                <a:moveTo>
                  <a:pt x="1529502" y="325104"/>
                </a:moveTo>
                <a:lnTo>
                  <a:pt x="1529502" y="413136"/>
                </a:lnTo>
                <a:lnTo>
                  <a:pt x="1547156" y="413136"/>
                </a:lnTo>
                <a:lnTo>
                  <a:pt x="1547156" y="325104"/>
                </a:lnTo>
                <a:close/>
                <a:moveTo>
                  <a:pt x="1423638" y="325104"/>
                </a:moveTo>
                <a:lnTo>
                  <a:pt x="1423638" y="413136"/>
                </a:lnTo>
                <a:lnTo>
                  <a:pt x="1441293" y="413136"/>
                </a:lnTo>
                <a:lnTo>
                  <a:pt x="1441293" y="376557"/>
                </a:lnTo>
                <a:lnTo>
                  <a:pt x="1477207" y="376557"/>
                </a:lnTo>
                <a:lnTo>
                  <a:pt x="1477207" y="413136"/>
                </a:lnTo>
                <a:lnTo>
                  <a:pt x="1494801" y="413136"/>
                </a:lnTo>
                <a:lnTo>
                  <a:pt x="1494801" y="325104"/>
                </a:lnTo>
                <a:lnTo>
                  <a:pt x="1477207" y="325104"/>
                </a:lnTo>
                <a:lnTo>
                  <a:pt x="1477207" y="362953"/>
                </a:lnTo>
                <a:lnTo>
                  <a:pt x="1441293" y="362953"/>
                </a:lnTo>
                <a:lnTo>
                  <a:pt x="1441293" y="325104"/>
                </a:lnTo>
                <a:close/>
                <a:moveTo>
                  <a:pt x="1331383" y="325104"/>
                </a:moveTo>
                <a:lnTo>
                  <a:pt x="1331383" y="338708"/>
                </a:lnTo>
                <a:lnTo>
                  <a:pt x="1356172" y="338708"/>
                </a:lnTo>
                <a:lnTo>
                  <a:pt x="1356172" y="413136"/>
                </a:lnTo>
                <a:lnTo>
                  <a:pt x="1373827" y="413136"/>
                </a:lnTo>
                <a:lnTo>
                  <a:pt x="1373827" y="338708"/>
                </a:lnTo>
                <a:lnTo>
                  <a:pt x="1398737" y="338708"/>
                </a:lnTo>
                <a:lnTo>
                  <a:pt x="1398737" y="325104"/>
                </a:lnTo>
                <a:close/>
                <a:moveTo>
                  <a:pt x="3686347" y="323835"/>
                </a:moveTo>
                <a:cubicBezTo>
                  <a:pt x="3675504" y="323835"/>
                  <a:pt x="3666707" y="327372"/>
                  <a:pt x="3659955" y="334446"/>
                </a:cubicBezTo>
                <a:cubicBezTo>
                  <a:pt x="3653204" y="341520"/>
                  <a:pt x="3649828" y="350438"/>
                  <a:pt x="3649828" y="361200"/>
                </a:cubicBezTo>
                <a:lnTo>
                  <a:pt x="3649828" y="377041"/>
                </a:lnTo>
                <a:cubicBezTo>
                  <a:pt x="3649828" y="387843"/>
                  <a:pt x="3653214" y="396771"/>
                  <a:pt x="3659985" y="403825"/>
                </a:cubicBezTo>
                <a:cubicBezTo>
                  <a:pt x="3666757" y="410879"/>
                  <a:pt x="3675564" y="414406"/>
                  <a:pt x="3686407" y="414406"/>
                </a:cubicBezTo>
                <a:cubicBezTo>
                  <a:pt x="3697331" y="414406"/>
                  <a:pt x="3706208" y="410879"/>
                  <a:pt x="3713040" y="403825"/>
                </a:cubicBezTo>
                <a:cubicBezTo>
                  <a:pt x="3719872" y="396771"/>
                  <a:pt x="3723288" y="387843"/>
                  <a:pt x="3723288" y="377041"/>
                </a:cubicBezTo>
                <a:lnTo>
                  <a:pt x="3723288" y="361200"/>
                </a:lnTo>
                <a:cubicBezTo>
                  <a:pt x="3723288" y="350438"/>
                  <a:pt x="3719862" y="341520"/>
                  <a:pt x="3713010" y="334446"/>
                </a:cubicBezTo>
                <a:cubicBezTo>
                  <a:pt x="3706158" y="327372"/>
                  <a:pt x="3697270" y="323835"/>
                  <a:pt x="3686347" y="323835"/>
                </a:cubicBezTo>
                <a:close/>
                <a:moveTo>
                  <a:pt x="3399629" y="323835"/>
                </a:moveTo>
                <a:cubicBezTo>
                  <a:pt x="3389310" y="323835"/>
                  <a:pt x="3380876" y="327190"/>
                  <a:pt x="3374326" y="333901"/>
                </a:cubicBezTo>
                <a:cubicBezTo>
                  <a:pt x="3367776" y="340613"/>
                  <a:pt x="3364501" y="349289"/>
                  <a:pt x="3364501" y="359930"/>
                </a:cubicBezTo>
                <a:lnTo>
                  <a:pt x="3364501" y="378310"/>
                </a:lnTo>
                <a:cubicBezTo>
                  <a:pt x="3364501" y="388992"/>
                  <a:pt x="3367907" y="397678"/>
                  <a:pt x="3374719" y="404369"/>
                </a:cubicBezTo>
                <a:cubicBezTo>
                  <a:pt x="3381531" y="411060"/>
                  <a:pt x="3390318" y="414406"/>
                  <a:pt x="3401080" y="414406"/>
                </a:cubicBezTo>
                <a:cubicBezTo>
                  <a:pt x="3409545" y="414406"/>
                  <a:pt x="3416548" y="413056"/>
                  <a:pt x="3422090" y="410355"/>
                </a:cubicBezTo>
                <a:cubicBezTo>
                  <a:pt x="3427633" y="407654"/>
                  <a:pt x="3431714" y="404571"/>
                  <a:pt x="3434334" y="401104"/>
                </a:cubicBezTo>
                <a:lnTo>
                  <a:pt x="3434334" y="367911"/>
                </a:lnTo>
                <a:lnTo>
                  <a:pt x="3401080" y="367911"/>
                </a:lnTo>
                <a:lnTo>
                  <a:pt x="3401080" y="380124"/>
                </a:lnTo>
                <a:lnTo>
                  <a:pt x="3416679" y="380124"/>
                </a:lnTo>
                <a:lnTo>
                  <a:pt x="3416679" y="396401"/>
                </a:lnTo>
                <a:cubicBezTo>
                  <a:pt x="3415389" y="397647"/>
                  <a:pt x="3413495" y="398692"/>
                  <a:pt x="3410996" y="399536"/>
                </a:cubicBezTo>
                <a:cubicBezTo>
                  <a:pt x="3408497" y="400380"/>
                  <a:pt x="3405192" y="400802"/>
                  <a:pt x="3401080" y="400802"/>
                </a:cubicBezTo>
                <a:cubicBezTo>
                  <a:pt x="3395276" y="400802"/>
                  <a:pt x="3390661" y="398718"/>
                  <a:pt x="3387235" y="394550"/>
                </a:cubicBezTo>
                <a:cubicBezTo>
                  <a:pt x="3383808" y="390383"/>
                  <a:pt x="3382095" y="384956"/>
                  <a:pt x="3382095" y="378272"/>
                </a:cubicBezTo>
                <a:lnTo>
                  <a:pt x="3382095" y="359787"/>
                </a:lnTo>
                <a:cubicBezTo>
                  <a:pt x="3382095" y="353224"/>
                  <a:pt x="3383748" y="347858"/>
                  <a:pt x="3387053" y="343690"/>
                </a:cubicBezTo>
                <a:cubicBezTo>
                  <a:pt x="3390358" y="339522"/>
                  <a:pt x="3394712" y="337438"/>
                  <a:pt x="3400113" y="337438"/>
                </a:cubicBezTo>
                <a:cubicBezTo>
                  <a:pt x="3405232" y="337438"/>
                  <a:pt x="3409122" y="338799"/>
                  <a:pt x="3411782" y="341520"/>
                </a:cubicBezTo>
                <a:cubicBezTo>
                  <a:pt x="3414442" y="344240"/>
                  <a:pt x="3415934" y="347939"/>
                  <a:pt x="3416256" y="352614"/>
                </a:cubicBezTo>
                <a:lnTo>
                  <a:pt x="3432883" y="352614"/>
                </a:lnTo>
                <a:lnTo>
                  <a:pt x="3433004" y="352251"/>
                </a:lnTo>
                <a:cubicBezTo>
                  <a:pt x="3432883" y="343747"/>
                  <a:pt x="3429971" y="336884"/>
                  <a:pt x="3424267" y="331664"/>
                </a:cubicBezTo>
                <a:cubicBezTo>
                  <a:pt x="3418564" y="326445"/>
                  <a:pt x="3410351" y="323835"/>
                  <a:pt x="3399629" y="323835"/>
                </a:cubicBezTo>
                <a:close/>
                <a:moveTo>
                  <a:pt x="3038647" y="323835"/>
                </a:moveTo>
                <a:cubicBezTo>
                  <a:pt x="3027804" y="323835"/>
                  <a:pt x="3019007" y="327372"/>
                  <a:pt x="3012255" y="334446"/>
                </a:cubicBezTo>
                <a:cubicBezTo>
                  <a:pt x="3005503" y="341520"/>
                  <a:pt x="3002128" y="350438"/>
                  <a:pt x="3002128" y="361200"/>
                </a:cubicBezTo>
                <a:lnTo>
                  <a:pt x="3002128" y="377041"/>
                </a:lnTo>
                <a:cubicBezTo>
                  <a:pt x="3002128" y="387843"/>
                  <a:pt x="3005514" y="396771"/>
                  <a:pt x="3012285" y="403825"/>
                </a:cubicBezTo>
                <a:cubicBezTo>
                  <a:pt x="3019057" y="410879"/>
                  <a:pt x="3027864" y="414406"/>
                  <a:pt x="3038707" y="414406"/>
                </a:cubicBezTo>
                <a:cubicBezTo>
                  <a:pt x="3049630" y="414406"/>
                  <a:pt x="3058508" y="410879"/>
                  <a:pt x="3065340" y="403825"/>
                </a:cubicBezTo>
                <a:cubicBezTo>
                  <a:pt x="3072172" y="396771"/>
                  <a:pt x="3075588" y="387843"/>
                  <a:pt x="3075588" y="377041"/>
                </a:cubicBezTo>
                <a:lnTo>
                  <a:pt x="3075588" y="361200"/>
                </a:lnTo>
                <a:cubicBezTo>
                  <a:pt x="3075588" y="350438"/>
                  <a:pt x="3072162" y="341520"/>
                  <a:pt x="3065310" y="334446"/>
                </a:cubicBezTo>
                <a:cubicBezTo>
                  <a:pt x="3058458" y="327372"/>
                  <a:pt x="3049570" y="323835"/>
                  <a:pt x="3038647" y="323835"/>
                </a:cubicBezTo>
                <a:close/>
                <a:moveTo>
                  <a:pt x="1980404" y="323835"/>
                </a:moveTo>
                <a:cubicBezTo>
                  <a:pt x="1970085" y="323835"/>
                  <a:pt x="1961651" y="327190"/>
                  <a:pt x="1955101" y="333901"/>
                </a:cubicBezTo>
                <a:cubicBezTo>
                  <a:pt x="1948551" y="340613"/>
                  <a:pt x="1945276" y="349289"/>
                  <a:pt x="1945276" y="359930"/>
                </a:cubicBezTo>
                <a:lnTo>
                  <a:pt x="1945276" y="378310"/>
                </a:lnTo>
                <a:cubicBezTo>
                  <a:pt x="1945276" y="388992"/>
                  <a:pt x="1948682" y="397678"/>
                  <a:pt x="1955494" y="404369"/>
                </a:cubicBezTo>
                <a:cubicBezTo>
                  <a:pt x="1962306" y="411060"/>
                  <a:pt x="1971093" y="414406"/>
                  <a:pt x="1981855" y="414406"/>
                </a:cubicBezTo>
                <a:cubicBezTo>
                  <a:pt x="1990320" y="414406"/>
                  <a:pt x="1997323" y="413056"/>
                  <a:pt x="2002865" y="410355"/>
                </a:cubicBezTo>
                <a:cubicBezTo>
                  <a:pt x="2008408" y="407654"/>
                  <a:pt x="2012489" y="404571"/>
                  <a:pt x="2015109" y="401104"/>
                </a:cubicBezTo>
                <a:lnTo>
                  <a:pt x="2015109" y="367911"/>
                </a:lnTo>
                <a:lnTo>
                  <a:pt x="1981855" y="367911"/>
                </a:lnTo>
                <a:lnTo>
                  <a:pt x="1981855" y="380124"/>
                </a:lnTo>
                <a:lnTo>
                  <a:pt x="1997454" y="380124"/>
                </a:lnTo>
                <a:lnTo>
                  <a:pt x="1997454" y="396401"/>
                </a:lnTo>
                <a:cubicBezTo>
                  <a:pt x="1996164" y="397647"/>
                  <a:pt x="1994270" y="398692"/>
                  <a:pt x="1991771" y="399536"/>
                </a:cubicBezTo>
                <a:cubicBezTo>
                  <a:pt x="1989272" y="400380"/>
                  <a:pt x="1985966" y="400802"/>
                  <a:pt x="1981855" y="400802"/>
                </a:cubicBezTo>
                <a:cubicBezTo>
                  <a:pt x="1976051" y="400802"/>
                  <a:pt x="1971436" y="398718"/>
                  <a:pt x="1968009" y="394550"/>
                </a:cubicBezTo>
                <a:cubicBezTo>
                  <a:pt x="1964583" y="390383"/>
                  <a:pt x="1962870" y="384956"/>
                  <a:pt x="1962870" y="378272"/>
                </a:cubicBezTo>
                <a:lnTo>
                  <a:pt x="1962870" y="359787"/>
                </a:lnTo>
                <a:cubicBezTo>
                  <a:pt x="1962870" y="353224"/>
                  <a:pt x="1964523" y="347858"/>
                  <a:pt x="1967828" y="343690"/>
                </a:cubicBezTo>
                <a:cubicBezTo>
                  <a:pt x="1971133" y="339522"/>
                  <a:pt x="1975486" y="337438"/>
                  <a:pt x="1980888" y="337438"/>
                </a:cubicBezTo>
                <a:cubicBezTo>
                  <a:pt x="1986007" y="337438"/>
                  <a:pt x="1989896" y="338799"/>
                  <a:pt x="1992557" y="341520"/>
                </a:cubicBezTo>
                <a:cubicBezTo>
                  <a:pt x="1995217" y="344240"/>
                  <a:pt x="1996708" y="347939"/>
                  <a:pt x="1997031" y="352614"/>
                </a:cubicBezTo>
                <a:lnTo>
                  <a:pt x="2013658" y="352614"/>
                </a:lnTo>
                <a:lnTo>
                  <a:pt x="2013779" y="352251"/>
                </a:lnTo>
                <a:cubicBezTo>
                  <a:pt x="2013658" y="343747"/>
                  <a:pt x="2010745" y="336884"/>
                  <a:pt x="2005042" y="331664"/>
                </a:cubicBezTo>
                <a:cubicBezTo>
                  <a:pt x="1999338" y="326445"/>
                  <a:pt x="1991126" y="323835"/>
                  <a:pt x="1980404" y="323835"/>
                </a:cubicBezTo>
                <a:close/>
                <a:moveTo>
                  <a:pt x="991473" y="215901"/>
                </a:moveTo>
                <a:cubicBezTo>
                  <a:pt x="1075525" y="215901"/>
                  <a:pt x="1144744" y="283884"/>
                  <a:pt x="1144744" y="369173"/>
                </a:cubicBezTo>
                <a:cubicBezTo>
                  <a:pt x="1143508" y="450753"/>
                  <a:pt x="1074289" y="522444"/>
                  <a:pt x="991473" y="522444"/>
                </a:cubicBezTo>
                <a:cubicBezTo>
                  <a:pt x="963043" y="522444"/>
                  <a:pt x="938322" y="515028"/>
                  <a:pt x="914837" y="501431"/>
                </a:cubicBezTo>
                <a:cubicBezTo>
                  <a:pt x="924725" y="501431"/>
                  <a:pt x="935850" y="500195"/>
                  <a:pt x="945738" y="497723"/>
                </a:cubicBezTo>
                <a:cubicBezTo>
                  <a:pt x="956863" y="495251"/>
                  <a:pt x="965515" y="491543"/>
                  <a:pt x="975404" y="487834"/>
                </a:cubicBezTo>
                <a:cubicBezTo>
                  <a:pt x="989001" y="482890"/>
                  <a:pt x="1001361" y="475474"/>
                  <a:pt x="1011250" y="463113"/>
                </a:cubicBezTo>
                <a:cubicBezTo>
                  <a:pt x="1018666" y="454461"/>
                  <a:pt x="1028554" y="445808"/>
                  <a:pt x="1037207" y="439628"/>
                </a:cubicBezTo>
                <a:cubicBezTo>
                  <a:pt x="1047095" y="432212"/>
                  <a:pt x="1058220" y="427267"/>
                  <a:pt x="1068108" y="422323"/>
                </a:cubicBezTo>
                <a:cubicBezTo>
                  <a:pt x="1071817" y="421087"/>
                  <a:pt x="1075525" y="418615"/>
                  <a:pt x="1080469" y="419851"/>
                </a:cubicBezTo>
                <a:cubicBezTo>
                  <a:pt x="1087885" y="419851"/>
                  <a:pt x="1095302" y="417379"/>
                  <a:pt x="1102718" y="414907"/>
                </a:cubicBezTo>
                <a:cubicBezTo>
                  <a:pt x="1108898" y="413671"/>
                  <a:pt x="1113843" y="411199"/>
                  <a:pt x="1120023" y="409963"/>
                </a:cubicBezTo>
                <a:cubicBezTo>
                  <a:pt x="1121259" y="409963"/>
                  <a:pt x="1122495" y="409963"/>
                  <a:pt x="1122495" y="408727"/>
                </a:cubicBezTo>
                <a:cubicBezTo>
                  <a:pt x="1122495" y="406254"/>
                  <a:pt x="1120023" y="407491"/>
                  <a:pt x="1118787" y="407491"/>
                </a:cubicBezTo>
                <a:cubicBezTo>
                  <a:pt x="1111371" y="406254"/>
                  <a:pt x="1103954" y="402546"/>
                  <a:pt x="1096538" y="400074"/>
                </a:cubicBezTo>
                <a:cubicBezTo>
                  <a:pt x="1091594" y="398838"/>
                  <a:pt x="1086649" y="398838"/>
                  <a:pt x="1081705" y="400074"/>
                </a:cubicBezTo>
                <a:cubicBezTo>
                  <a:pt x="1074289" y="401310"/>
                  <a:pt x="1068108" y="406254"/>
                  <a:pt x="1063164" y="409963"/>
                </a:cubicBezTo>
                <a:cubicBezTo>
                  <a:pt x="1053276" y="417379"/>
                  <a:pt x="1043387" y="423559"/>
                  <a:pt x="1032263" y="428504"/>
                </a:cubicBezTo>
                <a:cubicBezTo>
                  <a:pt x="1024846" y="432212"/>
                  <a:pt x="1016194" y="433448"/>
                  <a:pt x="1007541" y="434684"/>
                </a:cubicBezTo>
                <a:cubicBezTo>
                  <a:pt x="1005069" y="434684"/>
                  <a:pt x="1002597" y="435920"/>
                  <a:pt x="1000125" y="434684"/>
                </a:cubicBezTo>
                <a:cubicBezTo>
                  <a:pt x="1007541" y="430976"/>
                  <a:pt x="1014958" y="426031"/>
                  <a:pt x="1019902" y="418615"/>
                </a:cubicBezTo>
                <a:cubicBezTo>
                  <a:pt x="1024846" y="413671"/>
                  <a:pt x="1027318" y="407491"/>
                  <a:pt x="1033499" y="402546"/>
                </a:cubicBezTo>
                <a:cubicBezTo>
                  <a:pt x="1040915" y="396366"/>
                  <a:pt x="1048331" y="390186"/>
                  <a:pt x="1056984" y="385241"/>
                </a:cubicBezTo>
                <a:lnTo>
                  <a:pt x="1076761" y="374117"/>
                </a:lnTo>
                <a:cubicBezTo>
                  <a:pt x="1080469" y="371645"/>
                  <a:pt x="1085413" y="370409"/>
                  <a:pt x="1089121" y="369173"/>
                </a:cubicBezTo>
                <a:cubicBezTo>
                  <a:pt x="1091594" y="367937"/>
                  <a:pt x="1095302" y="367937"/>
                  <a:pt x="1097774" y="367937"/>
                </a:cubicBezTo>
                <a:cubicBezTo>
                  <a:pt x="1105190" y="367937"/>
                  <a:pt x="1113843" y="361756"/>
                  <a:pt x="1121259" y="359284"/>
                </a:cubicBezTo>
                <a:cubicBezTo>
                  <a:pt x="1124967" y="358048"/>
                  <a:pt x="1128675" y="358048"/>
                  <a:pt x="1131147" y="356812"/>
                </a:cubicBezTo>
                <a:cubicBezTo>
                  <a:pt x="1131147" y="356812"/>
                  <a:pt x="1132384" y="355576"/>
                  <a:pt x="1132384" y="354340"/>
                </a:cubicBezTo>
                <a:lnTo>
                  <a:pt x="1131147" y="354340"/>
                </a:lnTo>
                <a:cubicBezTo>
                  <a:pt x="1122495" y="354340"/>
                  <a:pt x="1113843" y="350632"/>
                  <a:pt x="1105190" y="348160"/>
                </a:cubicBezTo>
                <a:cubicBezTo>
                  <a:pt x="1097774" y="346924"/>
                  <a:pt x="1090358" y="348160"/>
                  <a:pt x="1084177" y="350632"/>
                </a:cubicBezTo>
                <a:cubicBezTo>
                  <a:pt x="1077997" y="354340"/>
                  <a:pt x="1071817" y="360520"/>
                  <a:pt x="1065636" y="364228"/>
                </a:cubicBezTo>
                <a:cubicBezTo>
                  <a:pt x="1063164" y="365464"/>
                  <a:pt x="1061928" y="366701"/>
                  <a:pt x="1059456" y="367937"/>
                </a:cubicBezTo>
                <a:cubicBezTo>
                  <a:pt x="1052040" y="372881"/>
                  <a:pt x="1043387" y="377825"/>
                  <a:pt x="1034735" y="380297"/>
                </a:cubicBezTo>
                <a:cubicBezTo>
                  <a:pt x="1026082" y="382769"/>
                  <a:pt x="1017430" y="384005"/>
                  <a:pt x="1008777" y="384005"/>
                </a:cubicBezTo>
                <a:cubicBezTo>
                  <a:pt x="1006305" y="384005"/>
                  <a:pt x="1002597" y="382769"/>
                  <a:pt x="1001361" y="380297"/>
                </a:cubicBezTo>
                <a:cubicBezTo>
                  <a:pt x="1000125" y="376589"/>
                  <a:pt x="998889" y="372881"/>
                  <a:pt x="997653" y="369173"/>
                </a:cubicBezTo>
                <a:cubicBezTo>
                  <a:pt x="997653" y="366701"/>
                  <a:pt x="997653" y="364228"/>
                  <a:pt x="996417" y="361756"/>
                </a:cubicBezTo>
                <a:cubicBezTo>
                  <a:pt x="996417" y="354340"/>
                  <a:pt x="996417" y="346924"/>
                  <a:pt x="997653" y="339507"/>
                </a:cubicBezTo>
                <a:cubicBezTo>
                  <a:pt x="997653" y="333327"/>
                  <a:pt x="1001361" y="327147"/>
                  <a:pt x="1000125" y="319730"/>
                </a:cubicBezTo>
                <a:cubicBezTo>
                  <a:pt x="998889" y="313550"/>
                  <a:pt x="990237" y="307370"/>
                  <a:pt x="972932" y="292537"/>
                </a:cubicBezTo>
                <a:cubicBezTo>
                  <a:pt x="955627" y="276468"/>
                  <a:pt x="935850" y="256691"/>
                  <a:pt x="927197" y="239386"/>
                </a:cubicBezTo>
                <a:cubicBezTo>
                  <a:pt x="929670" y="238150"/>
                  <a:pt x="928434" y="235678"/>
                  <a:pt x="928434" y="235678"/>
                </a:cubicBezTo>
                <a:cubicBezTo>
                  <a:pt x="927197" y="235678"/>
                  <a:pt x="925961" y="236914"/>
                  <a:pt x="924725" y="238150"/>
                </a:cubicBezTo>
                <a:cubicBezTo>
                  <a:pt x="918545" y="248039"/>
                  <a:pt x="914837" y="260399"/>
                  <a:pt x="917309" y="273996"/>
                </a:cubicBezTo>
                <a:cubicBezTo>
                  <a:pt x="919781" y="287593"/>
                  <a:pt x="925961" y="298717"/>
                  <a:pt x="934614" y="308606"/>
                </a:cubicBezTo>
                <a:cubicBezTo>
                  <a:pt x="939558" y="313550"/>
                  <a:pt x="944502" y="322202"/>
                  <a:pt x="948211" y="327147"/>
                </a:cubicBezTo>
                <a:cubicBezTo>
                  <a:pt x="950683" y="332091"/>
                  <a:pt x="951919" y="338271"/>
                  <a:pt x="950683" y="344451"/>
                </a:cubicBezTo>
                <a:lnTo>
                  <a:pt x="937086" y="334563"/>
                </a:lnTo>
                <a:cubicBezTo>
                  <a:pt x="937086" y="334563"/>
                  <a:pt x="930906" y="330855"/>
                  <a:pt x="923489" y="324674"/>
                </a:cubicBezTo>
                <a:cubicBezTo>
                  <a:pt x="916073" y="318494"/>
                  <a:pt x="907420" y="314786"/>
                  <a:pt x="895060" y="299953"/>
                </a:cubicBezTo>
                <a:cubicBezTo>
                  <a:pt x="895060" y="298717"/>
                  <a:pt x="893824" y="298717"/>
                  <a:pt x="893824" y="299953"/>
                </a:cubicBezTo>
                <a:cubicBezTo>
                  <a:pt x="891352" y="299953"/>
                  <a:pt x="891352" y="301189"/>
                  <a:pt x="891352" y="303661"/>
                </a:cubicBezTo>
                <a:cubicBezTo>
                  <a:pt x="888880" y="318494"/>
                  <a:pt x="888880" y="335799"/>
                  <a:pt x="896296" y="349396"/>
                </a:cubicBezTo>
                <a:cubicBezTo>
                  <a:pt x="901240" y="356812"/>
                  <a:pt x="907420" y="364228"/>
                  <a:pt x="913601" y="370409"/>
                </a:cubicBezTo>
                <a:cubicBezTo>
                  <a:pt x="917309" y="374117"/>
                  <a:pt x="922253" y="379061"/>
                  <a:pt x="927197" y="382769"/>
                </a:cubicBezTo>
                <a:cubicBezTo>
                  <a:pt x="930906" y="386477"/>
                  <a:pt x="935850" y="391422"/>
                  <a:pt x="937086" y="396366"/>
                </a:cubicBezTo>
                <a:cubicBezTo>
                  <a:pt x="938322" y="402546"/>
                  <a:pt x="935850" y="408727"/>
                  <a:pt x="933378" y="413671"/>
                </a:cubicBezTo>
                <a:cubicBezTo>
                  <a:pt x="930906" y="418615"/>
                  <a:pt x="928434" y="422323"/>
                  <a:pt x="924725" y="426031"/>
                </a:cubicBezTo>
                <a:cubicBezTo>
                  <a:pt x="918545" y="429740"/>
                  <a:pt x="911129" y="427267"/>
                  <a:pt x="904948" y="427267"/>
                </a:cubicBezTo>
                <a:cubicBezTo>
                  <a:pt x="900004" y="427267"/>
                  <a:pt x="897532" y="432212"/>
                  <a:pt x="895060" y="435920"/>
                </a:cubicBezTo>
                <a:cubicBezTo>
                  <a:pt x="892588" y="440864"/>
                  <a:pt x="890116" y="444572"/>
                  <a:pt x="891352" y="450753"/>
                </a:cubicBezTo>
                <a:cubicBezTo>
                  <a:pt x="892588" y="458169"/>
                  <a:pt x="895060" y="463113"/>
                  <a:pt x="896296" y="465585"/>
                </a:cubicBezTo>
                <a:cubicBezTo>
                  <a:pt x="897532" y="466821"/>
                  <a:pt x="898768" y="468058"/>
                  <a:pt x="900004" y="468058"/>
                </a:cubicBezTo>
                <a:cubicBezTo>
                  <a:pt x="902476" y="468058"/>
                  <a:pt x="906184" y="466821"/>
                  <a:pt x="908657" y="464349"/>
                </a:cubicBezTo>
                <a:cubicBezTo>
                  <a:pt x="921017" y="453225"/>
                  <a:pt x="927197" y="449517"/>
                  <a:pt x="942030" y="445808"/>
                </a:cubicBezTo>
                <a:cubicBezTo>
                  <a:pt x="933378" y="449517"/>
                  <a:pt x="927197" y="459405"/>
                  <a:pt x="924725" y="461877"/>
                </a:cubicBezTo>
                <a:cubicBezTo>
                  <a:pt x="913601" y="475474"/>
                  <a:pt x="902476" y="480418"/>
                  <a:pt x="886407" y="476710"/>
                </a:cubicBezTo>
                <a:cubicBezTo>
                  <a:pt x="882699" y="475474"/>
                  <a:pt x="880227" y="474238"/>
                  <a:pt x="880227" y="474238"/>
                </a:cubicBezTo>
                <a:cubicBezTo>
                  <a:pt x="865394" y="458169"/>
                  <a:pt x="838201" y="422323"/>
                  <a:pt x="838201" y="369173"/>
                </a:cubicBezTo>
                <a:cubicBezTo>
                  <a:pt x="838201" y="285120"/>
                  <a:pt x="906184" y="215901"/>
                  <a:pt x="991473" y="215901"/>
                </a:cubicBezTo>
                <a:close/>
                <a:moveTo>
                  <a:pt x="991473" y="193652"/>
                </a:moveTo>
                <a:cubicBezTo>
                  <a:pt x="895060" y="193652"/>
                  <a:pt x="815952" y="272760"/>
                  <a:pt x="815952" y="369173"/>
                </a:cubicBezTo>
                <a:cubicBezTo>
                  <a:pt x="815952" y="465585"/>
                  <a:pt x="895060" y="543457"/>
                  <a:pt x="991473" y="543457"/>
                </a:cubicBezTo>
                <a:cubicBezTo>
                  <a:pt x="1087885" y="543457"/>
                  <a:pt x="1165757" y="465585"/>
                  <a:pt x="1165757" y="369173"/>
                </a:cubicBezTo>
                <a:cubicBezTo>
                  <a:pt x="1165757" y="272760"/>
                  <a:pt x="1087885" y="193652"/>
                  <a:pt x="991473" y="193652"/>
                </a:cubicBezTo>
                <a:close/>
                <a:moveTo>
                  <a:pt x="0" y="0"/>
                </a:moveTo>
                <a:lnTo>
                  <a:pt x="12192000" y="0"/>
                </a:lnTo>
                <a:lnTo>
                  <a:pt x="12192000" y="5651114"/>
                </a:lnTo>
                <a:lnTo>
                  <a:pt x="11465175" y="4567434"/>
                </a:lnTo>
                <a:lnTo>
                  <a:pt x="11434913" y="4588012"/>
                </a:lnTo>
                <a:lnTo>
                  <a:pt x="12192000" y="5717788"/>
                </a:lnTo>
                <a:lnTo>
                  <a:pt x="12192000" y="6354487"/>
                </a:lnTo>
                <a:lnTo>
                  <a:pt x="11854046" y="6858000"/>
                </a:lnTo>
                <a:lnTo>
                  <a:pt x="11343792" y="6858000"/>
                </a:lnTo>
                <a:lnTo>
                  <a:pt x="11851320" y="6103537"/>
                </a:lnTo>
                <a:cubicBezTo>
                  <a:pt x="11876740" y="6066012"/>
                  <a:pt x="11876740" y="6006699"/>
                  <a:pt x="11851320" y="5969174"/>
                </a:cubicBezTo>
                <a:lnTo>
                  <a:pt x="10949510" y="4625538"/>
                </a:lnTo>
                <a:cubicBezTo>
                  <a:pt x="10925300" y="4589224"/>
                  <a:pt x="10870829" y="4560172"/>
                  <a:pt x="10827251" y="4560172"/>
                </a:cubicBezTo>
                <a:lnTo>
                  <a:pt x="10540367" y="4560172"/>
                </a:lnTo>
                <a:cubicBezTo>
                  <a:pt x="10516157" y="4560172"/>
                  <a:pt x="10496790" y="4569856"/>
                  <a:pt x="10488316" y="4585592"/>
                </a:cubicBezTo>
                <a:cubicBezTo>
                  <a:pt x="10478632" y="4602539"/>
                  <a:pt x="10482264" y="4624328"/>
                  <a:pt x="10495579" y="4644906"/>
                </a:cubicBezTo>
                <a:lnTo>
                  <a:pt x="11397389" y="5989752"/>
                </a:lnTo>
                <a:cubicBezTo>
                  <a:pt x="11414335" y="6015172"/>
                  <a:pt x="11414335" y="6057539"/>
                  <a:pt x="11397389" y="6082959"/>
                </a:cubicBezTo>
                <a:lnTo>
                  <a:pt x="10877188" y="6858000"/>
                </a:lnTo>
                <a:lnTo>
                  <a:pt x="0" y="6858000"/>
                </a:lnTo>
                <a:close/>
              </a:path>
            </a:pathLst>
          </a:custGeom>
          <a:blipFill>
            <a:blip r:embed="rId2"/>
            <a:stretch>
              <a:fillRect/>
            </a:stretch>
          </a:blipFill>
        </p:spPr>
        <p:txBody>
          <a:bodyPr wrap="square">
            <a:noAutofit/>
          </a:bodyPr>
          <a:lstStyle>
            <a:lvl1pPr marL="285750" indent="-285750" algn="ctr">
              <a:buFontTx/>
              <a:buBlip>
                <a:blip r:embed="rId3"/>
              </a:buBlip>
              <a:defRPr>
                <a:solidFill>
                  <a:schemeClr val="bg1"/>
                </a:solidFill>
              </a:defRPr>
            </a:lvl1pPr>
          </a:lstStyle>
          <a:p>
            <a:endParaRPr lang="de-DE"/>
          </a:p>
          <a:p>
            <a:endParaRPr lang="de-DE"/>
          </a:p>
          <a:p>
            <a:endParaRPr lang="de-DE"/>
          </a:p>
          <a:p>
            <a:endParaRPr lang="de-DE"/>
          </a:p>
          <a:p>
            <a:endParaRPr lang="de-DE"/>
          </a:p>
          <a:p>
            <a:r>
              <a:rPr lang="de-DE"/>
              <a:t>Please insert image</a:t>
            </a:r>
          </a:p>
        </p:txBody>
      </p:sp>
      <p:sp>
        <p:nvSpPr>
          <p:cNvPr id="13" name="Textplatzhalter 9">
            <a:extLst>
              <a:ext uri="{FF2B5EF4-FFF2-40B4-BE49-F238E27FC236}">
                <a16:creationId xmlns:a16="http://schemas.microsoft.com/office/drawing/2014/main" id="{2A096F25-9AA8-41E7-B1CD-FAE0DB1A4951}"/>
              </a:ext>
            </a:extLst>
          </p:cNvPr>
          <p:cNvSpPr>
            <a:spLocks noGrp="1"/>
          </p:cNvSpPr>
          <p:nvPr>
            <p:ph type="body" sz="quarter" idx="12"/>
          </p:nvPr>
        </p:nvSpPr>
        <p:spPr>
          <a:xfrm>
            <a:off x="0" y="5057775"/>
            <a:ext cx="12192000" cy="1800225"/>
          </a:xfrm>
          <a:gradFill>
            <a:gsLst>
              <a:gs pos="0">
                <a:schemeClr val="tx1">
                  <a:alpha val="0"/>
                </a:schemeClr>
              </a:gs>
              <a:gs pos="100000">
                <a:schemeClr val="tx1">
                  <a:alpha val="50000"/>
                </a:schemeClr>
              </a:gs>
            </a:gsLst>
            <a:lin ang="5400000" scaled="0"/>
          </a:gradFill>
        </p:spPr>
        <p:txBody>
          <a:bodyPr lIns="864000" tIns="360000" rIns="864000" bIns="360000" anchor="ctr">
            <a:normAutofit/>
          </a:bodyPr>
          <a:lstStyle>
            <a:lvl1pPr marL="0" indent="0">
              <a:spcAft>
                <a:spcPct val="0"/>
              </a:spcAft>
              <a:buNone/>
              <a:defRPr sz="2800" baseline="0">
                <a:solidFill>
                  <a:schemeClr val="bg1"/>
                </a:solidFill>
                <a:latin typeface="+mj-lt"/>
              </a:defRPr>
            </a:lvl1pPr>
          </a:lstStyle>
          <a:p>
            <a:pPr lvl="0"/>
            <a:endParaRPr lang="de-DE"/>
          </a:p>
        </p:txBody>
      </p:sp>
    </p:spTree>
    <p:extLst>
      <p:ext uri="{BB962C8B-B14F-4D97-AF65-F5344CB8AC3E}">
        <p14:creationId xmlns:p14="http://schemas.microsoft.com/office/powerpoint/2010/main" val="3909168686"/>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10" presetClass="entr" presetSubtype="0" dur="1000" fill="hold" grpId="0" nodeType="afterEffect">
                                  <p:stCondLst>
                                    <p:cond delay="250"/>
                                  </p:stCondLst>
                                  <p:childTnLst>
                                    <p:set>
                                      <p:cBhvr>
                                        <p:cTn id="6" dur="1" fill="hold">
                                          <p:stCondLst>
                                            <p:cond delay="0"/>
                                          </p:stCondLst>
                                        </p:cTn>
                                        <p:tgtEl>
                                          <p:spTgt spid="13">
                                            <p:bg/>
                                          </p:spTgt>
                                        </p:tgtEl>
                                        <p:attrNameLst>
                                          <p:attrName>style.visibility</p:attrName>
                                        </p:attrNameLst>
                                      </p:cBhvr>
                                      <p:to>
                                        <p:strVal val="visible"/>
                                      </p:to>
                                    </p:set>
                                    <p:animEffect transition="in" filter="fade">
                                      <p:cBhvr>
                                        <p:cTn id="7" dur="1000"/>
                                        <p:tgtEl>
                                          <p:spTgt spid="13">
                                            <p:bg/>
                                          </p:spTgt>
                                        </p:tgtEl>
                                      </p:cBhvr>
                                    </p:animEffect>
                                  </p:childTnLst>
                                </p:cTn>
                              </p:par>
                              <p:par>
                                <p:cTn id="8" presetID="10" presetClass="entr" presetSubtype="0" dur="1000" fill="hold" grpId="0" nodeType="withEffect">
                                  <p:stCondLst>
                                    <p:cond delay="250"/>
                                  </p:stCondLst>
                                  <p:childTnLst>
                                    <p:set>
                                      <p:cBhvr>
                                        <p:cTn id="9" dur="1" fill="hold">
                                          <p:stCondLst>
                                            <p:cond delay="0"/>
                                          </p:stCondLst>
                                        </p:cTn>
                                        <p:tgtEl>
                                          <p:spTgt spid="13">
                                            <p:txEl>
                                              <p:pRg st="0" end="0"/>
                                            </p:txEl>
                                          </p:spTgt>
                                        </p:tgtEl>
                                        <p:attrNameLst>
                                          <p:attrName>style.visibility</p:attrName>
                                        </p:attrNameLst>
                                      </p:cBhvr>
                                      <p:to>
                                        <p:strVal val="visible"/>
                                      </p:to>
                                    </p:set>
                                    <p:animEffect transition="in" filter="fade">
                                      <p:cBhvr>
                                        <p:cTn id="10" dur="1000"/>
                                        <p:tgtEl>
                                          <p:spTgt spid="1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uiExpand="1" build="p" animBg="1">
        <p:tmplLst>
          <p:tmpl>
            <p:tnLst>
              <p:par>
                <p:cTn presetID="10" presetClass="entr" presetSubtype="0" fill="hold" nodeType="afterEffect">
                  <p:stCondLst>
                    <p:cond delay="250"/>
                  </p:stCondLst>
                  <p:childTnLst>
                    <p:set>
                      <p:cBhvr>
                        <p:cTn dur="1" fill="hold">
                          <p:stCondLst>
                            <p:cond delay="0"/>
                          </p:stCondLst>
                        </p:cTn>
                        <p:tgtEl>
                          <p:spTgt spid="13"/>
                        </p:tgtEl>
                        <p:attrNameLst>
                          <p:attrName>style.visibility</p:attrName>
                        </p:attrNameLst>
                      </p:cBhvr>
                      <p:to>
                        <p:strVal val="visible"/>
                      </p:to>
                    </p:set>
                    <p:animEffect transition="in" filter="fade">
                      <p:cBhvr>
                        <p:cTn dur="1000"/>
                        <p:tgtEl>
                          <p:spTgt spid="13"/>
                        </p:tgtEl>
                      </p:cBhvr>
                    </p:animEffect>
                  </p:childTnLst>
                </p:cTn>
              </p:par>
            </p:tnLst>
          </p:tmpl>
          <p:tmpl lvl="1">
            <p:tnLst>
              <p:par>
                <p:cTn presetID="10" presetClass="entr" presetSubtype="0" fill="hold" nodeType="withEffect" nodePh="1">
                  <p:stCondLst>
                    <p:cond delay="250"/>
                  </p:stCondLst>
                  <p:endCondLst>
                    <p:cond delay="0"/>
                  </p:endCondLst>
                  <p:childTnLst>
                    <p:set>
                      <p:cBhvr>
                        <p:cTn dur="1" fill="hold">
                          <p:stCondLst>
                            <p:cond delay="0"/>
                          </p:stCondLst>
                        </p:cTn>
                        <p:tgtEl>
                          <p:spTgt spid="13"/>
                        </p:tgtEl>
                        <p:attrNameLst>
                          <p:attrName>style.visibility</p:attrName>
                        </p:attrNameLst>
                      </p:cBhvr>
                      <p:to>
                        <p:strVal val="visible"/>
                      </p:to>
                    </p:set>
                    <p:animEffect transition="in" filter="fade">
                      <p:cBhvr>
                        <p:cTn dur="1000"/>
                        <p:tgtEl>
                          <p:spTgt spid="13"/>
                        </p:tgtEl>
                      </p:cBhvr>
                    </p:animEffect>
                  </p:childTnLst>
                </p:cTn>
              </p:par>
            </p:tnLst>
          </p:tmpl>
        </p:tmplLst>
      </p:bldP>
    </p:bldLst>
  </p:timing>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FULL-PAGE IMAGE text left">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A1DBEC37-16AB-4865-8E20-EA6D4166C1A9}"/>
              </a:ext>
            </a:extLst>
          </p:cNvPr>
          <p:cNvSpPr/>
          <p:nvPr userDrawn="1"/>
        </p:nvSpPr>
        <p:spPr>
          <a:xfrm>
            <a:off x="-1" y="0"/>
            <a:ext cx="12192000" cy="8367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Bildplatzhalter 14">
            <a:extLst>
              <a:ext uri="{FF2B5EF4-FFF2-40B4-BE49-F238E27FC236}">
                <a16:creationId xmlns:a16="http://schemas.microsoft.com/office/drawing/2014/main" id="{59E79832-3B44-470D-B817-521BE33E6EFF}"/>
              </a:ext>
            </a:extLst>
          </p:cNvPr>
          <p:cNvSpPr>
            <a:spLocks noGrp="1"/>
          </p:cNvSpPr>
          <p:nvPr>
            <p:ph type="pic" sz="quarter" idx="11"/>
          </p:nvPr>
        </p:nvSpPr>
        <p:spPr>
          <a:xfrm>
            <a:off x="0" y="0"/>
            <a:ext cx="12192000" cy="6858000"/>
          </a:xfrm>
          <a:custGeom>
            <a:avLst/>
            <a:gdLst>
              <a:gd name="connsiteX0" fmla="*/ 2719933 w 12192000"/>
              <a:gd name="connsiteY0" fmla="*/ 363014 h 6858000"/>
              <a:gd name="connsiteX1" fmla="*/ 2719933 w 12192000"/>
              <a:gd name="connsiteY1" fmla="*/ 376799 h 6858000"/>
              <a:gd name="connsiteX2" fmla="*/ 2785484 w 12192000"/>
              <a:gd name="connsiteY2" fmla="*/ 376799 h 6858000"/>
              <a:gd name="connsiteX3" fmla="*/ 2785484 w 12192000"/>
              <a:gd name="connsiteY3" fmla="*/ 363014 h 6858000"/>
              <a:gd name="connsiteX4" fmla="*/ 4027010 w 12192000"/>
              <a:gd name="connsiteY4" fmla="*/ 345722 h 6858000"/>
              <a:gd name="connsiteX5" fmla="*/ 4027372 w 12192000"/>
              <a:gd name="connsiteY5" fmla="*/ 345722 h 6858000"/>
              <a:gd name="connsiteX6" fmla="*/ 4038255 w 12192000"/>
              <a:gd name="connsiteY6" fmla="*/ 380306 h 6858000"/>
              <a:gd name="connsiteX7" fmla="*/ 4016066 w 12192000"/>
              <a:gd name="connsiteY7" fmla="*/ 380306 h 6858000"/>
              <a:gd name="connsiteX8" fmla="*/ 2464909 w 12192000"/>
              <a:gd name="connsiteY8" fmla="*/ 345722 h 6858000"/>
              <a:gd name="connsiteX9" fmla="*/ 2465272 w 12192000"/>
              <a:gd name="connsiteY9" fmla="*/ 345722 h 6858000"/>
              <a:gd name="connsiteX10" fmla="*/ 2476155 w 12192000"/>
              <a:gd name="connsiteY10" fmla="*/ 380306 h 6858000"/>
              <a:gd name="connsiteX11" fmla="*/ 2453966 w 12192000"/>
              <a:gd name="connsiteY11" fmla="*/ 380306 h 6858000"/>
              <a:gd name="connsiteX12" fmla="*/ 2179159 w 12192000"/>
              <a:gd name="connsiteY12" fmla="*/ 345722 h 6858000"/>
              <a:gd name="connsiteX13" fmla="*/ 2179522 w 12192000"/>
              <a:gd name="connsiteY13" fmla="*/ 345722 h 6858000"/>
              <a:gd name="connsiteX14" fmla="*/ 2190405 w 12192000"/>
              <a:gd name="connsiteY14" fmla="*/ 380306 h 6858000"/>
              <a:gd name="connsiteX15" fmla="*/ 2168216 w 12192000"/>
              <a:gd name="connsiteY15" fmla="*/ 380306 h 6858000"/>
              <a:gd name="connsiteX16" fmla="*/ 4213068 w 12192000"/>
              <a:gd name="connsiteY16" fmla="*/ 338708 h 6858000"/>
              <a:gd name="connsiteX17" fmla="*/ 4224737 w 12192000"/>
              <a:gd name="connsiteY17" fmla="*/ 338708 h 6858000"/>
              <a:gd name="connsiteX18" fmla="*/ 4239610 w 12192000"/>
              <a:gd name="connsiteY18" fmla="*/ 345111 h 6858000"/>
              <a:gd name="connsiteX19" fmla="*/ 4244992 w 12192000"/>
              <a:gd name="connsiteY19" fmla="*/ 361721 h 6858000"/>
              <a:gd name="connsiteX20" fmla="*/ 4244992 w 12192000"/>
              <a:gd name="connsiteY20" fmla="*/ 376398 h 6858000"/>
              <a:gd name="connsiteX21" fmla="*/ 4239610 w 12192000"/>
              <a:gd name="connsiteY21" fmla="*/ 393129 h 6858000"/>
              <a:gd name="connsiteX22" fmla="*/ 4224737 w 12192000"/>
              <a:gd name="connsiteY22" fmla="*/ 399532 h 6858000"/>
              <a:gd name="connsiteX23" fmla="*/ 4213068 w 12192000"/>
              <a:gd name="connsiteY23" fmla="*/ 399532 h 6858000"/>
              <a:gd name="connsiteX24" fmla="*/ 4108293 w 12192000"/>
              <a:gd name="connsiteY24" fmla="*/ 338708 h 6858000"/>
              <a:gd name="connsiteX25" fmla="*/ 4123832 w 12192000"/>
              <a:gd name="connsiteY25" fmla="*/ 338708 h 6858000"/>
              <a:gd name="connsiteX26" fmla="*/ 4134624 w 12192000"/>
              <a:gd name="connsiteY26" fmla="*/ 342275 h 6858000"/>
              <a:gd name="connsiteX27" fmla="*/ 4138282 w 12192000"/>
              <a:gd name="connsiteY27" fmla="*/ 351889 h 6858000"/>
              <a:gd name="connsiteX28" fmla="*/ 4134624 w 12192000"/>
              <a:gd name="connsiteY28" fmla="*/ 361200 h 6858000"/>
              <a:gd name="connsiteX29" fmla="*/ 4123529 w 12192000"/>
              <a:gd name="connsiteY29" fmla="*/ 364344 h 6858000"/>
              <a:gd name="connsiteX30" fmla="*/ 4108293 w 12192000"/>
              <a:gd name="connsiteY30" fmla="*/ 364344 h 6858000"/>
              <a:gd name="connsiteX31" fmla="*/ 3774918 w 12192000"/>
              <a:gd name="connsiteY31" fmla="*/ 338708 h 6858000"/>
              <a:gd name="connsiteX32" fmla="*/ 3790457 w 12192000"/>
              <a:gd name="connsiteY32" fmla="*/ 338708 h 6858000"/>
              <a:gd name="connsiteX33" fmla="*/ 3801249 w 12192000"/>
              <a:gd name="connsiteY33" fmla="*/ 342275 h 6858000"/>
              <a:gd name="connsiteX34" fmla="*/ 3804907 w 12192000"/>
              <a:gd name="connsiteY34" fmla="*/ 351889 h 6858000"/>
              <a:gd name="connsiteX35" fmla="*/ 3801249 w 12192000"/>
              <a:gd name="connsiteY35" fmla="*/ 361200 h 6858000"/>
              <a:gd name="connsiteX36" fmla="*/ 3790154 w 12192000"/>
              <a:gd name="connsiteY36" fmla="*/ 364344 h 6858000"/>
              <a:gd name="connsiteX37" fmla="*/ 3774918 w 12192000"/>
              <a:gd name="connsiteY37" fmla="*/ 364344 h 6858000"/>
              <a:gd name="connsiteX38" fmla="*/ 2546193 w 12192000"/>
              <a:gd name="connsiteY38" fmla="*/ 338708 h 6858000"/>
              <a:gd name="connsiteX39" fmla="*/ 2557862 w 12192000"/>
              <a:gd name="connsiteY39" fmla="*/ 338708 h 6858000"/>
              <a:gd name="connsiteX40" fmla="*/ 2572735 w 12192000"/>
              <a:gd name="connsiteY40" fmla="*/ 345111 h 6858000"/>
              <a:gd name="connsiteX41" fmla="*/ 2578116 w 12192000"/>
              <a:gd name="connsiteY41" fmla="*/ 361721 h 6858000"/>
              <a:gd name="connsiteX42" fmla="*/ 2578116 w 12192000"/>
              <a:gd name="connsiteY42" fmla="*/ 376398 h 6858000"/>
              <a:gd name="connsiteX43" fmla="*/ 2572735 w 12192000"/>
              <a:gd name="connsiteY43" fmla="*/ 393129 h 6858000"/>
              <a:gd name="connsiteX44" fmla="*/ 2557862 w 12192000"/>
              <a:gd name="connsiteY44" fmla="*/ 399532 h 6858000"/>
              <a:gd name="connsiteX45" fmla="*/ 2546193 w 12192000"/>
              <a:gd name="connsiteY45" fmla="*/ 399532 h 6858000"/>
              <a:gd name="connsiteX46" fmla="*/ 3686347 w 12192000"/>
              <a:gd name="connsiteY46" fmla="*/ 337620 h 6858000"/>
              <a:gd name="connsiteX47" fmla="*/ 3700495 w 12192000"/>
              <a:gd name="connsiteY47" fmla="*/ 344223 h 6858000"/>
              <a:gd name="connsiteX48" fmla="*/ 3705634 w 12192000"/>
              <a:gd name="connsiteY48" fmla="*/ 361124 h 6858000"/>
              <a:gd name="connsiteX49" fmla="*/ 3705634 w 12192000"/>
              <a:gd name="connsiteY49" fmla="*/ 377116 h 6858000"/>
              <a:gd name="connsiteX50" fmla="*/ 3700555 w 12192000"/>
              <a:gd name="connsiteY50" fmla="*/ 394199 h 6858000"/>
              <a:gd name="connsiteX51" fmla="*/ 3686407 w 12192000"/>
              <a:gd name="connsiteY51" fmla="*/ 400802 h 6858000"/>
              <a:gd name="connsiteX52" fmla="*/ 3672440 w 12192000"/>
              <a:gd name="connsiteY52" fmla="*/ 394199 h 6858000"/>
              <a:gd name="connsiteX53" fmla="*/ 3667422 w 12192000"/>
              <a:gd name="connsiteY53" fmla="*/ 377116 h 6858000"/>
              <a:gd name="connsiteX54" fmla="*/ 3667422 w 12192000"/>
              <a:gd name="connsiteY54" fmla="*/ 361124 h 6858000"/>
              <a:gd name="connsiteX55" fmla="*/ 3672380 w 12192000"/>
              <a:gd name="connsiteY55" fmla="*/ 344193 h 6858000"/>
              <a:gd name="connsiteX56" fmla="*/ 3686347 w 12192000"/>
              <a:gd name="connsiteY56" fmla="*/ 337620 h 6858000"/>
              <a:gd name="connsiteX57" fmla="*/ 3038647 w 12192000"/>
              <a:gd name="connsiteY57" fmla="*/ 337620 h 6858000"/>
              <a:gd name="connsiteX58" fmla="*/ 3052794 w 12192000"/>
              <a:gd name="connsiteY58" fmla="*/ 344223 h 6858000"/>
              <a:gd name="connsiteX59" fmla="*/ 3057934 w 12192000"/>
              <a:gd name="connsiteY59" fmla="*/ 361124 h 6858000"/>
              <a:gd name="connsiteX60" fmla="*/ 3057934 w 12192000"/>
              <a:gd name="connsiteY60" fmla="*/ 377116 h 6858000"/>
              <a:gd name="connsiteX61" fmla="*/ 3052855 w 12192000"/>
              <a:gd name="connsiteY61" fmla="*/ 394199 h 6858000"/>
              <a:gd name="connsiteX62" fmla="*/ 3038707 w 12192000"/>
              <a:gd name="connsiteY62" fmla="*/ 400802 h 6858000"/>
              <a:gd name="connsiteX63" fmla="*/ 3024740 w 12192000"/>
              <a:gd name="connsiteY63" fmla="*/ 394199 h 6858000"/>
              <a:gd name="connsiteX64" fmla="*/ 3019722 w 12192000"/>
              <a:gd name="connsiteY64" fmla="*/ 377116 h 6858000"/>
              <a:gd name="connsiteX65" fmla="*/ 3019722 w 12192000"/>
              <a:gd name="connsiteY65" fmla="*/ 361124 h 6858000"/>
              <a:gd name="connsiteX66" fmla="*/ 3024680 w 12192000"/>
              <a:gd name="connsiteY66" fmla="*/ 344193 h 6858000"/>
              <a:gd name="connsiteX67" fmla="*/ 3038647 w 12192000"/>
              <a:gd name="connsiteY67" fmla="*/ 337620 h 6858000"/>
              <a:gd name="connsiteX68" fmla="*/ 4195413 w 12192000"/>
              <a:gd name="connsiteY68" fmla="*/ 325104 h 6858000"/>
              <a:gd name="connsiteX69" fmla="*/ 4195413 w 12192000"/>
              <a:gd name="connsiteY69" fmla="*/ 413136 h 6858000"/>
              <a:gd name="connsiteX70" fmla="*/ 4225644 w 12192000"/>
              <a:gd name="connsiteY70" fmla="*/ 413136 h 6858000"/>
              <a:gd name="connsiteX71" fmla="*/ 4252247 w 12192000"/>
              <a:gd name="connsiteY71" fmla="*/ 402888 h 6858000"/>
              <a:gd name="connsiteX72" fmla="*/ 4262707 w 12192000"/>
              <a:gd name="connsiteY72" fmla="*/ 376436 h 6858000"/>
              <a:gd name="connsiteX73" fmla="*/ 4262707 w 12192000"/>
              <a:gd name="connsiteY73" fmla="*/ 361865 h 6858000"/>
              <a:gd name="connsiteX74" fmla="*/ 4252247 w 12192000"/>
              <a:gd name="connsiteY74" fmla="*/ 335413 h 6858000"/>
              <a:gd name="connsiteX75" fmla="*/ 4225644 w 12192000"/>
              <a:gd name="connsiteY75" fmla="*/ 325104 h 6858000"/>
              <a:gd name="connsiteX76" fmla="*/ 4090638 w 12192000"/>
              <a:gd name="connsiteY76" fmla="*/ 325104 h 6858000"/>
              <a:gd name="connsiteX77" fmla="*/ 4090638 w 12192000"/>
              <a:gd name="connsiteY77" fmla="*/ 413136 h 6858000"/>
              <a:gd name="connsiteX78" fmla="*/ 4108293 w 12192000"/>
              <a:gd name="connsiteY78" fmla="*/ 413136 h 6858000"/>
              <a:gd name="connsiteX79" fmla="*/ 4108293 w 12192000"/>
              <a:gd name="connsiteY79" fmla="*/ 377948 h 6858000"/>
              <a:gd name="connsiteX80" fmla="*/ 4125101 w 12192000"/>
              <a:gd name="connsiteY80" fmla="*/ 377948 h 6858000"/>
              <a:gd name="connsiteX81" fmla="*/ 4135228 w 12192000"/>
              <a:gd name="connsiteY81" fmla="*/ 381605 h 6858000"/>
              <a:gd name="connsiteX82" fmla="*/ 4138826 w 12192000"/>
              <a:gd name="connsiteY82" fmla="*/ 391854 h 6858000"/>
              <a:gd name="connsiteX83" fmla="*/ 4138826 w 12192000"/>
              <a:gd name="connsiteY83" fmla="*/ 398081 h 6858000"/>
              <a:gd name="connsiteX84" fmla="*/ 4139551 w 12192000"/>
              <a:gd name="connsiteY84" fmla="*/ 406667 h 6858000"/>
              <a:gd name="connsiteX85" fmla="*/ 4142695 w 12192000"/>
              <a:gd name="connsiteY85" fmla="*/ 413136 h 6858000"/>
              <a:gd name="connsiteX86" fmla="*/ 4160894 w 12192000"/>
              <a:gd name="connsiteY86" fmla="*/ 413136 h 6858000"/>
              <a:gd name="connsiteX87" fmla="*/ 4160894 w 12192000"/>
              <a:gd name="connsiteY87" fmla="*/ 411866 h 6858000"/>
              <a:gd name="connsiteX88" fmla="*/ 4157478 w 12192000"/>
              <a:gd name="connsiteY88" fmla="*/ 405911 h 6858000"/>
              <a:gd name="connsiteX89" fmla="*/ 4156481 w 12192000"/>
              <a:gd name="connsiteY89" fmla="*/ 398202 h 6858000"/>
              <a:gd name="connsiteX90" fmla="*/ 4156481 w 12192000"/>
              <a:gd name="connsiteY90" fmla="*/ 391733 h 6858000"/>
              <a:gd name="connsiteX91" fmla="*/ 4153065 w 12192000"/>
              <a:gd name="connsiteY91" fmla="*/ 378431 h 6858000"/>
              <a:gd name="connsiteX92" fmla="*/ 4141849 w 12192000"/>
              <a:gd name="connsiteY92" fmla="*/ 370753 h 6858000"/>
              <a:gd name="connsiteX93" fmla="*/ 4152309 w 12192000"/>
              <a:gd name="connsiteY93" fmla="*/ 362832 h 6858000"/>
              <a:gd name="connsiteX94" fmla="*/ 4155876 w 12192000"/>
              <a:gd name="connsiteY94" fmla="*/ 351103 h 6858000"/>
              <a:gd name="connsiteX95" fmla="*/ 4147381 w 12192000"/>
              <a:gd name="connsiteY95" fmla="*/ 331967 h 6858000"/>
              <a:gd name="connsiteX96" fmla="*/ 4123832 w 12192000"/>
              <a:gd name="connsiteY96" fmla="*/ 325104 h 6858000"/>
              <a:gd name="connsiteX97" fmla="*/ 4018182 w 12192000"/>
              <a:gd name="connsiteY97" fmla="*/ 325104 h 6858000"/>
              <a:gd name="connsiteX98" fmla="*/ 3987891 w 12192000"/>
              <a:gd name="connsiteY98" fmla="*/ 413136 h 6858000"/>
              <a:gd name="connsiteX99" fmla="*/ 4005727 w 12192000"/>
              <a:gd name="connsiteY99" fmla="*/ 413136 h 6858000"/>
              <a:gd name="connsiteX100" fmla="*/ 4011713 w 12192000"/>
              <a:gd name="connsiteY100" fmla="*/ 394151 h 6858000"/>
              <a:gd name="connsiteX101" fmla="*/ 4042609 w 12192000"/>
              <a:gd name="connsiteY101" fmla="*/ 394151 h 6858000"/>
              <a:gd name="connsiteX102" fmla="*/ 4048594 w 12192000"/>
              <a:gd name="connsiteY102" fmla="*/ 413136 h 6858000"/>
              <a:gd name="connsiteX103" fmla="*/ 4066430 w 12192000"/>
              <a:gd name="connsiteY103" fmla="*/ 413136 h 6858000"/>
              <a:gd name="connsiteX104" fmla="*/ 4036260 w 12192000"/>
              <a:gd name="connsiteY104" fmla="*/ 325104 h 6858000"/>
              <a:gd name="connsiteX105" fmla="*/ 3855267 w 12192000"/>
              <a:gd name="connsiteY105" fmla="*/ 325104 h 6858000"/>
              <a:gd name="connsiteX106" fmla="*/ 3875884 w 12192000"/>
              <a:gd name="connsiteY106" fmla="*/ 413136 h 6858000"/>
              <a:gd name="connsiteX107" fmla="*/ 3892269 w 12192000"/>
              <a:gd name="connsiteY107" fmla="*/ 413136 h 6858000"/>
              <a:gd name="connsiteX108" fmla="*/ 3908412 w 12192000"/>
              <a:gd name="connsiteY108" fmla="*/ 355033 h 6858000"/>
              <a:gd name="connsiteX109" fmla="*/ 3908775 w 12192000"/>
              <a:gd name="connsiteY109" fmla="*/ 355033 h 6858000"/>
              <a:gd name="connsiteX110" fmla="*/ 3924918 w 12192000"/>
              <a:gd name="connsiteY110" fmla="*/ 413136 h 6858000"/>
              <a:gd name="connsiteX111" fmla="*/ 3941303 w 12192000"/>
              <a:gd name="connsiteY111" fmla="*/ 413136 h 6858000"/>
              <a:gd name="connsiteX112" fmla="*/ 3961860 w 12192000"/>
              <a:gd name="connsiteY112" fmla="*/ 325104 h 6858000"/>
              <a:gd name="connsiteX113" fmla="*/ 3944628 w 12192000"/>
              <a:gd name="connsiteY113" fmla="*/ 325104 h 6858000"/>
              <a:gd name="connsiteX114" fmla="*/ 3932053 w 12192000"/>
              <a:gd name="connsiteY114" fmla="*/ 385445 h 6858000"/>
              <a:gd name="connsiteX115" fmla="*/ 3931690 w 12192000"/>
              <a:gd name="connsiteY115" fmla="*/ 385445 h 6858000"/>
              <a:gd name="connsiteX116" fmla="*/ 3915063 w 12192000"/>
              <a:gd name="connsiteY116" fmla="*/ 325104 h 6858000"/>
              <a:gd name="connsiteX117" fmla="*/ 3902064 w 12192000"/>
              <a:gd name="connsiteY117" fmla="*/ 325104 h 6858000"/>
              <a:gd name="connsiteX118" fmla="*/ 3885557 w 12192000"/>
              <a:gd name="connsiteY118" fmla="*/ 385445 h 6858000"/>
              <a:gd name="connsiteX119" fmla="*/ 3885195 w 12192000"/>
              <a:gd name="connsiteY119" fmla="*/ 385384 h 6858000"/>
              <a:gd name="connsiteX120" fmla="*/ 3872558 w 12192000"/>
              <a:gd name="connsiteY120" fmla="*/ 325104 h 6858000"/>
              <a:gd name="connsiteX121" fmla="*/ 3757263 w 12192000"/>
              <a:gd name="connsiteY121" fmla="*/ 325104 h 6858000"/>
              <a:gd name="connsiteX122" fmla="*/ 3757263 w 12192000"/>
              <a:gd name="connsiteY122" fmla="*/ 413136 h 6858000"/>
              <a:gd name="connsiteX123" fmla="*/ 3774918 w 12192000"/>
              <a:gd name="connsiteY123" fmla="*/ 413136 h 6858000"/>
              <a:gd name="connsiteX124" fmla="*/ 3774918 w 12192000"/>
              <a:gd name="connsiteY124" fmla="*/ 377948 h 6858000"/>
              <a:gd name="connsiteX125" fmla="*/ 3791726 w 12192000"/>
              <a:gd name="connsiteY125" fmla="*/ 377948 h 6858000"/>
              <a:gd name="connsiteX126" fmla="*/ 3801853 w 12192000"/>
              <a:gd name="connsiteY126" fmla="*/ 381605 h 6858000"/>
              <a:gd name="connsiteX127" fmla="*/ 3805451 w 12192000"/>
              <a:gd name="connsiteY127" fmla="*/ 391854 h 6858000"/>
              <a:gd name="connsiteX128" fmla="*/ 3805451 w 12192000"/>
              <a:gd name="connsiteY128" fmla="*/ 398081 h 6858000"/>
              <a:gd name="connsiteX129" fmla="*/ 3806176 w 12192000"/>
              <a:gd name="connsiteY129" fmla="*/ 406667 h 6858000"/>
              <a:gd name="connsiteX130" fmla="*/ 3809320 w 12192000"/>
              <a:gd name="connsiteY130" fmla="*/ 413136 h 6858000"/>
              <a:gd name="connsiteX131" fmla="*/ 3827519 w 12192000"/>
              <a:gd name="connsiteY131" fmla="*/ 413136 h 6858000"/>
              <a:gd name="connsiteX132" fmla="*/ 3827519 w 12192000"/>
              <a:gd name="connsiteY132" fmla="*/ 411866 h 6858000"/>
              <a:gd name="connsiteX133" fmla="*/ 3824103 w 12192000"/>
              <a:gd name="connsiteY133" fmla="*/ 405911 h 6858000"/>
              <a:gd name="connsiteX134" fmla="*/ 3823106 w 12192000"/>
              <a:gd name="connsiteY134" fmla="*/ 398202 h 6858000"/>
              <a:gd name="connsiteX135" fmla="*/ 3823106 w 12192000"/>
              <a:gd name="connsiteY135" fmla="*/ 391733 h 6858000"/>
              <a:gd name="connsiteX136" fmla="*/ 3819690 w 12192000"/>
              <a:gd name="connsiteY136" fmla="*/ 378431 h 6858000"/>
              <a:gd name="connsiteX137" fmla="*/ 3808474 w 12192000"/>
              <a:gd name="connsiteY137" fmla="*/ 370753 h 6858000"/>
              <a:gd name="connsiteX138" fmla="*/ 3818934 w 12192000"/>
              <a:gd name="connsiteY138" fmla="*/ 362832 h 6858000"/>
              <a:gd name="connsiteX139" fmla="*/ 3822501 w 12192000"/>
              <a:gd name="connsiteY139" fmla="*/ 351103 h 6858000"/>
              <a:gd name="connsiteX140" fmla="*/ 3814006 w 12192000"/>
              <a:gd name="connsiteY140" fmla="*/ 331967 h 6858000"/>
              <a:gd name="connsiteX141" fmla="*/ 3790457 w 12192000"/>
              <a:gd name="connsiteY141" fmla="*/ 325104 h 6858000"/>
              <a:gd name="connsiteX142" fmla="*/ 3557238 w 12192000"/>
              <a:gd name="connsiteY142" fmla="*/ 325104 h 6858000"/>
              <a:gd name="connsiteX143" fmla="*/ 3557238 w 12192000"/>
              <a:gd name="connsiteY143" fmla="*/ 413136 h 6858000"/>
              <a:gd name="connsiteX144" fmla="*/ 3574893 w 12192000"/>
              <a:gd name="connsiteY144" fmla="*/ 413136 h 6858000"/>
              <a:gd name="connsiteX145" fmla="*/ 3574893 w 12192000"/>
              <a:gd name="connsiteY145" fmla="*/ 376557 h 6858000"/>
              <a:gd name="connsiteX146" fmla="*/ 3611774 w 12192000"/>
              <a:gd name="connsiteY146" fmla="*/ 376557 h 6858000"/>
              <a:gd name="connsiteX147" fmla="*/ 3611774 w 12192000"/>
              <a:gd name="connsiteY147" fmla="*/ 362953 h 6858000"/>
              <a:gd name="connsiteX148" fmla="*/ 3574893 w 12192000"/>
              <a:gd name="connsiteY148" fmla="*/ 362953 h 6858000"/>
              <a:gd name="connsiteX149" fmla="*/ 3574893 w 12192000"/>
              <a:gd name="connsiteY149" fmla="*/ 338708 h 6858000"/>
              <a:gd name="connsiteX150" fmla="*/ 3617941 w 12192000"/>
              <a:gd name="connsiteY150" fmla="*/ 338708 h 6858000"/>
              <a:gd name="connsiteX151" fmla="*/ 3617941 w 12192000"/>
              <a:gd name="connsiteY151" fmla="*/ 325104 h 6858000"/>
              <a:gd name="connsiteX152" fmla="*/ 3261963 w 12192000"/>
              <a:gd name="connsiteY152" fmla="*/ 325104 h 6858000"/>
              <a:gd name="connsiteX153" fmla="*/ 3261963 w 12192000"/>
              <a:gd name="connsiteY153" fmla="*/ 413136 h 6858000"/>
              <a:gd name="connsiteX154" fmla="*/ 3279618 w 12192000"/>
              <a:gd name="connsiteY154" fmla="*/ 413136 h 6858000"/>
              <a:gd name="connsiteX155" fmla="*/ 3279618 w 12192000"/>
              <a:gd name="connsiteY155" fmla="*/ 353037 h 6858000"/>
              <a:gd name="connsiteX156" fmla="*/ 3279981 w 12192000"/>
              <a:gd name="connsiteY156" fmla="*/ 352977 h 6858000"/>
              <a:gd name="connsiteX157" fmla="*/ 3315532 w 12192000"/>
              <a:gd name="connsiteY157" fmla="*/ 413136 h 6858000"/>
              <a:gd name="connsiteX158" fmla="*/ 3333126 w 12192000"/>
              <a:gd name="connsiteY158" fmla="*/ 413136 h 6858000"/>
              <a:gd name="connsiteX159" fmla="*/ 3333126 w 12192000"/>
              <a:gd name="connsiteY159" fmla="*/ 325104 h 6858000"/>
              <a:gd name="connsiteX160" fmla="*/ 3315532 w 12192000"/>
              <a:gd name="connsiteY160" fmla="*/ 325104 h 6858000"/>
              <a:gd name="connsiteX161" fmla="*/ 3315532 w 12192000"/>
              <a:gd name="connsiteY161" fmla="*/ 385142 h 6858000"/>
              <a:gd name="connsiteX162" fmla="*/ 3315169 w 12192000"/>
              <a:gd name="connsiteY162" fmla="*/ 385203 h 6858000"/>
              <a:gd name="connsiteX163" fmla="*/ 3279618 w 12192000"/>
              <a:gd name="connsiteY163" fmla="*/ 325104 h 6858000"/>
              <a:gd name="connsiteX164" fmla="*/ 3205901 w 12192000"/>
              <a:gd name="connsiteY164" fmla="*/ 325104 h 6858000"/>
              <a:gd name="connsiteX165" fmla="*/ 3205901 w 12192000"/>
              <a:gd name="connsiteY165" fmla="*/ 413136 h 6858000"/>
              <a:gd name="connsiteX166" fmla="*/ 3223556 w 12192000"/>
              <a:gd name="connsiteY166" fmla="*/ 413136 h 6858000"/>
              <a:gd name="connsiteX167" fmla="*/ 3223556 w 12192000"/>
              <a:gd name="connsiteY167" fmla="*/ 325104 h 6858000"/>
              <a:gd name="connsiteX168" fmla="*/ 3101764 w 12192000"/>
              <a:gd name="connsiteY168" fmla="*/ 325104 h 6858000"/>
              <a:gd name="connsiteX169" fmla="*/ 3131631 w 12192000"/>
              <a:gd name="connsiteY169" fmla="*/ 413136 h 6858000"/>
              <a:gd name="connsiteX170" fmla="*/ 3149770 w 12192000"/>
              <a:gd name="connsiteY170" fmla="*/ 413136 h 6858000"/>
              <a:gd name="connsiteX171" fmla="*/ 3179698 w 12192000"/>
              <a:gd name="connsiteY171" fmla="*/ 325104 h 6858000"/>
              <a:gd name="connsiteX172" fmla="*/ 3161076 w 12192000"/>
              <a:gd name="connsiteY172" fmla="*/ 325104 h 6858000"/>
              <a:gd name="connsiteX173" fmla="*/ 3141910 w 12192000"/>
              <a:gd name="connsiteY173" fmla="*/ 389859 h 6858000"/>
              <a:gd name="connsiteX174" fmla="*/ 3140882 w 12192000"/>
              <a:gd name="connsiteY174" fmla="*/ 394514 h 6858000"/>
              <a:gd name="connsiteX175" fmla="*/ 3140519 w 12192000"/>
              <a:gd name="connsiteY175" fmla="*/ 394514 h 6858000"/>
              <a:gd name="connsiteX176" fmla="*/ 3139431 w 12192000"/>
              <a:gd name="connsiteY176" fmla="*/ 389738 h 6858000"/>
              <a:gd name="connsiteX177" fmla="*/ 3120386 w 12192000"/>
              <a:gd name="connsiteY177" fmla="*/ 325104 h 6858000"/>
              <a:gd name="connsiteX178" fmla="*/ 2880963 w 12192000"/>
              <a:gd name="connsiteY178" fmla="*/ 325104 h 6858000"/>
              <a:gd name="connsiteX179" fmla="*/ 2880963 w 12192000"/>
              <a:gd name="connsiteY179" fmla="*/ 413136 h 6858000"/>
              <a:gd name="connsiteX180" fmla="*/ 2898618 w 12192000"/>
              <a:gd name="connsiteY180" fmla="*/ 413136 h 6858000"/>
              <a:gd name="connsiteX181" fmla="*/ 2898618 w 12192000"/>
              <a:gd name="connsiteY181" fmla="*/ 386896 h 6858000"/>
              <a:gd name="connsiteX182" fmla="*/ 2896925 w 12192000"/>
              <a:gd name="connsiteY182" fmla="*/ 348261 h 6858000"/>
              <a:gd name="connsiteX183" fmla="*/ 2897288 w 12192000"/>
              <a:gd name="connsiteY183" fmla="*/ 348201 h 6858000"/>
              <a:gd name="connsiteX184" fmla="*/ 2920747 w 12192000"/>
              <a:gd name="connsiteY184" fmla="*/ 413136 h 6858000"/>
              <a:gd name="connsiteX185" fmla="*/ 2932597 w 12192000"/>
              <a:gd name="connsiteY185" fmla="*/ 413136 h 6858000"/>
              <a:gd name="connsiteX186" fmla="*/ 2956177 w 12192000"/>
              <a:gd name="connsiteY186" fmla="*/ 347959 h 6858000"/>
              <a:gd name="connsiteX187" fmla="*/ 2956540 w 12192000"/>
              <a:gd name="connsiteY187" fmla="*/ 348019 h 6858000"/>
              <a:gd name="connsiteX188" fmla="*/ 2954847 w 12192000"/>
              <a:gd name="connsiteY188" fmla="*/ 386896 h 6858000"/>
              <a:gd name="connsiteX189" fmla="*/ 2954847 w 12192000"/>
              <a:gd name="connsiteY189" fmla="*/ 413136 h 6858000"/>
              <a:gd name="connsiteX190" fmla="*/ 2972502 w 12192000"/>
              <a:gd name="connsiteY190" fmla="*/ 413136 h 6858000"/>
              <a:gd name="connsiteX191" fmla="*/ 2972502 w 12192000"/>
              <a:gd name="connsiteY191" fmla="*/ 325104 h 6858000"/>
              <a:gd name="connsiteX192" fmla="*/ 2949405 w 12192000"/>
              <a:gd name="connsiteY192" fmla="*/ 325104 h 6858000"/>
              <a:gd name="connsiteX193" fmla="*/ 2926793 w 12192000"/>
              <a:gd name="connsiteY193" fmla="*/ 389979 h 6858000"/>
              <a:gd name="connsiteX194" fmla="*/ 2926430 w 12192000"/>
              <a:gd name="connsiteY194" fmla="*/ 389979 h 6858000"/>
              <a:gd name="connsiteX195" fmla="*/ 2903999 w 12192000"/>
              <a:gd name="connsiteY195" fmla="*/ 325104 h 6858000"/>
              <a:gd name="connsiteX196" fmla="*/ 2528538 w 12192000"/>
              <a:gd name="connsiteY196" fmla="*/ 325104 h 6858000"/>
              <a:gd name="connsiteX197" fmla="*/ 2528538 w 12192000"/>
              <a:gd name="connsiteY197" fmla="*/ 413136 h 6858000"/>
              <a:gd name="connsiteX198" fmla="*/ 2558769 w 12192000"/>
              <a:gd name="connsiteY198" fmla="*/ 413136 h 6858000"/>
              <a:gd name="connsiteX199" fmla="*/ 2585372 w 12192000"/>
              <a:gd name="connsiteY199" fmla="*/ 402888 h 6858000"/>
              <a:gd name="connsiteX200" fmla="*/ 2595832 w 12192000"/>
              <a:gd name="connsiteY200" fmla="*/ 376436 h 6858000"/>
              <a:gd name="connsiteX201" fmla="*/ 2595832 w 12192000"/>
              <a:gd name="connsiteY201" fmla="*/ 361865 h 6858000"/>
              <a:gd name="connsiteX202" fmla="*/ 2585372 w 12192000"/>
              <a:gd name="connsiteY202" fmla="*/ 335413 h 6858000"/>
              <a:gd name="connsiteX203" fmla="*/ 2558769 w 12192000"/>
              <a:gd name="connsiteY203" fmla="*/ 325104 h 6858000"/>
              <a:gd name="connsiteX204" fmla="*/ 2456082 w 12192000"/>
              <a:gd name="connsiteY204" fmla="*/ 325104 h 6858000"/>
              <a:gd name="connsiteX205" fmla="*/ 2425791 w 12192000"/>
              <a:gd name="connsiteY205" fmla="*/ 413136 h 6858000"/>
              <a:gd name="connsiteX206" fmla="*/ 2443627 w 12192000"/>
              <a:gd name="connsiteY206" fmla="*/ 413136 h 6858000"/>
              <a:gd name="connsiteX207" fmla="*/ 2449613 w 12192000"/>
              <a:gd name="connsiteY207" fmla="*/ 394151 h 6858000"/>
              <a:gd name="connsiteX208" fmla="*/ 2480508 w 12192000"/>
              <a:gd name="connsiteY208" fmla="*/ 394151 h 6858000"/>
              <a:gd name="connsiteX209" fmla="*/ 2486494 w 12192000"/>
              <a:gd name="connsiteY209" fmla="*/ 413136 h 6858000"/>
              <a:gd name="connsiteX210" fmla="*/ 2504330 w 12192000"/>
              <a:gd name="connsiteY210" fmla="*/ 413136 h 6858000"/>
              <a:gd name="connsiteX211" fmla="*/ 2474160 w 12192000"/>
              <a:gd name="connsiteY211" fmla="*/ 325104 h 6858000"/>
              <a:gd name="connsiteX212" fmla="*/ 2347563 w 12192000"/>
              <a:gd name="connsiteY212" fmla="*/ 325104 h 6858000"/>
              <a:gd name="connsiteX213" fmla="*/ 2347563 w 12192000"/>
              <a:gd name="connsiteY213" fmla="*/ 413136 h 6858000"/>
              <a:gd name="connsiteX214" fmla="*/ 2407843 w 12192000"/>
              <a:gd name="connsiteY214" fmla="*/ 413136 h 6858000"/>
              <a:gd name="connsiteX215" fmla="*/ 2407843 w 12192000"/>
              <a:gd name="connsiteY215" fmla="*/ 399532 h 6858000"/>
              <a:gd name="connsiteX216" fmla="*/ 2365218 w 12192000"/>
              <a:gd name="connsiteY216" fmla="*/ 399532 h 6858000"/>
              <a:gd name="connsiteX217" fmla="*/ 2365218 w 12192000"/>
              <a:gd name="connsiteY217" fmla="*/ 374441 h 6858000"/>
              <a:gd name="connsiteX218" fmla="*/ 2401676 w 12192000"/>
              <a:gd name="connsiteY218" fmla="*/ 374441 h 6858000"/>
              <a:gd name="connsiteX219" fmla="*/ 2401676 w 12192000"/>
              <a:gd name="connsiteY219" fmla="*/ 360837 h 6858000"/>
              <a:gd name="connsiteX220" fmla="*/ 2365218 w 12192000"/>
              <a:gd name="connsiteY220" fmla="*/ 360837 h 6858000"/>
              <a:gd name="connsiteX221" fmla="*/ 2365218 w 12192000"/>
              <a:gd name="connsiteY221" fmla="*/ 338708 h 6858000"/>
              <a:gd name="connsiteX222" fmla="*/ 2407722 w 12192000"/>
              <a:gd name="connsiteY222" fmla="*/ 338708 h 6858000"/>
              <a:gd name="connsiteX223" fmla="*/ 2407722 w 12192000"/>
              <a:gd name="connsiteY223" fmla="*/ 325104 h 6858000"/>
              <a:gd name="connsiteX224" fmla="*/ 2242788 w 12192000"/>
              <a:gd name="connsiteY224" fmla="*/ 325104 h 6858000"/>
              <a:gd name="connsiteX225" fmla="*/ 2242788 w 12192000"/>
              <a:gd name="connsiteY225" fmla="*/ 413136 h 6858000"/>
              <a:gd name="connsiteX226" fmla="*/ 2260443 w 12192000"/>
              <a:gd name="connsiteY226" fmla="*/ 413136 h 6858000"/>
              <a:gd name="connsiteX227" fmla="*/ 2260443 w 12192000"/>
              <a:gd name="connsiteY227" fmla="*/ 376557 h 6858000"/>
              <a:gd name="connsiteX228" fmla="*/ 2296357 w 12192000"/>
              <a:gd name="connsiteY228" fmla="*/ 376557 h 6858000"/>
              <a:gd name="connsiteX229" fmla="*/ 2296357 w 12192000"/>
              <a:gd name="connsiteY229" fmla="*/ 413136 h 6858000"/>
              <a:gd name="connsiteX230" fmla="*/ 2313951 w 12192000"/>
              <a:gd name="connsiteY230" fmla="*/ 413136 h 6858000"/>
              <a:gd name="connsiteX231" fmla="*/ 2313951 w 12192000"/>
              <a:gd name="connsiteY231" fmla="*/ 325104 h 6858000"/>
              <a:gd name="connsiteX232" fmla="*/ 2296357 w 12192000"/>
              <a:gd name="connsiteY232" fmla="*/ 325104 h 6858000"/>
              <a:gd name="connsiteX233" fmla="*/ 2296357 w 12192000"/>
              <a:gd name="connsiteY233" fmla="*/ 362953 h 6858000"/>
              <a:gd name="connsiteX234" fmla="*/ 2260443 w 12192000"/>
              <a:gd name="connsiteY234" fmla="*/ 362953 h 6858000"/>
              <a:gd name="connsiteX235" fmla="*/ 2260443 w 12192000"/>
              <a:gd name="connsiteY235" fmla="*/ 325104 h 6858000"/>
              <a:gd name="connsiteX236" fmla="*/ 2170332 w 12192000"/>
              <a:gd name="connsiteY236" fmla="*/ 325104 h 6858000"/>
              <a:gd name="connsiteX237" fmla="*/ 2140041 w 12192000"/>
              <a:gd name="connsiteY237" fmla="*/ 413136 h 6858000"/>
              <a:gd name="connsiteX238" fmla="*/ 2157877 w 12192000"/>
              <a:gd name="connsiteY238" fmla="*/ 413136 h 6858000"/>
              <a:gd name="connsiteX239" fmla="*/ 2163863 w 12192000"/>
              <a:gd name="connsiteY239" fmla="*/ 394151 h 6858000"/>
              <a:gd name="connsiteX240" fmla="*/ 2194758 w 12192000"/>
              <a:gd name="connsiteY240" fmla="*/ 394151 h 6858000"/>
              <a:gd name="connsiteX241" fmla="*/ 2200744 w 12192000"/>
              <a:gd name="connsiteY241" fmla="*/ 413136 h 6858000"/>
              <a:gd name="connsiteX242" fmla="*/ 2218580 w 12192000"/>
              <a:gd name="connsiteY242" fmla="*/ 413136 h 6858000"/>
              <a:gd name="connsiteX243" fmla="*/ 2188410 w 12192000"/>
              <a:gd name="connsiteY243" fmla="*/ 325104 h 6858000"/>
              <a:gd name="connsiteX244" fmla="*/ 1842738 w 12192000"/>
              <a:gd name="connsiteY244" fmla="*/ 325104 h 6858000"/>
              <a:gd name="connsiteX245" fmla="*/ 1842738 w 12192000"/>
              <a:gd name="connsiteY245" fmla="*/ 413136 h 6858000"/>
              <a:gd name="connsiteX246" fmla="*/ 1860393 w 12192000"/>
              <a:gd name="connsiteY246" fmla="*/ 413136 h 6858000"/>
              <a:gd name="connsiteX247" fmla="*/ 1860393 w 12192000"/>
              <a:gd name="connsiteY247" fmla="*/ 353037 h 6858000"/>
              <a:gd name="connsiteX248" fmla="*/ 1860755 w 12192000"/>
              <a:gd name="connsiteY248" fmla="*/ 352977 h 6858000"/>
              <a:gd name="connsiteX249" fmla="*/ 1896307 w 12192000"/>
              <a:gd name="connsiteY249" fmla="*/ 413136 h 6858000"/>
              <a:gd name="connsiteX250" fmla="*/ 1913901 w 12192000"/>
              <a:gd name="connsiteY250" fmla="*/ 413136 h 6858000"/>
              <a:gd name="connsiteX251" fmla="*/ 1913901 w 12192000"/>
              <a:gd name="connsiteY251" fmla="*/ 325104 h 6858000"/>
              <a:gd name="connsiteX252" fmla="*/ 1896307 w 12192000"/>
              <a:gd name="connsiteY252" fmla="*/ 325104 h 6858000"/>
              <a:gd name="connsiteX253" fmla="*/ 1896307 w 12192000"/>
              <a:gd name="connsiteY253" fmla="*/ 385142 h 6858000"/>
              <a:gd name="connsiteX254" fmla="*/ 1895944 w 12192000"/>
              <a:gd name="connsiteY254" fmla="*/ 385203 h 6858000"/>
              <a:gd name="connsiteX255" fmla="*/ 1860393 w 12192000"/>
              <a:gd name="connsiteY255" fmla="*/ 325104 h 6858000"/>
              <a:gd name="connsiteX256" fmla="*/ 1786676 w 12192000"/>
              <a:gd name="connsiteY256" fmla="*/ 325104 h 6858000"/>
              <a:gd name="connsiteX257" fmla="*/ 1786676 w 12192000"/>
              <a:gd name="connsiteY257" fmla="*/ 413136 h 6858000"/>
              <a:gd name="connsiteX258" fmla="*/ 1804331 w 12192000"/>
              <a:gd name="connsiteY258" fmla="*/ 413136 h 6858000"/>
              <a:gd name="connsiteX259" fmla="*/ 1804331 w 12192000"/>
              <a:gd name="connsiteY259" fmla="*/ 325104 h 6858000"/>
              <a:gd name="connsiteX260" fmla="*/ 1690338 w 12192000"/>
              <a:gd name="connsiteY260" fmla="*/ 325104 h 6858000"/>
              <a:gd name="connsiteX261" fmla="*/ 1690338 w 12192000"/>
              <a:gd name="connsiteY261" fmla="*/ 413136 h 6858000"/>
              <a:gd name="connsiteX262" fmla="*/ 1707993 w 12192000"/>
              <a:gd name="connsiteY262" fmla="*/ 413136 h 6858000"/>
              <a:gd name="connsiteX263" fmla="*/ 1707993 w 12192000"/>
              <a:gd name="connsiteY263" fmla="*/ 376376 h 6858000"/>
              <a:gd name="connsiteX264" fmla="*/ 1717787 w 12192000"/>
              <a:gd name="connsiteY264" fmla="*/ 376376 h 6858000"/>
              <a:gd name="connsiteX265" fmla="*/ 1741428 w 12192000"/>
              <a:gd name="connsiteY265" fmla="*/ 413136 h 6858000"/>
              <a:gd name="connsiteX266" fmla="*/ 1762952 w 12192000"/>
              <a:gd name="connsiteY266" fmla="*/ 413136 h 6858000"/>
              <a:gd name="connsiteX267" fmla="*/ 1730968 w 12192000"/>
              <a:gd name="connsiteY267" fmla="*/ 366097 h 6858000"/>
              <a:gd name="connsiteX268" fmla="*/ 1760594 w 12192000"/>
              <a:gd name="connsiteY268" fmla="*/ 325104 h 6858000"/>
              <a:gd name="connsiteX269" fmla="*/ 1739009 w 12192000"/>
              <a:gd name="connsiteY269" fmla="*/ 325104 h 6858000"/>
              <a:gd name="connsiteX270" fmla="*/ 1715671 w 12192000"/>
              <a:gd name="connsiteY270" fmla="*/ 361079 h 6858000"/>
              <a:gd name="connsiteX271" fmla="*/ 1707993 w 12192000"/>
              <a:gd name="connsiteY271" fmla="*/ 361079 h 6858000"/>
              <a:gd name="connsiteX272" fmla="*/ 1707993 w 12192000"/>
              <a:gd name="connsiteY272" fmla="*/ 325104 h 6858000"/>
              <a:gd name="connsiteX273" fmla="*/ 1585563 w 12192000"/>
              <a:gd name="connsiteY273" fmla="*/ 325104 h 6858000"/>
              <a:gd name="connsiteX274" fmla="*/ 1585563 w 12192000"/>
              <a:gd name="connsiteY274" fmla="*/ 413136 h 6858000"/>
              <a:gd name="connsiteX275" fmla="*/ 1603218 w 12192000"/>
              <a:gd name="connsiteY275" fmla="*/ 413136 h 6858000"/>
              <a:gd name="connsiteX276" fmla="*/ 1603218 w 12192000"/>
              <a:gd name="connsiteY276" fmla="*/ 353037 h 6858000"/>
              <a:gd name="connsiteX277" fmla="*/ 1603580 w 12192000"/>
              <a:gd name="connsiteY277" fmla="*/ 352977 h 6858000"/>
              <a:gd name="connsiteX278" fmla="*/ 1639132 w 12192000"/>
              <a:gd name="connsiteY278" fmla="*/ 413136 h 6858000"/>
              <a:gd name="connsiteX279" fmla="*/ 1656726 w 12192000"/>
              <a:gd name="connsiteY279" fmla="*/ 413136 h 6858000"/>
              <a:gd name="connsiteX280" fmla="*/ 1656726 w 12192000"/>
              <a:gd name="connsiteY280" fmla="*/ 325104 h 6858000"/>
              <a:gd name="connsiteX281" fmla="*/ 1639132 w 12192000"/>
              <a:gd name="connsiteY281" fmla="*/ 325104 h 6858000"/>
              <a:gd name="connsiteX282" fmla="*/ 1639132 w 12192000"/>
              <a:gd name="connsiteY282" fmla="*/ 385142 h 6858000"/>
              <a:gd name="connsiteX283" fmla="*/ 1638769 w 12192000"/>
              <a:gd name="connsiteY283" fmla="*/ 385203 h 6858000"/>
              <a:gd name="connsiteX284" fmla="*/ 1603218 w 12192000"/>
              <a:gd name="connsiteY284" fmla="*/ 325104 h 6858000"/>
              <a:gd name="connsiteX285" fmla="*/ 1529502 w 12192000"/>
              <a:gd name="connsiteY285" fmla="*/ 325104 h 6858000"/>
              <a:gd name="connsiteX286" fmla="*/ 1529502 w 12192000"/>
              <a:gd name="connsiteY286" fmla="*/ 413136 h 6858000"/>
              <a:gd name="connsiteX287" fmla="*/ 1547156 w 12192000"/>
              <a:gd name="connsiteY287" fmla="*/ 413136 h 6858000"/>
              <a:gd name="connsiteX288" fmla="*/ 1547156 w 12192000"/>
              <a:gd name="connsiteY288" fmla="*/ 325104 h 6858000"/>
              <a:gd name="connsiteX289" fmla="*/ 1423638 w 12192000"/>
              <a:gd name="connsiteY289" fmla="*/ 325104 h 6858000"/>
              <a:gd name="connsiteX290" fmla="*/ 1423638 w 12192000"/>
              <a:gd name="connsiteY290" fmla="*/ 413136 h 6858000"/>
              <a:gd name="connsiteX291" fmla="*/ 1441293 w 12192000"/>
              <a:gd name="connsiteY291" fmla="*/ 413136 h 6858000"/>
              <a:gd name="connsiteX292" fmla="*/ 1441293 w 12192000"/>
              <a:gd name="connsiteY292" fmla="*/ 376557 h 6858000"/>
              <a:gd name="connsiteX293" fmla="*/ 1477207 w 12192000"/>
              <a:gd name="connsiteY293" fmla="*/ 376557 h 6858000"/>
              <a:gd name="connsiteX294" fmla="*/ 1477207 w 12192000"/>
              <a:gd name="connsiteY294" fmla="*/ 413136 h 6858000"/>
              <a:gd name="connsiteX295" fmla="*/ 1494801 w 12192000"/>
              <a:gd name="connsiteY295" fmla="*/ 413136 h 6858000"/>
              <a:gd name="connsiteX296" fmla="*/ 1494801 w 12192000"/>
              <a:gd name="connsiteY296" fmla="*/ 325104 h 6858000"/>
              <a:gd name="connsiteX297" fmla="*/ 1477207 w 12192000"/>
              <a:gd name="connsiteY297" fmla="*/ 325104 h 6858000"/>
              <a:gd name="connsiteX298" fmla="*/ 1477207 w 12192000"/>
              <a:gd name="connsiteY298" fmla="*/ 362953 h 6858000"/>
              <a:gd name="connsiteX299" fmla="*/ 1441293 w 12192000"/>
              <a:gd name="connsiteY299" fmla="*/ 362953 h 6858000"/>
              <a:gd name="connsiteX300" fmla="*/ 1441293 w 12192000"/>
              <a:gd name="connsiteY300" fmla="*/ 325104 h 6858000"/>
              <a:gd name="connsiteX301" fmla="*/ 1331383 w 12192000"/>
              <a:gd name="connsiteY301" fmla="*/ 325104 h 6858000"/>
              <a:gd name="connsiteX302" fmla="*/ 1331383 w 12192000"/>
              <a:gd name="connsiteY302" fmla="*/ 338708 h 6858000"/>
              <a:gd name="connsiteX303" fmla="*/ 1356172 w 12192000"/>
              <a:gd name="connsiteY303" fmla="*/ 338708 h 6858000"/>
              <a:gd name="connsiteX304" fmla="*/ 1356172 w 12192000"/>
              <a:gd name="connsiteY304" fmla="*/ 413136 h 6858000"/>
              <a:gd name="connsiteX305" fmla="*/ 1373827 w 12192000"/>
              <a:gd name="connsiteY305" fmla="*/ 413136 h 6858000"/>
              <a:gd name="connsiteX306" fmla="*/ 1373827 w 12192000"/>
              <a:gd name="connsiteY306" fmla="*/ 338708 h 6858000"/>
              <a:gd name="connsiteX307" fmla="*/ 1398737 w 12192000"/>
              <a:gd name="connsiteY307" fmla="*/ 338708 h 6858000"/>
              <a:gd name="connsiteX308" fmla="*/ 1398737 w 12192000"/>
              <a:gd name="connsiteY308" fmla="*/ 325104 h 6858000"/>
              <a:gd name="connsiteX309" fmla="*/ 3686347 w 12192000"/>
              <a:gd name="connsiteY309" fmla="*/ 323835 h 6858000"/>
              <a:gd name="connsiteX310" fmla="*/ 3659955 w 12192000"/>
              <a:gd name="connsiteY310" fmla="*/ 334446 h 6858000"/>
              <a:gd name="connsiteX311" fmla="*/ 3649828 w 12192000"/>
              <a:gd name="connsiteY311" fmla="*/ 361200 h 6858000"/>
              <a:gd name="connsiteX312" fmla="*/ 3649828 w 12192000"/>
              <a:gd name="connsiteY312" fmla="*/ 377041 h 6858000"/>
              <a:gd name="connsiteX313" fmla="*/ 3659985 w 12192000"/>
              <a:gd name="connsiteY313" fmla="*/ 403825 h 6858000"/>
              <a:gd name="connsiteX314" fmla="*/ 3686407 w 12192000"/>
              <a:gd name="connsiteY314" fmla="*/ 414406 h 6858000"/>
              <a:gd name="connsiteX315" fmla="*/ 3713040 w 12192000"/>
              <a:gd name="connsiteY315" fmla="*/ 403825 h 6858000"/>
              <a:gd name="connsiteX316" fmla="*/ 3723288 w 12192000"/>
              <a:gd name="connsiteY316" fmla="*/ 377041 h 6858000"/>
              <a:gd name="connsiteX317" fmla="*/ 3723288 w 12192000"/>
              <a:gd name="connsiteY317" fmla="*/ 361200 h 6858000"/>
              <a:gd name="connsiteX318" fmla="*/ 3713010 w 12192000"/>
              <a:gd name="connsiteY318" fmla="*/ 334446 h 6858000"/>
              <a:gd name="connsiteX319" fmla="*/ 3686347 w 12192000"/>
              <a:gd name="connsiteY319" fmla="*/ 323835 h 6858000"/>
              <a:gd name="connsiteX320" fmla="*/ 3399629 w 12192000"/>
              <a:gd name="connsiteY320" fmla="*/ 323835 h 6858000"/>
              <a:gd name="connsiteX321" fmla="*/ 3374326 w 12192000"/>
              <a:gd name="connsiteY321" fmla="*/ 333901 h 6858000"/>
              <a:gd name="connsiteX322" fmla="*/ 3364501 w 12192000"/>
              <a:gd name="connsiteY322" fmla="*/ 359930 h 6858000"/>
              <a:gd name="connsiteX323" fmla="*/ 3364501 w 12192000"/>
              <a:gd name="connsiteY323" fmla="*/ 378310 h 6858000"/>
              <a:gd name="connsiteX324" fmla="*/ 3374719 w 12192000"/>
              <a:gd name="connsiteY324" fmla="*/ 404369 h 6858000"/>
              <a:gd name="connsiteX325" fmla="*/ 3401080 w 12192000"/>
              <a:gd name="connsiteY325" fmla="*/ 414406 h 6858000"/>
              <a:gd name="connsiteX326" fmla="*/ 3422090 w 12192000"/>
              <a:gd name="connsiteY326" fmla="*/ 410355 h 6858000"/>
              <a:gd name="connsiteX327" fmla="*/ 3434334 w 12192000"/>
              <a:gd name="connsiteY327" fmla="*/ 401104 h 6858000"/>
              <a:gd name="connsiteX328" fmla="*/ 3434334 w 12192000"/>
              <a:gd name="connsiteY328" fmla="*/ 367911 h 6858000"/>
              <a:gd name="connsiteX329" fmla="*/ 3401080 w 12192000"/>
              <a:gd name="connsiteY329" fmla="*/ 367911 h 6858000"/>
              <a:gd name="connsiteX330" fmla="*/ 3401080 w 12192000"/>
              <a:gd name="connsiteY330" fmla="*/ 380124 h 6858000"/>
              <a:gd name="connsiteX331" fmla="*/ 3416679 w 12192000"/>
              <a:gd name="connsiteY331" fmla="*/ 380124 h 6858000"/>
              <a:gd name="connsiteX332" fmla="*/ 3416679 w 12192000"/>
              <a:gd name="connsiteY332" fmla="*/ 396401 h 6858000"/>
              <a:gd name="connsiteX333" fmla="*/ 3410996 w 12192000"/>
              <a:gd name="connsiteY333" fmla="*/ 399536 h 6858000"/>
              <a:gd name="connsiteX334" fmla="*/ 3401080 w 12192000"/>
              <a:gd name="connsiteY334" fmla="*/ 400802 h 6858000"/>
              <a:gd name="connsiteX335" fmla="*/ 3387235 w 12192000"/>
              <a:gd name="connsiteY335" fmla="*/ 394550 h 6858000"/>
              <a:gd name="connsiteX336" fmla="*/ 3382095 w 12192000"/>
              <a:gd name="connsiteY336" fmla="*/ 378272 h 6858000"/>
              <a:gd name="connsiteX337" fmla="*/ 3382095 w 12192000"/>
              <a:gd name="connsiteY337" fmla="*/ 359787 h 6858000"/>
              <a:gd name="connsiteX338" fmla="*/ 3387053 w 12192000"/>
              <a:gd name="connsiteY338" fmla="*/ 343690 h 6858000"/>
              <a:gd name="connsiteX339" fmla="*/ 3400113 w 12192000"/>
              <a:gd name="connsiteY339" fmla="*/ 337438 h 6858000"/>
              <a:gd name="connsiteX340" fmla="*/ 3411782 w 12192000"/>
              <a:gd name="connsiteY340" fmla="*/ 341520 h 6858000"/>
              <a:gd name="connsiteX341" fmla="*/ 3416256 w 12192000"/>
              <a:gd name="connsiteY341" fmla="*/ 352614 h 6858000"/>
              <a:gd name="connsiteX342" fmla="*/ 3432883 w 12192000"/>
              <a:gd name="connsiteY342" fmla="*/ 352614 h 6858000"/>
              <a:gd name="connsiteX343" fmla="*/ 3433004 w 12192000"/>
              <a:gd name="connsiteY343" fmla="*/ 352251 h 6858000"/>
              <a:gd name="connsiteX344" fmla="*/ 3424267 w 12192000"/>
              <a:gd name="connsiteY344" fmla="*/ 331664 h 6858000"/>
              <a:gd name="connsiteX345" fmla="*/ 3399629 w 12192000"/>
              <a:gd name="connsiteY345" fmla="*/ 323835 h 6858000"/>
              <a:gd name="connsiteX346" fmla="*/ 3038647 w 12192000"/>
              <a:gd name="connsiteY346" fmla="*/ 323835 h 6858000"/>
              <a:gd name="connsiteX347" fmla="*/ 3012255 w 12192000"/>
              <a:gd name="connsiteY347" fmla="*/ 334446 h 6858000"/>
              <a:gd name="connsiteX348" fmla="*/ 3002128 w 12192000"/>
              <a:gd name="connsiteY348" fmla="*/ 361200 h 6858000"/>
              <a:gd name="connsiteX349" fmla="*/ 3002128 w 12192000"/>
              <a:gd name="connsiteY349" fmla="*/ 377041 h 6858000"/>
              <a:gd name="connsiteX350" fmla="*/ 3012285 w 12192000"/>
              <a:gd name="connsiteY350" fmla="*/ 403825 h 6858000"/>
              <a:gd name="connsiteX351" fmla="*/ 3038707 w 12192000"/>
              <a:gd name="connsiteY351" fmla="*/ 414406 h 6858000"/>
              <a:gd name="connsiteX352" fmla="*/ 3065340 w 12192000"/>
              <a:gd name="connsiteY352" fmla="*/ 403825 h 6858000"/>
              <a:gd name="connsiteX353" fmla="*/ 3075588 w 12192000"/>
              <a:gd name="connsiteY353" fmla="*/ 377041 h 6858000"/>
              <a:gd name="connsiteX354" fmla="*/ 3075588 w 12192000"/>
              <a:gd name="connsiteY354" fmla="*/ 361200 h 6858000"/>
              <a:gd name="connsiteX355" fmla="*/ 3065310 w 12192000"/>
              <a:gd name="connsiteY355" fmla="*/ 334446 h 6858000"/>
              <a:gd name="connsiteX356" fmla="*/ 3038647 w 12192000"/>
              <a:gd name="connsiteY356" fmla="*/ 323835 h 6858000"/>
              <a:gd name="connsiteX357" fmla="*/ 1980404 w 12192000"/>
              <a:gd name="connsiteY357" fmla="*/ 323835 h 6858000"/>
              <a:gd name="connsiteX358" fmla="*/ 1955101 w 12192000"/>
              <a:gd name="connsiteY358" fmla="*/ 333901 h 6858000"/>
              <a:gd name="connsiteX359" fmla="*/ 1945276 w 12192000"/>
              <a:gd name="connsiteY359" fmla="*/ 359930 h 6858000"/>
              <a:gd name="connsiteX360" fmla="*/ 1945276 w 12192000"/>
              <a:gd name="connsiteY360" fmla="*/ 378310 h 6858000"/>
              <a:gd name="connsiteX361" fmla="*/ 1955494 w 12192000"/>
              <a:gd name="connsiteY361" fmla="*/ 404369 h 6858000"/>
              <a:gd name="connsiteX362" fmla="*/ 1981855 w 12192000"/>
              <a:gd name="connsiteY362" fmla="*/ 414406 h 6858000"/>
              <a:gd name="connsiteX363" fmla="*/ 2002865 w 12192000"/>
              <a:gd name="connsiteY363" fmla="*/ 410355 h 6858000"/>
              <a:gd name="connsiteX364" fmla="*/ 2015109 w 12192000"/>
              <a:gd name="connsiteY364" fmla="*/ 401104 h 6858000"/>
              <a:gd name="connsiteX365" fmla="*/ 2015109 w 12192000"/>
              <a:gd name="connsiteY365" fmla="*/ 367911 h 6858000"/>
              <a:gd name="connsiteX366" fmla="*/ 1981855 w 12192000"/>
              <a:gd name="connsiteY366" fmla="*/ 367911 h 6858000"/>
              <a:gd name="connsiteX367" fmla="*/ 1981855 w 12192000"/>
              <a:gd name="connsiteY367" fmla="*/ 380124 h 6858000"/>
              <a:gd name="connsiteX368" fmla="*/ 1997454 w 12192000"/>
              <a:gd name="connsiteY368" fmla="*/ 380124 h 6858000"/>
              <a:gd name="connsiteX369" fmla="*/ 1997454 w 12192000"/>
              <a:gd name="connsiteY369" fmla="*/ 396401 h 6858000"/>
              <a:gd name="connsiteX370" fmla="*/ 1991771 w 12192000"/>
              <a:gd name="connsiteY370" fmla="*/ 399536 h 6858000"/>
              <a:gd name="connsiteX371" fmla="*/ 1981855 w 12192000"/>
              <a:gd name="connsiteY371" fmla="*/ 400802 h 6858000"/>
              <a:gd name="connsiteX372" fmla="*/ 1968009 w 12192000"/>
              <a:gd name="connsiteY372" fmla="*/ 394550 h 6858000"/>
              <a:gd name="connsiteX373" fmla="*/ 1962870 w 12192000"/>
              <a:gd name="connsiteY373" fmla="*/ 378272 h 6858000"/>
              <a:gd name="connsiteX374" fmla="*/ 1962870 w 12192000"/>
              <a:gd name="connsiteY374" fmla="*/ 359787 h 6858000"/>
              <a:gd name="connsiteX375" fmla="*/ 1967828 w 12192000"/>
              <a:gd name="connsiteY375" fmla="*/ 343690 h 6858000"/>
              <a:gd name="connsiteX376" fmla="*/ 1980888 w 12192000"/>
              <a:gd name="connsiteY376" fmla="*/ 337438 h 6858000"/>
              <a:gd name="connsiteX377" fmla="*/ 1992557 w 12192000"/>
              <a:gd name="connsiteY377" fmla="*/ 341520 h 6858000"/>
              <a:gd name="connsiteX378" fmla="*/ 1997031 w 12192000"/>
              <a:gd name="connsiteY378" fmla="*/ 352614 h 6858000"/>
              <a:gd name="connsiteX379" fmla="*/ 2013658 w 12192000"/>
              <a:gd name="connsiteY379" fmla="*/ 352614 h 6858000"/>
              <a:gd name="connsiteX380" fmla="*/ 2013779 w 12192000"/>
              <a:gd name="connsiteY380" fmla="*/ 352251 h 6858000"/>
              <a:gd name="connsiteX381" fmla="*/ 2005042 w 12192000"/>
              <a:gd name="connsiteY381" fmla="*/ 331664 h 6858000"/>
              <a:gd name="connsiteX382" fmla="*/ 1980404 w 12192000"/>
              <a:gd name="connsiteY382" fmla="*/ 323835 h 6858000"/>
              <a:gd name="connsiteX383" fmla="*/ 991473 w 12192000"/>
              <a:gd name="connsiteY383" fmla="*/ 215901 h 6858000"/>
              <a:gd name="connsiteX384" fmla="*/ 1144744 w 12192000"/>
              <a:gd name="connsiteY384" fmla="*/ 369173 h 6858000"/>
              <a:gd name="connsiteX385" fmla="*/ 991473 w 12192000"/>
              <a:gd name="connsiteY385" fmla="*/ 522444 h 6858000"/>
              <a:gd name="connsiteX386" fmla="*/ 914837 w 12192000"/>
              <a:gd name="connsiteY386" fmla="*/ 501431 h 6858000"/>
              <a:gd name="connsiteX387" fmla="*/ 945738 w 12192000"/>
              <a:gd name="connsiteY387" fmla="*/ 497723 h 6858000"/>
              <a:gd name="connsiteX388" fmla="*/ 975404 w 12192000"/>
              <a:gd name="connsiteY388" fmla="*/ 487834 h 6858000"/>
              <a:gd name="connsiteX389" fmla="*/ 1011250 w 12192000"/>
              <a:gd name="connsiteY389" fmla="*/ 463113 h 6858000"/>
              <a:gd name="connsiteX390" fmla="*/ 1037207 w 12192000"/>
              <a:gd name="connsiteY390" fmla="*/ 439628 h 6858000"/>
              <a:gd name="connsiteX391" fmla="*/ 1068108 w 12192000"/>
              <a:gd name="connsiteY391" fmla="*/ 422323 h 6858000"/>
              <a:gd name="connsiteX392" fmla="*/ 1080469 w 12192000"/>
              <a:gd name="connsiteY392" fmla="*/ 419851 h 6858000"/>
              <a:gd name="connsiteX393" fmla="*/ 1102718 w 12192000"/>
              <a:gd name="connsiteY393" fmla="*/ 414907 h 6858000"/>
              <a:gd name="connsiteX394" fmla="*/ 1120023 w 12192000"/>
              <a:gd name="connsiteY394" fmla="*/ 409963 h 6858000"/>
              <a:gd name="connsiteX395" fmla="*/ 1122495 w 12192000"/>
              <a:gd name="connsiteY395" fmla="*/ 408727 h 6858000"/>
              <a:gd name="connsiteX396" fmla="*/ 1118787 w 12192000"/>
              <a:gd name="connsiteY396" fmla="*/ 407491 h 6858000"/>
              <a:gd name="connsiteX397" fmla="*/ 1096538 w 12192000"/>
              <a:gd name="connsiteY397" fmla="*/ 400074 h 6858000"/>
              <a:gd name="connsiteX398" fmla="*/ 1081705 w 12192000"/>
              <a:gd name="connsiteY398" fmla="*/ 400074 h 6858000"/>
              <a:gd name="connsiteX399" fmla="*/ 1063164 w 12192000"/>
              <a:gd name="connsiteY399" fmla="*/ 409963 h 6858000"/>
              <a:gd name="connsiteX400" fmla="*/ 1032263 w 12192000"/>
              <a:gd name="connsiteY400" fmla="*/ 428504 h 6858000"/>
              <a:gd name="connsiteX401" fmla="*/ 1007541 w 12192000"/>
              <a:gd name="connsiteY401" fmla="*/ 434684 h 6858000"/>
              <a:gd name="connsiteX402" fmla="*/ 1000125 w 12192000"/>
              <a:gd name="connsiteY402" fmla="*/ 434684 h 6858000"/>
              <a:gd name="connsiteX403" fmla="*/ 1019902 w 12192000"/>
              <a:gd name="connsiteY403" fmla="*/ 418615 h 6858000"/>
              <a:gd name="connsiteX404" fmla="*/ 1033499 w 12192000"/>
              <a:gd name="connsiteY404" fmla="*/ 402546 h 6858000"/>
              <a:gd name="connsiteX405" fmla="*/ 1056984 w 12192000"/>
              <a:gd name="connsiteY405" fmla="*/ 385241 h 6858000"/>
              <a:gd name="connsiteX406" fmla="*/ 1076761 w 12192000"/>
              <a:gd name="connsiteY406" fmla="*/ 374117 h 6858000"/>
              <a:gd name="connsiteX407" fmla="*/ 1089121 w 12192000"/>
              <a:gd name="connsiteY407" fmla="*/ 369173 h 6858000"/>
              <a:gd name="connsiteX408" fmla="*/ 1097774 w 12192000"/>
              <a:gd name="connsiteY408" fmla="*/ 367937 h 6858000"/>
              <a:gd name="connsiteX409" fmla="*/ 1121259 w 12192000"/>
              <a:gd name="connsiteY409" fmla="*/ 359284 h 6858000"/>
              <a:gd name="connsiteX410" fmla="*/ 1131147 w 12192000"/>
              <a:gd name="connsiteY410" fmla="*/ 356812 h 6858000"/>
              <a:gd name="connsiteX411" fmla="*/ 1132384 w 12192000"/>
              <a:gd name="connsiteY411" fmla="*/ 354340 h 6858000"/>
              <a:gd name="connsiteX412" fmla="*/ 1131147 w 12192000"/>
              <a:gd name="connsiteY412" fmla="*/ 354340 h 6858000"/>
              <a:gd name="connsiteX413" fmla="*/ 1105190 w 12192000"/>
              <a:gd name="connsiteY413" fmla="*/ 348160 h 6858000"/>
              <a:gd name="connsiteX414" fmla="*/ 1084177 w 12192000"/>
              <a:gd name="connsiteY414" fmla="*/ 350632 h 6858000"/>
              <a:gd name="connsiteX415" fmla="*/ 1065636 w 12192000"/>
              <a:gd name="connsiteY415" fmla="*/ 364228 h 6858000"/>
              <a:gd name="connsiteX416" fmla="*/ 1059456 w 12192000"/>
              <a:gd name="connsiteY416" fmla="*/ 367937 h 6858000"/>
              <a:gd name="connsiteX417" fmla="*/ 1034735 w 12192000"/>
              <a:gd name="connsiteY417" fmla="*/ 380297 h 6858000"/>
              <a:gd name="connsiteX418" fmla="*/ 1008777 w 12192000"/>
              <a:gd name="connsiteY418" fmla="*/ 384005 h 6858000"/>
              <a:gd name="connsiteX419" fmla="*/ 1001361 w 12192000"/>
              <a:gd name="connsiteY419" fmla="*/ 380297 h 6858000"/>
              <a:gd name="connsiteX420" fmla="*/ 997653 w 12192000"/>
              <a:gd name="connsiteY420" fmla="*/ 369173 h 6858000"/>
              <a:gd name="connsiteX421" fmla="*/ 996417 w 12192000"/>
              <a:gd name="connsiteY421" fmla="*/ 361756 h 6858000"/>
              <a:gd name="connsiteX422" fmla="*/ 997653 w 12192000"/>
              <a:gd name="connsiteY422" fmla="*/ 339507 h 6858000"/>
              <a:gd name="connsiteX423" fmla="*/ 1000125 w 12192000"/>
              <a:gd name="connsiteY423" fmla="*/ 319730 h 6858000"/>
              <a:gd name="connsiteX424" fmla="*/ 972932 w 12192000"/>
              <a:gd name="connsiteY424" fmla="*/ 292537 h 6858000"/>
              <a:gd name="connsiteX425" fmla="*/ 927197 w 12192000"/>
              <a:gd name="connsiteY425" fmla="*/ 239386 h 6858000"/>
              <a:gd name="connsiteX426" fmla="*/ 928434 w 12192000"/>
              <a:gd name="connsiteY426" fmla="*/ 235678 h 6858000"/>
              <a:gd name="connsiteX427" fmla="*/ 924725 w 12192000"/>
              <a:gd name="connsiteY427" fmla="*/ 238150 h 6858000"/>
              <a:gd name="connsiteX428" fmla="*/ 917309 w 12192000"/>
              <a:gd name="connsiteY428" fmla="*/ 273996 h 6858000"/>
              <a:gd name="connsiteX429" fmla="*/ 934614 w 12192000"/>
              <a:gd name="connsiteY429" fmla="*/ 308606 h 6858000"/>
              <a:gd name="connsiteX430" fmla="*/ 948211 w 12192000"/>
              <a:gd name="connsiteY430" fmla="*/ 327147 h 6858000"/>
              <a:gd name="connsiteX431" fmla="*/ 950683 w 12192000"/>
              <a:gd name="connsiteY431" fmla="*/ 344451 h 6858000"/>
              <a:gd name="connsiteX432" fmla="*/ 937086 w 12192000"/>
              <a:gd name="connsiteY432" fmla="*/ 334563 h 6858000"/>
              <a:gd name="connsiteX433" fmla="*/ 923489 w 12192000"/>
              <a:gd name="connsiteY433" fmla="*/ 324674 h 6858000"/>
              <a:gd name="connsiteX434" fmla="*/ 895060 w 12192000"/>
              <a:gd name="connsiteY434" fmla="*/ 299953 h 6858000"/>
              <a:gd name="connsiteX435" fmla="*/ 893824 w 12192000"/>
              <a:gd name="connsiteY435" fmla="*/ 299953 h 6858000"/>
              <a:gd name="connsiteX436" fmla="*/ 891352 w 12192000"/>
              <a:gd name="connsiteY436" fmla="*/ 303661 h 6858000"/>
              <a:gd name="connsiteX437" fmla="*/ 896296 w 12192000"/>
              <a:gd name="connsiteY437" fmla="*/ 349396 h 6858000"/>
              <a:gd name="connsiteX438" fmla="*/ 913601 w 12192000"/>
              <a:gd name="connsiteY438" fmla="*/ 370409 h 6858000"/>
              <a:gd name="connsiteX439" fmla="*/ 927197 w 12192000"/>
              <a:gd name="connsiteY439" fmla="*/ 382769 h 6858000"/>
              <a:gd name="connsiteX440" fmla="*/ 937086 w 12192000"/>
              <a:gd name="connsiteY440" fmla="*/ 396366 h 6858000"/>
              <a:gd name="connsiteX441" fmla="*/ 933378 w 12192000"/>
              <a:gd name="connsiteY441" fmla="*/ 413671 h 6858000"/>
              <a:gd name="connsiteX442" fmla="*/ 924725 w 12192000"/>
              <a:gd name="connsiteY442" fmla="*/ 426031 h 6858000"/>
              <a:gd name="connsiteX443" fmla="*/ 904948 w 12192000"/>
              <a:gd name="connsiteY443" fmla="*/ 427267 h 6858000"/>
              <a:gd name="connsiteX444" fmla="*/ 895060 w 12192000"/>
              <a:gd name="connsiteY444" fmla="*/ 435920 h 6858000"/>
              <a:gd name="connsiteX445" fmla="*/ 891352 w 12192000"/>
              <a:gd name="connsiteY445" fmla="*/ 450753 h 6858000"/>
              <a:gd name="connsiteX446" fmla="*/ 896296 w 12192000"/>
              <a:gd name="connsiteY446" fmla="*/ 465585 h 6858000"/>
              <a:gd name="connsiteX447" fmla="*/ 900004 w 12192000"/>
              <a:gd name="connsiteY447" fmla="*/ 468058 h 6858000"/>
              <a:gd name="connsiteX448" fmla="*/ 908657 w 12192000"/>
              <a:gd name="connsiteY448" fmla="*/ 464349 h 6858000"/>
              <a:gd name="connsiteX449" fmla="*/ 942030 w 12192000"/>
              <a:gd name="connsiteY449" fmla="*/ 445808 h 6858000"/>
              <a:gd name="connsiteX450" fmla="*/ 924725 w 12192000"/>
              <a:gd name="connsiteY450" fmla="*/ 461877 h 6858000"/>
              <a:gd name="connsiteX451" fmla="*/ 886407 w 12192000"/>
              <a:gd name="connsiteY451" fmla="*/ 476710 h 6858000"/>
              <a:gd name="connsiteX452" fmla="*/ 880227 w 12192000"/>
              <a:gd name="connsiteY452" fmla="*/ 474238 h 6858000"/>
              <a:gd name="connsiteX453" fmla="*/ 838201 w 12192000"/>
              <a:gd name="connsiteY453" fmla="*/ 369173 h 6858000"/>
              <a:gd name="connsiteX454" fmla="*/ 991473 w 12192000"/>
              <a:gd name="connsiteY454" fmla="*/ 215901 h 6858000"/>
              <a:gd name="connsiteX455" fmla="*/ 991473 w 12192000"/>
              <a:gd name="connsiteY455" fmla="*/ 193652 h 6858000"/>
              <a:gd name="connsiteX456" fmla="*/ 815952 w 12192000"/>
              <a:gd name="connsiteY456" fmla="*/ 369173 h 6858000"/>
              <a:gd name="connsiteX457" fmla="*/ 991473 w 12192000"/>
              <a:gd name="connsiteY457" fmla="*/ 543457 h 6858000"/>
              <a:gd name="connsiteX458" fmla="*/ 1165757 w 12192000"/>
              <a:gd name="connsiteY458" fmla="*/ 369173 h 6858000"/>
              <a:gd name="connsiteX459" fmla="*/ 991473 w 12192000"/>
              <a:gd name="connsiteY459" fmla="*/ 193652 h 6858000"/>
              <a:gd name="connsiteX460" fmla="*/ 0 w 12192000"/>
              <a:gd name="connsiteY460" fmla="*/ 0 h 6858000"/>
              <a:gd name="connsiteX461" fmla="*/ 12192000 w 12192000"/>
              <a:gd name="connsiteY461" fmla="*/ 0 h 6858000"/>
              <a:gd name="connsiteX462" fmla="*/ 12192000 w 12192000"/>
              <a:gd name="connsiteY462" fmla="*/ 3631721 h 6858000"/>
              <a:gd name="connsiteX463" fmla="*/ 12192000 w 12192000"/>
              <a:gd name="connsiteY463" fmla="*/ 5651114 h 6858000"/>
              <a:gd name="connsiteX464" fmla="*/ 12192000 w 12192000"/>
              <a:gd name="connsiteY464" fmla="*/ 5717788 h 6858000"/>
              <a:gd name="connsiteX465" fmla="*/ 12192000 w 12192000"/>
              <a:gd name="connsiteY465" fmla="*/ 6354487 h 6858000"/>
              <a:gd name="connsiteX466" fmla="*/ 12192000 w 12192000"/>
              <a:gd name="connsiteY466" fmla="*/ 6419420 h 6858000"/>
              <a:gd name="connsiteX467" fmla="*/ 12192000 w 12192000"/>
              <a:gd name="connsiteY467" fmla="*/ 6857999 h 6858000"/>
              <a:gd name="connsiteX468" fmla="*/ 12192000 w 12192000"/>
              <a:gd name="connsiteY468" fmla="*/ 6858000 h 6858000"/>
              <a:gd name="connsiteX469" fmla="*/ 11898071 w 12192000"/>
              <a:gd name="connsiteY469" fmla="*/ 6858000 h 6858000"/>
              <a:gd name="connsiteX470" fmla="*/ 11898072 w 12192000"/>
              <a:gd name="connsiteY470" fmla="*/ 6857999 h 6858000"/>
              <a:gd name="connsiteX471" fmla="*/ 11854047 w 12192000"/>
              <a:gd name="connsiteY471" fmla="*/ 6857999 h 6858000"/>
              <a:gd name="connsiteX472" fmla="*/ 11854046 w 12192000"/>
              <a:gd name="connsiteY472" fmla="*/ 6858000 h 6858000"/>
              <a:gd name="connsiteX473" fmla="*/ 11343792 w 12192000"/>
              <a:gd name="connsiteY473" fmla="*/ 6858000 h 6858000"/>
              <a:gd name="connsiteX474" fmla="*/ 11343793 w 12192000"/>
              <a:gd name="connsiteY474" fmla="*/ 6857999 h 6858000"/>
              <a:gd name="connsiteX475" fmla="*/ 11299647 w 12192000"/>
              <a:gd name="connsiteY475" fmla="*/ 6857999 h 6858000"/>
              <a:gd name="connsiteX476" fmla="*/ 11299646 w 12192000"/>
              <a:gd name="connsiteY476" fmla="*/ 6858000 h 6858000"/>
              <a:gd name="connsiteX477" fmla="*/ 10921262 w 12192000"/>
              <a:gd name="connsiteY477" fmla="*/ 6858000 h 6858000"/>
              <a:gd name="connsiteX478" fmla="*/ 10921263 w 12192000"/>
              <a:gd name="connsiteY478" fmla="*/ 6857999 h 6858000"/>
              <a:gd name="connsiteX479" fmla="*/ 10877189 w 12192000"/>
              <a:gd name="connsiteY479" fmla="*/ 6857999 h 6858000"/>
              <a:gd name="connsiteX480" fmla="*/ 10877188 w 12192000"/>
              <a:gd name="connsiteY480" fmla="*/ 6858000 h 6858000"/>
              <a:gd name="connsiteX481" fmla="*/ 0 w 12192000"/>
              <a:gd name="connsiteY481" fmla="*/ 6858000 h 6858000"/>
              <a:gd name="connsiteX482" fmla="*/ 0 w 12192000"/>
              <a:gd name="connsiteY482" fmla="*/ 6857999 h 6858000"/>
              <a:gd name="connsiteX483" fmla="*/ 248387 w 12192000"/>
              <a:gd name="connsiteY483" fmla="*/ 6857999 h 6858000"/>
              <a:gd name="connsiteX484" fmla="*/ 1711356 w 12192000"/>
              <a:gd name="connsiteY484" fmla="*/ 6857999 h 6858000"/>
              <a:gd name="connsiteX485" fmla="*/ 1978056 w 12192000"/>
              <a:gd name="connsiteY485" fmla="*/ 6857999 h 6858000"/>
              <a:gd name="connsiteX486" fmla="*/ 3938547 w 12192000"/>
              <a:gd name="connsiteY486" fmla="*/ 6857999 h 6858000"/>
              <a:gd name="connsiteX487" fmla="*/ 4205247 w 12192000"/>
              <a:gd name="connsiteY487" fmla="*/ 6857999 h 6858000"/>
              <a:gd name="connsiteX488" fmla="*/ 4229178 w 12192000"/>
              <a:gd name="connsiteY488" fmla="*/ 6857999 h 6858000"/>
              <a:gd name="connsiteX489" fmla="*/ 4495877 w 12192000"/>
              <a:gd name="connsiteY489" fmla="*/ 6857999 h 6858000"/>
              <a:gd name="connsiteX490" fmla="*/ 4504541 w 12192000"/>
              <a:gd name="connsiteY490" fmla="*/ 6811113 h 6858000"/>
              <a:gd name="connsiteX491" fmla="*/ 4504247 w 12192000"/>
              <a:gd name="connsiteY491" fmla="*/ 6811058 h 6858000"/>
              <a:gd name="connsiteX492" fmla="*/ 5036047 w 12192000"/>
              <a:gd name="connsiteY492" fmla="*/ 3790076 h 6858000"/>
              <a:gd name="connsiteX493" fmla="*/ 4986095 w 12192000"/>
              <a:gd name="connsiteY493" fmla="*/ 3740125 h 6858000"/>
              <a:gd name="connsiteX494" fmla="*/ 4719395 w 12192000"/>
              <a:gd name="connsiteY494" fmla="*/ 3740125 h 6858000"/>
              <a:gd name="connsiteX495" fmla="*/ 248387 w 12192000"/>
              <a:gd name="connsiteY495" fmla="*/ 3740125 h 6858000"/>
              <a:gd name="connsiteX496" fmla="*/ 0 w 12192000"/>
              <a:gd name="connsiteY496" fmla="*/ 374012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Lst>
            <a:rect l="l" t="t" r="r" b="b"/>
            <a:pathLst>
              <a:path w="12192000" h="6858000">
                <a:moveTo>
                  <a:pt x="2719933" y="363014"/>
                </a:moveTo>
                <a:lnTo>
                  <a:pt x="2719933" y="376799"/>
                </a:lnTo>
                <a:lnTo>
                  <a:pt x="2785484" y="376799"/>
                </a:lnTo>
                <a:lnTo>
                  <a:pt x="2785484" y="363014"/>
                </a:lnTo>
                <a:close/>
                <a:moveTo>
                  <a:pt x="4027010" y="345722"/>
                </a:moveTo>
                <a:lnTo>
                  <a:pt x="4027372" y="345722"/>
                </a:lnTo>
                <a:lnTo>
                  <a:pt x="4038255" y="380306"/>
                </a:lnTo>
                <a:lnTo>
                  <a:pt x="4016066" y="380306"/>
                </a:lnTo>
                <a:close/>
                <a:moveTo>
                  <a:pt x="2464909" y="345722"/>
                </a:moveTo>
                <a:lnTo>
                  <a:pt x="2465272" y="345722"/>
                </a:lnTo>
                <a:lnTo>
                  <a:pt x="2476155" y="380306"/>
                </a:lnTo>
                <a:lnTo>
                  <a:pt x="2453966" y="380306"/>
                </a:lnTo>
                <a:close/>
                <a:moveTo>
                  <a:pt x="2179159" y="345722"/>
                </a:moveTo>
                <a:lnTo>
                  <a:pt x="2179522" y="345722"/>
                </a:lnTo>
                <a:lnTo>
                  <a:pt x="2190405" y="380306"/>
                </a:lnTo>
                <a:lnTo>
                  <a:pt x="2168216" y="380306"/>
                </a:lnTo>
                <a:close/>
                <a:moveTo>
                  <a:pt x="4213068" y="338708"/>
                </a:moveTo>
                <a:lnTo>
                  <a:pt x="4224737" y="338708"/>
                </a:lnTo>
                <a:cubicBezTo>
                  <a:pt x="4231065" y="338708"/>
                  <a:pt x="4236023" y="340842"/>
                  <a:pt x="4239610" y="345111"/>
                </a:cubicBezTo>
                <a:cubicBezTo>
                  <a:pt x="4243198" y="349379"/>
                  <a:pt x="4244992" y="354916"/>
                  <a:pt x="4244992" y="361721"/>
                </a:cubicBezTo>
                <a:lnTo>
                  <a:pt x="4244992" y="376398"/>
                </a:lnTo>
                <a:cubicBezTo>
                  <a:pt x="4244992" y="383284"/>
                  <a:pt x="4243198" y="388861"/>
                  <a:pt x="4239610" y="393129"/>
                </a:cubicBezTo>
                <a:cubicBezTo>
                  <a:pt x="4236023" y="397398"/>
                  <a:pt x="4231065" y="399532"/>
                  <a:pt x="4224737" y="399532"/>
                </a:cubicBezTo>
                <a:lnTo>
                  <a:pt x="4213068" y="399532"/>
                </a:lnTo>
                <a:close/>
                <a:moveTo>
                  <a:pt x="4108293" y="338708"/>
                </a:moveTo>
                <a:lnTo>
                  <a:pt x="4123832" y="338708"/>
                </a:lnTo>
                <a:cubicBezTo>
                  <a:pt x="4128588" y="338708"/>
                  <a:pt x="4132185" y="339897"/>
                  <a:pt x="4134624" y="342275"/>
                </a:cubicBezTo>
                <a:cubicBezTo>
                  <a:pt x="4137062" y="344654"/>
                  <a:pt x="4138282" y="347858"/>
                  <a:pt x="4138282" y="351889"/>
                </a:cubicBezTo>
                <a:cubicBezTo>
                  <a:pt x="4138282" y="356000"/>
                  <a:pt x="4137062" y="359104"/>
                  <a:pt x="4134624" y="361200"/>
                </a:cubicBezTo>
                <a:cubicBezTo>
                  <a:pt x="4132185" y="363296"/>
                  <a:pt x="4128487" y="364344"/>
                  <a:pt x="4123529" y="364344"/>
                </a:cubicBezTo>
                <a:lnTo>
                  <a:pt x="4108293" y="364344"/>
                </a:lnTo>
                <a:close/>
                <a:moveTo>
                  <a:pt x="3774918" y="338708"/>
                </a:moveTo>
                <a:lnTo>
                  <a:pt x="3790457" y="338708"/>
                </a:lnTo>
                <a:cubicBezTo>
                  <a:pt x="3795213" y="338708"/>
                  <a:pt x="3798810" y="339897"/>
                  <a:pt x="3801249" y="342275"/>
                </a:cubicBezTo>
                <a:cubicBezTo>
                  <a:pt x="3803687" y="344654"/>
                  <a:pt x="3804907" y="347858"/>
                  <a:pt x="3804907" y="351889"/>
                </a:cubicBezTo>
                <a:cubicBezTo>
                  <a:pt x="3804907" y="356000"/>
                  <a:pt x="3803687" y="359104"/>
                  <a:pt x="3801249" y="361200"/>
                </a:cubicBezTo>
                <a:cubicBezTo>
                  <a:pt x="3798810" y="363296"/>
                  <a:pt x="3795112" y="364344"/>
                  <a:pt x="3790154" y="364344"/>
                </a:cubicBezTo>
                <a:lnTo>
                  <a:pt x="3774918" y="364344"/>
                </a:lnTo>
                <a:close/>
                <a:moveTo>
                  <a:pt x="2546193" y="338708"/>
                </a:moveTo>
                <a:lnTo>
                  <a:pt x="2557862" y="338708"/>
                </a:lnTo>
                <a:cubicBezTo>
                  <a:pt x="2564190" y="338708"/>
                  <a:pt x="2569148" y="340842"/>
                  <a:pt x="2572735" y="345111"/>
                </a:cubicBezTo>
                <a:cubicBezTo>
                  <a:pt x="2576323" y="349379"/>
                  <a:pt x="2578116" y="354916"/>
                  <a:pt x="2578116" y="361721"/>
                </a:cubicBezTo>
                <a:lnTo>
                  <a:pt x="2578116" y="376398"/>
                </a:lnTo>
                <a:cubicBezTo>
                  <a:pt x="2578116" y="383284"/>
                  <a:pt x="2576323" y="388861"/>
                  <a:pt x="2572735" y="393129"/>
                </a:cubicBezTo>
                <a:cubicBezTo>
                  <a:pt x="2569148" y="397398"/>
                  <a:pt x="2564190" y="399532"/>
                  <a:pt x="2557862" y="399532"/>
                </a:cubicBezTo>
                <a:lnTo>
                  <a:pt x="2546193" y="399532"/>
                </a:lnTo>
                <a:close/>
                <a:moveTo>
                  <a:pt x="3686347" y="337620"/>
                </a:moveTo>
                <a:cubicBezTo>
                  <a:pt x="3692352" y="337620"/>
                  <a:pt x="3697068" y="339821"/>
                  <a:pt x="3700495" y="344223"/>
                </a:cubicBezTo>
                <a:cubicBezTo>
                  <a:pt x="3703921" y="348625"/>
                  <a:pt x="3705634" y="354259"/>
                  <a:pt x="3705634" y="361124"/>
                </a:cubicBezTo>
                <a:lnTo>
                  <a:pt x="3705634" y="377116"/>
                </a:lnTo>
                <a:cubicBezTo>
                  <a:pt x="3705634" y="384103"/>
                  <a:pt x="3703941" y="389797"/>
                  <a:pt x="3700555" y="394199"/>
                </a:cubicBezTo>
                <a:cubicBezTo>
                  <a:pt x="3697169" y="398601"/>
                  <a:pt x="3692453" y="400802"/>
                  <a:pt x="3686407" y="400802"/>
                </a:cubicBezTo>
                <a:cubicBezTo>
                  <a:pt x="3680441" y="400802"/>
                  <a:pt x="3675786" y="398601"/>
                  <a:pt x="3672440" y="394199"/>
                </a:cubicBezTo>
                <a:cubicBezTo>
                  <a:pt x="3669095" y="389797"/>
                  <a:pt x="3667422" y="384103"/>
                  <a:pt x="3667422" y="377116"/>
                </a:cubicBezTo>
                <a:lnTo>
                  <a:pt x="3667422" y="361124"/>
                </a:lnTo>
                <a:cubicBezTo>
                  <a:pt x="3667422" y="354218"/>
                  <a:pt x="3669074" y="348575"/>
                  <a:pt x="3672380" y="344193"/>
                </a:cubicBezTo>
                <a:cubicBezTo>
                  <a:pt x="3675685" y="339811"/>
                  <a:pt x="3680341" y="337620"/>
                  <a:pt x="3686347" y="337620"/>
                </a:cubicBezTo>
                <a:close/>
                <a:moveTo>
                  <a:pt x="3038647" y="337620"/>
                </a:moveTo>
                <a:cubicBezTo>
                  <a:pt x="3044652" y="337620"/>
                  <a:pt x="3049368" y="339821"/>
                  <a:pt x="3052794" y="344223"/>
                </a:cubicBezTo>
                <a:cubicBezTo>
                  <a:pt x="3056221" y="348625"/>
                  <a:pt x="3057934" y="354259"/>
                  <a:pt x="3057934" y="361124"/>
                </a:cubicBezTo>
                <a:lnTo>
                  <a:pt x="3057934" y="377116"/>
                </a:lnTo>
                <a:cubicBezTo>
                  <a:pt x="3057934" y="384103"/>
                  <a:pt x="3056241" y="389797"/>
                  <a:pt x="3052855" y="394199"/>
                </a:cubicBezTo>
                <a:cubicBezTo>
                  <a:pt x="3049469" y="398601"/>
                  <a:pt x="3044753" y="400802"/>
                  <a:pt x="3038707" y="400802"/>
                </a:cubicBezTo>
                <a:cubicBezTo>
                  <a:pt x="3032741" y="400802"/>
                  <a:pt x="3028086" y="398601"/>
                  <a:pt x="3024740" y="394199"/>
                </a:cubicBezTo>
                <a:cubicBezTo>
                  <a:pt x="3021395" y="389797"/>
                  <a:pt x="3019722" y="384103"/>
                  <a:pt x="3019722" y="377116"/>
                </a:cubicBezTo>
                <a:lnTo>
                  <a:pt x="3019722" y="361124"/>
                </a:lnTo>
                <a:cubicBezTo>
                  <a:pt x="3019722" y="354218"/>
                  <a:pt x="3021375" y="348575"/>
                  <a:pt x="3024680" y="344193"/>
                </a:cubicBezTo>
                <a:cubicBezTo>
                  <a:pt x="3027985" y="339811"/>
                  <a:pt x="3032641" y="337620"/>
                  <a:pt x="3038647" y="337620"/>
                </a:cubicBezTo>
                <a:close/>
                <a:moveTo>
                  <a:pt x="4195413" y="325104"/>
                </a:moveTo>
                <a:lnTo>
                  <a:pt x="4195413" y="413136"/>
                </a:lnTo>
                <a:lnTo>
                  <a:pt x="4225644" y="413136"/>
                </a:lnTo>
                <a:cubicBezTo>
                  <a:pt x="4236406" y="413136"/>
                  <a:pt x="4245273" y="409720"/>
                  <a:pt x="4252247" y="402888"/>
                </a:cubicBezTo>
                <a:cubicBezTo>
                  <a:pt x="4259220" y="396056"/>
                  <a:pt x="4262707" y="387239"/>
                  <a:pt x="4262707" y="376436"/>
                </a:cubicBezTo>
                <a:lnTo>
                  <a:pt x="4262707" y="361865"/>
                </a:lnTo>
                <a:cubicBezTo>
                  <a:pt x="4262707" y="351103"/>
                  <a:pt x="4259220" y="342285"/>
                  <a:pt x="4252247" y="335413"/>
                </a:cubicBezTo>
                <a:cubicBezTo>
                  <a:pt x="4245273" y="328540"/>
                  <a:pt x="4236406" y="325104"/>
                  <a:pt x="4225644" y="325104"/>
                </a:cubicBezTo>
                <a:close/>
                <a:moveTo>
                  <a:pt x="4090638" y="325104"/>
                </a:moveTo>
                <a:lnTo>
                  <a:pt x="4090638" y="413136"/>
                </a:lnTo>
                <a:lnTo>
                  <a:pt x="4108293" y="413136"/>
                </a:lnTo>
                <a:lnTo>
                  <a:pt x="4108293" y="377948"/>
                </a:lnTo>
                <a:lnTo>
                  <a:pt x="4125101" y="377948"/>
                </a:lnTo>
                <a:cubicBezTo>
                  <a:pt x="4129454" y="377948"/>
                  <a:pt x="4132830" y="379167"/>
                  <a:pt x="4135228" y="381605"/>
                </a:cubicBezTo>
                <a:cubicBezTo>
                  <a:pt x="4137627" y="384044"/>
                  <a:pt x="4138826" y="387460"/>
                  <a:pt x="4138826" y="391854"/>
                </a:cubicBezTo>
                <a:lnTo>
                  <a:pt x="4138826" y="398081"/>
                </a:lnTo>
                <a:cubicBezTo>
                  <a:pt x="4138826" y="400782"/>
                  <a:pt x="4139068" y="403644"/>
                  <a:pt x="4139551" y="406667"/>
                </a:cubicBezTo>
                <a:cubicBezTo>
                  <a:pt x="4140035" y="409690"/>
                  <a:pt x="4141083" y="411846"/>
                  <a:pt x="4142695" y="413136"/>
                </a:cubicBezTo>
                <a:lnTo>
                  <a:pt x="4160894" y="413136"/>
                </a:lnTo>
                <a:lnTo>
                  <a:pt x="4160894" y="411866"/>
                </a:lnTo>
                <a:cubicBezTo>
                  <a:pt x="4159282" y="410577"/>
                  <a:pt x="4158143" y="408591"/>
                  <a:pt x="4157478" y="405911"/>
                </a:cubicBezTo>
                <a:cubicBezTo>
                  <a:pt x="4156813" y="403231"/>
                  <a:pt x="4156481" y="400661"/>
                  <a:pt x="4156481" y="398202"/>
                </a:cubicBezTo>
                <a:lnTo>
                  <a:pt x="4156481" y="391733"/>
                </a:lnTo>
                <a:cubicBezTo>
                  <a:pt x="4156481" y="386452"/>
                  <a:pt x="4155342" y="382019"/>
                  <a:pt x="4153065" y="378431"/>
                </a:cubicBezTo>
                <a:cubicBezTo>
                  <a:pt x="4150787" y="374844"/>
                  <a:pt x="4147049" y="372284"/>
                  <a:pt x="4141849" y="370753"/>
                </a:cubicBezTo>
                <a:cubicBezTo>
                  <a:pt x="4146444" y="368737"/>
                  <a:pt x="4149930" y="366097"/>
                  <a:pt x="4152309" y="362832"/>
                </a:cubicBezTo>
                <a:cubicBezTo>
                  <a:pt x="4154687" y="359567"/>
                  <a:pt x="4155876" y="355657"/>
                  <a:pt x="4155876" y="351103"/>
                </a:cubicBezTo>
                <a:cubicBezTo>
                  <a:pt x="4155876" y="342920"/>
                  <a:pt x="4153044" y="336542"/>
                  <a:pt x="4147381" y="331967"/>
                </a:cubicBezTo>
                <a:cubicBezTo>
                  <a:pt x="4141718" y="327392"/>
                  <a:pt x="4133868" y="325104"/>
                  <a:pt x="4123832" y="325104"/>
                </a:cubicBezTo>
                <a:close/>
                <a:moveTo>
                  <a:pt x="4018182" y="325104"/>
                </a:moveTo>
                <a:lnTo>
                  <a:pt x="3987891" y="413136"/>
                </a:lnTo>
                <a:lnTo>
                  <a:pt x="4005727" y="413136"/>
                </a:lnTo>
                <a:lnTo>
                  <a:pt x="4011713" y="394151"/>
                </a:lnTo>
                <a:lnTo>
                  <a:pt x="4042609" y="394151"/>
                </a:lnTo>
                <a:lnTo>
                  <a:pt x="4048594" y="413136"/>
                </a:lnTo>
                <a:lnTo>
                  <a:pt x="4066430" y="413136"/>
                </a:lnTo>
                <a:lnTo>
                  <a:pt x="4036260" y="325104"/>
                </a:lnTo>
                <a:close/>
                <a:moveTo>
                  <a:pt x="3855267" y="325104"/>
                </a:moveTo>
                <a:lnTo>
                  <a:pt x="3875884" y="413136"/>
                </a:lnTo>
                <a:lnTo>
                  <a:pt x="3892269" y="413136"/>
                </a:lnTo>
                <a:lnTo>
                  <a:pt x="3908412" y="355033"/>
                </a:lnTo>
                <a:lnTo>
                  <a:pt x="3908775" y="355033"/>
                </a:lnTo>
                <a:lnTo>
                  <a:pt x="3924918" y="413136"/>
                </a:lnTo>
                <a:lnTo>
                  <a:pt x="3941303" y="413136"/>
                </a:lnTo>
                <a:lnTo>
                  <a:pt x="3961860" y="325104"/>
                </a:lnTo>
                <a:lnTo>
                  <a:pt x="3944628" y="325104"/>
                </a:lnTo>
                <a:lnTo>
                  <a:pt x="3932053" y="385445"/>
                </a:lnTo>
                <a:lnTo>
                  <a:pt x="3931690" y="385445"/>
                </a:lnTo>
                <a:lnTo>
                  <a:pt x="3915063" y="325104"/>
                </a:lnTo>
                <a:lnTo>
                  <a:pt x="3902064" y="325104"/>
                </a:lnTo>
                <a:lnTo>
                  <a:pt x="3885557" y="385445"/>
                </a:lnTo>
                <a:lnTo>
                  <a:pt x="3885195" y="385384"/>
                </a:lnTo>
                <a:lnTo>
                  <a:pt x="3872558" y="325104"/>
                </a:lnTo>
                <a:close/>
                <a:moveTo>
                  <a:pt x="3757263" y="325104"/>
                </a:moveTo>
                <a:lnTo>
                  <a:pt x="3757263" y="413136"/>
                </a:lnTo>
                <a:lnTo>
                  <a:pt x="3774918" y="413136"/>
                </a:lnTo>
                <a:lnTo>
                  <a:pt x="3774918" y="377948"/>
                </a:lnTo>
                <a:lnTo>
                  <a:pt x="3791726" y="377948"/>
                </a:lnTo>
                <a:cubicBezTo>
                  <a:pt x="3796079" y="377948"/>
                  <a:pt x="3799455" y="379167"/>
                  <a:pt x="3801853" y="381605"/>
                </a:cubicBezTo>
                <a:cubicBezTo>
                  <a:pt x="3804252" y="384044"/>
                  <a:pt x="3805451" y="387460"/>
                  <a:pt x="3805451" y="391854"/>
                </a:cubicBezTo>
                <a:lnTo>
                  <a:pt x="3805451" y="398081"/>
                </a:lnTo>
                <a:cubicBezTo>
                  <a:pt x="3805451" y="400782"/>
                  <a:pt x="3805693" y="403644"/>
                  <a:pt x="3806176" y="406667"/>
                </a:cubicBezTo>
                <a:cubicBezTo>
                  <a:pt x="3806660" y="409690"/>
                  <a:pt x="3807708" y="411846"/>
                  <a:pt x="3809320" y="413136"/>
                </a:cubicBezTo>
                <a:lnTo>
                  <a:pt x="3827519" y="413136"/>
                </a:lnTo>
                <a:lnTo>
                  <a:pt x="3827519" y="411866"/>
                </a:lnTo>
                <a:cubicBezTo>
                  <a:pt x="3825907" y="410577"/>
                  <a:pt x="3824768" y="408591"/>
                  <a:pt x="3824103" y="405911"/>
                </a:cubicBezTo>
                <a:cubicBezTo>
                  <a:pt x="3823438" y="403231"/>
                  <a:pt x="3823106" y="400661"/>
                  <a:pt x="3823106" y="398202"/>
                </a:cubicBezTo>
                <a:lnTo>
                  <a:pt x="3823106" y="391733"/>
                </a:lnTo>
                <a:cubicBezTo>
                  <a:pt x="3823106" y="386452"/>
                  <a:pt x="3821967" y="382019"/>
                  <a:pt x="3819690" y="378431"/>
                </a:cubicBezTo>
                <a:cubicBezTo>
                  <a:pt x="3817412" y="374844"/>
                  <a:pt x="3813674" y="372284"/>
                  <a:pt x="3808474" y="370753"/>
                </a:cubicBezTo>
                <a:cubicBezTo>
                  <a:pt x="3813069" y="368737"/>
                  <a:pt x="3816556" y="366097"/>
                  <a:pt x="3818934" y="362832"/>
                </a:cubicBezTo>
                <a:cubicBezTo>
                  <a:pt x="3821312" y="359567"/>
                  <a:pt x="3822501" y="355657"/>
                  <a:pt x="3822501" y="351103"/>
                </a:cubicBezTo>
                <a:cubicBezTo>
                  <a:pt x="3822501" y="342920"/>
                  <a:pt x="3819670" y="336542"/>
                  <a:pt x="3814006" y="331967"/>
                </a:cubicBezTo>
                <a:cubicBezTo>
                  <a:pt x="3808343" y="327392"/>
                  <a:pt x="3800493" y="325104"/>
                  <a:pt x="3790457" y="325104"/>
                </a:cubicBezTo>
                <a:close/>
                <a:moveTo>
                  <a:pt x="3557238" y="325104"/>
                </a:moveTo>
                <a:lnTo>
                  <a:pt x="3557238" y="413136"/>
                </a:lnTo>
                <a:lnTo>
                  <a:pt x="3574893" y="413136"/>
                </a:lnTo>
                <a:lnTo>
                  <a:pt x="3574893" y="376557"/>
                </a:lnTo>
                <a:lnTo>
                  <a:pt x="3611774" y="376557"/>
                </a:lnTo>
                <a:lnTo>
                  <a:pt x="3611774" y="362953"/>
                </a:lnTo>
                <a:lnTo>
                  <a:pt x="3574893" y="362953"/>
                </a:lnTo>
                <a:lnTo>
                  <a:pt x="3574893" y="338708"/>
                </a:lnTo>
                <a:lnTo>
                  <a:pt x="3617941" y="338708"/>
                </a:lnTo>
                <a:lnTo>
                  <a:pt x="3617941" y="325104"/>
                </a:lnTo>
                <a:close/>
                <a:moveTo>
                  <a:pt x="3261963" y="325104"/>
                </a:moveTo>
                <a:lnTo>
                  <a:pt x="3261963" y="413136"/>
                </a:lnTo>
                <a:lnTo>
                  <a:pt x="3279618" y="413136"/>
                </a:lnTo>
                <a:lnTo>
                  <a:pt x="3279618" y="353037"/>
                </a:lnTo>
                <a:lnTo>
                  <a:pt x="3279981" y="352977"/>
                </a:lnTo>
                <a:lnTo>
                  <a:pt x="3315532" y="413136"/>
                </a:lnTo>
                <a:lnTo>
                  <a:pt x="3333126" y="413136"/>
                </a:lnTo>
                <a:lnTo>
                  <a:pt x="3333126" y="325104"/>
                </a:lnTo>
                <a:lnTo>
                  <a:pt x="3315532" y="325104"/>
                </a:lnTo>
                <a:lnTo>
                  <a:pt x="3315532" y="385142"/>
                </a:lnTo>
                <a:lnTo>
                  <a:pt x="3315169" y="385203"/>
                </a:lnTo>
                <a:lnTo>
                  <a:pt x="3279618" y="325104"/>
                </a:lnTo>
                <a:close/>
                <a:moveTo>
                  <a:pt x="3205901" y="325104"/>
                </a:moveTo>
                <a:lnTo>
                  <a:pt x="3205901" y="413136"/>
                </a:lnTo>
                <a:lnTo>
                  <a:pt x="3223556" y="413136"/>
                </a:lnTo>
                <a:lnTo>
                  <a:pt x="3223556" y="325104"/>
                </a:lnTo>
                <a:close/>
                <a:moveTo>
                  <a:pt x="3101764" y="325104"/>
                </a:moveTo>
                <a:lnTo>
                  <a:pt x="3131631" y="413136"/>
                </a:lnTo>
                <a:lnTo>
                  <a:pt x="3149770" y="413136"/>
                </a:lnTo>
                <a:lnTo>
                  <a:pt x="3179698" y="325104"/>
                </a:lnTo>
                <a:lnTo>
                  <a:pt x="3161076" y="325104"/>
                </a:lnTo>
                <a:lnTo>
                  <a:pt x="3141910" y="389859"/>
                </a:lnTo>
                <a:lnTo>
                  <a:pt x="3140882" y="394514"/>
                </a:lnTo>
                <a:lnTo>
                  <a:pt x="3140519" y="394514"/>
                </a:lnTo>
                <a:lnTo>
                  <a:pt x="3139431" y="389738"/>
                </a:lnTo>
                <a:lnTo>
                  <a:pt x="3120386" y="325104"/>
                </a:lnTo>
                <a:close/>
                <a:moveTo>
                  <a:pt x="2880963" y="325104"/>
                </a:moveTo>
                <a:lnTo>
                  <a:pt x="2880963" y="413136"/>
                </a:lnTo>
                <a:lnTo>
                  <a:pt x="2898618" y="413136"/>
                </a:lnTo>
                <a:lnTo>
                  <a:pt x="2898618" y="386896"/>
                </a:lnTo>
                <a:lnTo>
                  <a:pt x="2896925" y="348261"/>
                </a:lnTo>
                <a:lnTo>
                  <a:pt x="2897288" y="348201"/>
                </a:lnTo>
                <a:lnTo>
                  <a:pt x="2920747" y="413136"/>
                </a:lnTo>
                <a:lnTo>
                  <a:pt x="2932597" y="413136"/>
                </a:lnTo>
                <a:lnTo>
                  <a:pt x="2956177" y="347959"/>
                </a:lnTo>
                <a:lnTo>
                  <a:pt x="2956540" y="348019"/>
                </a:lnTo>
                <a:lnTo>
                  <a:pt x="2954847" y="386896"/>
                </a:lnTo>
                <a:lnTo>
                  <a:pt x="2954847" y="413136"/>
                </a:lnTo>
                <a:lnTo>
                  <a:pt x="2972502" y="413136"/>
                </a:lnTo>
                <a:lnTo>
                  <a:pt x="2972502" y="325104"/>
                </a:lnTo>
                <a:lnTo>
                  <a:pt x="2949405" y="325104"/>
                </a:lnTo>
                <a:lnTo>
                  <a:pt x="2926793" y="389979"/>
                </a:lnTo>
                <a:lnTo>
                  <a:pt x="2926430" y="389979"/>
                </a:lnTo>
                <a:lnTo>
                  <a:pt x="2903999" y="325104"/>
                </a:lnTo>
                <a:close/>
                <a:moveTo>
                  <a:pt x="2528538" y="325104"/>
                </a:moveTo>
                <a:lnTo>
                  <a:pt x="2528538" y="413136"/>
                </a:lnTo>
                <a:lnTo>
                  <a:pt x="2558769" y="413136"/>
                </a:lnTo>
                <a:cubicBezTo>
                  <a:pt x="2569531" y="413136"/>
                  <a:pt x="2578399" y="409720"/>
                  <a:pt x="2585372" y="402888"/>
                </a:cubicBezTo>
                <a:cubicBezTo>
                  <a:pt x="2592345" y="396056"/>
                  <a:pt x="2595832" y="387239"/>
                  <a:pt x="2595832" y="376436"/>
                </a:cubicBezTo>
                <a:lnTo>
                  <a:pt x="2595832" y="361865"/>
                </a:lnTo>
                <a:cubicBezTo>
                  <a:pt x="2595832" y="351103"/>
                  <a:pt x="2592345" y="342285"/>
                  <a:pt x="2585372" y="335413"/>
                </a:cubicBezTo>
                <a:cubicBezTo>
                  <a:pt x="2578399" y="328540"/>
                  <a:pt x="2569531" y="325104"/>
                  <a:pt x="2558769" y="325104"/>
                </a:cubicBezTo>
                <a:close/>
                <a:moveTo>
                  <a:pt x="2456082" y="325104"/>
                </a:moveTo>
                <a:lnTo>
                  <a:pt x="2425791" y="413136"/>
                </a:lnTo>
                <a:lnTo>
                  <a:pt x="2443627" y="413136"/>
                </a:lnTo>
                <a:lnTo>
                  <a:pt x="2449613" y="394151"/>
                </a:lnTo>
                <a:lnTo>
                  <a:pt x="2480508" y="394151"/>
                </a:lnTo>
                <a:lnTo>
                  <a:pt x="2486494" y="413136"/>
                </a:lnTo>
                <a:lnTo>
                  <a:pt x="2504330" y="413136"/>
                </a:lnTo>
                <a:lnTo>
                  <a:pt x="2474160" y="325104"/>
                </a:lnTo>
                <a:close/>
                <a:moveTo>
                  <a:pt x="2347563" y="325104"/>
                </a:moveTo>
                <a:lnTo>
                  <a:pt x="2347563" y="413136"/>
                </a:lnTo>
                <a:lnTo>
                  <a:pt x="2407843" y="413136"/>
                </a:lnTo>
                <a:lnTo>
                  <a:pt x="2407843" y="399532"/>
                </a:lnTo>
                <a:lnTo>
                  <a:pt x="2365218" y="399532"/>
                </a:lnTo>
                <a:lnTo>
                  <a:pt x="2365218" y="374441"/>
                </a:lnTo>
                <a:lnTo>
                  <a:pt x="2401676" y="374441"/>
                </a:lnTo>
                <a:lnTo>
                  <a:pt x="2401676" y="360837"/>
                </a:lnTo>
                <a:lnTo>
                  <a:pt x="2365218" y="360837"/>
                </a:lnTo>
                <a:lnTo>
                  <a:pt x="2365218" y="338708"/>
                </a:lnTo>
                <a:lnTo>
                  <a:pt x="2407722" y="338708"/>
                </a:lnTo>
                <a:lnTo>
                  <a:pt x="2407722" y="325104"/>
                </a:lnTo>
                <a:close/>
                <a:moveTo>
                  <a:pt x="2242788" y="325104"/>
                </a:moveTo>
                <a:lnTo>
                  <a:pt x="2242788" y="413136"/>
                </a:lnTo>
                <a:lnTo>
                  <a:pt x="2260443" y="413136"/>
                </a:lnTo>
                <a:lnTo>
                  <a:pt x="2260443" y="376557"/>
                </a:lnTo>
                <a:lnTo>
                  <a:pt x="2296357" y="376557"/>
                </a:lnTo>
                <a:lnTo>
                  <a:pt x="2296357" y="413136"/>
                </a:lnTo>
                <a:lnTo>
                  <a:pt x="2313951" y="413136"/>
                </a:lnTo>
                <a:lnTo>
                  <a:pt x="2313951" y="325104"/>
                </a:lnTo>
                <a:lnTo>
                  <a:pt x="2296357" y="325104"/>
                </a:lnTo>
                <a:lnTo>
                  <a:pt x="2296357" y="362953"/>
                </a:lnTo>
                <a:lnTo>
                  <a:pt x="2260443" y="362953"/>
                </a:lnTo>
                <a:lnTo>
                  <a:pt x="2260443" y="325104"/>
                </a:lnTo>
                <a:close/>
                <a:moveTo>
                  <a:pt x="2170332" y="325104"/>
                </a:moveTo>
                <a:lnTo>
                  <a:pt x="2140041" y="413136"/>
                </a:lnTo>
                <a:lnTo>
                  <a:pt x="2157877" y="413136"/>
                </a:lnTo>
                <a:lnTo>
                  <a:pt x="2163863" y="394151"/>
                </a:lnTo>
                <a:lnTo>
                  <a:pt x="2194758" y="394151"/>
                </a:lnTo>
                <a:lnTo>
                  <a:pt x="2200744" y="413136"/>
                </a:lnTo>
                <a:lnTo>
                  <a:pt x="2218580" y="413136"/>
                </a:lnTo>
                <a:lnTo>
                  <a:pt x="2188410" y="325104"/>
                </a:lnTo>
                <a:close/>
                <a:moveTo>
                  <a:pt x="1842738" y="325104"/>
                </a:moveTo>
                <a:lnTo>
                  <a:pt x="1842738" y="413136"/>
                </a:lnTo>
                <a:lnTo>
                  <a:pt x="1860393" y="413136"/>
                </a:lnTo>
                <a:lnTo>
                  <a:pt x="1860393" y="353037"/>
                </a:lnTo>
                <a:lnTo>
                  <a:pt x="1860755" y="352977"/>
                </a:lnTo>
                <a:lnTo>
                  <a:pt x="1896307" y="413136"/>
                </a:lnTo>
                <a:lnTo>
                  <a:pt x="1913901" y="413136"/>
                </a:lnTo>
                <a:lnTo>
                  <a:pt x="1913901" y="325104"/>
                </a:lnTo>
                <a:lnTo>
                  <a:pt x="1896307" y="325104"/>
                </a:lnTo>
                <a:lnTo>
                  <a:pt x="1896307" y="385142"/>
                </a:lnTo>
                <a:lnTo>
                  <a:pt x="1895944" y="385203"/>
                </a:lnTo>
                <a:lnTo>
                  <a:pt x="1860393" y="325104"/>
                </a:lnTo>
                <a:close/>
                <a:moveTo>
                  <a:pt x="1786676" y="325104"/>
                </a:moveTo>
                <a:lnTo>
                  <a:pt x="1786676" y="413136"/>
                </a:lnTo>
                <a:lnTo>
                  <a:pt x="1804331" y="413136"/>
                </a:lnTo>
                <a:lnTo>
                  <a:pt x="1804331" y="325104"/>
                </a:lnTo>
                <a:close/>
                <a:moveTo>
                  <a:pt x="1690338" y="325104"/>
                </a:moveTo>
                <a:lnTo>
                  <a:pt x="1690338" y="413136"/>
                </a:lnTo>
                <a:lnTo>
                  <a:pt x="1707993" y="413136"/>
                </a:lnTo>
                <a:lnTo>
                  <a:pt x="1707993" y="376376"/>
                </a:lnTo>
                <a:lnTo>
                  <a:pt x="1717787" y="376376"/>
                </a:lnTo>
                <a:lnTo>
                  <a:pt x="1741428" y="413136"/>
                </a:lnTo>
                <a:lnTo>
                  <a:pt x="1762952" y="413136"/>
                </a:lnTo>
                <a:lnTo>
                  <a:pt x="1730968" y="366097"/>
                </a:lnTo>
                <a:lnTo>
                  <a:pt x="1760594" y="325104"/>
                </a:lnTo>
                <a:lnTo>
                  <a:pt x="1739009" y="325104"/>
                </a:lnTo>
                <a:lnTo>
                  <a:pt x="1715671" y="361079"/>
                </a:lnTo>
                <a:lnTo>
                  <a:pt x="1707993" y="361079"/>
                </a:lnTo>
                <a:lnTo>
                  <a:pt x="1707993" y="325104"/>
                </a:lnTo>
                <a:close/>
                <a:moveTo>
                  <a:pt x="1585563" y="325104"/>
                </a:moveTo>
                <a:lnTo>
                  <a:pt x="1585563" y="413136"/>
                </a:lnTo>
                <a:lnTo>
                  <a:pt x="1603218" y="413136"/>
                </a:lnTo>
                <a:lnTo>
                  <a:pt x="1603218" y="353037"/>
                </a:lnTo>
                <a:lnTo>
                  <a:pt x="1603580" y="352977"/>
                </a:lnTo>
                <a:lnTo>
                  <a:pt x="1639132" y="413136"/>
                </a:lnTo>
                <a:lnTo>
                  <a:pt x="1656726" y="413136"/>
                </a:lnTo>
                <a:lnTo>
                  <a:pt x="1656726" y="325104"/>
                </a:lnTo>
                <a:lnTo>
                  <a:pt x="1639132" y="325104"/>
                </a:lnTo>
                <a:lnTo>
                  <a:pt x="1639132" y="385142"/>
                </a:lnTo>
                <a:lnTo>
                  <a:pt x="1638769" y="385203"/>
                </a:lnTo>
                <a:lnTo>
                  <a:pt x="1603218" y="325104"/>
                </a:lnTo>
                <a:close/>
                <a:moveTo>
                  <a:pt x="1529502" y="325104"/>
                </a:moveTo>
                <a:lnTo>
                  <a:pt x="1529502" y="413136"/>
                </a:lnTo>
                <a:lnTo>
                  <a:pt x="1547156" y="413136"/>
                </a:lnTo>
                <a:lnTo>
                  <a:pt x="1547156" y="325104"/>
                </a:lnTo>
                <a:close/>
                <a:moveTo>
                  <a:pt x="1423638" y="325104"/>
                </a:moveTo>
                <a:lnTo>
                  <a:pt x="1423638" y="413136"/>
                </a:lnTo>
                <a:lnTo>
                  <a:pt x="1441293" y="413136"/>
                </a:lnTo>
                <a:lnTo>
                  <a:pt x="1441293" y="376557"/>
                </a:lnTo>
                <a:lnTo>
                  <a:pt x="1477207" y="376557"/>
                </a:lnTo>
                <a:lnTo>
                  <a:pt x="1477207" y="413136"/>
                </a:lnTo>
                <a:lnTo>
                  <a:pt x="1494801" y="413136"/>
                </a:lnTo>
                <a:lnTo>
                  <a:pt x="1494801" y="325104"/>
                </a:lnTo>
                <a:lnTo>
                  <a:pt x="1477207" y="325104"/>
                </a:lnTo>
                <a:lnTo>
                  <a:pt x="1477207" y="362953"/>
                </a:lnTo>
                <a:lnTo>
                  <a:pt x="1441293" y="362953"/>
                </a:lnTo>
                <a:lnTo>
                  <a:pt x="1441293" y="325104"/>
                </a:lnTo>
                <a:close/>
                <a:moveTo>
                  <a:pt x="1331383" y="325104"/>
                </a:moveTo>
                <a:lnTo>
                  <a:pt x="1331383" y="338708"/>
                </a:lnTo>
                <a:lnTo>
                  <a:pt x="1356172" y="338708"/>
                </a:lnTo>
                <a:lnTo>
                  <a:pt x="1356172" y="413136"/>
                </a:lnTo>
                <a:lnTo>
                  <a:pt x="1373827" y="413136"/>
                </a:lnTo>
                <a:lnTo>
                  <a:pt x="1373827" y="338708"/>
                </a:lnTo>
                <a:lnTo>
                  <a:pt x="1398737" y="338708"/>
                </a:lnTo>
                <a:lnTo>
                  <a:pt x="1398737" y="325104"/>
                </a:lnTo>
                <a:close/>
                <a:moveTo>
                  <a:pt x="3686347" y="323835"/>
                </a:moveTo>
                <a:cubicBezTo>
                  <a:pt x="3675504" y="323835"/>
                  <a:pt x="3666707" y="327372"/>
                  <a:pt x="3659955" y="334446"/>
                </a:cubicBezTo>
                <a:cubicBezTo>
                  <a:pt x="3653204" y="341520"/>
                  <a:pt x="3649828" y="350438"/>
                  <a:pt x="3649828" y="361200"/>
                </a:cubicBezTo>
                <a:lnTo>
                  <a:pt x="3649828" y="377041"/>
                </a:lnTo>
                <a:cubicBezTo>
                  <a:pt x="3649828" y="387843"/>
                  <a:pt x="3653214" y="396771"/>
                  <a:pt x="3659985" y="403825"/>
                </a:cubicBezTo>
                <a:cubicBezTo>
                  <a:pt x="3666757" y="410879"/>
                  <a:pt x="3675564" y="414406"/>
                  <a:pt x="3686407" y="414406"/>
                </a:cubicBezTo>
                <a:cubicBezTo>
                  <a:pt x="3697331" y="414406"/>
                  <a:pt x="3706208" y="410879"/>
                  <a:pt x="3713040" y="403825"/>
                </a:cubicBezTo>
                <a:cubicBezTo>
                  <a:pt x="3719872" y="396771"/>
                  <a:pt x="3723288" y="387843"/>
                  <a:pt x="3723288" y="377041"/>
                </a:cubicBezTo>
                <a:lnTo>
                  <a:pt x="3723288" y="361200"/>
                </a:lnTo>
                <a:cubicBezTo>
                  <a:pt x="3723288" y="350438"/>
                  <a:pt x="3719862" y="341520"/>
                  <a:pt x="3713010" y="334446"/>
                </a:cubicBezTo>
                <a:cubicBezTo>
                  <a:pt x="3706158" y="327372"/>
                  <a:pt x="3697270" y="323835"/>
                  <a:pt x="3686347" y="323835"/>
                </a:cubicBezTo>
                <a:close/>
                <a:moveTo>
                  <a:pt x="3399629" y="323835"/>
                </a:moveTo>
                <a:cubicBezTo>
                  <a:pt x="3389310" y="323835"/>
                  <a:pt x="3380876" y="327190"/>
                  <a:pt x="3374326" y="333901"/>
                </a:cubicBezTo>
                <a:cubicBezTo>
                  <a:pt x="3367776" y="340613"/>
                  <a:pt x="3364501" y="349289"/>
                  <a:pt x="3364501" y="359930"/>
                </a:cubicBezTo>
                <a:lnTo>
                  <a:pt x="3364501" y="378310"/>
                </a:lnTo>
                <a:cubicBezTo>
                  <a:pt x="3364501" y="388992"/>
                  <a:pt x="3367907" y="397678"/>
                  <a:pt x="3374719" y="404369"/>
                </a:cubicBezTo>
                <a:cubicBezTo>
                  <a:pt x="3381531" y="411060"/>
                  <a:pt x="3390318" y="414406"/>
                  <a:pt x="3401080" y="414406"/>
                </a:cubicBezTo>
                <a:cubicBezTo>
                  <a:pt x="3409545" y="414406"/>
                  <a:pt x="3416548" y="413056"/>
                  <a:pt x="3422090" y="410355"/>
                </a:cubicBezTo>
                <a:cubicBezTo>
                  <a:pt x="3427633" y="407654"/>
                  <a:pt x="3431714" y="404571"/>
                  <a:pt x="3434334" y="401104"/>
                </a:cubicBezTo>
                <a:lnTo>
                  <a:pt x="3434334" y="367911"/>
                </a:lnTo>
                <a:lnTo>
                  <a:pt x="3401080" y="367911"/>
                </a:lnTo>
                <a:lnTo>
                  <a:pt x="3401080" y="380124"/>
                </a:lnTo>
                <a:lnTo>
                  <a:pt x="3416679" y="380124"/>
                </a:lnTo>
                <a:lnTo>
                  <a:pt x="3416679" y="396401"/>
                </a:lnTo>
                <a:cubicBezTo>
                  <a:pt x="3415389" y="397647"/>
                  <a:pt x="3413495" y="398692"/>
                  <a:pt x="3410996" y="399536"/>
                </a:cubicBezTo>
                <a:cubicBezTo>
                  <a:pt x="3408497" y="400380"/>
                  <a:pt x="3405192" y="400802"/>
                  <a:pt x="3401080" y="400802"/>
                </a:cubicBezTo>
                <a:cubicBezTo>
                  <a:pt x="3395276" y="400802"/>
                  <a:pt x="3390661" y="398718"/>
                  <a:pt x="3387235" y="394550"/>
                </a:cubicBezTo>
                <a:cubicBezTo>
                  <a:pt x="3383808" y="390383"/>
                  <a:pt x="3382095" y="384956"/>
                  <a:pt x="3382095" y="378272"/>
                </a:cubicBezTo>
                <a:lnTo>
                  <a:pt x="3382095" y="359787"/>
                </a:lnTo>
                <a:cubicBezTo>
                  <a:pt x="3382095" y="353224"/>
                  <a:pt x="3383748" y="347858"/>
                  <a:pt x="3387053" y="343690"/>
                </a:cubicBezTo>
                <a:cubicBezTo>
                  <a:pt x="3390358" y="339522"/>
                  <a:pt x="3394712" y="337438"/>
                  <a:pt x="3400113" y="337438"/>
                </a:cubicBezTo>
                <a:cubicBezTo>
                  <a:pt x="3405232" y="337438"/>
                  <a:pt x="3409122" y="338799"/>
                  <a:pt x="3411782" y="341520"/>
                </a:cubicBezTo>
                <a:cubicBezTo>
                  <a:pt x="3414442" y="344240"/>
                  <a:pt x="3415934" y="347939"/>
                  <a:pt x="3416256" y="352614"/>
                </a:cubicBezTo>
                <a:lnTo>
                  <a:pt x="3432883" y="352614"/>
                </a:lnTo>
                <a:lnTo>
                  <a:pt x="3433004" y="352251"/>
                </a:lnTo>
                <a:cubicBezTo>
                  <a:pt x="3432883" y="343747"/>
                  <a:pt x="3429971" y="336884"/>
                  <a:pt x="3424267" y="331664"/>
                </a:cubicBezTo>
                <a:cubicBezTo>
                  <a:pt x="3418564" y="326445"/>
                  <a:pt x="3410351" y="323835"/>
                  <a:pt x="3399629" y="323835"/>
                </a:cubicBezTo>
                <a:close/>
                <a:moveTo>
                  <a:pt x="3038647" y="323835"/>
                </a:moveTo>
                <a:cubicBezTo>
                  <a:pt x="3027804" y="323835"/>
                  <a:pt x="3019007" y="327372"/>
                  <a:pt x="3012255" y="334446"/>
                </a:cubicBezTo>
                <a:cubicBezTo>
                  <a:pt x="3005503" y="341520"/>
                  <a:pt x="3002128" y="350438"/>
                  <a:pt x="3002128" y="361200"/>
                </a:cubicBezTo>
                <a:lnTo>
                  <a:pt x="3002128" y="377041"/>
                </a:lnTo>
                <a:cubicBezTo>
                  <a:pt x="3002128" y="387843"/>
                  <a:pt x="3005514" y="396771"/>
                  <a:pt x="3012285" y="403825"/>
                </a:cubicBezTo>
                <a:cubicBezTo>
                  <a:pt x="3019057" y="410879"/>
                  <a:pt x="3027864" y="414406"/>
                  <a:pt x="3038707" y="414406"/>
                </a:cubicBezTo>
                <a:cubicBezTo>
                  <a:pt x="3049630" y="414406"/>
                  <a:pt x="3058508" y="410879"/>
                  <a:pt x="3065340" y="403825"/>
                </a:cubicBezTo>
                <a:cubicBezTo>
                  <a:pt x="3072172" y="396771"/>
                  <a:pt x="3075588" y="387843"/>
                  <a:pt x="3075588" y="377041"/>
                </a:cubicBezTo>
                <a:lnTo>
                  <a:pt x="3075588" y="361200"/>
                </a:lnTo>
                <a:cubicBezTo>
                  <a:pt x="3075588" y="350438"/>
                  <a:pt x="3072162" y="341520"/>
                  <a:pt x="3065310" y="334446"/>
                </a:cubicBezTo>
                <a:cubicBezTo>
                  <a:pt x="3058458" y="327372"/>
                  <a:pt x="3049570" y="323835"/>
                  <a:pt x="3038647" y="323835"/>
                </a:cubicBezTo>
                <a:close/>
                <a:moveTo>
                  <a:pt x="1980404" y="323835"/>
                </a:moveTo>
                <a:cubicBezTo>
                  <a:pt x="1970085" y="323835"/>
                  <a:pt x="1961651" y="327190"/>
                  <a:pt x="1955101" y="333901"/>
                </a:cubicBezTo>
                <a:cubicBezTo>
                  <a:pt x="1948551" y="340613"/>
                  <a:pt x="1945276" y="349289"/>
                  <a:pt x="1945276" y="359930"/>
                </a:cubicBezTo>
                <a:lnTo>
                  <a:pt x="1945276" y="378310"/>
                </a:lnTo>
                <a:cubicBezTo>
                  <a:pt x="1945276" y="388992"/>
                  <a:pt x="1948682" y="397678"/>
                  <a:pt x="1955494" y="404369"/>
                </a:cubicBezTo>
                <a:cubicBezTo>
                  <a:pt x="1962306" y="411060"/>
                  <a:pt x="1971093" y="414406"/>
                  <a:pt x="1981855" y="414406"/>
                </a:cubicBezTo>
                <a:cubicBezTo>
                  <a:pt x="1990320" y="414406"/>
                  <a:pt x="1997323" y="413056"/>
                  <a:pt x="2002865" y="410355"/>
                </a:cubicBezTo>
                <a:cubicBezTo>
                  <a:pt x="2008408" y="407654"/>
                  <a:pt x="2012489" y="404571"/>
                  <a:pt x="2015109" y="401104"/>
                </a:cubicBezTo>
                <a:lnTo>
                  <a:pt x="2015109" y="367911"/>
                </a:lnTo>
                <a:lnTo>
                  <a:pt x="1981855" y="367911"/>
                </a:lnTo>
                <a:lnTo>
                  <a:pt x="1981855" y="380124"/>
                </a:lnTo>
                <a:lnTo>
                  <a:pt x="1997454" y="380124"/>
                </a:lnTo>
                <a:lnTo>
                  <a:pt x="1997454" y="396401"/>
                </a:lnTo>
                <a:cubicBezTo>
                  <a:pt x="1996164" y="397647"/>
                  <a:pt x="1994270" y="398692"/>
                  <a:pt x="1991771" y="399536"/>
                </a:cubicBezTo>
                <a:cubicBezTo>
                  <a:pt x="1989272" y="400380"/>
                  <a:pt x="1985966" y="400802"/>
                  <a:pt x="1981855" y="400802"/>
                </a:cubicBezTo>
                <a:cubicBezTo>
                  <a:pt x="1976051" y="400802"/>
                  <a:pt x="1971436" y="398718"/>
                  <a:pt x="1968009" y="394550"/>
                </a:cubicBezTo>
                <a:cubicBezTo>
                  <a:pt x="1964583" y="390383"/>
                  <a:pt x="1962870" y="384956"/>
                  <a:pt x="1962870" y="378272"/>
                </a:cubicBezTo>
                <a:lnTo>
                  <a:pt x="1962870" y="359787"/>
                </a:lnTo>
                <a:cubicBezTo>
                  <a:pt x="1962870" y="353224"/>
                  <a:pt x="1964523" y="347858"/>
                  <a:pt x="1967828" y="343690"/>
                </a:cubicBezTo>
                <a:cubicBezTo>
                  <a:pt x="1971133" y="339522"/>
                  <a:pt x="1975486" y="337438"/>
                  <a:pt x="1980888" y="337438"/>
                </a:cubicBezTo>
                <a:cubicBezTo>
                  <a:pt x="1986007" y="337438"/>
                  <a:pt x="1989896" y="338799"/>
                  <a:pt x="1992557" y="341520"/>
                </a:cubicBezTo>
                <a:cubicBezTo>
                  <a:pt x="1995217" y="344240"/>
                  <a:pt x="1996708" y="347939"/>
                  <a:pt x="1997031" y="352614"/>
                </a:cubicBezTo>
                <a:lnTo>
                  <a:pt x="2013658" y="352614"/>
                </a:lnTo>
                <a:lnTo>
                  <a:pt x="2013779" y="352251"/>
                </a:lnTo>
                <a:cubicBezTo>
                  <a:pt x="2013658" y="343747"/>
                  <a:pt x="2010745" y="336884"/>
                  <a:pt x="2005042" y="331664"/>
                </a:cubicBezTo>
                <a:cubicBezTo>
                  <a:pt x="1999338" y="326445"/>
                  <a:pt x="1991126" y="323835"/>
                  <a:pt x="1980404" y="323835"/>
                </a:cubicBezTo>
                <a:close/>
                <a:moveTo>
                  <a:pt x="991473" y="215901"/>
                </a:moveTo>
                <a:cubicBezTo>
                  <a:pt x="1075525" y="215901"/>
                  <a:pt x="1144744" y="283884"/>
                  <a:pt x="1144744" y="369173"/>
                </a:cubicBezTo>
                <a:cubicBezTo>
                  <a:pt x="1143508" y="450753"/>
                  <a:pt x="1074289" y="522444"/>
                  <a:pt x="991473" y="522444"/>
                </a:cubicBezTo>
                <a:cubicBezTo>
                  <a:pt x="963043" y="522444"/>
                  <a:pt x="938322" y="515028"/>
                  <a:pt x="914837" y="501431"/>
                </a:cubicBezTo>
                <a:cubicBezTo>
                  <a:pt x="924725" y="501431"/>
                  <a:pt x="935850" y="500195"/>
                  <a:pt x="945738" y="497723"/>
                </a:cubicBezTo>
                <a:cubicBezTo>
                  <a:pt x="956863" y="495251"/>
                  <a:pt x="965515" y="491543"/>
                  <a:pt x="975404" y="487834"/>
                </a:cubicBezTo>
                <a:cubicBezTo>
                  <a:pt x="989001" y="482890"/>
                  <a:pt x="1001361" y="475474"/>
                  <a:pt x="1011250" y="463113"/>
                </a:cubicBezTo>
                <a:cubicBezTo>
                  <a:pt x="1018666" y="454461"/>
                  <a:pt x="1028554" y="445808"/>
                  <a:pt x="1037207" y="439628"/>
                </a:cubicBezTo>
                <a:cubicBezTo>
                  <a:pt x="1047095" y="432212"/>
                  <a:pt x="1058220" y="427267"/>
                  <a:pt x="1068108" y="422323"/>
                </a:cubicBezTo>
                <a:cubicBezTo>
                  <a:pt x="1071817" y="421087"/>
                  <a:pt x="1075525" y="418615"/>
                  <a:pt x="1080469" y="419851"/>
                </a:cubicBezTo>
                <a:cubicBezTo>
                  <a:pt x="1087885" y="419851"/>
                  <a:pt x="1095302" y="417379"/>
                  <a:pt x="1102718" y="414907"/>
                </a:cubicBezTo>
                <a:cubicBezTo>
                  <a:pt x="1108898" y="413671"/>
                  <a:pt x="1113843" y="411199"/>
                  <a:pt x="1120023" y="409963"/>
                </a:cubicBezTo>
                <a:cubicBezTo>
                  <a:pt x="1121259" y="409963"/>
                  <a:pt x="1122495" y="409963"/>
                  <a:pt x="1122495" y="408727"/>
                </a:cubicBezTo>
                <a:cubicBezTo>
                  <a:pt x="1122495" y="406254"/>
                  <a:pt x="1120023" y="407491"/>
                  <a:pt x="1118787" y="407491"/>
                </a:cubicBezTo>
                <a:cubicBezTo>
                  <a:pt x="1111371" y="406254"/>
                  <a:pt x="1103954" y="402546"/>
                  <a:pt x="1096538" y="400074"/>
                </a:cubicBezTo>
                <a:cubicBezTo>
                  <a:pt x="1091594" y="398838"/>
                  <a:pt x="1086649" y="398838"/>
                  <a:pt x="1081705" y="400074"/>
                </a:cubicBezTo>
                <a:cubicBezTo>
                  <a:pt x="1074289" y="401310"/>
                  <a:pt x="1068108" y="406254"/>
                  <a:pt x="1063164" y="409963"/>
                </a:cubicBezTo>
                <a:cubicBezTo>
                  <a:pt x="1053276" y="417379"/>
                  <a:pt x="1043387" y="423559"/>
                  <a:pt x="1032263" y="428504"/>
                </a:cubicBezTo>
                <a:cubicBezTo>
                  <a:pt x="1024846" y="432212"/>
                  <a:pt x="1016194" y="433448"/>
                  <a:pt x="1007541" y="434684"/>
                </a:cubicBezTo>
                <a:cubicBezTo>
                  <a:pt x="1005069" y="434684"/>
                  <a:pt x="1002597" y="435920"/>
                  <a:pt x="1000125" y="434684"/>
                </a:cubicBezTo>
                <a:cubicBezTo>
                  <a:pt x="1007541" y="430976"/>
                  <a:pt x="1014958" y="426031"/>
                  <a:pt x="1019902" y="418615"/>
                </a:cubicBezTo>
                <a:cubicBezTo>
                  <a:pt x="1024846" y="413671"/>
                  <a:pt x="1027318" y="407491"/>
                  <a:pt x="1033499" y="402546"/>
                </a:cubicBezTo>
                <a:cubicBezTo>
                  <a:pt x="1040915" y="396366"/>
                  <a:pt x="1048331" y="390186"/>
                  <a:pt x="1056984" y="385241"/>
                </a:cubicBezTo>
                <a:lnTo>
                  <a:pt x="1076761" y="374117"/>
                </a:lnTo>
                <a:cubicBezTo>
                  <a:pt x="1080469" y="371645"/>
                  <a:pt x="1085413" y="370409"/>
                  <a:pt x="1089121" y="369173"/>
                </a:cubicBezTo>
                <a:cubicBezTo>
                  <a:pt x="1091594" y="367937"/>
                  <a:pt x="1095302" y="367937"/>
                  <a:pt x="1097774" y="367937"/>
                </a:cubicBezTo>
                <a:cubicBezTo>
                  <a:pt x="1105190" y="367937"/>
                  <a:pt x="1113843" y="361756"/>
                  <a:pt x="1121259" y="359284"/>
                </a:cubicBezTo>
                <a:cubicBezTo>
                  <a:pt x="1124967" y="358048"/>
                  <a:pt x="1128675" y="358048"/>
                  <a:pt x="1131147" y="356812"/>
                </a:cubicBezTo>
                <a:cubicBezTo>
                  <a:pt x="1131147" y="356812"/>
                  <a:pt x="1132384" y="355576"/>
                  <a:pt x="1132384" y="354340"/>
                </a:cubicBezTo>
                <a:lnTo>
                  <a:pt x="1131147" y="354340"/>
                </a:lnTo>
                <a:cubicBezTo>
                  <a:pt x="1122495" y="354340"/>
                  <a:pt x="1113843" y="350632"/>
                  <a:pt x="1105190" y="348160"/>
                </a:cubicBezTo>
                <a:cubicBezTo>
                  <a:pt x="1097774" y="346924"/>
                  <a:pt x="1090358" y="348160"/>
                  <a:pt x="1084177" y="350632"/>
                </a:cubicBezTo>
                <a:cubicBezTo>
                  <a:pt x="1077997" y="354340"/>
                  <a:pt x="1071817" y="360520"/>
                  <a:pt x="1065636" y="364228"/>
                </a:cubicBezTo>
                <a:cubicBezTo>
                  <a:pt x="1063164" y="365464"/>
                  <a:pt x="1061928" y="366701"/>
                  <a:pt x="1059456" y="367937"/>
                </a:cubicBezTo>
                <a:cubicBezTo>
                  <a:pt x="1052040" y="372881"/>
                  <a:pt x="1043387" y="377825"/>
                  <a:pt x="1034735" y="380297"/>
                </a:cubicBezTo>
                <a:cubicBezTo>
                  <a:pt x="1026082" y="382769"/>
                  <a:pt x="1017430" y="384005"/>
                  <a:pt x="1008777" y="384005"/>
                </a:cubicBezTo>
                <a:cubicBezTo>
                  <a:pt x="1006305" y="384005"/>
                  <a:pt x="1002597" y="382769"/>
                  <a:pt x="1001361" y="380297"/>
                </a:cubicBezTo>
                <a:cubicBezTo>
                  <a:pt x="1000125" y="376589"/>
                  <a:pt x="998889" y="372881"/>
                  <a:pt x="997653" y="369173"/>
                </a:cubicBezTo>
                <a:cubicBezTo>
                  <a:pt x="997653" y="366701"/>
                  <a:pt x="997653" y="364228"/>
                  <a:pt x="996417" y="361756"/>
                </a:cubicBezTo>
                <a:cubicBezTo>
                  <a:pt x="996417" y="354340"/>
                  <a:pt x="996417" y="346924"/>
                  <a:pt x="997653" y="339507"/>
                </a:cubicBezTo>
                <a:cubicBezTo>
                  <a:pt x="997653" y="333327"/>
                  <a:pt x="1001361" y="327147"/>
                  <a:pt x="1000125" y="319730"/>
                </a:cubicBezTo>
                <a:cubicBezTo>
                  <a:pt x="998889" y="313550"/>
                  <a:pt x="990237" y="307370"/>
                  <a:pt x="972932" y="292537"/>
                </a:cubicBezTo>
                <a:cubicBezTo>
                  <a:pt x="955627" y="276468"/>
                  <a:pt x="935850" y="256691"/>
                  <a:pt x="927197" y="239386"/>
                </a:cubicBezTo>
                <a:cubicBezTo>
                  <a:pt x="929670" y="238150"/>
                  <a:pt x="928434" y="235678"/>
                  <a:pt x="928434" y="235678"/>
                </a:cubicBezTo>
                <a:cubicBezTo>
                  <a:pt x="927197" y="235678"/>
                  <a:pt x="925961" y="236914"/>
                  <a:pt x="924725" y="238150"/>
                </a:cubicBezTo>
                <a:cubicBezTo>
                  <a:pt x="918545" y="248039"/>
                  <a:pt x="914837" y="260399"/>
                  <a:pt x="917309" y="273996"/>
                </a:cubicBezTo>
                <a:cubicBezTo>
                  <a:pt x="919781" y="287593"/>
                  <a:pt x="925961" y="298717"/>
                  <a:pt x="934614" y="308606"/>
                </a:cubicBezTo>
                <a:cubicBezTo>
                  <a:pt x="939558" y="313550"/>
                  <a:pt x="944502" y="322202"/>
                  <a:pt x="948211" y="327147"/>
                </a:cubicBezTo>
                <a:cubicBezTo>
                  <a:pt x="950683" y="332091"/>
                  <a:pt x="951919" y="338271"/>
                  <a:pt x="950683" y="344451"/>
                </a:cubicBezTo>
                <a:lnTo>
                  <a:pt x="937086" y="334563"/>
                </a:lnTo>
                <a:cubicBezTo>
                  <a:pt x="937086" y="334563"/>
                  <a:pt x="930906" y="330855"/>
                  <a:pt x="923489" y="324674"/>
                </a:cubicBezTo>
                <a:cubicBezTo>
                  <a:pt x="916073" y="318494"/>
                  <a:pt x="907420" y="314786"/>
                  <a:pt x="895060" y="299953"/>
                </a:cubicBezTo>
                <a:cubicBezTo>
                  <a:pt x="895060" y="298717"/>
                  <a:pt x="893824" y="298717"/>
                  <a:pt x="893824" y="299953"/>
                </a:cubicBezTo>
                <a:cubicBezTo>
                  <a:pt x="891352" y="299953"/>
                  <a:pt x="891352" y="301189"/>
                  <a:pt x="891352" y="303661"/>
                </a:cubicBezTo>
                <a:cubicBezTo>
                  <a:pt x="888880" y="318494"/>
                  <a:pt x="888880" y="335799"/>
                  <a:pt x="896296" y="349396"/>
                </a:cubicBezTo>
                <a:cubicBezTo>
                  <a:pt x="901240" y="356812"/>
                  <a:pt x="907420" y="364228"/>
                  <a:pt x="913601" y="370409"/>
                </a:cubicBezTo>
                <a:cubicBezTo>
                  <a:pt x="917309" y="374117"/>
                  <a:pt x="922253" y="379061"/>
                  <a:pt x="927197" y="382769"/>
                </a:cubicBezTo>
                <a:cubicBezTo>
                  <a:pt x="930906" y="386477"/>
                  <a:pt x="935850" y="391422"/>
                  <a:pt x="937086" y="396366"/>
                </a:cubicBezTo>
                <a:cubicBezTo>
                  <a:pt x="938322" y="402546"/>
                  <a:pt x="935850" y="408727"/>
                  <a:pt x="933378" y="413671"/>
                </a:cubicBezTo>
                <a:cubicBezTo>
                  <a:pt x="930906" y="418615"/>
                  <a:pt x="928434" y="422323"/>
                  <a:pt x="924725" y="426031"/>
                </a:cubicBezTo>
                <a:cubicBezTo>
                  <a:pt x="918545" y="429740"/>
                  <a:pt x="911129" y="427267"/>
                  <a:pt x="904948" y="427267"/>
                </a:cubicBezTo>
                <a:cubicBezTo>
                  <a:pt x="900004" y="427267"/>
                  <a:pt x="897532" y="432212"/>
                  <a:pt x="895060" y="435920"/>
                </a:cubicBezTo>
                <a:cubicBezTo>
                  <a:pt x="892588" y="440864"/>
                  <a:pt x="890116" y="444572"/>
                  <a:pt x="891352" y="450753"/>
                </a:cubicBezTo>
                <a:cubicBezTo>
                  <a:pt x="892588" y="458169"/>
                  <a:pt x="895060" y="463113"/>
                  <a:pt x="896296" y="465585"/>
                </a:cubicBezTo>
                <a:cubicBezTo>
                  <a:pt x="897532" y="466821"/>
                  <a:pt x="898768" y="468058"/>
                  <a:pt x="900004" y="468058"/>
                </a:cubicBezTo>
                <a:cubicBezTo>
                  <a:pt x="902476" y="468058"/>
                  <a:pt x="906184" y="466821"/>
                  <a:pt x="908657" y="464349"/>
                </a:cubicBezTo>
                <a:cubicBezTo>
                  <a:pt x="921017" y="453225"/>
                  <a:pt x="927197" y="449517"/>
                  <a:pt x="942030" y="445808"/>
                </a:cubicBezTo>
                <a:cubicBezTo>
                  <a:pt x="933378" y="449517"/>
                  <a:pt x="927197" y="459405"/>
                  <a:pt x="924725" y="461877"/>
                </a:cubicBezTo>
                <a:cubicBezTo>
                  <a:pt x="913601" y="475474"/>
                  <a:pt x="902476" y="480418"/>
                  <a:pt x="886407" y="476710"/>
                </a:cubicBezTo>
                <a:cubicBezTo>
                  <a:pt x="882699" y="475474"/>
                  <a:pt x="880227" y="474238"/>
                  <a:pt x="880227" y="474238"/>
                </a:cubicBezTo>
                <a:cubicBezTo>
                  <a:pt x="865394" y="458169"/>
                  <a:pt x="838201" y="422323"/>
                  <a:pt x="838201" y="369173"/>
                </a:cubicBezTo>
                <a:cubicBezTo>
                  <a:pt x="838201" y="285120"/>
                  <a:pt x="906184" y="215901"/>
                  <a:pt x="991473" y="215901"/>
                </a:cubicBezTo>
                <a:close/>
                <a:moveTo>
                  <a:pt x="991473" y="193652"/>
                </a:moveTo>
                <a:cubicBezTo>
                  <a:pt x="895060" y="193652"/>
                  <a:pt x="815952" y="272760"/>
                  <a:pt x="815952" y="369173"/>
                </a:cubicBezTo>
                <a:cubicBezTo>
                  <a:pt x="815952" y="465585"/>
                  <a:pt x="895060" y="543457"/>
                  <a:pt x="991473" y="543457"/>
                </a:cubicBezTo>
                <a:cubicBezTo>
                  <a:pt x="1087885" y="543457"/>
                  <a:pt x="1165757" y="465585"/>
                  <a:pt x="1165757" y="369173"/>
                </a:cubicBezTo>
                <a:cubicBezTo>
                  <a:pt x="1165757" y="272760"/>
                  <a:pt x="1087885" y="193652"/>
                  <a:pt x="991473" y="193652"/>
                </a:cubicBezTo>
                <a:close/>
                <a:moveTo>
                  <a:pt x="0" y="0"/>
                </a:moveTo>
                <a:lnTo>
                  <a:pt x="12192000" y="0"/>
                </a:lnTo>
                <a:lnTo>
                  <a:pt x="12192000" y="3631721"/>
                </a:lnTo>
                <a:lnTo>
                  <a:pt x="12192000" y="5651114"/>
                </a:lnTo>
                <a:lnTo>
                  <a:pt x="12192000" y="5717788"/>
                </a:lnTo>
                <a:lnTo>
                  <a:pt x="12192000" y="6354487"/>
                </a:lnTo>
                <a:lnTo>
                  <a:pt x="12192000" y="6419420"/>
                </a:lnTo>
                <a:lnTo>
                  <a:pt x="12192000" y="6857999"/>
                </a:lnTo>
                <a:lnTo>
                  <a:pt x="12192000" y="6858000"/>
                </a:lnTo>
                <a:lnTo>
                  <a:pt x="11898071" y="6858000"/>
                </a:lnTo>
                <a:lnTo>
                  <a:pt x="11898072" y="6857999"/>
                </a:lnTo>
                <a:lnTo>
                  <a:pt x="11854047" y="6857999"/>
                </a:lnTo>
                <a:lnTo>
                  <a:pt x="11854046" y="6858000"/>
                </a:lnTo>
                <a:lnTo>
                  <a:pt x="11343792" y="6858000"/>
                </a:lnTo>
                <a:lnTo>
                  <a:pt x="11343793" y="6857999"/>
                </a:lnTo>
                <a:lnTo>
                  <a:pt x="11299647" y="6857999"/>
                </a:lnTo>
                <a:lnTo>
                  <a:pt x="11299646" y="6858000"/>
                </a:lnTo>
                <a:lnTo>
                  <a:pt x="10921262" y="6858000"/>
                </a:lnTo>
                <a:lnTo>
                  <a:pt x="10921263" y="6857999"/>
                </a:lnTo>
                <a:lnTo>
                  <a:pt x="10877189" y="6857999"/>
                </a:lnTo>
                <a:lnTo>
                  <a:pt x="10877188" y="6858000"/>
                </a:lnTo>
                <a:lnTo>
                  <a:pt x="0" y="6858000"/>
                </a:lnTo>
                <a:lnTo>
                  <a:pt x="0" y="6857999"/>
                </a:lnTo>
                <a:lnTo>
                  <a:pt x="248387" y="6857999"/>
                </a:lnTo>
                <a:lnTo>
                  <a:pt x="1711356" y="6857999"/>
                </a:lnTo>
                <a:lnTo>
                  <a:pt x="1978056" y="6857999"/>
                </a:lnTo>
                <a:lnTo>
                  <a:pt x="3938547" y="6857999"/>
                </a:lnTo>
                <a:lnTo>
                  <a:pt x="4205247" y="6857999"/>
                </a:lnTo>
                <a:lnTo>
                  <a:pt x="4229178" y="6857999"/>
                </a:lnTo>
                <a:lnTo>
                  <a:pt x="4495877" y="6857999"/>
                </a:lnTo>
                <a:lnTo>
                  <a:pt x="4504541" y="6811113"/>
                </a:lnTo>
                <a:lnTo>
                  <a:pt x="4504247" y="6811058"/>
                </a:lnTo>
                <a:lnTo>
                  <a:pt x="5036047" y="3790076"/>
                </a:lnTo>
                <a:cubicBezTo>
                  <a:pt x="5036047" y="3762492"/>
                  <a:pt x="5013681" y="3740125"/>
                  <a:pt x="4986095" y="3740125"/>
                </a:cubicBezTo>
                <a:lnTo>
                  <a:pt x="4719395" y="3740125"/>
                </a:lnTo>
                <a:lnTo>
                  <a:pt x="248387" y="3740125"/>
                </a:lnTo>
                <a:lnTo>
                  <a:pt x="0" y="3740125"/>
                </a:lnTo>
                <a:close/>
              </a:path>
            </a:pathLst>
          </a:custGeom>
          <a:blipFill>
            <a:blip r:embed="rId2"/>
            <a:stretch>
              <a:fillRect/>
            </a:stretch>
          </a:blipFill>
        </p:spPr>
        <p:txBody>
          <a:bodyPr wrap="square">
            <a:noAutofit/>
          </a:bodyPr>
          <a:lstStyle>
            <a:lvl1pPr marL="285750" marR="0" indent="-285750" algn="ctr" defTabSz="1644650" rtl="0" eaLnBrk="0" fontAlgn="base" latinLnBrk="0" hangingPunct="0">
              <a:lnSpc>
                <a:spcPct val="130000"/>
              </a:lnSpc>
              <a:spcBef>
                <a:spcPct val="0"/>
              </a:spcBef>
              <a:spcAft>
                <a:spcPts val="1200"/>
              </a:spcAft>
              <a:buClr>
                <a:srgbClr val="004C99"/>
              </a:buClr>
              <a:buSzPct val="120000"/>
              <a:buFontTx/>
              <a:buBlip>
                <a:blip r:embed="rId3"/>
              </a:buBlip>
              <a:defRPr>
                <a:solidFill>
                  <a:schemeClr val="bg1"/>
                </a:solidFill>
              </a:defRPr>
            </a:lvl1pPr>
          </a:lstStyle>
          <a:p>
            <a:endParaRPr lang="de-DE"/>
          </a:p>
          <a:p>
            <a:endParaRPr lang="de-DE"/>
          </a:p>
          <a:p>
            <a:endParaRPr lang="de-DE"/>
          </a:p>
          <a:p>
            <a:endParaRPr lang="de-DE"/>
          </a:p>
          <a:p>
            <a:endParaRPr lang="de-DE"/>
          </a:p>
          <a:p>
            <a:r>
              <a:rPr lang="de-DE"/>
              <a:t>Please insert image</a:t>
            </a:r>
          </a:p>
        </p:txBody>
      </p:sp>
      <p:sp>
        <p:nvSpPr>
          <p:cNvPr id="11" name="Titel 1">
            <a:extLst>
              <a:ext uri="{FF2B5EF4-FFF2-40B4-BE49-F238E27FC236}">
                <a16:creationId xmlns:a16="http://schemas.microsoft.com/office/drawing/2014/main" id="{2A8699EA-0385-4933-8C53-F1BD8D6805FB}"/>
              </a:ext>
            </a:extLst>
          </p:cNvPr>
          <p:cNvSpPr>
            <a:spLocks noGrp="1"/>
          </p:cNvSpPr>
          <p:nvPr>
            <p:ph type="title"/>
          </p:nvPr>
        </p:nvSpPr>
        <p:spPr>
          <a:xfrm>
            <a:off x="815952" y="4065576"/>
            <a:ext cx="3652531" cy="767737"/>
          </a:xfrm>
        </p:spPr>
        <p:txBody>
          <a:bodyPr/>
          <a:lstStyle>
            <a:lvl1pPr>
              <a:lnSpc>
                <a:spcPct val="100000"/>
              </a:lnSpc>
              <a:defRPr/>
            </a:lvl1pPr>
          </a:lstStyle>
          <a:p>
            <a:r>
              <a:rPr lang="de-DE"/>
              <a:t>Mastertitelformat bearbeiten</a:t>
            </a:r>
          </a:p>
        </p:txBody>
      </p:sp>
      <p:sp>
        <p:nvSpPr>
          <p:cNvPr id="12" name="Textplatzhalter 9">
            <a:extLst>
              <a:ext uri="{FF2B5EF4-FFF2-40B4-BE49-F238E27FC236}">
                <a16:creationId xmlns:a16="http://schemas.microsoft.com/office/drawing/2014/main" id="{F9CB09F1-B2E8-4EA2-BDF8-9DA91991A330}"/>
              </a:ext>
            </a:extLst>
          </p:cNvPr>
          <p:cNvSpPr>
            <a:spLocks noGrp="1"/>
          </p:cNvSpPr>
          <p:nvPr>
            <p:ph type="body" sz="quarter" idx="12"/>
          </p:nvPr>
        </p:nvSpPr>
        <p:spPr>
          <a:xfrm>
            <a:off x="815951" y="5124450"/>
            <a:ext cx="3451249" cy="1301750"/>
          </a:xfrm>
          <a:prstGeom prst="rect">
            <a:avLst/>
          </a:prstGeom>
        </p:spPr>
        <p:txBody>
          <a:bodyPr lIns="0" tIns="0" rIns="0" bIns="0">
            <a:normAutofit/>
          </a:bodyPr>
          <a:lstStyle>
            <a:lvl1pPr>
              <a:defRPr sz="1800"/>
            </a:lvl1pPr>
            <a:lvl2pPr>
              <a:defRPr sz="1800"/>
            </a:lvl2pPr>
            <a:lvl3pPr>
              <a:defRPr sz="1800"/>
            </a:lvl3pPr>
            <a:lvl4pPr>
              <a:defRPr sz="1800"/>
            </a:lvl4pPr>
            <a:lvl5pPr>
              <a:defRPr sz="18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474879914"/>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8" dur="1000" decel="100000" fill="hold" grpId="0" nodeType="withEffect">
                                  <p:stCondLst>
                                    <p:cond delay="25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1000" fill="hold"/>
                                        <p:tgtEl>
                                          <p:spTgt spid="11"/>
                                        </p:tgtEl>
                                        <p:attrNameLst>
                                          <p:attrName>ppt_x</p:attrName>
                                        </p:attrNameLst>
                                      </p:cBhvr>
                                      <p:tavLst>
                                        <p:tav tm="0">
                                          <p:val>
                                            <p:strVal val="0-#ppt_w/2"/>
                                          </p:val>
                                        </p:tav>
                                        <p:tav tm="100000">
                                          <p:val>
                                            <p:strVal val="#ppt_x"/>
                                          </p:val>
                                        </p:tav>
                                      </p:tavLst>
                                    </p:anim>
                                    <p:anim calcmode="lin" valueType="num">
                                      <p:cBhvr additive="base">
                                        <p:cTn id="8" dur="1000" fill="hold"/>
                                        <p:tgtEl>
                                          <p:spTgt spid="11"/>
                                        </p:tgtEl>
                                        <p:attrNameLst>
                                          <p:attrName>ppt_y</p:attrName>
                                        </p:attrNameLst>
                                      </p:cBhvr>
                                      <p:tavLst>
                                        <p:tav tm="0">
                                          <p:val>
                                            <p:strVal val="#ppt_y"/>
                                          </p:val>
                                        </p:tav>
                                        <p:tav tm="100000">
                                          <p:val>
                                            <p:strVal val="#ppt_y"/>
                                          </p:val>
                                        </p:tav>
                                      </p:tavLst>
                                    </p:anim>
                                  </p:childTnLst>
                                </p:cTn>
                              </p:par>
                              <p:par>
                                <p:cTn id="9" presetID="2" presetClass="entr" presetSubtype="8" dur="1000" decel="100000" fill="hold" grpId="0" nodeType="withEffect">
                                  <p:stCondLst>
                                    <p:cond delay="500"/>
                                  </p:stCondLst>
                                  <p:childTnLst>
                                    <p:set>
                                      <p:cBhvr>
                                        <p:cTn id="10" dur="1" fill="hold">
                                          <p:stCondLst>
                                            <p:cond delay="0"/>
                                          </p:stCondLst>
                                        </p:cTn>
                                        <p:tgtEl>
                                          <p:spTgt spid="12"/>
                                        </p:tgtEl>
                                        <p:attrNameLst>
                                          <p:attrName>style.visibility</p:attrName>
                                        </p:attrNameLst>
                                      </p:cBhvr>
                                      <p:to>
                                        <p:strVal val="visible"/>
                                      </p:to>
                                    </p:set>
                                    <p:anim calcmode="lin" valueType="num">
                                      <p:cBhvr additive="base">
                                        <p:cTn id="11" dur="1000" fill="hold"/>
                                        <p:tgtEl>
                                          <p:spTgt spid="12"/>
                                        </p:tgtEl>
                                        <p:attrNameLst>
                                          <p:attrName>ppt_x</p:attrName>
                                        </p:attrNameLst>
                                      </p:cBhvr>
                                      <p:tavLst>
                                        <p:tav tm="0">
                                          <p:val>
                                            <p:strVal val="0-#ppt_w/2"/>
                                          </p:val>
                                        </p:tav>
                                        <p:tav tm="100000">
                                          <p:val>
                                            <p:strVal val="#ppt_x"/>
                                          </p:val>
                                        </p:tav>
                                      </p:tavLst>
                                    </p:anim>
                                    <p:anim calcmode="lin" valueType="num">
                                      <p:cBhvr additive="base">
                                        <p:cTn id="12" dur="100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tmplLst>
          <p:tmpl>
            <p:tnLst>
              <p:par>
                <p:cTn presetID="2" presetClass="entr" presetSubtype="8" decel="100000" fill="hold" nodeType="withEffect">
                  <p:stCondLst>
                    <p:cond delay="500"/>
                  </p:stCondLst>
                  <p:childTnLst>
                    <p:set>
                      <p:cBhvr>
                        <p:cTn dur="1" fill="hold">
                          <p:stCondLst>
                            <p:cond delay="0"/>
                          </p:stCondLst>
                        </p:cTn>
                        <p:tgtEl>
                          <p:spTgt spid="12"/>
                        </p:tgtEl>
                        <p:attrNameLst>
                          <p:attrName>style.visibility</p:attrName>
                        </p:attrNameLst>
                      </p:cBhvr>
                      <p:to>
                        <p:strVal val="visible"/>
                      </p:to>
                    </p:set>
                    <p:anim calcmode="lin" valueType="num">
                      <p:cBhvr additive="base">
                        <p:cTn dur="1000" fill="hold"/>
                        <p:tgtEl>
                          <p:spTgt spid="12"/>
                        </p:tgtEl>
                        <p:attrNameLst>
                          <p:attrName>ppt_x</p:attrName>
                        </p:attrNameLst>
                      </p:cBhvr>
                      <p:tavLst>
                        <p:tav tm="0">
                          <p:val>
                            <p:strVal val="0-#ppt_w/2"/>
                          </p:val>
                        </p:tav>
                        <p:tav tm="100000">
                          <p:val>
                            <p:strVal val="#ppt_x"/>
                          </p:val>
                        </p:tav>
                      </p:tavLst>
                    </p:anim>
                    <p:anim calcmode="lin" valueType="num">
                      <p:cBhvr additive="base">
                        <p:cTn dur="1000" fill="hold"/>
                        <p:tgtEl>
                          <p:spTgt spid="12"/>
                        </p:tgtEl>
                        <p:attrNameLst>
                          <p:attrName>ppt_y</p:attrName>
                        </p:attrNameLst>
                      </p:cBhvr>
                      <p:tavLst>
                        <p:tav tm="0">
                          <p:val>
                            <p:strVal val="#ppt_y"/>
                          </p:val>
                        </p:tav>
                        <p:tav tm="100000">
                          <p:val>
                            <p:strVal val="#ppt_y"/>
                          </p:val>
                        </p:tav>
                      </p:tavLst>
                    </p:anim>
                  </p:childTnLst>
                </p:cTn>
              </p:par>
            </p:tnLst>
          </p:tmpl>
        </p:tmplLst>
      </p:bldP>
    </p:bldLst>
  </p:timing>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FULL-PAGE IMAGE text bottom center">
    <p:spTree>
      <p:nvGrpSpPr>
        <p:cNvPr id="1" name=""/>
        <p:cNvGrpSpPr/>
        <p:nvPr/>
      </p:nvGrpSpPr>
      <p:grpSpPr>
        <a:xfrm>
          <a:off x="0" y="0"/>
          <a:ext cx="0" cy="0"/>
          <a:chOff x="0" y="0"/>
          <a:chExt cx="0" cy="0"/>
        </a:xfrm>
      </p:grpSpPr>
      <p:sp>
        <p:nvSpPr>
          <p:cNvPr id="481" name="Grafik 13">
            <a:extLst>
              <a:ext uri="{FF2B5EF4-FFF2-40B4-BE49-F238E27FC236}">
                <a16:creationId xmlns:a16="http://schemas.microsoft.com/office/drawing/2014/main" id="{4D1543FA-FDF4-4E61-B856-8D14A75C3380}"/>
              </a:ext>
            </a:extLst>
          </p:cNvPr>
          <p:cNvSpPr/>
          <p:nvPr userDrawn="1"/>
        </p:nvSpPr>
        <p:spPr>
          <a:xfrm>
            <a:off x="0" y="8693397"/>
            <a:ext cx="12192000" cy="3347720"/>
          </a:xfrm>
          <a:custGeom>
            <a:avLst/>
            <a:gdLst>
              <a:gd name="connsiteX0" fmla="*/ 6095365 w 12192000"/>
              <a:gd name="connsiteY0" fmla="*/ 0 h 3347720"/>
              <a:gd name="connsiteX1" fmla="*/ 0 w 12192000"/>
              <a:gd name="connsiteY1" fmla="*/ 2462530 h 3347720"/>
              <a:gd name="connsiteX2" fmla="*/ 0 w 12192000"/>
              <a:gd name="connsiteY2" fmla="*/ 3347720 h 3347720"/>
              <a:gd name="connsiteX3" fmla="*/ 6095365 w 12192000"/>
              <a:gd name="connsiteY3" fmla="*/ 885825 h 3347720"/>
              <a:gd name="connsiteX4" fmla="*/ 12192000 w 12192000"/>
              <a:gd name="connsiteY4" fmla="*/ 3324860 h 3347720"/>
              <a:gd name="connsiteX5" fmla="*/ 12192000 w 12192000"/>
              <a:gd name="connsiteY5" fmla="*/ 2439670 h 3347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3347720">
                <a:moveTo>
                  <a:pt x="6095365" y="0"/>
                </a:moveTo>
                <a:lnTo>
                  <a:pt x="0" y="2462530"/>
                </a:lnTo>
                <a:lnTo>
                  <a:pt x="0" y="3347720"/>
                </a:lnTo>
                <a:lnTo>
                  <a:pt x="6095365" y="885825"/>
                </a:lnTo>
                <a:lnTo>
                  <a:pt x="12192000" y="3324860"/>
                </a:lnTo>
                <a:lnTo>
                  <a:pt x="12192000" y="2439670"/>
                </a:lnTo>
                <a:close/>
              </a:path>
            </a:pathLst>
          </a:custGeom>
          <a:solidFill>
            <a:schemeClr val="accent3">
              <a:lumMod val="20000"/>
              <a:lumOff val="80000"/>
            </a:schemeClr>
          </a:solidFill>
          <a:ln w="6350" cap="flat">
            <a:noFill/>
            <a:prstDash val="solid"/>
            <a:miter/>
          </a:ln>
        </p:spPr>
        <p:txBody>
          <a:bodyPr rtlCol="0" anchor="ctr"/>
          <a:lstStyle/>
          <a:p>
            <a:endParaRPr lang="de-DE"/>
          </a:p>
        </p:txBody>
      </p:sp>
      <p:sp>
        <p:nvSpPr>
          <p:cNvPr id="482" name="Grafik 13">
            <a:extLst>
              <a:ext uri="{FF2B5EF4-FFF2-40B4-BE49-F238E27FC236}">
                <a16:creationId xmlns:a16="http://schemas.microsoft.com/office/drawing/2014/main" id="{49BBE06C-549C-4351-9A48-40F9C0B44BAE}"/>
              </a:ext>
            </a:extLst>
          </p:cNvPr>
          <p:cNvSpPr/>
          <p:nvPr userDrawn="1"/>
        </p:nvSpPr>
        <p:spPr>
          <a:xfrm>
            <a:off x="0" y="7818345"/>
            <a:ext cx="12192000" cy="3347720"/>
          </a:xfrm>
          <a:custGeom>
            <a:avLst/>
            <a:gdLst>
              <a:gd name="connsiteX0" fmla="*/ 6095365 w 12192000"/>
              <a:gd name="connsiteY0" fmla="*/ 0 h 3347720"/>
              <a:gd name="connsiteX1" fmla="*/ 0 w 12192000"/>
              <a:gd name="connsiteY1" fmla="*/ 2462530 h 3347720"/>
              <a:gd name="connsiteX2" fmla="*/ 0 w 12192000"/>
              <a:gd name="connsiteY2" fmla="*/ 3347720 h 3347720"/>
              <a:gd name="connsiteX3" fmla="*/ 6095365 w 12192000"/>
              <a:gd name="connsiteY3" fmla="*/ 885825 h 3347720"/>
              <a:gd name="connsiteX4" fmla="*/ 12192000 w 12192000"/>
              <a:gd name="connsiteY4" fmla="*/ 3324860 h 3347720"/>
              <a:gd name="connsiteX5" fmla="*/ 12192000 w 12192000"/>
              <a:gd name="connsiteY5" fmla="*/ 2439670 h 3347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3347720">
                <a:moveTo>
                  <a:pt x="6095365" y="0"/>
                </a:moveTo>
                <a:lnTo>
                  <a:pt x="0" y="2462530"/>
                </a:lnTo>
                <a:lnTo>
                  <a:pt x="0" y="3347720"/>
                </a:lnTo>
                <a:lnTo>
                  <a:pt x="6095365" y="885825"/>
                </a:lnTo>
                <a:lnTo>
                  <a:pt x="12192000" y="3324860"/>
                </a:lnTo>
                <a:lnTo>
                  <a:pt x="12192000" y="2439670"/>
                </a:lnTo>
                <a:close/>
              </a:path>
            </a:pathLst>
          </a:custGeom>
          <a:solidFill>
            <a:schemeClr val="accent3">
              <a:lumMod val="40000"/>
              <a:lumOff val="60000"/>
            </a:schemeClr>
          </a:solidFill>
          <a:ln w="6350" cap="flat">
            <a:noFill/>
            <a:prstDash val="solid"/>
            <a:miter/>
          </a:ln>
        </p:spPr>
        <p:txBody>
          <a:bodyPr rtlCol="0" anchor="ctr"/>
          <a:lstStyle/>
          <a:p>
            <a:endParaRPr lang="de-DE"/>
          </a:p>
        </p:txBody>
      </p:sp>
      <p:sp>
        <p:nvSpPr>
          <p:cNvPr id="483" name="Grafik 13">
            <a:extLst>
              <a:ext uri="{FF2B5EF4-FFF2-40B4-BE49-F238E27FC236}">
                <a16:creationId xmlns:a16="http://schemas.microsoft.com/office/drawing/2014/main" id="{236659E1-90C9-4BB4-9C63-13A14C35078D}"/>
              </a:ext>
            </a:extLst>
          </p:cNvPr>
          <p:cNvSpPr/>
          <p:nvPr userDrawn="1"/>
        </p:nvSpPr>
        <p:spPr>
          <a:xfrm>
            <a:off x="0" y="6954745"/>
            <a:ext cx="12192000" cy="3347720"/>
          </a:xfrm>
          <a:custGeom>
            <a:avLst/>
            <a:gdLst>
              <a:gd name="connsiteX0" fmla="*/ 6095365 w 12192000"/>
              <a:gd name="connsiteY0" fmla="*/ 0 h 3347720"/>
              <a:gd name="connsiteX1" fmla="*/ 0 w 12192000"/>
              <a:gd name="connsiteY1" fmla="*/ 2462530 h 3347720"/>
              <a:gd name="connsiteX2" fmla="*/ 0 w 12192000"/>
              <a:gd name="connsiteY2" fmla="*/ 3347720 h 3347720"/>
              <a:gd name="connsiteX3" fmla="*/ 6095365 w 12192000"/>
              <a:gd name="connsiteY3" fmla="*/ 885825 h 3347720"/>
              <a:gd name="connsiteX4" fmla="*/ 12192000 w 12192000"/>
              <a:gd name="connsiteY4" fmla="*/ 3324860 h 3347720"/>
              <a:gd name="connsiteX5" fmla="*/ 12192000 w 12192000"/>
              <a:gd name="connsiteY5" fmla="*/ 2439670 h 3347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3347720">
                <a:moveTo>
                  <a:pt x="6095365" y="0"/>
                </a:moveTo>
                <a:lnTo>
                  <a:pt x="0" y="2462530"/>
                </a:lnTo>
                <a:lnTo>
                  <a:pt x="0" y="3347720"/>
                </a:lnTo>
                <a:lnTo>
                  <a:pt x="6095365" y="885825"/>
                </a:lnTo>
                <a:lnTo>
                  <a:pt x="12192000" y="3324860"/>
                </a:lnTo>
                <a:lnTo>
                  <a:pt x="12192000" y="2439670"/>
                </a:lnTo>
                <a:close/>
              </a:path>
            </a:pathLst>
          </a:custGeom>
          <a:solidFill>
            <a:schemeClr val="accent3">
              <a:lumMod val="60000"/>
              <a:lumOff val="40000"/>
            </a:schemeClr>
          </a:solidFill>
          <a:ln w="6350" cap="flat">
            <a:noFill/>
            <a:prstDash val="solid"/>
            <a:miter/>
          </a:ln>
        </p:spPr>
        <p:txBody>
          <a:bodyPr rtlCol="0" anchor="ctr"/>
          <a:lstStyle/>
          <a:p>
            <a:endParaRPr lang="de-DE"/>
          </a:p>
        </p:txBody>
      </p:sp>
      <p:sp>
        <p:nvSpPr>
          <p:cNvPr id="18" name="Rechteck 17">
            <a:extLst>
              <a:ext uri="{FF2B5EF4-FFF2-40B4-BE49-F238E27FC236}">
                <a16:creationId xmlns:a16="http://schemas.microsoft.com/office/drawing/2014/main" id="{3D2D154A-E7CE-46EC-BD7D-2D9A877F1943}"/>
              </a:ext>
            </a:extLst>
          </p:cNvPr>
          <p:cNvSpPr/>
          <p:nvPr userDrawn="1"/>
        </p:nvSpPr>
        <p:spPr>
          <a:xfrm>
            <a:off x="0" y="0"/>
            <a:ext cx="12192000" cy="812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Bildplatzhalter 20">
            <a:extLst>
              <a:ext uri="{FF2B5EF4-FFF2-40B4-BE49-F238E27FC236}">
                <a16:creationId xmlns:a16="http://schemas.microsoft.com/office/drawing/2014/main" id="{3D985845-4242-4416-830F-23D964832120}"/>
              </a:ext>
            </a:extLst>
          </p:cNvPr>
          <p:cNvSpPr>
            <a:spLocks noGrp="1"/>
          </p:cNvSpPr>
          <p:nvPr>
            <p:ph type="pic" sz="quarter" idx="11"/>
          </p:nvPr>
        </p:nvSpPr>
        <p:spPr>
          <a:xfrm>
            <a:off x="0" y="0"/>
            <a:ext cx="12192000" cy="6858000"/>
          </a:xfrm>
          <a:custGeom>
            <a:avLst/>
            <a:gdLst>
              <a:gd name="connsiteX0" fmla="*/ 12192000 w 12192000"/>
              <a:gd name="connsiteY0" fmla="*/ 6854826 h 6858000"/>
              <a:gd name="connsiteX1" fmla="*/ 12192000 w 12192000"/>
              <a:gd name="connsiteY1" fmla="*/ 6857999 h 6858000"/>
              <a:gd name="connsiteX2" fmla="*/ 12192000 w 12192000"/>
              <a:gd name="connsiteY2" fmla="*/ 6858000 h 6858000"/>
              <a:gd name="connsiteX3" fmla="*/ 11898071 w 12192000"/>
              <a:gd name="connsiteY3" fmla="*/ 6858000 h 6858000"/>
              <a:gd name="connsiteX4" fmla="*/ 11898072 w 12192000"/>
              <a:gd name="connsiteY4" fmla="*/ 6857999 h 6858000"/>
              <a:gd name="connsiteX5" fmla="*/ 11854047 w 12192000"/>
              <a:gd name="connsiteY5" fmla="*/ 6857999 h 6858000"/>
              <a:gd name="connsiteX6" fmla="*/ 11854046 w 12192000"/>
              <a:gd name="connsiteY6" fmla="*/ 6858000 h 6858000"/>
              <a:gd name="connsiteX7" fmla="*/ 11343792 w 12192000"/>
              <a:gd name="connsiteY7" fmla="*/ 6858000 h 6858000"/>
              <a:gd name="connsiteX8" fmla="*/ 11343793 w 12192000"/>
              <a:gd name="connsiteY8" fmla="*/ 6857999 h 6858000"/>
              <a:gd name="connsiteX9" fmla="*/ 11299647 w 12192000"/>
              <a:gd name="connsiteY9" fmla="*/ 6857999 h 6858000"/>
              <a:gd name="connsiteX10" fmla="*/ 11299646 w 12192000"/>
              <a:gd name="connsiteY10" fmla="*/ 6858000 h 6858000"/>
              <a:gd name="connsiteX11" fmla="*/ 10921262 w 12192000"/>
              <a:gd name="connsiteY11" fmla="*/ 6858000 h 6858000"/>
              <a:gd name="connsiteX12" fmla="*/ 10921263 w 12192000"/>
              <a:gd name="connsiteY12" fmla="*/ 6857999 h 6858000"/>
              <a:gd name="connsiteX13" fmla="*/ 10877189 w 12192000"/>
              <a:gd name="connsiteY13" fmla="*/ 6857999 h 6858000"/>
              <a:gd name="connsiteX14" fmla="*/ 10877188 w 12192000"/>
              <a:gd name="connsiteY14" fmla="*/ 6858000 h 6858000"/>
              <a:gd name="connsiteX15" fmla="*/ 6337280 w 12192000"/>
              <a:gd name="connsiteY15" fmla="*/ 6858000 h 6858000"/>
              <a:gd name="connsiteX16" fmla="*/ 2719933 w 12192000"/>
              <a:gd name="connsiteY16" fmla="*/ 363014 h 6858000"/>
              <a:gd name="connsiteX17" fmla="*/ 2719933 w 12192000"/>
              <a:gd name="connsiteY17" fmla="*/ 376799 h 6858000"/>
              <a:gd name="connsiteX18" fmla="*/ 2785484 w 12192000"/>
              <a:gd name="connsiteY18" fmla="*/ 376799 h 6858000"/>
              <a:gd name="connsiteX19" fmla="*/ 2785484 w 12192000"/>
              <a:gd name="connsiteY19" fmla="*/ 363014 h 6858000"/>
              <a:gd name="connsiteX20" fmla="*/ 4027010 w 12192000"/>
              <a:gd name="connsiteY20" fmla="*/ 345722 h 6858000"/>
              <a:gd name="connsiteX21" fmla="*/ 4027372 w 12192000"/>
              <a:gd name="connsiteY21" fmla="*/ 345722 h 6858000"/>
              <a:gd name="connsiteX22" fmla="*/ 4038255 w 12192000"/>
              <a:gd name="connsiteY22" fmla="*/ 380306 h 6858000"/>
              <a:gd name="connsiteX23" fmla="*/ 4016066 w 12192000"/>
              <a:gd name="connsiteY23" fmla="*/ 380306 h 6858000"/>
              <a:gd name="connsiteX24" fmla="*/ 2464909 w 12192000"/>
              <a:gd name="connsiteY24" fmla="*/ 345722 h 6858000"/>
              <a:gd name="connsiteX25" fmla="*/ 2465272 w 12192000"/>
              <a:gd name="connsiteY25" fmla="*/ 345722 h 6858000"/>
              <a:gd name="connsiteX26" fmla="*/ 2476155 w 12192000"/>
              <a:gd name="connsiteY26" fmla="*/ 380306 h 6858000"/>
              <a:gd name="connsiteX27" fmla="*/ 2453966 w 12192000"/>
              <a:gd name="connsiteY27" fmla="*/ 380306 h 6858000"/>
              <a:gd name="connsiteX28" fmla="*/ 2179159 w 12192000"/>
              <a:gd name="connsiteY28" fmla="*/ 345722 h 6858000"/>
              <a:gd name="connsiteX29" fmla="*/ 2179522 w 12192000"/>
              <a:gd name="connsiteY29" fmla="*/ 345722 h 6858000"/>
              <a:gd name="connsiteX30" fmla="*/ 2190405 w 12192000"/>
              <a:gd name="connsiteY30" fmla="*/ 380306 h 6858000"/>
              <a:gd name="connsiteX31" fmla="*/ 2168216 w 12192000"/>
              <a:gd name="connsiteY31" fmla="*/ 380306 h 6858000"/>
              <a:gd name="connsiteX32" fmla="*/ 4213068 w 12192000"/>
              <a:gd name="connsiteY32" fmla="*/ 338708 h 6858000"/>
              <a:gd name="connsiteX33" fmla="*/ 4224737 w 12192000"/>
              <a:gd name="connsiteY33" fmla="*/ 338708 h 6858000"/>
              <a:gd name="connsiteX34" fmla="*/ 4239610 w 12192000"/>
              <a:gd name="connsiteY34" fmla="*/ 345111 h 6858000"/>
              <a:gd name="connsiteX35" fmla="*/ 4244992 w 12192000"/>
              <a:gd name="connsiteY35" fmla="*/ 361721 h 6858000"/>
              <a:gd name="connsiteX36" fmla="*/ 4244992 w 12192000"/>
              <a:gd name="connsiteY36" fmla="*/ 376398 h 6858000"/>
              <a:gd name="connsiteX37" fmla="*/ 4239610 w 12192000"/>
              <a:gd name="connsiteY37" fmla="*/ 393129 h 6858000"/>
              <a:gd name="connsiteX38" fmla="*/ 4224737 w 12192000"/>
              <a:gd name="connsiteY38" fmla="*/ 399532 h 6858000"/>
              <a:gd name="connsiteX39" fmla="*/ 4213068 w 12192000"/>
              <a:gd name="connsiteY39" fmla="*/ 399532 h 6858000"/>
              <a:gd name="connsiteX40" fmla="*/ 4108293 w 12192000"/>
              <a:gd name="connsiteY40" fmla="*/ 338708 h 6858000"/>
              <a:gd name="connsiteX41" fmla="*/ 4123832 w 12192000"/>
              <a:gd name="connsiteY41" fmla="*/ 338708 h 6858000"/>
              <a:gd name="connsiteX42" fmla="*/ 4134624 w 12192000"/>
              <a:gd name="connsiteY42" fmla="*/ 342275 h 6858000"/>
              <a:gd name="connsiteX43" fmla="*/ 4138282 w 12192000"/>
              <a:gd name="connsiteY43" fmla="*/ 351889 h 6858000"/>
              <a:gd name="connsiteX44" fmla="*/ 4134624 w 12192000"/>
              <a:gd name="connsiteY44" fmla="*/ 361200 h 6858000"/>
              <a:gd name="connsiteX45" fmla="*/ 4123529 w 12192000"/>
              <a:gd name="connsiteY45" fmla="*/ 364344 h 6858000"/>
              <a:gd name="connsiteX46" fmla="*/ 4108293 w 12192000"/>
              <a:gd name="connsiteY46" fmla="*/ 364344 h 6858000"/>
              <a:gd name="connsiteX47" fmla="*/ 3774918 w 12192000"/>
              <a:gd name="connsiteY47" fmla="*/ 338708 h 6858000"/>
              <a:gd name="connsiteX48" fmla="*/ 3790457 w 12192000"/>
              <a:gd name="connsiteY48" fmla="*/ 338708 h 6858000"/>
              <a:gd name="connsiteX49" fmla="*/ 3801249 w 12192000"/>
              <a:gd name="connsiteY49" fmla="*/ 342275 h 6858000"/>
              <a:gd name="connsiteX50" fmla="*/ 3804907 w 12192000"/>
              <a:gd name="connsiteY50" fmla="*/ 351889 h 6858000"/>
              <a:gd name="connsiteX51" fmla="*/ 3801249 w 12192000"/>
              <a:gd name="connsiteY51" fmla="*/ 361200 h 6858000"/>
              <a:gd name="connsiteX52" fmla="*/ 3790154 w 12192000"/>
              <a:gd name="connsiteY52" fmla="*/ 364344 h 6858000"/>
              <a:gd name="connsiteX53" fmla="*/ 3774918 w 12192000"/>
              <a:gd name="connsiteY53" fmla="*/ 364344 h 6858000"/>
              <a:gd name="connsiteX54" fmla="*/ 2546193 w 12192000"/>
              <a:gd name="connsiteY54" fmla="*/ 338708 h 6858000"/>
              <a:gd name="connsiteX55" fmla="*/ 2557862 w 12192000"/>
              <a:gd name="connsiteY55" fmla="*/ 338708 h 6858000"/>
              <a:gd name="connsiteX56" fmla="*/ 2572735 w 12192000"/>
              <a:gd name="connsiteY56" fmla="*/ 345111 h 6858000"/>
              <a:gd name="connsiteX57" fmla="*/ 2578116 w 12192000"/>
              <a:gd name="connsiteY57" fmla="*/ 361721 h 6858000"/>
              <a:gd name="connsiteX58" fmla="*/ 2578116 w 12192000"/>
              <a:gd name="connsiteY58" fmla="*/ 376398 h 6858000"/>
              <a:gd name="connsiteX59" fmla="*/ 2572735 w 12192000"/>
              <a:gd name="connsiteY59" fmla="*/ 393129 h 6858000"/>
              <a:gd name="connsiteX60" fmla="*/ 2557862 w 12192000"/>
              <a:gd name="connsiteY60" fmla="*/ 399532 h 6858000"/>
              <a:gd name="connsiteX61" fmla="*/ 2546193 w 12192000"/>
              <a:gd name="connsiteY61" fmla="*/ 399532 h 6858000"/>
              <a:gd name="connsiteX62" fmla="*/ 3686347 w 12192000"/>
              <a:gd name="connsiteY62" fmla="*/ 337620 h 6858000"/>
              <a:gd name="connsiteX63" fmla="*/ 3700495 w 12192000"/>
              <a:gd name="connsiteY63" fmla="*/ 344223 h 6858000"/>
              <a:gd name="connsiteX64" fmla="*/ 3705634 w 12192000"/>
              <a:gd name="connsiteY64" fmla="*/ 361124 h 6858000"/>
              <a:gd name="connsiteX65" fmla="*/ 3705634 w 12192000"/>
              <a:gd name="connsiteY65" fmla="*/ 377116 h 6858000"/>
              <a:gd name="connsiteX66" fmla="*/ 3700555 w 12192000"/>
              <a:gd name="connsiteY66" fmla="*/ 394199 h 6858000"/>
              <a:gd name="connsiteX67" fmla="*/ 3686407 w 12192000"/>
              <a:gd name="connsiteY67" fmla="*/ 400802 h 6858000"/>
              <a:gd name="connsiteX68" fmla="*/ 3672440 w 12192000"/>
              <a:gd name="connsiteY68" fmla="*/ 394199 h 6858000"/>
              <a:gd name="connsiteX69" fmla="*/ 3667422 w 12192000"/>
              <a:gd name="connsiteY69" fmla="*/ 377116 h 6858000"/>
              <a:gd name="connsiteX70" fmla="*/ 3667422 w 12192000"/>
              <a:gd name="connsiteY70" fmla="*/ 361124 h 6858000"/>
              <a:gd name="connsiteX71" fmla="*/ 3672380 w 12192000"/>
              <a:gd name="connsiteY71" fmla="*/ 344193 h 6858000"/>
              <a:gd name="connsiteX72" fmla="*/ 3686347 w 12192000"/>
              <a:gd name="connsiteY72" fmla="*/ 337620 h 6858000"/>
              <a:gd name="connsiteX73" fmla="*/ 3038647 w 12192000"/>
              <a:gd name="connsiteY73" fmla="*/ 337620 h 6858000"/>
              <a:gd name="connsiteX74" fmla="*/ 3052794 w 12192000"/>
              <a:gd name="connsiteY74" fmla="*/ 344223 h 6858000"/>
              <a:gd name="connsiteX75" fmla="*/ 3057934 w 12192000"/>
              <a:gd name="connsiteY75" fmla="*/ 361124 h 6858000"/>
              <a:gd name="connsiteX76" fmla="*/ 3057934 w 12192000"/>
              <a:gd name="connsiteY76" fmla="*/ 377116 h 6858000"/>
              <a:gd name="connsiteX77" fmla="*/ 3052855 w 12192000"/>
              <a:gd name="connsiteY77" fmla="*/ 394199 h 6858000"/>
              <a:gd name="connsiteX78" fmla="*/ 3038707 w 12192000"/>
              <a:gd name="connsiteY78" fmla="*/ 400802 h 6858000"/>
              <a:gd name="connsiteX79" fmla="*/ 3024740 w 12192000"/>
              <a:gd name="connsiteY79" fmla="*/ 394199 h 6858000"/>
              <a:gd name="connsiteX80" fmla="*/ 3019722 w 12192000"/>
              <a:gd name="connsiteY80" fmla="*/ 377116 h 6858000"/>
              <a:gd name="connsiteX81" fmla="*/ 3019722 w 12192000"/>
              <a:gd name="connsiteY81" fmla="*/ 361124 h 6858000"/>
              <a:gd name="connsiteX82" fmla="*/ 3024680 w 12192000"/>
              <a:gd name="connsiteY82" fmla="*/ 344193 h 6858000"/>
              <a:gd name="connsiteX83" fmla="*/ 3038647 w 12192000"/>
              <a:gd name="connsiteY83" fmla="*/ 337620 h 6858000"/>
              <a:gd name="connsiteX84" fmla="*/ 4195413 w 12192000"/>
              <a:gd name="connsiteY84" fmla="*/ 325104 h 6858000"/>
              <a:gd name="connsiteX85" fmla="*/ 4195413 w 12192000"/>
              <a:gd name="connsiteY85" fmla="*/ 413136 h 6858000"/>
              <a:gd name="connsiteX86" fmla="*/ 4225644 w 12192000"/>
              <a:gd name="connsiteY86" fmla="*/ 413136 h 6858000"/>
              <a:gd name="connsiteX87" fmla="*/ 4252247 w 12192000"/>
              <a:gd name="connsiteY87" fmla="*/ 402888 h 6858000"/>
              <a:gd name="connsiteX88" fmla="*/ 4262707 w 12192000"/>
              <a:gd name="connsiteY88" fmla="*/ 376436 h 6858000"/>
              <a:gd name="connsiteX89" fmla="*/ 4262707 w 12192000"/>
              <a:gd name="connsiteY89" fmla="*/ 361865 h 6858000"/>
              <a:gd name="connsiteX90" fmla="*/ 4252247 w 12192000"/>
              <a:gd name="connsiteY90" fmla="*/ 335413 h 6858000"/>
              <a:gd name="connsiteX91" fmla="*/ 4225644 w 12192000"/>
              <a:gd name="connsiteY91" fmla="*/ 325104 h 6858000"/>
              <a:gd name="connsiteX92" fmla="*/ 4090638 w 12192000"/>
              <a:gd name="connsiteY92" fmla="*/ 325104 h 6858000"/>
              <a:gd name="connsiteX93" fmla="*/ 4090638 w 12192000"/>
              <a:gd name="connsiteY93" fmla="*/ 413136 h 6858000"/>
              <a:gd name="connsiteX94" fmla="*/ 4108293 w 12192000"/>
              <a:gd name="connsiteY94" fmla="*/ 413136 h 6858000"/>
              <a:gd name="connsiteX95" fmla="*/ 4108293 w 12192000"/>
              <a:gd name="connsiteY95" fmla="*/ 377948 h 6858000"/>
              <a:gd name="connsiteX96" fmla="*/ 4125101 w 12192000"/>
              <a:gd name="connsiteY96" fmla="*/ 377948 h 6858000"/>
              <a:gd name="connsiteX97" fmla="*/ 4135228 w 12192000"/>
              <a:gd name="connsiteY97" fmla="*/ 381605 h 6858000"/>
              <a:gd name="connsiteX98" fmla="*/ 4138826 w 12192000"/>
              <a:gd name="connsiteY98" fmla="*/ 391854 h 6858000"/>
              <a:gd name="connsiteX99" fmla="*/ 4138826 w 12192000"/>
              <a:gd name="connsiteY99" fmla="*/ 398081 h 6858000"/>
              <a:gd name="connsiteX100" fmla="*/ 4139551 w 12192000"/>
              <a:gd name="connsiteY100" fmla="*/ 406667 h 6858000"/>
              <a:gd name="connsiteX101" fmla="*/ 4142695 w 12192000"/>
              <a:gd name="connsiteY101" fmla="*/ 413136 h 6858000"/>
              <a:gd name="connsiteX102" fmla="*/ 4160894 w 12192000"/>
              <a:gd name="connsiteY102" fmla="*/ 413136 h 6858000"/>
              <a:gd name="connsiteX103" fmla="*/ 4160894 w 12192000"/>
              <a:gd name="connsiteY103" fmla="*/ 411866 h 6858000"/>
              <a:gd name="connsiteX104" fmla="*/ 4157478 w 12192000"/>
              <a:gd name="connsiteY104" fmla="*/ 405911 h 6858000"/>
              <a:gd name="connsiteX105" fmla="*/ 4156481 w 12192000"/>
              <a:gd name="connsiteY105" fmla="*/ 398202 h 6858000"/>
              <a:gd name="connsiteX106" fmla="*/ 4156481 w 12192000"/>
              <a:gd name="connsiteY106" fmla="*/ 391733 h 6858000"/>
              <a:gd name="connsiteX107" fmla="*/ 4153065 w 12192000"/>
              <a:gd name="connsiteY107" fmla="*/ 378431 h 6858000"/>
              <a:gd name="connsiteX108" fmla="*/ 4141849 w 12192000"/>
              <a:gd name="connsiteY108" fmla="*/ 370753 h 6858000"/>
              <a:gd name="connsiteX109" fmla="*/ 4152309 w 12192000"/>
              <a:gd name="connsiteY109" fmla="*/ 362832 h 6858000"/>
              <a:gd name="connsiteX110" fmla="*/ 4155876 w 12192000"/>
              <a:gd name="connsiteY110" fmla="*/ 351103 h 6858000"/>
              <a:gd name="connsiteX111" fmla="*/ 4147381 w 12192000"/>
              <a:gd name="connsiteY111" fmla="*/ 331967 h 6858000"/>
              <a:gd name="connsiteX112" fmla="*/ 4123832 w 12192000"/>
              <a:gd name="connsiteY112" fmla="*/ 325104 h 6858000"/>
              <a:gd name="connsiteX113" fmla="*/ 4018182 w 12192000"/>
              <a:gd name="connsiteY113" fmla="*/ 325104 h 6858000"/>
              <a:gd name="connsiteX114" fmla="*/ 3987891 w 12192000"/>
              <a:gd name="connsiteY114" fmla="*/ 413136 h 6858000"/>
              <a:gd name="connsiteX115" fmla="*/ 4005727 w 12192000"/>
              <a:gd name="connsiteY115" fmla="*/ 413136 h 6858000"/>
              <a:gd name="connsiteX116" fmla="*/ 4011713 w 12192000"/>
              <a:gd name="connsiteY116" fmla="*/ 394151 h 6858000"/>
              <a:gd name="connsiteX117" fmla="*/ 4042609 w 12192000"/>
              <a:gd name="connsiteY117" fmla="*/ 394151 h 6858000"/>
              <a:gd name="connsiteX118" fmla="*/ 4048594 w 12192000"/>
              <a:gd name="connsiteY118" fmla="*/ 413136 h 6858000"/>
              <a:gd name="connsiteX119" fmla="*/ 4066430 w 12192000"/>
              <a:gd name="connsiteY119" fmla="*/ 413136 h 6858000"/>
              <a:gd name="connsiteX120" fmla="*/ 4036260 w 12192000"/>
              <a:gd name="connsiteY120" fmla="*/ 325104 h 6858000"/>
              <a:gd name="connsiteX121" fmla="*/ 3855267 w 12192000"/>
              <a:gd name="connsiteY121" fmla="*/ 325104 h 6858000"/>
              <a:gd name="connsiteX122" fmla="*/ 3875884 w 12192000"/>
              <a:gd name="connsiteY122" fmla="*/ 413136 h 6858000"/>
              <a:gd name="connsiteX123" fmla="*/ 3892269 w 12192000"/>
              <a:gd name="connsiteY123" fmla="*/ 413136 h 6858000"/>
              <a:gd name="connsiteX124" fmla="*/ 3908412 w 12192000"/>
              <a:gd name="connsiteY124" fmla="*/ 355033 h 6858000"/>
              <a:gd name="connsiteX125" fmla="*/ 3908775 w 12192000"/>
              <a:gd name="connsiteY125" fmla="*/ 355033 h 6858000"/>
              <a:gd name="connsiteX126" fmla="*/ 3924918 w 12192000"/>
              <a:gd name="connsiteY126" fmla="*/ 413136 h 6858000"/>
              <a:gd name="connsiteX127" fmla="*/ 3941303 w 12192000"/>
              <a:gd name="connsiteY127" fmla="*/ 413136 h 6858000"/>
              <a:gd name="connsiteX128" fmla="*/ 3961860 w 12192000"/>
              <a:gd name="connsiteY128" fmla="*/ 325104 h 6858000"/>
              <a:gd name="connsiteX129" fmla="*/ 3944628 w 12192000"/>
              <a:gd name="connsiteY129" fmla="*/ 325104 h 6858000"/>
              <a:gd name="connsiteX130" fmla="*/ 3932053 w 12192000"/>
              <a:gd name="connsiteY130" fmla="*/ 385445 h 6858000"/>
              <a:gd name="connsiteX131" fmla="*/ 3931690 w 12192000"/>
              <a:gd name="connsiteY131" fmla="*/ 385445 h 6858000"/>
              <a:gd name="connsiteX132" fmla="*/ 3915063 w 12192000"/>
              <a:gd name="connsiteY132" fmla="*/ 325104 h 6858000"/>
              <a:gd name="connsiteX133" fmla="*/ 3902064 w 12192000"/>
              <a:gd name="connsiteY133" fmla="*/ 325104 h 6858000"/>
              <a:gd name="connsiteX134" fmla="*/ 3885557 w 12192000"/>
              <a:gd name="connsiteY134" fmla="*/ 385445 h 6858000"/>
              <a:gd name="connsiteX135" fmla="*/ 3885195 w 12192000"/>
              <a:gd name="connsiteY135" fmla="*/ 385384 h 6858000"/>
              <a:gd name="connsiteX136" fmla="*/ 3872558 w 12192000"/>
              <a:gd name="connsiteY136" fmla="*/ 325104 h 6858000"/>
              <a:gd name="connsiteX137" fmla="*/ 3757263 w 12192000"/>
              <a:gd name="connsiteY137" fmla="*/ 325104 h 6858000"/>
              <a:gd name="connsiteX138" fmla="*/ 3757263 w 12192000"/>
              <a:gd name="connsiteY138" fmla="*/ 413136 h 6858000"/>
              <a:gd name="connsiteX139" fmla="*/ 3774918 w 12192000"/>
              <a:gd name="connsiteY139" fmla="*/ 413136 h 6858000"/>
              <a:gd name="connsiteX140" fmla="*/ 3774918 w 12192000"/>
              <a:gd name="connsiteY140" fmla="*/ 377948 h 6858000"/>
              <a:gd name="connsiteX141" fmla="*/ 3791726 w 12192000"/>
              <a:gd name="connsiteY141" fmla="*/ 377948 h 6858000"/>
              <a:gd name="connsiteX142" fmla="*/ 3801853 w 12192000"/>
              <a:gd name="connsiteY142" fmla="*/ 381605 h 6858000"/>
              <a:gd name="connsiteX143" fmla="*/ 3805451 w 12192000"/>
              <a:gd name="connsiteY143" fmla="*/ 391854 h 6858000"/>
              <a:gd name="connsiteX144" fmla="*/ 3805451 w 12192000"/>
              <a:gd name="connsiteY144" fmla="*/ 398081 h 6858000"/>
              <a:gd name="connsiteX145" fmla="*/ 3806176 w 12192000"/>
              <a:gd name="connsiteY145" fmla="*/ 406667 h 6858000"/>
              <a:gd name="connsiteX146" fmla="*/ 3809320 w 12192000"/>
              <a:gd name="connsiteY146" fmla="*/ 413136 h 6858000"/>
              <a:gd name="connsiteX147" fmla="*/ 3827519 w 12192000"/>
              <a:gd name="connsiteY147" fmla="*/ 413136 h 6858000"/>
              <a:gd name="connsiteX148" fmla="*/ 3827519 w 12192000"/>
              <a:gd name="connsiteY148" fmla="*/ 411866 h 6858000"/>
              <a:gd name="connsiteX149" fmla="*/ 3824103 w 12192000"/>
              <a:gd name="connsiteY149" fmla="*/ 405911 h 6858000"/>
              <a:gd name="connsiteX150" fmla="*/ 3823106 w 12192000"/>
              <a:gd name="connsiteY150" fmla="*/ 398202 h 6858000"/>
              <a:gd name="connsiteX151" fmla="*/ 3823106 w 12192000"/>
              <a:gd name="connsiteY151" fmla="*/ 391733 h 6858000"/>
              <a:gd name="connsiteX152" fmla="*/ 3819690 w 12192000"/>
              <a:gd name="connsiteY152" fmla="*/ 378431 h 6858000"/>
              <a:gd name="connsiteX153" fmla="*/ 3808474 w 12192000"/>
              <a:gd name="connsiteY153" fmla="*/ 370753 h 6858000"/>
              <a:gd name="connsiteX154" fmla="*/ 3818934 w 12192000"/>
              <a:gd name="connsiteY154" fmla="*/ 362832 h 6858000"/>
              <a:gd name="connsiteX155" fmla="*/ 3822501 w 12192000"/>
              <a:gd name="connsiteY155" fmla="*/ 351103 h 6858000"/>
              <a:gd name="connsiteX156" fmla="*/ 3814006 w 12192000"/>
              <a:gd name="connsiteY156" fmla="*/ 331967 h 6858000"/>
              <a:gd name="connsiteX157" fmla="*/ 3790457 w 12192000"/>
              <a:gd name="connsiteY157" fmla="*/ 325104 h 6858000"/>
              <a:gd name="connsiteX158" fmla="*/ 3557238 w 12192000"/>
              <a:gd name="connsiteY158" fmla="*/ 325104 h 6858000"/>
              <a:gd name="connsiteX159" fmla="*/ 3557238 w 12192000"/>
              <a:gd name="connsiteY159" fmla="*/ 413136 h 6858000"/>
              <a:gd name="connsiteX160" fmla="*/ 3574893 w 12192000"/>
              <a:gd name="connsiteY160" fmla="*/ 413136 h 6858000"/>
              <a:gd name="connsiteX161" fmla="*/ 3574893 w 12192000"/>
              <a:gd name="connsiteY161" fmla="*/ 376557 h 6858000"/>
              <a:gd name="connsiteX162" fmla="*/ 3611774 w 12192000"/>
              <a:gd name="connsiteY162" fmla="*/ 376557 h 6858000"/>
              <a:gd name="connsiteX163" fmla="*/ 3611774 w 12192000"/>
              <a:gd name="connsiteY163" fmla="*/ 362953 h 6858000"/>
              <a:gd name="connsiteX164" fmla="*/ 3574893 w 12192000"/>
              <a:gd name="connsiteY164" fmla="*/ 362953 h 6858000"/>
              <a:gd name="connsiteX165" fmla="*/ 3574893 w 12192000"/>
              <a:gd name="connsiteY165" fmla="*/ 338708 h 6858000"/>
              <a:gd name="connsiteX166" fmla="*/ 3617941 w 12192000"/>
              <a:gd name="connsiteY166" fmla="*/ 338708 h 6858000"/>
              <a:gd name="connsiteX167" fmla="*/ 3617941 w 12192000"/>
              <a:gd name="connsiteY167" fmla="*/ 325104 h 6858000"/>
              <a:gd name="connsiteX168" fmla="*/ 3261963 w 12192000"/>
              <a:gd name="connsiteY168" fmla="*/ 325104 h 6858000"/>
              <a:gd name="connsiteX169" fmla="*/ 3261963 w 12192000"/>
              <a:gd name="connsiteY169" fmla="*/ 413136 h 6858000"/>
              <a:gd name="connsiteX170" fmla="*/ 3279618 w 12192000"/>
              <a:gd name="connsiteY170" fmla="*/ 413136 h 6858000"/>
              <a:gd name="connsiteX171" fmla="*/ 3279618 w 12192000"/>
              <a:gd name="connsiteY171" fmla="*/ 353037 h 6858000"/>
              <a:gd name="connsiteX172" fmla="*/ 3279981 w 12192000"/>
              <a:gd name="connsiteY172" fmla="*/ 352977 h 6858000"/>
              <a:gd name="connsiteX173" fmla="*/ 3315532 w 12192000"/>
              <a:gd name="connsiteY173" fmla="*/ 413136 h 6858000"/>
              <a:gd name="connsiteX174" fmla="*/ 3333126 w 12192000"/>
              <a:gd name="connsiteY174" fmla="*/ 413136 h 6858000"/>
              <a:gd name="connsiteX175" fmla="*/ 3333126 w 12192000"/>
              <a:gd name="connsiteY175" fmla="*/ 325104 h 6858000"/>
              <a:gd name="connsiteX176" fmla="*/ 3315532 w 12192000"/>
              <a:gd name="connsiteY176" fmla="*/ 325104 h 6858000"/>
              <a:gd name="connsiteX177" fmla="*/ 3315532 w 12192000"/>
              <a:gd name="connsiteY177" fmla="*/ 385142 h 6858000"/>
              <a:gd name="connsiteX178" fmla="*/ 3315169 w 12192000"/>
              <a:gd name="connsiteY178" fmla="*/ 385203 h 6858000"/>
              <a:gd name="connsiteX179" fmla="*/ 3279618 w 12192000"/>
              <a:gd name="connsiteY179" fmla="*/ 325104 h 6858000"/>
              <a:gd name="connsiteX180" fmla="*/ 3205901 w 12192000"/>
              <a:gd name="connsiteY180" fmla="*/ 325104 h 6858000"/>
              <a:gd name="connsiteX181" fmla="*/ 3205901 w 12192000"/>
              <a:gd name="connsiteY181" fmla="*/ 413136 h 6858000"/>
              <a:gd name="connsiteX182" fmla="*/ 3223556 w 12192000"/>
              <a:gd name="connsiteY182" fmla="*/ 413136 h 6858000"/>
              <a:gd name="connsiteX183" fmla="*/ 3223556 w 12192000"/>
              <a:gd name="connsiteY183" fmla="*/ 325104 h 6858000"/>
              <a:gd name="connsiteX184" fmla="*/ 3101764 w 12192000"/>
              <a:gd name="connsiteY184" fmla="*/ 325104 h 6858000"/>
              <a:gd name="connsiteX185" fmla="*/ 3131631 w 12192000"/>
              <a:gd name="connsiteY185" fmla="*/ 413136 h 6858000"/>
              <a:gd name="connsiteX186" fmla="*/ 3149770 w 12192000"/>
              <a:gd name="connsiteY186" fmla="*/ 413136 h 6858000"/>
              <a:gd name="connsiteX187" fmla="*/ 3179698 w 12192000"/>
              <a:gd name="connsiteY187" fmla="*/ 325104 h 6858000"/>
              <a:gd name="connsiteX188" fmla="*/ 3161076 w 12192000"/>
              <a:gd name="connsiteY188" fmla="*/ 325104 h 6858000"/>
              <a:gd name="connsiteX189" fmla="*/ 3141910 w 12192000"/>
              <a:gd name="connsiteY189" fmla="*/ 389859 h 6858000"/>
              <a:gd name="connsiteX190" fmla="*/ 3140882 w 12192000"/>
              <a:gd name="connsiteY190" fmla="*/ 394514 h 6858000"/>
              <a:gd name="connsiteX191" fmla="*/ 3140519 w 12192000"/>
              <a:gd name="connsiteY191" fmla="*/ 394514 h 6858000"/>
              <a:gd name="connsiteX192" fmla="*/ 3139431 w 12192000"/>
              <a:gd name="connsiteY192" fmla="*/ 389738 h 6858000"/>
              <a:gd name="connsiteX193" fmla="*/ 3120386 w 12192000"/>
              <a:gd name="connsiteY193" fmla="*/ 325104 h 6858000"/>
              <a:gd name="connsiteX194" fmla="*/ 2880963 w 12192000"/>
              <a:gd name="connsiteY194" fmla="*/ 325104 h 6858000"/>
              <a:gd name="connsiteX195" fmla="*/ 2880963 w 12192000"/>
              <a:gd name="connsiteY195" fmla="*/ 413136 h 6858000"/>
              <a:gd name="connsiteX196" fmla="*/ 2898618 w 12192000"/>
              <a:gd name="connsiteY196" fmla="*/ 413136 h 6858000"/>
              <a:gd name="connsiteX197" fmla="*/ 2898618 w 12192000"/>
              <a:gd name="connsiteY197" fmla="*/ 386896 h 6858000"/>
              <a:gd name="connsiteX198" fmla="*/ 2896925 w 12192000"/>
              <a:gd name="connsiteY198" fmla="*/ 348261 h 6858000"/>
              <a:gd name="connsiteX199" fmla="*/ 2897288 w 12192000"/>
              <a:gd name="connsiteY199" fmla="*/ 348201 h 6858000"/>
              <a:gd name="connsiteX200" fmla="*/ 2920747 w 12192000"/>
              <a:gd name="connsiteY200" fmla="*/ 413136 h 6858000"/>
              <a:gd name="connsiteX201" fmla="*/ 2932597 w 12192000"/>
              <a:gd name="connsiteY201" fmla="*/ 413136 h 6858000"/>
              <a:gd name="connsiteX202" fmla="*/ 2956177 w 12192000"/>
              <a:gd name="connsiteY202" fmla="*/ 347959 h 6858000"/>
              <a:gd name="connsiteX203" fmla="*/ 2956540 w 12192000"/>
              <a:gd name="connsiteY203" fmla="*/ 348019 h 6858000"/>
              <a:gd name="connsiteX204" fmla="*/ 2954847 w 12192000"/>
              <a:gd name="connsiteY204" fmla="*/ 386896 h 6858000"/>
              <a:gd name="connsiteX205" fmla="*/ 2954847 w 12192000"/>
              <a:gd name="connsiteY205" fmla="*/ 413136 h 6858000"/>
              <a:gd name="connsiteX206" fmla="*/ 2972502 w 12192000"/>
              <a:gd name="connsiteY206" fmla="*/ 413136 h 6858000"/>
              <a:gd name="connsiteX207" fmla="*/ 2972502 w 12192000"/>
              <a:gd name="connsiteY207" fmla="*/ 325104 h 6858000"/>
              <a:gd name="connsiteX208" fmla="*/ 2949405 w 12192000"/>
              <a:gd name="connsiteY208" fmla="*/ 325104 h 6858000"/>
              <a:gd name="connsiteX209" fmla="*/ 2926793 w 12192000"/>
              <a:gd name="connsiteY209" fmla="*/ 389979 h 6858000"/>
              <a:gd name="connsiteX210" fmla="*/ 2926430 w 12192000"/>
              <a:gd name="connsiteY210" fmla="*/ 389979 h 6858000"/>
              <a:gd name="connsiteX211" fmla="*/ 2903999 w 12192000"/>
              <a:gd name="connsiteY211" fmla="*/ 325104 h 6858000"/>
              <a:gd name="connsiteX212" fmla="*/ 2528538 w 12192000"/>
              <a:gd name="connsiteY212" fmla="*/ 325104 h 6858000"/>
              <a:gd name="connsiteX213" fmla="*/ 2528538 w 12192000"/>
              <a:gd name="connsiteY213" fmla="*/ 413136 h 6858000"/>
              <a:gd name="connsiteX214" fmla="*/ 2558769 w 12192000"/>
              <a:gd name="connsiteY214" fmla="*/ 413136 h 6858000"/>
              <a:gd name="connsiteX215" fmla="*/ 2585372 w 12192000"/>
              <a:gd name="connsiteY215" fmla="*/ 402888 h 6858000"/>
              <a:gd name="connsiteX216" fmla="*/ 2595832 w 12192000"/>
              <a:gd name="connsiteY216" fmla="*/ 376436 h 6858000"/>
              <a:gd name="connsiteX217" fmla="*/ 2595832 w 12192000"/>
              <a:gd name="connsiteY217" fmla="*/ 361865 h 6858000"/>
              <a:gd name="connsiteX218" fmla="*/ 2585372 w 12192000"/>
              <a:gd name="connsiteY218" fmla="*/ 335413 h 6858000"/>
              <a:gd name="connsiteX219" fmla="*/ 2558769 w 12192000"/>
              <a:gd name="connsiteY219" fmla="*/ 325104 h 6858000"/>
              <a:gd name="connsiteX220" fmla="*/ 2456082 w 12192000"/>
              <a:gd name="connsiteY220" fmla="*/ 325104 h 6858000"/>
              <a:gd name="connsiteX221" fmla="*/ 2425791 w 12192000"/>
              <a:gd name="connsiteY221" fmla="*/ 413136 h 6858000"/>
              <a:gd name="connsiteX222" fmla="*/ 2443627 w 12192000"/>
              <a:gd name="connsiteY222" fmla="*/ 413136 h 6858000"/>
              <a:gd name="connsiteX223" fmla="*/ 2449613 w 12192000"/>
              <a:gd name="connsiteY223" fmla="*/ 394151 h 6858000"/>
              <a:gd name="connsiteX224" fmla="*/ 2480508 w 12192000"/>
              <a:gd name="connsiteY224" fmla="*/ 394151 h 6858000"/>
              <a:gd name="connsiteX225" fmla="*/ 2486494 w 12192000"/>
              <a:gd name="connsiteY225" fmla="*/ 413136 h 6858000"/>
              <a:gd name="connsiteX226" fmla="*/ 2504330 w 12192000"/>
              <a:gd name="connsiteY226" fmla="*/ 413136 h 6858000"/>
              <a:gd name="connsiteX227" fmla="*/ 2474160 w 12192000"/>
              <a:gd name="connsiteY227" fmla="*/ 325104 h 6858000"/>
              <a:gd name="connsiteX228" fmla="*/ 2347563 w 12192000"/>
              <a:gd name="connsiteY228" fmla="*/ 325104 h 6858000"/>
              <a:gd name="connsiteX229" fmla="*/ 2347563 w 12192000"/>
              <a:gd name="connsiteY229" fmla="*/ 413136 h 6858000"/>
              <a:gd name="connsiteX230" fmla="*/ 2407843 w 12192000"/>
              <a:gd name="connsiteY230" fmla="*/ 413136 h 6858000"/>
              <a:gd name="connsiteX231" fmla="*/ 2407843 w 12192000"/>
              <a:gd name="connsiteY231" fmla="*/ 399532 h 6858000"/>
              <a:gd name="connsiteX232" fmla="*/ 2365218 w 12192000"/>
              <a:gd name="connsiteY232" fmla="*/ 399532 h 6858000"/>
              <a:gd name="connsiteX233" fmla="*/ 2365218 w 12192000"/>
              <a:gd name="connsiteY233" fmla="*/ 374441 h 6858000"/>
              <a:gd name="connsiteX234" fmla="*/ 2401676 w 12192000"/>
              <a:gd name="connsiteY234" fmla="*/ 374441 h 6858000"/>
              <a:gd name="connsiteX235" fmla="*/ 2401676 w 12192000"/>
              <a:gd name="connsiteY235" fmla="*/ 360837 h 6858000"/>
              <a:gd name="connsiteX236" fmla="*/ 2365218 w 12192000"/>
              <a:gd name="connsiteY236" fmla="*/ 360837 h 6858000"/>
              <a:gd name="connsiteX237" fmla="*/ 2365218 w 12192000"/>
              <a:gd name="connsiteY237" fmla="*/ 338708 h 6858000"/>
              <a:gd name="connsiteX238" fmla="*/ 2407722 w 12192000"/>
              <a:gd name="connsiteY238" fmla="*/ 338708 h 6858000"/>
              <a:gd name="connsiteX239" fmla="*/ 2407722 w 12192000"/>
              <a:gd name="connsiteY239" fmla="*/ 325104 h 6858000"/>
              <a:gd name="connsiteX240" fmla="*/ 2242788 w 12192000"/>
              <a:gd name="connsiteY240" fmla="*/ 325104 h 6858000"/>
              <a:gd name="connsiteX241" fmla="*/ 2242788 w 12192000"/>
              <a:gd name="connsiteY241" fmla="*/ 413136 h 6858000"/>
              <a:gd name="connsiteX242" fmla="*/ 2260443 w 12192000"/>
              <a:gd name="connsiteY242" fmla="*/ 413136 h 6858000"/>
              <a:gd name="connsiteX243" fmla="*/ 2260443 w 12192000"/>
              <a:gd name="connsiteY243" fmla="*/ 376557 h 6858000"/>
              <a:gd name="connsiteX244" fmla="*/ 2296357 w 12192000"/>
              <a:gd name="connsiteY244" fmla="*/ 376557 h 6858000"/>
              <a:gd name="connsiteX245" fmla="*/ 2296357 w 12192000"/>
              <a:gd name="connsiteY245" fmla="*/ 413136 h 6858000"/>
              <a:gd name="connsiteX246" fmla="*/ 2313951 w 12192000"/>
              <a:gd name="connsiteY246" fmla="*/ 413136 h 6858000"/>
              <a:gd name="connsiteX247" fmla="*/ 2313951 w 12192000"/>
              <a:gd name="connsiteY247" fmla="*/ 325104 h 6858000"/>
              <a:gd name="connsiteX248" fmla="*/ 2296357 w 12192000"/>
              <a:gd name="connsiteY248" fmla="*/ 325104 h 6858000"/>
              <a:gd name="connsiteX249" fmla="*/ 2296357 w 12192000"/>
              <a:gd name="connsiteY249" fmla="*/ 362953 h 6858000"/>
              <a:gd name="connsiteX250" fmla="*/ 2260443 w 12192000"/>
              <a:gd name="connsiteY250" fmla="*/ 362953 h 6858000"/>
              <a:gd name="connsiteX251" fmla="*/ 2260443 w 12192000"/>
              <a:gd name="connsiteY251" fmla="*/ 325104 h 6858000"/>
              <a:gd name="connsiteX252" fmla="*/ 2170332 w 12192000"/>
              <a:gd name="connsiteY252" fmla="*/ 325104 h 6858000"/>
              <a:gd name="connsiteX253" fmla="*/ 2140041 w 12192000"/>
              <a:gd name="connsiteY253" fmla="*/ 413136 h 6858000"/>
              <a:gd name="connsiteX254" fmla="*/ 2157877 w 12192000"/>
              <a:gd name="connsiteY254" fmla="*/ 413136 h 6858000"/>
              <a:gd name="connsiteX255" fmla="*/ 2163863 w 12192000"/>
              <a:gd name="connsiteY255" fmla="*/ 394151 h 6858000"/>
              <a:gd name="connsiteX256" fmla="*/ 2194758 w 12192000"/>
              <a:gd name="connsiteY256" fmla="*/ 394151 h 6858000"/>
              <a:gd name="connsiteX257" fmla="*/ 2200744 w 12192000"/>
              <a:gd name="connsiteY257" fmla="*/ 413136 h 6858000"/>
              <a:gd name="connsiteX258" fmla="*/ 2218580 w 12192000"/>
              <a:gd name="connsiteY258" fmla="*/ 413136 h 6858000"/>
              <a:gd name="connsiteX259" fmla="*/ 2188410 w 12192000"/>
              <a:gd name="connsiteY259" fmla="*/ 325104 h 6858000"/>
              <a:gd name="connsiteX260" fmla="*/ 1842738 w 12192000"/>
              <a:gd name="connsiteY260" fmla="*/ 325104 h 6858000"/>
              <a:gd name="connsiteX261" fmla="*/ 1842738 w 12192000"/>
              <a:gd name="connsiteY261" fmla="*/ 413136 h 6858000"/>
              <a:gd name="connsiteX262" fmla="*/ 1860393 w 12192000"/>
              <a:gd name="connsiteY262" fmla="*/ 413136 h 6858000"/>
              <a:gd name="connsiteX263" fmla="*/ 1860393 w 12192000"/>
              <a:gd name="connsiteY263" fmla="*/ 353037 h 6858000"/>
              <a:gd name="connsiteX264" fmla="*/ 1860755 w 12192000"/>
              <a:gd name="connsiteY264" fmla="*/ 352977 h 6858000"/>
              <a:gd name="connsiteX265" fmla="*/ 1896307 w 12192000"/>
              <a:gd name="connsiteY265" fmla="*/ 413136 h 6858000"/>
              <a:gd name="connsiteX266" fmla="*/ 1913901 w 12192000"/>
              <a:gd name="connsiteY266" fmla="*/ 413136 h 6858000"/>
              <a:gd name="connsiteX267" fmla="*/ 1913901 w 12192000"/>
              <a:gd name="connsiteY267" fmla="*/ 325104 h 6858000"/>
              <a:gd name="connsiteX268" fmla="*/ 1896307 w 12192000"/>
              <a:gd name="connsiteY268" fmla="*/ 325104 h 6858000"/>
              <a:gd name="connsiteX269" fmla="*/ 1896307 w 12192000"/>
              <a:gd name="connsiteY269" fmla="*/ 385142 h 6858000"/>
              <a:gd name="connsiteX270" fmla="*/ 1895944 w 12192000"/>
              <a:gd name="connsiteY270" fmla="*/ 385203 h 6858000"/>
              <a:gd name="connsiteX271" fmla="*/ 1860393 w 12192000"/>
              <a:gd name="connsiteY271" fmla="*/ 325104 h 6858000"/>
              <a:gd name="connsiteX272" fmla="*/ 1786676 w 12192000"/>
              <a:gd name="connsiteY272" fmla="*/ 325104 h 6858000"/>
              <a:gd name="connsiteX273" fmla="*/ 1786676 w 12192000"/>
              <a:gd name="connsiteY273" fmla="*/ 413136 h 6858000"/>
              <a:gd name="connsiteX274" fmla="*/ 1804331 w 12192000"/>
              <a:gd name="connsiteY274" fmla="*/ 413136 h 6858000"/>
              <a:gd name="connsiteX275" fmla="*/ 1804331 w 12192000"/>
              <a:gd name="connsiteY275" fmla="*/ 325104 h 6858000"/>
              <a:gd name="connsiteX276" fmla="*/ 1690338 w 12192000"/>
              <a:gd name="connsiteY276" fmla="*/ 325104 h 6858000"/>
              <a:gd name="connsiteX277" fmla="*/ 1690338 w 12192000"/>
              <a:gd name="connsiteY277" fmla="*/ 413136 h 6858000"/>
              <a:gd name="connsiteX278" fmla="*/ 1707993 w 12192000"/>
              <a:gd name="connsiteY278" fmla="*/ 413136 h 6858000"/>
              <a:gd name="connsiteX279" fmla="*/ 1707993 w 12192000"/>
              <a:gd name="connsiteY279" fmla="*/ 376376 h 6858000"/>
              <a:gd name="connsiteX280" fmla="*/ 1717787 w 12192000"/>
              <a:gd name="connsiteY280" fmla="*/ 376376 h 6858000"/>
              <a:gd name="connsiteX281" fmla="*/ 1741428 w 12192000"/>
              <a:gd name="connsiteY281" fmla="*/ 413136 h 6858000"/>
              <a:gd name="connsiteX282" fmla="*/ 1762952 w 12192000"/>
              <a:gd name="connsiteY282" fmla="*/ 413136 h 6858000"/>
              <a:gd name="connsiteX283" fmla="*/ 1730968 w 12192000"/>
              <a:gd name="connsiteY283" fmla="*/ 366097 h 6858000"/>
              <a:gd name="connsiteX284" fmla="*/ 1760594 w 12192000"/>
              <a:gd name="connsiteY284" fmla="*/ 325104 h 6858000"/>
              <a:gd name="connsiteX285" fmla="*/ 1739009 w 12192000"/>
              <a:gd name="connsiteY285" fmla="*/ 325104 h 6858000"/>
              <a:gd name="connsiteX286" fmla="*/ 1715671 w 12192000"/>
              <a:gd name="connsiteY286" fmla="*/ 361079 h 6858000"/>
              <a:gd name="connsiteX287" fmla="*/ 1707993 w 12192000"/>
              <a:gd name="connsiteY287" fmla="*/ 361079 h 6858000"/>
              <a:gd name="connsiteX288" fmla="*/ 1707993 w 12192000"/>
              <a:gd name="connsiteY288" fmla="*/ 325104 h 6858000"/>
              <a:gd name="connsiteX289" fmla="*/ 1585563 w 12192000"/>
              <a:gd name="connsiteY289" fmla="*/ 325104 h 6858000"/>
              <a:gd name="connsiteX290" fmla="*/ 1585563 w 12192000"/>
              <a:gd name="connsiteY290" fmla="*/ 413136 h 6858000"/>
              <a:gd name="connsiteX291" fmla="*/ 1603218 w 12192000"/>
              <a:gd name="connsiteY291" fmla="*/ 413136 h 6858000"/>
              <a:gd name="connsiteX292" fmla="*/ 1603218 w 12192000"/>
              <a:gd name="connsiteY292" fmla="*/ 353037 h 6858000"/>
              <a:gd name="connsiteX293" fmla="*/ 1603580 w 12192000"/>
              <a:gd name="connsiteY293" fmla="*/ 352977 h 6858000"/>
              <a:gd name="connsiteX294" fmla="*/ 1639132 w 12192000"/>
              <a:gd name="connsiteY294" fmla="*/ 413136 h 6858000"/>
              <a:gd name="connsiteX295" fmla="*/ 1656726 w 12192000"/>
              <a:gd name="connsiteY295" fmla="*/ 413136 h 6858000"/>
              <a:gd name="connsiteX296" fmla="*/ 1656726 w 12192000"/>
              <a:gd name="connsiteY296" fmla="*/ 325104 h 6858000"/>
              <a:gd name="connsiteX297" fmla="*/ 1639132 w 12192000"/>
              <a:gd name="connsiteY297" fmla="*/ 325104 h 6858000"/>
              <a:gd name="connsiteX298" fmla="*/ 1639132 w 12192000"/>
              <a:gd name="connsiteY298" fmla="*/ 385142 h 6858000"/>
              <a:gd name="connsiteX299" fmla="*/ 1638769 w 12192000"/>
              <a:gd name="connsiteY299" fmla="*/ 385203 h 6858000"/>
              <a:gd name="connsiteX300" fmla="*/ 1603218 w 12192000"/>
              <a:gd name="connsiteY300" fmla="*/ 325104 h 6858000"/>
              <a:gd name="connsiteX301" fmla="*/ 1529502 w 12192000"/>
              <a:gd name="connsiteY301" fmla="*/ 325104 h 6858000"/>
              <a:gd name="connsiteX302" fmla="*/ 1529502 w 12192000"/>
              <a:gd name="connsiteY302" fmla="*/ 413136 h 6858000"/>
              <a:gd name="connsiteX303" fmla="*/ 1547156 w 12192000"/>
              <a:gd name="connsiteY303" fmla="*/ 413136 h 6858000"/>
              <a:gd name="connsiteX304" fmla="*/ 1547156 w 12192000"/>
              <a:gd name="connsiteY304" fmla="*/ 325104 h 6858000"/>
              <a:gd name="connsiteX305" fmla="*/ 1423638 w 12192000"/>
              <a:gd name="connsiteY305" fmla="*/ 325104 h 6858000"/>
              <a:gd name="connsiteX306" fmla="*/ 1423638 w 12192000"/>
              <a:gd name="connsiteY306" fmla="*/ 413136 h 6858000"/>
              <a:gd name="connsiteX307" fmla="*/ 1441293 w 12192000"/>
              <a:gd name="connsiteY307" fmla="*/ 413136 h 6858000"/>
              <a:gd name="connsiteX308" fmla="*/ 1441293 w 12192000"/>
              <a:gd name="connsiteY308" fmla="*/ 376557 h 6858000"/>
              <a:gd name="connsiteX309" fmla="*/ 1477207 w 12192000"/>
              <a:gd name="connsiteY309" fmla="*/ 376557 h 6858000"/>
              <a:gd name="connsiteX310" fmla="*/ 1477207 w 12192000"/>
              <a:gd name="connsiteY310" fmla="*/ 413136 h 6858000"/>
              <a:gd name="connsiteX311" fmla="*/ 1494801 w 12192000"/>
              <a:gd name="connsiteY311" fmla="*/ 413136 h 6858000"/>
              <a:gd name="connsiteX312" fmla="*/ 1494801 w 12192000"/>
              <a:gd name="connsiteY312" fmla="*/ 325104 h 6858000"/>
              <a:gd name="connsiteX313" fmla="*/ 1477207 w 12192000"/>
              <a:gd name="connsiteY313" fmla="*/ 325104 h 6858000"/>
              <a:gd name="connsiteX314" fmla="*/ 1477207 w 12192000"/>
              <a:gd name="connsiteY314" fmla="*/ 362953 h 6858000"/>
              <a:gd name="connsiteX315" fmla="*/ 1441293 w 12192000"/>
              <a:gd name="connsiteY315" fmla="*/ 362953 h 6858000"/>
              <a:gd name="connsiteX316" fmla="*/ 1441293 w 12192000"/>
              <a:gd name="connsiteY316" fmla="*/ 325104 h 6858000"/>
              <a:gd name="connsiteX317" fmla="*/ 1331383 w 12192000"/>
              <a:gd name="connsiteY317" fmla="*/ 325104 h 6858000"/>
              <a:gd name="connsiteX318" fmla="*/ 1331383 w 12192000"/>
              <a:gd name="connsiteY318" fmla="*/ 338708 h 6858000"/>
              <a:gd name="connsiteX319" fmla="*/ 1356172 w 12192000"/>
              <a:gd name="connsiteY319" fmla="*/ 338708 h 6858000"/>
              <a:gd name="connsiteX320" fmla="*/ 1356172 w 12192000"/>
              <a:gd name="connsiteY320" fmla="*/ 413136 h 6858000"/>
              <a:gd name="connsiteX321" fmla="*/ 1373827 w 12192000"/>
              <a:gd name="connsiteY321" fmla="*/ 413136 h 6858000"/>
              <a:gd name="connsiteX322" fmla="*/ 1373827 w 12192000"/>
              <a:gd name="connsiteY322" fmla="*/ 338708 h 6858000"/>
              <a:gd name="connsiteX323" fmla="*/ 1398737 w 12192000"/>
              <a:gd name="connsiteY323" fmla="*/ 338708 h 6858000"/>
              <a:gd name="connsiteX324" fmla="*/ 1398737 w 12192000"/>
              <a:gd name="connsiteY324" fmla="*/ 325104 h 6858000"/>
              <a:gd name="connsiteX325" fmla="*/ 3686347 w 12192000"/>
              <a:gd name="connsiteY325" fmla="*/ 323835 h 6858000"/>
              <a:gd name="connsiteX326" fmla="*/ 3659955 w 12192000"/>
              <a:gd name="connsiteY326" fmla="*/ 334446 h 6858000"/>
              <a:gd name="connsiteX327" fmla="*/ 3649828 w 12192000"/>
              <a:gd name="connsiteY327" fmla="*/ 361200 h 6858000"/>
              <a:gd name="connsiteX328" fmla="*/ 3649828 w 12192000"/>
              <a:gd name="connsiteY328" fmla="*/ 377041 h 6858000"/>
              <a:gd name="connsiteX329" fmla="*/ 3659985 w 12192000"/>
              <a:gd name="connsiteY329" fmla="*/ 403825 h 6858000"/>
              <a:gd name="connsiteX330" fmla="*/ 3686407 w 12192000"/>
              <a:gd name="connsiteY330" fmla="*/ 414406 h 6858000"/>
              <a:gd name="connsiteX331" fmla="*/ 3713040 w 12192000"/>
              <a:gd name="connsiteY331" fmla="*/ 403825 h 6858000"/>
              <a:gd name="connsiteX332" fmla="*/ 3723288 w 12192000"/>
              <a:gd name="connsiteY332" fmla="*/ 377041 h 6858000"/>
              <a:gd name="connsiteX333" fmla="*/ 3723288 w 12192000"/>
              <a:gd name="connsiteY333" fmla="*/ 361200 h 6858000"/>
              <a:gd name="connsiteX334" fmla="*/ 3713010 w 12192000"/>
              <a:gd name="connsiteY334" fmla="*/ 334446 h 6858000"/>
              <a:gd name="connsiteX335" fmla="*/ 3686347 w 12192000"/>
              <a:gd name="connsiteY335" fmla="*/ 323835 h 6858000"/>
              <a:gd name="connsiteX336" fmla="*/ 3399629 w 12192000"/>
              <a:gd name="connsiteY336" fmla="*/ 323835 h 6858000"/>
              <a:gd name="connsiteX337" fmla="*/ 3374326 w 12192000"/>
              <a:gd name="connsiteY337" fmla="*/ 333901 h 6858000"/>
              <a:gd name="connsiteX338" fmla="*/ 3364501 w 12192000"/>
              <a:gd name="connsiteY338" fmla="*/ 359930 h 6858000"/>
              <a:gd name="connsiteX339" fmla="*/ 3364501 w 12192000"/>
              <a:gd name="connsiteY339" fmla="*/ 378310 h 6858000"/>
              <a:gd name="connsiteX340" fmla="*/ 3374719 w 12192000"/>
              <a:gd name="connsiteY340" fmla="*/ 404369 h 6858000"/>
              <a:gd name="connsiteX341" fmla="*/ 3401080 w 12192000"/>
              <a:gd name="connsiteY341" fmla="*/ 414406 h 6858000"/>
              <a:gd name="connsiteX342" fmla="*/ 3422090 w 12192000"/>
              <a:gd name="connsiteY342" fmla="*/ 410355 h 6858000"/>
              <a:gd name="connsiteX343" fmla="*/ 3434334 w 12192000"/>
              <a:gd name="connsiteY343" fmla="*/ 401104 h 6858000"/>
              <a:gd name="connsiteX344" fmla="*/ 3434334 w 12192000"/>
              <a:gd name="connsiteY344" fmla="*/ 367911 h 6858000"/>
              <a:gd name="connsiteX345" fmla="*/ 3401080 w 12192000"/>
              <a:gd name="connsiteY345" fmla="*/ 367911 h 6858000"/>
              <a:gd name="connsiteX346" fmla="*/ 3401080 w 12192000"/>
              <a:gd name="connsiteY346" fmla="*/ 380124 h 6858000"/>
              <a:gd name="connsiteX347" fmla="*/ 3416679 w 12192000"/>
              <a:gd name="connsiteY347" fmla="*/ 380124 h 6858000"/>
              <a:gd name="connsiteX348" fmla="*/ 3416679 w 12192000"/>
              <a:gd name="connsiteY348" fmla="*/ 396401 h 6858000"/>
              <a:gd name="connsiteX349" fmla="*/ 3410996 w 12192000"/>
              <a:gd name="connsiteY349" fmla="*/ 399536 h 6858000"/>
              <a:gd name="connsiteX350" fmla="*/ 3401080 w 12192000"/>
              <a:gd name="connsiteY350" fmla="*/ 400802 h 6858000"/>
              <a:gd name="connsiteX351" fmla="*/ 3387235 w 12192000"/>
              <a:gd name="connsiteY351" fmla="*/ 394550 h 6858000"/>
              <a:gd name="connsiteX352" fmla="*/ 3382095 w 12192000"/>
              <a:gd name="connsiteY352" fmla="*/ 378272 h 6858000"/>
              <a:gd name="connsiteX353" fmla="*/ 3382095 w 12192000"/>
              <a:gd name="connsiteY353" fmla="*/ 359787 h 6858000"/>
              <a:gd name="connsiteX354" fmla="*/ 3387053 w 12192000"/>
              <a:gd name="connsiteY354" fmla="*/ 343690 h 6858000"/>
              <a:gd name="connsiteX355" fmla="*/ 3400113 w 12192000"/>
              <a:gd name="connsiteY355" fmla="*/ 337438 h 6858000"/>
              <a:gd name="connsiteX356" fmla="*/ 3411782 w 12192000"/>
              <a:gd name="connsiteY356" fmla="*/ 341520 h 6858000"/>
              <a:gd name="connsiteX357" fmla="*/ 3416256 w 12192000"/>
              <a:gd name="connsiteY357" fmla="*/ 352614 h 6858000"/>
              <a:gd name="connsiteX358" fmla="*/ 3432883 w 12192000"/>
              <a:gd name="connsiteY358" fmla="*/ 352614 h 6858000"/>
              <a:gd name="connsiteX359" fmla="*/ 3433004 w 12192000"/>
              <a:gd name="connsiteY359" fmla="*/ 352251 h 6858000"/>
              <a:gd name="connsiteX360" fmla="*/ 3424267 w 12192000"/>
              <a:gd name="connsiteY360" fmla="*/ 331664 h 6858000"/>
              <a:gd name="connsiteX361" fmla="*/ 3399629 w 12192000"/>
              <a:gd name="connsiteY361" fmla="*/ 323835 h 6858000"/>
              <a:gd name="connsiteX362" fmla="*/ 3038647 w 12192000"/>
              <a:gd name="connsiteY362" fmla="*/ 323835 h 6858000"/>
              <a:gd name="connsiteX363" fmla="*/ 3012255 w 12192000"/>
              <a:gd name="connsiteY363" fmla="*/ 334446 h 6858000"/>
              <a:gd name="connsiteX364" fmla="*/ 3002128 w 12192000"/>
              <a:gd name="connsiteY364" fmla="*/ 361200 h 6858000"/>
              <a:gd name="connsiteX365" fmla="*/ 3002128 w 12192000"/>
              <a:gd name="connsiteY365" fmla="*/ 377041 h 6858000"/>
              <a:gd name="connsiteX366" fmla="*/ 3012285 w 12192000"/>
              <a:gd name="connsiteY366" fmla="*/ 403825 h 6858000"/>
              <a:gd name="connsiteX367" fmla="*/ 3038707 w 12192000"/>
              <a:gd name="connsiteY367" fmla="*/ 414406 h 6858000"/>
              <a:gd name="connsiteX368" fmla="*/ 3065340 w 12192000"/>
              <a:gd name="connsiteY368" fmla="*/ 403825 h 6858000"/>
              <a:gd name="connsiteX369" fmla="*/ 3075588 w 12192000"/>
              <a:gd name="connsiteY369" fmla="*/ 377041 h 6858000"/>
              <a:gd name="connsiteX370" fmla="*/ 3075588 w 12192000"/>
              <a:gd name="connsiteY370" fmla="*/ 361200 h 6858000"/>
              <a:gd name="connsiteX371" fmla="*/ 3065310 w 12192000"/>
              <a:gd name="connsiteY371" fmla="*/ 334446 h 6858000"/>
              <a:gd name="connsiteX372" fmla="*/ 3038647 w 12192000"/>
              <a:gd name="connsiteY372" fmla="*/ 323835 h 6858000"/>
              <a:gd name="connsiteX373" fmla="*/ 1980404 w 12192000"/>
              <a:gd name="connsiteY373" fmla="*/ 323835 h 6858000"/>
              <a:gd name="connsiteX374" fmla="*/ 1955101 w 12192000"/>
              <a:gd name="connsiteY374" fmla="*/ 333901 h 6858000"/>
              <a:gd name="connsiteX375" fmla="*/ 1945276 w 12192000"/>
              <a:gd name="connsiteY375" fmla="*/ 359930 h 6858000"/>
              <a:gd name="connsiteX376" fmla="*/ 1945276 w 12192000"/>
              <a:gd name="connsiteY376" fmla="*/ 378310 h 6858000"/>
              <a:gd name="connsiteX377" fmla="*/ 1955494 w 12192000"/>
              <a:gd name="connsiteY377" fmla="*/ 404369 h 6858000"/>
              <a:gd name="connsiteX378" fmla="*/ 1981855 w 12192000"/>
              <a:gd name="connsiteY378" fmla="*/ 414406 h 6858000"/>
              <a:gd name="connsiteX379" fmla="*/ 2002865 w 12192000"/>
              <a:gd name="connsiteY379" fmla="*/ 410355 h 6858000"/>
              <a:gd name="connsiteX380" fmla="*/ 2015109 w 12192000"/>
              <a:gd name="connsiteY380" fmla="*/ 401104 h 6858000"/>
              <a:gd name="connsiteX381" fmla="*/ 2015109 w 12192000"/>
              <a:gd name="connsiteY381" fmla="*/ 367911 h 6858000"/>
              <a:gd name="connsiteX382" fmla="*/ 1981855 w 12192000"/>
              <a:gd name="connsiteY382" fmla="*/ 367911 h 6858000"/>
              <a:gd name="connsiteX383" fmla="*/ 1981855 w 12192000"/>
              <a:gd name="connsiteY383" fmla="*/ 380124 h 6858000"/>
              <a:gd name="connsiteX384" fmla="*/ 1997454 w 12192000"/>
              <a:gd name="connsiteY384" fmla="*/ 380124 h 6858000"/>
              <a:gd name="connsiteX385" fmla="*/ 1997454 w 12192000"/>
              <a:gd name="connsiteY385" fmla="*/ 396401 h 6858000"/>
              <a:gd name="connsiteX386" fmla="*/ 1991771 w 12192000"/>
              <a:gd name="connsiteY386" fmla="*/ 399536 h 6858000"/>
              <a:gd name="connsiteX387" fmla="*/ 1981855 w 12192000"/>
              <a:gd name="connsiteY387" fmla="*/ 400802 h 6858000"/>
              <a:gd name="connsiteX388" fmla="*/ 1968009 w 12192000"/>
              <a:gd name="connsiteY388" fmla="*/ 394550 h 6858000"/>
              <a:gd name="connsiteX389" fmla="*/ 1962870 w 12192000"/>
              <a:gd name="connsiteY389" fmla="*/ 378272 h 6858000"/>
              <a:gd name="connsiteX390" fmla="*/ 1962870 w 12192000"/>
              <a:gd name="connsiteY390" fmla="*/ 359787 h 6858000"/>
              <a:gd name="connsiteX391" fmla="*/ 1967828 w 12192000"/>
              <a:gd name="connsiteY391" fmla="*/ 343690 h 6858000"/>
              <a:gd name="connsiteX392" fmla="*/ 1980888 w 12192000"/>
              <a:gd name="connsiteY392" fmla="*/ 337438 h 6858000"/>
              <a:gd name="connsiteX393" fmla="*/ 1992557 w 12192000"/>
              <a:gd name="connsiteY393" fmla="*/ 341520 h 6858000"/>
              <a:gd name="connsiteX394" fmla="*/ 1997031 w 12192000"/>
              <a:gd name="connsiteY394" fmla="*/ 352614 h 6858000"/>
              <a:gd name="connsiteX395" fmla="*/ 2013658 w 12192000"/>
              <a:gd name="connsiteY395" fmla="*/ 352614 h 6858000"/>
              <a:gd name="connsiteX396" fmla="*/ 2013779 w 12192000"/>
              <a:gd name="connsiteY396" fmla="*/ 352251 h 6858000"/>
              <a:gd name="connsiteX397" fmla="*/ 2005042 w 12192000"/>
              <a:gd name="connsiteY397" fmla="*/ 331664 h 6858000"/>
              <a:gd name="connsiteX398" fmla="*/ 1980404 w 12192000"/>
              <a:gd name="connsiteY398" fmla="*/ 323835 h 6858000"/>
              <a:gd name="connsiteX399" fmla="*/ 991473 w 12192000"/>
              <a:gd name="connsiteY399" fmla="*/ 215901 h 6858000"/>
              <a:gd name="connsiteX400" fmla="*/ 1144744 w 12192000"/>
              <a:gd name="connsiteY400" fmla="*/ 369173 h 6858000"/>
              <a:gd name="connsiteX401" fmla="*/ 991473 w 12192000"/>
              <a:gd name="connsiteY401" fmla="*/ 522444 h 6858000"/>
              <a:gd name="connsiteX402" fmla="*/ 914837 w 12192000"/>
              <a:gd name="connsiteY402" fmla="*/ 501431 h 6858000"/>
              <a:gd name="connsiteX403" fmla="*/ 945738 w 12192000"/>
              <a:gd name="connsiteY403" fmla="*/ 497723 h 6858000"/>
              <a:gd name="connsiteX404" fmla="*/ 975404 w 12192000"/>
              <a:gd name="connsiteY404" fmla="*/ 487834 h 6858000"/>
              <a:gd name="connsiteX405" fmla="*/ 1011250 w 12192000"/>
              <a:gd name="connsiteY405" fmla="*/ 463113 h 6858000"/>
              <a:gd name="connsiteX406" fmla="*/ 1037207 w 12192000"/>
              <a:gd name="connsiteY406" fmla="*/ 439628 h 6858000"/>
              <a:gd name="connsiteX407" fmla="*/ 1068108 w 12192000"/>
              <a:gd name="connsiteY407" fmla="*/ 422323 h 6858000"/>
              <a:gd name="connsiteX408" fmla="*/ 1080469 w 12192000"/>
              <a:gd name="connsiteY408" fmla="*/ 419851 h 6858000"/>
              <a:gd name="connsiteX409" fmla="*/ 1102718 w 12192000"/>
              <a:gd name="connsiteY409" fmla="*/ 414907 h 6858000"/>
              <a:gd name="connsiteX410" fmla="*/ 1120023 w 12192000"/>
              <a:gd name="connsiteY410" fmla="*/ 409963 h 6858000"/>
              <a:gd name="connsiteX411" fmla="*/ 1122495 w 12192000"/>
              <a:gd name="connsiteY411" fmla="*/ 408727 h 6858000"/>
              <a:gd name="connsiteX412" fmla="*/ 1118787 w 12192000"/>
              <a:gd name="connsiteY412" fmla="*/ 407491 h 6858000"/>
              <a:gd name="connsiteX413" fmla="*/ 1096538 w 12192000"/>
              <a:gd name="connsiteY413" fmla="*/ 400074 h 6858000"/>
              <a:gd name="connsiteX414" fmla="*/ 1081705 w 12192000"/>
              <a:gd name="connsiteY414" fmla="*/ 400074 h 6858000"/>
              <a:gd name="connsiteX415" fmla="*/ 1063164 w 12192000"/>
              <a:gd name="connsiteY415" fmla="*/ 409963 h 6858000"/>
              <a:gd name="connsiteX416" fmla="*/ 1032263 w 12192000"/>
              <a:gd name="connsiteY416" fmla="*/ 428504 h 6858000"/>
              <a:gd name="connsiteX417" fmla="*/ 1007541 w 12192000"/>
              <a:gd name="connsiteY417" fmla="*/ 434684 h 6858000"/>
              <a:gd name="connsiteX418" fmla="*/ 1000125 w 12192000"/>
              <a:gd name="connsiteY418" fmla="*/ 434684 h 6858000"/>
              <a:gd name="connsiteX419" fmla="*/ 1019902 w 12192000"/>
              <a:gd name="connsiteY419" fmla="*/ 418615 h 6858000"/>
              <a:gd name="connsiteX420" fmla="*/ 1033499 w 12192000"/>
              <a:gd name="connsiteY420" fmla="*/ 402546 h 6858000"/>
              <a:gd name="connsiteX421" fmla="*/ 1056984 w 12192000"/>
              <a:gd name="connsiteY421" fmla="*/ 385241 h 6858000"/>
              <a:gd name="connsiteX422" fmla="*/ 1076761 w 12192000"/>
              <a:gd name="connsiteY422" fmla="*/ 374117 h 6858000"/>
              <a:gd name="connsiteX423" fmla="*/ 1089121 w 12192000"/>
              <a:gd name="connsiteY423" fmla="*/ 369173 h 6858000"/>
              <a:gd name="connsiteX424" fmla="*/ 1097774 w 12192000"/>
              <a:gd name="connsiteY424" fmla="*/ 367937 h 6858000"/>
              <a:gd name="connsiteX425" fmla="*/ 1121259 w 12192000"/>
              <a:gd name="connsiteY425" fmla="*/ 359284 h 6858000"/>
              <a:gd name="connsiteX426" fmla="*/ 1131147 w 12192000"/>
              <a:gd name="connsiteY426" fmla="*/ 356812 h 6858000"/>
              <a:gd name="connsiteX427" fmla="*/ 1132384 w 12192000"/>
              <a:gd name="connsiteY427" fmla="*/ 354340 h 6858000"/>
              <a:gd name="connsiteX428" fmla="*/ 1131147 w 12192000"/>
              <a:gd name="connsiteY428" fmla="*/ 354340 h 6858000"/>
              <a:gd name="connsiteX429" fmla="*/ 1105190 w 12192000"/>
              <a:gd name="connsiteY429" fmla="*/ 348160 h 6858000"/>
              <a:gd name="connsiteX430" fmla="*/ 1084177 w 12192000"/>
              <a:gd name="connsiteY430" fmla="*/ 350632 h 6858000"/>
              <a:gd name="connsiteX431" fmla="*/ 1065636 w 12192000"/>
              <a:gd name="connsiteY431" fmla="*/ 364228 h 6858000"/>
              <a:gd name="connsiteX432" fmla="*/ 1059456 w 12192000"/>
              <a:gd name="connsiteY432" fmla="*/ 367937 h 6858000"/>
              <a:gd name="connsiteX433" fmla="*/ 1034735 w 12192000"/>
              <a:gd name="connsiteY433" fmla="*/ 380297 h 6858000"/>
              <a:gd name="connsiteX434" fmla="*/ 1008777 w 12192000"/>
              <a:gd name="connsiteY434" fmla="*/ 384005 h 6858000"/>
              <a:gd name="connsiteX435" fmla="*/ 1001361 w 12192000"/>
              <a:gd name="connsiteY435" fmla="*/ 380297 h 6858000"/>
              <a:gd name="connsiteX436" fmla="*/ 997653 w 12192000"/>
              <a:gd name="connsiteY436" fmla="*/ 369173 h 6858000"/>
              <a:gd name="connsiteX437" fmla="*/ 996417 w 12192000"/>
              <a:gd name="connsiteY437" fmla="*/ 361756 h 6858000"/>
              <a:gd name="connsiteX438" fmla="*/ 997653 w 12192000"/>
              <a:gd name="connsiteY438" fmla="*/ 339507 h 6858000"/>
              <a:gd name="connsiteX439" fmla="*/ 1000125 w 12192000"/>
              <a:gd name="connsiteY439" fmla="*/ 319730 h 6858000"/>
              <a:gd name="connsiteX440" fmla="*/ 972932 w 12192000"/>
              <a:gd name="connsiteY440" fmla="*/ 292537 h 6858000"/>
              <a:gd name="connsiteX441" fmla="*/ 927197 w 12192000"/>
              <a:gd name="connsiteY441" fmla="*/ 239386 h 6858000"/>
              <a:gd name="connsiteX442" fmla="*/ 928434 w 12192000"/>
              <a:gd name="connsiteY442" fmla="*/ 235678 h 6858000"/>
              <a:gd name="connsiteX443" fmla="*/ 924725 w 12192000"/>
              <a:gd name="connsiteY443" fmla="*/ 238150 h 6858000"/>
              <a:gd name="connsiteX444" fmla="*/ 917309 w 12192000"/>
              <a:gd name="connsiteY444" fmla="*/ 273996 h 6858000"/>
              <a:gd name="connsiteX445" fmla="*/ 934614 w 12192000"/>
              <a:gd name="connsiteY445" fmla="*/ 308606 h 6858000"/>
              <a:gd name="connsiteX446" fmla="*/ 948211 w 12192000"/>
              <a:gd name="connsiteY446" fmla="*/ 327147 h 6858000"/>
              <a:gd name="connsiteX447" fmla="*/ 950683 w 12192000"/>
              <a:gd name="connsiteY447" fmla="*/ 344451 h 6858000"/>
              <a:gd name="connsiteX448" fmla="*/ 937086 w 12192000"/>
              <a:gd name="connsiteY448" fmla="*/ 334563 h 6858000"/>
              <a:gd name="connsiteX449" fmla="*/ 923489 w 12192000"/>
              <a:gd name="connsiteY449" fmla="*/ 324674 h 6858000"/>
              <a:gd name="connsiteX450" fmla="*/ 895060 w 12192000"/>
              <a:gd name="connsiteY450" fmla="*/ 299953 h 6858000"/>
              <a:gd name="connsiteX451" fmla="*/ 893824 w 12192000"/>
              <a:gd name="connsiteY451" fmla="*/ 299953 h 6858000"/>
              <a:gd name="connsiteX452" fmla="*/ 891352 w 12192000"/>
              <a:gd name="connsiteY452" fmla="*/ 303661 h 6858000"/>
              <a:gd name="connsiteX453" fmla="*/ 896296 w 12192000"/>
              <a:gd name="connsiteY453" fmla="*/ 349396 h 6858000"/>
              <a:gd name="connsiteX454" fmla="*/ 913601 w 12192000"/>
              <a:gd name="connsiteY454" fmla="*/ 370409 h 6858000"/>
              <a:gd name="connsiteX455" fmla="*/ 927197 w 12192000"/>
              <a:gd name="connsiteY455" fmla="*/ 382769 h 6858000"/>
              <a:gd name="connsiteX456" fmla="*/ 937086 w 12192000"/>
              <a:gd name="connsiteY456" fmla="*/ 396366 h 6858000"/>
              <a:gd name="connsiteX457" fmla="*/ 933378 w 12192000"/>
              <a:gd name="connsiteY457" fmla="*/ 413671 h 6858000"/>
              <a:gd name="connsiteX458" fmla="*/ 924725 w 12192000"/>
              <a:gd name="connsiteY458" fmla="*/ 426031 h 6858000"/>
              <a:gd name="connsiteX459" fmla="*/ 904948 w 12192000"/>
              <a:gd name="connsiteY459" fmla="*/ 427267 h 6858000"/>
              <a:gd name="connsiteX460" fmla="*/ 895060 w 12192000"/>
              <a:gd name="connsiteY460" fmla="*/ 435920 h 6858000"/>
              <a:gd name="connsiteX461" fmla="*/ 891352 w 12192000"/>
              <a:gd name="connsiteY461" fmla="*/ 450753 h 6858000"/>
              <a:gd name="connsiteX462" fmla="*/ 896296 w 12192000"/>
              <a:gd name="connsiteY462" fmla="*/ 465585 h 6858000"/>
              <a:gd name="connsiteX463" fmla="*/ 900004 w 12192000"/>
              <a:gd name="connsiteY463" fmla="*/ 468058 h 6858000"/>
              <a:gd name="connsiteX464" fmla="*/ 908657 w 12192000"/>
              <a:gd name="connsiteY464" fmla="*/ 464349 h 6858000"/>
              <a:gd name="connsiteX465" fmla="*/ 942030 w 12192000"/>
              <a:gd name="connsiteY465" fmla="*/ 445808 h 6858000"/>
              <a:gd name="connsiteX466" fmla="*/ 924725 w 12192000"/>
              <a:gd name="connsiteY466" fmla="*/ 461877 h 6858000"/>
              <a:gd name="connsiteX467" fmla="*/ 886407 w 12192000"/>
              <a:gd name="connsiteY467" fmla="*/ 476710 h 6858000"/>
              <a:gd name="connsiteX468" fmla="*/ 880227 w 12192000"/>
              <a:gd name="connsiteY468" fmla="*/ 474238 h 6858000"/>
              <a:gd name="connsiteX469" fmla="*/ 838201 w 12192000"/>
              <a:gd name="connsiteY469" fmla="*/ 369173 h 6858000"/>
              <a:gd name="connsiteX470" fmla="*/ 991473 w 12192000"/>
              <a:gd name="connsiteY470" fmla="*/ 215901 h 6858000"/>
              <a:gd name="connsiteX471" fmla="*/ 991473 w 12192000"/>
              <a:gd name="connsiteY471" fmla="*/ 193652 h 6858000"/>
              <a:gd name="connsiteX472" fmla="*/ 815952 w 12192000"/>
              <a:gd name="connsiteY472" fmla="*/ 369173 h 6858000"/>
              <a:gd name="connsiteX473" fmla="*/ 991473 w 12192000"/>
              <a:gd name="connsiteY473" fmla="*/ 543457 h 6858000"/>
              <a:gd name="connsiteX474" fmla="*/ 1165757 w 12192000"/>
              <a:gd name="connsiteY474" fmla="*/ 369173 h 6858000"/>
              <a:gd name="connsiteX475" fmla="*/ 991473 w 12192000"/>
              <a:gd name="connsiteY475" fmla="*/ 193652 h 6858000"/>
              <a:gd name="connsiteX476" fmla="*/ 0 w 12192000"/>
              <a:gd name="connsiteY476" fmla="*/ 0 h 6858000"/>
              <a:gd name="connsiteX477" fmla="*/ 12192000 w 12192000"/>
              <a:gd name="connsiteY477" fmla="*/ 0 h 6858000"/>
              <a:gd name="connsiteX478" fmla="*/ 12192000 w 12192000"/>
              <a:gd name="connsiteY478" fmla="*/ 3631721 h 6858000"/>
              <a:gd name="connsiteX479" fmla="*/ 12192000 w 12192000"/>
              <a:gd name="connsiteY479" fmla="*/ 5651114 h 6858000"/>
              <a:gd name="connsiteX480" fmla="*/ 12192000 w 12192000"/>
              <a:gd name="connsiteY480" fmla="*/ 5717788 h 6858000"/>
              <a:gd name="connsiteX481" fmla="*/ 12192000 w 12192000"/>
              <a:gd name="connsiteY481" fmla="*/ 5725161 h 6858000"/>
              <a:gd name="connsiteX482" fmla="*/ 6095365 w 12192000"/>
              <a:gd name="connsiteY482" fmla="*/ 3285491 h 6858000"/>
              <a:gd name="connsiteX483" fmla="*/ 0 w 12192000"/>
              <a:gd name="connsiteY483" fmla="*/ 5748021 h 6858000"/>
              <a:gd name="connsiteX484" fmla="*/ 0 w 12192000"/>
              <a:gd name="connsiteY484" fmla="*/ 3740125 h 6858000"/>
              <a:gd name="connsiteX485" fmla="*/ 0 w 12192000"/>
              <a:gd name="connsiteY485" fmla="*/ 141051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Lst>
            <a:rect l="l" t="t" r="r" b="b"/>
            <a:pathLst>
              <a:path w="12192000" h="6858000">
                <a:moveTo>
                  <a:pt x="12192000" y="6854826"/>
                </a:moveTo>
                <a:lnTo>
                  <a:pt x="12192000" y="6857999"/>
                </a:lnTo>
                <a:lnTo>
                  <a:pt x="12192000" y="6858000"/>
                </a:lnTo>
                <a:lnTo>
                  <a:pt x="11898071" y="6858000"/>
                </a:lnTo>
                <a:lnTo>
                  <a:pt x="11898072" y="6857999"/>
                </a:lnTo>
                <a:lnTo>
                  <a:pt x="11854047" y="6857999"/>
                </a:lnTo>
                <a:lnTo>
                  <a:pt x="11854046" y="6858000"/>
                </a:lnTo>
                <a:lnTo>
                  <a:pt x="11343792" y="6858000"/>
                </a:lnTo>
                <a:lnTo>
                  <a:pt x="11343793" y="6857999"/>
                </a:lnTo>
                <a:lnTo>
                  <a:pt x="11299647" y="6857999"/>
                </a:lnTo>
                <a:lnTo>
                  <a:pt x="11299646" y="6858000"/>
                </a:lnTo>
                <a:lnTo>
                  <a:pt x="10921262" y="6858000"/>
                </a:lnTo>
                <a:lnTo>
                  <a:pt x="10921263" y="6857999"/>
                </a:lnTo>
                <a:lnTo>
                  <a:pt x="10877189" y="6857999"/>
                </a:lnTo>
                <a:lnTo>
                  <a:pt x="10877188" y="6858000"/>
                </a:lnTo>
                <a:lnTo>
                  <a:pt x="6337280" y="6858000"/>
                </a:lnTo>
                <a:close/>
                <a:moveTo>
                  <a:pt x="2719933" y="363014"/>
                </a:moveTo>
                <a:lnTo>
                  <a:pt x="2719933" y="376799"/>
                </a:lnTo>
                <a:lnTo>
                  <a:pt x="2785484" y="376799"/>
                </a:lnTo>
                <a:lnTo>
                  <a:pt x="2785484" y="363014"/>
                </a:lnTo>
                <a:close/>
                <a:moveTo>
                  <a:pt x="4027010" y="345722"/>
                </a:moveTo>
                <a:lnTo>
                  <a:pt x="4027372" y="345722"/>
                </a:lnTo>
                <a:lnTo>
                  <a:pt x="4038255" y="380306"/>
                </a:lnTo>
                <a:lnTo>
                  <a:pt x="4016066" y="380306"/>
                </a:lnTo>
                <a:close/>
                <a:moveTo>
                  <a:pt x="2464909" y="345722"/>
                </a:moveTo>
                <a:lnTo>
                  <a:pt x="2465272" y="345722"/>
                </a:lnTo>
                <a:lnTo>
                  <a:pt x="2476155" y="380306"/>
                </a:lnTo>
                <a:lnTo>
                  <a:pt x="2453966" y="380306"/>
                </a:lnTo>
                <a:close/>
                <a:moveTo>
                  <a:pt x="2179159" y="345722"/>
                </a:moveTo>
                <a:lnTo>
                  <a:pt x="2179522" y="345722"/>
                </a:lnTo>
                <a:lnTo>
                  <a:pt x="2190405" y="380306"/>
                </a:lnTo>
                <a:lnTo>
                  <a:pt x="2168216" y="380306"/>
                </a:lnTo>
                <a:close/>
                <a:moveTo>
                  <a:pt x="4213068" y="338708"/>
                </a:moveTo>
                <a:lnTo>
                  <a:pt x="4224737" y="338708"/>
                </a:lnTo>
                <a:cubicBezTo>
                  <a:pt x="4231065" y="338708"/>
                  <a:pt x="4236023" y="340842"/>
                  <a:pt x="4239610" y="345111"/>
                </a:cubicBezTo>
                <a:cubicBezTo>
                  <a:pt x="4243198" y="349379"/>
                  <a:pt x="4244992" y="354916"/>
                  <a:pt x="4244992" y="361721"/>
                </a:cubicBezTo>
                <a:lnTo>
                  <a:pt x="4244992" y="376398"/>
                </a:lnTo>
                <a:cubicBezTo>
                  <a:pt x="4244992" y="383284"/>
                  <a:pt x="4243198" y="388861"/>
                  <a:pt x="4239610" y="393129"/>
                </a:cubicBezTo>
                <a:cubicBezTo>
                  <a:pt x="4236023" y="397398"/>
                  <a:pt x="4231065" y="399532"/>
                  <a:pt x="4224737" y="399532"/>
                </a:cubicBezTo>
                <a:lnTo>
                  <a:pt x="4213068" y="399532"/>
                </a:lnTo>
                <a:close/>
                <a:moveTo>
                  <a:pt x="4108293" y="338708"/>
                </a:moveTo>
                <a:lnTo>
                  <a:pt x="4123832" y="338708"/>
                </a:lnTo>
                <a:cubicBezTo>
                  <a:pt x="4128588" y="338708"/>
                  <a:pt x="4132185" y="339897"/>
                  <a:pt x="4134624" y="342275"/>
                </a:cubicBezTo>
                <a:cubicBezTo>
                  <a:pt x="4137062" y="344654"/>
                  <a:pt x="4138282" y="347858"/>
                  <a:pt x="4138282" y="351889"/>
                </a:cubicBezTo>
                <a:cubicBezTo>
                  <a:pt x="4138282" y="356000"/>
                  <a:pt x="4137062" y="359104"/>
                  <a:pt x="4134624" y="361200"/>
                </a:cubicBezTo>
                <a:cubicBezTo>
                  <a:pt x="4132185" y="363296"/>
                  <a:pt x="4128487" y="364344"/>
                  <a:pt x="4123529" y="364344"/>
                </a:cubicBezTo>
                <a:lnTo>
                  <a:pt x="4108293" y="364344"/>
                </a:lnTo>
                <a:close/>
                <a:moveTo>
                  <a:pt x="3774918" y="338708"/>
                </a:moveTo>
                <a:lnTo>
                  <a:pt x="3790457" y="338708"/>
                </a:lnTo>
                <a:cubicBezTo>
                  <a:pt x="3795213" y="338708"/>
                  <a:pt x="3798810" y="339897"/>
                  <a:pt x="3801249" y="342275"/>
                </a:cubicBezTo>
                <a:cubicBezTo>
                  <a:pt x="3803687" y="344654"/>
                  <a:pt x="3804907" y="347858"/>
                  <a:pt x="3804907" y="351889"/>
                </a:cubicBezTo>
                <a:cubicBezTo>
                  <a:pt x="3804907" y="356000"/>
                  <a:pt x="3803687" y="359104"/>
                  <a:pt x="3801249" y="361200"/>
                </a:cubicBezTo>
                <a:cubicBezTo>
                  <a:pt x="3798810" y="363296"/>
                  <a:pt x="3795112" y="364344"/>
                  <a:pt x="3790154" y="364344"/>
                </a:cubicBezTo>
                <a:lnTo>
                  <a:pt x="3774918" y="364344"/>
                </a:lnTo>
                <a:close/>
                <a:moveTo>
                  <a:pt x="2546193" y="338708"/>
                </a:moveTo>
                <a:lnTo>
                  <a:pt x="2557862" y="338708"/>
                </a:lnTo>
                <a:cubicBezTo>
                  <a:pt x="2564190" y="338708"/>
                  <a:pt x="2569148" y="340842"/>
                  <a:pt x="2572735" y="345111"/>
                </a:cubicBezTo>
                <a:cubicBezTo>
                  <a:pt x="2576323" y="349379"/>
                  <a:pt x="2578116" y="354916"/>
                  <a:pt x="2578116" y="361721"/>
                </a:cubicBezTo>
                <a:lnTo>
                  <a:pt x="2578116" y="376398"/>
                </a:lnTo>
                <a:cubicBezTo>
                  <a:pt x="2578116" y="383284"/>
                  <a:pt x="2576323" y="388861"/>
                  <a:pt x="2572735" y="393129"/>
                </a:cubicBezTo>
                <a:cubicBezTo>
                  <a:pt x="2569148" y="397398"/>
                  <a:pt x="2564190" y="399532"/>
                  <a:pt x="2557862" y="399532"/>
                </a:cubicBezTo>
                <a:lnTo>
                  <a:pt x="2546193" y="399532"/>
                </a:lnTo>
                <a:close/>
                <a:moveTo>
                  <a:pt x="3686347" y="337620"/>
                </a:moveTo>
                <a:cubicBezTo>
                  <a:pt x="3692352" y="337620"/>
                  <a:pt x="3697068" y="339821"/>
                  <a:pt x="3700495" y="344223"/>
                </a:cubicBezTo>
                <a:cubicBezTo>
                  <a:pt x="3703921" y="348625"/>
                  <a:pt x="3705634" y="354259"/>
                  <a:pt x="3705634" y="361124"/>
                </a:cubicBezTo>
                <a:lnTo>
                  <a:pt x="3705634" y="377116"/>
                </a:lnTo>
                <a:cubicBezTo>
                  <a:pt x="3705634" y="384103"/>
                  <a:pt x="3703941" y="389797"/>
                  <a:pt x="3700555" y="394199"/>
                </a:cubicBezTo>
                <a:cubicBezTo>
                  <a:pt x="3697169" y="398601"/>
                  <a:pt x="3692453" y="400802"/>
                  <a:pt x="3686407" y="400802"/>
                </a:cubicBezTo>
                <a:cubicBezTo>
                  <a:pt x="3680441" y="400802"/>
                  <a:pt x="3675786" y="398601"/>
                  <a:pt x="3672440" y="394199"/>
                </a:cubicBezTo>
                <a:cubicBezTo>
                  <a:pt x="3669095" y="389797"/>
                  <a:pt x="3667422" y="384103"/>
                  <a:pt x="3667422" y="377116"/>
                </a:cubicBezTo>
                <a:lnTo>
                  <a:pt x="3667422" y="361124"/>
                </a:lnTo>
                <a:cubicBezTo>
                  <a:pt x="3667422" y="354218"/>
                  <a:pt x="3669074" y="348575"/>
                  <a:pt x="3672380" y="344193"/>
                </a:cubicBezTo>
                <a:cubicBezTo>
                  <a:pt x="3675685" y="339811"/>
                  <a:pt x="3680341" y="337620"/>
                  <a:pt x="3686347" y="337620"/>
                </a:cubicBezTo>
                <a:close/>
                <a:moveTo>
                  <a:pt x="3038647" y="337620"/>
                </a:moveTo>
                <a:cubicBezTo>
                  <a:pt x="3044652" y="337620"/>
                  <a:pt x="3049368" y="339821"/>
                  <a:pt x="3052794" y="344223"/>
                </a:cubicBezTo>
                <a:cubicBezTo>
                  <a:pt x="3056221" y="348625"/>
                  <a:pt x="3057934" y="354259"/>
                  <a:pt x="3057934" y="361124"/>
                </a:cubicBezTo>
                <a:lnTo>
                  <a:pt x="3057934" y="377116"/>
                </a:lnTo>
                <a:cubicBezTo>
                  <a:pt x="3057934" y="384103"/>
                  <a:pt x="3056241" y="389797"/>
                  <a:pt x="3052855" y="394199"/>
                </a:cubicBezTo>
                <a:cubicBezTo>
                  <a:pt x="3049469" y="398601"/>
                  <a:pt x="3044753" y="400802"/>
                  <a:pt x="3038707" y="400802"/>
                </a:cubicBezTo>
                <a:cubicBezTo>
                  <a:pt x="3032741" y="400802"/>
                  <a:pt x="3028086" y="398601"/>
                  <a:pt x="3024740" y="394199"/>
                </a:cubicBezTo>
                <a:cubicBezTo>
                  <a:pt x="3021395" y="389797"/>
                  <a:pt x="3019722" y="384103"/>
                  <a:pt x="3019722" y="377116"/>
                </a:cubicBezTo>
                <a:lnTo>
                  <a:pt x="3019722" y="361124"/>
                </a:lnTo>
                <a:cubicBezTo>
                  <a:pt x="3019722" y="354218"/>
                  <a:pt x="3021375" y="348575"/>
                  <a:pt x="3024680" y="344193"/>
                </a:cubicBezTo>
                <a:cubicBezTo>
                  <a:pt x="3027985" y="339811"/>
                  <a:pt x="3032641" y="337620"/>
                  <a:pt x="3038647" y="337620"/>
                </a:cubicBezTo>
                <a:close/>
                <a:moveTo>
                  <a:pt x="4195413" y="325104"/>
                </a:moveTo>
                <a:lnTo>
                  <a:pt x="4195413" y="413136"/>
                </a:lnTo>
                <a:lnTo>
                  <a:pt x="4225644" y="413136"/>
                </a:lnTo>
                <a:cubicBezTo>
                  <a:pt x="4236406" y="413136"/>
                  <a:pt x="4245273" y="409720"/>
                  <a:pt x="4252247" y="402888"/>
                </a:cubicBezTo>
                <a:cubicBezTo>
                  <a:pt x="4259220" y="396056"/>
                  <a:pt x="4262707" y="387239"/>
                  <a:pt x="4262707" y="376436"/>
                </a:cubicBezTo>
                <a:lnTo>
                  <a:pt x="4262707" y="361865"/>
                </a:lnTo>
                <a:cubicBezTo>
                  <a:pt x="4262707" y="351103"/>
                  <a:pt x="4259220" y="342285"/>
                  <a:pt x="4252247" y="335413"/>
                </a:cubicBezTo>
                <a:cubicBezTo>
                  <a:pt x="4245273" y="328540"/>
                  <a:pt x="4236406" y="325104"/>
                  <a:pt x="4225644" y="325104"/>
                </a:cubicBezTo>
                <a:close/>
                <a:moveTo>
                  <a:pt x="4090638" y="325104"/>
                </a:moveTo>
                <a:lnTo>
                  <a:pt x="4090638" y="413136"/>
                </a:lnTo>
                <a:lnTo>
                  <a:pt x="4108293" y="413136"/>
                </a:lnTo>
                <a:lnTo>
                  <a:pt x="4108293" y="377948"/>
                </a:lnTo>
                <a:lnTo>
                  <a:pt x="4125101" y="377948"/>
                </a:lnTo>
                <a:cubicBezTo>
                  <a:pt x="4129454" y="377948"/>
                  <a:pt x="4132830" y="379167"/>
                  <a:pt x="4135228" y="381605"/>
                </a:cubicBezTo>
                <a:cubicBezTo>
                  <a:pt x="4137627" y="384044"/>
                  <a:pt x="4138826" y="387460"/>
                  <a:pt x="4138826" y="391854"/>
                </a:cubicBezTo>
                <a:lnTo>
                  <a:pt x="4138826" y="398081"/>
                </a:lnTo>
                <a:cubicBezTo>
                  <a:pt x="4138826" y="400782"/>
                  <a:pt x="4139068" y="403644"/>
                  <a:pt x="4139551" y="406667"/>
                </a:cubicBezTo>
                <a:cubicBezTo>
                  <a:pt x="4140035" y="409690"/>
                  <a:pt x="4141083" y="411846"/>
                  <a:pt x="4142695" y="413136"/>
                </a:cubicBezTo>
                <a:lnTo>
                  <a:pt x="4160894" y="413136"/>
                </a:lnTo>
                <a:lnTo>
                  <a:pt x="4160894" y="411866"/>
                </a:lnTo>
                <a:cubicBezTo>
                  <a:pt x="4159282" y="410577"/>
                  <a:pt x="4158143" y="408591"/>
                  <a:pt x="4157478" y="405911"/>
                </a:cubicBezTo>
                <a:cubicBezTo>
                  <a:pt x="4156813" y="403231"/>
                  <a:pt x="4156481" y="400661"/>
                  <a:pt x="4156481" y="398202"/>
                </a:cubicBezTo>
                <a:lnTo>
                  <a:pt x="4156481" y="391733"/>
                </a:lnTo>
                <a:cubicBezTo>
                  <a:pt x="4156481" y="386452"/>
                  <a:pt x="4155342" y="382019"/>
                  <a:pt x="4153065" y="378431"/>
                </a:cubicBezTo>
                <a:cubicBezTo>
                  <a:pt x="4150787" y="374844"/>
                  <a:pt x="4147049" y="372284"/>
                  <a:pt x="4141849" y="370753"/>
                </a:cubicBezTo>
                <a:cubicBezTo>
                  <a:pt x="4146444" y="368737"/>
                  <a:pt x="4149930" y="366097"/>
                  <a:pt x="4152309" y="362832"/>
                </a:cubicBezTo>
                <a:cubicBezTo>
                  <a:pt x="4154687" y="359567"/>
                  <a:pt x="4155876" y="355657"/>
                  <a:pt x="4155876" y="351103"/>
                </a:cubicBezTo>
                <a:cubicBezTo>
                  <a:pt x="4155876" y="342920"/>
                  <a:pt x="4153044" y="336542"/>
                  <a:pt x="4147381" y="331967"/>
                </a:cubicBezTo>
                <a:cubicBezTo>
                  <a:pt x="4141718" y="327392"/>
                  <a:pt x="4133868" y="325104"/>
                  <a:pt x="4123832" y="325104"/>
                </a:cubicBezTo>
                <a:close/>
                <a:moveTo>
                  <a:pt x="4018182" y="325104"/>
                </a:moveTo>
                <a:lnTo>
                  <a:pt x="3987891" y="413136"/>
                </a:lnTo>
                <a:lnTo>
                  <a:pt x="4005727" y="413136"/>
                </a:lnTo>
                <a:lnTo>
                  <a:pt x="4011713" y="394151"/>
                </a:lnTo>
                <a:lnTo>
                  <a:pt x="4042609" y="394151"/>
                </a:lnTo>
                <a:lnTo>
                  <a:pt x="4048594" y="413136"/>
                </a:lnTo>
                <a:lnTo>
                  <a:pt x="4066430" y="413136"/>
                </a:lnTo>
                <a:lnTo>
                  <a:pt x="4036260" y="325104"/>
                </a:lnTo>
                <a:close/>
                <a:moveTo>
                  <a:pt x="3855267" y="325104"/>
                </a:moveTo>
                <a:lnTo>
                  <a:pt x="3875884" y="413136"/>
                </a:lnTo>
                <a:lnTo>
                  <a:pt x="3892269" y="413136"/>
                </a:lnTo>
                <a:lnTo>
                  <a:pt x="3908412" y="355033"/>
                </a:lnTo>
                <a:lnTo>
                  <a:pt x="3908775" y="355033"/>
                </a:lnTo>
                <a:lnTo>
                  <a:pt x="3924918" y="413136"/>
                </a:lnTo>
                <a:lnTo>
                  <a:pt x="3941303" y="413136"/>
                </a:lnTo>
                <a:lnTo>
                  <a:pt x="3961860" y="325104"/>
                </a:lnTo>
                <a:lnTo>
                  <a:pt x="3944628" y="325104"/>
                </a:lnTo>
                <a:lnTo>
                  <a:pt x="3932053" y="385445"/>
                </a:lnTo>
                <a:lnTo>
                  <a:pt x="3931690" y="385445"/>
                </a:lnTo>
                <a:lnTo>
                  <a:pt x="3915063" y="325104"/>
                </a:lnTo>
                <a:lnTo>
                  <a:pt x="3902064" y="325104"/>
                </a:lnTo>
                <a:lnTo>
                  <a:pt x="3885557" y="385445"/>
                </a:lnTo>
                <a:lnTo>
                  <a:pt x="3885195" y="385384"/>
                </a:lnTo>
                <a:lnTo>
                  <a:pt x="3872558" y="325104"/>
                </a:lnTo>
                <a:close/>
                <a:moveTo>
                  <a:pt x="3757263" y="325104"/>
                </a:moveTo>
                <a:lnTo>
                  <a:pt x="3757263" y="413136"/>
                </a:lnTo>
                <a:lnTo>
                  <a:pt x="3774918" y="413136"/>
                </a:lnTo>
                <a:lnTo>
                  <a:pt x="3774918" y="377948"/>
                </a:lnTo>
                <a:lnTo>
                  <a:pt x="3791726" y="377948"/>
                </a:lnTo>
                <a:cubicBezTo>
                  <a:pt x="3796079" y="377948"/>
                  <a:pt x="3799455" y="379167"/>
                  <a:pt x="3801853" y="381605"/>
                </a:cubicBezTo>
                <a:cubicBezTo>
                  <a:pt x="3804252" y="384044"/>
                  <a:pt x="3805451" y="387460"/>
                  <a:pt x="3805451" y="391854"/>
                </a:cubicBezTo>
                <a:lnTo>
                  <a:pt x="3805451" y="398081"/>
                </a:lnTo>
                <a:cubicBezTo>
                  <a:pt x="3805451" y="400782"/>
                  <a:pt x="3805693" y="403644"/>
                  <a:pt x="3806176" y="406667"/>
                </a:cubicBezTo>
                <a:cubicBezTo>
                  <a:pt x="3806660" y="409690"/>
                  <a:pt x="3807708" y="411846"/>
                  <a:pt x="3809320" y="413136"/>
                </a:cubicBezTo>
                <a:lnTo>
                  <a:pt x="3827519" y="413136"/>
                </a:lnTo>
                <a:lnTo>
                  <a:pt x="3827519" y="411866"/>
                </a:lnTo>
                <a:cubicBezTo>
                  <a:pt x="3825907" y="410577"/>
                  <a:pt x="3824768" y="408591"/>
                  <a:pt x="3824103" y="405911"/>
                </a:cubicBezTo>
                <a:cubicBezTo>
                  <a:pt x="3823438" y="403231"/>
                  <a:pt x="3823106" y="400661"/>
                  <a:pt x="3823106" y="398202"/>
                </a:cubicBezTo>
                <a:lnTo>
                  <a:pt x="3823106" y="391733"/>
                </a:lnTo>
                <a:cubicBezTo>
                  <a:pt x="3823106" y="386452"/>
                  <a:pt x="3821967" y="382019"/>
                  <a:pt x="3819690" y="378431"/>
                </a:cubicBezTo>
                <a:cubicBezTo>
                  <a:pt x="3817412" y="374844"/>
                  <a:pt x="3813674" y="372284"/>
                  <a:pt x="3808474" y="370753"/>
                </a:cubicBezTo>
                <a:cubicBezTo>
                  <a:pt x="3813069" y="368737"/>
                  <a:pt x="3816556" y="366097"/>
                  <a:pt x="3818934" y="362832"/>
                </a:cubicBezTo>
                <a:cubicBezTo>
                  <a:pt x="3821312" y="359567"/>
                  <a:pt x="3822501" y="355657"/>
                  <a:pt x="3822501" y="351103"/>
                </a:cubicBezTo>
                <a:cubicBezTo>
                  <a:pt x="3822501" y="342920"/>
                  <a:pt x="3819670" y="336542"/>
                  <a:pt x="3814006" y="331967"/>
                </a:cubicBezTo>
                <a:cubicBezTo>
                  <a:pt x="3808343" y="327392"/>
                  <a:pt x="3800493" y="325104"/>
                  <a:pt x="3790457" y="325104"/>
                </a:cubicBezTo>
                <a:close/>
                <a:moveTo>
                  <a:pt x="3557238" y="325104"/>
                </a:moveTo>
                <a:lnTo>
                  <a:pt x="3557238" y="413136"/>
                </a:lnTo>
                <a:lnTo>
                  <a:pt x="3574893" y="413136"/>
                </a:lnTo>
                <a:lnTo>
                  <a:pt x="3574893" y="376557"/>
                </a:lnTo>
                <a:lnTo>
                  <a:pt x="3611774" y="376557"/>
                </a:lnTo>
                <a:lnTo>
                  <a:pt x="3611774" y="362953"/>
                </a:lnTo>
                <a:lnTo>
                  <a:pt x="3574893" y="362953"/>
                </a:lnTo>
                <a:lnTo>
                  <a:pt x="3574893" y="338708"/>
                </a:lnTo>
                <a:lnTo>
                  <a:pt x="3617941" y="338708"/>
                </a:lnTo>
                <a:lnTo>
                  <a:pt x="3617941" y="325104"/>
                </a:lnTo>
                <a:close/>
                <a:moveTo>
                  <a:pt x="3261963" y="325104"/>
                </a:moveTo>
                <a:lnTo>
                  <a:pt x="3261963" y="413136"/>
                </a:lnTo>
                <a:lnTo>
                  <a:pt x="3279618" y="413136"/>
                </a:lnTo>
                <a:lnTo>
                  <a:pt x="3279618" y="353037"/>
                </a:lnTo>
                <a:lnTo>
                  <a:pt x="3279981" y="352977"/>
                </a:lnTo>
                <a:lnTo>
                  <a:pt x="3315532" y="413136"/>
                </a:lnTo>
                <a:lnTo>
                  <a:pt x="3333126" y="413136"/>
                </a:lnTo>
                <a:lnTo>
                  <a:pt x="3333126" y="325104"/>
                </a:lnTo>
                <a:lnTo>
                  <a:pt x="3315532" y="325104"/>
                </a:lnTo>
                <a:lnTo>
                  <a:pt x="3315532" y="385142"/>
                </a:lnTo>
                <a:lnTo>
                  <a:pt x="3315169" y="385203"/>
                </a:lnTo>
                <a:lnTo>
                  <a:pt x="3279618" y="325104"/>
                </a:lnTo>
                <a:close/>
                <a:moveTo>
                  <a:pt x="3205901" y="325104"/>
                </a:moveTo>
                <a:lnTo>
                  <a:pt x="3205901" y="413136"/>
                </a:lnTo>
                <a:lnTo>
                  <a:pt x="3223556" y="413136"/>
                </a:lnTo>
                <a:lnTo>
                  <a:pt x="3223556" y="325104"/>
                </a:lnTo>
                <a:close/>
                <a:moveTo>
                  <a:pt x="3101764" y="325104"/>
                </a:moveTo>
                <a:lnTo>
                  <a:pt x="3131631" y="413136"/>
                </a:lnTo>
                <a:lnTo>
                  <a:pt x="3149770" y="413136"/>
                </a:lnTo>
                <a:lnTo>
                  <a:pt x="3179698" y="325104"/>
                </a:lnTo>
                <a:lnTo>
                  <a:pt x="3161076" y="325104"/>
                </a:lnTo>
                <a:lnTo>
                  <a:pt x="3141910" y="389859"/>
                </a:lnTo>
                <a:lnTo>
                  <a:pt x="3140882" y="394514"/>
                </a:lnTo>
                <a:lnTo>
                  <a:pt x="3140519" y="394514"/>
                </a:lnTo>
                <a:lnTo>
                  <a:pt x="3139431" y="389738"/>
                </a:lnTo>
                <a:lnTo>
                  <a:pt x="3120386" y="325104"/>
                </a:lnTo>
                <a:close/>
                <a:moveTo>
                  <a:pt x="2880963" y="325104"/>
                </a:moveTo>
                <a:lnTo>
                  <a:pt x="2880963" y="413136"/>
                </a:lnTo>
                <a:lnTo>
                  <a:pt x="2898618" y="413136"/>
                </a:lnTo>
                <a:lnTo>
                  <a:pt x="2898618" y="386896"/>
                </a:lnTo>
                <a:lnTo>
                  <a:pt x="2896925" y="348261"/>
                </a:lnTo>
                <a:lnTo>
                  <a:pt x="2897288" y="348201"/>
                </a:lnTo>
                <a:lnTo>
                  <a:pt x="2920747" y="413136"/>
                </a:lnTo>
                <a:lnTo>
                  <a:pt x="2932597" y="413136"/>
                </a:lnTo>
                <a:lnTo>
                  <a:pt x="2956177" y="347959"/>
                </a:lnTo>
                <a:lnTo>
                  <a:pt x="2956540" y="348019"/>
                </a:lnTo>
                <a:lnTo>
                  <a:pt x="2954847" y="386896"/>
                </a:lnTo>
                <a:lnTo>
                  <a:pt x="2954847" y="413136"/>
                </a:lnTo>
                <a:lnTo>
                  <a:pt x="2972502" y="413136"/>
                </a:lnTo>
                <a:lnTo>
                  <a:pt x="2972502" y="325104"/>
                </a:lnTo>
                <a:lnTo>
                  <a:pt x="2949405" y="325104"/>
                </a:lnTo>
                <a:lnTo>
                  <a:pt x="2926793" y="389979"/>
                </a:lnTo>
                <a:lnTo>
                  <a:pt x="2926430" y="389979"/>
                </a:lnTo>
                <a:lnTo>
                  <a:pt x="2903999" y="325104"/>
                </a:lnTo>
                <a:close/>
                <a:moveTo>
                  <a:pt x="2528538" y="325104"/>
                </a:moveTo>
                <a:lnTo>
                  <a:pt x="2528538" y="413136"/>
                </a:lnTo>
                <a:lnTo>
                  <a:pt x="2558769" y="413136"/>
                </a:lnTo>
                <a:cubicBezTo>
                  <a:pt x="2569531" y="413136"/>
                  <a:pt x="2578399" y="409720"/>
                  <a:pt x="2585372" y="402888"/>
                </a:cubicBezTo>
                <a:cubicBezTo>
                  <a:pt x="2592345" y="396056"/>
                  <a:pt x="2595832" y="387239"/>
                  <a:pt x="2595832" y="376436"/>
                </a:cubicBezTo>
                <a:lnTo>
                  <a:pt x="2595832" y="361865"/>
                </a:lnTo>
                <a:cubicBezTo>
                  <a:pt x="2595832" y="351103"/>
                  <a:pt x="2592345" y="342285"/>
                  <a:pt x="2585372" y="335413"/>
                </a:cubicBezTo>
                <a:cubicBezTo>
                  <a:pt x="2578399" y="328540"/>
                  <a:pt x="2569531" y="325104"/>
                  <a:pt x="2558769" y="325104"/>
                </a:cubicBezTo>
                <a:close/>
                <a:moveTo>
                  <a:pt x="2456082" y="325104"/>
                </a:moveTo>
                <a:lnTo>
                  <a:pt x="2425791" y="413136"/>
                </a:lnTo>
                <a:lnTo>
                  <a:pt x="2443627" y="413136"/>
                </a:lnTo>
                <a:lnTo>
                  <a:pt x="2449613" y="394151"/>
                </a:lnTo>
                <a:lnTo>
                  <a:pt x="2480508" y="394151"/>
                </a:lnTo>
                <a:lnTo>
                  <a:pt x="2486494" y="413136"/>
                </a:lnTo>
                <a:lnTo>
                  <a:pt x="2504330" y="413136"/>
                </a:lnTo>
                <a:lnTo>
                  <a:pt x="2474160" y="325104"/>
                </a:lnTo>
                <a:close/>
                <a:moveTo>
                  <a:pt x="2347563" y="325104"/>
                </a:moveTo>
                <a:lnTo>
                  <a:pt x="2347563" y="413136"/>
                </a:lnTo>
                <a:lnTo>
                  <a:pt x="2407843" y="413136"/>
                </a:lnTo>
                <a:lnTo>
                  <a:pt x="2407843" y="399532"/>
                </a:lnTo>
                <a:lnTo>
                  <a:pt x="2365218" y="399532"/>
                </a:lnTo>
                <a:lnTo>
                  <a:pt x="2365218" y="374441"/>
                </a:lnTo>
                <a:lnTo>
                  <a:pt x="2401676" y="374441"/>
                </a:lnTo>
                <a:lnTo>
                  <a:pt x="2401676" y="360837"/>
                </a:lnTo>
                <a:lnTo>
                  <a:pt x="2365218" y="360837"/>
                </a:lnTo>
                <a:lnTo>
                  <a:pt x="2365218" y="338708"/>
                </a:lnTo>
                <a:lnTo>
                  <a:pt x="2407722" y="338708"/>
                </a:lnTo>
                <a:lnTo>
                  <a:pt x="2407722" y="325104"/>
                </a:lnTo>
                <a:close/>
                <a:moveTo>
                  <a:pt x="2242788" y="325104"/>
                </a:moveTo>
                <a:lnTo>
                  <a:pt x="2242788" y="413136"/>
                </a:lnTo>
                <a:lnTo>
                  <a:pt x="2260443" y="413136"/>
                </a:lnTo>
                <a:lnTo>
                  <a:pt x="2260443" y="376557"/>
                </a:lnTo>
                <a:lnTo>
                  <a:pt x="2296357" y="376557"/>
                </a:lnTo>
                <a:lnTo>
                  <a:pt x="2296357" y="413136"/>
                </a:lnTo>
                <a:lnTo>
                  <a:pt x="2313951" y="413136"/>
                </a:lnTo>
                <a:lnTo>
                  <a:pt x="2313951" y="325104"/>
                </a:lnTo>
                <a:lnTo>
                  <a:pt x="2296357" y="325104"/>
                </a:lnTo>
                <a:lnTo>
                  <a:pt x="2296357" y="362953"/>
                </a:lnTo>
                <a:lnTo>
                  <a:pt x="2260443" y="362953"/>
                </a:lnTo>
                <a:lnTo>
                  <a:pt x="2260443" y="325104"/>
                </a:lnTo>
                <a:close/>
                <a:moveTo>
                  <a:pt x="2170332" y="325104"/>
                </a:moveTo>
                <a:lnTo>
                  <a:pt x="2140041" y="413136"/>
                </a:lnTo>
                <a:lnTo>
                  <a:pt x="2157877" y="413136"/>
                </a:lnTo>
                <a:lnTo>
                  <a:pt x="2163863" y="394151"/>
                </a:lnTo>
                <a:lnTo>
                  <a:pt x="2194758" y="394151"/>
                </a:lnTo>
                <a:lnTo>
                  <a:pt x="2200744" y="413136"/>
                </a:lnTo>
                <a:lnTo>
                  <a:pt x="2218580" y="413136"/>
                </a:lnTo>
                <a:lnTo>
                  <a:pt x="2188410" y="325104"/>
                </a:lnTo>
                <a:close/>
                <a:moveTo>
                  <a:pt x="1842738" y="325104"/>
                </a:moveTo>
                <a:lnTo>
                  <a:pt x="1842738" y="413136"/>
                </a:lnTo>
                <a:lnTo>
                  <a:pt x="1860393" y="413136"/>
                </a:lnTo>
                <a:lnTo>
                  <a:pt x="1860393" y="353037"/>
                </a:lnTo>
                <a:lnTo>
                  <a:pt x="1860755" y="352977"/>
                </a:lnTo>
                <a:lnTo>
                  <a:pt x="1896307" y="413136"/>
                </a:lnTo>
                <a:lnTo>
                  <a:pt x="1913901" y="413136"/>
                </a:lnTo>
                <a:lnTo>
                  <a:pt x="1913901" y="325104"/>
                </a:lnTo>
                <a:lnTo>
                  <a:pt x="1896307" y="325104"/>
                </a:lnTo>
                <a:lnTo>
                  <a:pt x="1896307" y="385142"/>
                </a:lnTo>
                <a:lnTo>
                  <a:pt x="1895944" y="385203"/>
                </a:lnTo>
                <a:lnTo>
                  <a:pt x="1860393" y="325104"/>
                </a:lnTo>
                <a:close/>
                <a:moveTo>
                  <a:pt x="1786676" y="325104"/>
                </a:moveTo>
                <a:lnTo>
                  <a:pt x="1786676" y="413136"/>
                </a:lnTo>
                <a:lnTo>
                  <a:pt x="1804331" y="413136"/>
                </a:lnTo>
                <a:lnTo>
                  <a:pt x="1804331" y="325104"/>
                </a:lnTo>
                <a:close/>
                <a:moveTo>
                  <a:pt x="1690338" y="325104"/>
                </a:moveTo>
                <a:lnTo>
                  <a:pt x="1690338" y="413136"/>
                </a:lnTo>
                <a:lnTo>
                  <a:pt x="1707993" y="413136"/>
                </a:lnTo>
                <a:lnTo>
                  <a:pt x="1707993" y="376376"/>
                </a:lnTo>
                <a:lnTo>
                  <a:pt x="1717787" y="376376"/>
                </a:lnTo>
                <a:lnTo>
                  <a:pt x="1741428" y="413136"/>
                </a:lnTo>
                <a:lnTo>
                  <a:pt x="1762952" y="413136"/>
                </a:lnTo>
                <a:lnTo>
                  <a:pt x="1730968" y="366097"/>
                </a:lnTo>
                <a:lnTo>
                  <a:pt x="1760594" y="325104"/>
                </a:lnTo>
                <a:lnTo>
                  <a:pt x="1739009" y="325104"/>
                </a:lnTo>
                <a:lnTo>
                  <a:pt x="1715671" y="361079"/>
                </a:lnTo>
                <a:lnTo>
                  <a:pt x="1707993" y="361079"/>
                </a:lnTo>
                <a:lnTo>
                  <a:pt x="1707993" y="325104"/>
                </a:lnTo>
                <a:close/>
                <a:moveTo>
                  <a:pt x="1585563" y="325104"/>
                </a:moveTo>
                <a:lnTo>
                  <a:pt x="1585563" y="413136"/>
                </a:lnTo>
                <a:lnTo>
                  <a:pt x="1603218" y="413136"/>
                </a:lnTo>
                <a:lnTo>
                  <a:pt x="1603218" y="353037"/>
                </a:lnTo>
                <a:lnTo>
                  <a:pt x="1603580" y="352977"/>
                </a:lnTo>
                <a:lnTo>
                  <a:pt x="1639132" y="413136"/>
                </a:lnTo>
                <a:lnTo>
                  <a:pt x="1656726" y="413136"/>
                </a:lnTo>
                <a:lnTo>
                  <a:pt x="1656726" y="325104"/>
                </a:lnTo>
                <a:lnTo>
                  <a:pt x="1639132" y="325104"/>
                </a:lnTo>
                <a:lnTo>
                  <a:pt x="1639132" y="385142"/>
                </a:lnTo>
                <a:lnTo>
                  <a:pt x="1638769" y="385203"/>
                </a:lnTo>
                <a:lnTo>
                  <a:pt x="1603218" y="325104"/>
                </a:lnTo>
                <a:close/>
                <a:moveTo>
                  <a:pt x="1529502" y="325104"/>
                </a:moveTo>
                <a:lnTo>
                  <a:pt x="1529502" y="413136"/>
                </a:lnTo>
                <a:lnTo>
                  <a:pt x="1547156" y="413136"/>
                </a:lnTo>
                <a:lnTo>
                  <a:pt x="1547156" y="325104"/>
                </a:lnTo>
                <a:close/>
                <a:moveTo>
                  <a:pt x="1423638" y="325104"/>
                </a:moveTo>
                <a:lnTo>
                  <a:pt x="1423638" y="413136"/>
                </a:lnTo>
                <a:lnTo>
                  <a:pt x="1441293" y="413136"/>
                </a:lnTo>
                <a:lnTo>
                  <a:pt x="1441293" y="376557"/>
                </a:lnTo>
                <a:lnTo>
                  <a:pt x="1477207" y="376557"/>
                </a:lnTo>
                <a:lnTo>
                  <a:pt x="1477207" y="413136"/>
                </a:lnTo>
                <a:lnTo>
                  <a:pt x="1494801" y="413136"/>
                </a:lnTo>
                <a:lnTo>
                  <a:pt x="1494801" y="325104"/>
                </a:lnTo>
                <a:lnTo>
                  <a:pt x="1477207" y="325104"/>
                </a:lnTo>
                <a:lnTo>
                  <a:pt x="1477207" y="362953"/>
                </a:lnTo>
                <a:lnTo>
                  <a:pt x="1441293" y="362953"/>
                </a:lnTo>
                <a:lnTo>
                  <a:pt x="1441293" y="325104"/>
                </a:lnTo>
                <a:close/>
                <a:moveTo>
                  <a:pt x="1331383" y="325104"/>
                </a:moveTo>
                <a:lnTo>
                  <a:pt x="1331383" y="338708"/>
                </a:lnTo>
                <a:lnTo>
                  <a:pt x="1356172" y="338708"/>
                </a:lnTo>
                <a:lnTo>
                  <a:pt x="1356172" y="413136"/>
                </a:lnTo>
                <a:lnTo>
                  <a:pt x="1373827" y="413136"/>
                </a:lnTo>
                <a:lnTo>
                  <a:pt x="1373827" y="338708"/>
                </a:lnTo>
                <a:lnTo>
                  <a:pt x="1398737" y="338708"/>
                </a:lnTo>
                <a:lnTo>
                  <a:pt x="1398737" y="325104"/>
                </a:lnTo>
                <a:close/>
                <a:moveTo>
                  <a:pt x="3686347" y="323835"/>
                </a:moveTo>
                <a:cubicBezTo>
                  <a:pt x="3675504" y="323835"/>
                  <a:pt x="3666707" y="327372"/>
                  <a:pt x="3659955" y="334446"/>
                </a:cubicBezTo>
                <a:cubicBezTo>
                  <a:pt x="3653204" y="341520"/>
                  <a:pt x="3649828" y="350438"/>
                  <a:pt x="3649828" y="361200"/>
                </a:cubicBezTo>
                <a:lnTo>
                  <a:pt x="3649828" y="377041"/>
                </a:lnTo>
                <a:cubicBezTo>
                  <a:pt x="3649828" y="387843"/>
                  <a:pt x="3653214" y="396771"/>
                  <a:pt x="3659985" y="403825"/>
                </a:cubicBezTo>
                <a:cubicBezTo>
                  <a:pt x="3666757" y="410879"/>
                  <a:pt x="3675564" y="414406"/>
                  <a:pt x="3686407" y="414406"/>
                </a:cubicBezTo>
                <a:cubicBezTo>
                  <a:pt x="3697331" y="414406"/>
                  <a:pt x="3706208" y="410879"/>
                  <a:pt x="3713040" y="403825"/>
                </a:cubicBezTo>
                <a:cubicBezTo>
                  <a:pt x="3719872" y="396771"/>
                  <a:pt x="3723288" y="387843"/>
                  <a:pt x="3723288" y="377041"/>
                </a:cubicBezTo>
                <a:lnTo>
                  <a:pt x="3723288" y="361200"/>
                </a:lnTo>
                <a:cubicBezTo>
                  <a:pt x="3723288" y="350438"/>
                  <a:pt x="3719862" y="341520"/>
                  <a:pt x="3713010" y="334446"/>
                </a:cubicBezTo>
                <a:cubicBezTo>
                  <a:pt x="3706158" y="327372"/>
                  <a:pt x="3697270" y="323835"/>
                  <a:pt x="3686347" y="323835"/>
                </a:cubicBezTo>
                <a:close/>
                <a:moveTo>
                  <a:pt x="3399629" y="323835"/>
                </a:moveTo>
                <a:cubicBezTo>
                  <a:pt x="3389310" y="323835"/>
                  <a:pt x="3380876" y="327190"/>
                  <a:pt x="3374326" y="333901"/>
                </a:cubicBezTo>
                <a:cubicBezTo>
                  <a:pt x="3367776" y="340613"/>
                  <a:pt x="3364501" y="349289"/>
                  <a:pt x="3364501" y="359930"/>
                </a:cubicBezTo>
                <a:lnTo>
                  <a:pt x="3364501" y="378310"/>
                </a:lnTo>
                <a:cubicBezTo>
                  <a:pt x="3364501" y="388992"/>
                  <a:pt x="3367907" y="397678"/>
                  <a:pt x="3374719" y="404369"/>
                </a:cubicBezTo>
                <a:cubicBezTo>
                  <a:pt x="3381531" y="411060"/>
                  <a:pt x="3390318" y="414406"/>
                  <a:pt x="3401080" y="414406"/>
                </a:cubicBezTo>
                <a:cubicBezTo>
                  <a:pt x="3409545" y="414406"/>
                  <a:pt x="3416548" y="413056"/>
                  <a:pt x="3422090" y="410355"/>
                </a:cubicBezTo>
                <a:cubicBezTo>
                  <a:pt x="3427633" y="407654"/>
                  <a:pt x="3431714" y="404571"/>
                  <a:pt x="3434334" y="401104"/>
                </a:cubicBezTo>
                <a:lnTo>
                  <a:pt x="3434334" y="367911"/>
                </a:lnTo>
                <a:lnTo>
                  <a:pt x="3401080" y="367911"/>
                </a:lnTo>
                <a:lnTo>
                  <a:pt x="3401080" y="380124"/>
                </a:lnTo>
                <a:lnTo>
                  <a:pt x="3416679" y="380124"/>
                </a:lnTo>
                <a:lnTo>
                  <a:pt x="3416679" y="396401"/>
                </a:lnTo>
                <a:cubicBezTo>
                  <a:pt x="3415389" y="397647"/>
                  <a:pt x="3413495" y="398692"/>
                  <a:pt x="3410996" y="399536"/>
                </a:cubicBezTo>
                <a:cubicBezTo>
                  <a:pt x="3408497" y="400380"/>
                  <a:pt x="3405192" y="400802"/>
                  <a:pt x="3401080" y="400802"/>
                </a:cubicBezTo>
                <a:cubicBezTo>
                  <a:pt x="3395276" y="400802"/>
                  <a:pt x="3390661" y="398718"/>
                  <a:pt x="3387235" y="394550"/>
                </a:cubicBezTo>
                <a:cubicBezTo>
                  <a:pt x="3383808" y="390383"/>
                  <a:pt x="3382095" y="384956"/>
                  <a:pt x="3382095" y="378272"/>
                </a:cubicBezTo>
                <a:lnTo>
                  <a:pt x="3382095" y="359787"/>
                </a:lnTo>
                <a:cubicBezTo>
                  <a:pt x="3382095" y="353224"/>
                  <a:pt x="3383748" y="347858"/>
                  <a:pt x="3387053" y="343690"/>
                </a:cubicBezTo>
                <a:cubicBezTo>
                  <a:pt x="3390358" y="339522"/>
                  <a:pt x="3394712" y="337438"/>
                  <a:pt x="3400113" y="337438"/>
                </a:cubicBezTo>
                <a:cubicBezTo>
                  <a:pt x="3405232" y="337438"/>
                  <a:pt x="3409122" y="338799"/>
                  <a:pt x="3411782" y="341520"/>
                </a:cubicBezTo>
                <a:cubicBezTo>
                  <a:pt x="3414442" y="344240"/>
                  <a:pt x="3415934" y="347939"/>
                  <a:pt x="3416256" y="352614"/>
                </a:cubicBezTo>
                <a:lnTo>
                  <a:pt x="3432883" y="352614"/>
                </a:lnTo>
                <a:lnTo>
                  <a:pt x="3433004" y="352251"/>
                </a:lnTo>
                <a:cubicBezTo>
                  <a:pt x="3432883" y="343747"/>
                  <a:pt x="3429971" y="336884"/>
                  <a:pt x="3424267" y="331664"/>
                </a:cubicBezTo>
                <a:cubicBezTo>
                  <a:pt x="3418564" y="326445"/>
                  <a:pt x="3410351" y="323835"/>
                  <a:pt x="3399629" y="323835"/>
                </a:cubicBezTo>
                <a:close/>
                <a:moveTo>
                  <a:pt x="3038647" y="323835"/>
                </a:moveTo>
                <a:cubicBezTo>
                  <a:pt x="3027804" y="323835"/>
                  <a:pt x="3019007" y="327372"/>
                  <a:pt x="3012255" y="334446"/>
                </a:cubicBezTo>
                <a:cubicBezTo>
                  <a:pt x="3005503" y="341520"/>
                  <a:pt x="3002128" y="350438"/>
                  <a:pt x="3002128" y="361200"/>
                </a:cubicBezTo>
                <a:lnTo>
                  <a:pt x="3002128" y="377041"/>
                </a:lnTo>
                <a:cubicBezTo>
                  <a:pt x="3002128" y="387843"/>
                  <a:pt x="3005514" y="396771"/>
                  <a:pt x="3012285" y="403825"/>
                </a:cubicBezTo>
                <a:cubicBezTo>
                  <a:pt x="3019057" y="410879"/>
                  <a:pt x="3027864" y="414406"/>
                  <a:pt x="3038707" y="414406"/>
                </a:cubicBezTo>
                <a:cubicBezTo>
                  <a:pt x="3049630" y="414406"/>
                  <a:pt x="3058508" y="410879"/>
                  <a:pt x="3065340" y="403825"/>
                </a:cubicBezTo>
                <a:cubicBezTo>
                  <a:pt x="3072172" y="396771"/>
                  <a:pt x="3075588" y="387843"/>
                  <a:pt x="3075588" y="377041"/>
                </a:cubicBezTo>
                <a:lnTo>
                  <a:pt x="3075588" y="361200"/>
                </a:lnTo>
                <a:cubicBezTo>
                  <a:pt x="3075588" y="350438"/>
                  <a:pt x="3072162" y="341520"/>
                  <a:pt x="3065310" y="334446"/>
                </a:cubicBezTo>
                <a:cubicBezTo>
                  <a:pt x="3058458" y="327372"/>
                  <a:pt x="3049570" y="323835"/>
                  <a:pt x="3038647" y="323835"/>
                </a:cubicBezTo>
                <a:close/>
                <a:moveTo>
                  <a:pt x="1980404" y="323835"/>
                </a:moveTo>
                <a:cubicBezTo>
                  <a:pt x="1970085" y="323835"/>
                  <a:pt x="1961651" y="327190"/>
                  <a:pt x="1955101" y="333901"/>
                </a:cubicBezTo>
                <a:cubicBezTo>
                  <a:pt x="1948551" y="340613"/>
                  <a:pt x="1945276" y="349289"/>
                  <a:pt x="1945276" y="359930"/>
                </a:cubicBezTo>
                <a:lnTo>
                  <a:pt x="1945276" y="378310"/>
                </a:lnTo>
                <a:cubicBezTo>
                  <a:pt x="1945276" y="388992"/>
                  <a:pt x="1948682" y="397678"/>
                  <a:pt x="1955494" y="404369"/>
                </a:cubicBezTo>
                <a:cubicBezTo>
                  <a:pt x="1962306" y="411060"/>
                  <a:pt x="1971093" y="414406"/>
                  <a:pt x="1981855" y="414406"/>
                </a:cubicBezTo>
                <a:cubicBezTo>
                  <a:pt x="1990320" y="414406"/>
                  <a:pt x="1997323" y="413056"/>
                  <a:pt x="2002865" y="410355"/>
                </a:cubicBezTo>
                <a:cubicBezTo>
                  <a:pt x="2008408" y="407654"/>
                  <a:pt x="2012489" y="404571"/>
                  <a:pt x="2015109" y="401104"/>
                </a:cubicBezTo>
                <a:lnTo>
                  <a:pt x="2015109" y="367911"/>
                </a:lnTo>
                <a:lnTo>
                  <a:pt x="1981855" y="367911"/>
                </a:lnTo>
                <a:lnTo>
                  <a:pt x="1981855" y="380124"/>
                </a:lnTo>
                <a:lnTo>
                  <a:pt x="1997454" y="380124"/>
                </a:lnTo>
                <a:lnTo>
                  <a:pt x="1997454" y="396401"/>
                </a:lnTo>
                <a:cubicBezTo>
                  <a:pt x="1996164" y="397647"/>
                  <a:pt x="1994270" y="398692"/>
                  <a:pt x="1991771" y="399536"/>
                </a:cubicBezTo>
                <a:cubicBezTo>
                  <a:pt x="1989272" y="400380"/>
                  <a:pt x="1985966" y="400802"/>
                  <a:pt x="1981855" y="400802"/>
                </a:cubicBezTo>
                <a:cubicBezTo>
                  <a:pt x="1976051" y="400802"/>
                  <a:pt x="1971436" y="398718"/>
                  <a:pt x="1968009" y="394550"/>
                </a:cubicBezTo>
                <a:cubicBezTo>
                  <a:pt x="1964583" y="390383"/>
                  <a:pt x="1962870" y="384956"/>
                  <a:pt x="1962870" y="378272"/>
                </a:cubicBezTo>
                <a:lnTo>
                  <a:pt x="1962870" y="359787"/>
                </a:lnTo>
                <a:cubicBezTo>
                  <a:pt x="1962870" y="353224"/>
                  <a:pt x="1964523" y="347858"/>
                  <a:pt x="1967828" y="343690"/>
                </a:cubicBezTo>
                <a:cubicBezTo>
                  <a:pt x="1971133" y="339522"/>
                  <a:pt x="1975486" y="337438"/>
                  <a:pt x="1980888" y="337438"/>
                </a:cubicBezTo>
                <a:cubicBezTo>
                  <a:pt x="1986007" y="337438"/>
                  <a:pt x="1989896" y="338799"/>
                  <a:pt x="1992557" y="341520"/>
                </a:cubicBezTo>
                <a:cubicBezTo>
                  <a:pt x="1995217" y="344240"/>
                  <a:pt x="1996708" y="347939"/>
                  <a:pt x="1997031" y="352614"/>
                </a:cubicBezTo>
                <a:lnTo>
                  <a:pt x="2013658" y="352614"/>
                </a:lnTo>
                <a:lnTo>
                  <a:pt x="2013779" y="352251"/>
                </a:lnTo>
                <a:cubicBezTo>
                  <a:pt x="2013658" y="343747"/>
                  <a:pt x="2010745" y="336884"/>
                  <a:pt x="2005042" y="331664"/>
                </a:cubicBezTo>
                <a:cubicBezTo>
                  <a:pt x="1999338" y="326445"/>
                  <a:pt x="1991126" y="323835"/>
                  <a:pt x="1980404" y="323835"/>
                </a:cubicBezTo>
                <a:close/>
                <a:moveTo>
                  <a:pt x="991473" y="215901"/>
                </a:moveTo>
                <a:cubicBezTo>
                  <a:pt x="1075525" y="215901"/>
                  <a:pt x="1144744" y="283884"/>
                  <a:pt x="1144744" y="369173"/>
                </a:cubicBezTo>
                <a:cubicBezTo>
                  <a:pt x="1143508" y="450753"/>
                  <a:pt x="1074289" y="522444"/>
                  <a:pt x="991473" y="522444"/>
                </a:cubicBezTo>
                <a:cubicBezTo>
                  <a:pt x="963043" y="522444"/>
                  <a:pt x="938322" y="515028"/>
                  <a:pt x="914837" y="501431"/>
                </a:cubicBezTo>
                <a:cubicBezTo>
                  <a:pt x="924725" y="501431"/>
                  <a:pt x="935850" y="500195"/>
                  <a:pt x="945738" y="497723"/>
                </a:cubicBezTo>
                <a:cubicBezTo>
                  <a:pt x="956863" y="495251"/>
                  <a:pt x="965515" y="491543"/>
                  <a:pt x="975404" y="487834"/>
                </a:cubicBezTo>
                <a:cubicBezTo>
                  <a:pt x="989001" y="482890"/>
                  <a:pt x="1001361" y="475474"/>
                  <a:pt x="1011250" y="463113"/>
                </a:cubicBezTo>
                <a:cubicBezTo>
                  <a:pt x="1018666" y="454461"/>
                  <a:pt x="1028554" y="445808"/>
                  <a:pt x="1037207" y="439628"/>
                </a:cubicBezTo>
                <a:cubicBezTo>
                  <a:pt x="1047095" y="432212"/>
                  <a:pt x="1058220" y="427267"/>
                  <a:pt x="1068108" y="422323"/>
                </a:cubicBezTo>
                <a:cubicBezTo>
                  <a:pt x="1071817" y="421087"/>
                  <a:pt x="1075525" y="418615"/>
                  <a:pt x="1080469" y="419851"/>
                </a:cubicBezTo>
                <a:cubicBezTo>
                  <a:pt x="1087885" y="419851"/>
                  <a:pt x="1095302" y="417379"/>
                  <a:pt x="1102718" y="414907"/>
                </a:cubicBezTo>
                <a:cubicBezTo>
                  <a:pt x="1108898" y="413671"/>
                  <a:pt x="1113843" y="411199"/>
                  <a:pt x="1120023" y="409963"/>
                </a:cubicBezTo>
                <a:cubicBezTo>
                  <a:pt x="1121259" y="409963"/>
                  <a:pt x="1122495" y="409963"/>
                  <a:pt x="1122495" y="408727"/>
                </a:cubicBezTo>
                <a:cubicBezTo>
                  <a:pt x="1122495" y="406254"/>
                  <a:pt x="1120023" y="407491"/>
                  <a:pt x="1118787" y="407491"/>
                </a:cubicBezTo>
                <a:cubicBezTo>
                  <a:pt x="1111371" y="406254"/>
                  <a:pt x="1103954" y="402546"/>
                  <a:pt x="1096538" y="400074"/>
                </a:cubicBezTo>
                <a:cubicBezTo>
                  <a:pt x="1091594" y="398838"/>
                  <a:pt x="1086649" y="398838"/>
                  <a:pt x="1081705" y="400074"/>
                </a:cubicBezTo>
                <a:cubicBezTo>
                  <a:pt x="1074289" y="401310"/>
                  <a:pt x="1068108" y="406254"/>
                  <a:pt x="1063164" y="409963"/>
                </a:cubicBezTo>
                <a:cubicBezTo>
                  <a:pt x="1053276" y="417379"/>
                  <a:pt x="1043387" y="423559"/>
                  <a:pt x="1032263" y="428504"/>
                </a:cubicBezTo>
                <a:cubicBezTo>
                  <a:pt x="1024846" y="432212"/>
                  <a:pt x="1016194" y="433448"/>
                  <a:pt x="1007541" y="434684"/>
                </a:cubicBezTo>
                <a:cubicBezTo>
                  <a:pt x="1005069" y="434684"/>
                  <a:pt x="1002597" y="435920"/>
                  <a:pt x="1000125" y="434684"/>
                </a:cubicBezTo>
                <a:cubicBezTo>
                  <a:pt x="1007541" y="430976"/>
                  <a:pt x="1014958" y="426031"/>
                  <a:pt x="1019902" y="418615"/>
                </a:cubicBezTo>
                <a:cubicBezTo>
                  <a:pt x="1024846" y="413671"/>
                  <a:pt x="1027318" y="407491"/>
                  <a:pt x="1033499" y="402546"/>
                </a:cubicBezTo>
                <a:cubicBezTo>
                  <a:pt x="1040915" y="396366"/>
                  <a:pt x="1048331" y="390186"/>
                  <a:pt x="1056984" y="385241"/>
                </a:cubicBezTo>
                <a:lnTo>
                  <a:pt x="1076761" y="374117"/>
                </a:lnTo>
                <a:cubicBezTo>
                  <a:pt x="1080469" y="371645"/>
                  <a:pt x="1085413" y="370409"/>
                  <a:pt x="1089121" y="369173"/>
                </a:cubicBezTo>
                <a:cubicBezTo>
                  <a:pt x="1091594" y="367937"/>
                  <a:pt x="1095302" y="367937"/>
                  <a:pt x="1097774" y="367937"/>
                </a:cubicBezTo>
                <a:cubicBezTo>
                  <a:pt x="1105190" y="367937"/>
                  <a:pt x="1113843" y="361756"/>
                  <a:pt x="1121259" y="359284"/>
                </a:cubicBezTo>
                <a:cubicBezTo>
                  <a:pt x="1124967" y="358048"/>
                  <a:pt x="1128675" y="358048"/>
                  <a:pt x="1131147" y="356812"/>
                </a:cubicBezTo>
                <a:cubicBezTo>
                  <a:pt x="1131147" y="356812"/>
                  <a:pt x="1132384" y="355576"/>
                  <a:pt x="1132384" y="354340"/>
                </a:cubicBezTo>
                <a:lnTo>
                  <a:pt x="1131147" y="354340"/>
                </a:lnTo>
                <a:cubicBezTo>
                  <a:pt x="1122495" y="354340"/>
                  <a:pt x="1113843" y="350632"/>
                  <a:pt x="1105190" y="348160"/>
                </a:cubicBezTo>
                <a:cubicBezTo>
                  <a:pt x="1097774" y="346924"/>
                  <a:pt x="1090358" y="348160"/>
                  <a:pt x="1084177" y="350632"/>
                </a:cubicBezTo>
                <a:cubicBezTo>
                  <a:pt x="1077997" y="354340"/>
                  <a:pt x="1071817" y="360520"/>
                  <a:pt x="1065636" y="364228"/>
                </a:cubicBezTo>
                <a:cubicBezTo>
                  <a:pt x="1063164" y="365464"/>
                  <a:pt x="1061928" y="366701"/>
                  <a:pt x="1059456" y="367937"/>
                </a:cubicBezTo>
                <a:cubicBezTo>
                  <a:pt x="1052040" y="372881"/>
                  <a:pt x="1043387" y="377825"/>
                  <a:pt x="1034735" y="380297"/>
                </a:cubicBezTo>
                <a:cubicBezTo>
                  <a:pt x="1026082" y="382769"/>
                  <a:pt x="1017430" y="384005"/>
                  <a:pt x="1008777" y="384005"/>
                </a:cubicBezTo>
                <a:cubicBezTo>
                  <a:pt x="1006305" y="384005"/>
                  <a:pt x="1002597" y="382769"/>
                  <a:pt x="1001361" y="380297"/>
                </a:cubicBezTo>
                <a:cubicBezTo>
                  <a:pt x="1000125" y="376589"/>
                  <a:pt x="998889" y="372881"/>
                  <a:pt x="997653" y="369173"/>
                </a:cubicBezTo>
                <a:cubicBezTo>
                  <a:pt x="997653" y="366701"/>
                  <a:pt x="997653" y="364228"/>
                  <a:pt x="996417" y="361756"/>
                </a:cubicBezTo>
                <a:cubicBezTo>
                  <a:pt x="996417" y="354340"/>
                  <a:pt x="996417" y="346924"/>
                  <a:pt x="997653" y="339507"/>
                </a:cubicBezTo>
                <a:cubicBezTo>
                  <a:pt x="997653" y="333327"/>
                  <a:pt x="1001361" y="327147"/>
                  <a:pt x="1000125" y="319730"/>
                </a:cubicBezTo>
                <a:cubicBezTo>
                  <a:pt x="998889" y="313550"/>
                  <a:pt x="990237" y="307370"/>
                  <a:pt x="972932" y="292537"/>
                </a:cubicBezTo>
                <a:cubicBezTo>
                  <a:pt x="955627" y="276468"/>
                  <a:pt x="935850" y="256691"/>
                  <a:pt x="927197" y="239386"/>
                </a:cubicBezTo>
                <a:cubicBezTo>
                  <a:pt x="929670" y="238150"/>
                  <a:pt x="928434" y="235678"/>
                  <a:pt x="928434" y="235678"/>
                </a:cubicBezTo>
                <a:cubicBezTo>
                  <a:pt x="927197" y="235678"/>
                  <a:pt x="925961" y="236914"/>
                  <a:pt x="924725" y="238150"/>
                </a:cubicBezTo>
                <a:cubicBezTo>
                  <a:pt x="918545" y="248039"/>
                  <a:pt x="914837" y="260399"/>
                  <a:pt x="917309" y="273996"/>
                </a:cubicBezTo>
                <a:cubicBezTo>
                  <a:pt x="919781" y="287593"/>
                  <a:pt x="925961" y="298717"/>
                  <a:pt x="934614" y="308606"/>
                </a:cubicBezTo>
                <a:cubicBezTo>
                  <a:pt x="939558" y="313550"/>
                  <a:pt x="944502" y="322202"/>
                  <a:pt x="948211" y="327147"/>
                </a:cubicBezTo>
                <a:cubicBezTo>
                  <a:pt x="950683" y="332091"/>
                  <a:pt x="951919" y="338271"/>
                  <a:pt x="950683" y="344451"/>
                </a:cubicBezTo>
                <a:lnTo>
                  <a:pt x="937086" y="334563"/>
                </a:lnTo>
                <a:cubicBezTo>
                  <a:pt x="937086" y="334563"/>
                  <a:pt x="930906" y="330855"/>
                  <a:pt x="923489" y="324674"/>
                </a:cubicBezTo>
                <a:cubicBezTo>
                  <a:pt x="916073" y="318494"/>
                  <a:pt x="907420" y="314786"/>
                  <a:pt x="895060" y="299953"/>
                </a:cubicBezTo>
                <a:cubicBezTo>
                  <a:pt x="895060" y="298717"/>
                  <a:pt x="893824" y="298717"/>
                  <a:pt x="893824" y="299953"/>
                </a:cubicBezTo>
                <a:cubicBezTo>
                  <a:pt x="891352" y="299953"/>
                  <a:pt x="891352" y="301189"/>
                  <a:pt x="891352" y="303661"/>
                </a:cubicBezTo>
                <a:cubicBezTo>
                  <a:pt x="888880" y="318494"/>
                  <a:pt x="888880" y="335799"/>
                  <a:pt x="896296" y="349396"/>
                </a:cubicBezTo>
                <a:cubicBezTo>
                  <a:pt x="901240" y="356812"/>
                  <a:pt x="907420" y="364228"/>
                  <a:pt x="913601" y="370409"/>
                </a:cubicBezTo>
                <a:cubicBezTo>
                  <a:pt x="917309" y="374117"/>
                  <a:pt x="922253" y="379061"/>
                  <a:pt x="927197" y="382769"/>
                </a:cubicBezTo>
                <a:cubicBezTo>
                  <a:pt x="930906" y="386477"/>
                  <a:pt x="935850" y="391422"/>
                  <a:pt x="937086" y="396366"/>
                </a:cubicBezTo>
                <a:cubicBezTo>
                  <a:pt x="938322" y="402546"/>
                  <a:pt x="935850" y="408727"/>
                  <a:pt x="933378" y="413671"/>
                </a:cubicBezTo>
                <a:cubicBezTo>
                  <a:pt x="930906" y="418615"/>
                  <a:pt x="928434" y="422323"/>
                  <a:pt x="924725" y="426031"/>
                </a:cubicBezTo>
                <a:cubicBezTo>
                  <a:pt x="918545" y="429740"/>
                  <a:pt x="911129" y="427267"/>
                  <a:pt x="904948" y="427267"/>
                </a:cubicBezTo>
                <a:cubicBezTo>
                  <a:pt x="900004" y="427267"/>
                  <a:pt x="897532" y="432212"/>
                  <a:pt x="895060" y="435920"/>
                </a:cubicBezTo>
                <a:cubicBezTo>
                  <a:pt x="892588" y="440864"/>
                  <a:pt x="890116" y="444572"/>
                  <a:pt x="891352" y="450753"/>
                </a:cubicBezTo>
                <a:cubicBezTo>
                  <a:pt x="892588" y="458169"/>
                  <a:pt x="895060" y="463113"/>
                  <a:pt x="896296" y="465585"/>
                </a:cubicBezTo>
                <a:cubicBezTo>
                  <a:pt x="897532" y="466821"/>
                  <a:pt x="898768" y="468058"/>
                  <a:pt x="900004" y="468058"/>
                </a:cubicBezTo>
                <a:cubicBezTo>
                  <a:pt x="902476" y="468058"/>
                  <a:pt x="906184" y="466821"/>
                  <a:pt x="908657" y="464349"/>
                </a:cubicBezTo>
                <a:cubicBezTo>
                  <a:pt x="921017" y="453225"/>
                  <a:pt x="927197" y="449517"/>
                  <a:pt x="942030" y="445808"/>
                </a:cubicBezTo>
                <a:cubicBezTo>
                  <a:pt x="933378" y="449517"/>
                  <a:pt x="927197" y="459405"/>
                  <a:pt x="924725" y="461877"/>
                </a:cubicBezTo>
                <a:cubicBezTo>
                  <a:pt x="913601" y="475474"/>
                  <a:pt x="902476" y="480418"/>
                  <a:pt x="886407" y="476710"/>
                </a:cubicBezTo>
                <a:cubicBezTo>
                  <a:pt x="882699" y="475474"/>
                  <a:pt x="880227" y="474238"/>
                  <a:pt x="880227" y="474238"/>
                </a:cubicBezTo>
                <a:cubicBezTo>
                  <a:pt x="865394" y="458169"/>
                  <a:pt x="838201" y="422323"/>
                  <a:pt x="838201" y="369173"/>
                </a:cubicBezTo>
                <a:cubicBezTo>
                  <a:pt x="838201" y="285120"/>
                  <a:pt x="906184" y="215901"/>
                  <a:pt x="991473" y="215901"/>
                </a:cubicBezTo>
                <a:close/>
                <a:moveTo>
                  <a:pt x="991473" y="193652"/>
                </a:moveTo>
                <a:cubicBezTo>
                  <a:pt x="895060" y="193652"/>
                  <a:pt x="815952" y="272760"/>
                  <a:pt x="815952" y="369173"/>
                </a:cubicBezTo>
                <a:cubicBezTo>
                  <a:pt x="815952" y="465585"/>
                  <a:pt x="895060" y="543457"/>
                  <a:pt x="991473" y="543457"/>
                </a:cubicBezTo>
                <a:cubicBezTo>
                  <a:pt x="1087885" y="543457"/>
                  <a:pt x="1165757" y="465585"/>
                  <a:pt x="1165757" y="369173"/>
                </a:cubicBezTo>
                <a:cubicBezTo>
                  <a:pt x="1165757" y="272760"/>
                  <a:pt x="1087885" y="193652"/>
                  <a:pt x="991473" y="193652"/>
                </a:cubicBezTo>
                <a:close/>
                <a:moveTo>
                  <a:pt x="0" y="0"/>
                </a:moveTo>
                <a:lnTo>
                  <a:pt x="12192000" y="0"/>
                </a:lnTo>
                <a:lnTo>
                  <a:pt x="12192000" y="3631721"/>
                </a:lnTo>
                <a:lnTo>
                  <a:pt x="12192000" y="5651114"/>
                </a:lnTo>
                <a:lnTo>
                  <a:pt x="12192000" y="5717788"/>
                </a:lnTo>
                <a:lnTo>
                  <a:pt x="12192000" y="5725161"/>
                </a:lnTo>
                <a:lnTo>
                  <a:pt x="6095365" y="3285491"/>
                </a:lnTo>
                <a:lnTo>
                  <a:pt x="0" y="5748021"/>
                </a:lnTo>
                <a:lnTo>
                  <a:pt x="0" y="3740125"/>
                </a:lnTo>
                <a:lnTo>
                  <a:pt x="0" y="1410511"/>
                </a:lnTo>
                <a:close/>
              </a:path>
            </a:pathLst>
          </a:custGeom>
          <a:blipFill dpi="0" rotWithShape="1">
            <a:blip r:embed="rId2">
              <a:extLst>
                <a:ext uri="{28A0092B-C50C-407E-A947-70E740481C1C}">
                  <a14:useLocalDpi xmlns:a14="http://schemas.microsoft.com/office/drawing/2010/main"/>
                </a:ext>
              </a:extLst>
            </a:blip>
            <a:stretch>
              <a:fillRect b="4969"/>
            </a:stretch>
          </a:blipFill>
        </p:spPr>
        <p:txBody>
          <a:bodyPr wrap="square">
            <a:noAutofit/>
          </a:bodyPr>
          <a:lstStyle>
            <a:lvl1pPr marL="285750" indent="-285750" algn="ctr">
              <a:buFontTx/>
              <a:buBlip>
                <a:blip r:embed="rId3"/>
              </a:buBlip>
              <a:defRPr>
                <a:solidFill>
                  <a:schemeClr val="bg1"/>
                </a:solidFill>
              </a:defRPr>
            </a:lvl1pPr>
          </a:lstStyle>
          <a:p>
            <a:endParaRPr lang="de-DE"/>
          </a:p>
          <a:p>
            <a:endParaRPr lang="de-DE"/>
          </a:p>
          <a:p>
            <a:endParaRPr lang="de-DE"/>
          </a:p>
          <a:p>
            <a:endParaRPr lang="de-DE"/>
          </a:p>
          <a:p>
            <a:endParaRPr lang="de-DE"/>
          </a:p>
          <a:p>
            <a:r>
              <a:rPr lang="de-DE"/>
              <a:t>Please insert image</a:t>
            </a:r>
          </a:p>
        </p:txBody>
      </p:sp>
      <p:sp>
        <p:nvSpPr>
          <p:cNvPr id="19" name="Titel 1">
            <a:extLst>
              <a:ext uri="{FF2B5EF4-FFF2-40B4-BE49-F238E27FC236}">
                <a16:creationId xmlns:a16="http://schemas.microsoft.com/office/drawing/2014/main" id="{4DA33338-FF4E-4544-8627-15F38B6EA108}"/>
              </a:ext>
            </a:extLst>
          </p:cNvPr>
          <p:cNvSpPr>
            <a:spLocks noGrp="1"/>
          </p:cNvSpPr>
          <p:nvPr>
            <p:ph type="title"/>
          </p:nvPr>
        </p:nvSpPr>
        <p:spPr>
          <a:xfrm>
            <a:off x="3688059" y="4144259"/>
            <a:ext cx="4931999" cy="767737"/>
          </a:xfrm>
        </p:spPr>
        <p:txBody>
          <a:bodyPr/>
          <a:lstStyle>
            <a:lvl1pPr algn="ctr">
              <a:lnSpc>
                <a:spcPct val="100000"/>
              </a:lnSpc>
              <a:defRPr/>
            </a:lvl1pPr>
          </a:lstStyle>
          <a:p>
            <a:r>
              <a:rPr lang="de-DE"/>
              <a:t>Mastertitelformat bearbeiten</a:t>
            </a:r>
          </a:p>
        </p:txBody>
      </p:sp>
      <p:sp>
        <p:nvSpPr>
          <p:cNvPr id="20" name="Textplatzhalter 9">
            <a:extLst>
              <a:ext uri="{FF2B5EF4-FFF2-40B4-BE49-F238E27FC236}">
                <a16:creationId xmlns:a16="http://schemas.microsoft.com/office/drawing/2014/main" id="{6E2A9479-5A52-43F6-874A-2CCFB5E735CD}"/>
              </a:ext>
            </a:extLst>
          </p:cNvPr>
          <p:cNvSpPr>
            <a:spLocks noGrp="1"/>
          </p:cNvSpPr>
          <p:nvPr>
            <p:ph type="body" sz="quarter" idx="12"/>
          </p:nvPr>
        </p:nvSpPr>
        <p:spPr>
          <a:xfrm>
            <a:off x="1828801" y="5390469"/>
            <a:ext cx="8650514" cy="1126445"/>
          </a:xfrm>
          <a:prstGeom prst="rect">
            <a:avLst/>
          </a:prstGeom>
        </p:spPr>
        <p:txBody>
          <a:bodyPr lIns="0" tIns="0" rIns="0" bIns="0">
            <a:normAutofit/>
          </a:bodyPr>
          <a:lstStyle>
            <a:lvl1pPr algn="ctr">
              <a:defRPr sz="1800"/>
            </a:lvl1pPr>
            <a:lvl2pPr algn="ctr">
              <a:defRPr sz="1800"/>
            </a:lvl2pPr>
            <a:lvl3pPr algn="ctr">
              <a:defRPr sz="1800"/>
            </a:lvl3pPr>
            <a:lvl4pPr algn="ctr">
              <a:defRPr sz="1800"/>
            </a:lvl4pPr>
            <a:lvl5pPr algn="ctr">
              <a:defRPr sz="18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571122287"/>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4" dur="1000" decel="100000" fill="hold" grpId="0" nodeType="withEffect">
                                  <p:stCondLst>
                                    <p:cond delay="250"/>
                                  </p:stCondLst>
                                  <p:childTnLst>
                                    <p:set>
                                      <p:cBhvr>
                                        <p:cTn id="6" dur="1" fill="hold">
                                          <p:stCondLst>
                                            <p:cond delay="0"/>
                                          </p:stCondLst>
                                        </p:cTn>
                                        <p:tgtEl>
                                          <p:spTgt spid="19"/>
                                        </p:tgtEl>
                                        <p:attrNameLst>
                                          <p:attrName>style.visibility</p:attrName>
                                        </p:attrNameLst>
                                      </p:cBhvr>
                                      <p:to>
                                        <p:strVal val="visible"/>
                                      </p:to>
                                    </p:set>
                                    <p:anim calcmode="lin" valueType="num">
                                      <p:cBhvr additive="base">
                                        <p:cTn id="7" dur="1000" fill="hold"/>
                                        <p:tgtEl>
                                          <p:spTgt spid="19"/>
                                        </p:tgtEl>
                                        <p:attrNameLst>
                                          <p:attrName>ppt_x</p:attrName>
                                        </p:attrNameLst>
                                      </p:cBhvr>
                                      <p:tavLst>
                                        <p:tav tm="0">
                                          <p:val>
                                            <p:strVal val="#ppt_x"/>
                                          </p:val>
                                        </p:tav>
                                        <p:tav tm="100000">
                                          <p:val>
                                            <p:strVal val="#ppt_x"/>
                                          </p:val>
                                        </p:tav>
                                      </p:tavLst>
                                    </p:anim>
                                    <p:anim calcmode="lin" valueType="num">
                                      <p:cBhvr additive="base">
                                        <p:cTn id="8" dur="1000" fill="hold"/>
                                        <p:tgtEl>
                                          <p:spTgt spid="19"/>
                                        </p:tgtEl>
                                        <p:attrNameLst>
                                          <p:attrName>ppt_y</p:attrName>
                                        </p:attrNameLst>
                                      </p:cBhvr>
                                      <p:tavLst>
                                        <p:tav tm="0">
                                          <p:val>
                                            <p:strVal val="1+#ppt_h/2"/>
                                          </p:val>
                                        </p:tav>
                                        <p:tav tm="100000">
                                          <p:val>
                                            <p:strVal val="#ppt_y"/>
                                          </p:val>
                                        </p:tav>
                                      </p:tavLst>
                                    </p:anim>
                                  </p:childTnLst>
                                </p:cTn>
                              </p:par>
                              <p:par>
                                <p:cTn id="9" presetID="2" presetClass="entr" presetSubtype="4" dur="1000" decel="100000" fill="hold" grpId="0" nodeType="withEffect">
                                  <p:stCondLst>
                                    <p:cond delay="500"/>
                                  </p:stCondLst>
                                  <p:childTnLst>
                                    <p:set>
                                      <p:cBhvr>
                                        <p:cTn id="10" dur="1" fill="hold">
                                          <p:stCondLst>
                                            <p:cond delay="0"/>
                                          </p:stCondLst>
                                        </p:cTn>
                                        <p:tgtEl>
                                          <p:spTgt spid="20"/>
                                        </p:tgtEl>
                                        <p:attrNameLst>
                                          <p:attrName>style.visibility</p:attrName>
                                        </p:attrNameLst>
                                      </p:cBhvr>
                                      <p:to>
                                        <p:strVal val="visible"/>
                                      </p:to>
                                    </p:set>
                                    <p:anim calcmode="lin" valueType="num">
                                      <p:cBhvr additive="base">
                                        <p:cTn id="11" dur="1000" fill="hold"/>
                                        <p:tgtEl>
                                          <p:spTgt spid="20"/>
                                        </p:tgtEl>
                                        <p:attrNameLst>
                                          <p:attrName>ppt_x</p:attrName>
                                        </p:attrNameLst>
                                      </p:cBhvr>
                                      <p:tavLst>
                                        <p:tav tm="0">
                                          <p:val>
                                            <p:strVal val="#ppt_x"/>
                                          </p:val>
                                        </p:tav>
                                        <p:tav tm="100000">
                                          <p:val>
                                            <p:strVal val="#ppt_x"/>
                                          </p:val>
                                        </p:tav>
                                      </p:tavLst>
                                    </p:anim>
                                    <p:anim calcmode="lin" valueType="num">
                                      <p:cBhvr additive="base">
                                        <p:cTn id="12" dur="1000" fill="hold"/>
                                        <p:tgtEl>
                                          <p:spTgt spid="20"/>
                                        </p:tgtEl>
                                        <p:attrNameLst>
                                          <p:attrName>ppt_y</p:attrName>
                                        </p:attrNameLst>
                                      </p:cBhvr>
                                      <p:tavLst>
                                        <p:tav tm="0">
                                          <p:val>
                                            <p:strVal val="1+#ppt_h/2"/>
                                          </p:val>
                                        </p:tav>
                                        <p:tav tm="100000">
                                          <p:val>
                                            <p:strVal val="#ppt_y"/>
                                          </p:val>
                                        </p:tav>
                                      </p:tavLst>
                                    </p:anim>
                                  </p:childTnLst>
                                </p:cTn>
                              </p:par>
                              <p:par>
                                <p:cTn id="13" presetID="42" presetClass="path" presetSubtype="0" dur="10000" repeatCount="indefinite" accel="50000" decel="50000" fill="hold" grpId="0" nodeType="withEffect">
                                  <p:stCondLst>
                                    <p:cond delay="0"/>
                                  </p:stCondLst>
                                  <p:childTnLst>
                                    <p:animMotion origin="layout" path="M 0 -4.07407E-06 L 0 -0.92824" pathEditMode="relative" rAng="0" ptsTypes="AA">
                                      <p:cBhvr>
                                        <p:cTn id="14" dur="10000" fill="hold"/>
                                        <p:tgtEl>
                                          <p:spTgt spid="481"/>
                                        </p:tgtEl>
                                        <p:attrNameLst>
                                          <p:attrName>ppt_x</p:attrName>
                                          <p:attrName>ppt_y</p:attrName>
                                        </p:attrNameLst>
                                      </p:cBhvr>
                                      <p:rCtr x="0" y="-46412"/>
                                    </p:animMotion>
                                  </p:childTnLst>
                                </p:cTn>
                              </p:par>
                              <p:par>
                                <p:cTn id="15" presetID="42" presetClass="path" presetSubtype="0" dur="10000" repeatCount="indefinite" accel="50000" decel="50000" fill="hold" grpId="0" nodeType="withEffect">
                                  <p:stCondLst>
                                    <p:cond delay="0"/>
                                  </p:stCondLst>
                                  <p:childTnLst>
                                    <p:animMotion origin="layout" path="M 0 2.22222E-06 L 0 -0.91181" pathEditMode="relative" rAng="0" ptsTypes="AA">
                                      <p:cBhvr>
                                        <p:cTn id="16" dur="10000" fill="hold"/>
                                        <p:tgtEl>
                                          <p:spTgt spid="482"/>
                                        </p:tgtEl>
                                        <p:attrNameLst>
                                          <p:attrName>ppt_x</p:attrName>
                                          <p:attrName>ppt_y</p:attrName>
                                        </p:attrNameLst>
                                      </p:cBhvr>
                                      <p:rCtr x="0" y="-45602"/>
                                    </p:animMotion>
                                  </p:childTnLst>
                                </p:cTn>
                              </p:par>
                              <p:par>
                                <p:cTn id="17" presetID="42" presetClass="path" presetSubtype="0" dur="10000" repeatCount="indefinite" accel="50000" decel="50000" fill="hold" grpId="0" nodeType="withEffect">
                                  <p:stCondLst>
                                    <p:cond delay="0"/>
                                  </p:stCondLst>
                                  <p:childTnLst>
                                    <p:animMotion origin="layout" path="M 0 -1.85185E-06 L 0 -0.88032" pathEditMode="relative" rAng="0" ptsTypes="AA">
                                      <p:cBhvr>
                                        <p:cTn id="18" dur="10000" fill="hold"/>
                                        <p:tgtEl>
                                          <p:spTgt spid="483"/>
                                        </p:tgtEl>
                                        <p:attrNameLst>
                                          <p:attrName>ppt_x</p:attrName>
                                          <p:attrName>ppt_y</p:attrName>
                                        </p:attrNameLst>
                                      </p:cBhvr>
                                      <p:rCtr x="0" y="-4402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1" grpId="0" animBg="1"/>
      <p:bldP spid="482" grpId="0" animBg="1"/>
      <p:bldP spid="483" grpId="0" animBg="1"/>
      <p:bldP spid="19" grpId="0"/>
      <p:bldP spid="20" grpId="0">
        <p:tmplLst>
          <p:tmpl>
            <p:tnLst>
              <p:par>
                <p:cTn presetID="2" presetClass="entr" presetSubtype="4" decel="100000" fill="hold" nodeType="withEffect">
                  <p:stCondLst>
                    <p:cond delay="500"/>
                  </p:stCondLst>
                  <p:childTnLst>
                    <p:set>
                      <p:cBhvr>
                        <p:cTn dur="1" fill="hold">
                          <p:stCondLst>
                            <p:cond delay="0"/>
                          </p:stCondLst>
                        </p:cTn>
                        <p:tgtEl>
                          <p:spTgt spid="20"/>
                        </p:tgtEl>
                        <p:attrNameLst>
                          <p:attrName>style.visibility</p:attrName>
                        </p:attrNameLst>
                      </p:cBhvr>
                      <p:to>
                        <p:strVal val="visible"/>
                      </p:to>
                    </p:set>
                    <p:anim calcmode="lin" valueType="num">
                      <p:cBhvr additive="base">
                        <p:cTn dur="1000" fill="hold"/>
                        <p:tgtEl>
                          <p:spTgt spid="20"/>
                        </p:tgtEl>
                        <p:attrNameLst>
                          <p:attrName>ppt_x</p:attrName>
                        </p:attrNameLst>
                      </p:cBhvr>
                      <p:tavLst>
                        <p:tav tm="0">
                          <p:val>
                            <p:strVal val="#ppt_x"/>
                          </p:val>
                        </p:tav>
                        <p:tav tm="100000">
                          <p:val>
                            <p:strVal val="#ppt_x"/>
                          </p:val>
                        </p:tav>
                      </p:tavLst>
                    </p:anim>
                    <p:anim calcmode="lin" valueType="num">
                      <p:cBhvr additive="base">
                        <p:cTn dur="1000" fill="hold"/>
                        <p:tgtEl>
                          <p:spTgt spid="20"/>
                        </p:tgtEl>
                        <p:attrNameLst>
                          <p:attrName>ppt_y</p:attrName>
                        </p:attrNameLst>
                      </p:cBhvr>
                      <p:tavLst>
                        <p:tav tm="0">
                          <p:val>
                            <p:strVal val="1+#ppt_h/2"/>
                          </p:val>
                        </p:tav>
                        <p:tav tm="100000">
                          <p:val>
                            <p:strVal val="#ppt_y"/>
                          </p:val>
                        </p:tav>
                      </p:tavLst>
                    </p:anim>
                  </p:childTnLst>
                </p:cTn>
              </p:par>
            </p:tnLst>
          </p:tmpl>
        </p:tmplLst>
      </p:bldP>
    </p:bldLst>
  </p:timing>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DIVIDER / CONCLUSION with arrows">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65208007-9D71-4182-9EDD-23EA8D64CEA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162EBB97-69F6-4196-B4E4-174B0DFEE6DF}"/>
              </a:ext>
            </a:extLst>
          </p:cNvPr>
          <p:cNvSpPr>
            <a:spLocks noGrp="1"/>
          </p:cNvSpPr>
          <p:nvPr>
            <p:ph type="sldNum" sz="quarter" idx="10"/>
          </p:nvPr>
        </p:nvSpPr>
        <p:spPr/>
        <p:txBody>
          <a:bodyPr/>
          <a:lstStyle>
            <a:lvl1pPr>
              <a:defRPr>
                <a:solidFill>
                  <a:schemeClr val="bg1"/>
                </a:solidFill>
              </a:defRPr>
            </a:lvl1pPr>
          </a:lstStyle>
          <a:p>
            <a:fld id="{A04BEB4F-8CE1-4F18-986F-6CE0A0BE9470}" type="slidenum">
              <a:rPr lang="de-DE" smtClean="0"/>
              <a:t>‹#›</a:t>
            </a:fld>
            <a:endParaRPr lang="de-DE"/>
          </a:p>
        </p:txBody>
      </p:sp>
      <p:sp>
        <p:nvSpPr>
          <p:cNvPr id="13" name="Textplatzhalter 9">
            <a:extLst>
              <a:ext uri="{FF2B5EF4-FFF2-40B4-BE49-F238E27FC236}">
                <a16:creationId xmlns:a16="http://schemas.microsoft.com/office/drawing/2014/main" id="{2A096F25-9AA8-41E7-B1CD-FAE0DB1A4951}"/>
              </a:ext>
            </a:extLst>
          </p:cNvPr>
          <p:cNvSpPr>
            <a:spLocks noGrp="1"/>
          </p:cNvSpPr>
          <p:nvPr>
            <p:ph type="body" sz="quarter" idx="12"/>
          </p:nvPr>
        </p:nvSpPr>
        <p:spPr>
          <a:xfrm>
            <a:off x="0" y="5057775"/>
            <a:ext cx="12192000" cy="1800225"/>
          </a:xfrm>
          <a:noFill/>
        </p:spPr>
        <p:txBody>
          <a:bodyPr lIns="864000" tIns="360000" rIns="864000" bIns="360000" anchor="ctr">
            <a:normAutofit/>
          </a:bodyPr>
          <a:lstStyle>
            <a:lvl1pPr marL="0" indent="0">
              <a:spcAft>
                <a:spcPct val="0"/>
              </a:spcAft>
              <a:buNone/>
              <a:defRPr sz="2800" baseline="0">
                <a:solidFill>
                  <a:schemeClr val="bg1"/>
                </a:solidFill>
                <a:latin typeface="+mj-lt"/>
              </a:defRPr>
            </a:lvl1pPr>
          </a:lstStyle>
          <a:p>
            <a:pPr lvl="0"/>
            <a:endParaRPr lang="de-DE"/>
          </a:p>
        </p:txBody>
      </p:sp>
      <p:pic>
        <p:nvPicPr>
          <p:cNvPr id="7" name="Grafik 6">
            <a:extLst>
              <a:ext uri="{FF2B5EF4-FFF2-40B4-BE49-F238E27FC236}">
                <a16:creationId xmlns:a16="http://schemas.microsoft.com/office/drawing/2014/main" id="{716B335C-870F-44DC-B5BE-51590B0591BF}"/>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15952" y="193652"/>
            <a:ext cx="346098" cy="346098"/>
          </a:xfrm>
          <a:prstGeom prst="rect">
            <a:avLst/>
          </a:prstGeom>
        </p:spPr>
      </p:pic>
      <p:sp>
        <p:nvSpPr>
          <p:cNvPr id="8" name="Textfeld 7">
            <a:extLst>
              <a:ext uri="{FF2B5EF4-FFF2-40B4-BE49-F238E27FC236}">
                <a16:creationId xmlns:a16="http://schemas.microsoft.com/office/drawing/2014/main" id="{DF238617-03C9-4E8F-921F-38442B436A39}"/>
              </a:ext>
            </a:extLst>
          </p:cNvPr>
          <p:cNvSpPr txBox="1"/>
          <p:nvPr userDrawn="1"/>
        </p:nvSpPr>
        <p:spPr>
          <a:xfrm>
            <a:off x="1238250" y="243591"/>
            <a:ext cx="3184846" cy="246221"/>
          </a:xfrm>
          <a:prstGeom prst="rect">
            <a:avLst/>
          </a:prstGeom>
          <a:noFill/>
        </p:spPr>
        <p:txBody>
          <a:bodyPr wrap="none" rtlCol="0">
            <a:spAutoFit/>
          </a:bodyPr>
          <a:lstStyle/>
          <a:p>
            <a:pPr algn="l"/>
            <a:r>
              <a:rPr lang="de-DE" sz="1000" cap="all" spc="170" baseline="0">
                <a:solidFill>
                  <a:schemeClr val="bg1"/>
                </a:solidFill>
                <a:latin typeface="Roboto Bold" panose="02000000000000000000" pitchFamily="2" charset="0"/>
                <a:ea typeface="Roboto Bold" panose="02000000000000000000" pitchFamily="2" charset="0"/>
              </a:rPr>
              <a:t>THINKING AHEAD – Moving Forward</a:t>
            </a:r>
          </a:p>
        </p:txBody>
      </p:sp>
      <p:sp>
        <p:nvSpPr>
          <p:cNvPr id="9" name="Freihandform: Form 8">
            <a:extLst>
              <a:ext uri="{FF2B5EF4-FFF2-40B4-BE49-F238E27FC236}">
                <a16:creationId xmlns:a16="http://schemas.microsoft.com/office/drawing/2014/main" id="{228E39A1-0F26-41AA-BA9C-D4CCBD2D55A1}"/>
              </a:ext>
            </a:extLst>
          </p:cNvPr>
          <p:cNvSpPr/>
          <p:nvPr userDrawn="1"/>
        </p:nvSpPr>
        <p:spPr>
          <a:xfrm>
            <a:off x="11841261" y="4050916"/>
            <a:ext cx="347243" cy="376374"/>
          </a:xfrm>
          <a:custGeom>
            <a:avLst/>
            <a:gdLst>
              <a:gd name="connsiteX0" fmla="*/ 158473 w 347243"/>
              <a:gd name="connsiteY0" fmla="*/ 376375 h 376374"/>
              <a:gd name="connsiteX1" fmla="*/ 0 w 347243"/>
              <a:gd name="connsiteY1" fmla="*/ 376375 h 376374"/>
              <a:gd name="connsiteX2" fmla="*/ 185274 w 347243"/>
              <a:gd name="connsiteY2" fmla="*/ 189935 h 376374"/>
              <a:gd name="connsiteX3" fmla="*/ 0 w 347243"/>
              <a:gd name="connsiteY3" fmla="*/ 0 h 376374"/>
              <a:gd name="connsiteX4" fmla="*/ 161969 w 347243"/>
              <a:gd name="connsiteY4" fmla="*/ 0 h 376374"/>
              <a:gd name="connsiteX5" fmla="*/ 347244 w 347243"/>
              <a:gd name="connsiteY5" fmla="*/ 185274 h 376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7243" h="376374">
                <a:moveTo>
                  <a:pt x="158473" y="376375"/>
                </a:moveTo>
                <a:lnTo>
                  <a:pt x="0" y="376375"/>
                </a:lnTo>
                <a:lnTo>
                  <a:pt x="185274" y="189935"/>
                </a:lnTo>
                <a:lnTo>
                  <a:pt x="0" y="0"/>
                </a:lnTo>
                <a:lnTo>
                  <a:pt x="161969" y="0"/>
                </a:lnTo>
                <a:lnTo>
                  <a:pt x="347244" y="185274"/>
                </a:lnTo>
                <a:close/>
              </a:path>
            </a:pathLst>
          </a:custGeom>
          <a:solidFill>
            <a:srgbClr val="2657A2"/>
          </a:solidFill>
          <a:ln w="11643" cap="flat">
            <a:noFill/>
            <a:prstDash val="solid"/>
            <a:miter/>
          </a:ln>
        </p:spPr>
        <p:txBody>
          <a:bodyPr rtlCol="0" anchor="ctr"/>
          <a:lstStyle/>
          <a:p>
            <a:endParaRPr lang="de-DE"/>
          </a:p>
        </p:txBody>
      </p:sp>
      <p:sp>
        <p:nvSpPr>
          <p:cNvPr id="11" name="Freihandform: Form 10">
            <a:extLst>
              <a:ext uri="{FF2B5EF4-FFF2-40B4-BE49-F238E27FC236}">
                <a16:creationId xmlns:a16="http://schemas.microsoft.com/office/drawing/2014/main" id="{84B17EBD-DD58-4BAA-BEA2-FBB854BA3882}"/>
              </a:ext>
            </a:extLst>
          </p:cNvPr>
          <p:cNvSpPr/>
          <p:nvPr userDrawn="1"/>
        </p:nvSpPr>
        <p:spPr>
          <a:xfrm>
            <a:off x="11841261" y="4405152"/>
            <a:ext cx="347243" cy="377540"/>
          </a:xfrm>
          <a:custGeom>
            <a:avLst/>
            <a:gdLst>
              <a:gd name="connsiteX0" fmla="*/ 158473 w 347243"/>
              <a:gd name="connsiteY0" fmla="*/ 377540 h 377540"/>
              <a:gd name="connsiteX1" fmla="*/ 0 w 347243"/>
              <a:gd name="connsiteY1" fmla="*/ 377540 h 377540"/>
              <a:gd name="connsiteX2" fmla="*/ 185274 w 347243"/>
              <a:gd name="connsiteY2" fmla="*/ 189935 h 377540"/>
              <a:gd name="connsiteX3" fmla="*/ 0 w 347243"/>
              <a:gd name="connsiteY3" fmla="*/ 0 h 377540"/>
              <a:gd name="connsiteX4" fmla="*/ 161969 w 347243"/>
              <a:gd name="connsiteY4" fmla="*/ 0 h 377540"/>
              <a:gd name="connsiteX5" fmla="*/ 347244 w 347243"/>
              <a:gd name="connsiteY5" fmla="*/ 185274 h 377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7243" h="377540">
                <a:moveTo>
                  <a:pt x="158473" y="377540"/>
                </a:moveTo>
                <a:lnTo>
                  <a:pt x="0" y="377540"/>
                </a:lnTo>
                <a:lnTo>
                  <a:pt x="185274" y="189935"/>
                </a:lnTo>
                <a:lnTo>
                  <a:pt x="0" y="0"/>
                </a:lnTo>
                <a:lnTo>
                  <a:pt x="161969" y="0"/>
                </a:lnTo>
                <a:lnTo>
                  <a:pt x="347244" y="185274"/>
                </a:lnTo>
                <a:close/>
              </a:path>
            </a:pathLst>
          </a:custGeom>
          <a:solidFill>
            <a:srgbClr val="2657A2"/>
          </a:solidFill>
          <a:ln w="11643" cap="flat">
            <a:noFill/>
            <a:prstDash val="solid"/>
            <a:miter/>
          </a:ln>
        </p:spPr>
        <p:txBody>
          <a:bodyPr rtlCol="0" anchor="ctr"/>
          <a:lstStyle/>
          <a:p>
            <a:endParaRPr lang="de-DE"/>
          </a:p>
        </p:txBody>
      </p:sp>
      <p:sp>
        <p:nvSpPr>
          <p:cNvPr id="12" name="Freihandform: Form 11">
            <a:extLst>
              <a:ext uri="{FF2B5EF4-FFF2-40B4-BE49-F238E27FC236}">
                <a16:creationId xmlns:a16="http://schemas.microsoft.com/office/drawing/2014/main" id="{C3A937E4-66C3-4DD7-B635-E6F19750E516}"/>
              </a:ext>
            </a:extLst>
          </p:cNvPr>
          <p:cNvSpPr/>
          <p:nvPr userDrawn="1"/>
        </p:nvSpPr>
        <p:spPr>
          <a:xfrm>
            <a:off x="11494017" y="3704837"/>
            <a:ext cx="330930" cy="358896"/>
          </a:xfrm>
          <a:custGeom>
            <a:avLst/>
            <a:gdLst>
              <a:gd name="connsiteX0" fmla="*/ 151482 w 330930"/>
              <a:gd name="connsiteY0" fmla="*/ 358896 h 358896"/>
              <a:gd name="connsiteX1" fmla="*/ 0 w 330930"/>
              <a:gd name="connsiteY1" fmla="*/ 358896 h 358896"/>
              <a:gd name="connsiteX2" fmla="*/ 177118 w 330930"/>
              <a:gd name="connsiteY2" fmla="*/ 180613 h 358896"/>
              <a:gd name="connsiteX3" fmla="*/ 0 w 330930"/>
              <a:gd name="connsiteY3" fmla="*/ 0 h 358896"/>
              <a:gd name="connsiteX4" fmla="*/ 154979 w 330930"/>
              <a:gd name="connsiteY4" fmla="*/ 0 h 358896"/>
              <a:gd name="connsiteX5" fmla="*/ 330931 w 330930"/>
              <a:gd name="connsiteY5" fmla="*/ 175953 h 358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930" h="358896">
                <a:moveTo>
                  <a:pt x="151482" y="358896"/>
                </a:moveTo>
                <a:lnTo>
                  <a:pt x="0" y="358896"/>
                </a:lnTo>
                <a:lnTo>
                  <a:pt x="177118" y="180613"/>
                </a:lnTo>
                <a:lnTo>
                  <a:pt x="0" y="0"/>
                </a:lnTo>
                <a:lnTo>
                  <a:pt x="154979" y="0"/>
                </a:lnTo>
                <a:lnTo>
                  <a:pt x="330931" y="175953"/>
                </a:lnTo>
                <a:close/>
              </a:path>
            </a:pathLst>
          </a:custGeom>
          <a:solidFill>
            <a:srgbClr val="2657A2"/>
          </a:solidFill>
          <a:ln w="11643" cap="flat">
            <a:noFill/>
            <a:prstDash val="solid"/>
            <a:miter/>
          </a:ln>
        </p:spPr>
        <p:txBody>
          <a:bodyPr rtlCol="0" anchor="ctr"/>
          <a:lstStyle/>
          <a:p>
            <a:endParaRPr lang="de-DE"/>
          </a:p>
        </p:txBody>
      </p:sp>
      <p:sp>
        <p:nvSpPr>
          <p:cNvPr id="14" name="Freihandform: Form 13">
            <a:extLst>
              <a:ext uri="{FF2B5EF4-FFF2-40B4-BE49-F238E27FC236}">
                <a16:creationId xmlns:a16="http://schemas.microsoft.com/office/drawing/2014/main" id="{F8C3B083-5A1D-419B-89F6-6286658FFFA1}"/>
              </a:ext>
            </a:extLst>
          </p:cNvPr>
          <p:cNvSpPr/>
          <p:nvPr userDrawn="1"/>
        </p:nvSpPr>
        <p:spPr>
          <a:xfrm>
            <a:off x="11494017" y="4059073"/>
            <a:ext cx="330930" cy="360061"/>
          </a:xfrm>
          <a:custGeom>
            <a:avLst/>
            <a:gdLst>
              <a:gd name="connsiteX0" fmla="*/ 151482 w 330930"/>
              <a:gd name="connsiteY0" fmla="*/ 360062 h 360061"/>
              <a:gd name="connsiteX1" fmla="*/ 0 w 330930"/>
              <a:gd name="connsiteY1" fmla="*/ 360062 h 360061"/>
              <a:gd name="connsiteX2" fmla="*/ 177118 w 330930"/>
              <a:gd name="connsiteY2" fmla="*/ 181779 h 360061"/>
              <a:gd name="connsiteX3" fmla="*/ 0 w 330930"/>
              <a:gd name="connsiteY3" fmla="*/ 0 h 360061"/>
              <a:gd name="connsiteX4" fmla="*/ 154979 w 330930"/>
              <a:gd name="connsiteY4" fmla="*/ 0 h 360061"/>
              <a:gd name="connsiteX5" fmla="*/ 330931 w 330930"/>
              <a:gd name="connsiteY5" fmla="*/ 177118 h 360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930" h="360061">
                <a:moveTo>
                  <a:pt x="151482" y="360062"/>
                </a:moveTo>
                <a:lnTo>
                  <a:pt x="0" y="360062"/>
                </a:lnTo>
                <a:lnTo>
                  <a:pt x="177118" y="181779"/>
                </a:lnTo>
                <a:lnTo>
                  <a:pt x="0" y="0"/>
                </a:lnTo>
                <a:lnTo>
                  <a:pt x="154979" y="0"/>
                </a:lnTo>
                <a:lnTo>
                  <a:pt x="330931" y="177118"/>
                </a:lnTo>
                <a:close/>
              </a:path>
            </a:pathLst>
          </a:custGeom>
          <a:solidFill>
            <a:srgbClr val="2657A2"/>
          </a:solidFill>
          <a:ln w="11643" cap="flat">
            <a:noFill/>
            <a:prstDash val="solid"/>
            <a:miter/>
          </a:ln>
        </p:spPr>
        <p:txBody>
          <a:bodyPr rtlCol="0" anchor="ctr"/>
          <a:lstStyle/>
          <a:p>
            <a:endParaRPr lang="de-DE"/>
          </a:p>
        </p:txBody>
      </p:sp>
      <p:sp>
        <p:nvSpPr>
          <p:cNvPr id="15" name="Freihandform: Form 14">
            <a:extLst>
              <a:ext uri="{FF2B5EF4-FFF2-40B4-BE49-F238E27FC236}">
                <a16:creationId xmlns:a16="http://schemas.microsoft.com/office/drawing/2014/main" id="{50EB5A79-49FE-4477-A4FF-598C74840FB6}"/>
              </a:ext>
            </a:extLst>
          </p:cNvPr>
          <p:cNvSpPr/>
          <p:nvPr userDrawn="1"/>
        </p:nvSpPr>
        <p:spPr>
          <a:xfrm>
            <a:off x="11494017" y="4414474"/>
            <a:ext cx="330930" cy="358896"/>
          </a:xfrm>
          <a:custGeom>
            <a:avLst/>
            <a:gdLst>
              <a:gd name="connsiteX0" fmla="*/ 151482 w 330930"/>
              <a:gd name="connsiteY0" fmla="*/ 358896 h 358896"/>
              <a:gd name="connsiteX1" fmla="*/ 0 w 330930"/>
              <a:gd name="connsiteY1" fmla="*/ 358896 h 358896"/>
              <a:gd name="connsiteX2" fmla="*/ 177118 w 330930"/>
              <a:gd name="connsiteY2" fmla="*/ 180613 h 358896"/>
              <a:gd name="connsiteX3" fmla="*/ 0 w 330930"/>
              <a:gd name="connsiteY3" fmla="*/ 0 h 358896"/>
              <a:gd name="connsiteX4" fmla="*/ 154979 w 330930"/>
              <a:gd name="connsiteY4" fmla="*/ 0 h 358896"/>
              <a:gd name="connsiteX5" fmla="*/ 330931 w 330930"/>
              <a:gd name="connsiteY5" fmla="*/ 175952 h 358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930" h="358896">
                <a:moveTo>
                  <a:pt x="151482" y="358896"/>
                </a:moveTo>
                <a:lnTo>
                  <a:pt x="0" y="358896"/>
                </a:lnTo>
                <a:lnTo>
                  <a:pt x="177118" y="180613"/>
                </a:lnTo>
                <a:lnTo>
                  <a:pt x="0" y="0"/>
                </a:lnTo>
                <a:lnTo>
                  <a:pt x="154979" y="0"/>
                </a:lnTo>
                <a:lnTo>
                  <a:pt x="330931" y="175952"/>
                </a:lnTo>
                <a:close/>
              </a:path>
            </a:pathLst>
          </a:custGeom>
          <a:solidFill>
            <a:srgbClr val="2657A2"/>
          </a:solidFill>
          <a:ln w="11643" cap="flat">
            <a:noFill/>
            <a:prstDash val="solid"/>
            <a:miter/>
          </a:ln>
        </p:spPr>
        <p:txBody>
          <a:bodyPr rtlCol="0" anchor="ctr"/>
          <a:lstStyle/>
          <a:p>
            <a:endParaRPr lang="de-DE"/>
          </a:p>
        </p:txBody>
      </p:sp>
      <p:sp>
        <p:nvSpPr>
          <p:cNvPr id="16" name="Freihandform: Form 15">
            <a:extLst>
              <a:ext uri="{FF2B5EF4-FFF2-40B4-BE49-F238E27FC236}">
                <a16:creationId xmlns:a16="http://schemas.microsoft.com/office/drawing/2014/main" id="{604871CE-B423-49DE-919D-74D219D289C0}"/>
              </a:ext>
            </a:extLst>
          </p:cNvPr>
          <p:cNvSpPr/>
          <p:nvPr userDrawn="1"/>
        </p:nvSpPr>
        <p:spPr>
          <a:xfrm>
            <a:off x="11494017" y="4768709"/>
            <a:ext cx="330930" cy="360061"/>
          </a:xfrm>
          <a:custGeom>
            <a:avLst/>
            <a:gdLst>
              <a:gd name="connsiteX0" fmla="*/ 151482 w 330930"/>
              <a:gd name="connsiteY0" fmla="*/ 360062 h 360061"/>
              <a:gd name="connsiteX1" fmla="*/ 0 w 330930"/>
              <a:gd name="connsiteY1" fmla="*/ 360062 h 360061"/>
              <a:gd name="connsiteX2" fmla="*/ 177118 w 330930"/>
              <a:gd name="connsiteY2" fmla="*/ 181779 h 360061"/>
              <a:gd name="connsiteX3" fmla="*/ 0 w 330930"/>
              <a:gd name="connsiteY3" fmla="*/ 0 h 360061"/>
              <a:gd name="connsiteX4" fmla="*/ 154979 w 330930"/>
              <a:gd name="connsiteY4" fmla="*/ 0 h 360061"/>
              <a:gd name="connsiteX5" fmla="*/ 330931 w 330930"/>
              <a:gd name="connsiteY5" fmla="*/ 177118 h 360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930" h="360061">
                <a:moveTo>
                  <a:pt x="151482" y="360062"/>
                </a:moveTo>
                <a:lnTo>
                  <a:pt x="0" y="360062"/>
                </a:lnTo>
                <a:lnTo>
                  <a:pt x="177118" y="181779"/>
                </a:lnTo>
                <a:lnTo>
                  <a:pt x="0" y="0"/>
                </a:lnTo>
                <a:lnTo>
                  <a:pt x="154979" y="0"/>
                </a:lnTo>
                <a:lnTo>
                  <a:pt x="330931" y="177118"/>
                </a:lnTo>
                <a:close/>
              </a:path>
            </a:pathLst>
          </a:custGeom>
          <a:solidFill>
            <a:srgbClr val="2657A2"/>
          </a:solidFill>
          <a:ln w="11643" cap="flat">
            <a:noFill/>
            <a:prstDash val="solid"/>
            <a:miter/>
          </a:ln>
        </p:spPr>
        <p:txBody>
          <a:bodyPr rtlCol="0" anchor="ctr"/>
          <a:lstStyle/>
          <a:p>
            <a:endParaRPr lang="de-DE"/>
          </a:p>
        </p:txBody>
      </p:sp>
      <p:sp>
        <p:nvSpPr>
          <p:cNvPr id="17" name="Freihandform: Form 16">
            <a:extLst>
              <a:ext uri="{FF2B5EF4-FFF2-40B4-BE49-F238E27FC236}">
                <a16:creationId xmlns:a16="http://schemas.microsoft.com/office/drawing/2014/main" id="{4D65BE3E-4C18-475A-9ED3-DE2BB59E49D7}"/>
              </a:ext>
            </a:extLst>
          </p:cNvPr>
          <p:cNvSpPr/>
          <p:nvPr userDrawn="1"/>
        </p:nvSpPr>
        <p:spPr>
          <a:xfrm>
            <a:off x="11147939" y="3358759"/>
            <a:ext cx="314616" cy="341417"/>
          </a:xfrm>
          <a:custGeom>
            <a:avLst/>
            <a:gdLst>
              <a:gd name="connsiteX0" fmla="*/ 143325 w 314616"/>
              <a:gd name="connsiteY0" fmla="*/ 341418 h 341417"/>
              <a:gd name="connsiteX1" fmla="*/ 0 w 314616"/>
              <a:gd name="connsiteY1" fmla="*/ 341418 h 341417"/>
              <a:gd name="connsiteX2" fmla="*/ 167795 w 314616"/>
              <a:gd name="connsiteY2" fmla="*/ 172457 h 341417"/>
              <a:gd name="connsiteX3" fmla="*/ 0 w 314616"/>
              <a:gd name="connsiteY3" fmla="*/ 0 h 341417"/>
              <a:gd name="connsiteX4" fmla="*/ 146821 w 314616"/>
              <a:gd name="connsiteY4" fmla="*/ 0 h 341417"/>
              <a:gd name="connsiteX5" fmla="*/ 314617 w 314616"/>
              <a:gd name="connsiteY5" fmla="*/ 167796 h 341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4616" h="341417">
                <a:moveTo>
                  <a:pt x="143325" y="341418"/>
                </a:moveTo>
                <a:lnTo>
                  <a:pt x="0" y="341418"/>
                </a:lnTo>
                <a:lnTo>
                  <a:pt x="167795" y="172457"/>
                </a:lnTo>
                <a:lnTo>
                  <a:pt x="0" y="0"/>
                </a:lnTo>
                <a:lnTo>
                  <a:pt x="146821" y="0"/>
                </a:lnTo>
                <a:lnTo>
                  <a:pt x="314617" y="167796"/>
                </a:lnTo>
                <a:close/>
              </a:path>
            </a:pathLst>
          </a:custGeom>
          <a:solidFill>
            <a:srgbClr val="2657A2"/>
          </a:solidFill>
          <a:ln w="11643" cap="flat">
            <a:noFill/>
            <a:prstDash val="solid"/>
            <a:miter/>
          </a:ln>
        </p:spPr>
        <p:txBody>
          <a:bodyPr rtlCol="0" anchor="ctr"/>
          <a:lstStyle/>
          <a:p>
            <a:endParaRPr lang="de-DE"/>
          </a:p>
        </p:txBody>
      </p:sp>
      <p:sp>
        <p:nvSpPr>
          <p:cNvPr id="18" name="Freihandform: Form 17">
            <a:extLst>
              <a:ext uri="{FF2B5EF4-FFF2-40B4-BE49-F238E27FC236}">
                <a16:creationId xmlns:a16="http://schemas.microsoft.com/office/drawing/2014/main" id="{E34679BF-98E0-4C43-9EB6-8E929045F37C}"/>
              </a:ext>
            </a:extLst>
          </p:cNvPr>
          <p:cNvSpPr/>
          <p:nvPr userDrawn="1"/>
        </p:nvSpPr>
        <p:spPr>
          <a:xfrm>
            <a:off x="11147939" y="3714159"/>
            <a:ext cx="314616" cy="340252"/>
          </a:xfrm>
          <a:custGeom>
            <a:avLst/>
            <a:gdLst>
              <a:gd name="connsiteX0" fmla="*/ 143325 w 314616"/>
              <a:gd name="connsiteY0" fmla="*/ 340252 h 340252"/>
              <a:gd name="connsiteX1" fmla="*/ 0 w 314616"/>
              <a:gd name="connsiteY1" fmla="*/ 340252 h 340252"/>
              <a:gd name="connsiteX2" fmla="*/ 167795 w 314616"/>
              <a:gd name="connsiteY2" fmla="*/ 171291 h 340252"/>
              <a:gd name="connsiteX3" fmla="*/ 0 w 314616"/>
              <a:gd name="connsiteY3" fmla="*/ 0 h 340252"/>
              <a:gd name="connsiteX4" fmla="*/ 146821 w 314616"/>
              <a:gd name="connsiteY4" fmla="*/ 0 h 340252"/>
              <a:gd name="connsiteX5" fmla="*/ 314617 w 314616"/>
              <a:gd name="connsiteY5" fmla="*/ 166631 h 340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4616" h="340252">
                <a:moveTo>
                  <a:pt x="143325" y="340252"/>
                </a:moveTo>
                <a:lnTo>
                  <a:pt x="0" y="340252"/>
                </a:lnTo>
                <a:lnTo>
                  <a:pt x="167795" y="171291"/>
                </a:lnTo>
                <a:lnTo>
                  <a:pt x="0" y="0"/>
                </a:lnTo>
                <a:lnTo>
                  <a:pt x="146821" y="0"/>
                </a:lnTo>
                <a:lnTo>
                  <a:pt x="314617" y="166631"/>
                </a:lnTo>
                <a:close/>
              </a:path>
            </a:pathLst>
          </a:custGeom>
          <a:solidFill>
            <a:srgbClr val="2657A2"/>
          </a:solidFill>
          <a:ln w="11643" cap="flat">
            <a:noFill/>
            <a:prstDash val="solid"/>
            <a:miter/>
          </a:ln>
        </p:spPr>
        <p:txBody>
          <a:bodyPr rtlCol="0" anchor="ctr"/>
          <a:lstStyle/>
          <a:p>
            <a:endParaRPr lang="de-DE"/>
          </a:p>
        </p:txBody>
      </p:sp>
      <p:sp>
        <p:nvSpPr>
          <p:cNvPr id="19" name="Freihandform: Form 18">
            <a:extLst>
              <a:ext uri="{FF2B5EF4-FFF2-40B4-BE49-F238E27FC236}">
                <a16:creationId xmlns:a16="http://schemas.microsoft.com/office/drawing/2014/main" id="{61178343-3B5C-4EA0-B93D-DA39DE247356}"/>
              </a:ext>
            </a:extLst>
          </p:cNvPr>
          <p:cNvSpPr/>
          <p:nvPr userDrawn="1"/>
        </p:nvSpPr>
        <p:spPr>
          <a:xfrm>
            <a:off x="11147939" y="4068395"/>
            <a:ext cx="314616" cy="341417"/>
          </a:xfrm>
          <a:custGeom>
            <a:avLst/>
            <a:gdLst>
              <a:gd name="connsiteX0" fmla="*/ 143325 w 314616"/>
              <a:gd name="connsiteY0" fmla="*/ 341418 h 341417"/>
              <a:gd name="connsiteX1" fmla="*/ 0 w 314616"/>
              <a:gd name="connsiteY1" fmla="*/ 341418 h 341417"/>
              <a:gd name="connsiteX2" fmla="*/ 167795 w 314616"/>
              <a:gd name="connsiteY2" fmla="*/ 172457 h 341417"/>
              <a:gd name="connsiteX3" fmla="*/ 0 w 314616"/>
              <a:gd name="connsiteY3" fmla="*/ 0 h 341417"/>
              <a:gd name="connsiteX4" fmla="*/ 146821 w 314616"/>
              <a:gd name="connsiteY4" fmla="*/ 0 h 341417"/>
              <a:gd name="connsiteX5" fmla="*/ 314617 w 314616"/>
              <a:gd name="connsiteY5" fmla="*/ 167796 h 341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4616" h="341417">
                <a:moveTo>
                  <a:pt x="143325" y="341418"/>
                </a:moveTo>
                <a:lnTo>
                  <a:pt x="0" y="341418"/>
                </a:lnTo>
                <a:lnTo>
                  <a:pt x="167795" y="172457"/>
                </a:lnTo>
                <a:lnTo>
                  <a:pt x="0" y="0"/>
                </a:lnTo>
                <a:lnTo>
                  <a:pt x="146821" y="0"/>
                </a:lnTo>
                <a:lnTo>
                  <a:pt x="314617" y="167796"/>
                </a:lnTo>
                <a:close/>
              </a:path>
            </a:pathLst>
          </a:custGeom>
          <a:solidFill>
            <a:srgbClr val="2657A2"/>
          </a:solidFill>
          <a:ln w="11643" cap="flat">
            <a:noFill/>
            <a:prstDash val="solid"/>
            <a:miter/>
          </a:ln>
        </p:spPr>
        <p:txBody>
          <a:bodyPr rtlCol="0" anchor="ctr"/>
          <a:lstStyle/>
          <a:p>
            <a:endParaRPr lang="de-DE"/>
          </a:p>
        </p:txBody>
      </p:sp>
      <p:sp>
        <p:nvSpPr>
          <p:cNvPr id="20" name="Freihandform: Form 19">
            <a:extLst>
              <a:ext uri="{FF2B5EF4-FFF2-40B4-BE49-F238E27FC236}">
                <a16:creationId xmlns:a16="http://schemas.microsoft.com/office/drawing/2014/main" id="{EFDA8C24-BCB4-435A-B57E-08D469E0E5BA}"/>
              </a:ext>
            </a:extLst>
          </p:cNvPr>
          <p:cNvSpPr/>
          <p:nvPr userDrawn="1"/>
        </p:nvSpPr>
        <p:spPr>
          <a:xfrm>
            <a:off x="11147939" y="4423796"/>
            <a:ext cx="314616" cy="340252"/>
          </a:xfrm>
          <a:custGeom>
            <a:avLst/>
            <a:gdLst>
              <a:gd name="connsiteX0" fmla="*/ 143325 w 314616"/>
              <a:gd name="connsiteY0" fmla="*/ 340252 h 340252"/>
              <a:gd name="connsiteX1" fmla="*/ 0 w 314616"/>
              <a:gd name="connsiteY1" fmla="*/ 340252 h 340252"/>
              <a:gd name="connsiteX2" fmla="*/ 167795 w 314616"/>
              <a:gd name="connsiteY2" fmla="*/ 171291 h 340252"/>
              <a:gd name="connsiteX3" fmla="*/ 0 w 314616"/>
              <a:gd name="connsiteY3" fmla="*/ 0 h 340252"/>
              <a:gd name="connsiteX4" fmla="*/ 146821 w 314616"/>
              <a:gd name="connsiteY4" fmla="*/ 0 h 340252"/>
              <a:gd name="connsiteX5" fmla="*/ 314617 w 314616"/>
              <a:gd name="connsiteY5" fmla="*/ 167796 h 340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4616" h="340252">
                <a:moveTo>
                  <a:pt x="143325" y="340252"/>
                </a:moveTo>
                <a:lnTo>
                  <a:pt x="0" y="340252"/>
                </a:lnTo>
                <a:lnTo>
                  <a:pt x="167795" y="171291"/>
                </a:lnTo>
                <a:lnTo>
                  <a:pt x="0" y="0"/>
                </a:lnTo>
                <a:lnTo>
                  <a:pt x="146821" y="0"/>
                </a:lnTo>
                <a:lnTo>
                  <a:pt x="314617" y="167796"/>
                </a:lnTo>
                <a:close/>
              </a:path>
            </a:pathLst>
          </a:custGeom>
          <a:solidFill>
            <a:srgbClr val="2657A2"/>
          </a:solidFill>
          <a:ln w="11643" cap="flat">
            <a:noFill/>
            <a:prstDash val="solid"/>
            <a:miter/>
          </a:ln>
        </p:spPr>
        <p:txBody>
          <a:bodyPr rtlCol="0" anchor="ctr"/>
          <a:lstStyle/>
          <a:p>
            <a:endParaRPr lang="de-DE"/>
          </a:p>
        </p:txBody>
      </p:sp>
      <p:sp>
        <p:nvSpPr>
          <p:cNvPr id="21" name="Freihandform: Form 20">
            <a:extLst>
              <a:ext uri="{FF2B5EF4-FFF2-40B4-BE49-F238E27FC236}">
                <a16:creationId xmlns:a16="http://schemas.microsoft.com/office/drawing/2014/main" id="{D5092E80-F183-487C-9720-F0CC52022EFC}"/>
              </a:ext>
            </a:extLst>
          </p:cNvPr>
          <p:cNvSpPr/>
          <p:nvPr userDrawn="1"/>
        </p:nvSpPr>
        <p:spPr>
          <a:xfrm>
            <a:off x="11147939" y="4778031"/>
            <a:ext cx="314616" cy="341417"/>
          </a:xfrm>
          <a:custGeom>
            <a:avLst/>
            <a:gdLst>
              <a:gd name="connsiteX0" fmla="*/ 143325 w 314616"/>
              <a:gd name="connsiteY0" fmla="*/ 341418 h 341417"/>
              <a:gd name="connsiteX1" fmla="*/ 0 w 314616"/>
              <a:gd name="connsiteY1" fmla="*/ 341418 h 341417"/>
              <a:gd name="connsiteX2" fmla="*/ 167795 w 314616"/>
              <a:gd name="connsiteY2" fmla="*/ 172457 h 341417"/>
              <a:gd name="connsiteX3" fmla="*/ 0 w 314616"/>
              <a:gd name="connsiteY3" fmla="*/ 0 h 341417"/>
              <a:gd name="connsiteX4" fmla="*/ 146821 w 314616"/>
              <a:gd name="connsiteY4" fmla="*/ 0 h 341417"/>
              <a:gd name="connsiteX5" fmla="*/ 314617 w 314616"/>
              <a:gd name="connsiteY5" fmla="*/ 167796 h 341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4616" h="341417">
                <a:moveTo>
                  <a:pt x="143325" y="341418"/>
                </a:moveTo>
                <a:lnTo>
                  <a:pt x="0" y="341418"/>
                </a:lnTo>
                <a:lnTo>
                  <a:pt x="167795" y="172457"/>
                </a:lnTo>
                <a:lnTo>
                  <a:pt x="0" y="0"/>
                </a:lnTo>
                <a:lnTo>
                  <a:pt x="146821" y="0"/>
                </a:lnTo>
                <a:lnTo>
                  <a:pt x="314617" y="167796"/>
                </a:lnTo>
                <a:close/>
              </a:path>
            </a:pathLst>
          </a:custGeom>
          <a:solidFill>
            <a:srgbClr val="2657A2"/>
          </a:solidFill>
          <a:ln w="11643" cap="flat">
            <a:noFill/>
            <a:prstDash val="solid"/>
            <a:miter/>
          </a:ln>
        </p:spPr>
        <p:txBody>
          <a:bodyPr rtlCol="0" anchor="ctr"/>
          <a:lstStyle/>
          <a:p>
            <a:endParaRPr lang="de-DE"/>
          </a:p>
        </p:txBody>
      </p:sp>
      <p:sp>
        <p:nvSpPr>
          <p:cNvPr id="22" name="Freihandform: Form 21">
            <a:extLst>
              <a:ext uri="{FF2B5EF4-FFF2-40B4-BE49-F238E27FC236}">
                <a16:creationId xmlns:a16="http://schemas.microsoft.com/office/drawing/2014/main" id="{C1B35ED9-5960-4CA7-BB4B-F8CBB7AA51C4}"/>
              </a:ext>
            </a:extLst>
          </p:cNvPr>
          <p:cNvSpPr/>
          <p:nvPr userDrawn="1"/>
        </p:nvSpPr>
        <p:spPr>
          <a:xfrm>
            <a:off x="11147939" y="5133432"/>
            <a:ext cx="314616" cy="341417"/>
          </a:xfrm>
          <a:custGeom>
            <a:avLst/>
            <a:gdLst>
              <a:gd name="connsiteX0" fmla="*/ 143325 w 314616"/>
              <a:gd name="connsiteY0" fmla="*/ 341418 h 341417"/>
              <a:gd name="connsiteX1" fmla="*/ 0 w 314616"/>
              <a:gd name="connsiteY1" fmla="*/ 341418 h 341417"/>
              <a:gd name="connsiteX2" fmla="*/ 167795 w 314616"/>
              <a:gd name="connsiteY2" fmla="*/ 171292 h 341417"/>
              <a:gd name="connsiteX3" fmla="*/ 0 w 314616"/>
              <a:gd name="connsiteY3" fmla="*/ 0 h 341417"/>
              <a:gd name="connsiteX4" fmla="*/ 146821 w 314616"/>
              <a:gd name="connsiteY4" fmla="*/ 0 h 341417"/>
              <a:gd name="connsiteX5" fmla="*/ 314617 w 314616"/>
              <a:gd name="connsiteY5" fmla="*/ 167796 h 341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4616" h="341417">
                <a:moveTo>
                  <a:pt x="143325" y="341418"/>
                </a:moveTo>
                <a:lnTo>
                  <a:pt x="0" y="341418"/>
                </a:lnTo>
                <a:lnTo>
                  <a:pt x="167795" y="171292"/>
                </a:lnTo>
                <a:lnTo>
                  <a:pt x="0" y="0"/>
                </a:lnTo>
                <a:lnTo>
                  <a:pt x="146821" y="0"/>
                </a:lnTo>
                <a:lnTo>
                  <a:pt x="314617" y="167796"/>
                </a:lnTo>
                <a:close/>
              </a:path>
            </a:pathLst>
          </a:custGeom>
          <a:solidFill>
            <a:srgbClr val="2657A2"/>
          </a:solidFill>
          <a:ln w="11643" cap="flat">
            <a:noFill/>
            <a:prstDash val="solid"/>
            <a:miter/>
          </a:ln>
        </p:spPr>
        <p:txBody>
          <a:bodyPr rtlCol="0" anchor="ctr"/>
          <a:lstStyle/>
          <a:p>
            <a:endParaRPr lang="de-DE"/>
          </a:p>
        </p:txBody>
      </p:sp>
      <p:sp>
        <p:nvSpPr>
          <p:cNvPr id="23" name="Freihandform: Form 22">
            <a:extLst>
              <a:ext uri="{FF2B5EF4-FFF2-40B4-BE49-F238E27FC236}">
                <a16:creationId xmlns:a16="http://schemas.microsoft.com/office/drawing/2014/main" id="{9F138ACB-7671-4AAE-A5A5-0385B3F81E81}"/>
              </a:ext>
            </a:extLst>
          </p:cNvPr>
          <p:cNvSpPr/>
          <p:nvPr userDrawn="1"/>
        </p:nvSpPr>
        <p:spPr>
          <a:xfrm>
            <a:off x="10801860" y="3012680"/>
            <a:ext cx="297138" cy="323938"/>
          </a:xfrm>
          <a:custGeom>
            <a:avLst/>
            <a:gdLst>
              <a:gd name="connsiteX0" fmla="*/ 135168 w 297138"/>
              <a:gd name="connsiteY0" fmla="*/ 323939 h 323938"/>
              <a:gd name="connsiteX1" fmla="*/ 0 w 297138"/>
              <a:gd name="connsiteY1" fmla="*/ 323939 h 323938"/>
              <a:gd name="connsiteX2" fmla="*/ 158473 w 297138"/>
              <a:gd name="connsiteY2" fmla="*/ 163135 h 323938"/>
              <a:gd name="connsiteX3" fmla="*/ 0 w 297138"/>
              <a:gd name="connsiteY3" fmla="*/ 0 h 323938"/>
              <a:gd name="connsiteX4" fmla="*/ 138664 w 297138"/>
              <a:gd name="connsiteY4" fmla="*/ 0 h 323938"/>
              <a:gd name="connsiteX5" fmla="*/ 297138 w 297138"/>
              <a:gd name="connsiteY5" fmla="*/ 159639 h 323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3938">
                <a:moveTo>
                  <a:pt x="135168" y="323939"/>
                </a:moveTo>
                <a:lnTo>
                  <a:pt x="0" y="323939"/>
                </a:lnTo>
                <a:lnTo>
                  <a:pt x="158473" y="163135"/>
                </a:lnTo>
                <a:lnTo>
                  <a:pt x="0" y="0"/>
                </a:lnTo>
                <a:lnTo>
                  <a:pt x="138664" y="0"/>
                </a:lnTo>
                <a:lnTo>
                  <a:pt x="297138" y="159639"/>
                </a:lnTo>
                <a:close/>
              </a:path>
            </a:pathLst>
          </a:custGeom>
          <a:solidFill>
            <a:srgbClr val="2657A2"/>
          </a:solidFill>
          <a:ln w="11643" cap="flat">
            <a:noFill/>
            <a:prstDash val="solid"/>
            <a:miter/>
          </a:ln>
        </p:spPr>
        <p:txBody>
          <a:bodyPr rtlCol="0" anchor="ctr"/>
          <a:lstStyle/>
          <a:p>
            <a:endParaRPr lang="de-DE"/>
          </a:p>
        </p:txBody>
      </p:sp>
      <p:sp>
        <p:nvSpPr>
          <p:cNvPr id="24" name="Freihandform: Form 23">
            <a:extLst>
              <a:ext uri="{FF2B5EF4-FFF2-40B4-BE49-F238E27FC236}">
                <a16:creationId xmlns:a16="http://schemas.microsoft.com/office/drawing/2014/main" id="{2B3C2618-90AD-4A6D-BF2E-EAEA6C389EFC}"/>
              </a:ext>
            </a:extLst>
          </p:cNvPr>
          <p:cNvSpPr/>
          <p:nvPr userDrawn="1"/>
        </p:nvSpPr>
        <p:spPr>
          <a:xfrm>
            <a:off x="10801860" y="3368081"/>
            <a:ext cx="297138" cy="322773"/>
          </a:xfrm>
          <a:custGeom>
            <a:avLst/>
            <a:gdLst>
              <a:gd name="connsiteX0" fmla="*/ 135168 w 297138"/>
              <a:gd name="connsiteY0" fmla="*/ 322774 h 322773"/>
              <a:gd name="connsiteX1" fmla="*/ 0 w 297138"/>
              <a:gd name="connsiteY1" fmla="*/ 322774 h 322773"/>
              <a:gd name="connsiteX2" fmla="*/ 158473 w 297138"/>
              <a:gd name="connsiteY2" fmla="*/ 163135 h 322773"/>
              <a:gd name="connsiteX3" fmla="*/ 0 w 297138"/>
              <a:gd name="connsiteY3" fmla="*/ 0 h 322773"/>
              <a:gd name="connsiteX4" fmla="*/ 138664 w 297138"/>
              <a:gd name="connsiteY4" fmla="*/ 0 h 322773"/>
              <a:gd name="connsiteX5" fmla="*/ 297138 w 297138"/>
              <a:gd name="connsiteY5" fmla="*/ 158474 h 322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2773">
                <a:moveTo>
                  <a:pt x="135168" y="322774"/>
                </a:moveTo>
                <a:lnTo>
                  <a:pt x="0" y="322774"/>
                </a:lnTo>
                <a:lnTo>
                  <a:pt x="158473" y="163135"/>
                </a:lnTo>
                <a:lnTo>
                  <a:pt x="0" y="0"/>
                </a:lnTo>
                <a:lnTo>
                  <a:pt x="138664" y="0"/>
                </a:lnTo>
                <a:lnTo>
                  <a:pt x="297138" y="158474"/>
                </a:lnTo>
                <a:close/>
              </a:path>
            </a:pathLst>
          </a:custGeom>
          <a:solidFill>
            <a:srgbClr val="2657A2"/>
          </a:solidFill>
          <a:ln w="11643" cap="flat">
            <a:noFill/>
            <a:prstDash val="solid"/>
            <a:miter/>
          </a:ln>
        </p:spPr>
        <p:txBody>
          <a:bodyPr rtlCol="0" anchor="ctr"/>
          <a:lstStyle/>
          <a:p>
            <a:endParaRPr lang="de-DE"/>
          </a:p>
        </p:txBody>
      </p:sp>
      <p:sp>
        <p:nvSpPr>
          <p:cNvPr id="25" name="Freihandform: Form 24">
            <a:extLst>
              <a:ext uri="{FF2B5EF4-FFF2-40B4-BE49-F238E27FC236}">
                <a16:creationId xmlns:a16="http://schemas.microsoft.com/office/drawing/2014/main" id="{E48A0A2B-A992-446D-9659-C4F813A3FD7F}"/>
              </a:ext>
            </a:extLst>
          </p:cNvPr>
          <p:cNvSpPr/>
          <p:nvPr userDrawn="1"/>
        </p:nvSpPr>
        <p:spPr>
          <a:xfrm>
            <a:off x="10801860" y="3722316"/>
            <a:ext cx="297138" cy="323938"/>
          </a:xfrm>
          <a:custGeom>
            <a:avLst/>
            <a:gdLst>
              <a:gd name="connsiteX0" fmla="*/ 135168 w 297138"/>
              <a:gd name="connsiteY0" fmla="*/ 323939 h 323938"/>
              <a:gd name="connsiteX1" fmla="*/ 0 w 297138"/>
              <a:gd name="connsiteY1" fmla="*/ 323939 h 323938"/>
              <a:gd name="connsiteX2" fmla="*/ 158473 w 297138"/>
              <a:gd name="connsiteY2" fmla="*/ 163135 h 323938"/>
              <a:gd name="connsiteX3" fmla="*/ 0 w 297138"/>
              <a:gd name="connsiteY3" fmla="*/ 0 h 323938"/>
              <a:gd name="connsiteX4" fmla="*/ 138664 w 297138"/>
              <a:gd name="connsiteY4" fmla="*/ 0 h 323938"/>
              <a:gd name="connsiteX5" fmla="*/ 297138 w 297138"/>
              <a:gd name="connsiteY5" fmla="*/ 159639 h 323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3938">
                <a:moveTo>
                  <a:pt x="135168" y="323939"/>
                </a:moveTo>
                <a:lnTo>
                  <a:pt x="0" y="323939"/>
                </a:lnTo>
                <a:lnTo>
                  <a:pt x="158473" y="163135"/>
                </a:lnTo>
                <a:lnTo>
                  <a:pt x="0" y="0"/>
                </a:lnTo>
                <a:lnTo>
                  <a:pt x="138664" y="0"/>
                </a:lnTo>
                <a:lnTo>
                  <a:pt x="297138" y="159639"/>
                </a:lnTo>
                <a:close/>
              </a:path>
            </a:pathLst>
          </a:custGeom>
          <a:solidFill>
            <a:srgbClr val="2657A2"/>
          </a:solidFill>
          <a:ln w="11643" cap="flat">
            <a:noFill/>
            <a:prstDash val="solid"/>
            <a:miter/>
          </a:ln>
        </p:spPr>
        <p:txBody>
          <a:bodyPr rtlCol="0" anchor="ctr"/>
          <a:lstStyle/>
          <a:p>
            <a:endParaRPr lang="de-DE"/>
          </a:p>
        </p:txBody>
      </p:sp>
      <p:sp>
        <p:nvSpPr>
          <p:cNvPr id="26" name="Freihandform: Form 25">
            <a:extLst>
              <a:ext uri="{FF2B5EF4-FFF2-40B4-BE49-F238E27FC236}">
                <a16:creationId xmlns:a16="http://schemas.microsoft.com/office/drawing/2014/main" id="{8FFBFC9C-456D-4388-8E2B-24B5A07C1A69}"/>
              </a:ext>
            </a:extLst>
          </p:cNvPr>
          <p:cNvSpPr/>
          <p:nvPr userDrawn="1"/>
        </p:nvSpPr>
        <p:spPr>
          <a:xfrm>
            <a:off x="10801860" y="4077717"/>
            <a:ext cx="297138" cy="322773"/>
          </a:xfrm>
          <a:custGeom>
            <a:avLst/>
            <a:gdLst>
              <a:gd name="connsiteX0" fmla="*/ 135168 w 297138"/>
              <a:gd name="connsiteY0" fmla="*/ 322774 h 322773"/>
              <a:gd name="connsiteX1" fmla="*/ 0 w 297138"/>
              <a:gd name="connsiteY1" fmla="*/ 322774 h 322773"/>
              <a:gd name="connsiteX2" fmla="*/ 158473 w 297138"/>
              <a:gd name="connsiteY2" fmla="*/ 163135 h 322773"/>
              <a:gd name="connsiteX3" fmla="*/ 0 w 297138"/>
              <a:gd name="connsiteY3" fmla="*/ 0 h 322773"/>
              <a:gd name="connsiteX4" fmla="*/ 138664 w 297138"/>
              <a:gd name="connsiteY4" fmla="*/ 0 h 322773"/>
              <a:gd name="connsiteX5" fmla="*/ 297138 w 297138"/>
              <a:gd name="connsiteY5" fmla="*/ 158474 h 322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2773">
                <a:moveTo>
                  <a:pt x="135168" y="322774"/>
                </a:moveTo>
                <a:lnTo>
                  <a:pt x="0" y="322774"/>
                </a:lnTo>
                <a:lnTo>
                  <a:pt x="158473" y="163135"/>
                </a:lnTo>
                <a:lnTo>
                  <a:pt x="0" y="0"/>
                </a:lnTo>
                <a:lnTo>
                  <a:pt x="138664" y="0"/>
                </a:lnTo>
                <a:lnTo>
                  <a:pt x="297138" y="158474"/>
                </a:lnTo>
                <a:close/>
              </a:path>
            </a:pathLst>
          </a:custGeom>
          <a:solidFill>
            <a:srgbClr val="2657A2"/>
          </a:solidFill>
          <a:ln w="11643" cap="flat">
            <a:noFill/>
            <a:prstDash val="solid"/>
            <a:miter/>
          </a:ln>
        </p:spPr>
        <p:txBody>
          <a:bodyPr rtlCol="0" anchor="ctr"/>
          <a:lstStyle/>
          <a:p>
            <a:endParaRPr lang="de-DE"/>
          </a:p>
        </p:txBody>
      </p:sp>
      <p:sp>
        <p:nvSpPr>
          <p:cNvPr id="27" name="Freihandform: Form 26">
            <a:extLst>
              <a:ext uri="{FF2B5EF4-FFF2-40B4-BE49-F238E27FC236}">
                <a16:creationId xmlns:a16="http://schemas.microsoft.com/office/drawing/2014/main" id="{F00693EB-D06D-4D97-B313-DAC6AD0CADB2}"/>
              </a:ext>
            </a:extLst>
          </p:cNvPr>
          <p:cNvSpPr/>
          <p:nvPr userDrawn="1"/>
        </p:nvSpPr>
        <p:spPr>
          <a:xfrm>
            <a:off x="10801860" y="4431952"/>
            <a:ext cx="297138" cy="323938"/>
          </a:xfrm>
          <a:custGeom>
            <a:avLst/>
            <a:gdLst>
              <a:gd name="connsiteX0" fmla="*/ 135168 w 297138"/>
              <a:gd name="connsiteY0" fmla="*/ 323939 h 323938"/>
              <a:gd name="connsiteX1" fmla="*/ 0 w 297138"/>
              <a:gd name="connsiteY1" fmla="*/ 323939 h 323938"/>
              <a:gd name="connsiteX2" fmla="*/ 158473 w 297138"/>
              <a:gd name="connsiteY2" fmla="*/ 163135 h 323938"/>
              <a:gd name="connsiteX3" fmla="*/ 0 w 297138"/>
              <a:gd name="connsiteY3" fmla="*/ 0 h 323938"/>
              <a:gd name="connsiteX4" fmla="*/ 138664 w 297138"/>
              <a:gd name="connsiteY4" fmla="*/ 0 h 323938"/>
              <a:gd name="connsiteX5" fmla="*/ 297138 w 297138"/>
              <a:gd name="connsiteY5" fmla="*/ 159639 h 323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3938">
                <a:moveTo>
                  <a:pt x="135168" y="323939"/>
                </a:moveTo>
                <a:lnTo>
                  <a:pt x="0" y="323939"/>
                </a:lnTo>
                <a:lnTo>
                  <a:pt x="158473" y="163135"/>
                </a:lnTo>
                <a:lnTo>
                  <a:pt x="0" y="0"/>
                </a:lnTo>
                <a:lnTo>
                  <a:pt x="138664" y="0"/>
                </a:lnTo>
                <a:lnTo>
                  <a:pt x="297138" y="159639"/>
                </a:lnTo>
                <a:close/>
              </a:path>
            </a:pathLst>
          </a:custGeom>
          <a:solidFill>
            <a:srgbClr val="2657A2"/>
          </a:solidFill>
          <a:ln w="11643" cap="flat">
            <a:noFill/>
            <a:prstDash val="solid"/>
            <a:miter/>
          </a:ln>
        </p:spPr>
        <p:txBody>
          <a:bodyPr rtlCol="0" anchor="ctr"/>
          <a:lstStyle/>
          <a:p>
            <a:endParaRPr lang="de-DE"/>
          </a:p>
        </p:txBody>
      </p:sp>
      <p:sp>
        <p:nvSpPr>
          <p:cNvPr id="28" name="Freihandform: Form 27">
            <a:extLst>
              <a:ext uri="{FF2B5EF4-FFF2-40B4-BE49-F238E27FC236}">
                <a16:creationId xmlns:a16="http://schemas.microsoft.com/office/drawing/2014/main" id="{89281142-940F-4240-B9E8-12A5A5BA0FB0}"/>
              </a:ext>
            </a:extLst>
          </p:cNvPr>
          <p:cNvSpPr/>
          <p:nvPr userDrawn="1"/>
        </p:nvSpPr>
        <p:spPr>
          <a:xfrm>
            <a:off x="10801860" y="4787353"/>
            <a:ext cx="297138" cy="322773"/>
          </a:xfrm>
          <a:custGeom>
            <a:avLst/>
            <a:gdLst>
              <a:gd name="connsiteX0" fmla="*/ 135168 w 297138"/>
              <a:gd name="connsiteY0" fmla="*/ 322774 h 322773"/>
              <a:gd name="connsiteX1" fmla="*/ 0 w 297138"/>
              <a:gd name="connsiteY1" fmla="*/ 322774 h 322773"/>
              <a:gd name="connsiteX2" fmla="*/ 158473 w 297138"/>
              <a:gd name="connsiteY2" fmla="*/ 163135 h 322773"/>
              <a:gd name="connsiteX3" fmla="*/ 0 w 297138"/>
              <a:gd name="connsiteY3" fmla="*/ 0 h 322773"/>
              <a:gd name="connsiteX4" fmla="*/ 138664 w 297138"/>
              <a:gd name="connsiteY4" fmla="*/ 0 h 322773"/>
              <a:gd name="connsiteX5" fmla="*/ 297138 w 297138"/>
              <a:gd name="connsiteY5" fmla="*/ 158474 h 322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2773">
                <a:moveTo>
                  <a:pt x="135168" y="322774"/>
                </a:moveTo>
                <a:lnTo>
                  <a:pt x="0" y="322774"/>
                </a:lnTo>
                <a:lnTo>
                  <a:pt x="158473" y="163135"/>
                </a:lnTo>
                <a:lnTo>
                  <a:pt x="0" y="0"/>
                </a:lnTo>
                <a:lnTo>
                  <a:pt x="138664" y="0"/>
                </a:lnTo>
                <a:lnTo>
                  <a:pt x="297138" y="158474"/>
                </a:lnTo>
                <a:close/>
              </a:path>
            </a:pathLst>
          </a:custGeom>
          <a:solidFill>
            <a:srgbClr val="2657A2"/>
          </a:solidFill>
          <a:ln w="11643" cap="flat">
            <a:noFill/>
            <a:prstDash val="solid"/>
            <a:miter/>
          </a:ln>
        </p:spPr>
        <p:txBody>
          <a:bodyPr rtlCol="0" anchor="ctr"/>
          <a:lstStyle/>
          <a:p>
            <a:endParaRPr lang="de-DE"/>
          </a:p>
        </p:txBody>
      </p:sp>
      <p:sp>
        <p:nvSpPr>
          <p:cNvPr id="29" name="Freihandform: Form 28">
            <a:extLst>
              <a:ext uri="{FF2B5EF4-FFF2-40B4-BE49-F238E27FC236}">
                <a16:creationId xmlns:a16="http://schemas.microsoft.com/office/drawing/2014/main" id="{AD49AADD-9E83-4EC4-93DE-9880F8701DC6}"/>
              </a:ext>
            </a:extLst>
          </p:cNvPr>
          <p:cNvSpPr/>
          <p:nvPr userDrawn="1"/>
        </p:nvSpPr>
        <p:spPr>
          <a:xfrm>
            <a:off x="10801860" y="5141588"/>
            <a:ext cx="297138" cy="323938"/>
          </a:xfrm>
          <a:custGeom>
            <a:avLst/>
            <a:gdLst>
              <a:gd name="connsiteX0" fmla="*/ 135168 w 297138"/>
              <a:gd name="connsiteY0" fmla="*/ 323939 h 323938"/>
              <a:gd name="connsiteX1" fmla="*/ 0 w 297138"/>
              <a:gd name="connsiteY1" fmla="*/ 323939 h 323938"/>
              <a:gd name="connsiteX2" fmla="*/ 158473 w 297138"/>
              <a:gd name="connsiteY2" fmla="*/ 163135 h 323938"/>
              <a:gd name="connsiteX3" fmla="*/ 0 w 297138"/>
              <a:gd name="connsiteY3" fmla="*/ 0 h 323938"/>
              <a:gd name="connsiteX4" fmla="*/ 138664 w 297138"/>
              <a:gd name="connsiteY4" fmla="*/ 0 h 323938"/>
              <a:gd name="connsiteX5" fmla="*/ 297138 w 297138"/>
              <a:gd name="connsiteY5" fmla="*/ 159639 h 323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3938">
                <a:moveTo>
                  <a:pt x="135168" y="323939"/>
                </a:moveTo>
                <a:lnTo>
                  <a:pt x="0" y="323939"/>
                </a:lnTo>
                <a:lnTo>
                  <a:pt x="158473" y="163135"/>
                </a:lnTo>
                <a:lnTo>
                  <a:pt x="0" y="0"/>
                </a:lnTo>
                <a:lnTo>
                  <a:pt x="138664" y="0"/>
                </a:lnTo>
                <a:lnTo>
                  <a:pt x="297138" y="159639"/>
                </a:lnTo>
                <a:close/>
              </a:path>
            </a:pathLst>
          </a:custGeom>
          <a:solidFill>
            <a:srgbClr val="2657A2"/>
          </a:solidFill>
          <a:ln w="11643" cap="flat">
            <a:noFill/>
            <a:prstDash val="solid"/>
            <a:miter/>
          </a:ln>
        </p:spPr>
        <p:txBody>
          <a:bodyPr rtlCol="0" anchor="ctr"/>
          <a:lstStyle/>
          <a:p>
            <a:endParaRPr lang="de-DE"/>
          </a:p>
        </p:txBody>
      </p:sp>
      <p:sp>
        <p:nvSpPr>
          <p:cNvPr id="30" name="Freihandform: Form 29">
            <a:extLst>
              <a:ext uri="{FF2B5EF4-FFF2-40B4-BE49-F238E27FC236}">
                <a16:creationId xmlns:a16="http://schemas.microsoft.com/office/drawing/2014/main" id="{CEC9758F-A286-43BE-8F88-A30958FA2316}"/>
              </a:ext>
            </a:extLst>
          </p:cNvPr>
          <p:cNvSpPr/>
          <p:nvPr userDrawn="1"/>
        </p:nvSpPr>
        <p:spPr>
          <a:xfrm>
            <a:off x="10801860" y="5496989"/>
            <a:ext cx="297138" cy="322773"/>
          </a:xfrm>
          <a:custGeom>
            <a:avLst/>
            <a:gdLst>
              <a:gd name="connsiteX0" fmla="*/ 135168 w 297138"/>
              <a:gd name="connsiteY0" fmla="*/ 322773 h 322773"/>
              <a:gd name="connsiteX1" fmla="*/ 0 w 297138"/>
              <a:gd name="connsiteY1" fmla="*/ 322773 h 322773"/>
              <a:gd name="connsiteX2" fmla="*/ 158473 w 297138"/>
              <a:gd name="connsiteY2" fmla="*/ 163135 h 322773"/>
              <a:gd name="connsiteX3" fmla="*/ 0 w 297138"/>
              <a:gd name="connsiteY3" fmla="*/ 0 h 322773"/>
              <a:gd name="connsiteX4" fmla="*/ 138664 w 297138"/>
              <a:gd name="connsiteY4" fmla="*/ 0 h 322773"/>
              <a:gd name="connsiteX5" fmla="*/ 297138 w 297138"/>
              <a:gd name="connsiteY5" fmla="*/ 158473 h 322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2773">
                <a:moveTo>
                  <a:pt x="135168" y="322773"/>
                </a:moveTo>
                <a:lnTo>
                  <a:pt x="0" y="322773"/>
                </a:lnTo>
                <a:lnTo>
                  <a:pt x="158473" y="163135"/>
                </a:lnTo>
                <a:lnTo>
                  <a:pt x="0" y="0"/>
                </a:lnTo>
                <a:lnTo>
                  <a:pt x="138664" y="0"/>
                </a:lnTo>
                <a:lnTo>
                  <a:pt x="297138" y="158473"/>
                </a:lnTo>
                <a:close/>
              </a:path>
            </a:pathLst>
          </a:custGeom>
          <a:solidFill>
            <a:srgbClr val="2657A2"/>
          </a:solidFill>
          <a:ln w="11643" cap="flat">
            <a:noFill/>
            <a:prstDash val="solid"/>
            <a:miter/>
          </a:ln>
        </p:spPr>
        <p:txBody>
          <a:bodyPr rtlCol="0" anchor="ctr"/>
          <a:lstStyle/>
          <a:p>
            <a:endParaRPr lang="de-DE"/>
          </a:p>
        </p:txBody>
      </p:sp>
      <p:sp>
        <p:nvSpPr>
          <p:cNvPr id="31" name="Freihandform: Form 30">
            <a:extLst>
              <a:ext uri="{FF2B5EF4-FFF2-40B4-BE49-F238E27FC236}">
                <a16:creationId xmlns:a16="http://schemas.microsoft.com/office/drawing/2014/main" id="{10E4B3AC-44DF-4AD9-A386-DE5F1B7DCE9A}"/>
              </a:ext>
            </a:extLst>
          </p:cNvPr>
          <p:cNvSpPr/>
          <p:nvPr userDrawn="1"/>
        </p:nvSpPr>
        <p:spPr>
          <a:xfrm>
            <a:off x="10454616" y="2667767"/>
            <a:ext cx="280824" cy="304129"/>
          </a:xfrm>
          <a:custGeom>
            <a:avLst/>
            <a:gdLst>
              <a:gd name="connsiteX0" fmla="*/ 129343 w 280824"/>
              <a:gd name="connsiteY0" fmla="*/ 304130 h 304129"/>
              <a:gd name="connsiteX1" fmla="*/ 0 w 280824"/>
              <a:gd name="connsiteY1" fmla="*/ 304130 h 304129"/>
              <a:gd name="connsiteX2" fmla="*/ 150317 w 280824"/>
              <a:gd name="connsiteY2" fmla="*/ 153813 h 304129"/>
              <a:gd name="connsiteX3" fmla="*/ 0 w 280824"/>
              <a:gd name="connsiteY3" fmla="*/ 0 h 304129"/>
              <a:gd name="connsiteX4" fmla="*/ 131673 w 280824"/>
              <a:gd name="connsiteY4" fmla="*/ 0 h 304129"/>
              <a:gd name="connsiteX5" fmla="*/ 280825 w 280824"/>
              <a:gd name="connsiteY5" fmla="*/ 149152 h 304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4129">
                <a:moveTo>
                  <a:pt x="129343" y="304130"/>
                </a:moveTo>
                <a:lnTo>
                  <a:pt x="0" y="304130"/>
                </a:lnTo>
                <a:lnTo>
                  <a:pt x="150317" y="153813"/>
                </a:lnTo>
                <a:lnTo>
                  <a:pt x="0" y="0"/>
                </a:lnTo>
                <a:lnTo>
                  <a:pt x="131673" y="0"/>
                </a:lnTo>
                <a:lnTo>
                  <a:pt x="280825" y="149152"/>
                </a:lnTo>
                <a:close/>
              </a:path>
            </a:pathLst>
          </a:custGeom>
          <a:solidFill>
            <a:srgbClr val="2657A2"/>
          </a:solidFill>
          <a:ln w="11643" cap="flat">
            <a:noFill/>
            <a:prstDash val="solid"/>
            <a:miter/>
          </a:ln>
        </p:spPr>
        <p:txBody>
          <a:bodyPr rtlCol="0" anchor="ctr"/>
          <a:lstStyle/>
          <a:p>
            <a:endParaRPr lang="de-DE"/>
          </a:p>
        </p:txBody>
      </p:sp>
      <p:sp>
        <p:nvSpPr>
          <p:cNvPr id="32" name="Freihandform: Form 31">
            <a:extLst>
              <a:ext uri="{FF2B5EF4-FFF2-40B4-BE49-F238E27FC236}">
                <a16:creationId xmlns:a16="http://schemas.microsoft.com/office/drawing/2014/main" id="{8811811D-2DA5-49D3-BA92-FC8455548E2D}"/>
              </a:ext>
            </a:extLst>
          </p:cNvPr>
          <p:cNvSpPr/>
          <p:nvPr userDrawn="1"/>
        </p:nvSpPr>
        <p:spPr>
          <a:xfrm>
            <a:off x="10454616" y="3022002"/>
            <a:ext cx="280824" cy="305294"/>
          </a:xfrm>
          <a:custGeom>
            <a:avLst/>
            <a:gdLst>
              <a:gd name="connsiteX0" fmla="*/ 129343 w 280824"/>
              <a:gd name="connsiteY0" fmla="*/ 305295 h 305294"/>
              <a:gd name="connsiteX1" fmla="*/ 0 w 280824"/>
              <a:gd name="connsiteY1" fmla="*/ 305295 h 305294"/>
              <a:gd name="connsiteX2" fmla="*/ 150317 w 280824"/>
              <a:gd name="connsiteY2" fmla="*/ 153813 h 305294"/>
              <a:gd name="connsiteX3" fmla="*/ 0 w 280824"/>
              <a:gd name="connsiteY3" fmla="*/ 0 h 305294"/>
              <a:gd name="connsiteX4" fmla="*/ 131673 w 280824"/>
              <a:gd name="connsiteY4" fmla="*/ 0 h 305294"/>
              <a:gd name="connsiteX5" fmla="*/ 280825 w 280824"/>
              <a:gd name="connsiteY5" fmla="*/ 150317 h 305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5294">
                <a:moveTo>
                  <a:pt x="129343" y="305295"/>
                </a:moveTo>
                <a:lnTo>
                  <a:pt x="0" y="305295"/>
                </a:lnTo>
                <a:lnTo>
                  <a:pt x="150317" y="153813"/>
                </a:lnTo>
                <a:lnTo>
                  <a:pt x="0" y="0"/>
                </a:lnTo>
                <a:lnTo>
                  <a:pt x="131673" y="0"/>
                </a:lnTo>
                <a:lnTo>
                  <a:pt x="280825" y="150317"/>
                </a:lnTo>
                <a:close/>
              </a:path>
            </a:pathLst>
          </a:custGeom>
          <a:solidFill>
            <a:srgbClr val="2657A2"/>
          </a:solidFill>
          <a:ln w="11643" cap="flat">
            <a:noFill/>
            <a:prstDash val="solid"/>
            <a:miter/>
          </a:ln>
        </p:spPr>
        <p:txBody>
          <a:bodyPr rtlCol="0" anchor="ctr"/>
          <a:lstStyle/>
          <a:p>
            <a:endParaRPr lang="de-DE"/>
          </a:p>
        </p:txBody>
      </p:sp>
      <p:sp>
        <p:nvSpPr>
          <p:cNvPr id="33" name="Freihandform: Form 32">
            <a:extLst>
              <a:ext uri="{FF2B5EF4-FFF2-40B4-BE49-F238E27FC236}">
                <a16:creationId xmlns:a16="http://schemas.microsoft.com/office/drawing/2014/main" id="{22B5D9B8-7812-4DBD-B100-796AE8B99475}"/>
              </a:ext>
            </a:extLst>
          </p:cNvPr>
          <p:cNvSpPr/>
          <p:nvPr userDrawn="1"/>
        </p:nvSpPr>
        <p:spPr>
          <a:xfrm>
            <a:off x="10454616" y="3377403"/>
            <a:ext cx="280824" cy="304129"/>
          </a:xfrm>
          <a:custGeom>
            <a:avLst/>
            <a:gdLst>
              <a:gd name="connsiteX0" fmla="*/ 129343 w 280824"/>
              <a:gd name="connsiteY0" fmla="*/ 304130 h 304129"/>
              <a:gd name="connsiteX1" fmla="*/ 0 w 280824"/>
              <a:gd name="connsiteY1" fmla="*/ 304130 h 304129"/>
              <a:gd name="connsiteX2" fmla="*/ 150317 w 280824"/>
              <a:gd name="connsiteY2" fmla="*/ 153813 h 304129"/>
              <a:gd name="connsiteX3" fmla="*/ 0 w 280824"/>
              <a:gd name="connsiteY3" fmla="*/ 0 h 304129"/>
              <a:gd name="connsiteX4" fmla="*/ 131673 w 280824"/>
              <a:gd name="connsiteY4" fmla="*/ 0 h 304129"/>
              <a:gd name="connsiteX5" fmla="*/ 280825 w 280824"/>
              <a:gd name="connsiteY5" fmla="*/ 149152 h 304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4129">
                <a:moveTo>
                  <a:pt x="129343" y="304130"/>
                </a:moveTo>
                <a:lnTo>
                  <a:pt x="0" y="304130"/>
                </a:lnTo>
                <a:lnTo>
                  <a:pt x="150317" y="153813"/>
                </a:lnTo>
                <a:lnTo>
                  <a:pt x="0" y="0"/>
                </a:lnTo>
                <a:lnTo>
                  <a:pt x="131673" y="0"/>
                </a:lnTo>
                <a:lnTo>
                  <a:pt x="280825" y="149152"/>
                </a:lnTo>
                <a:close/>
              </a:path>
            </a:pathLst>
          </a:custGeom>
          <a:solidFill>
            <a:srgbClr val="2657A2"/>
          </a:solidFill>
          <a:ln w="11643" cap="flat">
            <a:noFill/>
            <a:prstDash val="solid"/>
            <a:miter/>
          </a:ln>
        </p:spPr>
        <p:txBody>
          <a:bodyPr rtlCol="0" anchor="ctr"/>
          <a:lstStyle/>
          <a:p>
            <a:endParaRPr lang="de-DE"/>
          </a:p>
        </p:txBody>
      </p:sp>
      <p:sp>
        <p:nvSpPr>
          <p:cNvPr id="34" name="Freihandform: Form 33">
            <a:extLst>
              <a:ext uri="{FF2B5EF4-FFF2-40B4-BE49-F238E27FC236}">
                <a16:creationId xmlns:a16="http://schemas.microsoft.com/office/drawing/2014/main" id="{86D162DF-0300-42DA-8C90-0E11543E0CB5}"/>
              </a:ext>
            </a:extLst>
          </p:cNvPr>
          <p:cNvSpPr/>
          <p:nvPr userDrawn="1"/>
        </p:nvSpPr>
        <p:spPr>
          <a:xfrm>
            <a:off x="10454616" y="3731638"/>
            <a:ext cx="280824" cy="305294"/>
          </a:xfrm>
          <a:custGeom>
            <a:avLst/>
            <a:gdLst>
              <a:gd name="connsiteX0" fmla="*/ 129343 w 280824"/>
              <a:gd name="connsiteY0" fmla="*/ 305295 h 305294"/>
              <a:gd name="connsiteX1" fmla="*/ 0 w 280824"/>
              <a:gd name="connsiteY1" fmla="*/ 305295 h 305294"/>
              <a:gd name="connsiteX2" fmla="*/ 150317 w 280824"/>
              <a:gd name="connsiteY2" fmla="*/ 153813 h 305294"/>
              <a:gd name="connsiteX3" fmla="*/ 0 w 280824"/>
              <a:gd name="connsiteY3" fmla="*/ 0 h 305294"/>
              <a:gd name="connsiteX4" fmla="*/ 131673 w 280824"/>
              <a:gd name="connsiteY4" fmla="*/ 0 h 305294"/>
              <a:gd name="connsiteX5" fmla="*/ 280825 w 280824"/>
              <a:gd name="connsiteY5" fmla="*/ 150317 h 305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5294">
                <a:moveTo>
                  <a:pt x="129343" y="305295"/>
                </a:moveTo>
                <a:lnTo>
                  <a:pt x="0" y="305295"/>
                </a:lnTo>
                <a:lnTo>
                  <a:pt x="150317" y="153813"/>
                </a:lnTo>
                <a:lnTo>
                  <a:pt x="0" y="0"/>
                </a:lnTo>
                <a:lnTo>
                  <a:pt x="131673" y="0"/>
                </a:lnTo>
                <a:lnTo>
                  <a:pt x="280825" y="150317"/>
                </a:lnTo>
                <a:close/>
              </a:path>
            </a:pathLst>
          </a:custGeom>
          <a:solidFill>
            <a:srgbClr val="2657A2"/>
          </a:solidFill>
          <a:ln w="11643" cap="flat">
            <a:noFill/>
            <a:prstDash val="solid"/>
            <a:miter/>
          </a:ln>
        </p:spPr>
        <p:txBody>
          <a:bodyPr rtlCol="0" anchor="ctr"/>
          <a:lstStyle/>
          <a:p>
            <a:endParaRPr lang="de-DE"/>
          </a:p>
        </p:txBody>
      </p:sp>
      <p:sp>
        <p:nvSpPr>
          <p:cNvPr id="35" name="Freihandform: Form 34">
            <a:extLst>
              <a:ext uri="{FF2B5EF4-FFF2-40B4-BE49-F238E27FC236}">
                <a16:creationId xmlns:a16="http://schemas.microsoft.com/office/drawing/2014/main" id="{DD4C0CC3-D65C-4CC8-98A0-B7BBDF885BDD}"/>
              </a:ext>
            </a:extLst>
          </p:cNvPr>
          <p:cNvSpPr/>
          <p:nvPr userDrawn="1"/>
        </p:nvSpPr>
        <p:spPr>
          <a:xfrm>
            <a:off x="10454616" y="4087039"/>
            <a:ext cx="280824" cy="304129"/>
          </a:xfrm>
          <a:custGeom>
            <a:avLst/>
            <a:gdLst>
              <a:gd name="connsiteX0" fmla="*/ 129343 w 280824"/>
              <a:gd name="connsiteY0" fmla="*/ 304130 h 304129"/>
              <a:gd name="connsiteX1" fmla="*/ 0 w 280824"/>
              <a:gd name="connsiteY1" fmla="*/ 304130 h 304129"/>
              <a:gd name="connsiteX2" fmla="*/ 150317 w 280824"/>
              <a:gd name="connsiteY2" fmla="*/ 153813 h 304129"/>
              <a:gd name="connsiteX3" fmla="*/ 0 w 280824"/>
              <a:gd name="connsiteY3" fmla="*/ 0 h 304129"/>
              <a:gd name="connsiteX4" fmla="*/ 131673 w 280824"/>
              <a:gd name="connsiteY4" fmla="*/ 0 h 304129"/>
              <a:gd name="connsiteX5" fmla="*/ 280825 w 280824"/>
              <a:gd name="connsiteY5" fmla="*/ 149152 h 304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4129">
                <a:moveTo>
                  <a:pt x="129343" y="304130"/>
                </a:moveTo>
                <a:lnTo>
                  <a:pt x="0" y="304130"/>
                </a:lnTo>
                <a:lnTo>
                  <a:pt x="150317" y="153813"/>
                </a:lnTo>
                <a:lnTo>
                  <a:pt x="0" y="0"/>
                </a:lnTo>
                <a:lnTo>
                  <a:pt x="131673" y="0"/>
                </a:lnTo>
                <a:lnTo>
                  <a:pt x="280825" y="149152"/>
                </a:lnTo>
                <a:close/>
              </a:path>
            </a:pathLst>
          </a:custGeom>
          <a:solidFill>
            <a:srgbClr val="2657A2"/>
          </a:solidFill>
          <a:ln w="11643" cap="flat">
            <a:noFill/>
            <a:prstDash val="solid"/>
            <a:miter/>
          </a:ln>
        </p:spPr>
        <p:txBody>
          <a:bodyPr rtlCol="0" anchor="ctr"/>
          <a:lstStyle/>
          <a:p>
            <a:endParaRPr lang="de-DE"/>
          </a:p>
        </p:txBody>
      </p:sp>
      <p:sp>
        <p:nvSpPr>
          <p:cNvPr id="36" name="Freihandform: Form 35">
            <a:extLst>
              <a:ext uri="{FF2B5EF4-FFF2-40B4-BE49-F238E27FC236}">
                <a16:creationId xmlns:a16="http://schemas.microsoft.com/office/drawing/2014/main" id="{02A170C8-FEFD-40FE-9F35-49A2B2094DA3}"/>
              </a:ext>
            </a:extLst>
          </p:cNvPr>
          <p:cNvSpPr/>
          <p:nvPr userDrawn="1"/>
        </p:nvSpPr>
        <p:spPr>
          <a:xfrm>
            <a:off x="10454616" y="4441274"/>
            <a:ext cx="280824" cy="305294"/>
          </a:xfrm>
          <a:custGeom>
            <a:avLst/>
            <a:gdLst>
              <a:gd name="connsiteX0" fmla="*/ 129343 w 280824"/>
              <a:gd name="connsiteY0" fmla="*/ 305295 h 305294"/>
              <a:gd name="connsiteX1" fmla="*/ 0 w 280824"/>
              <a:gd name="connsiteY1" fmla="*/ 305295 h 305294"/>
              <a:gd name="connsiteX2" fmla="*/ 150317 w 280824"/>
              <a:gd name="connsiteY2" fmla="*/ 153813 h 305294"/>
              <a:gd name="connsiteX3" fmla="*/ 0 w 280824"/>
              <a:gd name="connsiteY3" fmla="*/ 0 h 305294"/>
              <a:gd name="connsiteX4" fmla="*/ 131673 w 280824"/>
              <a:gd name="connsiteY4" fmla="*/ 0 h 305294"/>
              <a:gd name="connsiteX5" fmla="*/ 280825 w 280824"/>
              <a:gd name="connsiteY5" fmla="*/ 150317 h 305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5294">
                <a:moveTo>
                  <a:pt x="129343" y="305295"/>
                </a:moveTo>
                <a:lnTo>
                  <a:pt x="0" y="305295"/>
                </a:lnTo>
                <a:lnTo>
                  <a:pt x="150317" y="153813"/>
                </a:lnTo>
                <a:lnTo>
                  <a:pt x="0" y="0"/>
                </a:lnTo>
                <a:lnTo>
                  <a:pt x="131673" y="0"/>
                </a:lnTo>
                <a:lnTo>
                  <a:pt x="280825" y="150317"/>
                </a:lnTo>
                <a:close/>
              </a:path>
            </a:pathLst>
          </a:custGeom>
          <a:solidFill>
            <a:srgbClr val="2657A2"/>
          </a:solidFill>
          <a:ln w="11643" cap="flat">
            <a:noFill/>
            <a:prstDash val="solid"/>
            <a:miter/>
          </a:ln>
        </p:spPr>
        <p:txBody>
          <a:bodyPr rtlCol="0" anchor="ctr"/>
          <a:lstStyle/>
          <a:p>
            <a:endParaRPr lang="de-DE"/>
          </a:p>
        </p:txBody>
      </p:sp>
      <p:sp>
        <p:nvSpPr>
          <p:cNvPr id="37" name="Freihandform: Form 36">
            <a:extLst>
              <a:ext uri="{FF2B5EF4-FFF2-40B4-BE49-F238E27FC236}">
                <a16:creationId xmlns:a16="http://schemas.microsoft.com/office/drawing/2014/main" id="{AC345B7B-E2A3-4996-AC13-FEB811736E2B}"/>
              </a:ext>
            </a:extLst>
          </p:cNvPr>
          <p:cNvSpPr/>
          <p:nvPr userDrawn="1"/>
        </p:nvSpPr>
        <p:spPr>
          <a:xfrm>
            <a:off x="10454616" y="4796675"/>
            <a:ext cx="280824" cy="304129"/>
          </a:xfrm>
          <a:custGeom>
            <a:avLst/>
            <a:gdLst>
              <a:gd name="connsiteX0" fmla="*/ 129343 w 280824"/>
              <a:gd name="connsiteY0" fmla="*/ 304130 h 304129"/>
              <a:gd name="connsiteX1" fmla="*/ 0 w 280824"/>
              <a:gd name="connsiteY1" fmla="*/ 304130 h 304129"/>
              <a:gd name="connsiteX2" fmla="*/ 150317 w 280824"/>
              <a:gd name="connsiteY2" fmla="*/ 153813 h 304129"/>
              <a:gd name="connsiteX3" fmla="*/ 0 w 280824"/>
              <a:gd name="connsiteY3" fmla="*/ 0 h 304129"/>
              <a:gd name="connsiteX4" fmla="*/ 131673 w 280824"/>
              <a:gd name="connsiteY4" fmla="*/ 0 h 304129"/>
              <a:gd name="connsiteX5" fmla="*/ 280825 w 280824"/>
              <a:gd name="connsiteY5" fmla="*/ 149152 h 304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4129">
                <a:moveTo>
                  <a:pt x="129343" y="304130"/>
                </a:moveTo>
                <a:lnTo>
                  <a:pt x="0" y="304130"/>
                </a:lnTo>
                <a:lnTo>
                  <a:pt x="150317" y="153813"/>
                </a:lnTo>
                <a:lnTo>
                  <a:pt x="0" y="0"/>
                </a:lnTo>
                <a:lnTo>
                  <a:pt x="131673" y="0"/>
                </a:lnTo>
                <a:lnTo>
                  <a:pt x="280825" y="149152"/>
                </a:lnTo>
                <a:close/>
              </a:path>
            </a:pathLst>
          </a:custGeom>
          <a:solidFill>
            <a:srgbClr val="2657A2"/>
          </a:solidFill>
          <a:ln w="11643" cap="flat">
            <a:noFill/>
            <a:prstDash val="solid"/>
            <a:miter/>
          </a:ln>
        </p:spPr>
        <p:txBody>
          <a:bodyPr rtlCol="0" anchor="ctr"/>
          <a:lstStyle/>
          <a:p>
            <a:endParaRPr lang="de-DE"/>
          </a:p>
        </p:txBody>
      </p:sp>
      <p:sp>
        <p:nvSpPr>
          <p:cNvPr id="38" name="Freihandform: Form 37">
            <a:extLst>
              <a:ext uri="{FF2B5EF4-FFF2-40B4-BE49-F238E27FC236}">
                <a16:creationId xmlns:a16="http://schemas.microsoft.com/office/drawing/2014/main" id="{B8E4486F-5EEF-4D77-997B-BF5B2B27593D}"/>
              </a:ext>
            </a:extLst>
          </p:cNvPr>
          <p:cNvSpPr/>
          <p:nvPr userDrawn="1"/>
        </p:nvSpPr>
        <p:spPr>
          <a:xfrm>
            <a:off x="10454616" y="5150910"/>
            <a:ext cx="280824" cy="305295"/>
          </a:xfrm>
          <a:custGeom>
            <a:avLst/>
            <a:gdLst>
              <a:gd name="connsiteX0" fmla="*/ 129343 w 280824"/>
              <a:gd name="connsiteY0" fmla="*/ 305295 h 305295"/>
              <a:gd name="connsiteX1" fmla="*/ 0 w 280824"/>
              <a:gd name="connsiteY1" fmla="*/ 305295 h 305295"/>
              <a:gd name="connsiteX2" fmla="*/ 150317 w 280824"/>
              <a:gd name="connsiteY2" fmla="*/ 153813 h 305295"/>
              <a:gd name="connsiteX3" fmla="*/ 0 w 280824"/>
              <a:gd name="connsiteY3" fmla="*/ 0 h 305295"/>
              <a:gd name="connsiteX4" fmla="*/ 131673 w 280824"/>
              <a:gd name="connsiteY4" fmla="*/ 0 h 305295"/>
              <a:gd name="connsiteX5" fmla="*/ 280825 w 280824"/>
              <a:gd name="connsiteY5" fmla="*/ 150317 h 305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5295">
                <a:moveTo>
                  <a:pt x="129343" y="305295"/>
                </a:moveTo>
                <a:lnTo>
                  <a:pt x="0" y="305295"/>
                </a:lnTo>
                <a:lnTo>
                  <a:pt x="150317" y="153813"/>
                </a:lnTo>
                <a:lnTo>
                  <a:pt x="0" y="0"/>
                </a:lnTo>
                <a:lnTo>
                  <a:pt x="131673" y="0"/>
                </a:lnTo>
                <a:lnTo>
                  <a:pt x="280825" y="150317"/>
                </a:lnTo>
                <a:close/>
              </a:path>
            </a:pathLst>
          </a:custGeom>
          <a:solidFill>
            <a:srgbClr val="2657A2"/>
          </a:solidFill>
          <a:ln w="11643" cap="flat">
            <a:noFill/>
            <a:prstDash val="solid"/>
            <a:miter/>
          </a:ln>
        </p:spPr>
        <p:txBody>
          <a:bodyPr rtlCol="0" anchor="ctr"/>
          <a:lstStyle/>
          <a:p>
            <a:endParaRPr lang="de-DE"/>
          </a:p>
        </p:txBody>
      </p:sp>
      <p:sp>
        <p:nvSpPr>
          <p:cNvPr id="39" name="Freihandform: Form 38">
            <a:extLst>
              <a:ext uri="{FF2B5EF4-FFF2-40B4-BE49-F238E27FC236}">
                <a16:creationId xmlns:a16="http://schemas.microsoft.com/office/drawing/2014/main" id="{D6505117-AB3A-443A-8D0D-8AB7DE155481}"/>
              </a:ext>
            </a:extLst>
          </p:cNvPr>
          <p:cNvSpPr/>
          <p:nvPr userDrawn="1"/>
        </p:nvSpPr>
        <p:spPr>
          <a:xfrm>
            <a:off x="10454616" y="5506311"/>
            <a:ext cx="280824" cy="305295"/>
          </a:xfrm>
          <a:custGeom>
            <a:avLst/>
            <a:gdLst>
              <a:gd name="connsiteX0" fmla="*/ 129343 w 280824"/>
              <a:gd name="connsiteY0" fmla="*/ 305295 h 305295"/>
              <a:gd name="connsiteX1" fmla="*/ 0 w 280824"/>
              <a:gd name="connsiteY1" fmla="*/ 305295 h 305295"/>
              <a:gd name="connsiteX2" fmla="*/ 150317 w 280824"/>
              <a:gd name="connsiteY2" fmla="*/ 153813 h 305295"/>
              <a:gd name="connsiteX3" fmla="*/ 0 w 280824"/>
              <a:gd name="connsiteY3" fmla="*/ 0 h 305295"/>
              <a:gd name="connsiteX4" fmla="*/ 131673 w 280824"/>
              <a:gd name="connsiteY4" fmla="*/ 0 h 305295"/>
              <a:gd name="connsiteX5" fmla="*/ 280825 w 280824"/>
              <a:gd name="connsiteY5" fmla="*/ 149152 h 305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5295">
                <a:moveTo>
                  <a:pt x="129343" y="305295"/>
                </a:moveTo>
                <a:lnTo>
                  <a:pt x="0" y="305295"/>
                </a:lnTo>
                <a:lnTo>
                  <a:pt x="150317" y="153813"/>
                </a:lnTo>
                <a:lnTo>
                  <a:pt x="0" y="0"/>
                </a:lnTo>
                <a:lnTo>
                  <a:pt x="131673" y="0"/>
                </a:lnTo>
                <a:lnTo>
                  <a:pt x="280825" y="149152"/>
                </a:lnTo>
                <a:close/>
              </a:path>
            </a:pathLst>
          </a:custGeom>
          <a:solidFill>
            <a:srgbClr val="2657A2"/>
          </a:solidFill>
          <a:ln w="11643" cap="flat">
            <a:noFill/>
            <a:prstDash val="solid"/>
            <a:miter/>
          </a:ln>
        </p:spPr>
        <p:txBody>
          <a:bodyPr rtlCol="0" anchor="ctr"/>
          <a:lstStyle/>
          <a:p>
            <a:endParaRPr lang="de-DE"/>
          </a:p>
        </p:txBody>
      </p:sp>
      <p:sp>
        <p:nvSpPr>
          <p:cNvPr id="40" name="Freihandform: Form 39">
            <a:extLst>
              <a:ext uri="{FF2B5EF4-FFF2-40B4-BE49-F238E27FC236}">
                <a16:creationId xmlns:a16="http://schemas.microsoft.com/office/drawing/2014/main" id="{39669028-3F82-4FFB-B750-58E81D23A155}"/>
              </a:ext>
            </a:extLst>
          </p:cNvPr>
          <p:cNvSpPr/>
          <p:nvPr userDrawn="1"/>
        </p:nvSpPr>
        <p:spPr>
          <a:xfrm>
            <a:off x="10454616" y="5860546"/>
            <a:ext cx="280824" cy="305295"/>
          </a:xfrm>
          <a:custGeom>
            <a:avLst/>
            <a:gdLst>
              <a:gd name="connsiteX0" fmla="*/ 129343 w 280824"/>
              <a:gd name="connsiteY0" fmla="*/ 305295 h 305295"/>
              <a:gd name="connsiteX1" fmla="*/ 0 w 280824"/>
              <a:gd name="connsiteY1" fmla="*/ 305295 h 305295"/>
              <a:gd name="connsiteX2" fmla="*/ 150317 w 280824"/>
              <a:gd name="connsiteY2" fmla="*/ 153813 h 305295"/>
              <a:gd name="connsiteX3" fmla="*/ 0 w 280824"/>
              <a:gd name="connsiteY3" fmla="*/ 0 h 305295"/>
              <a:gd name="connsiteX4" fmla="*/ 131673 w 280824"/>
              <a:gd name="connsiteY4" fmla="*/ 0 h 305295"/>
              <a:gd name="connsiteX5" fmla="*/ 280825 w 280824"/>
              <a:gd name="connsiteY5" fmla="*/ 150317 h 305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5295">
                <a:moveTo>
                  <a:pt x="129343" y="305295"/>
                </a:moveTo>
                <a:lnTo>
                  <a:pt x="0" y="305295"/>
                </a:lnTo>
                <a:lnTo>
                  <a:pt x="150317" y="153813"/>
                </a:lnTo>
                <a:lnTo>
                  <a:pt x="0" y="0"/>
                </a:lnTo>
                <a:lnTo>
                  <a:pt x="131673" y="0"/>
                </a:lnTo>
                <a:lnTo>
                  <a:pt x="280825" y="150317"/>
                </a:lnTo>
                <a:close/>
              </a:path>
            </a:pathLst>
          </a:custGeom>
          <a:solidFill>
            <a:srgbClr val="2657A2"/>
          </a:solidFill>
          <a:ln w="11643" cap="flat">
            <a:noFill/>
            <a:prstDash val="solid"/>
            <a:miter/>
          </a:ln>
        </p:spPr>
        <p:txBody>
          <a:bodyPr rtlCol="0" anchor="ctr"/>
          <a:lstStyle/>
          <a:p>
            <a:endParaRPr lang="de-DE"/>
          </a:p>
        </p:txBody>
      </p:sp>
      <p:sp>
        <p:nvSpPr>
          <p:cNvPr id="41" name="Freihandform: Form 40">
            <a:extLst>
              <a:ext uri="{FF2B5EF4-FFF2-40B4-BE49-F238E27FC236}">
                <a16:creationId xmlns:a16="http://schemas.microsoft.com/office/drawing/2014/main" id="{C052D073-BC16-47D7-9E2C-5858BC88F099}"/>
              </a:ext>
            </a:extLst>
          </p:cNvPr>
          <p:cNvSpPr/>
          <p:nvPr userDrawn="1"/>
        </p:nvSpPr>
        <p:spPr>
          <a:xfrm>
            <a:off x="10108537" y="2321688"/>
            <a:ext cx="264511" cy="286650"/>
          </a:xfrm>
          <a:custGeom>
            <a:avLst/>
            <a:gdLst>
              <a:gd name="connsiteX0" fmla="*/ 121186 w 264511"/>
              <a:gd name="connsiteY0" fmla="*/ 286651 h 286650"/>
              <a:gd name="connsiteX1" fmla="*/ 0 w 264511"/>
              <a:gd name="connsiteY1" fmla="*/ 286651 h 286650"/>
              <a:gd name="connsiteX2" fmla="*/ 140995 w 264511"/>
              <a:gd name="connsiteY2" fmla="*/ 144491 h 286650"/>
              <a:gd name="connsiteX3" fmla="*/ 0 w 264511"/>
              <a:gd name="connsiteY3" fmla="*/ 0 h 286650"/>
              <a:gd name="connsiteX4" fmla="*/ 123516 w 264511"/>
              <a:gd name="connsiteY4" fmla="*/ 0 h 286650"/>
              <a:gd name="connsiteX5" fmla="*/ 264511 w 264511"/>
              <a:gd name="connsiteY5" fmla="*/ 140995 h 28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0">
                <a:moveTo>
                  <a:pt x="121186" y="286651"/>
                </a:moveTo>
                <a:lnTo>
                  <a:pt x="0" y="286651"/>
                </a:lnTo>
                <a:lnTo>
                  <a:pt x="140995" y="144491"/>
                </a:lnTo>
                <a:lnTo>
                  <a:pt x="0" y="0"/>
                </a:lnTo>
                <a:lnTo>
                  <a:pt x="123516" y="0"/>
                </a:lnTo>
                <a:lnTo>
                  <a:pt x="264511" y="140995"/>
                </a:lnTo>
                <a:close/>
              </a:path>
            </a:pathLst>
          </a:custGeom>
          <a:solidFill>
            <a:srgbClr val="2657A2"/>
          </a:solidFill>
          <a:ln w="11643" cap="flat">
            <a:noFill/>
            <a:prstDash val="solid"/>
            <a:miter/>
          </a:ln>
        </p:spPr>
        <p:txBody>
          <a:bodyPr rtlCol="0" anchor="ctr"/>
          <a:lstStyle/>
          <a:p>
            <a:endParaRPr lang="de-DE"/>
          </a:p>
        </p:txBody>
      </p:sp>
      <p:sp>
        <p:nvSpPr>
          <p:cNvPr id="42" name="Freihandform: Form 41">
            <a:extLst>
              <a:ext uri="{FF2B5EF4-FFF2-40B4-BE49-F238E27FC236}">
                <a16:creationId xmlns:a16="http://schemas.microsoft.com/office/drawing/2014/main" id="{22709753-BB78-4BFE-8162-272859C89E3A}"/>
              </a:ext>
            </a:extLst>
          </p:cNvPr>
          <p:cNvSpPr/>
          <p:nvPr userDrawn="1"/>
        </p:nvSpPr>
        <p:spPr>
          <a:xfrm>
            <a:off x="10108537" y="2675924"/>
            <a:ext cx="264511" cy="286650"/>
          </a:xfrm>
          <a:custGeom>
            <a:avLst/>
            <a:gdLst>
              <a:gd name="connsiteX0" fmla="*/ 121186 w 264511"/>
              <a:gd name="connsiteY0" fmla="*/ 286651 h 286650"/>
              <a:gd name="connsiteX1" fmla="*/ 0 w 264511"/>
              <a:gd name="connsiteY1" fmla="*/ 286651 h 286650"/>
              <a:gd name="connsiteX2" fmla="*/ 140995 w 264511"/>
              <a:gd name="connsiteY2" fmla="*/ 144491 h 286650"/>
              <a:gd name="connsiteX3" fmla="*/ 0 w 264511"/>
              <a:gd name="connsiteY3" fmla="*/ 0 h 286650"/>
              <a:gd name="connsiteX4" fmla="*/ 123516 w 264511"/>
              <a:gd name="connsiteY4" fmla="*/ 0 h 286650"/>
              <a:gd name="connsiteX5" fmla="*/ 264511 w 264511"/>
              <a:gd name="connsiteY5" fmla="*/ 140995 h 28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0">
                <a:moveTo>
                  <a:pt x="121186" y="286651"/>
                </a:moveTo>
                <a:lnTo>
                  <a:pt x="0" y="286651"/>
                </a:lnTo>
                <a:lnTo>
                  <a:pt x="140995" y="144491"/>
                </a:lnTo>
                <a:lnTo>
                  <a:pt x="0" y="0"/>
                </a:lnTo>
                <a:lnTo>
                  <a:pt x="123516" y="0"/>
                </a:lnTo>
                <a:lnTo>
                  <a:pt x="264511" y="140995"/>
                </a:lnTo>
                <a:close/>
              </a:path>
            </a:pathLst>
          </a:custGeom>
          <a:solidFill>
            <a:srgbClr val="2657A2"/>
          </a:solidFill>
          <a:ln w="11643" cap="flat">
            <a:noFill/>
            <a:prstDash val="solid"/>
            <a:miter/>
          </a:ln>
        </p:spPr>
        <p:txBody>
          <a:bodyPr rtlCol="0" anchor="ctr"/>
          <a:lstStyle/>
          <a:p>
            <a:endParaRPr lang="de-DE"/>
          </a:p>
        </p:txBody>
      </p:sp>
      <p:sp>
        <p:nvSpPr>
          <p:cNvPr id="43" name="Freihandform: Form 42">
            <a:extLst>
              <a:ext uri="{FF2B5EF4-FFF2-40B4-BE49-F238E27FC236}">
                <a16:creationId xmlns:a16="http://schemas.microsoft.com/office/drawing/2014/main" id="{A22910F7-91DB-466D-959B-1F3CE7A1DC88}"/>
              </a:ext>
            </a:extLst>
          </p:cNvPr>
          <p:cNvSpPr/>
          <p:nvPr userDrawn="1"/>
        </p:nvSpPr>
        <p:spPr>
          <a:xfrm>
            <a:off x="10108537" y="3031324"/>
            <a:ext cx="264511" cy="286650"/>
          </a:xfrm>
          <a:custGeom>
            <a:avLst/>
            <a:gdLst>
              <a:gd name="connsiteX0" fmla="*/ 121186 w 264511"/>
              <a:gd name="connsiteY0" fmla="*/ 286651 h 286650"/>
              <a:gd name="connsiteX1" fmla="*/ 0 w 264511"/>
              <a:gd name="connsiteY1" fmla="*/ 286651 h 286650"/>
              <a:gd name="connsiteX2" fmla="*/ 140995 w 264511"/>
              <a:gd name="connsiteY2" fmla="*/ 144491 h 286650"/>
              <a:gd name="connsiteX3" fmla="*/ 0 w 264511"/>
              <a:gd name="connsiteY3" fmla="*/ 0 h 286650"/>
              <a:gd name="connsiteX4" fmla="*/ 123516 w 264511"/>
              <a:gd name="connsiteY4" fmla="*/ 0 h 286650"/>
              <a:gd name="connsiteX5" fmla="*/ 264511 w 264511"/>
              <a:gd name="connsiteY5" fmla="*/ 140995 h 28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0">
                <a:moveTo>
                  <a:pt x="121186" y="286651"/>
                </a:moveTo>
                <a:lnTo>
                  <a:pt x="0" y="286651"/>
                </a:lnTo>
                <a:lnTo>
                  <a:pt x="140995" y="144491"/>
                </a:lnTo>
                <a:lnTo>
                  <a:pt x="0" y="0"/>
                </a:lnTo>
                <a:lnTo>
                  <a:pt x="123516" y="0"/>
                </a:lnTo>
                <a:lnTo>
                  <a:pt x="264511" y="140995"/>
                </a:lnTo>
                <a:close/>
              </a:path>
            </a:pathLst>
          </a:custGeom>
          <a:solidFill>
            <a:srgbClr val="2657A2"/>
          </a:solidFill>
          <a:ln w="11643" cap="flat">
            <a:noFill/>
            <a:prstDash val="solid"/>
            <a:miter/>
          </a:ln>
        </p:spPr>
        <p:txBody>
          <a:bodyPr rtlCol="0" anchor="ctr"/>
          <a:lstStyle/>
          <a:p>
            <a:endParaRPr lang="de-DE"/>
          </a:p>
        </p:txBody>
      </p:sp>
      <p:sp>
        <p:nvSpPr>
          <p:cNvPr id="44" name="Freihandform: Form 43">
            <a:extLst>
              <a:ext uri="{FF2B5EF4-FFF2-40B4-BE49-F238E27FC236}">
                <a16:creationId xmlns:a16="http://schemas.microsoft.com/office/drawing/2014/main" id="{826CB9D5-4E43-47C9-BB33-61EABEEBA649}"/>
              </a:ext>
            </a:extLst>
          </p:cNvPr>
          <p:cNvSpPr/>
          <p:nvPr userDrawn="1"/>
        </p:nvSpPr>
        <p:spPr>
          <a:xfrm>
            <a:off x="10108537" y="3385560"/>
            <a:ext cx="264511" cy="287816"/>
          </a:xfrm>
          <a:custGeom>
            <a:avLst/>
            <a:gdLst>
              <a:gd name="connsiteX0" fmla="*/ 121186 w 264511"/>
              <a:gd name="connsiteY0" fmla="*/ 287816 h 287816"/>
              <a:gd name="connsiteX1" fmla="*/ 0 w 264511"/>
              <a:gd name="connsiteY1" fmla="*/ 287816 h 287816"/>
              <a:gd name="connsiteX2" fmla="*/ 140995 w 264511"/>
              <a:gd name="connsiteY2" fmla="*/ 145656 h 287816"/>
              <a:gd name="connsiteX3" fmla="*/ 0 w 264511"/>
              <a:gd name="connsiteY3" fmla="*/ 0 h 287816"/>
              <a:gd name="connsiteX4" fmla="*/ 123516 w 264511"/>
              <a:gd name="connsiteY4" fmla="*/ 0 h 287816"/>
              <a:gd name="connsiteX5" fmla="*/ 264511 w 264511"/>
              <a:gd name="connsiteY5" fmla="*/ 140995 h 287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7816">
                <a:moveTo>
                  <a:pt x="121186" y="287816"/>
                </a:moveTo>
                <a:lnTo>
                  <a:pt x="0" y="287816"/>
                </a:lnTo>
                <a:lnTo>
                  <a:pt x="140995" y="145656"/>
                </a:lnTo>
                <a:lnTo>
                  <a:pt x="0" y="0"/>
                </a:lnTo>
                <a:lnTo>
                  <a:pt x="123516" y="0"/>
                </a:lnTo>
                <a:lnTo>
                  <a:pt x="264511" y="140995"/>
                </a:lnTo>
                <a:close/>
              </a:path>
            </a:pathLst>
          </a:custGeom>
          <a:solidFill>
            <a:srgbClr val="2657A2"/>
          </a:solidFill>
          <a:ln w="11643" cap="flat">
            <a:noFill/>
            <a:prstDash val="solid"/>
            <a:miter/>
          </a:ln>
        </p:spPr>
        <p:txBody>
          <a:bodyPr rtlCol="0" anchor="ctr"/>
          <a:lstStyle/>
          <a:p>
            <a:endParaRPr lang="de-DE"/>
          </a:p>
        </p:txBody>
      </p:sp>
      <p:sp>
        <p:nvSpPr>
          <p:cNvPr id="45" name="Freihandform: Form 44">
            <a:extLst>
              <a:ext uri="{FF2B5EF4-FFF2-40B4-BE49-F238E27FC236}">
                <a16:creationId xmlns:a16="http://schemas.microsoft.com/office/drawing/2014/main" id="{C8C69474-2E2B-4F56-A063-6C4788169936}"/>
              </a:ext>
            </a:extLst>
          </p:cNvPr>
          <p:cNvSpPr/>
          <p:nvPr userDrawn="1"/>
        </p:nvSpPr>
        <p:spPr>
          <a:xfrm>
            <a:off x="10108537" y="3740960"/>
            <a:ext cx="264511" cy="286651"/>
          </a:xfrm>
          <a:custGeom>
            <a:avLst/>
            <a:gdLst>
              <a:gd name="connsiteX0" fmla="*/ 121186 w 264511"/>
              <a:gd name="connsiteY0" fmla="*/ 286651 h 286651"/>
              <a:gd name="connsiteX1" fmla="*/ 0 w 264511"/>
              <a:gd name="connsiteY1" fmla="*/ 286651 h 286651"/>
              <a:gd name="connsiteX2" fmla="*/ 140995 w 264511"/>
              <a:gd name="connsiteY2" fmla="*/ 144491 h 286651"/>
              <a:gd name="connsiteX3" fmla="*/ 0 w 264511"/>
              <a:gd name="connsiteY3" fmla="*/ 0 h 286651"/>
              <a:gd name="connsiteX4" fmla="*/ 123516 w 264511"/>
              <a:gd name="connsiteY4" fmla="*/ 0 h 286651"/>
              <a:gd name="connsiteX5" fmla="*/ 264511 w 264511"/>
              <a:gd name="connsiteY5" fmla="*/ 140995 h 286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1">
                <a:moveTo>
                  <a:pt x="121186" y="286651"/>
                </a:moveTo>
                <a:lnTo>
                  <a:pt x="0" y="286651"/>
                </a:lnTo>
                <a:lnTo>
                  <a:pt x="140995" y="144491"/>
                </a:lnTo>
                <a:lnTo>
                  <a:pt x="0" y="0"/>
                </a:lnTo>
                <a:lnTo>
                  <a:pt x="123516" y="0"/>
                </a:lnTo>
                <a:lnTo>
                  <a:pt x="264511" y="140995"/>
                </a:lnTo>
                <a:close/>
              </a:path>
            </a:pathLst>
          </a:custGeom>
          <a:solidFill>
            <a:srgbClr val="2657A2"/>
          </a:solidFill>
          <a:ln w="11643" cap="flat">
            <a:noFill/>
            <a:prstDash val="solid"/>
            <a:miter/>
          </a:ln>
        </p:spPr>
        <p:txBody>
          <a:bodyPr rtlCol="0" anchor="ctr"/>
          <a:lstStyle/>
          <a:p>
            <a:endParaRPr lang="de-DE"/>
          </a:p>
        </p:txBody>
      </p:sp>
      <p:sp>
        <p:nvSpPr>
          <p:cNvPr id="46" name="Freihandform: Form 45">
            <a:extLst>
              <a:ext uri="{FF2B5EF4-FFF2-40B4-BE49-F238E27FC236}">
                <a16:creationId xmlns:a16="http://schemas.microsoft.com/office/drawing/2014/main" id="{6A15B5C5-8142-42EE-A485-A8B5988EDC27}"/>
              </a:ext>
            </a:extLst>
          </p:cNvPr>
          <p:cNvSpPr/>
          <p:nvPr userDrawn="1"/>
        </p:nvSpPr>
        <p:spPr>
          <a:xfrm>
            <a:off x="10108537" y="4095195"/>
            <a:ext cx="264511" cy="287816"/>
          </a:xfrm>
          <a:custGeom>
            <a:avLst/>
            <a:gdLst>
              <a:gd name="connsiteX0" fmla="*/ 121186 w 264511"/>
              <a:gd name="connsiteY0" fmla="*/ 287816 h 287816"/>
              <a:gd name="connsiteX1" fmla="*/ 0 w 264511"/>
              <a:gd name="connsiteY1" fmla="*/ 287816 h 287816"/>
              <a:gd name="connsiteX2" fmla="*/ 140995 w 264511"/>
              <a:gd name="connsiteY2" fmla="*/ 145656 h 287816"/>
              <a:gd name="connsiteX3" fmla="*/ 0 w 264511"/>
              <a:gd name="connsiteY3" fmla="*/ 0 h 287816"/>
              <a:gd name="connsiteX4" fmla="*/ 123516 w 264511"/>
              <a:gd name="connsiteY4" fmla="*/ 0 h 287816"/>
              <a:gd name="connsiteX5" fmla="*/ 264511 w 264511"/>
              <a:gd name="connsiteY5" fmla="*/ 140995 h 287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7816">
                <a:moveTo>
                  <a:pt x="121186" y="287816"/>
                </a:moveTo>
                <a:lnTo>
                  <a:pt x="0" y="287816"/>
                </a:lnTo>
                <a:lnTo>
                  <a:pt x="140995" y="145656"/>
                </a:lnTo>
                <a:lnTo>
                  <a:pt x="0" y="0"/>
                </a:lnTo>
                <a:lnTo>
                  <a:pt x="123516" y="0"/>
                </a:lnTo>
                <a:lnTo>
                  <a:pt x="264511" y="140995"/>
                </a:lnTo>
                <a:close/>
              </a:path>
            </a:pathLst>
          </a:custGeom>
          <a:solidFill>
            <a:srgbClr val="2657A2"/>
          </a:solidFill>
          <a:ln w="11643" cap="flat">
            <a:noFill/>
            <a:prstDash val="solid"/>
            <a:miter/>
          </a:ln>
        </p:spPr>
        <p:txBody>
          <a:bodyPr rtlCol="0" anchor="ctr"/>
          <a:lstStyle/>
          <a:p>
            <a:endParaRPr lang="de-DE"/>
          </a:p>
        </p:txBody>
      </p:sp>
      <p:sp>
        <p:nvSpPr>
          <p:cNvPr id="47" name="Freihandform: Form 46">
            <a:extLst>
              <a:ext uri="{FF2B5EF4-FFF2-40B4-BE49-F238E27FC236}">
                <a16:creationId xmlns:a16="http://schemas.microsoft.com/office/drawing/2014/main" id="{1727EBFF-C2D7-40A8-A58B-2B7D71122DA5}"/>
              </a:ext>
            </a:extLst>
          </p:cNvPr>
          <p:cNvSpPr/>
          <p:nvPr userDrawn="1"/>
        </p:nvSpPr>
        <p:spPr>
          <a:xfrm>
            <a:off x="10108537" y="4450596"/>
            <a:ext cx="264511" cy="286651"/>
          </a:xfrm>
          <a:custGeom>
            <a:avLst/>
            <a:gdLst>
              <a:gd name="connsiteX0" fmla="*/ 121186 w 264511"/>
              <a:gd name="connsiteY0" fmla="*/ 286651 h 286651"/>
              <a:gd name="connsiteX1" fmla="*/ 0 w 264511"/>
              <a:gd name="connsiteY1" fmla="*/ 286651 h 286651"/>
              <a:gd name="connsiteX2" fmla="*/ 140995 w 264511"/>
              <a:gd name="connsiteY2" fmla="*/ 144491 h 286651"/>
              <a:gd name="connsiteX3" fmla="*/ 0 w 264511"/>
              <a:gd name="connsiteY3" fmla="*/ 0 h 286651"/>
              <a:gd name="connsiteX4" fmla="*/ 123516 w 264511"/>
              <a:gd name="connsiteY4" fmla="*/ 0 h 286651"/>
              <a:gd name="connsiteX5" fmla="*/ 264511 w 264511"/>
              <a:gd name="connsiteY5" fmla="*/ 140995 h 286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1">
                <a:moveTo>
                  <a:pt x="121186" y="286651"/>
                </a:moveTo>
                <a:lnTo>
                  <a:pt x="0" y="286651"/>
                </a:lnTo>
                <a:lnTo>
                  <a:pt x="140995" y="144491"/>
                </a:lnTo>
                <a:lnTo>
                  <a:pt x="0" y="0"/>
                </a:lnTo>
                <a:lnTo>
                  <a:pt x="123516" y="0"/>
                </a:lnTo>
                <a:lnTo>
                  <a:pt x="264511" y="140995"/>
                </a:lnTo>
                <a:close/>
              </a:path>
            </a:pathLst>
          </a:custGeom>
          <a:solidFill>
            <a:srgbClr val="2657A2"/>
          </a:solidFill>
          <a:ln w="11643" cap="flat">
            <a:noFill/>
            <a:prstDash val="solid"/>
            <a:miter/>
          </a:ln>
        </p:spPr>
        <p:txBody>
          <a:bodyPr rtlCol="0" anchor="ctr"/>
          <a:lstStyle/>
          <a:p>
            <a:endParaRPr lang="de-DE"/>
          </a:p>
        </p:txBody>
      </p:sp>
      <p:sp>
        <p:nvSpPr>
          <p:cNvPr id="48" name="Freihandform: Form 47">
            <a:extLst>
              <a:ext uri="{FF2B5EF4-FFF2-40B4-BE49-F238E27FC236}">
                <a16:creationId xmlns:a16="http://schemas.microsoft.com/office/drawing/2014/main" id="{A91B802F-74C6-4FE5-ADA0-9CA6A6A9580C}"/>
              </a:ext>
            </a:extLst>
          </p:cNvPr>
          <p:cNvSpPr/>
          <p:nvPr userDrawn="1"/>
        </p:nvSpPr>
        <p:spPr>
          <a:xfrm>
            <a:off x="10108537" y="4805997"/>
            <a:ext cx="264511" cy="286651"/>
          </a:xfrm>
          <a:custGeom>
            <a:avLst/>
            <a:gdLst>
              <a:gd name="connsiteX0" fmla="*/ 121186 w 264511"/>
              <a:gd name="connsiteY0" fmla="*/ 286651 h 286651"/>
              <a:gd name="connsiteX1" fmla="*/ 0 w 264511"/>
              <a:gd name="connsiteY1" fmla="*/ 286651 h 286651"/>
              <a:gd name="connsiteX2" fmla="*/ 140995 w 264511"/>
              <a:gd name="connsiteY2" fmla="*/ 144491 h 286651"/>
              <a:gd name="connsiteX3" fmla="*/ 0 w 264511"/>
              <a:gd name="connsiteY3" fmla="*/ 0 h 286651"/>
              <a:gd name="connsiteX4" fmla="*/ 123516 w 264511"/>
              <a:gd name="connsiteY4" fmla="*/ 0 h 286651"/>
              <a:gd name="connsiteX5" fmla="*/ 264511 w 264511"/>
              <a:gd name="connsiteY5" fmla="*/ 139830 h 286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1">
                <a:moveTo>
                  <a:pt x="121186" y="286651"/>
                </a:moveTo>
                <a:lnTo>
                  <a:pt x="0" y="286651"/>
                </a:lnTo>
                <a:lnTo>
                  <a:pt x="140995" y="144491"/>
                </a:lnTo>
                <a:lnTo>
                  <a:pt x="0" y="0"/>
                </a:lnTo>
                <a:lnTo>
                  <a:pt x="123516" y="0"/>
                </a:lnTo>
                <a:lnTo>
                  <a:pt x="264511" y="139830"/>
                </a:lnTo>
                <a:close/>
              </a:path>
            </a:pathLst>
          </a:custGeom>
          <a:solidFill>
            <a:srgbClr val="2657A2"/>
          </a:solidFill>
          <a:ln w="11643" cap="flat">
            <a:noFill/>
            <a:prstDash val="solid"/>
            <a:miter/>
          </a:ln>
        </p:spPr>
        <p:txBody>
          <a:bodyPr rtlCol="0" anchor="ctr"/>
          <a:lstStyle/>
          <a:p>
            <a:endParaRPr lang="de-DE"/>
          </a:p>
        </p:txBody>
      </p:sp>
      <p:sp>
        <p:nvSpPr>
          <p:cNvPr id="49" name="Freihandform: Form 48">
            <a:extLst>
              <a:ext uri="{FF2B5EF4-FFF2-40B4-BE49-F238E27FC236}">
                <a16:creationId xmlns:a16="http://schemas.microsoft.com/office/drawing/2014/main" id="{6CF92DD3-54A0-4F52-BE35-389040C64EA5}"/>
              </a:ext>
            </a:extLst>
          </p:cNvPr>
          <p:cNvSpPr/>
          <p:nvPr userDrawn="1"/>
        </p:nvSpPr>
        <p:spPr>
          <a:xfrm>
            <a:off x="10108537" y="5160232"/>
            <a:ext cx="264511" cy="286651"/>
          </a:xfrm>
          <a:custGeom>
            <a:avLst/>
            <a:gdLst>
              <a:gd name="connsiteX0" fmla="*/ 121186 w 264511"/>
              <a:gd name="connsiteY0" fmla="*/ 286651 h 286651"/>
              <a:gd name="connsiteX1" fmla="*/ 0 w 264511"/>
              <a:gd name="connsiteY1" fmla="*/ 286651 h 286651"/>
              <a:gd name="connsiteX2" fmla="*/ 140995 w 264511"/>
              <a:gd name="connsiteY2" fmla="*/ 144491 h 286651"/>
              <a:gd name="connsiteX3" fmla="*/ 0 w 264511"/>
              <a:gd name="connsiteY3" fmla="*/ 0 h 286651"/>
              <a:gd name="connsiteX4" fmla="*/ 123516 w 264511"/>
              <a:gd name="connsiteY4" fmla="*/ 0 h 286651"/>
              <a:gd name="connsiteX5" fmla="*/ 264511 w 264511"/>
              <a:gd name="connsiteY5" fmla="*/ 140995 h 286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1">
                <a:moveTo>
                  <a:pt x="121186" y="286651"/>
                </a:moveTo>
                <a:lnTo>
                  <a:pt x="0" y="286651"/>
                </a:lnTo>
                <a:lnTo>
                  <a:pt x="140995" y="144491"/>
                </a:lnTo>
                <a:lnTo>
                  <a:pt x="0" y="0"/>
                </a:lnTo>
                <a:lnTo>
                  <a:pt x="123516" y="0"/>
                </a:lnTo>
                <a:lnTo>
                  <a:pt x="264511" y="140995"/>
                </a:lnTo>
                <a:close/>
              </a:path>
            </a:pathLst>
          </a:custGeom>
          <a:solidFill>
            <a:srgbClr val="2657A2"/>
          </a:solidFill>
          <a:ln w="11643" cap="flat">
            <a:noFill/>
            <a:prstDash val="solid"/>
            <a:miter/>
          </a:ln>
        </p:spPr>
        <p:txBody>
          <a:bodyPr rtlCol="0" anchor="ctr"/>
          <a:lstStyle/>
          <a:p>
            <a:endParaRPr lang="de-DE"/>
          </a:p>
        </p:txBody>
      </p:sp>
      <p:sp>
        <p:nvSpPr>
          <p:cNvPr id="50" name="Freihandform: Form 49">
            <a:extLst>
              <a:ext uri="{FF2B5EF4-FFF2-40B4-BE49-F238E27FC236}">
                <a16:creationId xmlns:a16="http://schemas.microsoft.com/office/drawing/2014/main" id="{2555E8DF-390D-4B36-A4CD-A2F037D187F8}"/>
              </a:ext>
            </a:extLst>
          </p:cNvPr>
          <p:cNvSpPr/>
          <p:nvPr userDrawn="1"/>
        </p:nvSpPr>
        <p:spPr>
          <a:xfrm>
            <a:off x="10108537" y="5515633"/>
            <a:ext cx="264511" cy="286651"/>
          </a:xfrm>
          <a:custGeom>
            <a:avLst/>
            <a:gdLst>
              <a:gd name="connsiteX0" fmla="*/ 121186 w 264511"/>
              <a:gd name="connsiteY0" fmla="*/ 286651 h 286651"/>
              <a:gd name="connsiteX1" fmla="*/ 0 w 264511"/>
              <a:gd name="connsiteY1" fmla="*/ 286651 h 286651"/>
              <a:gd name="connsiteX2" fmla="*/ 140995 w 264511"/>
              <a:gd name="connsiteY2" fmla="*/ 144491 h 286651"/>
              <a:gd name="connsiteX3" fmla="*/ 0 w 264511"/>
              <a:gd name="connsiteY3" fmla="*/ 0 h 286651"/>
              <a:gd name="connsiteX4" fmla="*/ 123516 w 264511"/>
              <a:gd name="connsiteY4" fmla="*/ 0 h 286651"/>
              <a:gd name="connsiteX5" fmla="*/ 264511 w 264511"/>
              <a:gd name="connsiteY5" fmla="*/ 140995 h 286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1">
                <a:moveTo>
                  <a:pt x="121186" y="286651"/>
                </a:moveTo>
                <a:lnTo>
                  <a:pt x="0" y="286651"/>
                </a:lnTo>
                <a:lnTo>
                  <a:pt x="140995" y="144491"/>
                </a:lnTo>
                <a:lnTo>
                  <a:pt x="0" y="0"/>
                </a:lnTo>
                <a:lnTo>
                  <a:pt x="123516" y="0"/>
                </a:lnTo>
                <a:lnTo>
                  <a:pt x="264511" y="140995"/>
                </a:lnTo>
                <a:close/>
              </a:path>
            </a:pathLst>
          </a:custGeom>
          <a:solidFill>
            <a:srgbClr val="2657A2"/>
          </a:solidFill>
          <a:ln w="11643" cap="flat">
            <a:noFill/>
            <a:prstDash val="solid"/>
            <a:miter/>
          </a:ln>
        </p:spPr>
        <p:txBody>
          <a:bodyPr rtlCol="0" anchor="ctr"/>
          <a:lstStyle/>
          <a:p>
            <a:endParaRPr lang="de-DE"/>
          </a:p>
        </p:txBody>
      </p:sp>
      <p:sp>
        <p:nvSpPr>
          <p:cNvPr id="51" name="Freihandform: Form 50">
            <a:extLst>
              <a:ext uri="{FF2B5EF4-FFF2-40B4-BE49-F238E27FC236}">
                <a16:creationId xmlns:a16="http://schemas.microsoft.com/office/drawing/2014/main" id="{D4FA121B-C71F-46CC-8F69-5BFFC12CB97F}"/>
              </a:ext>
            </a:extLst>
          </p:cNvPr>
          <p:cNvSpPr/>
          <p:nvPr userDrawn="1"/>
        </p:nvSpPr>
        <p:spPr>
          <a:xfrm>
            <a:off x="10108537" y="5869868"/>
            <a:ext cx="264511" cy="286650"/>
          </a:xfrm>
          <a:custGeom>
            <a:avLst/>
            <a:gdLst>
              <a:gd name="connsiteX0" fmla="*/ 121186 w 264511"/>
              <a:gd name="connsiteY0" fmla="*/ 286651 h 286650"/>
              <a:gd name="connsiteX1" fmla="*/ 0 w 264511"/>
              <a:gd name="connsiteY1" fmla="*/ 286651 h 286650"/>
              <a:gd name="connsiteX2" fmla="*/ 140995 w 264511"/>
              <a:gd name="connsiteY2" fmla="*/ 144491 h 286650"/>
              <a:gd name="connsiteX3" fmla="*/ 0 w 264511"/>
              <a:gd name="connsiteY3" fmla="*/ 0 h 286650"/>
              <a:gd name="connsiteX4" fmla="*/ 123516 w 264511"/>
              <a:gd name="connsiteY4" fmla="*/ 0 h 286650"/>
              <a:gd name="connsiteX5" fmla="*/ 264511 w 264511"/>
              <a:gd name="connsiteY5" fmla="*/ 140995 h 28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0">
                <a:moveTo>
                  <a:pt x="121186" y="286651"/>
                </a:moveTo>
                <a:lnTo>
                  <a:pt x="0" y="286651"/>
                </a:lnTo>
                <a:lnTo>
                  <a:pt x="140995" y="144491"/>
                </a:lnTo>
                <a:lnTo>
                  <a:pt x="0" y="0"/>
                </a:lnTo>
                <a:lnTo>
                  <a:pt x="123516" y="0"/>
                </a:lnTo>
                <a:lnTo>
                  <a:pt x="264511" y="140995"/>
                </a:lnTo>
                <a:close/>
              </a:path>
            </a:pathLst>
          </a:custGeom>
          <a:solidFill>
            <a:srgbClr val="2657A2"/>
          </a:solidFill>
          <a:ln w="11643" cap="flat">
            <a:noFill/>
            <a:prstDash val="solid"/>
            <a:miter/>
          </a:ln>
        </p:spPr>
        <p:txBody>
          <a:bodyPr rtlCol="0" anchor="ctr"/>
          <a:lstStyle/>
          <a:p>
            <a:endParaRPr lang="de-DE"/>
          </a:p>
        </p:txBody>
      </p:sp>
      <p:sp>
        <p:nvSpPr>
          <p:cNvPr id="52" name="Freihandform: Form 51">
            <a:extLst>
              <a:ext uri="{FF2B5EF4-FFF2-40B4-BE49-F238E27FC236}">
                <a16:creationId xmlns:a16="http://schemas.microsoft.com/office/drawing/2014/main" id="{B0FE5107-E518-48A3-83DE-B670A31CC989}"/>
              </a:ext>
            </a:extLst>
          </p:cNvPr>
          <p:cNvSpPr/>
          <p:nvPr userDrawn="1"/>
        </p:nvSpPr>
        <p:spPr>
          <a:xfrm>
            <a:off x="10108537" y="6225269"/>
            <a:ext cx="264511" cy="286650"/>
          </a:xfrm>
          <a:custGeom>
            <a:avLst/>
            <a:gdLst>
              <a:gd name="connsiteX0" fmla="*/ 121186 w 264511"/>
              <a:gd name="connsiteY0" fmla="*/ 286651 h 286650"/>
              <a:gd name="connsiteX1" fmla="*/ 0 w 264511"/>
              <a:gd name="connsiteY1" fmla="*/ 286651 h 286650"/>
              <a:gd name="connsiteX2" fmla="*/ 140995 w 264511"/>
              <a:gd name="connsiteY2" fmla="*/ 144491 h 286650"/>
              <a:gd name="connsiteX3" fmla="*/ 0 w 264511"/>
              <a:gd name="connsiteY3" fmla="*/ 0 h 286650"/>
              <a:gd name="connsiteX4" fmla="*/ 123516 w 264511"/>
              <a:gd name="connsiteY4" fmla="*/ 0 h 286650"/>
              <a:gd name="connsiteX5" fmla="*/ 264511 w 264511"/>
              <a:gd name="connsiteY5" fmla="*/ 140995 h 28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0">
                <a:moveTo>
                  <a:pt x="121186" y="286651"/>
                </a:moveTo>
                <a:lnTo>
                  <a:pt x="0" y="286651"/>
                </a:lnTo>
                <a:lnTo>
                  <a:pt x="140995" y="144491"/>
                </a:lnTo>
                <a:lnTo>
                  <a:pt x="0" y="0"/>
                </a:lnTo>
                <a:lnTo>
                  <a:pt x="123516" y="0"/>
                </a:lnTo>
                <a:lnTo>
                  <a:pt x="264511" y="140995"/>
                </a:lnTo>
                <a:close/>
              </a:path>
            </a:pathLst>
          </a:custGeom>
          <a:solidFill>
            <a:srgbClr val="2657A2"/>
          </a:solidFill>
          <a:ln w="11643" cap="flat">
            <a:noFill/>
            <a:prstDash val="solid"/>
            <a:miter/>
          </a:ln>
        </p:spPr>
        <p:txBody>
          <a:bodyPr rtlCol="0" anchor="ctr"/>
          <a:lstStyle/>
          <a:p>
            <a:endParaRPr lang="de-DE"/>
          </a:p>
        </p:txBody>
      </p:sp>
      <p:sp>
        <p:nvSpPr>
          <p:cNvPr id="53" name="Freihandform: Form 52">
            <a:extLst>
              <a:ext uri="{FF2B5EF4-FFF2-40B4-BE49-F238E27FC236}">
                <a16:creationId xmlns:a16="http://schemas.microsoft.com/office/drawing/2014/main" id="{7A366DEC-81B5-44A9-B5CF-6383C28D2A42}"/>
              </a:ext>
            </a:extLst>
          </p:cNvPr>
          <p:cNvSpPr/>
          <p:nvPr userDrawn="1"/>
        </p:nvSpPr>
        <p:spPr>
          <a:xfrm>
            <a:off x="4909201" y="2101456"/>
            <a:ext cx="16313" cy="17478"/>
          </a:xfrm>
          <a:custGeom>
            <a:avLst/>
            <a:gdLst>
              <a:gd name="connsiteX0" fmla="*/ 8157 w 16313"/>
              <a:gd name="connsiteY0" fmla="*/ 17479 h 17478"/>
              <a:gd name="connsiteX1" fmla="*/ 0 w 16313"/>
              <a:gd name="connsiteY1" fmla="*/ 17479 h 17478"/>
              <a:gd name="connsiteX2" fmla="*/ 9322 w 16313"/>
              <a:gd name="connsiteY2" fmla="*/ 8157 h 17478"/>
              <a:gd name="connsiteX3" fmla="*/ 0 w 16313"/>
              <a:gd name="connsiteY3" fmla="*/ 0 h 17478"/>
              <a:gd name="connsiteX4" fmla="*/ 8157 w 16313"/>
              <a:gd name="connsiteY4" fmla="*/ 0 h 17478"/>
              <a:gd name="connsiteX5" fmla="*/ 16313 w 16313"/>
              <a:gd name="connsiteY5" fmla="*/ 8157 h 17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13" h="17478">
                <a:moveTo>
                  <a:pt x="8157" y="17479"/>
                </a:moveTo>
                <a:lnTo>
                  <a:pt x="0" y="17479"/>
                </a:lnTo>
                <a:lnTo>
                  <a:pt x="9322" y="8157"/>
                </a:lnTo>
                <a:lnTo>
                  <a:pt x="0" y="0"/>
                </a:lnTo>
                <a:lnTo>
                  <a:pt x="8157" y="0"/>
                </a:lnTo>
                <a:lnTo>
                  <a:pt x="16313" y="8157"/>
                </a:lnTo>
                <a:close/>
              </a:path>
            </a:pathLst>
          </a:custGeom>
          <a:solidFill>
            <a:srgbClr val="2657A2"/>
          </a:solidFill>
          <a:ln w="11643" cap="flat">
            <a:noFill/>
            <a:prstDash val="solid"/>
            <a:miter/>
          </a:ln>
        </p:spPr>
        <p:txBody>
          <a:bodyPr rtlCol="0" anchor="ctr"/>
          <a:lstStyle/>
          <a:p>
            <a:endParaRPr lang="de-DE"/>
          </a:p>
        </p:txBody>
      </p:sp>
      <p:sp>
        <p:nvSpPr>
          <p:cNvPr id="54" name="Freihandform: Form 53">
            <a:extLst>
              <a:ext uri="{FF2B5EF4-FFF2-40B4-BE49-F238E27FC236}">
                <a16:creationId xmlns:a16="http://schemas.microsoft.com/office/drawing/2014/main" id="{0DDF4593-D746-4C36-B630-B6EAA339AF15}"/>
              </a:ext>
            </a:extLst>
          </p:cNvPr>
          <p:cNvSpPr/>
          <p:nvPr userDrawn="1"/>
        </p:nvSpPr>
        <p:spPr>
          <a:xfrm>
            <a:off x="4909201" y="2455692"/>
            <a:ext cx="16313" cy="18643"/>
          </a:xfrm>
          <a:custGeom>
            <a:avLst/>
            <a:gdLst>
              <a:gd name="connsiteX0" fmla="*/ 8157 w 16313"/>
              <a:gd name="connsiteY0" fmla="*/ 18644 h 18643"/>
              <a:gd name="connsiteX1" fmla="*/ 0 w 16313"/>
              <a:gd name="connsiteY1" fmla="*/ 18644 h 18643"/>
              <a:gd name="connsiteX2" fmla="*/ 9322 w 16313"/>
              <a:gd name="connsiteY2" fmla="*/ 9322 h 18643"/>
              <a:gd name="connsiteX3" fmla="*/ 0 w 16313"/>
              <a:gd name="connsiteY3" fmla="*/ 0 h 18643"/>
              <a:gd name="connsiteX4" fmla="*/ 8157 w 16313"/>
              <a:gd name="connsiteY4" fmla="*/ 0 h 18643"/>
              <a:gd name="connsiteX5" fmla="*/ 16313 w 16313"/>
              <a:gd name="connsiteY5" fmla="*/ 9322 h 18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13" h="18643">
                <a:moveTo>
                  <a:pt x="8157" y="18644"/>
                </a:moveTo>
                <a:lnTo>
                  <a:pt x="0" y="18644"/>
                </a:lnTo>
                <a:lnTo>
                  <a:pt x="9322" y="9322"/>
                </a:lnTo>
                <a:lnTo>
                  <a:pt x="0" y="0"/>
                </a:lnTo>
                <a:lnTo>
                  <a:pt x="8157" y="0"/>
                </a:lnTo>
                <a:lnTo>
                  <a:pt x="16313" y="9322"/>
                </a:lnTo>
                <a:close/>
              </a:path>
            </a:pathLst>
          </a:custGeom>
          <a:solidFill>
            <a:srgbClr val="2657A2"/>
          </a:solidFill>
          <a:ln w="11643" cap="flat">
            <a:noFill/>
            <a:prstDash val="solid"/>
            <a:miter/>
          </a:ln>
        </p:spPr>
        <p:txBody>
          <a:bodyPr rtlCol="0" anchor="ctr"/>
          <a:lstStyle/>
          <a:p>
            <a:endParaRPr lang="de-DE"/>
          </a:p>
        </p:txBody>
      </p:sp>
      <p:sp>
        <p:nvSpPr>
          <p:cNvPr id="55" name="Freihandform: Form 54">
            <a:extLst>
              <a:ext uri="{FF2B5EF4-FFF2-40B4-BE49-F238E27FC236}">
                <a16:creationId xmlns:a16="http://schemas.microsoft.com/office/drawing/2014/main" id="{D013ACD7-DBF1-4C9A-B114-7ABEE53868EE}"/>
              </a:ext>
            </a:extLst>
          </p:cNvPr>
          <p:cNvSpPr/>
          <p:nvPr userDrawn="1"/>
        </p:nvSpPr>
        <p:spPr>
          <a:xfrm>
            <a:off x="4909201" y="2811092"/>
            <a:ext cx="16313" cy="17478"/>
          </a:xfrm>
          <a:custGeom>
            <a:avLst/>
            <a:gdLst>
              <a:gd name="connsiteX0" fmla="*/ 8157 w 16313"/>
              <a:gd name="connsiteY0" fmla="*/ 17479 h 17478"/>
              <a:gd name="connsiteX1" fmla="*/ 0 w 16313"/>
              <a:gd name="connsiteY1" fmla="*/ 17479 h 17478"/>
              <a:gd name="connsiteX2" fmla="*/ 9322 w 16313"/>
              <a:gd name="connsiteY2" fmla="*/ 8157 h 17478"/>
              <a:gd name="connsiteX3" fmla="*/ 0 w 16313"/>
              <a:gd name="connsiteY3" fmla="*/ 0 h 17478"/>
              <a:gd name="connsiteX4" fmla="*/ 8157 w 16313"/>
              <a:gd name="connsiteY4" fmla="*/ 0 h 17478"/>
              <a:gd name="connsiteX5" fmla="*/ 16313 w 16313"/>
              <a:gd name="connsiteY5" fmla="*/ 8157 h 17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13" h="17478">
                <a:moveTo>
                  <a:pt x="8157" y="17479"/>
                </a:moveTo>
                <a:lnTo>
                  <a:pt x="0" y="17479"/>
                </a:lnTo>
                <a:lnTo>
                  <a:pt x="9322" y="8157"/>
                </a:lnTo>
                <a:lnTo>
                  <a:pt x="0" y="0"/>
                </a:lnTo>
                <a:lnTo>
                  <a:pt x="8157" y="0"/>
                </a:lnTo>
                <a:lnTo>
                  <a:pt x="16313" y="8157"/>
                </a:lnTo>
                <a:close/>
              </a:path>
            </a:pathLst>
          </a:custGeom>
          <a:solidFill>
            <a:srgbClr val="2657A2"/>
          </a:solidFill>
          <a:ln w="11643" cap="flat">
            <a:noFill/>
            <a:prstDash val="solid"/>
            <a:miter/>
          </a:ln>
        </p:spPr>
        <p:txBody>
          <a:bodyPr rtlCol="0" anchor="ctr"/>
          <a:lstStyle/>
          <a:p>
            <a:endParaRPr lang="de-DE"/>
          </a:p>
        </p:txBody>
      </p:sp>
      <p:sp>
        <p:nvSpPr>
          <p:cNvPr id="56" name="Freihandform: Form 55">
            <a:extLst>
              <a:ext uri="{FF2B5EF4-FFF2-40B4-BE49-F238E27FC236}">
                <a16:creationId xmlns:a16="http://schemas.microsoft.com/office/drawing/2014/main" id="{85132110-5BD5-46A5-8DE6-E70F699D0034}"/>
              </a:ext>
            </a:extLst>
          </p:cNvPr>
          <p:cNvSpPr/>
          <p:nvPr userDrawn="1"/>
        </p:nvSpPr>
        <p:spPr>
          <a:xfrm>
            <a:off x="4909201" y="6359273"/>
            <a:ext cx="16313" cy="18643"/>
          </a:xfrm>
          <a:custGeom>
            <a:avLst/>
            <a:gdLst>
              <a:gd name="connsiteX0" fmla="*/ 8157 w 16313"/>
              <a:gd name="connsiteY0" fmla="*/ 18644 h 18643"/>
              <a:gd name="connsiteX1" fmla="*/ 0 w 16313"/>
              <a:gd name="connsiteY1" fmla="*/ 18644 h 18643"/>
              <a:gd name="connsiteX2" fmla="*/ 9322 w 16313"/>
              <a:gd name="connsiteY2" fmla="*/ 9322 h 18643"/>
              <a:gd name="connsiteX3" fmla="*/ 0 w 16313"/>
              <a:gd name="connsiteY3" fmla="*/ 0 h 18643"/>
              <a:gd name="connsiteX4" fmla="*/ 8157 w 16313"/>
              <a:gd name="connsiteY4" fmla="*/ 0 h 18643"/>
              <a:gd name="connsiteX5" fmla="*/ 16313 w 16313"/>
              <a:gd name="connsiteY5" fmla="*/ 9322 h 18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13" h="18643">
                <a:moveTo>
                  <a:pt x="8157" y="18644"/>
                </a:moveTo>
                <a:lnTo>
                  <a:pt x="0" y="18644"/>
                </a:lnTo>
                <a:lnTo>
                  <a:pt x="9322" y="9322"/>
                </a:lnTo>
                <a:lnTo>
                  <a:pt x="0" y="0"/>
                </a:lnTo>
                <a:lnTo>
                  <a:pt x="8157" y="0"/>
                </a:lnTo>
                <a:lnTo>
                  <a:pt x="16313" y="9322"/>
                </a:lnTo>
                <a:close/>
              </a:path>
            </a:pathLst>
          </a:custGeom>
          <a:solidFill>
            <a:srgbClr val="2657A2"/>
          </a:solidFill>
          <a:ln w="11643" cap="flat">
            <a:noFill/>
            <a:prstDash val="solid"/>
            <a:miter/>
          </a:ln>
        </p:spPr>
        <p:txBody>
          <a:bodyPr rtlCol="0" anchor="ctr"/>
          <a:lstStyle/>
          <a:p>
            <a:endParaRPr lang="de-DE"/>
          </a:p>
        </p:txBody>
      </p:sp>
      <p:sp>
        <p:nvSpPr>
          <p:cNvPr id="57" name="Freihandform: Form 56">
            <a:extLst>
              <a:ext uri="{FF2B5EF4-FFF2-40B4-BE49-F238E27FC236}">
                <a16:creationId xmlns:a16="http://schemas.microsoft.com/office/drawing/2014/main" id="{CC6A1E08-2252-4D8C-A2EA-0991A4B18952}"/>
              </a:ext>
            </a:extLst>
          </p:cNvPr>
          <p:cNvSpPr/>
          <p:nvPr userDrawn="1"/>
        </p:nvSpPr>
        <p:spPr>
          <a:xfrm>
            <a:off x="4909201" y="6714673"/>
            <a:ext cx="16313" cy="17478"/>
          </a:xfrm>
          <a:custGeom>
            <a:avLst/>
            <a:gdLst>
              <a:gd name="connsiteX0" fmla="*/ 8157 w 16313"/>
              <a:gd name="connsiteY0" fmla="*/ 17479 h 17478"/>
              <a:gd name="connsiteX1" fmla="*/ 0 w 16313"/>
              <a:gd name="connsiteY1" fmla="*/ 17479 h 17478"/>
              <a:gd name="connsiteX2" fmla="*/ 9322 w 16313"/>
              <a:gd name="connsiteY2" fmla="*/ 8157 h 17478"/>
              <a:gd name="connsiteX3" fmla="*/ 0 w 16313"/>
              <a:gd name="connsiteY3" fmla="*/ 0 h 17478"/>
              <a:gd name="connsiteX4" fmla="*/ 8157 w 16313"/>
              <a:gd name="connsiteY4" fmla="*/ 0 h 17478"/>
              <a:gd name="connsiteX5" fmla="*/ 16313 w 16313"/>
              <a:gd name="connsiteY5" fmla="*/ 8157 h 17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13" h="17478">
                <a:moveTo>
                  <a:pt x="8157" y="17479"/>
                </a:moveTo>
                <a:lnTo>
                  <a:pt x="0" y="17479"/>
                </a:lnTo>
                <a:lnTo>
                  <a:pt x="9322" y="8157"/>
                </a:lnTo>
                <a:lnTo>
                  <a:pt x="0" y="0"/>
                </a:lnTo>
                <a:lnTo>
                  <a:pt x="8157" y="0"/>
                </a:lnTo>
                <a:lnTo>
                  <a:pt x="16313" y="8157"/>
                </a:lnTo>
                <a:close/>
              </a:path>
            </a:pathLst>
          </a:custGeom>
          <a:solidFill>
            <a:srgbClr val="2657A2"/>
          </a:solidFill>
          <a:ln w="11643" cap="flat">
            <a:noFill/>
            <a:prstDash val="solid"/>
            <a:miter/>
          </a:ln>
        </p:spPr>
        <p:txBody>
          <a:bodyPr rtlCol="0" anchor="ctr"/>
          <a:lstStyle/>
          <a:p>
            <a:endParaRPr lang="de-DE"/>
          </a:p>
        </p:txBody>
      </p:sp>
      <p:sp>
        <p:nvSpPr>
          <p:cNvPr id="58" name="Freihandform: Form 57">
            <a:extLst>
              <a:ext uri="{FF2B5EF4-FFF2-40B4-BE49-F238E27FC236}">
                <a16:creationId xmlns:a16="http://schemas.microsoft.com/office/drawing/2014/main" id="{94BACCAA-D139-4B98-995D-8186B64082DF}"/>
              </a:ext>
            </a:extLst>
          </p:cNvPr>
          <p:cNvSpPr/>
          <p:nvPr userDrawn="1"/>
        </p:nvSpPr>
        <p:spPr>
          <a:xfrm>
            <a:off x="5255279" y="2092134"/>
            <a:ext cx="33792" cy="36122"/>
          </a:xfrm>
          <a:custGeom>
            <a:avLst/>
            <a:gdLst>
              <a:gd name="connsiteX0" fmla="*/ 15148 w 33792"/>
              <a:gd name="connsiteY0" fmla="*/ 36123 h 36122"/>
              <a:gd name="connsiteX1" fmla="*/ 0 w 33792"/>
              <a:gd name="connsiteY1" fmla="*/ 36123 h 36122"/>
              <a:gd name="connsiteX2" fmla="*/ 18644 w 33792"/>
              <a:gd name="connsiteY2" fmla="*/ 17479 h 36122"/>
              <a:gd name="connsiteX3" fmla="*/ 0 w 33792"/>
              <a:gd name="connsiteY3" fmla="*/ 0 h 36122"/>
              <a:gd name="connsiteX4" fmla="*/ 16313 w 33792"/>
              <a:gd name="connsiteY4" fmla="*/ 0 h 36122"/>
              <a:gd name="connsiteX5" fmla="*/ 33792 w 33792"/>
              <a:gd name="connsiteY5" fmla="*/ 17479 h 3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92" h="36122">
                <a:moveTo>
                  <a:pt x="15148" y="36123"/>
                </a:moveTo>
                <a:lnTo>
                  <a:pt x="0" y="36123"/>
                </a:lnTo>
                <a:lnTo>
                  <a:pt x="18644" y="17479"/>
                </a:lnTo>
                <a:lnTo>
                  <a:pt x="0" y="0"/>
                </a:lnTo>
                <a:lnTo>
                  <a:pt x="16313" y="0"/>
                </a:lnTo>
                <a:lnTo>
                  <a:pt x="33792" y="17479"/>
                </a:lnTo>
                <a:close/>
              </a:path>
            </a:pathLst>
          </a:custGeom>
          <a:solidFill>
            <a:srgbClr val="2657A2"/>
          </a:solidFill>
          <a:ln w="11643" cap="flat">
            <a:noFill/>
            <a:prstDash val="solid"/>
            <a:miter/>
          </a:ln>
        </p:spPr>
        <p:txBody>
          <a:bodyPr rtlCol="0" anchor="ctr"/>
          <a:lstStyle/>
          <a:p>
            <a:endParaRPr lang="de-DE"/>
          </a:p>
        </p:txBody>
      </p:sp>
      <p:sp>
        <p:nvSpPr>
          <p:cNvPr id="59" name="Freihandform: Form 58">
            <a:extLst>
              <a:ext uri="{FF2B5EF4-FFF2-40B4-BE49-F238E27FC236}">
                <a16:creationId xmlns:a16="http://schemas.microsoft.com/office/drawing/2014/main" id="{0093645C-13D5-4F63-8A3E-38E98361FF6C}"/>
              </a:ext>
            </a:extLst>
          </p:cNvPr>
          <p:cNvSpPr/>
          <p:nvPr userDrawn="1"/>
        </p:nvSpPr>
        <p:spPr>
          <a:xfrm>
            <a:off x="5255279" y="2446370"/>
            <a:ext cx="33792" cy="36122"/>
          </a:xfrm>
          <a:custGeom>
            <a:avLst/>
            <a:gdLst>
              <a:gd name="connsiteX0" fmla="*/ 15148 w 33792"/>
              <a:gd name="connsiteY0" fmla="*/ 36123 h 36122"/>
              <a:gd name="connsiteX1" fmla="*/ 0 w 33792"/>
              <a:gd name="connsiteY1" fmla="*/ 36123 h 36122"/>
              <a:gd name="connsiteX2" fmla="*/ 18644 w 33792"/>
              <a:gd name="connsiteY2" fmla="*/ 18644 h 36122"/>
              <a:gd name="connsiteX3" fmla="*/ 0 w 33792"/>
              <a:gd name="connsiteY3" fmla="*/ 0 h 36122"/>
              <a:gd name="connsiteX4" fmla="*/ 16313 w 33792"/>
              <a:gd name="connsiteY4" fmla="*/ 0 h 36122"/>
              <a:gd name="connsiteX5" fmla="*/ 33792 w 33792"/>
              <a:gd name="connsiteY5" fmla="*/ 18644 h 3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92" h="36122">
                <a:moveTo>
                  <a:pt x="15148" y="36123"/>
                </a:moveTo>
                <a:lnTo>
                  <a:pt x="0" y="36123"/>
                </a:lnTo>
                <a:lnTo>
                  <a:pt x="18644" y="18644"/>
                </a:lnTo>
                <a:lnTo>
                  <a:pt x="0" y="0"/>
                </a:lnTo>
                <a:lnTo>
                  <a:pt x="16313" y="0"/>
                </a:lnTo>
                <a:lnTo>
                  <a:pt x="33792" y="18644"/>
                </a:lnTo>
                <a:close/>
              </a:path>
            </a:pathLst>
          </a:custGeom>
          <a:solidFill>
            <a:srgbClr val="2657A2"/>
          </a:solidFill>
          <a:ln w="11643" cap="flat">
            <a:noFill/>
            <a:prstDash val="solid"/>
            <a:miter/>
          </a:ln>
        </p:spPr>
        <p:txBody>
          <a:bodyPr rtlCol="0" anchor="ctr"/>
          <a:lstStyle/>
          <a:p>
            <a:endParaRPr lang="de-DE"/>
          </a:p>
        </p:txBody>
      </p:sp>
      <p:sp>
        <p:nvSpPr>
          <p:cNvPr id="60" name="Freihandform: Form 59">
            <a:extLst>
              <a:ext uri="{FF2B5EF4-FFF2-40B4-BE49-F238E27FC236}">
                <a16:creationId xmlns:a16="http://schemas.microsoft.com/office/drawing/2014/main" id="{00B06041-C102-4FF4-8E0B-FE020F6E04BE}"/>
              </a:ext>
            </a:extLst>
          </p:cNvPr>
          <p:cNvSpPr/>
          <p:nvPr userDrawn="1"/>
        </p:nvSpPr>
        <p:spPr>
          <a:xfrm>
            <a:off x="5255279" y="2801770"/>
            <a:ext cx="33792" cy="36122"/>
          </a:xfrm>
          <a:custGeom>
            <a:avLst/>
            <a:gdLst>
              <a:gd name="connsiteX0" fmla="*/ 15148 w 33792"/>
              <a:gd name="connsiteY0" fmla="*/ 36123 h 36122"/>
              <a:gd name="connsiteX1" fmla="*/ 0 w 33792"/>
              <a:gd name="connsiteY1" fmla="*/ 36123 h 36122"/>
              <a:gd name="connsiteX2" fmla="*/ 18644 w 33792"/>
              <a:gd name="connsiteY2" fmla="*/ 17479 h 36122"/>
              <a:gd name="connsiteX3" fmla="*/ 0 w 33792"/>
              <a:gd name="connsiteY3" fmla="*/ 0 h 36122"/>
              <a:gd name="connsiteX4" fmla="*/ 16313 w 33792"/>
              <a:gd name="connsiteY4" fmla="*/ 0 h 36122"/>
              <a:gd name="connsiteX5" fmla="*/ 33792 w 33792"/>
              <a:gd name="connsiteY5" fmla="*/ 17479 h 3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92" h="36122">
                <a:moveTo>
                  <a:pt x="15148" y="36123"/>
                </a:moveTo>
                <a:lnTo>
                  <a:pt x="0" y="36123"/>
                </a:lnTo>
                <a:lnTo>
                  <a:pt x="18644" y="17479"/>
                </a:lnTo>
                <a:lnTo>
                  <a:pt x="0" y="0"/>
                </a:lnTo>
                <a:lnTo>
                  <a:pt x="16313" y="0"/>
                </a:lnTo>
                <a:lnTo>
                  <a:pt x="33792" y="17479"/>
                </a:lnTo>
                <a:close/>
              </a:path>
            </a:pathLst>
          </a:custGeom>
          <a:solidFill>
            <a:srgbClr val="2657A2"/>
          </a:solidFill>
          <a:ln w="11643" cap="flat">
            <a:noFill/>
            <a:prstDash val="solid"/>
            <a:miter/>
          </a:ln>
        </p:spPr>
        <p:txBody>
          <a:bodyPr rtlCol="0" anchor="ctr"/>
          <a:lstStyle/>
          <a:p>
            <a:endParaRPr lang="de-DE"/>
          </a:p>
        </p:txBody>
      </p:sp>
      <p:sp>
        <p:nvSpPr>
          <p:cNvPr id="61" name="Freihandform: Form 60">
            <a:extLst>
              <a:ext uri="{FF2B5EF4-FFF2-40B4-BE49-F238E27FC236}">
                <a16:creationId xmlns:a16="http://schemas.microsoft.com/office/drawing/2014/main" id="{12C4F0CF-F0D2-4FAD-8079-4F1BCCF7EA94}"/>
              </a:ext>
            </a:extLst>
          </p:cNvPr>
          <p:cNvSpPr/>
          <p:nvPr userDrawn="1"/>
        </p:nvSpPr>
        <p:spPr>
          <a:xfrm>
            <a:off x="5255279" y="3156006"/>
            <a:ext cx="33792" cy="36122"/>
          </a:xfrm>
          <a:custGeom>
            <a:avLst/>
            <a:gdLst>
              <a:gd name="connsiteX0" fmla="*/ 15148 w 33792"/>
              <a:gd name="connsiteY0" fmla="*/ 36123 h 36122"/>
              <a:gd name="connsiteX1" fmla="*/ 0 w 33792"/>
              <a:gd name="connsiteY1" fmla="*/ 36123 h 36122"/>
              <a:gd name="connsiteX2" fmla="*/ 18644 w 33792"/>
              <a:gd name="connsiteY2" fmla="*/ 18644 h 36122"/>
              <a:gd name="connsiteX3" fmla="*/ 0 w 33792"/>
              <a:gd name="connsiteY3" fmla="*/ 0 h 36122"/>
              <a:gd name="connsiteX4" fmla="*/ 16313 w 33792"/>
              <a:gd name="connsiteY4" fmla="*/ 0 h 36122"/>
              <a:gd name="connsiteX5" fmla="*/ 33792 w 33792"/>
              <a:gd name="connsiteY5" fmla="*/ 18644 h 3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92" h="36122">
                <a:moveTo>
                  <a:pt x="15148" y="36123"/>
                </a:moveTo>
                <a:lnTo>
                  <a:pt x="0" y="36123"/>
                </a:lnTo>
                <a:lnTo>
                  <a:pt x="18644" y="18644"/>
                </a:lnTo>
                <a:lnTo>
                  <a:pt x="0" y="0"/>
                </a:lnTo>
                <a:lnTo>
                  <a:pt x="16313" y="0"/>
                </a:lnTo>
                <a:lnTo>
                  <a:pt x="33792" y="18644"/>
                </a:lnTo>
                <a:close/>
              </a:path>
            </a:pathLst>
          </a:custGeom>
          <a:solidFill>
            <a:srgbClr val="2657A2"/>
          </a:solidFill>
          <a:ln w="11643" cap="flat">
            <a:noFill/>
            <a:prstDash val="solid"/>
            <a:miter/>
          </a:ln>
        </p:spPr>
        <p:txBody>
          <a:bodyPr rtlCol="0" anchor="ctr"/>
          <a:lstStyle/>
          <a:p>
            <a:endParaRPr lang="de-DE"/>
          </a:p>
        </p:txBody>
      </p:sp>
      <p:sp>
        <p:nvSpPr>
          <p:cNvPr id="62" name="Freihandform: Form 61">
            <a:extLst>
              <a:ext uri="{FF2B5EF4-FFF2-40B4-BE49-F238E27FC236}">
                <a16:creationId xmlns:a16="http://schemas.microsoft.com/office/drawing/2014/main" id="{88F5DBA3-0519-4C40-BE84-F7879323096B}"/>
              </a:ext>
            </a:extLst>
          </p:cNvPr>
          <p:cNvSpPr/>
          <p:nvPr userDrawn="1"/>
        </p:nvSpPr>
        <p:spPr>
          <a:xfrm>
            <a:off x="5255279" y="5995715"/>
            <a:ext cx="33792" cy="36122"/>
          </a:xfrm>
          <a:custGeom>
            <a:avLst/>
            <a:gdLst>
              <a:gd name="connsiteX0" fmla="*/ 15148 w 33792"/>
              <a:gd name="connsiteY0" fmla="*/ 36123 h 36122"/>
              <a:gd name="connsiteX1" fmla="*/ 0 w 33792"/>
              <a:gd name="connsiteY1" fmla="*/ 36123 h 36122"/>
              <a:gd name="connsiteX2" fmla="*/ 18644 w 33792"/>
              <a:gd name="connsiteY2" fmla="*/ 17479 h 36122"/>
              <a:gd name="connsiteX3" fmla="*/ 0 w 33792"/>
              <a:gd name="connsiteY3" fmla="*/ 0 h 36122"/>
              <a:gd name="connsiteX4" fmla="*/ 16313 w 33792"/>
              <a:gd name="connsiteY4" fmla="*/ 0 h 36122"/>
              <a:gd name="connsiteX5" fmla="*/ 33792 w 33792"/>
              <a:gd name="connsiteY5" fmla="*/ 17479 h 3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92" h="36122">
                <a:moveTo>
                  <a:pt x="15148" y="36123"/>
                </a:moveTo>
                <a:lnTo>
                  <a:pt x="0" y="36123"/>
                </a:lnTo>
                <a:lnTo>
                  <a:pt x="18644" y="17479"/>
                </a:lnTo>
                <a:lnTo>
                  <a:pt x="0" y="0"/>
                </a:lnTo>
                <a:lnTo>
                  <a:pt x="16313" y="0"/>
                </a:lnTo>
                <a:lnTo>
                  <a:pt x="33792" y="17479"/>
                </a:lnTo>
                <a:close/>
              </a:path>
            </a:pathLst>
          </a:custGeom>
          <a:solidFill>
            <a:srgbClr val="2657A2"/>
          </a:solidFill>
          <a:ln w="11643" cap="flat">
            <a:noFill/>
            <a:prstDash val="solid"/>
            <a:miter/>
          </a:ln>
        </p:spPr>
        <p:txBody>
          <a:bodyPr rtlCol="0" anchor="ctr"/>
          <a:lstStyle/>
          <a:p>
            <a:endParaRPr lang="de-DE"/>
          </a:p>
        </p:txBody>
      </p:sp>
      <p:sp>
        <p:nvSpPr>
          <p:cNvPr id="63" name="Freihandform: Form 62">
            <a:extLst>
              <a:ext uri="{FF2B5EF4-FFF2-40B4-BE49-F238E27FC236}">
                <a16:creationId xmlns:a16="http://schemas.microsoft.com/office/drawing/2014/main" id="{EFE7A8C0-6860-40C6-A96A-CB1D694837BB}"/>
              </a:ext>
            </a:extLst>
          </p:cNvPr>
          <p:cNvSpPr/>
          <p:nvPr userDrawn="1"/>
        </p:nvSpPr>
        <p:spPr>
          <a:xfrm>
            <a:off x="5255279" y="6349950"/>
            <a:ext cx="33792" cy="36122"/>
          </a:xfrm>
          <a:custGeom>
            <a:avLst/>
            <a:gdLst>
              <a:gd name="connsiteX0" fmla="*/ 15148 w 33792"/>
              <a:gd name="connsiteY0" fmla="*/ 36123 h 36122"/>
              <a:gd name="connsiteX1" fmla="*/ 0 w 33792"/>
              <a:gd name="connsiteY1" fmla="*/ 36123 h 36122"/>
              <a:gd name="connsiteX2" fmla="*/ 18644 w 33792"/>
              <a:gd name="connsiteY2" fmla="*/ 18644 h 36122"/>
              <a:gd name="connsiteX3" fmla="*/ 0 w 33792"/>
              <a:gd name="connsiteY3" fmla="*/ 0 h 36122"/>
              <a:gd name="connsiteX4" fmla="*/ 16313 w 33792"/>
              <a:gd name="connsiteY4" fmla="*/ 0 h 36122"/>
              <a:gd name="connsiteX5" fmla="*/ 33792 w 33792"/>
              <a:gd name="connsiteY5" fmla="*/ 17479 h 3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92" h="36122">
                <a:moveTo>
                  <a:pt x="15148" y="36123"/>
                </a:moveTo>
                <a:lnTo>
                  <a:pt x="0" y="36123"/>
                </a:lnTo>
                <a:lnTo>
                  <a:pt x="18644" y="18644"/>
                </a:lnTo>
                <a:lnTo>
                  <a:pt x="0" y="0"/>
                </a:lnTo>
                <a:lnTo>
                  <a:pt x="16313" y="0"/>
                </a:lnTo>
                <a:lnTo>
                  <a:pt x="33792" y="17479"/>
                </a:lnTo>
                <a:close/>
              </a:path>
            </a:pathLst>
          </a:custGeom>
          <a:solidFill>
            <a:srgbClr val="2657A2"/>
          </a:solidFill>
          <a:ln w="11643" cap="flat">
            <a:noFill/>
            <a:prstDash val="solid"/>
            <a:miter/>
          </a:ln>
        </p:spPr>
        <p:txBody>
          <a:bodyPr rtlCol="0" anchor="ctr"/>
          <a:lstStyle/>
          <a:p>
            <a:endParaRPr lang="de-DE"/>
          </a:p>
        </p:txBody>
      </p:sp>
      <p:sp>
        <p:nvSpPr>
          <p:cNvPr id="64" name="Freihandform: Form 63">
            <a:extLst>
              <a:ext uri="{FF2B5EF4-FFF2-40B4-BE49-F238E27FC236}">
                <a16:creationId xmlns:a16="http://schemas.microsoft.com/office/drawing/2014/main" id="{DF7ECB85-3FCA-4568-A463-8ECC4322FE81}"/>
              </a:ext>
            </a:extLst>
          </p:cNvPr>
          <p:cNvSpPr/>
          <p:nvPr userDrawn="1"/>
        </p:nvSpPr>
        <p:spPr>
          <a:xfrm>
            <a:off x="5255279" y="6705351"/>
            <a:ext cx="33792" cy="36122"/>
          </a:xfrm>
          <a:custGeom>
            <a:avLst/>
            <a:gdLst>
              <a:gd name="connsiteX0" fmla="*/ 15148 w 33792"/>
              <a:gd name="connsiteY0" fmla="*/ 36123 h 36122"/>
              <a:gd name="connsiteX1" fmla="*/ 0 w 33792"/>
              <a:gd name="connsiteY1" fmla="*/ 36123 h 36122"/>
              <a:gd name="connsiteX2" fmla="*/ 18644 w 33792"/>
              <a:gd name="connsiteY2" fmla="*/ 17479 h 36122"/>
              <a:gd name="connsiteX3" fmla="*/ 0 w 33792"/>
              <a:gd name="connsiteY3" fmla="*/ 0 h 36122"/>
              <a:gd name="connsiteX4" fmla="*/ 16313 w 33792"/>
              <a:gd name="connsiteY4" fmla="*/ 0 h 36122"/>
              <a:gd name="connsiteX5" fmla="*/ 33792 w 33792"/>
              <a:gd name="connsiteY5" fmla="*/ 17479 h 3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92" h="36122">
                <a:moveTo>
                  <a:pt x="15148" y="36123"/>
                </a:moveTo>
                <a:lnTo>
                  <a:pt x="0" y="36123"/>
                </a:lnTo>
                <a:lnTo>
                  <a:pt x="18644" y="17479"/>
                </a:lnTo>
                <a:lnTo>
                  <a:pt x="0" y="0"/>
                </a:lnTo>
                <a:lnTo>
                  <a:pt x="16313" y="0"/>
                </a:lnTo>
                <a:lnTo>
                  <a:pt x="33792" y="17479"/>
                </a:lnTo>
                <a:close/>
              </a:path>
            </a:pathLst>
          </a:custGeom>
          <a:solidFill>
            <a:srgbClr val="2657A2"/>
          </a:solidFill>
          <a:ln w="11643" cap="flat">
            <a:noFill/>
            <a:prstDash val="solid"/>
            <a:miter/>
          </a:ln>
        </p:spPr>
        <p:txBody>
          <a:bodyPr rtlCol="0" anchor="ctr"/>
          <a:lstStyle/>
          <a:p>
            <a:endParaRPr lang="de-DE"/>
          </a:p>
        </p:txBody>
      </p:sp>
      <p:sp>
        <p:nvSpPr>
          <p:cNvPr id="65" name="Freihandform: Form 64">
            <a:extLst>
              <a:ext uri="{FF2B5EF4-FFF2-40B4-BE49-F238E27FC236}">
                <a16:creationId xmlns:a16="http://schemas.microsoft.com/office/drawing/2014/main" id="{55CFDAEB-DBD7-4527-953A-E9935BB5F3DD}"/>
              </a:ext>
            </a:extLst>
          </p:cNvPr>
          <p:cNvSpPr/>
          <p:nvPr userDrawn="1"/>
        </p:nvSpPr>
        <p:spPr>
          <a:xfrm>
            <a:off x="5602523" y="2082812"/>
            <a:ext cx="50105" cy="54766"/>
          </a:xfrm>
          <a:custGeom>
            <a:avLst/>
            <a:gdLst>
              <a:gd name="connsiteX0" fmla="*/ 22140 w 50105"/>
              <a:gd name="connsiteY0" fmla="*/ 54767 h 54766"/>
              <a:gd name="connsiteX1" fmla="*/ 0 w 50105"/>
              <a:gd name="connsiteY1" fmla="*/ 54767 h 54766"/>
              <a:gd name="connsiteX2" fmla="*/ 26801 w 50105"/>
              <a:gd name="connsiteY2" fmla="*/ 27966 h 54766"/>
              <a:gd name="connsiteX3" fmla="*/ 0 w 50105"/>
              <a:gd name="connsiteY3" fmla="*/ 0 h 54766"/>
              <a:gd name="connsiteX4" fmla="*/ 23305 w 50105"/>
              <a:gd name="connsiteY4" fmla="*/ 0 h 54766"/>
              <a:gd name="connsiteX5" fmla="*/ 50106 w 50105"/>
              <a:gd name="connsiteY5" fmla="*/ 26801 h 5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4765">
                <a:moveTo>
                  <a:pt x="22140" y="54767"/>
                </a:moveTo>
                <a:lnTo>
                  <a:pt x="0" y="54767"/>
                </a:lnTo>
                <a:lnTo>
                  <a:pt x="26801" y="27966"/>
                </a:lnTo>
                <a:lnTo>
                  <a:pt x="0" y="0"/>
                </a:lnTo>
                <a:lnTo>
                  <a:pt x="23305" y="0"/>
                </a:lnTo>
                <a:lnTo>
                  <a:pt x="50106" y="26801"/>
                </a:lnTo>
                <a:close/>
              </a:path>
            </a:pathLst>
          </a:custGeom>
          <a:solidFill>
            <a:srgbClr val="2657A2"/>
          </a:solidFill>
          <a:ln w="11643" cap="flat">
            <a:noFill/>
            <a:prstDash val="solid"/>
            <a:miter/>
          </a:ln>
        </p:spPr>
        <p:txBody>
          <a:bodyPr rtlCol="0" anchor="ctr"/>
          <a:lstStyle/>
          <a:p>
            <a:endParaRPr lang="de-DE"/>
          </a:p>
        </p:txBody>
      </p:sp>
      <p:sp>
        <p:nvSpPr>
          <p:cNvPr id="66" name="Freihandform: Form 65">
            <a:extLst>
              <a:ext uri="{FF2B5EF4-FFF2-40B4-BE49-F238E27FC236}">
                <a16:creationId xmlns:a16="http://schemas.microsoft.com/office/drawing/2014/main" id="{E95E513C-E5AB-407C-A18D-322174C27620}"/>
              </a:ext>
            </a:extLst>
          </p:cNvPr>
          <p:cNvSpPr/>
          <p:nvPr userDrawn="1"/>
        </p:nvSpPr>
        <p:spPr>
          <a:xfrm>
            <a:off x="5602523" y="2438213"/>
            <a:ext cx="50105" cy="53601"/>
          </a:xfrm>
          <a:custGeom>
            <a:avLst/>
            <a:gdLst>
              <a:gd name="connsiteX0" fmla="*/ 22140 w 50105"/>
              <a:gd name="connsiteY0" fmla="*/ 53601 h 53601"/>
              <a:gd name="connsiteX1" fmla="*/ 0 w 50105"/>
              <a:gd name="connsiteY1" fmla="*/ 53601 h 53601"/>
              <a:gd name="connsiteX2" fmla="*/ 26801 w 50105"/>
              <a:gd name="connsiteY2" fmla="*/ 26801 h 53601"/>
              <a:gd name="connsiteX3" fmla="*/ 0 w 50105"/>
              <a:gd name="connsiteY3" fmla="*/ 0 h 53601"/>
              <a:gd name="connsiteX4" fmla="*/ 23305 w 50105"/>
              <a:gd name="connsiteY4" fmla="*/ 0 h 53601"/>
              <a:gd name="connsiteX5" fmla="*/ 50106 w 50105"/>
              <a:gd name="connsiteY5" fmla="*/ 25635 h 53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3601">
                <a:moveTo>
                  <a:pt x="22140" y="53601"/>
                </a:moveTo>
                <a:lnTo>
                  <a:pt x="0" y="53601"/>
                </a:lnTo>
                <a:lnTo>
                  <a:pt x="26801" y="26801"/>
                </a:lnTo>
                <a:lnTo>
                  <a:pt x="0" y="0"/>
                </a:lnTo>
                <a:lnTo>
                  <a:pt x="23305" y="0"/>
                </a:lnTo>
                <a:lnTo>
                  <a:pt x="50106" y="25635"/>
                </a:lnTo>
                <a:close/>
              </a:path>
            </a:pathLst>
          </a:custGeom>
          <a:solidFill>
            <a:srgbClr val="2657A2"/>
          </a:solidFill>
          <a:ln w="11643" cap="flat">
            <a:noFill/>
            <a:prstDash val="solid"/>
            <a:miter/>
          </a:ln>
        </p:spPr>
        <p:txBody>
          <a:bodyPr rtlCol="0" anchor="ctr"/>
          <a:lstStyle/>
          <a:p>
            <a:endParaRPr lang="de-DE"/>
          </a:p>
        </p:txBody>
      </p:sp>
      <p:sp>
        <p:nvSpPr>
          <p:cNvPr id="67" name="Freihandform: Form 66">
            <a:extLst>
              <a:ext uri="{FF2B5EF4-FFF2-40B4-BE49-F238E27FC236}">
                <a16:creationId xmlns:a16="http://schemas.microsoft.com/office/drawing/2014/main" id="{565C6943-2549-42D1-AE14-9B5289B94FD2}"/>
              </a:ext>
            </a:extLst>
          </p:cNvPr>
          <p:cNvSpPr/>
          <p:nvPr userDrawn="1"/>
        </p:nvSpPr>
        <p:spPr>
          <a:xfrm>
            <a:off x="5602523" y="2792448"/>
            <a:ext cx="50105" cy="54766"/>
          </a:xfrm>
          <a:custGeom>
            <a:avLst/>
            <a:gdLst>
              <a:gd name="connsiteX0" fmla="*/ 22140 w 50105"/>
              <a:gd name="connsiteY0" fmla="*/ 54767 h 54766"/>
              <a:gd name="connsiteX1" fmla="*/ 0 w 50105"/>
              <a:gd name="connsiteY1" fmla="*/ 54767 h 54766"/>
              <a:gd name="connsiteX2" fmla="*/ 26801 w 50105"/>
              <a:gd name="connsiteY2" fmla="*/ 27966 h 54766"/>
              <a:gd name="connsiteX3" fmla="*/ 0 w 50105"/>
              <a:gd name="connsiteY3" fmla="*/ 0 h 54766"/>
              <a:gd name="connsiteX4" fmla="*/ 23305 w 50105"/>
              <a:gd name="connsiteY4" fmla="*/ 0 h 54766"/>
              <a:gd name="connsiteX5" fmla="*/ 50106 w 50105"/>
              <a:gd name="connsiteY5" fmla="*/ 26801 h 5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4765">
                <a:moveTo>
                  <a:pt x="22140" y="54767"/>
                </a:moveTo>
                <a:lnTo>
                  <a:pt x="0" y="54767"/>
                </a:lnTo>
                <a:lnTo>
                  <a:pt x="26801" y="27966"/>
                </a:lnTo>
                <a:lnTo>
                  <a:pt x="0" y="0"/>
                </a:lnTo>
                <a:lnTo>
                  <a:pt x="23305" y="0"/>
                </a:lnTo>
                <a:lnTo>
                  <a:pt x="50106" y="26801"/>
                </a:lnTo>
                <a:close/>
              </a:path>
            </a:pathLst>
          </a:custGeom>
          <a:solidFill>
            <a:srgbClr val="2657A2"/>
          </a:solidFill>
          <a:ln w="11643" cap="flat">
            <a:noFill/>
            <a:prstDash val="solid"/>
            <a:miter/>
          </a:ln>
        </p:spPr>
        <p:txBody>
          <a:bodyPr rtlCol="0" anchor="ctr"/>
          <a:lstStyle/>
          <a:p>
            <a:endParaRPr lang="de-DE"/>
          </a:p>
        </p:txBody>
      </p:sp>
      <p:sp>
        <p:nvSpPr>
          <p:cNvPr id="68" name="Freihandform: Form 67">
            <a:extLst>
              <a:ext uri="{FF2B5EF4-FFF2-40B4-BE49-F238E27FC236}">
                <a16:creationId xmlns:a16="http://schemas.microsoft.com/office/drawing/2014/main" id="{7C010397-420A-4A60-AF49-8E51FD05B3FB}"/>
              </a:ext>
            </a:extLst>
          </p:cNvPr>
          <p:cNvSpPr/>
          <p:nvPr userDrawn="1"/>
        </p:nvSpPr>
        <p:spPr>
          <a:xfrm>
            <a:off x="5602523" y="3147849"/>
            <a:ext cx="50105" cy="53601"/>
          </a:xfrm>
          <a:custGeom>
            <a:avLst/>
            <a:gdLst>
              <a:gd name="connsiteX0" fmla="*/ 22140 w 50105"/>
              <a:gd name="connsiteY0" fmla="*/ 53601 h 53601"/>
              <a:gd name="connsiteX1" fmla="*/ 0 w 50105"/>
              <a:gd name="connsiteY1" fmla="*/ 53601 h 53601"/>
              <a:gd name="connsiteX2" fmla="*/ 26801 w 50105"/>
              <a:gd name="connsiteY2" fmla="*/ 26801 h 53601"/>
              <a:gd name="connsiteX3" fmla="*/ 0 w 50105"/>
              <a:gd name="connsiteY3" fmla="*/ 0 h 53601"/>
              <a:gd name="connsiteX4" fmla="*/ 23305 w 50105"/>
              <a:gd name="connsiteY4" fmla="*/ 0 h 53601"/>
              <a:gd name="connsiteX5" fmla="*/ 50106 w 50105"/>
              <a:gd name="connsiteY5" fmla="*/ 26801 h 53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3601">
                <a:moveTo>
                  <a:pt x="22140" y="53601"/>
                </a:moveTo>
                <a:lnTo>
                  <a:pt x="0" y="53601"/>
                </a:lnTo>
                <a:lnTo>
                  <a:pt x="26801" y="26801"/>
                </a:lnTo>
                <a:lnTo>
                  <a:pt x="0" y="0"/>
                </a:lnTo>
                <a:lnTo>
                  <a:pt x="23305" y="0"/>
                </a:lnTo>
                <a:lnTo>
                  <a:pt x="50106" y="26801"/>
                </a:lnTo>
                <a:close/>
              </a:path>
            </a:pathLst>
          </a:custGeom>
          <a:solidFill>
            <a:srgbClr val="2657A2"/>
          </a:solidFill>
          <a:ln w="11643" cap="flat">
            <a:noFill/>
            <a:prstDash val="solid"/>
            <a:miter/>
          </a:ln>
        </p:spPr>
        <p:txBody>
          <a:bodyPr rtlCol="0" anchor="ctr"/>
          <a:lstStyle/>
          <a:p>
            <a:endParaRPr lang="de-DE"/>
          </a:p>
        </p:txBody>
      </p:sp>
      <p:sp>
        <p:nvSpPr>
          <p:cNvPr id="69" name="Freihandform: Form 68">
            <a:extLst>
              <a:ext uri="{FF2B5EF4-FFF2-40B4-BE49-F238E27FC236}">
                <a16:creationId xmlns:a16="http://schemas.microsoft.com/office/drawing/2014/main" id="{E4FEC3D8-B759-453B-8979-8DDBD6DC05B4}"/>
              </a:ext>
            </a:extLst>
          </p:cNvPr>
          <p:cNvSpPr/>
          <p:nvPr userDrawn="1"/>
        </p:nvSpPr>
        <p:spPr>
          <a:xfrm>
            <a:off x="5602523" y="3502084"/>
            <a:ext cx="50105" cy="54766"/>
          </a:xfrm>
          <a:custGeom>
            <a:avLst/>
            <a:gdLst>
              <a:gd name="connsiteX0" fmla="*/ 22140 w 50105"/>
              <a:gd name="connsiteY0" fmla="*/ 54767 h 54766"/>
              <a:gd name="connsiteX1" fmla="*/ 0 w 50105"/>
              <a:gd name="connsiteY1" fmla="*/ 54767 h 54766"/>
              <a:gd name="connsiteX2" fmla="*/ 26801 w 50105"/>
              <a:gd name="connsiteY2" fmla="*/ 27966 h 54766"/>
              <a:gd name="connsiteX3" fmla="*/ 0 w 50105"/>
              <a:gd name="connsiteY3" fmla="*/ 0 h 54766"/>
              <a:gd name="connsiteX4" fmla="*/ 23305 w 50105"/>
              <a:gd name="connsiteY4" fmla="*/ 0 h 54766"/>
              <a:gd name="connsiteX5" fmla="*/ 50106 w 50105"/>
              <a:gd name="connsiteY5" fmla="*/ 26801 h 5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4765">
                <a:moveTo>
                  <a:pt x="22140" y="54767"/>
                </a:moveTo>
                <a:lnTo>
                  <a:pt x="0" y="54767"/>
                </a:lnTo>
                <a:lnTo>
                  <a:pt x="26801" y="27966"/>
                </a:lnTo>
                <a:lnTo>
                  <a:pt x="0" y="0"/>
                </a:lnTo>
                <a:lnTo>
                  <a:pt x="23305" y="0"/>
                </a:lnTo>
                <a:lnTo>
                  <a:pt x="50106" y="26801"/>
                </a:lnTo>
                <a:close/>
              </a:path>
            </a:pathLst>
          </a:custGeom>
          <a:solidFill>
            <a:srgbClr val="2657A2"/>
          </a:solidFill>
          <a:ln w="11643" cap="flat">
            <a:noFill/>
            <a:prstDash val="solid"/>
            <a:miter/>
          </a:ln>
        </p:spPr>
        <p:txBody>
          <a:bodyPr rtlCol="0" anchor="ctr"/>
          <a:lstStyle/>
          <a:p>
            <a:endParaRPr lang="de-DE"/>
          </a:p>
        </p:txBody>
      </p:sp>
      <p:sp>
        <p:nvSpPr>
          <p:cNvPr id="70" name="Freihandform: Form 69">
            <a:extLst>
              <a:ext uri="{FF2B5EF4-FFF2-40B4-BE49-F238E27FC236}">
                <a16:creationId xmlns:a16="http://schemas.microsoft.com/office/drawing/2014/main" id="{1DF06340-9A41-4107-924D-A3AC1436BBB6}"/>
              </a:ext>
            </a:extLst>
          </p:cNvPr>
          <p:cNvSpPr/>
          <p:nvPr userDrawn="1"/>
        </p:nvSpPr>
        <p:spPr>
          <a:xfrm>
            <a:off x="5602523" y="5630993"/>
            <a:ext cx="50105" cy="54766"/>
          </a:xfrm>
          <a:custGeom>
            <a:avLst/>
            <a:gdLst>
              <a:gd name="connsiteX0" fmla="*/ 22140 w 50105"/>
              <a:gd name="connsiteY0" fmla="*/ 54766 h 54766"/>
              <a:gd name="connsiteX1" fmla="*/ 0 w 50105"/>
              <a:gd name="connsiteY1" fmla="*/ 54766 h 54766"/>
              <a:gd name="connsiteX2" fmla="*/ 26801 w 50105"/>
              <a:gd name="connsiteY2" fmla="*/ 27966 h 54766"/>
              <a:gd name="connsiteX3" fmla="*/ 0 w 50105"/>
              <a:gd name="connsiteY3" fmla="*/ 0 h 54766"/>
              <a:gd name="connsiteX4" fmla="*/ 23305 w 50105"/>
              <a:gd name="connsiteY4" fmla="*/ 0 h 54766"/>
              <a:gd name="connsiteX5" fmla="*/ 50106 w 50105"/>
              <a:gd name="connsiteY5" fmla="*/ 26801 h 5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4765">
                <a:moveTo>
                  <a:pt x="22140" y="54766"/>
                </a:moveTo>
                <a:lnTo>
                  <a:pt x="0" y="54766"/>
                </a:lnTo>
                <a:lnTo>
                  <a:pt x="26801" y="27966"/>
                </a:lnTo>
                <a:lnTo>
                  <a:pt x="0" y="0"/>
                </a:lnTo>
                <a:lnTo>
                  <a:pt x="23305" y="0"/>
                </a:lnTo>
                <a:lnTo>
                  <a:pt x="50106" y="26801"/>
                </a:lnTo>
                <a:close/>
              </a:path>
            </a:pathLst>
          </a:custGeom>
          <a:solidFill>
            <a:srgbClr val="2657A2"/>
          </a:solidFill>
          <a:ln w="11643" cap="flat">
            <a:noFill/>
            <a:prstDash val="solid"/>
            <a:miter/>
          </a:ln>
        </p:spPr>
        <p:txBody>
          <a:bodyPr rtlCol="0" anchor="ctr"/>
          <a:lstStyle/>
          <a:p>
            <a:endParaRPr lang="de-DE"/>
          </a:p>
        </p:txBody>
      </p:sp>
      <p:sp>
        <p:nvSpPr>
          <p:cNvPr id="71" name="Freihandform: Form 70">
            <a:extLst>
              <a:ext uri="{FF2B5EF4-FFF2-40B4-BE49-F238E27FC236}">
                <a16:creationId xmlns:a16="http://schemas.microsoft.com/office/drawing/2014/main" id="{479EF1ED-EB43-49AF-A2BC-D2E1EFF0A1A1}"/>
              </a:ext>
            </a:extLst>
          </p:cNvPr>
          <p:cNvSpPr/>
          <p:nvPr userDrawn="1"/>
        </p:nvSpPr>
        <p:spPr>
          <a:xfrm>
            <a:off x="5602523" y="5986393"/>
            <a:ext cx="50105" cy="54766"/>
          </a:xfrm>
          <a:custGeom>
            <a:avLst/>
            <a:gdLst>
              <a:gd name="connsiteX0" fmla="*/ 22140 w 50105"/>
              <a:gd name="connsiteY0" fmla="*/ 54766 h 54766"/>
              <a:gd name="connsiteX1" fmla="*/ 0 w 50105"/>
              <a:gd name="connsiteY1" fmla="*/ 54766 h 54766"/>
              <a:gd name="connsiteX2" fmla="*/ 26801 w 50105"/>
              <a:gd name="connsiteY2" fmla="*/ 26801 h 54766"/>
              <a:gd name="connsiteX3" fmla="*/ 0 w 50105"/>
              <a:gd name="connsiteY3" fmla="*/ 0 h 54766"/>
              <a:gd name="connsiteX4" fmla="*/ 23305 w 50105"/>
              <a:gd name="connsiteY4" fmla="*/ 0 h 54766"/>
              <a:gd name="connsiteX5" fmla="*/ 50106 w 50105"/>
              <a:gd name="connsiteY5" fmla="*/ 26801 h 5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4765">
                <a:moveTo>
                  <a:pt x="22140" y="54766"/>
                </a:moveTo>
                <a:lnTo>
                  <a:pt x="0" y="54766"/>
                </a:lnTo>
                <a:lnTo>
                  <a:pt x="26801" y="26801"/>
                </a:lnTo>
                <a:lnTo>
                  <a:pt x="0" y="0"/>
                </a:lnTo>
                <a:lnTo>
                  <a:pt x="23305" y="0"/>
                </a:lnTo>
                <a:lnTo>
                  <a:pt x="50106" y="26801"/>
                </a:lnTo>
                <a:close/>
              </a:path>
            </a:pathLst>
          </a:custGeom>
          <a:solidFill>
            <a:srgbClr val="2657A2"/>
          </a:solidFill>
          <a:ln w="11643" cap="flat">
            <a:noFill/>
            <a:prstDash val="solid"/>
            <a:miter/>
          </a:ln>
        </p:spPr>
        <p:txBody>
          <a:bodyPr rtlCol="0" anchor="ctr"/>
          <a:lstStyle/>
          <a:p>
            <a:endParaRPr lang="de-DE"/>
          </a:p>
        </p:txBody>
      </p:sp>
      <p:sp>
        <p:nvSpPr>
          <p:cNvPr id="72" name="Freihandform: Form 71">
            <a:extLst>
              <a:ext uri="{FF2B5EF4-FFF2-40B4-BE49-F238E27FC236}">
                <a16:creationId xmlns:a16="http://schemas.microsoft.com/office/drawing/2014/main" id="{4EBADFFA-C55F-4EA9-A6D5-D11C527E5FDF}"/>
              </a:ext>
            </a:extLst>
          </p:cNvPr>
          <p:cNvSpPr/>
          <p:nvPr userDrawn="1"/>
        </p:nvSpPr>
        <p:spPr>
          <a:xfrm>
            <a:off x="5602523" y="6340628"/>
            <a:ext cx="50105" cy="54766"/>
          </a:xfrm>
          <a:custGeom>
            <a:avLst/>
            <a:gdLst>
              <a:gd name="connsiteX0" fmla="*/ 22140 w 50105"/>
              <a:gd name="connsiteY0" fmla="*/ 54766 h 54766"/>
              <a:gd name="connsiteX1" fmla="*/ 0 w 50105"/>
              <a:gd name="connsiteY1" fmla="*/ 54766 h 54766"/>
              <a:gd name="connsiteX2" fmla="*/ 26801 w 50105"/>
              <a:gd name="connsiteY2" fmla="*/ 27966 h 54766"/>
              <a:gd name="connsiteX3" fmla="*/ 0 w 50105"/>
              <a:gd name="connsiteY3" fmla="*/ 0 h 54766"/>
              <a:gd name="connsiteX4" fmla="*/ 23305 w 50105"/>
              <a:gd name="connsiteY4" fmla="*/ 0 h 54766"/>
              <a:gd name="connsiteX5" fmla="*/ 50106 w 50105"/>
              <a:gd name="connsiteY5" fmla="*/ 26801 h 5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4765">
                <a:moveTo>
                  <a:pt x="22140" y="54766"/>
                </a:moveTo>
                <a:lnTo>
                  <a:pt x="0" y="54766"/>
                </a:lnTo>
                <a:lnTo>
                  <a:pt x="26801" y="27966"/>
                </a:lnTo>
                <a:lnTo>
                  <a:pt x="0" y="0"/>
                </a:lnTo>
                <a:lnTo>
                  <a:pt x="23305" y="0"/>
                </a:lnTo>
                <a:lnTo>
                  <a:pt x="50106" y="26801"/>
                </a:lnTo>
                <a:close/>
              </a:path>
            </a:pathLst>
          </a:custGeom>
          <a:solidFill>
            <a:srgbClr val="2657A2"/>
          </a:solidFill>
          <a:ln w="11643" cap="flat">
            <a:noFill/>
            <a:prstDash val="solid"/>
            <a:miter/>
          </a:ln>
        </p:spPr>
        <p:txBody>
          <a:bodyPr rtlCol="0" anchor="ctr"/>
          <a:lstStyle/>
          <a:p>
            <a:endParaRPr lang="de-DE"/>
          </a:p>
        </p:txBody>
      </p:sp>
      <p:sp>
        <p:nvSpPr>
          <p:cNvPr id="73" name="Freihandform: Form 72">
            <a:extLst>
              <a:ext uri="{FF2B5EF4-FFF2-40B4-BE49-F238E27FC236}">
                <a16:creationId xmlns:a16="http://schemas.microsoft.com/office/drawing/2014/main" id="{A1D4AA95-33DF-4713-9875-15C3CA5D19CD}"/>
              </a:ext>
            </a:extLst>
          </p:cNvPr>
          <p:cNvSpPr/>
          <p:nvPr userDrawn="1"/>
        </p:nvSpPr>
        <p:spPr>
          <a:xfrm>
            <a:off x="5602523" y="6696029"/>
            <a:ext cx="50105" cy="54766"/>
          </a:xfrm>
          <a:custGeom>
            <a:avLst/>
            <a:gdLst>
              <a:gd name="connsiteX0" fmla="*/ 22140 w 50105"/>
              <a:gd name="connsiteY0" fmla="*/ 54766 h 54766"/>
              <a:gd name="connsiteX1" fmla="*/ 0 w 50105"/>
              <a:gd name="connsiteY1" fmla="*/ 54766 h 54766"/>
              <a:gd name="connsiteX2" fmla="*/ 26801 w 50105"/>
              <a:gd name="connsiteY2" fmla="*/ 27966 h 54766"/>
              <a:gd name="connsiteX3" fmla="*/ 0 w 50105"/>
              <a:gd name="connsiteY3" fmla="*/ 0 h 54766"/>
              <a:gd name="connsiteX4" fmla="*/ 23305 w 50105"/>
              <a:gd name="connsiteY4" fmla="*/ 0 h 54766"/>
              <a:gd name="connsiteX5" fmla="*/ 50106 w 50105"/>
              <a:gd name="connsiteY5" fmla="*/ 26801 h 5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4765">
                <a:moveTo>
                  <a:pt x="22140" y="54766"/>
                </a:moveTo>
                <a:lnTo>
                  <a:pt x="0" y="54766"/>
                </a:lnTo>
                <a:lnTo>
                  <a:pt x="26801" y="27966"/>
                </a:lnTo>
                <a:lnTo>
                  <a:pt x="0" y="0"/>
                </a:lnTo>
                <a:lnTo>
                  <a:pt x="23305" y="0"/>
                </a:lnTo>
                <a:lnTo>
                  <a:pt x="50106" y="26801"/>
                </a:lnTo>
                <a:close/>
              </a:path>
            </a:pathLst>
          </a:custGeom>
          <a:solidFill>
            <a:srgbClr val="2657A2"/>
          </a:solidFill>
          <a:ln w="11643" cap="flat">
            <a:noFill/>
            <a:prstDash val="solid"/>
            <a:miter/>
          </a:ln>
        </p:spPr>
        <p:txBody>
          <a:bodyPr rtlCol="0" anchor="ctr"/>
          <a:lstStyle/>
          <a:p>
            <a:endParaRPr lang="de-DE"/>
          </a:p>
        </p:txBody>
      </p:sp>
      <p:sp>
        <p:nvSpPr>
          <p:cNvPr id="74" name="Freihandform: Form 73">
            <a:extLst>
              <a:ext uri="{FF2B5EF4-FFF2-40B4-BE49-F238E27FC236}">
                <a16:creationId xmlns:a16="http://schemas.microsoft.com/office/drawing/2014/main" id="{CE6264C8-5425-4E3A-A548-C9AA6D778127}"/>
              </a:ext>
            </a:extLst>
          </p:cNvPr>
          <p:cNvSpPr/>
          <p:nvPr userDrawn="1"/>
        </p:nvSpPr>
        <p:spPr>
          <a:xfrm>
            <a:off x="5948602" y="2073490"/>
            <a:ext cx="66419" cy="72245"/>
          </a:xfrm>
          <a:custGeom>
            <a:avLst/>
            <a:gdLst>
              <a:gd name="connsiteX0" fmla="*/ 30297 w 66419"/>
              <a:gd name="connsiteY0" fmla="*/ 72245 h 72245"/>
              <a:gd name="connsiteX1" fmla="*/ 0 w 66419"/>
              <a:gd name="connsiteY1" fmla="*/ 72245 h 72245"/>
              <a:gd name="connsiteX2" fmla="*/ 36123 w 66419"/>
              <a:gd name="connsiteY2" fmla="*/ 37288 h 72245"/>
              <a:gd name="connsiteX3" fmla="*/ 0 w 66419"/>
              <a:gd name="connsiteY3" fmla="*/ 0 h 72245"/>
              <a:gd name="connsiteX4" fmla="*/ 31462 w 66419"/>
              <a:gd name="connsiteY4" fmla="*/ 0 h 72245"/>
              <a:gd name="connsiteX5" fmla="*/ 66419 w 66419"/>
              <a:gd name="connsiteY5" fmla="*/ 36123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5"/>
                </a:moveTo>
                <a:lnTo>
                  <a:pt x="0" y="72245"/>
                </a:lnTo>
                <a:lnTo>
                  <a:pt x="36123" y="37288"/>
                </a:lnTo>
                <a:lnTo>
                  <a:pt x="0" y="0"/>
                </a:lnTo>
                <a:lnTo>
                  <a:pt x="31462" y="0"/>
                </a:lnTo>
                <a:lnTo>
                  <a:pt x="66419" y="36123"/>
                </a:lnTo>
                <a:close/>
              </a:path>
            </a:pathLst>
          </a:custGeom>
          <a:solidFill>
            <a:srgbClr val="2657A2"/>
          </a:solidFill>
          <a:ln w="11643" cap="flat">
            <a:noFill/>
            <a:prstDash val="solid"/>
            <a:miter/>
          </a:ln>
        </p:spPr>
        <p:txBody>
          <a:bodyPr rtlCol="0" anchor="ctr"/>
          <a:lstStyle/>
          <a:p>
            <a:endParaRPr lang="de-DE"/>
          </a:p>
        </p:txBody>
      </p:sp>
      <p:sp>
        <p:nvSpPr>
          <p:cNvPr id="75" name="Freihandform: Form 74">
            <a:extLst>
              <a:ext uri="{FF2B5EF4-FFF2-40B4-BE49-F238E27FC236}">
                <a16:creationId xmlns:a16="http://schemas.microsoft.com/office/drawing/2014/main" id="{A07C2689-5C4C-4685-8913-175D884BEA1B}"/>
              </a:ext>
            </a:extLst>
          </p:cNvPr>
          <p:cNvSpPr/>
          <p:nvPr userDrawn="1"/>
        </p:nvSpPr>
        <p:spPr>
          <a:xfrm>
            <a:off x="5948602" y="2428891"/>
            <a:ext cx="66419" cy="72245"/>
          </a:xfrm>
          <a:custGeom>
            <a:avLst/>
            <a:gdLst>
              <a:gd name="connsiteX0" fmla="*/ 30297 w 66419"/>
              <a:gd name="connsiteY0" fmla="*/ 72245 h 72245"/>
              <a:gd name="connsiteX1" fmla="*/ 0 w 66419"/>
              <a:gd name="connsiteY1" fmla="*/ 72245 h 72245"/>
              <a:gd name="connsiteX2" fmla="*/ 36123 w 66419"/>
              <a:gd name="connsiteY2" fmla="*/ 36123 h 72245"/>
              <a:gd name="connsiteX3" fmla="*/ 0 w 66419"/>
              <a:gd name="connsiteY3" fmla="*/ 0 h 72245"/>
              <a:gd name="connsiteX4" fmla="*/ 31462 w 66419"/>
              <a:gd name="connsiteY4" fmla="*/ 0 h 72245"/>
              <a:gd name="connsiteX5" fmla="*/ 66419 w 66419"/>
              <a:gd name="connsiteY5" fmla="*/ 34957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5"/>
                </a:moveTo>
                <a:lnTo>
                  <a:pt x="0" y="72245"/>
                </a:lnTo>
                <a:lnTo>
                  <a:pt x="36123" y="36123"/>
                </a:lnTo>
                <a:lnTo>
                  <a:pt x="0" y="0"/>
                </a:lnTo>
                <a:lnTo>
                  <a:pt x="31462" y="0"/>
                </a:lnTo>
                <a:lnTo>
                  <a:pt x="66419" y="34957"/>
                </a:lnTo>
                <a:close/>
              </a:path>
            </a:pathLst>
          </a:custGeom>
          <a:solidFill>
            <a:srgbClr val="2657A2"/>
          </a:solidFill>
          <a:ln w="11643" cap="flat">
            <a:noFill/>
            <a:prstDash val="solid"/>
            <a:miter/>
          </a:ln>
        </p:spPr>
        <p:txBody>
          <a:bodyPr rtlCol="0" anchor="ctr"/>
          <a:lstStyle/>
          <a:p>
            <a:endParaRPr lang="de-DE"/>
          </a:p>
        </p:txBody>
      </p:sp>
      <p:sp>
        <p:nvSpPr>
          <p:cNvPr id="76" name="Freihandform: Form 75">
            <a:extLst>
              <a:ext uri="{FF2B5EF4-FFF2-40B4-BE49-F238E27FC236}">
                <a16:creationId xmlns:a16="http://schemas.microsoft.com/office/drawing/2014/main" id="{7F63536F-018D-42F3-AD36-8539B6DB0E4D}"/>
              </a:ext>
            </a:extLst>
          </p:cNvPr>
          <p:cNvSpPr/>
          <p:nvPr userDrawn="1"/>
        </p:nvSpPr>
        <p:spPr>
          <a:xfrm>
            <a:off x="5948602" y="2783126"/>
            <a:ext cx="66419" cy="72245"/>
          </a:xfrm>
          <a:custGeom>
            <a:avLst/>
            <a:gdLst>
              <a:gd name="connsiteX0" fmla="*/ 30297 w 66419"/>
              <a:gd name="connsiteY0" fmla="*/ 72245 h 72245"/>
              <a:gd name="connsiteX1" fmla="*/ 0 w 66419"/>
              <a:gd name="connsiteY1" fmla="*/ 72245 h 72245"/>
              <a:gd name="connsiteX2" fmla="*/ 36123 w 66419"/>
              <a:gd name="connsiteY2" fmla="*/ 37288 h 72245"/>
              <a:gd name="connsiteX3" fmla="*/ 0 w 66419"/>
              <a:gd name="connsiteY3" fmla="*/ 0 h 72245"/>
              <a:gd name="connsiteX4" fmla="*/ 31462 w 66419"/>
              <a:gd name="connsiteY4" fmla="*/ 0 h 72245"/>
              <a:gd name="connsiteX5" fmla="*/ 66419 w 66419"/>
              <a:gd name="connsiteY5" fmla="*/ 36123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5"/>
                </a:moveTo>
                <a:lnTo>
                  <a:pt x="0" y="72245"/>
                </a:lnTo>
                <a:lnTo>
                  <a:pt x="36123" y="37288"/>
                </a:lnTo>
                <a:lnTo>
                  <a:pt x="0" y="0"/>
                </a:lnTo>
                <a:lnTo>
                  <a:pt x="31462" y="0"/>
                </a:lnTo>
                <a:lnTo>
                  <a:pt x="66419" y="36123"/>
                </a:lnTo>
                <a:close/>
              </a:path>
            </a:pathLst>
          </a:custGeom>
          <a:solidFill>
            <a:srgbClr val="2657A2"/>
          </a:solidFill>
          <a:ln w="11643" cap="flat">
            <a:noFill/>
            <a:prstDash val="solid"/>
            <a:miter/>
          </a:ln>
        </p:spPr>
        <p:txBody>
          <a:bodyPr rtlCol="0" anchor="ctr"/>
          <a:lstStyle/>
          <a:p>
            <a:endParaRPr lang="de-DE"/>
          </a:p>
        </p:txBody>
      </p:sp>
      <p:sp>
        <p:nvSpPr>
          <p:cNvPr id="77" name="Freihandform: Form 76">
            <a:extLst>
              <a:ext uri="{FF2B5EF4-FFF2-40B4-BE49-F238E27FC236}">
                <a16:creationId xmlns:a16="http://schemas.microsoft.com/office/drawing/2014/main" id="{E7A933C5-25F6-4FF6-9C37-E101566DF5D1}"/>
              </a:ext>
            </a:extLst>
          </p:cNvPr>
          <p:cNvSpPr/>
          <p:nvPr userDrawn="1"/>
        </p:nvSpPr>
        <p:spPr>
          <a:xfrm>
            <a:off x="5948602" y="3138527"/>
            <a:ext cx="66419" cy="72245"/>
          </a:xfrm>
          <a:custGeom>
            <a:avLst/>
            <a:gdLst>
              <a:gd name="connsiteX0" fmla="*/ 30297 w 66419"/>
              <a:gd name="connsiteY0" fmla="*/ 72245 h 72245"/>
              <a:gd name="connsiteX1" fmla="*/ 0 w 66419"/>
              <a:gd name="connsiteY1" fmla="*/ 72245 h 72245"/>
              <a:gd name="connsiteX2" fmla="*/ 36123 w 66419"/>
              <a:gd name="connsiteY2" fmla="*/ 36123 h 72245"/>
              <a:gd name="connsiteX3" fmla="*/ 0 w 66419"/>
              <a:gd name="connsiteY3" fmla="*/ 0 h 72245"/>
              <a:gd name="connsiteX4" fmla="*/ 31462 w 66419"/>
              <a:gd name="connsiteY4" fmla="*/ 0 h 72245"/>
              <a:gd name="connsiteX5" fmla="*/ 66419 w 66419"/>
              <a:gd name="connsiteY5" fmla="*/ 34957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5"/>
                </a:moveTo>
                <a:lnTo>
                  <a:pt x="0" y="72245"/>
                </a:lnTo>
                <a:lnTo>
                  <a:pt x="36123" y="36123"/>
                </a:lnTo>
                <a:lnTo>
                  <a:pt x="0" y="0"/>
                </a:lnTo>
                <a:lnTo>
                  <a:pt x="31462" y="0"/>
                </a:lnTo>
                <a:lnTo>
                  <a:pt x="66419" y="34957"/>
                </a:lnTo>
                <a:close/>
              </a:path>
            </a:pathLst>
          </a:custGeom>
          <a:solidFill>
            <a:srgbClr val="2657A2"/>
          </a:solidFill>
          <a:ln w="11643" cap="flat">
            <a:noFill/>
            <a:prstDash val="solid"/>
            <a:miter/>
          </a:ln>
        </p:spPr>
        <p:txBody>
          <a:bodyPr rtlCol="0" anchor="ctr"/>
          <a:lstStyle/>
          <a:p>
            <a:endParaRPr lang="de-DE"/>
          </a:p>
        </p:txBody>
      </p:sp>
      <p:sp>
        <p:nvSpPr>
          <p:cNvPr id="78" name="Freihandform: Form 77">
            <a:extLst>
              <a:ext uri="{FF2B5EF4-FFF2-40B4-BE49-F238E27FC236}">
                <a16:creationId xmlns:a16="http://schemas.microsoft.com/office/drawing/2014/main" id="{3C0F2D32-08D9-4D24-B13F-866983F22FDB}"/>
              </a:ext>
            </a:extLst>
          </p:cNvPr>
          <p:cNvSpPr/>
          <p:nvPr userDrawn="1"/>
        </p:nvSpPr>
        <p:spPr>
          <a:xfrm>
            <a:off x="5948602" y="3492762"/>
            <a:ext cx="66419" cy="73410"/>
          </a:xfrm>
          <a:custGeom>
            <a:avLst/>
            <a:gdLst>
              <a:gd name="connsiteX0" fmla="*/ 30297 w 66419"/>
              <a:gd name="connsiteY0" fmla="*/ 73411 h 73410"/>
              <a:gd name="connsiteX1" fmla="*/ 0 w 66419"/>
              <a:gd name="connsiteY1" fmla="*/ 73411 h 73410"/>
              <a:gd name="connsiteX2" fmla="*/ 36123 w 66419"/>
              <a:gd name="connsiteY2" fmla="*/ 37288 h 73410"/>
              <a:gd name="connsiteX3" fmla="*/ 0 w 66419"/>
              <a:gd name="connsiteY3" fmla="*/ 0 h 73410"/>
              <a:gd name="connsiteX4" fmla="*/ 31462 w 66419"/>
              <a:gd name="connsiteY4" fmla="*/ 0 h 73410"/>
              <a:gd name="connsiteX5" fmla="*/ 66419 w 66419"/>
              <a:gd name="connsiteY5" fmla="*/ 36123 h 73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3410">
                <a:moveTo>
                  <a:pt x="30297" y="73411"/>
                </a:moveTo>
                <a:lnTo>
                  <a:pt x="0" y="73411"/>
                </a:lnTo>
                <a:lnTo>
                  <a:pt x="36123" y="37288"/>
                </a:lnTo>
                <a:lnTo>
                  <a:pt x="0" y="0"/>
                </a:lnTo>
                <a:lnTo>
                  <a:pt x="31462" y="0"/>
                </a:lnTo>
                <a:lnTo>
                  <a:pt x="66419" y="36123"/>
                </a:lnTo>
                <a:close/>
              </a:path>
            </a:pathLst>
          </a:custGeom>
          <a:solidFill>
            <a:srgbClr val="2657A2"/>
          </a:solidFill>
          <a:ln w="11643" cap="flat">
            <a:noFill/>
            <a:prstDash val="solid"/>
            <a:miter/>
          </a:ln>
        </p:spPr>
        <p:txBody>
          <a:bodyPr rtlCol="0" anchor="ctr"/>
          <a:lstStyle/>
          <a:p>
            <a:endParaRPr lang="de-DE"/>
          </a:p>
        </p:txBody>
      </p:sp>
      <p:sp>
        <p:nvSpPr>
          <p:cNvPr id="79" name="Freihandform: Form 78">
            <a:extLst>
              <a:ext uri="{FF2B5EF4-FFF2-40B4-BE49-F238E27FC236}">
                <a16:creationId xmlns:a16="http://schemas.microsoft.com/office/drawing/2014/main" id="{B4D4817D-4731-42A5-93F4-FEB21866F9B4}"/>
              </a:ext>
            </a:extLst>
          </p:cNvPr>
          <p:cNvSpPr/>
          <p:nvPr userDrawn="1"/>
        </p:nvSpPr>
        <p:spPr>
          <a:xfrm>
            <a:off x="5948602" y="3848163"/>
            <a:ext cx="66419" cy="72245"/>
          </a:xfrm>
          <a:custGeom>
            <a:avLst/>
            <a:gdLst>
              <a:gd name="connsiteX0" fmla="*/ 30297 w 66419"/>
              <a:gd name="connsiteY0" fmla="*/ 72245 h 72245"/>
              <a:gd name="connsiteX1" fmla="*/ 0 w 66419"/>
              <a:gd name="connsiteY1" fmla="*/ 72245 h 72245"/>
              <a:gd name="connsiteX2" fmla="*/ 36123 w 66419"/>
              <a:gd name="connsiteY2" fmla="*/ 36123 h 72245"/>
              <a:gd name="connsiteX3" fmla="*/ 0 w 66419"/>
              <a:gd name="connsiteY3" fmla="*/ 0 h 72245"/>
              <a:gd name="connsiteX4" fmla="*/ 31462 w 66419"/>
              <a:gd name="connsiteY4" fmla="*/ 0 h 72245"/>
              <a:gd name="connsiteX5" fmla="*/ 66419 w 66419"/>
              <a:gd name="connsiteY5" fmla="*/ 34957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5"/>
                </a:moveTo>
                <a:lnTo>
                  <a:pt x="0" y="72245"/>
                </a:lnTo>
                <a:lnTo>
                  <a:pt x="36123" y="36123"/>
                </a:lnTo>
                <a:lnTo>
                  <a:pt x="0" y="0"/>
                </a:lnTo>
                <a:lnTo>
                  <a:pt x="31462" y="0"/>
                </a:lnTo>
                <a:lnTo>
                  <a:pt x="66419" y="34957"/>
                </a:lnTo>
                <a:close/>
              </a:path>
            </a:pathLst>
          </a:custGeom>
          <a:solidFill>
            <a:srgbClr val="2657A2"/>
          </a:solidFill>
          <a:ln w="11643" cap="flat">
            <a:noFill/>
            <a:prstDash val="solid"/>
            <a:miter/>
          </a:ln>
        </p:spPr>
        <p:txBody>
          <a:bodyPr rtlCol="0" anchor="ctr"/>
          <a:lstStyle/>
          <a:p>
            <a:endParaRPr lang="de-DE"/>
          </a:p>
        </p:txBody>
      </p:sp>
      <p:sp>
        <p:nvSpPr>
          <p:cNvPr id="80" name="Freihandform: Form 79">
            <a:extLst>
              <a:ext uri="{FF2B5EF4-FFF2-40B4-BE49-F238E27FC236}">
                <a16:creationId xmlns:a16="http://schemas.microsoft.com/office/drawing/2014/main" id="{3E3F5F79-7D12-4CE7-8ACA-54939A4C2D50}"/>
              </a:ext>
            </a:extLst>
          </p:cNvPr>
          <p:cNvSpPr/>
          <p:nvPr userDrawn="1"/>
        </p:nvSpPr>
        <p:spPr>
          <a:xfrm>
            <a:off x="5948602" y="5267435"/>
            <a:ext cx="66419" cy="72245"/>
          </a:xfrm>
          <a:custGeom>
            <a:avLst/>
            <a:gdLst>
              <a:gd name="connsiteX0" fmla="*/ 30297 w 66419"/>
              <a:gd name="connsiteY0" fmla="*/ 72246 h 72245"/>
              <a:gd name="connsiteX1" fmla="*/ 0 w 66419"/>
              <a:gd name="connsiteY1" fmla="*/ 72246 h 72245"/>
              <a:gd name="connsiteX2" fmla="*/ 36123 w 66419"/>
              <a:gd name="connsiteY2" fmla="*/ 36123 h 72245"/>
              <a:gd name="connsiteX3" fmla="*/ 0 w 66419"/>
              <a:gd name="connsiteY3" fmla="*/ 0 h 72245"/>
              <a:gd name="connsiteX4" fmla="*/ 31462 w 66419"/>
              <a:gd name="connsiteY4" fmla="*/ 0 h 72245"/>
              <a:gd name="connsiteX5" fmla="*/ 66419 w 66419"/>
              <a:gd name="connsiteY5" fmla="*/ 36123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6"/>
                </a:moveTo>
                <a:lnTo>
                  <a:pt x="0" y="72246"/>
                </a:lnTo>
                <a:lnTo>
                  <a:pt x="36123" y="36123"/>
                </a:lnTo>
                <a:lnTo>
                  <a:pt x="0" y="0"/>
                </a:lnTo>
                <a:lnTo>
                  <a:pt x="31462" y="0"/>
                </a:lnTo>
                <a:lnTo>
                  <a:pt x="66419" y="36123"/>
                </a:lnTo>
                <a:close/>
              </a:path>
            </a:pathLst>
          </a:custGeom>
          <a:solidFill>
            <a:srgbClr val="2657A2"/>
          </a:solidFill>
          <a:ln w="11643" cap="flat">
            <a:noFill/>
            <a:prstDash val="solid"/>
            <a:miter/>
          </a:ln>
        </p:spPr>
        <p:txBody>
          <a:bodyPr rtlCol="0" anchor="ctr"/>
          <a:lstStyle/>
          <a:p>
            <a:endParaRPr lang="de-DE"/>
          </a:p>
        </p:txBody>
      </p:sp>
      <p:sp>
        <p:nvSpPr>
          <p:cNvPr id="81" name="Freihandform: Form 80">
            <a:extLst>
              <a:ext uri="{FF2B5EF4-FFF2-40B4-BE49-F238E27FC236}">
                <a16:creationId xmlns:a16="http://schemas.microsoft.com/office/drawing/2014/main" id="{09523624-2DE9-4F81-884B-463B9D465ADB}"/>
              </a:ext>
            </a:extLst>
          </p:cNvPr>
          <p:cNvSpPr/>
          <p:nvPr userDrawn="1"/>
        </p:nvSpPr>
        <p:spPr>
          <a:xfrm>
            <a:off x="5948602" y="5622836"/>
            <a:ext cx="66419" cy="72245"/>
          </a:xfrm>
          <a:custGeom>
            <a:avLst/>
            <a:gdLst>
              <a:gd name="connsiteX0" fmla="*/ 30297 w 66419"/>
              <a:gd name="connsiteY0" fmla="*/ 72246 h 72245"/>
              <a:gd name="connsiteX1" fmla="*/ 0 w 66419"/>
              <a:gd name="connsiteY1" fmla="*/ 72246 h 72245"/>
              <a:gd name="connsiteX2" fmla="*/ 36123 w 66419"/>
              <a:gd name="connsiteY2" fmla="*/ 36123 h 72245"/>
              <a:gd name="connsiteX3" fmla="*/ 0 w 66419"/>
              <a:gd name="connsiteY3" fmla="*/ 0 h 72245"/>
              <a:gd name="connsiteX4" fmla="*/ 31462 w 66419"/>
              <a:gd name="connsiteY4" fmla="*/ 0 h 72245"/>
              <a:gd name="connsiteX5" fmla="*/ 66419 w 66419"/>
              <a:gd name="connsiteY5" fmla="*/ 34957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6"/>
                </a:moveTo>
                <a:lnTo>
                  <a:pt x="0" y="72246"/>
                </a:lnTo>
                <a:lnTo>
                  <a:pt x="36123" y="36123"/>
                </a:lnTo>
                <a:lnTo>
                  <a:pt x="0" y="0"/>
                </a:lnTo>
                <a:lnTo>
                  <a:pt x="31462" y="0"/>
                </a:lnTo>
                <a:lnTo>
                  <a:pt x="66419" y="34957"/>
                </a:lnTo>
                <a:close/>
              </a:path>
            </a:pathLst>
          </a:custGeom>
          <a:solidFill>
            <a:srgbClr val="2657A2"/>
          </a:solidFill>
          <a:ln w="11643" cap="flat">
            <a:noFill/>
            <a:prstDash val="solid"/>
            <a:miter/>
          </a:ln>
        </p:spPr>
        <p:txBody>
          <a:bodyPr rtlCol="0" anchor="ctr"/>
          <a:lstStyle/>
          <a:p>
            <a:endParaRPr lang="de-DE"/>
          </a:p>
        </p:txBody>
      </p:sp>
      <p:sp>
        <p:nvSpPr>
          <p:cNvPr id="82" name="Freihandform: Form 81">
            <a:extLst>
              <a:ext uri="{FF2B5EF4-FFF2-40B4-BE49-F238E27FC236}">
                <a16:creationId xmlns:a16="http://schemas.microsoft.com/office/drawing/2014/main" id="{3BAE2ECB-E3DE-400C-B547-EABFEB22B3BC}"/>
              </a:ext>
            </a:extLst>
          </p:cNvPr>
          <p:cNvSpPr/>
          <p:nvPr userDrawn="1"/>
        </p:nvSpPr>
        <p:spPr>
          <a:xfrm>
            <a:off x="5948602" y="5977071"/>
            <a:ext cx="66419" cy="72245"/>
          </a:xfrm>
          <a:custGeom>
            <a:avLst/>
            <a:gdLst>
              <a:gd name="connsiteX0" fmla="*/ 30297 w 66419"/>
              <a:gd name="connsiteY0" fmla="*/ 72246 h 72245"/>
              <a:gd name="connsiteX1" fmla="*/ 0 w 66419"/>
              <a:gd name="connsiteY1" fmla="*/ 72246 h 72245"/>
              <a:gd name="connsiteX2" fmla="*/ 36123 w 66419"/>
              <a:gd name="connsiteY2" fmla="*/ 36123 h 72245"/>
              <a:gd name="connsiteX3" fmla="*/ 0 w 66419"/>
              <a:gd name="connsiteY3" fmla="*/ 0 h 72245"/>
              <a:gd name="connsiteX4" fmla="*/ 31462 w 66419"/>
              <a:gd name="connsiteY4" fmla="*/ 0 h 72245"/>
              <a:gd name="connsiteX5" fmla="*/ 66419 w 66419"/>
              <a:gd name="connsiteY5" fmla="*/ 36123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6"/>
                </a:moveTo>
                <a:lnTo>
                  <a:pt x="0" y="72246"/>
                </a:lnTo>
                <a:lnTo>
                  <a:pt x="36123" y="36123"/>
                </a:lnTo>
                <a:lnTo>
                  <a:pt x="0" y="0"/>
                </a:lnTo>
                <a:lnTo>
                  <a:pt x="31462" y="0"/>
                </a:lnTo>
                <a:lnTo>
                  <a:pt x="66419" y="36123"/>
                </a:lnTo>
                <a:close/>
              </a:path>
            </a:pathLst>
          </a:custGeom>
          <a:solidFill>
            <a:srgbClr val="2657A2"/>
          </a:solidFill>
          <a:ln w="11643" cap="flat">
            <a:noFill/>
            <a:prstDash val="solid"/>
            <a:miter/>
          </a:ln>
        </p:spPr>
        <p:txBody>
          <a:bodyPr rtlCol="0" anchor="ctr"/>
          <a:lstStyle/>
          <a:p>
            <a:endParaRPr lang="de-DE"/>
          </a:p>
        </p:txBody>
      </p:sp>
      <p:sp>
        <p:nvSpPr>
          <p:cNvPr id="83" name="Freihandform: Form 82">
            <a:extLst>
              <a:ext uri="{FF2B5EF4-FFF2-40B4-BE49-F238E27FC236}">
                <a16:creationId xmlns:a16="http://schemas.microsoft.com/office/drawing/2014/main" id="{E9BDDA1E-32EC-47ED-83F5-8663595C5D80}"/>
              </a:ext>
            </a:extLst>
          </p:cNvPr>
          <p:cNvSpPr/>
          <p:nvPr userDrawn="1"/>
        </p:nvSpPr>
        <p:spPr>
          <a:xfrm>
            <a:off x="5948602" y="6332472"/>
            <a:ext cx="66419" cy="72245"/>
          </a:xfrm>
          <a:custGeom>
            <a:avLst/>
            <a:gdLst>
              <a:gd name="connsiteX0" fmla="*/ 30297 w 66419"/>
              <a:gd name="connsiteY0" fmla="*/ 72246 h 72245"/>
              <a:gd name="connsiteX1" fmla="*/ 0 w 66419"/>
              <a:gd name="connsiteY1" fmla="*/ 72246 h 72245"/>
              <a:gd name="connsiteX2" fmla="*/ 36123 w 66419"/>
              <a:gd name="connsiteY2" fmla="*/ 36123 h 72245"/>
              <a:gd name="connsiteX3" fmla="*/ 0 w 66419"/>
              <a:gd name="connsiteY3" fmla="*/ 0 h 72245"/>
              <a:gd name="connsiteX4" fmla="*/ 31462 w 66419"/>
              <a:gd name="connsiteY4" fmla="*/ 0 h 72245"/>
              <a:gd name="connsiteX5" fmla="*/ 66419 w 66419"/>
              <a:gd name="connsiteY5" fmla="*/ 34957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6"/>
                </a:moveTo>
                <a:lnTo>
                  <a:pt x="0" y="72246"/>
                </a:lnTo>
                <a:lnTo>
                  <a:pt x="36123" y="36123"/>
                </a:lnTo>
                <a:lnTo>
                  <a:pt x="0" y="0"/>
                </a:lnTo>
                <a:lnTo>
                  <a:pt x="31462" y="0"/>
                </a:lnTo>
                <a:lnTo>
                  <a:pt x="66419" y="34957"/>
                </a:lnTo>
                <a:close/>
              </a:path>
            </a:pathLst>
          </a:custGeom>
          <a:solidFill>
            <a:srgbClr val="2657A2"/>
          </a:solidFill>
          <a:ln w="11643" cap="flat">
            <a:noFill/>
            <a:prstDash val="solid"/>
            <a:miter/>
          </a:ln>
        </p:spPr>
        <p:txBody>
          <a:bodyPr rtlCol="0" anchor="ctr"/>
          <a:lstStyle/>
          <a:p>
            <a:endParaRPr lang="de-DE"/>
          </a:p>
        </p:txBody>
      </p:sp>
      <p:sp>
        <p:nvSpPr>
          <p:cNvPr id="84" name="Freihandform: Form 83">
            <a:extLst>
              <a:ext uri="{FF2B5EF4-FFF2-40B4-BE49-F238E27FC236}">
                <a16:creationId xmlns:a16="http://schemas.microsoft.com/office/drawing/2014/main" id="{34862F86-A4AC-48CD-AAD4-1A755DE57E66}"/>
              </a:ext>
            </a:extLst>
          </p:cNvPr>
          <p:cNvSpPr/>
          <p:nvPr userDrawn="1"/>
        </p:nvSpPr>
        <p:spPr>
          <a:xfrm>
            <a:off x="5948602" y="6686707"/>
            <a:ext cx="66419" cy="72245"/>
          </a:xfrm>
          <a:custGeom>
            <a:avLst/>
            <a:gdLst>
              <a:gd name="connsiteX0" fmla="*/ 30297 w 66419"/>
              <a:gd name="connsiteY0" fmla="*/ 72246 h 72245"/>
              <a:gd name="connsiteX1" fmla="*/ 0 w 66419"/>
              <a:gd name="connsiteY1" fmla="*/ 72246 h 72245"/>
              <a:gd name="connsiteX2" fmla="*/ 36123 w 66419"/>
              <a:gd name="connsiteY2" fmla="*/ 37288 h 72245"/>
              <a:gd name="connsiteX3" fmla="*/ 0 w 66419"/>
              <a:gd name="connsiteY3" fmla="*/ 0 h 72245"/>
              <a:gd name="connsiteX4" fmla="*/ 31462 w 66419"/>
              <a:gd name="connsiteY4" fmla="*/ 0 h 72245"/>
              <a:gd name="connsiteX5" fmla="*/ 66419 w 66419"/>
              <a:gd name="connsiteY5" fmla="*/ 36123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6"/>
                </a:moveTo>
                <a:lnTo>
                  <a:pt x="0" y="72246"/>
                </a:lnTo>
                <a:lnTo>
                  <a:pt x="36123" y="37288"/>
                </a:lnTo>
                <a:lnTo>
                  <a:pt x="0" y="0"/>
                </a:lnTo>
                <a:lnTo>
                  <a:pt x="31462" y="0"/>
                </a:lnTo>
                <a:lnTo>
                  <a:pt x="66419" y="36123"/>
                </a:lnTo>
                <a:close/>
              </a:path>
            </a:pathLst>
          </a:custGeom>
          <a:solidFill>
            <a:srgbClr val="2657A2"/>
          </a:solidFill>
          <a:ln w="11643" cap="flat">
            <a:noFill/>
            <a:prstDash val="solid"/>
            <a:miter/>
          </a:ln>
        </p:spPr>
        <p:txBody>
          <a:bodyPr rtlCol="0" anchor="ctr"/>
          <a:lstStyle/>
          <a:p>
            <a:endParaRPr lang="de-DE"/>
          </a:p>
        </p:txBody>
      </p:sp>
      <p:sp>
        <p:nvSpPr>
          <p:cNvPr id="85" name="Freihandform: Form 84">
            <a:extLst>
              <a:ext uri="{FF2B5EF4-FFF2-40B4-BE49-F238E27FC236}">
                <a16:creationId xmlns:a16="http://schemas.microsoft.com/office/drawing/2014/main" id="{43B1BD14-6A10-4145-BB1B-CDB6A7D8D805}"/>
              </a:ext>
            </a:extLst>
          </p:cNvPr>
          <p:cNvSpPr/>
          <p:nvPr userDrawn="1"/>
        </p:nvSpPr>
        <p:spPr>
          <a:xfrm>
            <a:off x="6294680" y="2064168"/>
            <a:ext cx="83897" cy="90889"/>
          </a:xfrm>
          <a:custGeom>
            <a:avLst/>
            <a:gdLst>
              <a:gd name="connsiteX0" fmla="*/ 38453 w 83897"/>
              <a:gd name="connsiteY0" fmla="*/ 90889 h 90889"/>
              <a:gd name="connsiteX1" fmla="*/ 0 w 83897"/>
              <a:gd name="connsiteY1" fmla="*/ 90889 h 90889"/>
              <a:gd name="connsiteX2" fmla="*/ 45445 w 83897"/>
              <a:gd name="connsiteY2" fmla="*/ 46610 h 90889"/>
              <a:gd name="connsiteX3" fmla="*/ 0 w 83897"/>
              <a:gd name="connsiteY3" fmla="*/ 0 h 90889"/>
              <a:gd name="connsiteX4" fmla="*/ 39618 w 83897"/>
              <a:gd name="connsiteY4" fmla="*/ 0 h 90889"/>
              <a:gd name="connsiteX5" fmla="*/ 83898 w 83897"/>
              <a:gd name="connsiteY5" fmla="*/ 45445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6610"/>
                </a:lnTo>
                <a:lnTo>
                  <a:pt x="0" y="0"/>
                </a:lnTo>
                <a:lnTo>
                  <a:pt x="39618" y="0"/>
                </a:lnTo>
                <a:lnTo>
                  <a:pt x="83898" y="45445"/>
                </a:lnTo>
                <a:close/>
              </a:path>
            </a:pathLst>
          </a:custGeom>
          <a:solidFill>
            <a:srgbClr val="2657A2"/>
          </a:solidFill>
          <a:ln w="11643" cap="flat">
            <a:noFill/>
            <a:prstDash val="solid"/>
            <a:miter/>
          </a:ln>
        </p:spPr>
        <p:txBody>
          <a:bodyPr rtlCol="0" anchor="ctr"/>
          <a:lstStyle/>
          <a:p>
            <a:endParaRPr lang="de-DE"/>
          </a:p>
        </p:txBody>
      </p:sp>
      <p:sp>
        <p:nvSpPr>
          <p:cNvPr id="86" name="Freihandform: Form 85">
            <a:extLst>
              <a:ext uri="{FF2B5EF4-FFF2-40B4-BE49-F238E27FC236}">
                <a16:creationId xmlns:a16="http://schemas.microsoft.com/office/drawing/2014/main" id="{61EE4211-85B6-4562-85BA-F22F3E20DD29}"/>
              </a:ext>
            </a:extLst>
          </p:cNvPr>
          <p:cNvSpPr/>
          <p:nvPr userDrawn="1"/>
        </p:nvSpPr>
        <p:spPr>
          <a:xfrm>
            <a:off x="6294680" y="2419569"/>
            <a:ext cx="83897" cy="90889"/>
          </a:xfrm>
          <a:custGeom>
            <a:avLst/>
            <a:gdLst>
              <a:gd name="connsiteX0" fmla="*/ 38453 w 83897"/>
              <a:gd name="connsiteY0" fmla="*/ 90889 h 90889"/>
              <a:gd name="connsiteX1" fmla="*/ 0 w 83897"/>
              <a:gd name="connsiteY1" fmla="*/ 90889 h 90889"/>
              <a:gd name="connsiteX2" fmla="*/ 45445 w 83897"/>
              <a:gd name="connsiteY2" fmla="*/ 45445 h 90889"/>
              <a:gd name="connsiteX3" fmla="*/ 0 w 83897"/>
              <a:gd name="connsiteY3" fmla="*/ 0 h 90889"/>
              <a:gd name="connsiteX4" fmla="*/ 39618 w 83897"/>
              <a:gd name="connsiteY4" fmla="*/ 0 h 90889"/>
              <a:gd name="connsiteX5" fmla="*/ 83898 w 83897"/>
              <a:gd name="connsiteY5" fmla="*/ 44279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5445"/>
                </a:lnTo>
                <a:lnTo>
                  <a:pt x="0" y="0"/>
                </a:lnTo>
                <a:lnTo>
                  <a:pt x="39618" y="0"/>
                </a:lnTo>
                <a:lnTo>
                  <a:pt x="83898" y="44279"/>
                </a:lnTo>
                <a:close/>
              </a:path>
            </a:pathLst>
          </a:custGeom>
          <a:solidFill>
            <a:srgbClr val="2657A2"/>
          </a:solidFill>
          <a:ln w="11643" cap="flat">
            <a:noFill/>
            <a:prstDash val="solid"/>
            <a:miter/>
          </a:ln>
        </p:spPr>
        <p:txBody>
          <a:bodyPr rtlCol="0" anchor="ctr"/>
          <a:lstStyle/>
          <a:p>
            <a:endParaRPr lang="de-DE"/>
          </a:p>
        </p:txBody>
      </p:sp>
      <p:sp>
        <p:nvSpPr>
          <p:cNvPr id="87" name="Freihandform: Form 86">
            <a:extLst>
              <a:ext uri="{FF2B5EF4-FFF2-40B4-BE49-F238E27FC236}">
                <a16:creationId xmlns:a16="http://schemas.microsoft.com/office/drawing/2014/main" id="{536DCCBC-D96D-4A02-BBC2-19048F080316}"/>
              </a:ext>
            </a:extLst>
          </p:cNvPr>
          <p:cNvSpPr/>
          <p:nvPr userDrawn="1"/>
        </p:nvSpPr>
        <p:spPr>
          <a:xfrm>
            <a:off x="6294680" y="2773804"/>
            <a:ext cx="83897" cy="90889"/>
          </a:xfrm>
          <a:custGeom>
            <a:avLst/>
            <a:gdLst>
              <a:gd name="connsiteX0" fmla="*/ 38453 w 83897"/>
              <a:gd name="connsiteY0" fmla="*/ 90889 h 90889"/>
              <a:gd name="connsiteX1" fmla="*/ 0 w 83897"/>
              <a:gd name="connsiteY1" fmla="*/ 90889 h 90889"/>
              <a:gd name="connsiteX2" fmla="*/ 45445 w 83897"/>
              <a:gd name="connsiteY2" fmla="*/ 46610 h 90889"/>
              <a:gd name="connsiteX3" fmla="*/ 0 w 83897"/>
              <a:gd name="connsiteY3" fmla="*/ 0 h 90889"/>
              <a:gd name="connsiteX4" fmla="*/ 39618 w 83897"/>
              <a:gd name="connsiteY4" fmla="*/ 0 h 90889"/>
              <a:gd name="connsiteX5" fmla="*/ 83898 w 83897"/>
              <a:gd name="connsiteY5" fmla="*/ 45445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6610"/>
                </a:lnTo>
                <a:lnTo>
                  <a:pt x="0" y="0"/>
                </a:lnTo>
                <a:lnTo>
                  <a:pt x="39618" y="0"/>
                </a:lnTo>
                <a:lnTo>
                  <a:pt x="83898" y="45445"/>
                </a:lnTo>
                <a:close/>
              </a:path>
            </a:pathLst>
          </a:custGeom>
          <a:solidFill>
            <a:srgbClr val="2657A2"/>
          </a:solidFill>
          <a:ln w="11643" cap="flat">
            <a:noFill/>
            <a:prstDash val="solid"/>
            <a:miter/>
          </a:ln>
        </p:spPr>
        <p:txBody>
          <a:bodyPr rtlCol="0" anchor="ctr"/>
          <a:lstStyle/>
          <a:p>
            <a:endParaRPr lang="de-DE"/>
          </a:p>
        </p:txBody>
      </p:sp>
      <p:sp>
        <p:nvSpPr>
          <p:cNvPr id="88" name="Freihandform: Form 87">
            <a:extLst>
              <a:ext uri="{FF2B5EF4-FFF2-40B4-BE49-F238E27FC236}">
                <a16:creationId xmlns:a16="http://schemas.microsoft.com/office/drawing/2014/main" id="{63BBE0F9-E7FF-4681-A20D-D7D1BA2BDB25}"/>
              </a:ext>
            </a:extLst>
          </p:cNvPr>
          <p:cNvSpPr/>
          <p:nvPr userDrawn="1"/>
        </p:nvSpPr>
        <p:spPr>
          <a:xfrm>
            <a:off x="6294680" y="3129205"/>
            <a:ext cx="83897" cy="90889"/>
          </a:xfrm>
          <a:custGeom>
            <a:avLst/>
            <a:gdLst>
              <a:gd name="connsiteX0" fmla="*/ 38453 w 83897"/>
              <a:gd name="connsiteY0" fmla="*/ 90889 h 90889"/>
              <a:gd name="connsiteX1" fmla="*/ 0 w 83897"/>
              <a:gd name="connsiteY1" fmla="*/ 90889 h 90889"/>
              <a:gd name="connsiteX2" fmla="*/ 45445 w 83897"/>
              <a:gd name="connsiteY2" fmla="*/ 45445 h 90889"/>
              <a:gd name="connsiteX3" fmla="*/ 0 w 83897"/>
              <a:gd name="connsiteY3" fmla="*/ 0 h 90889"/>
              <a:gd name="connsiteX4" fmla="*/ 39618 w 83897"/>
              <a:gd name="connsiteY4" fmla="*/ 0 h 90889"/>
              <a:gd name="connsiteX5" fmla="*/ 83898 w 83897"/>
              <a:gd name="connsiteY5" fmla="*/ 44279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5445"/>
                </a:lnTo>
                <a:lnTo>
                  <a:pt x="0" y="0"/>
                </a:lnTo>
                <a:lnTo>
                  <a:pt x="39618" y="0"/>
                </a:lnTo>
                <a:lnTo>
                  <a:pt x="83898" y="44279"/>
                </a:lnTo>
                <a:close/>
              </a:path>
            </a:pathLst>
          </a:custGeom>
          <a:solidFill>
            <a:srgbClr val="2657A2"/>
          </a:solidFill>
          <a:ln w="11643" cap="flat">
            <a:noFill/>
            <a:prstDash val="solid"/>
            <a:miter/>
          </a:ln>
        </p:spPr>
        <p:txBody>
          <a:bodyPr rtlCol="0" anchor="ctr"/>
          <a:lstStyle/>
          <a:p>
            <a:endParaRPr lang="de-DE"/>
          </a:p>
        </p:txBody>
      </p:sp>
      <p:sp>
        <p:nvSpPr>
          <p:cNvPr id="89" name="Freihandform: Form 88">
            <a:extLst>
              <a:ext uri="{FF2B5EF4-FFF2-40B4-BE49-F238E27FC236}">
                <a16:creationId xmlns:a16="http://schemas.microsoft.com/office/drawing/2014/main" id="{C44F9E79-A576-493A-95C8-9591C8CE0124}"/>
              </a:ext>
            </a:extLst>
          </p:cNvPr>
          <p:cNvSpPr/>
          <p:nvPr userDrawn="1"/>
        </p:nvSpPr>
        <p:spPr>
          <a:xfrm>
            <a:off x="6294680" y="3484606"/>
            <a:ext cx="83897" cy="89724"/>
          </a:xfrm>
          <a:custGeom>
            <a:avLst/>
            <a:gdLst>
              <a:gd name="connsiteX0" fmla="*/ 38453 w 83897"/>
              <a:gd name="connsiteY0" fmla="*/ 89724 h 89724"/>
              <a:gd name="connsiteX1" fmla="*/ 0 w 83897"/>
              <a:gd name="connsiteY1" fmla="*/ 89724 h 89724"/>
              <a:gd name="connsiteX2" fmla="*/ 45445 w 83897"/>
              <a:gd name="connsiteY2" fmla="*/ 45445 h 89724"/>
              <a:gd name="connsiteX3" fmla="*/ 0 w 83897"/>
              <a:gd name="connsiteY3" fmla="*/ 0 h 89724"/>
              <a:gd name="connsiteX4" fmla="*/ 39618 w 83897"/>
              <a:gd name="connsiteY4" fmla="*/ 0 h 89724"/>
              <a:gd name="connsiteX5" fmla="*/ 83898 w 83897"/>
              <a:gd name="connsiteY5" fmla="*/ 44279 h 89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89724">
                <a:moveTo>
                  <a:pt x="38453" y="89724"/>
                </a:moveTo>
                <a:lnTo>
                  <a:pt x="0" y="89724"/>
                </a:lnTo>
                <a:lnTo>
                  <a:pt x="45445" y="45445"/>
                </a:lnTo>
                <a:lnTo>
                  <a:pt x="0" y="0"/>
                </a:lnTo>
                <a:lnTo>
                  <a:pt x="39618" y="0"/>
                </a:lnTo>
                <a:lnTo>
                  <a:pt x="83898" y="44279"/>
                </a:lnTo>
                <a:close/>
              </a:path>
            </a:pathLst>
          </a:custGeom>
          <a:solidFill>
            <a:srgbClr val="2657A2"/>
          </a:solidFill>
          <a:ln w="11643" cap="flat">
            <a:noFill/>
            <a:prstDash val="solid"/>
            <a:miter/>
          </a:ln>
        </p:spPr>
        <p:txBody>
          <a:bodyPr rtlCol="0" anchor="ctr"/>
          <a:lstStyle/>
          <a:p>
            <a:endParaRPr lang="de-DE"/>
          </a:p>
        </p:txBody>
      </p:sp>
      <p:sp>
        <p:nvSpPr>
          <p:cNvPr id="90" name="Freihandform: Form 89">
            <a:extLst>
              <a:ext uri="{FF2B5EF4-FFF2-40B4-BE49-F238E27FC236}">
                <a16:creationId xmlns:a16="http://schemas.microsoft.com/office/drawing/2014/main" id="{1D71A084-7CCC-4C7B-9280-B2E067745881}"/>
              </a:ext>
            </a:extLst>
          </p:cNvPr>
          <p:cNvSpPr/>
          <p:nvPr userDrawn="1"/>
        </p:nvSpPr>
        <p:spPr>
          <a:xfrm>
            <a:off x="6294680" y="3838841"/>
            <a:ext cx="83897" cy="90889"/>
          </a:xfrm>
          <a:custGeom>
            <a:avLst/>
            <a:gdLst>
              <a:gd name="connsiteX0" fmla="*/ 38453 w 83897"/>
              <a:gd name="connsiteY0" fmla="*/ 90889 h 90889"/>
              <a:gd name="connsiteX1" fmla="*/ 0 w 83897"/>
              <a:gd name="connsiteY1" fmla="*/ 90889 h 90889"/>
              <a:gd name="connsiteX2" fmla="*/ 45445 w 83897"/>
              <a:gd name="connsiteY2" fmla="*/ 45445 h 90889"/>
              <a:gd name="connsiteX3" fmla="*/ 0 w 83897"/>
              <a:gd name="connsiteY3" fmla="*/ 0 h 90889"/>
              <a:gd name="connsiteX4" fmla="*/ 39618 w 83897"/>
              <a:gd name="connsiteY4" fmla="*/ 0 h 90889"/>
              <a:gd name="connsiteX5" fmla="*/ 83898 w 83897"/>
              <a:gd name="connsiteY5" fmla="*/ 44279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5445"/>
                </a:lnTo>
                <a:lnTo>
                  <a:pt x="0" y="0"/>
                </a:lnTo>
                <a:lnTo>
                  <a:pt x="39618" y="0"/>
                </a:lnTo>
                <a:lnTo>
                  <a:pt x="83898" y="44279"/>
                </a:lnTo>
                <a:close/>
              </a:path>
            </a:pathLst>
          </a:custGeom>
          <a:solidFill>
            <a:srgbClr val="2657A2"/>
          </a:solidFill>
          <a:ln w="11643" cap="flat">
            <a:noFill/>
            <a:prstDash val="solid"/>
            <a:miter/>
          </a:ln>
        </p:spPr>
        <p:txBody>
          <a:bodyPr rtlCol="0" anchor="ctr"/>
          <a:lstStyle/>
          <a:p>
            <a:endParaRPr lang="de-DE"/>
          </a:p>
        </p:txBody>
      </p:sp>
      <p:sp>
        <p:nvSpPr>
          <p:cNvPr id="91" name="Freihandform: Form 90">
            <a:extLst>
              <a:ext uri="{FF2B5EF4-FFF2-40B4-BE49-F238E27FC236}">
                <a16:creationId xmlns:a16="http://schemas.microsoft.com/office/drawing/2014/main" id="{3A978525-E6A5-4387-9498-101DE63D238C}"/>
              </a:ext>
            </a:extLst>
          </p:cNvPr>
          <p:cNvSpPr/>
          <p:nvPr userDrawn="1"/>
        </p:nvSpPr>
        <p:spPr>
          <a:xfrm>
            <a:off x="6294680" y="4194242"/>
            <a:ext cx="83897" cy="89724"/>
          </a:xfrm>
          <a:custGeom>
            <a:avLst/>
            <a:gdLst>
              <a:gd name="connsiteX0" fmla="*/ 38453 w 83897"/>
              <a:gd name="connsiteY0" fmla="*/ 89724 h 89724"/>
              <a:gd name="connsiteX1" fmla="*/ 0 w 83897"/>
              <a:gd name="connsiteY1" fmla="*/ 89724 h 89724"/>
              <a:gd name="connsiteX2" fmla="*/ 45445 w 83897"/>
              <a:gd name="connsiteY2" fmla="*/ 45445 h 89724"/>
              <a:gd name="connsiteX3" fmla="*/ 0 w 83897"/>
              <a:gd name="connsiteY3" fmla="*/ 0 h 89724"/>
              <a:gd name="connsiteX4" fmla="*/ 39618 w 83897"/>
              <a:gd name="connsiteY4" fmla="*/ 0 h 89724"/>
              <a:gd name="connsiteX5" fmla="*/ 83898 w 83897"/>
              <a:gd name="connsiteY5" fmla="*/ 44279 h 89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89724">
                <a:moveTo>
                  <a:pt x="38453" y="89724"/>
                </a:moveTo>
                <a:lnTo>
                  <a:pt x="0" y="89724"/>
                </a:lnTo>
                <a:lnTo>
                  <a:pt x="45445" y="45445"/>
                </a:lnTo>
                <a:lnTo>
                  <a:pt x="0" y="0"/>
                </a:lnTo>
                <a:lnTo>
                  <a:pt x="39618" y="0"/>
                </a:lnTo>
                <a:lnTo>
                  <a:pt x="83898" y="44279"/>
                </a:lnTo>
                <a:close/>
              </a:path>
            </a:pathLst>
          </a:custGeom>
          <a:solidFill>
            <a:srgbClr val="2657A2"/>
          </a:solidFill>
          <a:ln w="11643" cap="flat">
            <a:noFill/>
            <a:prstDash val="solid"/>
            <a:miter/>
          </a:ln>
        </p:spPr>
        <p:txBody>
          <a:bodyPr rtlCol="0" anchor="ctr"/>
          <a:lstStyle/>
          <a:p>
            <a:endParaRPr lang="de-DE"/>
          </a:p>
        </p:txBody>
      </p:sp>
      <p:sp>
        <p:nvSpPr>
          <p:cNvPr id="92" name="Freihandform: Form 91">
            <a:extLst>
              <a:ext uri="{FF2B5EF4-FFF2-40B4-BE49-F238E27FC236}">
                <a16:creationId xmlns:a16="http://schemas.microsoft.com/office/drawing/2014/main" id="{64A0CEE6-22D8-4C48-8A91-5F6FD8E1EE1B}"/>
              </a:ext>
            </a:extLst>
          </p:cNvPr>
          <p:cNvSpPr/>
          <p:nvPr userDrawn="1"/>
        </p:nvSpPr>
        <p:spPr>
          <a:xfrm>
            <a:off x="6294680" y="4903878"/>
            <a:ext cx="83897" cy="89724"/>
          </a:xfrm>
          <a:custGeom>
            <a:avLst/>
            <a:gdLst>
              <a:gd name="connsiteX0" fmla="*/ 38453 w 83897"/>
              <a:gd name="connsiteY0" fmla="*/ 89724 h 89724"/>
              <a:gd name="connsiteX1" fmla="*/ 0 w 83897"/>
              <a:gd name="connsiteY1" fmla="*/ 89724 h 89724"/>
              <a:gd name="connsiteX2" fmla="*/ 45445 w 83897"/>
              <a:gd name="connsiteY2" fmla="*/ 45445 h 89724"/>
              <a:gd name="connsiteX3" fmla="*/ 0 w 83897"/>
              <a:gd name="connsiteY3" fmla="*/ 0 h 89724"/>
              <a:gd name="connsiteX4" fmla="*/ 39618 w 83897"/>
              <a:gd name="connsiteY4" fmla="*/ 0 h 89724"/>
              <a:gd name="connsiteX5" fmla="*/ 83898 w 83897"/>
              <a:gd name="connsiteY5" fmla="*/ 44279 h 89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89724">
                <a:moveTo>
                  <a:pt x="38453" y="89724"/>
                </a:moveTo>
                <a:lnTo>
                  <a:pt x="0" y="89724"/>
                </a:lnTo>
                <a:lnTo>
                  <a:pt x="45445" y="45445"/>
                </a:lnTo>
                <a:lnTo>
                  <a:pt x="0" y="0"/>
                </a:lnTo>
                <a:lnTo>
                  <a:pt x="39618" y="0"/>
                </a:lnTo>
                <a:lnTo>
                  <a:pt x="83898" y="44279"/>
                </a:lnTo>
                <a:close/>
              </a:path>
            </a:pathLst>
          </a:custGeom>
          <a:solidFill>
            <a:srgbClr val="2657A2"/>
          </a:solidFill>
          <a:ln w="11643" cap="flat">
            <a:noFill/>
            <a:prstDash val="solid"/>
            <a:miter/>
          </a:ln>
        </p:spPr>
        <p:txBody>
          <a:bodyPr rtlCol="0" anchor="ctr"/>
          <a:lstStyle/>
          <a:p>
            <a:endParaRPr lang="de-DE"/>
          </a:p>
        </p:txBody>
      </p:sp>
      <p:sp>
        <p:nvSpPr>
          <p:cNvPr id="93" name="Freihandform: Form 92">
            <a:extLst>
              <a:ext uri="{FF2B5EF4-FFF2-40B4-BE49-F238E27FC236}">
                <a16:creationId xmlns:a16="http://schemas.microsoft.com/office/drawing/2014/main" id="{8CDC27FB-29F1-476C-8825-D43DF93706E1}"/>
              </a:ext>
            </a:extLst>
          </p:cNvPr>
          <p:cNvSpPr/>
          <p:nvPr userDrawn="1"/>
        </p:nvSpPr>
        <p:spPr>
          <a:xfrm>
            <a:off x="6294680" y="5258113"/>
            <a:ext cx="83897" cy="90889"/>
          </a:xfrm>
          <a:custGeom>
            <a:avLst/>
            <a:gdLst>
              <a:gd name="connsiteX0" fmla="*/ 38453 w 83897"/>
              <a:gd name="connsiteY0" fmla="*/ 90889 h 90889"/>
              <a:gd name="connsiteX1" fmla="*/ 0 w 83897"/>
              <a:gd name="connsiteY1" fmla="*/ 90889 h 90889"/>
              <a:gd name="connsiteX2" fmla="*/ 45445 w 83897"/>
              <a:gd name="connsiteY2" fmla="*/ 45445 h 90889"/>
              <a:gd name="connsiteX3" fmla="*/ 0 w 83897"/>
              <a:gd name="connsiteY3" fmla="*/ 0 h 90889"/>
              <a:gd name="connsiteX4" fmla="*/ 39618 w 83897"/>
              <a:gd name="connsiteY4" fmla="*/ 0 h 90889"/>
              <a:gd name="connsiteX5" fmla="*/ 83898 w 83897"/>
              <a:gd name="connsiteY5" fmla="*/ 44279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5445"/>
                </a:lnTo>
                <a:lnTo>
                  <a:pt x="0" y="0"/>
                </a:lnTo>
                <a:lnTo>
                  <a:pt x="39618" y="0"/>
                </a:lnTo>
                <a:lnTo>
                  <a:pt x="83898" y="44279"/>
                </a:lnTo>
                <a:close/>
              </a:path>
            </a:pathLst>
          </a:custGeom>
          <a:solidFill>
            <a:srgbClr val="2657A2"/>
          </a:solidFill>
          <a:ln w="11643" cap="flat">
            <a:noFill/>
            <a:prstDash val="solid"/>
            <a:miter/>
          </a:ln>
        </p:spPr>
        <p:txBody>
          <a:bodyPr rtlCol="0" anchor="ctr"/>
          <a:lstStyle/>
          <a:p>
            <a:endParaRPr lang="de-DE"/>
          </a:p>
        </p:txBody>
      </p:sp>
      <p:sp>
        <p:nvSpPr>
          <p:cNvPr id="94" name="Freihandform: Form 93">
            <a:extLst>
              <a:ext uri="{FF2B5EF4-FFF2-40B4-BE49-F238E27FC236}">
                <a16:creationId xmlns:a16="http://schemas.microsoft.com/office/drawing/2014/main" id="{3EB4C2F3-CA76-4583-9524-6832080FCF46}"/>
              </a:ext>
            </a:extLst>
          </p:cNvPr>
          <p:cNvSpPr/>
          <p:nvPr userDrawn="1"/>
        </p:nvSpPr>
        <p:spPr>
          <a:xfrm>
            <a:off x="6294680" y="5613514"/>
            <a:ext cx="83897" cy="90889"/>
          </a:xfrm>
          <a:custGeom>
            <a:avLst/>
            <a:gdLst>
              <a:gd name="connsiteX0" fmla="*/ 38453 w 83897"/>
              <a:gd name="connsiteY0" fmla="*/ 90889 h 90889"/>
              <a:gd name="connsiteX1" fmla="*/ 0 w 83897"/>
              <a:gd name="connsiteY1" fmla="*/ 90889 h 90889"/>
              <a:gd name="connsiteX2" fmla="*/ 45445 w 83897"/>
              <a:gd name="connsiteY2" fmla="*/ 45445 h 90889"/>
              <a:gd name="connsiteX3" fmla="*/ 0 w 83897"/>
              <a:gd name="connsiteY3" fmla="*/ 0 h 90889"/>
              <a:gd name="connsiteX4" fmla="*/ 39618 w 83897"/>
              <a:gd name="connsiteY4" fmla="*/ 0 h 90889"/>
              <a:gd name="connsiteX5" fmla="*/ 83898 w 83897"/>
              <a:gd name="connsiteY5" fmla="*/ 44279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5445"/>
                </a:lnTo>
                <a:lnTo>
                  <a:pt x="0" y="0"/>
                </a:lnTo>
                <a:lnTo>
                  <a:pt x="39618" y="0"/>
                </a:lnTo>
                <a:lnTo>
                  <a:pt x="83898" y="44279"/>
                </a:lnTo>
                <a:close/>
              </a:path>
            </a:pathLst>
          </a:custGeom>
          <a:solidFill>
            <a:srgbClr val="2657A2"/>
          </a:solidFill>
          <a:ln w="11643" cap="flat">
            <a:noFill/>
            <a:prstDash val="solid"/>
            <a:miter/>
          </a:ln>
        </p:spPr>
        <p:txBody>
          <a:bodyPr rtlCol="0" anchor="ctr"/>
          <a:lstStyle/>
          <a:p>
            <a:endParaRPr lang="de-DE"/>
          </a:p>
        </p:txBody>
      </p:sp>
      <p:sp>
        <p:nvSpPr>
          <p:cNvPr id="95" name="Freihandform: Form 94">
            <a:extLst>
              <a:ext uri="{FF2B5EF4-FFF2-40B4-BE49-F238E27FC236}">
                <a16:creationId xmlns:a16="http://schemas.microsoft.com/office/drawing/2014/main" id="{F135C26F-79DA-4BAC-853C-80E59F9BCED2}"/>
              </a:ext>
            </a:extLst>
          </p:cNvPr>
          <p:cNvSpPr/>
          <p:nvPr userDrawn="1"/>
        </p:nvSpPr>
        <p:spPr>
          <a:xfrm>
            <a:off x="6294680" y="5967749"/>
            <a:ext cx="83897" cy="90889"/>
          </a:xfrm>
          <a:custGeom>
            <a:avLst/>
            <a:gdLst>
              <a:gd name="connsiteX0" fmla="*/ 38453 w 83897"/>
              <a:gd name="connsiteY0" fmla="*/ 90889 h 90889"/>
              <a:gd name="connsiteX1" fmla="*/ 0 w 83897"/>
              <a:gd name="connsiteY1" fmla="*/ 90889 h 90889"/>
              <a:gd name="connsiteX2" fmla="*/ 45445 w 83897"/>
              <a:gd name="connsiteY2" fmla="*/ 46610 h 90889"/>
              <a:gd name="connsiteX3" fmla="*/ 0 w 83897"/>
              <a:gd name="connsiteY3" fmla="*/ 0 h 90889"/>
              <a:gd name="connsiteX4" fmla="*/ 39618 w 83897"/>
              <a:gd name="connsiteY4" fmla="*/ 0 h 90889"/>
              <a:gd name="connsiteX5" fmla="*/ 83898 w 83897"/>
              <a:gd name="connsiteY5" fmla="*/ 45445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6610"/>
                </a:lnTo>
                <a:lnTo>
                  <a:pt x="0" y="0"/>
                </a:lnTo>
                <a:lnTo>
                  <a:pt x="39618" y="0"/>
                </a:lnTo>
                <a:lnTo>
                  <a:pt x="83898" y="45445"/>
                </a:lnTo>
                <a:close/>
              </a:path>
            </a:pathLst>
          </a:custGeom>
          <a:solidFill>
            <a:srgbClr val="2657A2"/>
          </a:solidFill>
          <a:ln w="11643" cap="flat">
            <a:noFill/>
            <a:prstDash val="solid"/>
            <a:miter/>
          </a:ln>
        </p:spPr>
        <p:txBody>
          <a:bodyPr rtlCol="0" anchor="ctr"/>
          <a:lstStyle/>
          <a:p>
            <a:endParaRPr lang="de-DE"/>
          </a:p>
        </p:txBody>
      </p:sp>
      <p:sp>
        <p:nvSpPr>
          <p:cNvPr id="96" name="Freihandform: Form 95">
            <a:extLst>
              <a:ext uri="{FF2B5EF4-FFF2-40B4-BE49-F238E27FC236}">
                <a16:creationId xmlns:a16="http://schemas.microsoft.com/office/drawing/2014/main" id="{3E35FA85-A903-4CFD-B654-7358369F20F9}"/>
              </a:ext>
            </a:extLst>
          </p:cNvPr>
          <p:cNvSpPr/>
          <p:nvPr userDrawn="1"/>
        </p:nvSpPr>
        <p:spPr>
          <a:xfrm>
            <a:off x="6294680" y="6323150"/>
            <a:ext cx="83897" cy="90889"/>
          </a:xfrm>
          <a:custGeom>
            <a:avLst/>
            <a:gdLst>
              <a:gd name="connsiteX0" fmla="*/ 38453 w 83897"/>
              <a:gd name="connsiteY0" fmla="*/ 90889 h 90889"/>
              <a:gd name="connsiteX1" fmla="*/ 0 w 83897"/>
              <a:gd name="connsiteY1" fmla="*/ 90889 h 90889"/>
              <a:gd name="connsiteX2" fmla="*/ 45445 w 83897"/>
              <a:gd name="connsiteY2" fmla="*/ 45445 h 90889"/>
              <a:gd name="connsiteX3" fmla="*/ 0 w 83897"/>
              <a:gd name="connsiteY3" fmla="*/ 0 h 90889"/>
              <a:gd name="connsiteX4" fmla="*/ 39618 w 83897"/>
              <a:gd name="connsiteY4" fmla="*/ 0 h 90889"/>
              <a:gd name="connsiteX5" fmla="*/ 83898 w 83897"/>
              <a:gd name="connsiteY5" fmla="*/ 44279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5445"/>
                </a:lnTo>
                <a:lnTo>
                  <a:pt x="0" y="0"/>
                </a:lnTo>
                <a:lnTo>
                  <a:pt x="39618" y="0"/>
                </a:lnTo>
                <a:lnTo>
                  <a:pt x="83898" y="44279"/>
                </a:lnTo>
                <a:close/>
              </a:path>
            </a:pathLst>
          </a:custGeom>
          <a:solidFill>
            <a:srgbClr val="2657A2"/>
          </a:solidFill>
          <a:ln w="11643" cap="flat">
            <a:noFill/>
            <a:prstDash val="solid"/>
            <a:miter/>
          </a:ln>
        </p:spPr>
        <p:txBody>
          <a:bodyPr rtlCol="0" anchor="ctr"/>
          <a:lstStyle/>
          <a:p>
            <a:endParaRPr lang="de-DE"/>
          </a:p>
        </p:txBody>
      </p:sp>
      <p:sp>
        <p:nvSpPr>
          <p:cNvPr id="97" name="Freihandform: Form 96">
            <a:extLst>
              <a:ext uri="{FF2B5EF4-FFF2-40B4-BE49-F238E27FC236}">
                <a16:creationId xmlns:a16="http://schemas.microsoft.com/office/drawing/2014/main" id="{59067F63-85B0-4649-A8E6-FB51B16BA558}"/>
              </a:ext>
            </a:extLst>
          </p:cNvPr>
          <p:cNvSpPr/>
          <p:nvPr userDrawn="1"/>
        </p:nvSpPr>
        <p:spPr>
          <a:xfrm>
            <a:off x="6294680" y="6677385"/>
            <a:ext cx="83897" cy="90889"/>
          </a:xfrm>
          <a:custGeom>
            <a:avLst/>
            <a:gdLst>
              <a:gd name="connsiteX0" fmla="*/ 38453 w 83897"/>
              <a:gd name="connsiteY0" fmla="*/ 90889 h 90889"/>
              <a:gd name="connsiteX1" fmla="*/ 0 w 83897"/>
              <a:gd name="connsiteY1" fmla="*/ 90889 h 90889"/>
              <a:gd name="connsiteX2" fmla="*/ 45445 w 83897"/>
              <a:gd name="connsiteY2" fmla="*/ 46610 h 90889"/>
              <a:gd name="connsiteX3" fmla="*/ 0 w 83897"/>
              <a:gd name="connsiteY3" fmla="*/ 0 h 90889"/>
              <a:gd name="connsiteX4" fmla="*/ 39618 w 83897"/>
              <a:gd name="connsiteY4" fmla="*/ 0 h 90889"/>
              <a:gd name="connsiteX5" fmla="*/ 83898 w 83897"/>
              <a:gd name="connsiteY5" fmla="*/ 45445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6610"/>
                </a:lnTo>
                <a:lnTo>
                  <a:pt x="0" y="0"/>
                </a:lnTo>
                <a:lnTo>
                  <a:pt x="39618" y="0"/>
                </a:lnTo>
                <a:lnTo>
                  <a:pt x="83898" y="45445"/>
                </a:lnTo>
                <a:close/>
              </a:path>
            </a:pathLst>
          </a:custGeom>
          <a:solidFill>
            <a:srgbClr val="2657A2"/>
          </a:solidFill>
          <a:ln w="11643" cap="flat">
            <a:noFill/>
            <a:prstDash val="solid"/>
            <a:miter/>
          </a:ln>
        </p:spPr>
        <p:txBody>
          <a:bodyPr rtlCol="0" anchor="ctr"/>
          <a:lstStyle/>
          <a:p>
            <a:endParaRPr lang="de-DE"/>
          </a:p>
        </p:txBody>
      </p:sp>
      <p:sp>
        <p:nvSpPr>
          <p:cNvPr id="98" name="Freihandform: Form 97">
            <a:extLst>
              <a:ext uri="{FF2B5EF4-FFF2-40B4-BE49-F238E27FC236}">
                <a16:creationId xmlns:a16="http://schemas.microsoft.com/office/drawing/2014/main" id="{183457A2-D214-4D00-ADAE-05EE4BC9F121}"/>
              </a:ext>
            </a:extLst>
          </p:cNvPr>
          <p:cNvSpPr/>
          <p:nvPr userDrawn="1"/>
        </p:nvSpPr>
        <p:spPr>
          <a:xfrm>
            <a:off x="6641924" y="2056012"/>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3601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3601"/>
                </a:lnTo>
                <a:close/>
              </a:path>
            </a:pathLst>
          </a:custGeom>
          <a:solidFill>
            <a:srgbClr val="2657A2"/>
          </a:solidFill>
          <a:ln w="11643" cap="flat">
            <a:noFill/>
            <a:prstDash val="solid"/>
            <a:miter/>
          </a:ln>
        </p:spPr>
        <p:txBody>
          <a:bodyPr rtlCol="0" anchor="ctr"/>
          <a:lstStyle/>
          <a:p>
            <a:endParaRPr lang="de-DE"/>
          </a:p>
        </p:txBody>
      </p:sp>
      <p:sp>
        <p:nvSpPr>
          <p:cNvPr id="99" name="Freihandform: Form 98">
            <a:extLst>
              <a:ext uri="{FF2B5EF4-FFF2-40B4-BE49-F238E27FC236}">
                <a16:creationId xmlns:a16="http://schemas.microsoft.com/office/drawing/2014/main" id="{856A47E6-DC21-4AC7-9E91-5B7145569984}"/>
              </a:ext>
            </a:extLst>
          </p:cNvPr>
          <p:cNvSpPr/>
          <p:nvPr userDrawn="1"/>
        </p:nvSpPr>
        <p:spPr>
          <a:xfrm>
            <a:off x="6641924" y="2410247"/>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3601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3601"/>
                </a:lnTo>
                <a:close/>
              </a:path>
            </a:pathLst>
          </a:custGeom>
          <a:solidFill>
            <a:srgbClr val="2657A2"/>
          </a:solidFill>
          <a:ln w="11643" cap="flat">
            <a:noFill/>
            <a:prstDash val="solid"/>
            <a:miter/>
          </a:ln>
        </p:spPr>
        <p:txBody>
          <a:bodyPr rtlCol="0" anchor="ctr"/>
          <a:lstStyle/>
          <a:p>
            <a:endParaRPr lang="de-DE"/>
          </a:p>
        </p:txBody>
      </p:sp>
      <p:sp>
        <p:nvSpPr>
          <p:cNvPr id="100" name="Freihandform: Form 99">
            <a:extLst>
              <a:ext uri="{FF2B5EF4-FFF2-40B4-BE49-F238E27FC236}">
                <a16:creationId xmlns:a16="http://schemas.microsoft.com/office/drawing/2014/main" id="{131BBA2E-A329-44D6-8E0D-359E4F558C2E}"/>
              </a:ext>
            </a:extLst>
          </p:cNvPr>
          <p:cNvSpPr/>
          <p:nvPr userDrawn="1"/>
        </p:nvSpPr>
        <p:spPr>
          <a:xfrm>
            <a:off x="6641924" y="2765648"/>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3601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3601"/>
                </a:lnTo>
                <a:close/>
              </a:path>
            </a:pathLst>
          </a:custGeom>
          <a:solidFill>
            <a:srgbClr val="2657A2"/>
          </a:solidFill>
          <a:ln w="11643" cap="flat">
            <a:noFill/>
            <a:prstDash val="solid"/>
            <a:miter/>
          </a:ln>
        </p:spPr>
        <p:txBody>
          <a:bodyPr rtlCol="0" anchor="ctr"/>
          <a:lstStyle/>
          <a:p>
            <a:endParaRPr lang="de-DE"/>
          </a:p>
        </p:txBody>
      </p:sp>
      <p:sp>
        <p:nvSpPr>
          <p:cNvPr id="101" name="Freihandform: Form 100">
            <a:extLst>
              <a:ext uri="{FF2B5EF4-FFF2-40B4-BE49-F238E27FC236}">
                <a16:creationId xmlns:a16="http://schemas.microsoft.com/office/drawing/2014/main" id="{1BA7ED68-CA5D-445D-960A-159CEBD59D10}"/>
              </a:ext>
            </a:extLst>
          </p:cNvPr>
          <p:cNvSpPr/>
          <p:nvPr userDrawn="1"/>
        </p:nvSpPr>
        <p:spPr>
          <a:xfrm>
            <a:off x="6641924" y="3119883"/>
            <a:ext cx="100211" cy="109533"/>
          </a:xfrm>
          <a:custGeom>
            <a:avLst/>
            <a:gdLst>
              <a:gd name="connsiteX0" fmla="*/ 45445 w 100211"/>
              <a:gd name="connsiteY0" fmla="*/ 109533 h 109533"/>
              <a:gd name="connsiteX1" fmla="*/ 0 w 100211"/>
              <a:gd name="connsiteY1" fmla="*/ 109533 h 109533"/>
              <a:gd name="connsiteX2" fmla="*/ 53601 w 100211"/>
              <a:gd name="connsiteY2" fmla="*/ 54767 h 109533"/>
              <a:gd name="connsiteX3" fmla="*/ 0 w 100211"/>
              <a:gd name="connsiteY3" fmla="*/ 0 h 109533"/>
              <a:gd name="connsiteX4" fmla="*/ 46610 w 100211"/>
              <a:gd name="connsiteY4" fmla="*/ 0 h 109533"/>
              <a:gd name="connsiteX5" fmla="*/ 100211 w 100211"/>
              <a:gd name="connsiteY5" fmla="*/ 53601 h 109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9533">
                <a:moveTo>
                  <a:pt x="45445" y="109533"/>
                </a:moveTo>
                <a:lnTo>
                  <a:pt x="0" y="109533"/>
                </a:lnTo>
                <a:lnTo>
                  <a:pt x="53601" y="54767"/>
                </a:lnTo>
                <a:lnTo>
                  <a:pt x="0" y="0"/>
                </a:lnTo>
                <a:lnTo>
                  <a:pt x="46610" y="0"/>
                </a:lnTo>
                <a:lnTo>
                  <a:pt x="100211" y="53601"/>
                </a:lnTo>
                <a:close/>
              </a:path>
            </a:pathLst>
          </a:custGeom>
          <a:solidFill>
            <a:srgbClr val="2657A2"/>
          </a:solidFill>
          <a:ln w="11643" cap="flat">
            <a:noFill/>
            <a:prstDash val="solid"/>
            <a:miter/>
          </a:ln>
        </p:spPr>
        <p:txBody>
          <a:bodyPr rtlCol="0" anchor="ctr"/>
          <a:lstStyle/>
          <a:p>
            <a:endParaRPr lang="de-DE"/>
          </a:p>
        </p:txBody>
      </p:sp>
      <p:sp>
        <p:nvSpPr>
          <p:cNvPr id="102" name="Freihandform: Form 101">
            <a:extLst>
              <a:ext uri="{FF2B5EF4-FFF2-40B4-BE49-F238E27FC236}">
                <a16:creationId xmlns:a16="http://schemas.microsoft.com/office/drawing/2014/main" id="{DF891AFB-3457-47F8-90F0-136BD73BF17A}"/>
              </a:ext>
            </a:extLst>
          </p:cNvPr>
          <p:cNvSpPr/>
          <p:nvPr userDrawn="1"/>
        </p:nvSpPr>
        <p:spPr>
          <a:xfrm>
            <a:off x="6641924" y="3475284"/>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3601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3601"/>
                </a:lnTo>
                <a:close/>
              </a:path>
            </a:pathLst>
          </a:custGeom>
          <a:solidFill>
            <a:srgbClr val="2657A2"/>
          </a:solidFill>
          <a:ln w="11643" cap="flat">
            <a:noFill/>
            <a:prstDash val="solid"/>
            <a:miter/>
          </a:ln>
        </p:spPr>
        <p:txBody>
          <a:bodyPr rtlCol="0" anchor="ctr"/>
          <a:lstStyle/>
          <a:p>
            <a:endParaRPr lang="de-DE"/>
          </a:p>
        </p:txBody>
      </p:sp>
      <p:sp>
        <p:nvSpPr>
          <p:cNvPr id="103" name="Freihandform: Form 102">
            <a:extLst>
              <a:ext uri="{FF2B5EF4-FFF2-40B4-BE49-F238E27FC236}">
                <a16:creationId xmlns:a16="http://schemas.microsoft.com/office/drawing/2014/main" id="{23DB383E-F562-493B-AC92-3BBE9D4FAD8D}"/>
              </a:ext>
            </a:extLst>
          </p:cNvPr>
          <p:cNvSpPr/>
          <p:nvPr userDrawn="1"/>
        </p:nvSpPr>
        <p:spPr>
          <a:xfrm>
            <a:off x="6641924" y="3829519"/>
            <a:ext cx="100211" cy="109533"/>
          </a:xfrm>
          <a:custGeom>
            <a:avLst/>
            <a:gdLst>
              <a:gd name="connsiteX0" fmla="*/ 45445 w 100211"/>
              <a:gd name="connsiteY0" fmla="*/ 109533 h 109533"/>
              <a:gd name="connsiteX1" fmla="*/ 0 w 100211"/>
              <a:gd name="connsiteY1" fmla="*/ 109533 h 109533"/>
              <a:gd name="connsiteX2" fmla="*/ 53601 w 100211"/>
              <a:gd name="connsiteY2" fmla="*/ 54767 h 109533"/>
              <a:gd name="connsiteX3" fmla="*/ 0 w 100211"/>
              <a:gd name="connsiteY3" fmla="*/ 0 h 109533"/>
              <a:gd name="connsiteX4" fmla="*/ 46610 w 100211"/>
              <a:gd name="connsiteY4" fmla="*/ 0 h 109533"/>
              <a:gd name="connsiteX5" fmla="*/ 100211 w 100211"/>
              <a:gd name="connsiteY5" fmla="*/ 53601 h 109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9533">
                <a:moveTo>
                  <a:pt x="45445" y="109533"/>
                </a:moveTo>
                <a:lnTo>
                  <a:pt x="0" y="109533"/>
                </a:lnTo>
                <a:lnTo>
                  <a:pt x="53601" y="54767"/>
                </a:lnTo>
                <a:lnTo>
                  <a:pt x="0" y="0"/>
                </a:lnTo>
                <a:lnTo>
                  <a:pt x="46610" y="0"/>
                </a:lnTo>
                <a:lnTo>
                  <a:pt x="100211" y="53601"/>
                </a:lnTo>
                <a:close/>
              </a:path>
            </a:pathLst>
          </a:custGeom>
          <a:solidFill>
            <a:srgbClr val="2657A2"/>
          </a:solidFill>
          <a:ln w="11643" cap="flat">
            <a:noFill/>
            <a:prstDash val="solid"/>
            <a:miter/>
          </a:ln>
        </p:spPr>
        <p:txBody>
          <a:bodyPr rtlCol="0" anchor="ctr"/>
          <a:lstStyle/>
          <a:p>
            <a:endParaRPr lang="de-DE"/>
          </a:p>
        </p:txBody>
      </p:sp>
      <p:sp>
        <p:nvSpPr>
          <p:cNvPr id="104" name="Freihandform: Form 103">
            <a:extLst>
              <a:ext uri="{FF2B5EF4-FFF2-40B4-BE49-F238E27FC236}">
                <a16:creationId xmlns:a16="http://schemas.microsoft.com/office/drawing/2014/main" id="{7462FFF7-2968-440C-8C2F-293482D075F2}"/>
              </a:ext>
            </a:extLst>
          </p:cNvPr>
          <p:cNvSpPr/>
          <p:nvPr userDrawn="1"/>
        </p:nvSpPr>
        <p:spPr>
          <a:xfrm>
            <a:off x="6641924" y="4184920"/>
            <a:ext cx="100211" cy="108367"/>
          </a:xfrm>
          <a:custGeom>
            <a:avLst/>
            <a:gdLst>
              <a:gd name="connsiteX0" fmla="*/ 45445 w 100211"/>
              <a:gd name="connsiteY0" fmla="*/ 108368 h 108367"/>
              <a:gd name="connsiteX1" fmla="*/ 0 w 100211"/>
              <a:gd name="connsiteY1" fmla="*/ 108368 h 108367"/>
              <a:gd name="connsiteX2" fmla="*/ 53601 w 100211"/>
              <a:gd name="connsiteY2" fmla="*/ 54767 h 108367"/>
              <a:gd name="connsiteX3" fmla="*/ 0 w 100211"/>
              <a:gd name="connsiteY3" fmla="*/ 0 h 108367"/>
              <a:gd name="connsiteX4" fmla="*/ 46610 w 100211"/>
              <a:gd name="connsiteY4" fmla="*/ 0 h 108367"/>
              <a:gd name="connsiteX5" fmla="*/ 100211 w 100211"/>
              <a:gd name="connsiteY5" fmla="*/ 53601 h 108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7">
                <a:moveTo>
                  <a:pt x="45445" y="108368"/>
                </a:moveTo>
                <a:lnTo>
                  <a:pt x="0" y="108368"/>
                </a:lnTo>
                <a:lnTo>
                  <a:pt x="53601" y="54767"/>
                </a:lnTo>
                <a:lnTo>
                  <a:pt x="0" y="0"/>
                </a:lnTo>
                <a:lnTo>
                  <a:pt x="46610" y="0"/>
                </a:lnTo>
                <a:lnTo>
                  <a:pt x="100211" y="53601"/>
                </a:lnTo>
                <a:close/>
              </a:path>
            </a:pathLst>
          </a:custGeom>
          <a:solidFill>
            <a:srgbClr val="2657A2"/>
          </a:solidFill>
          <a:ln w="11643" cap="flat">
            <a:noFill/>
            <a:prstDash val="solid"/>
            <a:miter/>
          </a:ln>
        </p:spPr>
        <p:txBody>
          <a:bodyPr rtlCol="0" anchor="ctr"/>
          <a:lstStyle/>
          <a:p>
            <a:endParaRPr lang="de-DE"/>
          </a:p>
        </p:txBody>
      </p:sp>
      <p:sp>
        <p:nvSpPr>
          <p:cNvPr id="105" name="Freihandform: Form 104">
            <a:extLst>
              <a:ext uri="{FF2B5EF4-FFF2-40B4-BE49-F238E27FC236}">
                <a16:creationId xmlns:a16="http://schemas.microsoft.com/office/drawing/2014/main" id="{BEAAA412-EFD8-4DF9-B684-899716EF2AB4}"/>
              </a:ext>
            </a:extLst>
          </p:cNvPr>
          <p:cNvSpPr/>
          <p:nvPr userDrawn="1"/>
        </p:nvSpPr>
        <p:spPr>
          <a:xfrm>
            <a:off x="6641924" y="4539155"/>
            <a:ext cx="100211" cy="109533"/>
          </a:xfrm>
          <a:custGeom>
            <a:avLst/>
            <a:gdLst>
              <a:gd name="connsiteX0" fmla="*/ 45445 w 100211"/>
              <a:gd name="connsiteY0" fmla="*/ 109533 h 109533"/>
              <a:gd name="connsiteX1" fmla="*/ 0 w 100211"/>
              <a:gd name="connsiteY1" fmla="*/ 109533 h 109533"/>
              <a:gd name="connsiteX2" fmla="*/ 53601 w 100211"/>
              <a:gd name="connsiteY2" fmla="*/ 54767 h 109533"/>
              <a:gd name="connsiteX3" fmla="*/ 0 w 100211"/>
              <a:gd name="connsiteY3" fmla="*/ 0 h 109533"/>
              <a:gd name="connsiteX4" fmla="*/ 46610 w 100211"/>
              <a:gd name="connsiteY4" fmla="*/ 0 h 109533"/>
              <a:gd name="connsiteX5" fmla="*/ 100211 w 100211"/>
              <a:gd name="connsiteY5" fmla="*/ 53601 h 109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9533">
                <a:moveTo>
                  <a:pt x="45445" y="109533"/>
                </a:moveTo>
                <a:lnTo>
                  <a:pt x="0" y="109533"/>
                </a:lnTo>
                <a:lnTo>
                  <a:pt x="53601" y="54767"/>
                </a:lnTo>
                <a:lnTo>
                  <a:pt x="0" y="0"/>
                </a:lnTo>
                <a:lnTo>
                  <a:pt x="46610" y="0"/>
                </a:lnTo>
                <a:lnTo>
                  <a:pt x="100211" y="53601"/>
                </a:lnTo>
                <a:close/>
              </a:path>
            </a:pathLst>
          </a:custGeom>
          <a:solidFill>
            <a:srgbClr val="2657A2"/>
          </a:solidFill>
          <a:ln w="11643" cap="flat">
            <a:noFill/>
            <a:prstDash val="solid"/>
            <a:miter/>
          </a:ln>
        </p:spPr>
        <p:txBody>
          <a:bodyPr rtlCol="0" anchor="ctr"/>
          <a:lstStyle/>
          <a:p>
            <a:endParaRPr lang="de-DE"/>
          </a:p>
        </p:txBody>
      </p:sp>
      <p:sp>
        <p:nvSpPr>
          <p:cNvPr id="106" name="Freihandform: Form 105">
            <a:extLst>
              <a:ext uri="{FF2B5EF4-FFF2-40B4-BE49-F238E27FC236}">
                <a16:creationId xmlns:a16="http://schemas.microsoft.com/office/drawing/2014/main" id="{2AC5A39E-D87D-4EA7-91E5-8FFC7A23F7D7}"/>
              </a:ext>
            </a:extLst>
          </p:cNvPr>
          <p:cNvSpPr/>
          <p:nvPr userDrawn="1"/>
        </p:nvSpPr>
        <p:spPr>
          <a:xfrm>
            <a:off x="6641924" y="4894556"/>
            <a:ext cx="100211" cy="108367"/>
          </a:xfrm>
          <a:custGeom>
            <a:avLst/>
            <a:gdLst>
              <a:gd name="connsiteX0" fmla="*/ 45445 w 100211"/>
              <a:gd name="connsiteY0" fmla="*/ 108368 h 108367"/>
              <a:gd name="connsiteX1" fmla="*/ 0 w 100211"/>
              <a:gd name="connsiteY1" fmla="*/ 108368 h 108367"/>
              <a:gd name="connsiteX2" fmla="*/ 53601 w 100211"/>
              <a:gd name="connsiteY2" fmla="*/ 54767 h 108367"/>
              <a:gd name="connsiteX3" fmla="*/ 0 w 100211"/>
              <a:gd name="connsiteY3" fmla="*/ 0 h 108367"/>
              <a:gd name="connsiteX4" fmla="*/ 46610 w 100211"/>
              <a:gd name="connsiteY4" fmla="*/ 0 h 108367"/>
              <a:gd name="connsiteX5" fmla="*/ 100211 w 100211"/>
              <a:gd name="connsiteY5" fmla="*/ 53601 h 108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7">
                <a:moveTo>
                  <a:pt x="45445" y="108368"/>
                </a:moveTo>
                <a:lnTo>
                  <a:pt x="0" y="108368"/>
                </a:lnTo>
                <a:lnTo>
                  <a:pt x="53601" y="54767"/>
                </a:lnTo>
                <a:lnTo>
                  <a:pt x="0" y="0"/>
                </a:lnTo>
                <a:lnTo>
                  <a:pt x="46610" y="0"/>
                </a:lnTo>
                <a:lnTo>
                  <a:pt x="100211" y="53601"/>
                </a:lnTo>
                <a:close/>
              </a:path>
            </a:pathLst>
          </a:custGeom>
          <a:solidFill>
            <a:srgbClr val="2657A2"/>
          </a:solidFill>
          <a:ln w="11643" cap="flat">
            <a:noFill/>
            <a:prstDash val="solid"/>
            <a:miter/>
          </a:ln>
        </p:spPr>
        <p:txBody>
          <a:bodyPr rtlCol="0" anchor="ctr"/>
          <a:lstStyle/>
          <a:p>
            <a:endParaRPr lang="de-DE"/>
          </a:p>
        </p:txBody>
      </p:sp>
      <p:sp>
        <p:nvSpPr>
          <p:cNvPr id="107" name="Freihandform: Form 106">
            <a:extLst>
              <a:ext uri="{FF2B5EF4-FFF2-40B4-BE49-F238E27FC236}">
                <a16:creationId xmlns:a16="http://schemas.microsoft.com/office/drawing/2014/main" id="{288DAC95-3A44-4112-B77F-0B5BE40BEE1C}"/>
              </a:ext>
            </a:extLst>
          </p:cNvPr>
          <p:cNvSpPr/>
          <p:nvPr userDrawn="1"/>
        </p:nvSpPr>
        <p:spPr>
          <a:xfrm>
            <a:off x="6641924" y="5249956"/>
            <a:ext cx="100211" cy="108367"/>
          </a:xfrm>
          <a:custGeom>
            <a:avLst/>
            <a:gdLst>
              <a:gd name="connsiteX0" fmla="*/ 45445 w 100211"/>
              <a:gd name="connsiteY0" fmla="*/ 108368 h 108367"/>
              <a:gd name="connsiteX1" fmla="*/ 0 w 100211"/>
              <a:gd name="connsiteY1" fmla="*/ 108368 h 108367"/>
              <a:gd name="connsiteX2" fmla="*/ 53601 w 100211"/>
              <a:gd name="connsiteY2" fmla="*/ 54767 h 108367"/>
              <a:gd name="connsiteX3" fmla="*/ 0 w 100211"/>
              <a:gd name="connsiteY3" fmla="*/ 0 h 108367"/>
              <a:gd name="connsiteX4" fmla="*/ 46610 w 100211"/>
              <a:gd name="connsiteY4" fmla="*/ 0 h 108367"/>
              <a:gd name="connsiteX5" fmla="*/ 100211 w 100211"/>
              <a:gd name="connsiteY5" fmla="*/ 52436 h 108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7">
                <a:moveTo>
                  <a:pt x="45445" y="108368"/>
                </a:moveTo>
                <a:lnTo>
                  <a:pt x="0" y="108368"/>
                </a:lnTo>
                <a:lnTo>
                  <a:pt x="53601" y="54767"/>
                </a:lnTo>
                <a:lnTo>
                  <a:pt x="0" y="0"/>
                </a:lnTo>
                <a:lnTo>
                  <a:pt x="46610" y="0"/>
                </a:lnTo>
                <a:lnTo>
                  <a:pt x="100211" y="52436"/>
                </a:lnTo>
                <a:close/>
              </a:path>
            </a:pathLst>
          </a:custGeom>
          <a:solidFill>
            <a:srgbClr val="2657A2"/>
          </a:solidFill>
          <a:ln w="11643" cap="flat">
            <a:noFill/>
            <a:prstDash val="solid"/>
            <a:miter/>
          </a:ln>
        </p:spPr>
        <p:txBody>
          <a:bodyPr rtlCol="0" anchor="ctr"/>
          <a:lstStyle/>
          <a:p>
            <a:endParaRPr lang="de-DE"/>
          </a:p>
        </p:txBody>
      </p:sp>
      <p:sp>
        <p:nvSpPr>
          <p:cNvPr id="108" name="Freihandform: Form 107">
            <a:extLst>
              <a:ext uri="{FF2B5EF4-FFF2-40B4-BE49-F238E27FC236}">
                <a16:creationId xmlns:a16="http://schemas.microsoft.com/office/drawing/2014/main" id="{1725C649-75C6-41E2-A17A-8B06E90E5F23}"/>
              </a:ext>
            </a:extLst>
          </p:cNvPr>
          <p:cNvSpPr/>
          <p:nvPr userDrawn="1"/>
        </p:nvSpPr>
        <p:spPr>
          <a:xfrm>
            <a:off x="6641924" y="5604192"/>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3601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3601"/>
                </a:lnTo>
                <a:close/>
              </a:path>
            </a:pathLst>
          </a:custGeom>
          <a:solidFill>
            <a:srgbClr val="2657A2"/>
          </a:solidFill>
          <a:ln w="11643" cap="flat">
            <a:noFill/>
            <a:prstDash val="solid"/>
            <a:miter/>
          </a:ln>
        </p:spPr>
        <p:txBody>
          <a:bodyPr rtlCol="0" anchor="ctr"/>
          <a:lstStyle/>
          <a:p>
            <a:endParaRPr lang="de-DE"/>
          </a:p>
        </p:txBody>
      </p:sp>
      <p:sp>
        <p:nvSpPr>
          <p:cNvPr id="109" name="Freihandform: Form 108">
            <a:extLst>
              <a:ext uri="{FF2B5EF4-FFF2-40B4-BE49-F238E27FC236}">
                <a16:creationId xmlns:a16="http://schemas.microsoft.com/office/drawing/2014/main" id="{228B8A60-B822-4E24-A0C8-57F4CF08B586}"/>
              </a:ext>
            </a:extLst>
          </p:cNvPr>
          <p:cNvSpPr/>
          <p:nvPr userDrawn="1"/>
        </p:nvSpPr>
        <p:spPr>
          <a:xfrm>
            <a:off x="6641924" y="5959592"/>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2436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2436"/>
                </a:lnTo>
                <a:close/>
              </a:path>
            </a:pathLst>
          </a:custGeom>
          <a:solidFill>
            <a:srgbClr val="2657A2"/>
          </a:solidFill>
          <a:ln w="11643" cap="flat">
            <a:noFill/>
            <a:prstDash val="solid"/>
            <a:miter/>
          </a:ln>
        </p:spPr>
        <p:txBody>
          <a:bodyPr rtlCol="0" anchor="ctr"/>
          <a:lstStyle/>
          <a:p>
            <a:endParaRPr lang="de-DE"/>
          </a:p>
        </p:txBody>
      </p:sp>
      <p:sp>
        <p:nvSpPr>
          <p:cNvPr id="110" name="Freihandform: Form 109">
            <a:extLst>
              <a:ext uri="{FF2B5EF4-FFF2-40B4-BE49-F238E27FC236}">
                <a16:creationId xmlns:a16="http://schemas.microsoft.com/office/drawing/2014/main" id="{AA7B80BD-AB9B-44B4-BCE3-B8041B906A54}"/>
              </a:ext>
            </a:extLst>
          </p:cNvPr>
          <p:cNvSpPr/>
          <p:nvPr userDrawn="1"/>
        </p:nvSpPr>
        <p:spPr>
          <a:xfrm>
            <a:off x="6641924" y="6313828"/>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3601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3601"/>
                </a:lnTo>
                <a:close/>
              </a:path>
            </a:pathLst>
          </a:custGeom>
          <a:solidFill>
            <a:srgbClr val="2657A2"/>
          </a:solidFill>
          <a:ln w="11643" cap="flat">
            <a:noFill/>
            <a:prstDash val="solid"/>
            <a:miter/>
          </a:ln>
        </p:spPr>
        <p:txBody>
          <a:bodyPr rtlCol="0" anchor="ctr"/>
          <a:lstStyle/>
          <a:p>
            <a:endParaRPr lang="de-DE"/>
          </a:p>
        </p:txBody>
      </p:sp>
      <p:sp>
        <p:nvSpPr>
          <p:cNvPr id="111" name="Freihandform: Form 110">
            <a:extLst>
              <a:ext uri="{FF2B5EF4-FFF2-40B4-BE49-F238E27FC236}">
                <a16:creationId xmlns:a16="http://schemas.microsoft.com/office/drawing/2014/main" id="{8CE668C1-68D5-4163-BDA9-D87C9CAA74C4}"/>
              </a:ext>
            </a:extLst>
          </p:cNvPr>
          <p:cNvSpPr/>
          <p:nvPr userDrawn="1"/>
        </p:nvSpPr>
        <p:spPr>
          <a:xfrm>
            <a:off x="6641924" y="6669228"/>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2436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2436"/>
                </a:lnTo>
                <a:close/>
              </a:path>
            </a:pathLst>
          </a:custGeom>
          <a:solidFill>
            <a:srgbClr val="2657A2"/>
          </a:solidFill>
          <a:ln w="11643" cap="flat">
            <a:noFill/>
            <a:prstDash val="solid"/>
            <a:miter/>
          </a:ln>
        </p:spPr>
        <p:txBody>
          <a:bodyPr rtlCol="0" anchor="ctr"/>
          <a:lstStyle/>
          <a:p>
            <a:endParaRPr lang="de-DE"/>
          </a:p>
        </p:txBody>
      </p:sp>
      <p:sp>
        <p:nvSpPr>
          <p:cNvPr id="112" name="Freihandform: Form 111">
            <a:extLst>
              <a:ext uri="{FF2B5EF4-FFF2-40B4-BE49-F238E27FC236}">
                <a16:creationId xmlns:a16="http://schemas.microsoft.com/office/drawing/2014/main" id="{E7C8AC77-4E4F-469F-A055-637078665410}"/>
              </a:ext>
            </a:extLst>
          </p:cNvPr>
          <p:cNvSpPr/>
          <p:nvPr userDrawn="1"/>
        </p:nvSpPr>
        <p:spPr>
          <a:xfrm>
            <a:off x="6988003" y="2046690"/>
            <a:ext cx="117690" cy="127012"/>
          </a:xfrm>
          <a:custGeom>
            <a:avLst/>
            <a:gdLst>
              <a:gd name="connsiteX0" fmla="*/ 53601 w 117690"/>
              <a:gd name="connsiteY0" fmla="*/ 127012 h 127012"/>
              <a:gd name="connsiteX1" fmla="*/ 0 w 117690"/>
              <a:gd name="connsiteY1" fmla="*/ 127012 h 127012"/>
              <a:gd name="connsiteX2" fmla="*/ 62924 w 117690"/>
              <a:gd name="connsiteY2" fmla="*/ 64089 h 127012"/>
              <a:gd name="connsiteX3" fmla="*/ 0 w 117690"/>
              <a:gd name="connsiteY3" fmla="*/ 0 h 127012"/>
              <a:gd name="connsiteX4" fmla="*/ 54767 w 117690"/>
              <a:gd name="connsiteY4" fmla="*/ 0 h 127012"/>
              <a:gd name="connsiteX5" fmla="*/ 117690 w 117690"/>
              <a:gd name="connsiteY5" fmla="*/ 61758 h 12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2">
                <a:moveTo>
                  <a:pt x="53601" y="127012"/>
                </a:moveTo>
                <a:lnTo>
                  <a:pt x="0" y="127012"/>
                </a:lnTo>
                <a:lnTo>
                  <a:pt x="62924" y="64089"/>
                </a:lnTo>
                <a:lnTo>
                  <a:pt x="0" y="0"/>
                </a:lnTo>
                <a:lnTo>
                  <a:pt x="54767" y="0"/>
                </a:lnTo>
                <a:lnTo>
                  <a:pt x="117690" y="61758"/>
                </a:lnTo>
                <a:close/>
              </a:path>
            </a:pathLst>
          </a:custGeom>
          <a:solidFill>
            <a:srgbClr val="2657A2"/>
          </a:solidFill>
          <a:ln w="11643" cap="flat">
            <a:noFill/>
            <a:prstDash val="solid"/>
            <a:miter/>
          </a:ln>
        </p:spPr>
        <p:txBody>
          <a:bodyPr rtlCol="0" anchor="ctr"/>
          <a:lstStyle/>
          <a:p>
            <a:endParaRPr lang="de-DE"/>
          </a:p>
        </p:txBody>
      </p:sp>
      <p:sp>
        <p:nvSpPr>
          <p:cNvPr id="113" name="Freihandform: Form 112">
            <a:extLst>
              <a:ext uri="{FF2B5EF4-FFF2-40B4-BE49-F238E27FC236}">
                <a16:creationId xmlns:a16="http://schemas.microsoft.com/office/drawing/2014/main" id="{9B233175-81FD-4D69-ADD5-F0021CA53D9B}"/>
              </a:ext>
            </a:extLst>
          </p:cNvPr>
          <p:cNvSpPr/>
          <p:nvPr userDrawn="1"/>
        </p:nvSpPr>
        <p:spPr>
          <a:xfrm>
            <a:off x="6988003" y="2400925"/>
            <a:ext cx="117690" cy="127012"/>
          </a:xfrm>
          <a:custGeom>
            <a:avLst/>
            <a:gdLst>
              <a:gd name="connsiteX0" fmla="*/ 53601 w 117690"/>
              <a:gd name="connsiteY0" fmla="*/ 127012 h 127012"/>
              <a:gd name="connsiteX1" fmla="*/ 0 w 117690"/>
              <a:gd name="connsiteY1" fmla="*/ 127012 h 127012"/>
              <a:gd name="connsiteX2" fmla="*/ 62924 w 117690"/>
              <a:gd name="connsiteY2" fmla="*/ 64089 h 127012"/>
              <a:gd name="connsiteX3" fmla="*/ 0 w 117690"/>
              <a:gd name="connsiteY3" fmla="*/ 0 h 127012"/>
              <a:gd name="connsiteX4" fmla="*/ 54767 w 117690"/>
              <a:gd name="connsiteY4" fmla="*/ 0 h 127012"/>
              <a:gd name="connsiteX5" fmla="*/ 117690 w 117690"/>
              <a:gd name="connsiteY5" fmla="*/ 62923 h 12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2">
                <a:moveTo>
                  <a:pt x="53601" y="127012"/>
                </a:moveTo>
                <a:lnTo>
                  <a:pt x="0" y="127012"/>
                </a:lnTo>
                <a:lnTo>
                  <a:pt x="62924" y="64089"/>
                </a:lnTo>
                <a:lnTo>
                  <a:pt x="0" y="0"/>
                </a:lnTo>
                <a:lnTo>
                  <a:pt x="54767" y="0"/>
                </a:lnTo>
                <a:lnTo>
                  <a:pt x="117690" y="62923"/>
                </a:lnTo>
                <a:close/>
              </a:path>
            </a:pathLst>
          </a:custGeom>
          <a:solidFill>
            <a:srgbClr val="2657A2"/>
          </a:solidFill>
          <a:ln w="11643" cap="flat">
            <a:noFill/>
            <a:prstDash val="solid"/>
            <a:miter/>
          </a:ln>
        </p:spPr>
        <p:txBody>
          <a:bodyPr rtlCol="0" anchor="ctr"/>
          <a:lstStyle/>
          <a:p>
            <a:endParaRPr lang="de-DE"/>
          </a:p>
        </p:txBody>
      </p:sp>
      <p:sp>
        <p:nvSpPr>
          <p:cNvPr id="114" name="Freihandform: Form 113">
            <a:extLst>
              <a:ext uri="{FF2B5EF4-FFF2-40B4-BE49-F238E27FC236}">
                <a16:creationId xmlns:a16="http://schemas.microsoft.com/office/drawing/2014/main" id="{46F08885-AF06-4981-AD74-0DB2AF113D20}"/>
              </a:ext>
            </a:extLst>
          </p:cNvPr>
          <p:cNvSpPr/>
          <p:nvPr userDrawn="1"/>
        </p:nvSpPr>
        <p:spPr>
          <a:xfrm>
            <a:off x="6988003" y="2756326"/>
            <a:ext cx="117690" cy="127012"/>
          </a:xfrm>
          <a:custGeom>
            <a:avLst/>
            <a:gdLst>
              <a:gd name="connsiteX0" fmla="*/ 53601 w 117690"/>
              <a:gd name="connsiteY0" fmla="*/ 127012 h 127012"/>
              <a:gd name="connsiteX1" fmla="*/ 0 w 117690"/>
              <a:gd name="connsiteY1" fmla="*/ 127012 h 127012"/>
              <a:gd name="connsiteX2" fmla="*/ 62924 w 117690"/>
              <a:gd name="connsiteY2" fmla="*/ 64089 h 127012"/>
              <a:gd name="connsiteX3" fmla="*/ 0 w 117690"/>
              <a:gd name="connsiteY3" fmla="*/ 0 h 127012"/>
              <a:gd name="connsiteX4" fmla="*/ 54767 w 117690"/>
              <a:gd name="connsiteY4" fmla="*/ 0 h 127012"/>
              <a:gd name="connsiteX5" fmla="*/ 117690 w 117690"/>
              <a:gd name="connsiteY5" fmla="*/ 61758 h 12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2">
                <a:moveTo>
                  <a:pt x="53601" y="127012"/>
                </a:moveTo>
                <a:lnTo>
                  <a:pt x="0" y="127012"/>
                </a:lnTo>
                <a:lnTo>
                  <a:pt x="62924" y="64089"/>
                </a:lnTo>
                <a:lnTo>
                  <a:pt x="0" y="0"/>
                </a:lnTo>
                <a:lnTo>
                  <a:pt x="54767" y="0"/>
                </a:lnTo>
                <a:lnTo>
                  <a:pt x="117690" y="61758"/>
                </a:lnTo>
                <a:close/>
              </a:path>
            </a:pathLst>
          </a:custGeom>
          <a:solidFill>
            <a:srgbClr val="2657A2"/>
          </a:solidFill>
          <a:ln w="11643" cap="flat">
            <a:noFill/>
            <a:prstDash val="solid"/>
            <a:miter/>
          </a:ln>
        </p:spPr>
        <p:txBody>
          <a:bodyPr rtlCol="0" anchor="ctr"/>
          <a:lstStyle/>
          <a:p>
            <a:endParaRPr lang="de-DE"/>
          </a:p>
        </p:txBody>
      </p:sp>
      <p:sp>
        <p:nvSpPr>
          <p:cNvPr id="115" name="Freihandform: Form 114">
            <a:extLst>
              <a:ext uri="{FF2B5EF4-FFF2-40B4-BE49-F238E27FC236}">
                <a16:creationId xmlns:a16="http://schemas.microsoft.com/office/drawing/2014/main" id="{C86CABC2-1BC2-4E18-925A-6BBD41D769E9}"/>
              </a:ext>
            </a:extLst>
          </p:cNvPr>
          <p:cNvSpPr/>
          <p:nvPr userDrawn="1"/>
        </p:nvSpPr>
        <p:spPr>
          <a:xfrm>
            <a:off x="6988003" y="3111726"/>
            <a:ext cx="117690" cy="125846"/>
          </a:xfrm>
          <a:custGeom>
            <a:avLst/>
            <a:gdLst>
              <a:gd name="connsiteX0" fmla="*/ 53601 w 117690"/>
              <a:gd name="connsiteY0" fmla="*/ 125847 h 125846"/>
              <a:gd name="connsiteX1" fmla="*/ 0 w 117690"/>
              <a:gd name="connsiteY1" fmla="*/ 125847 h 125846"/>
              <a:gd name="connsiteX2" fmla="*/ 62924 w 117690"/>
              <a:gd name="connsiteY2" fmla="*/ 62923 h 125846"/>
              <a:gd name="connsiteX3" fmla="*/ 0 w 117690"/>
              <a:gd name="connsiteY3" fmla="*/ 0 h 125846"/>
              <a:gd name="connsiteX4" fmla="*/ 54767 w 117690"/>
              <a:gd name="connsiteY4" fmla="*/ 0 h 125846"/>
              <a:gd name="connsiteX5" fmla="*/ 117690 w 117690"/>
              <a:gd name="connsiteY5" fmla="*/ 61758 h 125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5846">
                <a:moveTo>
                  <a:pt x="53601" y="125847"/>
                </a:moveTo>
                <a:lnTo>
                  <a:pt x="0" y="125847"/>
                </a:lnTo>
                <a:lnTo>
                  <a:pt x="62924" y="62923"/>
                </a:lnTo>
                <a:lnTo>
                  <a:pt x="0" y="0"/>
                </a:lnTo>
                <a:lnTo>
                  <a:pt x="54767" y="0"/>
                </a:lnTo>
                <a:lnTo>
                  <a:pt x="117690" y="61758"/>
                </a:lnTo>
                <a:close/>
              </a:path>
            </a:pathLst>
          </a:custGeom>
          <a:solidFill>
            <a:srgbClr val="2657A2"/>
          </a:solidFill>
          <a:ln w="11643" cap="flat">
            <a:noFill/>
            <a:prstDash val="solid"/>
            <a:miter/>
          </a:ln>
        </p:spPr>
        <p:txBody>
          <a:bodyPr rtlCol="0" anchor="ctr"/>
          <a:lstStyle/>
          <a:p>
            <a:endParaRPr lang="de-DE"/>
          </a:p>
        </p:txBody>
      </p:sp>
      <p:sp>
        <p:nvSpPr>
          <p:cNvPr id="116" name="Freihandform: Form 115">
            <a:extLst>
              <a:ext uri="{FF2B5EF4-FFF2-40B4-BE49-F238E27FC236}">
                <a16:creationId xmlns:a16="http://schemas.microsoft.com/office/drawing/2014/main" id="{B868F685-0AEA-4FB0-BF92-7B2B2B24B116}"/>
              </a:ext>
            </a:extLst>
          </p:cNvPr>
          <p:cNvSpPr/>
          <p:nvPr userDrawn="1"/>
        </p:nvSpPr>
        <p:spPr>
          <a:xfrm>
            <a:off x="6988003" y="3465962"/>
            <a:ext cx="117690" cy="127012"/>
          </a:xfrm>
          <a:custGeom>
            <a:avLst/>
            <a:gdLst>
              <a:gd name="connsiteX0" fmla="*/ 53601 w 117690"/>
              <a:gd name="connsiteY0" fmla="*/ 127012 h 127012"/>
              <a:gd name="connsiteX1" fmla="*/ 0 w 117690"/>
              <a:gd name="connsiteY1" fmla="*/ 127012 h 127012"/>
              <a:gd name="connsiteX2" fmla="*/ 62924 w 117690"/>
              <a:gd name="connsiteY2" fmla="*/ 64089 h 127012"/>
              <a:gd name="connsiteX3" fmla="*/ 0 w 117690"/>
              <a:gd name="connsiteY3" fmla="*/ 0 h 127012"/>
              <a:gd name="connsiteX4" fmla="*/ 54767 w 117690"/>
              <a:gd name="connsiteY4" fmla="*/ 0 h 127012"/>
              <a:gd name="connsiteX5" fmla="*/ 117690 w 117690"/>
              <a:gd name="connsiteY5" fmla="*/ 62923 h 12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2">
                <a:moveTo>
                  <a:pt x="53601" y="127012"/>
                </a:moveTo>
                <a:lnTo>
                  <a:pt x="0" y="127012"/>
                </a:lnTo>
                <a:lnTo>
                  <a:pt x="62924" y="64089"/>
                </a:lnTo>
                <a:lnTo>
                  <a:pt x="0" y="0"/>
                </a:lnTo>
                <a:lnTo>
                  <a:pt x="54767" y="0"/>
                </a:lnTo>
                <a:lnTo>
                  <a:pt x="117690" y="62923"/>
                </a:lnTo>
                <a:close/>
              </a:path>
            </a:pathLst>
          </a:custGeom>
          <a:solidFill>
            <a:srgbClr val="2657A2"/>
          </a:solidFill>
          <a:ln w="11643" cap="flat">
            <a:noFill/>
            <a:prstDash val="solid"/>
            <a:miter/>
          </a:ln>
        </p:spPr>
        <p:txBody>
          <a:bodyPr rtlCol="0" anchor="ctr"/>
          <a:lstStyle/>
          <a:p>
            <a:endParaRPr lang="de-DE"/>
          </a:p>
        </p:txBody>
      </p:sp>
      <p:sp>
        <p:nvSpPr>
          <p:cNvPr id="117" name="Freihandform: Form 116">
            <a:extLst>
              <a:ext uri="{FF2B5EF4-FFF2-40B4-BE49-F238E27FC236}">
                <a16:creationId xmlns:a16="http://schemas.microsoft.com/office/drawing/2014/main" id="{626A95CE-AB44-428B-809E-E354D8E02C22}"/>
              </a:ext>
            </a:extLst>
          </p:cNvPr>
          <p:cNvSpPr/>
          <p:nvPr userDrawn="1"/>
        </p:nvSpPr>
        <p:spPr>
          <a:xfrm>
            <a:off x="6988003" y="3821362"/>
            <a:ext cx="117690" cy="125846"/>
          </a:xfrm>
          <a:custGeom>
            <a:avLst/>
            <a:gdLst>
              <a:gd name="connsiteX0" fmla="*/ 53601 w 117690"/>
              <a:gd name="connsiteY0" fmla="*/ 125847 h 125846"/>
              <a:gd name="connsiteX1" fmla="*/ 0 w 117690"/>
              <a:gd name="connsiteY1" fmla="*/ 125847 h 125846"/>
              <a:gd name="connsiteX2" fmla="*/ 62924 w 117690"/>
              <a:gd name="connsiteY2" fmla="*/ 62923 h 125846"/>
              <a:gd name="connsiteX3" fmla="*/ 0 w 117690"/>
              <a:gd name="connsiteY3" fmla="*/ 0 h 125846"/>
              <a:gd name="connsiteX4" fmla="*/ 54767 w 117690"/>
              <a:gd name="connsiteY4" fmla="*/ 0 h 125846"/>
              <a:gd name="connsiteX5" fmla="*/ 117690 w 117690"/>
              <a:gd name="connsiteY5" fmla="*/ 61758 h 125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5846">
                <a:moveTo>
                  <a:pt x="53601" y="125847"/>
                </a:moveTo>
                <a:lnTo>
                  <a:pt x="0" y="125847"/>
                </a:lnTo>
                <a:lnTo>
                  <a:pt x="62924" y="62923"/>
                </a:lnTo>
                <a:lnTo>
                  <a:pt x="0" y="0"/>
                </a:lnTo>
                <a:lnTo>
                  <a:pt x="54767" y="0"/>
                </a:lnTo>
                <a:lnTo>
                  <a:pt x="117690" y="61758"/>
                </a:lnTo>
                <a:close/>
              </a:path>
            </a:pathLst>
          </a:custGeom>
          <a:solidFill>
            <a:srgbClr val="2657A2"/>
          </a:solidFill>
          <a:ln w="11643" cap="flat">
            <a:noFill/>
            <a:prstDash val="solid"/>
            <a:miter/>
          </a:ln>
        </p:spPr>
        <p:txBody>
          <a:bodyPr rtlCol="0" anchor="ctr"/>
          <a:lstStyle/>
          <a:p>
            <a:endParaRPr lang="de-DE"/>
          </a:p>
        </p:txBody>
      </p:sp>
      <p:sp>
        <p:nvSpPr>
          <p:cNvPr id="118" name="Freihandform: Form 117">
            <a:extLst>
              <a:ext uri="{FF2B5EF4-FFF2-40B4-BE49-F238E27FC236}">
                <a16:creationId xmlns:a16="http://schemas.microsoft.com/office/drawing/2014/main" id="{D45FC8C5-51F1-4430-9013-30C9B55943C2}"/>
              </a:ext>
            </a:extLst>
          </p:cNvPr>
          <p:cNvSpPr/>
          <p:nvPr userDrawn="1"/>
        </p:nvSpPr>
        <p:spPr>
          <a:xfrm>
            <a:off x="6988003" y="4175598"/>
            <a:ext cx="117690" cy="127011"/>
          </a:xfrm>
          <a:custGeom>
            <a:avLst/>
            <a:gdLst>
              <a:gd name="connsiteX0" fmla="*/ 53601 w 117690"/>
              <a:gd name="connsiteY0" fmla="*/ 127012 h 127011"/>
              <a:gd name="connsiteX1" fmla="*/ 0 w 117690"/>
              <a:gd name="connsiteY1" fmla="*/ 127012 h 127011"/>
              <a:gd name="connsiteX2" fmla="*/ 62924 w 117690"/>
              <a:gd name="connsiteY2" fmla="*/ 64089 h 127011"/>
              <a:gd name="connsiteX3" fmla="*/ 0 w 117690"/>
              <a:gd name="connsiteY3" fmla="*/ 0 h 127011"/>
              <a:gd name="connsiteX4" fmla="*/ 54767 w 117690"/>
              <a:gd name="connsiteY4" fmla="*/ 0 h 127011"/>
              <a:gd name="connsiteX5" fmla="*/ 117690 w 117690"/>
              <a:gd name="connsiteY5" fmla="*/ 62923 h 12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1">
                <a:moveTo>
                  <a:pt x="53601" y="127012"/>
                </a:moveTo>
                <a:lnTo>
                  <a:pt x="0" y="127012"/>
                </a:lnTo>
                <a:lnTo>
                  <a:pt x="62924" y="64089"/>
                </a:lnTo>
                <a:lnTo>
                  <a:pt x="0" y="0"/>
                </a:lnTo>
                <a:lnTo>
                  <a:pt x="54767" y="0"/>
                </a:lnTo>
                <a:lnTo>
                  <a:pt x="117690" y="62923"/>
                </a:lnTo>
                <a:close/>
              </a:path>
            </a:pathLst>
          </a:custGeom>
          <a:solidFill>
            <a:srgbClr val="2657A2"/>
          </a:solidFill>
          <a:ln w="11643" cap="flat">
            <a:noFill/>
            <a:prstDash val="solid"/>
            <a:miter/>
          </a:ln>
        </p:spPr>
        <p:txBody>
          <a:bodyPr rtlCol="0" anchor="ctr"/>
          <a:lstStyle/>
          <a:p>
            <a:endParaRPr lang="de-DE"/>
          </a:p>
        </p:txBody>
      </p:sp>
      <p:sp>
        <p:nvSpPr>
          <p:cNvPr id="119" name="Freihandform: Form 118">
            <a:extLst>
              <a:ext uri="{FF2B5EF4-FFF2-40B4-BE49-F238E27FC236}">
                <a16:creationId xmlns:a16="http://schemas.microsoft.com/office/drawing/2014/main" id="{4576E275-B37C-4FF8-9364-9726AB4BF19E}"/>
              </a:ext>
            </a:extLst>
          </p:cNvPr>
          <p:cNvSpPr/>
          <p:nvPr userDrawn="1"/>
        </p:nvSpPr>
        <p:spPr>
          <a:xfrm>
            <a:off x="6988003" y="4530998"/>
            <a:ext cx="117690" cy="125846"/>
          </a:xfrm>
          <a:custGeom>
            <a:avLst/>
            <a:gdLst>
              <a:gd name="connsiteX0" fmla="*/ 53601 w 117690"/>
              <a:gd name="connsiteY0" fmla="*/ 125847 h 125846"/>
              <a:gd name="connsiteX1" fmla="*/ 0 w 117690"/>
              <a:gd name="connsiteY1" fmla="*/ 125847 h 125846"/>
              <a:gd name="connsiteX2" fmla="*/ 62924 w 117690"/>
              <a:gd name="connsiteY2" fmla="*/ 64089 h 125846"/>
              <a:gd name="connsiteX3" fmla="*/ 0 w 117690"/>
              <a:gd name="connsiteY3" fmla="*/ 0 h 125846"/>
              <a:gd name="connsiteX4" fmla="*/ 54767 w 117690"/>
              <a:gd name="connsiteY4" fmla="*/ 0 h 125846"/>
              <a:gd name="connsiteX5" fmla="*/ 117690 w 117690"/>
              <a:gd name="connsiteY5" fmla="*/ 61758 h 125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5846">
                <a:moveTo>
                  <a:pt x="53601" y="125847"/>
                </a:moveTo>
                <a:lnTo>
                  <a:pt x="0" y="125847"/>
                </a:lnTo>
                <a:lnTo>
                  <a:pt x="62924" y="64089"/>
                </a:lnTo>
                <a:lnTo>
                  <a:pt x="0" y="0"/>
                </a:lnTo>
                <a:lnTo>
                  <a:pt x="54767" y="0"/>
                </a:lnTo>
                <a:lnTo>
                  <a:pt x="117690" y="61758"/>
                </a:lnTo>
                <a:close/>
              </a:path>
            </a:pathLst>
          </a:custGeom>
          <a:solidFill>
            <a:srgbClr val="2657A2"/>
          </a:solidFill>
          <a:ln w="11643" cap="flat">
            <a:noFill/>
            <a:prstDash val="solid"/>
            <a:miter/>
          </a:ln>
        </p:spPr>
        <p:txBody>
          <a:bodyPr rtlCol="0" anchor="ctr"/>
          <a:lstStyle/>
          <a:p>
            <a:endParaRPr lang="de-DE"/>
          </a:p>
        </p:txBody>
      </p:sp>
      <p:sp>
        <p:nvSpPr>
          <p:cNvPr id="120" name="Freihandform: Form 119">
            <a:extLst>
              <a:ext uri="{FF2B5EF4-FFF2-40B4-BE49-F238E27FC236}">
                <a16:creationId xmlns:a16="http://schemas.microsoft.com/office/drawing/2014/main" id="{C2A0CA66-2AD7-449F-9550-4A3065D6721D}"/>
              </a:ext>
            </a:extLst>
          </p:cNvPr>
          <p:cNvSpPr/>
          <p:nvPr userDrawn="1"/>
        </p:nvSpPr>
        <p:spPr>
          <a:xfrm>
            <a:off x="6988003" y="4885234"/>
            <a:ext cx="117690" cy="127012"/>
          </a:xfrm>
          <a:custGeom>
            <a:avLst/>
            <a:gdLst>
              <a:gd name="connsiteX0" fmla="*/ 53601 w 117690"/>
              <a:gd name="connsiteY0" fmla="*/ 127012 h 127012"/>
              <a:gd name="connsiteX1" fmla="*/ 0 w 117690"/>
              <a:gd name="connsiteY1" fmla="*/ 127012 h 127012"/>
              <a:gd name="connsiteX2" fmla="*/ 62924 w 117690"/>
              <a:gd name="connsiteY2" fmla="*/ 64089 h 127012"/>
              <a:gd name="connsiteX3" fmla="*/ 0 w 117690"/>
              <a:gd name="connsiteY3" fmla="*/ 0 h 127012"/>
              <a:gd name="connsiteX4" fmla="*/ 54767 w 117690"/>
              <a:gd name="connsiteY4" fmla="*/ 0 h 127012"/>
              <a:gd name="connsiteX5" fmla="*/ 117690 w 117690"/>
              <a:gd name="connsiteY5" fmla="*/ 62923 h 12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2">
                <a:moveTo>
                  <a:pt x="53601" y="127012"/>
                </a:moveTo>
                <a:lnTo>
                  <a:pt x="0" y="127012"/>
                </a:lnTo>
                <a:lnTo>
                  <a:pt x="62924" y="64089"/>
                </a:lnTo>
                <a:lnTo>
                  <a:pt x="0" y="0"/>
                </a:lnTo>
                <a:lnTo>
                  <a:pt x="54767" y="0"/>
                </a:lnTo>
                <a:lnTo>
                  <a:pt x="117690" y="62923"/>
                </a:lnTo>
                <a:close/>
              </a:path>
            </a:pathLst>
          </a:custGeom>
          <a:solidFill>
            <a:srgbClr val="2657A2"/>
          </a:solidFill>
          <a:ln w="11643" cap="flat">
            <a:noFill/>
            <a:prstDash val="solid"/>
            <a:miter/>
          </a:ln>
        </p:spPr>
        <p:txBody>
          <a:bodyPr rtlCol="0" anchor="ctr"/>
          <a:lstStyle/>
          <a:p>
            <a:endParaRPr lang="de-DE"/>
          </a:p>
        </p:txBody>
      </p:sp>
      <p:sp>
        <p:nvSpPr>
          <p:cNvPr id="121" name="Freihandform: Form 120">
            <a:extLst>
              <a:ext uri="{FF2B5EF4-FFF2-40B4-BE49-F238E27FC236}">
                <a16:creationId xmlns:a16="http://schemas.microsoft.com/office/drawing/2014/main" id="{810C6B34-440E-40BD-B971-548B6DC25F35}"/>
              </a:ext>
            </a:extLst>
          </p:cNvPr>
          <p:cNvSpPr/>
          <p:nvPr userDrawn="1"/>
        </p:nvSpPr>
        <p:spPr>
          <a:xfrm>
            <a:off x="6988003" y="5240634"/>
            <a:ext cx="117690" cy="127011"/>
          </a:xfrm>
          <a:custGeom>
            <a:avLst/>
            <a:gdLst>
              <a:gd name="connsiteX0" fmla="*/ 53601 w 117690"/>
              <a:gd name="connsiteY0" fmla="*/ 127012 h 127011"/>
              <a:gd name="connsiteX1" fmla="*/ 0 w 117690"/>
              <a:gd name="connsiteY1" fmla="*/ 127012 h 127011"/>
              <a:gd name="connsiteX2" fmla="*/ 62924 w 117690"/>
              <a:gd name="connsiteY2" fmla="*/ 64089 h 127011"/>
              <a:gd name="connsiteX3" fmla="*/ 0 w 117690"/>
              <a:gd name="connsiteY3" fmla="*/ 0 h 127011"/>
              <a:gd name="connsiteX4" fmla="*/ 54767 w 117690"/>
              <a:gd name="connsiteY4" fmla="*/ 0 h 127011"/>
              <a:gd name="connsiteX5" fmla="*/ 117690 w 117690"/>
              <a:gd name="connsiteY5" fmla="*/ 61758 h 12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1">
                <a:moveTo>
                  <a:pt x="53601" y="127012"/>
                </a:moveTo>
                <a:lnTo>
                  <a:pt x="0" y="127012"/>
                </a:lnTo>
                <a:lnTo>
                  <a:pt x="62924" y="64089"/>
                </a:lnTo>
                <a:lnTo>
                  <a:pt x="0" y="0"/>
                </a:lnTo>
                <a:lnTo>
                  <a:pt x="54767" y="0"/>
                </a:lnTo>
                <a:lnTo>
                  <a:pt x="117690" y="61758"/>
                </a:lnTo>
                <a:close/>
              </a:path>
            </a:pathLst>
          </a:custGeom>
          <a:solidFill>
            <a:srgbClr val="2657A2"/>
          </a:solidFill>
          <a:ln w="11643" cap="flat">
            <a:noFill/>
            <a:prstDash val="solid"/>
            <a:miter/>
          </a:ln>
        </p:spPr>
        <p:txBody>
          <a:bodyPr rtlCol="0" anchor="ctr"/>
          <a:lstStyle/>
          <a:p>
            <a:endParaRPr lang="de-DE"/>
          </a:p>
        </p:txBody>
      </p:sp>
      <p:sp>
        <p:nvSpPr>
          <p:cNvPr id="122" name="Freihandform: Form 121">
            <a:extLst>
              <a:ext uri="{FF2B5EF4-FFF2-40B4-BE49-F238E27FC236}">
                <a16:creationId xmlns:a16="http://schemas.microsoft.com/office/drawing/2014/main" id="{26B65320-B084-4D66-86E8-57A29C890C22}"/>
              </a:ext>
            </a:extLst>
          </p:cNvPr>
          <p:cNvSpPr/>
          <p:nvPr userDrawn="1"/>
        </p:nvSpPr>
        <p:spPr>
          <a:xfrm>
            <a:off x="6988003" y="5594870"/>
            <a:ext cx="117690" cy="127011"/>
          </a:xfrm>
          <a:custGeom>
            <a:avLst/>
            <a:gdLst>
              <a:gd name="connsiteX0" fmla="*/ 53601 w 117690"/>
              <a:gd name="connsiteY0" fmla="*/ 127012 h 127011"/>
              <a:gd name="connsiteX1" fmla="*/ 0 w 117690"/>
              <a:gd name="connsiteY1" fmla="*/ 127012 h 127011"/>
              <a:gd name="connsiteX2" fmla="*/ 62924 w 117690"/>
              <a:gd name="connsiteY2" fmla="*/ 64089 h 127011"/>
              <a:gd name="connsiteX3" fmla="*/ 0 w 117690"/>
              <a:gd name="connsiteY3" fmla="*/ 0 h 127011"/>
              <a:gd name="connsiteX4" fmla="*/ 54767 w 117690"/>
              <a:gd name="connsiteY4" fmla="*/ 0 h 127011"/>
              <a:gd name="connsiteX5" fmla="*/ 117690 w 117690"/>
              <a:gd name="connsiteY5" fmla="*/ 62923 h 12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1">
                <a:moveTo>
                  <a:pt x="53601" y="127012"/>
                </a:moveTo>
                <a:lnTo>
                  <a:pt x="0" y="127012"/>
                </a:lnTo>
                <a:lnTo>
                  <a:pt x="62924" y="64089"/>
                </a:lnTo>
                <a:lnTo>
                  <a:pt x="0" y="0"/>
                </a:lnTo>
                <a:lnTo>
                  <a:pt x="54767" y="0"/>
                </a:lnTo>
                <a:lnTo>
                  <a:pt x="117690" y="62923"/>
                </a:lnTo>
                <a:close/>
              </a:path>
            </a:pathLst>
          </a:custGeom>
          <a:solidFill>
            <a:srgbClr val="2657A2"/>
          </a:solidFill>
          <a:ln w="11643" cap="flat">
            <a:noFill/>
            <a:prstDash val="solid"/>
            <a:miter/>
          </a:ln>
        </p:spPr>
        <p:txBody>
          <a:bodyPr rtlCol="0" anchor="ctr"/>
          <a:lstStyle/>
          <a:p>
            <a:endParaRPr lang="de-DE"/>
          </a:p>
        </p:txBody>
      </p:sp>
      <p:sp>
        <p:nvSpPr>
          <p:cNvPr id="123" name="Freihandform: Form 122">
            <a:extLst>
              <a:ext uri="{FF2B5EF4-FFF2-40B4-BE49-F238E27FC236}">
                <a16:creationId xmlns:a16="http://schemas.microsoft.com/office/drawing/2014/main" id="{95CF7401-F141-4E21-872A-8273A1489D8D}"/>
              </a:ext>
            </a:extLst>
          </p:cNvPr>
          <p:cNvSpPr/>
          <p:nvPr userDrawn="1"/>
        </p:nvSpPr>
        <p:spPr>
          <a:xfrm>
            <a:off x="6988003" y="5950270"/>
            <a:ext cx="117690" cy="127011"/>
          </a:xfrm>
          <a:custGeom>
            <a:avLst/>
            <a:gdLst>
              <a:gd name="connsiteX0" fmla="*/ 53601 w 117690"/>
              <a:gd name="connsiteY0" fmla="*/ 127012 h 127011"/>
              <a:gd name="connsiteX1" fmla="*/ 0 w 117690"/>
              <a:gd name="connsiteY1" fmla="*/ 127012 h 127011"/>
              <a:gd name="connsiteX2" fmla="*/ 62924 w 117690"/>
              <a:gd name="connsiteY2" fmla="*/ 64089 h 127011"/>
              <a:gd name="connsiteX3" fmla="*/ 0 w 117690"/>
              <a:gd name="connsiteY3" fmla="*/ 0 h 127011"/>
              <a:gd name="connsiteX4" fmla="*/ 54767 w 117690"/>
              <a:gd name="connsiteY4" fmla="*/ 0 h 127011"/>
              <a:gd name="connsiteX5" fmla="*/ 117690 w 117690"/>
              <a:gd name="connsiteY5" fmla="*/ 61758 h 12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1">
                <a:moveTo>
                  <a:pt x="53601" y="127012"/>
                </a:moveTo>
                <a:lnTo>
                  <a:pt x="0" y="127012"/>
                </a:lnTo>
                <a:lnTo>
                  <a:pt x="62924" y="64089"/>
                </a:lnTo>
                <a:lnTo>
                  <a:pt x="0" y="0"/>
                </a:lnTo>
                <a:lnTo>
                  <a:pt x="54767" y="0"/>
                </a:lnTo>
                <a:lnTo>
                  <a:pt x="117690" y="61758"/>
                </a:lnTo>
                <a:close/>
              </a:path>
            </a:pathLst>
          </a:custGeom>
          <a:solidFill>
            <a:srgbClr val="2657A2"/>
          </a:solidFill>
          <a:ln w="11643" cap="flat">
            <a:noFill/>
            <a:prstDash val="solid"/>
            <a:miter/>
          </a:ln>
        </p:spPr>
        <p:txBody>
          <a:bodyPr rtlCol="0" anchor="ctr"/>
          <a:lstStyle/>
          <a:p>
            <a:endParaRPr lang="de-DE"/>
          </a:p>
        </p:txBody>
      </p:sp>
      <p:sp>
        <p:nvSpPr>
          <p:cNvPr id="124" name="Freihandform: Form 123">
            <a:extLst>
              <a:ext uri="{FF2B5EF4-FFF2-40B4-BE49-F238E27FC236}">
                <a16:creationId xmlns:a16="http://schemas.microsoft.com/office/drawing/2014/main" id="{13AFCDEB-2C1E-4CCB-BDB5-C1EFAC4E8F42}"/>
              </a:ext>
            </a:extLst>
          </p:cNvPr>
          <p:cNvSpPr/>
          <p:nvPr userDrawn="1"/>
        </p:nvSpPr>
        <p:spPr>
          <a:xfrm>
            <a:off x="6988003" y="6304506"/>
            <a:ext cx="117690" cy="127011"/>
          </a:xfrm>
          <a:custGeom>
            <a:avLst/>
            <a:gdLst>
              <a:gd name="connsiteX0" fmla="*/ 53601 w 117690"/>
              <a:gd name="connsiteY0" fmla="*/ 127012 h 127011"/>
              <a:gd name="connsiteX1" fmla="*/ 0 w 117690"/>
              <a:gd name="connsiteY1" fmla="*/ 127012 h 127011"/>
              <a:gd name="connsiteX2" fmla="*/ 62924 w 117690"/>
              <a:gd name="connsiteY2" fmla="*/ 64089 h 127011"/>
              <a:gd name="connsiteX3" fmla="*/ 0 w 117690"/>
              <a:gd name="connsiteY3" fmla="*/ 0 h 127011"/>
              <a:gd name="connsiteX4" fmla="*/ 54767 w 117690"/>
              <a:gd name="connsiteY4" fmla="*/ 0 h 127011"/>
              <a:gd name="connsiteX5" fmla="*/ 117690 w 117690"/>
              <a:gd name="connsiteY5" fmla="*/ 62923 h 12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1">
                <a:moveTo>
                  <a:pt x="53601" y="127012"/>
                </a:moveTo>
                <a:lnTo>
                  <a:pt x="0" y="127012"/>
                </a:lnTo>
                <a:lnTo>
                  <a:pt x="62924" y="64089"/>
                </a:lnTo>
                <a:lnTo>
                  <a:pt x="0" y="0"/>
                </a:lnTo>
                <a:lnTo>
                  <a:pt x="54767" y="0"/>
                </a:lnTo>
                <a:lnTo>
                  <a:pt x="117690" y="62923"/>
                </a:lnTo>
                <a:close/>
              </a:path>
            </a:pathLst>
          </a:custGeom>
          <a:solidFill>
            <a:srgbClr val="2657A2"/>
          </a:solidFill>
          <a:ln w="11643" cap="flat">
            <a:noFill/>
            <a:prstDash val="solid"/>
            <a:miter/>
          </a:ln>
        </p:spPr>
        <p:txBody>
          <a:bodyPr rtlCol="0" anchor="ctr"/>
          <a:lstStyle/>
          <a:p>
            <a:endParaRPr lang="de-DE"/>
          </a:p>
        </p:txBody>
      </p:sp>
      <p:sp>
        <p:nvSpPr>
          <p:cNvPr id="125" name="Freihandform: Form 124">
            <a:extLst>
              <a:ext uri="{FF2B5EF4-FFF2-40B4-BE49-F238E27FC236}">
                <a16:creationId xmlns:a16="http://schemas.microsoft.com/office/drawing/2014/main" id="{A9754498-E396-4394-BE2A-D119D8B633A8}"/>
              </a:ext>
            </a:extLst>
          </p:cNvPr>
          <p:cNvSpPr/>
          <p:nvPr userDrawn="1"/>
        </p:nvSpPr>
        <p:spPr>
          <a:xfrm>
            <a:off x="6988003" y="6659906"/>
            <a:ext cx="117690" cy="127011"/>
          </a:xfrm>
          <a:custGeom>
            <a:avLst/>
            <a:gdLst>
              <a:gd name="connsiteX0" fmla="*/ 53601 w 117690"/>
              <a:gd name="connsiteY0" fmla="*/ 127012 h 127011"/>
              <a:gd name="connsiteX1" fmla="*/ 0 w 117690"/>
              <a:gd name="connsiteY1" fmla="*/ 127012 h 127011"/>
              <a:gd name="connsiteX2" fmla="*/ 62924 w 117690"/>
              <a:gd name="connsiteY2" fmla="*/ 64089 h 127011"/>
              <a:gd name="connsiteX3" fmla="*/ 0 w 117690"/>
              <a:gd name="connsiteY3" fmla="*/ 0 h 127011"/>
              <a:gd name="connsiteX4" fmla="*/ 54767 w 117690"/>
              <a:gd name="connsiteY4" fmla="*/ 0 h 127011"/>
              <a:gd name="connsiteX5" fmla="*/ 117690 w 117690"/>
              <a:gd name="connsiteY5" fmla="*/ 61758 h 12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1">
                <a:moveTo>
                  <a:pt x="53601" y="127012"/>
                </a:moveTo>
                <a:lnTo>
                  <a:pt x="0" y="127012"/>
                </a:lnTo>
                <a:lnTo>
                  <a:pt x="62924" y="64089"/>
                </a:lnTo>
                <a:lnTo>
                  <a:pt x="0" y="0"/>
                </a:lnTo>
                <a:lnTo>
                  <a:pt x="54767" y="0"/>
                </a:lnTo>
                <a:lnTo>
                  <a:pt x="117690" y="61758"/>
                </a:lnTo>
                <a:close/>
              </a:path>
            </a:pathLst>
          </a:custGeom>
          <a:solidFill>
            <a:srgbClr val="2657A2"/>
          </a:solidFill>
          <a:ln w="11643" cap="flat">
            <a:noFill/>
            <a:prstDash val="solid"/>
            <a:miter/>
          </a:ln>
        </p:spPr>
        <p:txBody>
          <a:bodyPr rtlCol="0" anchor="ctr"/>
          <a:lstStyle/>
          <a:p>
            <a:endParaRPr lang="de-DE"/>
          </a:p>
        </p:txBody>
      </p:sp>
      <p:sp>
        <p:nvSpPr>
          <p:cNvPr id="126" name="Freihandform: Form 125">
            <a:extLst>
              <a:ext uri="{FF2B5EF4-FFF2-40B4-BE49-F238E27FC236}">
                <a16:creationId xmlns:a16="http://schemas.microsoft.com/office/drawing/2014/main" id="{F4E3000C-CEA9-44EB-8851-A8B3AD260025}"/>
              </a:ext>
            </a:extLst>
          </p:cNvPr>
          <p:cNvSpPr/>
          <p:nvPr userDrawn="1"/>
        </p:nvSpPr>
        <p:spPr>
          <a:xfrm>
            <a:off x="7335247" y="2038533"/>
            <a:ext cx="132838" cy="143325"/>
          </a:xfrm>
          <a:custGeom>
            <a:avLst/>
            <a:gdLst>
              <a:gd name="connsiteX0" fmla="*/ 60593 w 132838"/>
              <a:gd name="connsiteY0" fmla="*/ 143326 h 143325"/>
              <a:gd name="connsiteX1" fmla="*/ 0 w 132838"/>
              <a:gd name="connsiteY1" fmla="*/ 143326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6"/>
                </a:moveTo>
                <a:lnTo>
                  <a:pt x="0" y="143326"/>
                </a:lnTo>
                <a:lnTo>
                  <a:pt x="71080" y="72245"/>
                </a:lnTo>
                <a:lnTo>
                  <a:pt x="0" y="0"/>
                </a:lnTo>
                <a:lnTo>
                  <a:pt x="61758" y="0"/>
                </a:lnTo>
                <a:lnTo>
                  <a:pt x="132838" y="69915"/>
                </a:lnTo>
                <a:close/>
              </a:path>
            </a:pathLst>
          </a:custGeom>
          <a:solidFill>
            <a:srgbClr val="2657A2"/>
          </a:solidFill>
          <a:ln w="11643" cap="flat">
            <a:noFill/>
            <a:prstDash val="solid"/>
            <a:miter/>
          </a:ln>
        </p:spPr>
        <p:txBody>
          <a:bodyPr rtlCol="0" anchor="ctr"/>
          <a:lstStyle/>
          <a:p>
            <a:endParaRPr lang="de-DE"/>
          </a:p>
        </p:txBody>
      </p:sp>
      <p:sp>
        <p:nvSpPr>
          <p:cNvPr id="127" name="Freihandform: Form 126">
            <a:extLst>
              <a:ext uri="{FF2B5EF4-FFF2-40B4-BE49-F238E27FC236}">
                <a16:creationId xmlns:a16="http://schemas.microsoft.com/office/drawing/2014/main" id="{2FEBA4C7-D77A-4E57-A5EF-DF08512111C0}"/>
              </a:ext>
            </a:extLst>
          </p:cNvPr>
          <p:cNvSpPr/>
          <p:nvPr userDrawn="1"/>
        </p:nvSpPr>
        <p:spPr>
          <a:xfrm>
            <a:off x="7335247" y="2392768"/>
            <a:ext cx="132838" cy="143325"/>
          </a:xfrm>
          <a:custGeom>
            <a:avLst/>
            <a:gdLst>
              <a:gd name="connsiteX0" fmla="*/ 60593 w 132838"/>
              <a:gd name="connsiteY0" fmla="*/ 143325 h 143325"/>
              <a:gd name="connsiteX1" fmla="*/ 0 w 132838"/>
              <a:gd name="connsiteY1" fmla="*/ 143325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71080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5"/>
                </a:moveTo>
                <a:lnTo>
                  <a:pt x="0" y="143325"/>
                </a:lnTo>
                <a:lnTo>
                  <a:pt x="71080" y="72245"/>
                </a:lnTo>
                <a:lnTo>
                  <a:pt x="0" y="0"/>
                </a:lnTo>
                <a:lnTo>
                  <a:pt x="61758" y="0"/>
                </a:lnTo>
                <a:lnTo>
                  <a:pt x="132838" y="71080"/>
                </a:lnTo>
                <a:close/>
              </a:path>
            </a:pathLst>
          </a:custGeom>
          <a:solidFill>
            <a:srgbClr val="2657A2"/>
          </a:solidFill>
          <a:ln w="11643" cap="flat">
            <a:noFill/>
            <a:prstDash val="solid"/>
            <a:miter/>
          </a:ln>
        </p:spPr>
        <p:txBody>
          <a:bodyPr rtlCol="0" anchor="ctr"/>
          <a:lstStyle/>
          <a:p>
            <a:endParaRPr lang="de-DE"/>
          </a:p>
        </p:txBody>
      </p:sp>
      <p:sp>
        <p:nvSpPr>
          <p:cNvPr id="128" name="Freihandform: Form 127">
            <a:extLst>
              <a:ext uri="{FF2B5EF4-FFF2-40B4-BE49-F238E27FC236}">
                <a16:creationId xmlns:a16="http://schemas.microsoft.com/office/drawing/2014/main" id="{2B2A6A66-6EEE-4F53-891C-D3ABC346ACCE}"/>
              </a:ext>
            </a:extLst>
          </p:cNvPr>
          <p:cNvSpPr/>
          <p:nvPr userDrawn="1"/>
        </p:nvSpPr>
        <p:spPr>
          <a:xfrm>
            <a:off x="7335247" y="2748169"/>
            <a:ext cx="132838" cy="143325"/>
          </a:xfrm>
          <a:custGeom>
            <a:avLst/>
            <a:gdLst>
              <a:gd name="connsiteX0" fmla="*/ 60593 w 132838"/>
              <a:gd name="connsiteY0" fmla="*/ 143325 h 143325"/>
              <a:gd name="connsiteX1" fmla="*/ 0 w 132838"/>
              <a:gd name="connsiteY1" fmla="*/ 143325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5"/>
                </a:moveTo>
                <a:lnTo>
                  <a:pt x="0" y="143325"/>
                </a:lnTo>
                <a:lnTo>
                  <a:pt x="71080" y="72245"/>
                </a:lnTo>
                <a:lnTo>
                  <a:pt x="0" y="0"/>
                </a:lnTo>
                <a:lnTo>
                  <a:pt x="61758" y="0"/>
                </a:lnTo>
                <a:lnTo>
                  <a:pt x="132838" y="69915"/>
                </a:lnTo>
                <a:close/>
              </a:path>
            </a:pathLst>
          </a:custGeom>
          <a:solidFill>
            <a:srgbClr val="2657A2"/>
          </a:solidFill>
          <a:ln w="11643" cap="flat">
            <a:noFill/>
            <a:prstDash val="solid"/>
            <a:miter/>
          </a:ln>
        </p:spPr>
        <p:txBody>
          <a:bodyPr rtlCol="0" anchor="ctr"/>
          <a:lstStyle/>
          <a:p>
            <a:endParaRPr lang="de-DE"/>
          </a:p>
        </p:txBody>
      </p:sp>
      <p:sp>
        <p:nvSpPr>
          <p:cNvPr id="129" name="Freihandform: Form 128">
            <a:extLst>
              <a:ext uri="{FF2B5EF4-FFF2-40B4-BE49-F238E27FC236}">
                <a16:creationId xmlns:a16="http://schemas.microsoft.com/office/drawing/2014/main" id="{0091A447-6DE9-4E11-8FAE-BD941BDD3FC0}"/>
              </a:ext>
            </a:extLst>
          </p:cNvPr>
          <p:cNvSpPr/>
          <p:nvPr userDrawn="1"/>
        </p:nvSpPr>
        <p:spPr>
          <a:xfrm>
            <a:off x="7335247" y="3102404"/>
            <a:ext cx="132838" cy="143325"/>
          </a:xfrm>
          <a:custGeom>
            <a:avLst/>
            <a:gdLst>
              <a:gd name="connsiteX0" fmla="*/ 60593 w 132838"/>
              <a:gd name="connsiteY0" fmla="*/ 143326 h 143325"/>
              <a:gd name="connsiteX1" fmla="*/ 0 w 132838"/>
              <a:gd name="connsiteY1" fmla="*/ 143326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71080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6"/>
                </a:moveTo>
                <a:lnTo>
                  <a:pt x="0" y="143326"/>
                </a:lnTo>
                <a:lnTo>
                  <a:pt x="71080" y="72245"/>
                </a:lnTo>
                <a:lnTo>
                  <a:pt x="0" y="0"/>
                </a:lnTo>
                <a:lnTo>
                  <a:pt x="61758" y="0"/>
                </a:lnTo>
                <a:lnTo>
                  <a:pt x="132838" y="71080"/>
                </a:lnTo>
                <a:close/>
              </a:path>
            </a:pathLst>
          </a:custGeom>
          <a:solidFill>
            <a:srgbClr val="2657A2"/>
          </a:solidFill>
          <a:ln w="11643" cap="flat">
            <a:noFill/>
            <a:prstDash val="solid"/>
            <a:miter/>
          </a:ln>
        </p:spPr>
        <p:txBody>
          <a:bodyPr rtlCol="0" anchor="ctr"/>
          <a:lstStyle/>
          <a:p>
            <a:endParaRPr lang="de-DE"/>
          </a:p>
        </p:txBody>
      </p:sp>
      <p:sp>
        <p:nvSpPr>
          <p:cNvPr id="130" name="Freihandform: Form 129">
            <a:extLst>
              <a:ext uri="{FF2B5EF4-FFF2-40B4-BE49-F238E27FC236}">
                <a16:creationId xmlns:a16="http://schemas.microsoft.com/office/drawing/2014/main" id="{1F18D53D-4086-4EE3-B029-469C545C3698}"/>
              </a:ext>
            </a:extLst>
          </p:cNvPr>
          <p:cNvSpPr/>
          <p:nvPr userDrawn="1"/>
        </p:nvSpPr>
        <p:spPr>
          <a:xfrm>
            <a:off x="7335247" y="3457805"/>
            <a:ext cx="132838" cy="143325"/>
          </a:xfrm>
          <a:custGeom>
            <a:avLst/>
            <a:gdLst>
              <a:gd name="connsiteX0" fmla="*/ 60593 w 132838"/>
              <a:gd name="connsiteY0" fmla="*/ 143326 h 143325"/>
              <a:gd name="connsiteX1" fmla="*/ 0 w 132838"/>
              <a:gd name="connsiteY1" fmla="*/ 143326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6"/>
                </a:moveTo>
                <a:lnTo>
                  <a:pt x="0" y="143326"/>
                </a:lnTo>
                <a:lnTo>
                  <a:pt x="71080" y="72245"/>
                </a:lnTo>
                <a:lnTo>
                  <a:pt x="0" y="0"/>
                </a:lnTo>
                <a:lnTo>
                  <a:pt x="61758" y="0"/>
                </a:lnTo>
                <a:lnTo>
                  <a:pt x="132838" y="69915"/>
                </a:lnTo>
                <a:close/>
              </a:path>
            </a:pathLst>
          </a:custGeom>
          <a:solidFill>
            <a:srgbClr val="2657A2"/>
          </a:solidFill>
          <a:ln w="11643" cap="flat">
            <a:noFill/>
            <a:prstDash val="solid"/>
            <a:miter/>
          </a:ln>
        </p:spPr>
        <p:txBody>
          <a:bodyPr rtlCol="0" anchor="ctr"/>
          <a:lstStyle/>
          <a:p>
            <a:endParaRPr lang="de-DE"/>
          </a:p>
        </p:txBody>
      </p:sp>
      <p:sp>
        <p:nvSpPr>
          <p:cNvPr id="131" name="Freihandform: Form 130">
            <a:extLst>
              <a:ext uri="{FF2B5EF4-FFF2-40B4-BE49-F238E27FC236}">
                <a16:creationId xmlns:a16="http://schemas.microsoft.com/office/drawing/2014/main" id="{C848A0FC-111A-40DD-BE18-27DDF31B209C}"/>
              </a:ext>
            </a:extLst>
          </p:cNvPr>
          <p:cNvSpPr/>
          <p:nvPr userDrawn="1"/>
        </p:nvSpPr>
        <p:spPr>
          <a:xfrm>
            <a:off x="7335247" y="3812040"/>
            <a:ext cx="132838" cy="144490"/>
          </a:xfrm>
          <a:custGeom>
            <a:avLst/>
            <a:gdLst>
              <a:gd name="connsiteX0" fmla="*/ 60593 w 132838"/>
              <a:gd name="connsiteY0" fmla="*/ 144491 h 144490"/>
              <a:gd name="connsiteX1" fmla="*/ 0 w 132838"/>
              <a:gd name="connsiteY1" fmla="*/ 144491 h 144490"/>
              <a:gd name="connsiteX2" fmla="*/ 71080 w 132838"/>
              <a:gd name="connsiteY2" fmla="*/ 73410 h 144490"/>
              <a:gd name="connsiteX3" fmla="*/ 0 w 132838"/>
              <a:gd name="connsiteY3" fmla="*/ 0 h 144490"/>
              <a:gd name="connsiteX4" fmla="*/ 61758 w 132838"/>
              <a:gd name="connsiteY4" fmla="*/ 0 h 144490"/>
              <a:gd name="connsiteX5" fmla="*/ 132838 w 132838"/>
              <a:gd name="connsiteY5" fmla="*/ 71080 h 144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4490">
                <a:moveTo>
                  <a:pt x="60593" y="144491"/>
                </a:moveTo>
                <a:lnTo>
                  <a:pt x="0" y="144491"/>
                </a:lnTo>
                <a:lnTo>
                  <a:pt x="71080" y="73410"/>
                </a:lnTo>
                <a:lnTo>
                  <a:pt x="0" y="0"/>
                </a:lnTo>
                <a:lnTo>
                  <a:pt x="61758" y="0"/>
                </a:lnTo>
                <a:lnTo>
                  <a:pt x="132838" y="71080"/>
                </a:lnTo>
                <a:close/>
              </a:path>
            </a:pathLst>
          </a:custGeom>
          <a:solidFill>
            <a:srgbClr val="2657A2"/>
          </a:solidFill>
          <a:ln w="11643" cap="flat">
            <a:noFill/>
            <a:prstDash val="solid"/>
            <a:miter/>
          </a:ln>
        </p:spPr>
        <p:txBody>
          <a:bodyPr rtlCol="0" anchor="ctr"/>
          <a:lstStyle/>
          <a:p>
            <a:endParaRPr lang="de-DE"/>
          </a:p>
        </p:txBody>
      </p:sp>
      <p:sp>
        <p:nvSpPr>
          <p:cNvPr id="132" name="Freihandform: Form 131">
            <a:extLst>
              <a:ext uri="{FF2B5EF4-FFF2-40B4-BE49-F238E27FC236}">
                <a16:creationId xmlns:a16="http://schemas.microsoft.com/office/drawing/2014/main" id="{259C5B67-9BB8-44CB-BDEB-E4760585BC97}"/>
              </a:ext>
            </a:extLst>
          </p:cNvPr>
          <p:cNvSpPr/>
          <p:nvPr userDrawn="1"/>
        </p:nvSpPr>
        <p:spPr>
          <a:xfrm>
            <a:off x="7335247" y="4167441"/>
            <a:ext cx="132838" cy="143325"/>
          </a:xfrm>
          <a:custGeom>
            <a:avLst/>
            <a:gdLst>
              <a:gd name="connsiteX0" fmla="*/ 60593 w 132838"/>
              <a:gd name="connsiteY0" fmla="*/ 143325 h 143325"/>
              <a:gd name="connsiteX1" fmla="*/ 0 w 132838"/>
              <a:gd name="connsiteY1" fmla="*/ 143325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5"/>
                </a:moveTo>
                <a:lnTo>
                  <a:pt x="0" y="143325"/>
                </a:lnTo>
                <a:lnTo>
                  <a:pt x="71080" y="72245"/>
                </a:lnTo>
                <a:lnTo>
                  <a:pt x="0" y="0"/>
                </a:lnTo>
                <a:lnTo>
                  <a:pt x="61758" y="0"/>
                </a:lnTo>
                <a:lnTo>
                  <a:pt x="132838" y="69915"/>
                </a:lnTo>
                <a:close/>
              </a:path>
            </a:pathLst>
          </a:custGeom>
          <a:solidFill>
            <a:srgbClr val="2657A2"/>
          </a:solidFill>
          <a:ln w="11643" cap="flat">
            <a:noFill/>
            <a:prstDash val="solid"/>
            <a:miter/>
          </a:ln>
        </p:spPr>
        <p:txBody>
          <a:bodyPr rtlCol="0" anchor="ctr"/>
          <a:lstStyle/>
          <a:p>
            <a:endParaRPr lang="de-DE"/>
          </a:p>
        </p:txBody>
      </p:sp>
      <p:sp>
        <p:nvSpPr>
          <p:cNvPr id="133" name="Freihandform: Form 132">
            <a:extLst>
              <a:ext uri="{FF2B5EF4-FFF2-40B4-BE49-F238E27FC236}">
                <a16:creationId xmlns:a16="http://schemas.microsoft.com/office/drawing/2014/main" id="{E10A0CBB-93B3-4E84-94FF-76F6DE1C4B3F}"/>
              </a:ext>
            </a:extLst>
          </p:cNvPr>
          <p:cNvSpPr/>
          <p:nvPr userDrawn="1"/>
        </p:nvSpPr>
        <p:spPr>
          <a:xfrm>
            <a:off x="7335247" y="4522842"/>
            <a:ext cx="132838" cy="143325"/>
          </a:xfrm>
          <a:custGeom>
            <a:avLst/>
            <a:gdLst>
              <a:gd name="connsiteX0" fmla="*/ 60593 w 132838"/>
              <a:gd name="connsiteY0" fmla="*/ 143325 h 143325"/>
              <a:gd name="connsiteX1" fmla="*/ 0 w 132838"/>
              <a:gd name="connsiteY1" fmla="*/ 143325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5"/>
                </a:moveTo>
                <a:lnTo>
                  <a:pt x="0" y="143325"/>
                </a:lnTo>
                <a:lnTo>
                  <a:pt x="71080" y="72245"/>
                </a:lnTo>
                <a:lnTo>
                  <a:pt x="0" y="0"/>
                </a:lnTo>
                <a:lnTo>
                  <a:pt x="61758" y="0"/>
                </a:lnTo>
                <a:lnTo>
                  <a:pt x="132838" y="69915"/>
                </a:lnTo>
                <a:close/>
              </a:path>
            </a:pathLst>
          </a:custGeom>
          <a:solidFill>
            <a:srgbClr val="2657A2"/>
          </a:solidFill>
          <a:ln w="11643" cap="flat">
            <a:noFill/>
            <a:prstDash val="solid"/>
            <a:miter/>
          </a:ln>
        </p:spPr>
        <p:txBody>
          <a:bodyPr rtlCol="0" anchor="ctr"/>
          <a:lstStyle/>
          <a:p>
            <a:endParaRPr lang="de-DE"/>
          </a:p>
        </p:txBody>
      </p:sp>
      <p:sp>
        <p:nvSpPr>
          <p:cNvPr id="134" name="Freihandform: Form 133">
            <a:extLst>
              <a:ext uri="{FF2B5EF4-FFF2-40B4-BE49-F238E27FC236}">
                <a16:creationId xmlns:a16="http://schemas.microsoft.com/office/drawing/2014/main" id="{BE741E57-826D-4967-A14E-45F6C9245C48}"/>
              </a:ext>
            </a:extLst>
          </p:cNvPr>
          <p:cNvSpPr/>
          <p:nvPr userDrawn="1"/>
        </p:nvSpPr>
        <p:spPr>
          <a:xfrm>
            <a:off x="7335247" y="4877077"/>
            <a:ext cx="132838" cy="143325"/>
          </a:xfrm>
          <a:custGeom>
            <a:avLst/>
            <a:gdLst>
              <a:gd name="connsiteX0" fmla="*/ 60593 w 132838"/>
              <a:gd name="connsiteY0" fmla="*/ 143325 h 143325"/>
              <a:gd name="connsiteX1" fmla="*/ 0 w 132838"/>
              <a:gd name="connsiteY1" fmla="*/ 143325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71080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5"/>
                </a:moveTo>
                <a:lnTo>
                  <a:pt x="0" y="143325"/>
                </a:lnTo>
                <a:lnTo>
                  <a:pt x="71080" y="72245"/>
                </a:lnTo>
                <a:lnTo>
                  <a:pt x="0" y="0"/>
                </a:lnTo>
                <a:lnTo>
                  <a:pt x="61758" y="0"/>
                </a:lnTo>
                <a:lnTo>
                  <a:pt x="132838" y="71080"/>
                </a:lnTo>
                <a:close/>
              </a:path>
            </a:pathLst>
          </a:custGeom>
          <a:solidFill>
            <a:srgbClr val="2657A2"/>
          </a:solidFill>
          <a:ln w="11643" cap="flat">
            <a:noFill/>
            <a:prstDash val="solid"/>
            <a:miter/>
          </a:ln>
        </p:spPr>
        <p:txBody>
          <a:bodyPr rtlCol="0" anchor="ctr"/>
          <a:lstStyle/>
          <a:p>
            <a:endParaRPr lang="de-DE"/>
          </a:p>
        </p:txBody>
      </p:sp>
      <p:sp>
        <p:nvSpPr>
          <p:cNvPr id="135" name="Freihandform: Form 134">
            <a:extLst>
              <a:ext uri="{FF2B5EF4-FFF2-40B4-BE49-F238E27FC236}">
                <a16:creationId xmlns:a16="http://schemas.microsoft.com/office/drawing/2014/main" id="{BC7B3BD0-CE6B-409C-A5F8-7639CED4C445}"/>
              </a:ext>
            </a:extLst>
          </p:cNvPr>
          <p:cNvSpPr/>
          <p:nvPr userDrawn="1"/>
        </p:nvSpPr>
        <p:spPr>
          <a:xfrm>
            <a:off x="7335247" y="5232478"/>
            <a:ext cx="132838" cy="143325"/>
          </a:xfrm>
          <a:custGeom>
            <a:avLst/>
            <a:gdLst>
              <a:gd name="connsiteX0" fmla="*/ 60593 w 132838"/>
              <a:gd name="connsiteY0" fmla="*/ 143325 h 143325"/>
              <a:gd name="connsiteX1" fmla="*/ 0 w 132838"/>
              <a:gd name="connsiteY1" fmla="*/ 143325 h 143325"/>
              <a:gd name="connsiteX2" fmla="*/ 71080 w 132838"/>
              <a:gd name="connsiteY2" fmla="*/ 72246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5"/>
                </a:moveTo>
                <a:lnTo>
                  <a:pt x="0" y="143325"/>
                </a:lnTo>
                <a:lnTo>
                  <a:pt x="71080" y="72246"/>
                </a:lnTo>
                <a:lnTo>
                  <a:pt x="0" y="0"/>
                </a:lnTo>
                <a:lnTo>
                  <a:pt x="61758" y="0"/>
                </a:lnTo>
                <a:lnTo>
                  <a:pt x="132838" y="69915"/>
                </a:lnTo>
                <a:close/>
              </a:path>
            </a:pathLst>
          </a:custGeom>
          <a:solidFill>
            <a:srgbClr val="2657A2"/>
          </a:solidFill>
          <a:ln w="11643" cap="flat">
            <a:noFill/>
            <a:prstDash val="solid"/>
            <a:miter/>
          </a:ln>
        </p:spPr>
        <p:txBody>
          <a:bodyPr rtlCol="0" anchor="ctr"/>
          <a:lstStyle/>
          <a:p>
            <a:endParaRPr lang="de-DE"/>
          </a:p>
        </p:txBody>
      </p:sp>
      <p:sp>
        <p:nvSpPr>
          <p:cNvPr id="136" name="Freihandform: Form 135">
            <a:extLst>
              <a:ext uri="{FF2B5EF4-FFF2-40B4-BE49-F238E27FC236}">
                <a16:creationId xmlns:a16="http://schemas.microsoft.com/office/drawing/2014/main" id="{D0E85425-9BE5-4C49-AC66-3B4F6B488A59}"/>
              </a:ext>
            </a:extLst>
          </p:cNvPr>
          <p:cNvSpPr/>
          <p:nvPr userDrawn="1"/>
        </p:nvSpPr>
        <p:spPr>
          <a:xfrm>
            <a:off x="7335247" y="5586713"/>
            <a:ext cx="132838" cy="143325"/>
          </a:xfrm>
          <a:custGeom>
            <a:avLst/>
            <a:gdLst>
              <a:gd name="connsiteX0" fmla="*/ 60593 w 132838"/>
              <a:gd name="connsiteY0" fmla="*/ 143326 h 143325"/>
              <a:gd name="connsiteX1" fmla="*/ 0 w 132838"/>
              <a:gd name="connsiteY1" fmla="*/ 143326 h 143325"/>
              <a:gd name="connsiteX2" fmla="*/ 71080 w 132838"/>
              <a:gd name="connsiteY2" fmla="*/ 72246 h 143325"/>
              <a:gd name="connsiteX3" fmla="*/ 0 w 132838"/>
              <a:gd name="connsiteY3" fmla="*/ 0 h 143325"/>
              <a:gd name="connsiteX4" fmla="*/ 61758 w 132838"/>
              <a:gd name="connsiteY4" fmla="*/ 0 h 143325"/>
              <a:gd name="connsiteX5" fmla="*/ 132838 w 132838"/>
              <a:gd name="connsiteY5" fmla="*/ 71080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6"/>
                </a:moveTo>
                <a:lnTo>
                  <a:pt x="0" y="143326"/>
                </a:lnTo>
                <a:lnTo>
                  <a:pt x="71080" y="72246"/>
                </a:lnTo>
                <a:lnTo>
                  <a:pt x="0" y="0"/>
                </a:lnTo>
                <a:lnTo>
                  <a:pt x="61758" y="0"/>
                </a:lnTo>
                <a:lnTo>
                  <a:pt x="132838" y="71080"/>
                </a:lnTo>
                <a:close/>
              </a:path>
            </a:pathLst>
          </a:custGeom>
          <a:solidFill>
            <a:srgbClr val="2657A2"/>
          </a:solidFill>
          <a:ln w="11643" cap="flat">
            <a:noFill/>
            <a:prstDash val="solid"/>
            <a:miter/>
          </a:ln>
        </p:spPr>
        <p:txBody>
          <a:bodyPr rtlCol="0" anchor="ctr"/>
          <a:lstStyle/>
          <a:p>
            <a:endParaRPr lang="de-DE"/>
          </a:p>
        </p:txBody>
      </p:sp>
      <p:sp>
        <p:nvSpPr>
          <p:cNvPr id="137" name="Freihandform: Form 136">
            <a:extLst>
              <a:ext uri="{FF2B5EF4-FFF2-40B4-BE49-F238E27FC236}">
                <a16:creationId xmlns:a16="http://schemas.microsoft.com/office/drawing/2014/main" id="{59B8B0CB-32FE-4231-B06A-4ECC351FFE9F}"/>
              </a:ext>
            </a:extLst>
          </p:cNvPr>
          <p:cNvSpPr/>
          <p:nvPr userDrawn="1"/>
        </p:nvSpPr>
        <p:spPr>
          <a:xfrm>
            <a:off x="7335247" y="5942114"/>
            <a:ext cx="132838" cy="143325"/>
          </a:xfrm>
          <a:custGeom>
            <a:avLst/>
            <a:gdLst>
              <a:gd name="connsiteX0" fmla="*/ 60593 w 132838"/>
              <a:gd name="connsiteY0" fmla="*/ 143326 h 143325"/>
              <a:gd name="connsiteX1" fmla="*/ 0 w 132838"/>
              <a:gd name="connsiteY1" fmla="*/ 143326 h 143325"/>
              <a:gd name="connsiteX2" fmla="*/ 71080 w 132838"/>
              <a:gd name="connsiteY2" fmla="*/ 72246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6"/>
                </a:moveTo>
                <a:lnTo>
                  <a:pt x="0" y="143326"/>
                </a:lnTo>
                <a:lnTo>
                  <a:pt x="71080" y="72246"/>
                </a:lnTo>
                <a:lnTo>
                  <a:pt x="0" y="0"/>
                </a:lnTo>
                <a:lnTo>
                  <a:pt x="61758" y="0"/>
                </a:lnTo>
                <a:lnTo>
                  <a:pt x="132838" y="69915"/>
                </a:lnTo>
                <a:close/>
              </a:path>
            </a:pathLst>
          </a:custGeom>
          <a:solidFill>
            <a:srgbClr val="2657A2"/>
          </a:solidFill>
          <a:ln w="11643" cap="flat">
            <a:noFill/>
            <a:prstDash val="solid"/>
            <a:miter/>
          </a:ln>
        </p:spPr>
        <p:txBody>
          <a:bodyPr rtlCol="0" anchor="ctr"/>
          <a:lstStyle/>
          <a:p>
            <a:endParaRPr lang="de-DE"/>
          </a:p>
        </p:txBody>
      </p:sp>
      <p:sp>
        <p:nvSpPr>
          <p:cNvPr id="138" name="Freihandform: Form 137">
            <a:extLst>
              <a:ext uri="{FF2B5EF4-FFF2-40B4-BE49-F238E27FC236}">
                <a16:creationId xmlns:a16="http://schemas.microsoft.com/office/drawing/2014/main" id="{CDF9856D-C3E6-4589-9B17-6537318C47FA}"/>
              </a:ext>
            </a:extLst>
          </p:cNvPr>
          <p:cNvSpPr/>
          <p:nvPr userDrawn="1"/>
        </p:nvSpPr>
        <p:spPr>
          <a:xfrm>
            <a:off x="7335247" y="6296349"/>
            <a:ext cx="132838" cy="143325"/>
          </a:xfrm>
          <a:custGeom>
            <a:avLst/>
            <a:gdLst>
              <a:gd name="connsiteX0" fmla="*/ 60593 w 132838"/>
              <a:gd name="connsiteY0" fmla="*/ 143326 h 143325"/>
              <a:gd name="connsiteX1" fmla="*/ 0 w 132838"/>
              <a:gd name="connsiteY1" fmla="*/ 143326 h 143325"/>
              <a:gd name="connsiteX2" fmla="*/ 71080 w 132838"/>
              <a:gd name="connsiteY2" fmla="*/ 72246 h 143325"/>
              <a:gd name="connsiteX3" fmla="*/ 0 w 132838"/>
              <a:gd name="connsiteY3" fmla="*/ 0 h 143325"/>
              <a:gd name="connsiteX4" fmla="*/ 61758 w 132838"/>
              <a:gd name="connsiteY4" fmla="*/ 0 h 143325"/>
              <a:gd name="connsiteX5" fmla="*/ 132838 w 132838"/>
              <a:gd name="connsiteY5" fmla="*/ 71080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6"/>
                </a:moveTo>
                <a:lnTo>
                  <a:pt x="0" y="143326"/>
                </a:lnTo>
                <a:lnTo>
                  <a:pt x="71080" y="72246"/>
                </a:lnTo>
                <a:lnTo>
                  <a:pt x="0" y="0"/>
                </a:lnTo>
                <a:lnTo>
                  <a:pt x="61758" y="0"/>
                </a:lnTo>
                <a:lnTo>
                  <a:pt x="132838" y="71080"/>
                </a:lnTo>
                <a:close/>
              </a:path>
            </a:pathLst>
          </a:custGeom>
          <a:solidFill>
            <a:srgbClr val="2657A2"/>
          </a:solidFill>
          <a:ln w="11643" cap="flat">
            <a:noFill/>
            <a:prstDash val="solid"/>
            <a:miter/>
          </a:ln>
        </p:spPr>
        <p:txBody>
          <a:bodyPr rtlCol="0" anchor="ctr"/>
          <a:lstStyle/>
          <a:p>
            <a:endParaRPr lang="de-DE"/>
          </a:p>
        </p:txBody>
      </p:sp>
      <p:sp>
        <p:nvSpPr>
          <p:cNvPr id="139" name="Freihandform: Form 138">
            <a:extLst>
              <a:ext uri="{FF2B5EF4-FFF2-40B4-BE49-F238E27FC236}">
                <a16:creationId xmlns:a16="http://schemas.microsoft.com/office/drawing/2014/main" id="{38FED1A9-FE61-42E6-B000-758465841AEC}"/>
              </a:ext>
            </a:extLst>
          </p:cNvPr>
          <p:cNvSpPr/>
          <p:nvPr userDrawn="1"/>
        </p:nvSpPr>
        <p:spPr>
          <a:xfrm>
            <a:off x="7335247" y="6651749"/>
            <a:ext cx="132838" cy="143325"/>
          </a:xfrm>
          <a:custGeom>
            <a:avLst/>
            <a:gdLst>
              <a:gd name="connsiteX0" fmla="*/ 60593 w 132838"/>
              <a:gd name="connsiteY0" fmla="*/ 143326 h 143325"/>
              <a:gd name="connsiteX1" fmla="*/ 0 w 132838"/>
              <a:gd name="connsiteY1" fmla="*/ 143326 h 143325"/>
              <a:gd name="connsiteX2" fmla="*/ 71080 w 132838"/>
              <a:gd name="connsiteY2" fmla="*/ 72246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6"/>
                </a:moveTo>
                <a:lnTo>
                  <a:pt x="0" y="143326"/>
                </a:lnTo>
                <a:lnTo>
                  <a:pt x="71080" y="72246"/>
                </a:lnTo>
                <a:lnTo>
                  <a:pt x="0" y="0"/>
                </a:lnTo>
                <a:lnTo>
                  <a:pt x="61758" y="0"/>
                </a:lnTo>
                <a:lnTo>
                  <a:pt x="132838" y="69915"/>
                </a:lnTo>
                <a:close/>
              </a:path>
            </a:pathLst>
          </a:custGeom>
          <a:solidFill>
            <a:srgbClr val="2657A2"/>
          </a:solidFill>
          <a:ln w="11643" cap="flat">
            <a:noFill/>
            <a:prstDash val="solid"/>
            <a:miter/>
          </a:ln>
        </p:spPr>
        <p:txBody>
          <a:bodyPr rtlCol="0" anchor="ctr"/>
          <a:lstStyle/>
          <a:p>
            <a:endParaRPr lang="de-DE"/>
          </a:p>
        </p:txBody>
      </p:sp>
      <p:sp>
        <p:nvSpPr>
          <p:cNvPr id="140" name="Freihandform: Form 139">
            <a:extLst>
              <a:ext uri="{FF2B5EF4-FFF2-40B4-BE49-F238E27FC236}">
                <a16:creationId xmlns:a16="http://schemas.microsoft.com/office/drawing/2014/main" id="{4EF56CDC-127C-4AB1-B0CE-3EB10AC31C66}"/>
              </a:ext>
            </a:extLst>
          </p:cNvPr>
          <p:cNvSpPr/>
          <p:nvPr userDrawn="1"/>
        </p:nvSpPr>
        <p:spPr>
          <a:xfrm>
            <a:off x="7682491" y="2029211"/>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79237"/>
                </a:lnTo>
                <a:close/>
              </a:path>
            </a:pathLst>
          </a:custGeom>
          <a:solidFill>
            <a:srgbClr val="2657A2"/>
          </a:solidFill>
          <a:ln w="11643" cap="flat">
            <a:noFill/>
            <a:prstDash val="solid"/>
            <a:miter/>
          </a:ln>
        </p:spPr>
        <p:txBody>
          <a:bodyPr rtlCol="0" anchor="ctr"/>
          <a:lstStyle/>
          <a:p>
            <a:endParaRPr lang="de-DE"/>
          </a:p>
        </p:txBody>
      </p:sp>
      <p:sp>
        <p:nvSpPr>
          <p:cNvPr id="141" name="Freihandform: Form 140">
            <a:extLst>
              <a:ext uri="{FF2B5EF4-FFF2-40B4-BE49-F238E27FC236}">
                <a16:creationId xmlns:a16="http://schemas.microsoft.com/office/drawing/2014/main" id="{8C9136EF-D2BC-4CED-8FF4-3B14C033E6CA}"/>
              </a:ext>
            </a:extLst>
          </p:cNvPr>
          <p:cNvSpPr/>
          <p:nvPr userDrawn="1"/>
        </p:nvSpPr>
        <p:spPr>
          <a:xfrm>
            <a:off x="7682491" y="2384612"/>
            <a:ext cx="147986" cy="160804"/>
          </a:xfrm>
          <a:custGeom>
            <a:avLst/>
            <a:gdLst>
              <a:gd name="connsiteX0" fmla="*/ 67584 w 147986"/>
              <a:gd name="connsiteY0" fmla="*/ 160804 h 160804"/>
              <a:gd name="connsiteX1" fmla="*/ 0 w 147986"/>
              <a:gd name="connsiteY1" fmla="*/ 160804 h 160804"/>
              <a:gd name="connsiteX2" fmla="*/ 79237 w 147986"/>
              <a:gd name="connsiteY2" fmla="*/ 80402 h 160804"/>
              <a:gd name="connsiteX3" fmla="*/ 0 w 147986"/>
              <a:gd name="connsiteY3" fmla="*/ 0 h 160804"/>
              <a:gd name="connsiteX4" fmla="*/ 68750 w 147986"/>
              <a:gd name="connsiteY4" fmla="*/ 0 h 160804"/>
              <a:gd name="connsiteX5" fmla="*/ 147986 w 147986"/>
              <a:gd name="connsiteY5" fmla="*/ 79237 h 160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0804">
                <a:moveTo>
                  <a:pt x="67584" y="160804"/>
                </a:moveTo>
                <a:lnTo>
                  <a:pt x="0" y="160804"/>
                </a:lnTo>
                <a:lnTo>
                  <a:pt x="79237" y="80402"/>
                </a:lnTo>
                <a:lnTo>
                  <a:pt x="0" y="0"/>
                </a:lnTo>
                <a:lnTo>
                  <a:pt x="68750" y="0"/>
                </a:lnTo>
                <a:lnTo>
                  <a:pt x="147986" y="79237"/>
                </a:lnTo>
                <a:close/>
              </a:path>
            </a:pathLst>
          </a:custGeom>
          <a:solidFill>
            <a:srgbClr val="2657A2"/>
          </a:solidFill>
          <a:ln w="11643" cap="flat">
            <a:noFill/>
            <a:prstDash val="solid"/>
            <a:miter/>
          </a:ln>
        </p:spPr>
        <p:txBody>
          <a:bodyPr rtlCol="0" anchor="ctr"/>
          <a:lstStyle/>
          <a:p>
            <a:endParaRPr lang="de-DE"/>
          </a:p>
        </p:txBody>
      </p:sp>
      <p:sp>
        <p:nvSpPr>
          <p:cNvPr id="142" name="Freihandform: Form 141">
            <a:extLst>
              <a:ext uri="{FF2B5EF4-FFF2-40B4-BE49-F238E27FC236}">
                <a16:creationId xmlns:a16="http://schemas.microsoft.com/office/drawing/2014/main" id="{4569E76D-F4FA-4A74-A472-2C55B9EAC15B}"/>
              </a:ext>
            </a:extLst>
          </p:cNvPr>
          <p:cNvSpPr/>
          <p:nvPr userDrawn="1"/>
        </p:nvSpPr>
        <p:spPr>
          <a:xfrm>
            <a:off x="7682491" y="2738847"/>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79237"/>
                </a:lnTo>
                <a:close/>
              </a:path>
            </a:pathLst>
          </a:custGeom>
          <a:solidFill>
            <a:srgbClr val="2657A2"/>
          </a:solidFill>
          <a:ln w="11643" cap="flat">
            <a:noFill/>
            <a:prstDash val="solid"/>
            <a:miter/>
          </a:ln>
        </p:spPr>
        <p:txBody>
          <a:bodyPr rtlCol="0" anchor="ctr"/>
          <a:lstStyle/>
          <a:p>
            <a:endParaRPr lang="de-DE"/>
          </a:p>
        </p:txBody>
      </p:sp>
      <p:sp>
        <p:nvSpPr>
          <p:cNvPr id="143" name="Freihandform: Form 142">
            <a:extLst>
              <a:ext uri="{FF2B5EF4-FFF2-40B4-BE49-F238E27FC236}">
                <a16:creationId xmlns:a16="http://schemas.microsoft.com/office/drawing/2014/main" id="{528B66DD-B565-4BDE-9558-E77627F084D4}"/>
              </a:ext>
            </a:extLst>
          </p:cNvPr>
          <p:cNvSpPr/>
          <p:nvPr userDrawn="1"/>
        </p:nvSpPr>
        <p:spPr>
          <a:xfrm>
            <a:off x="7682491" y="3094248"/>
            <a:ext cx="147986" cy="160804"/>
          </a:xfrm>
          <a:custGeom>
            <a:avLst/>
            <a:gdLst>
              <a:gd name="connsiteX0" fmla="*/ 67584 w 147986"/>
              <a:gd name="connsiteY0" fmla="*/ 160804 h 160804"/>
              <a:gd name="connsiteX1" fmla="*/ 0 w 147986"/>
              <a:gd name="connsiteY1" fmla="*/ 160804 h 160804"/>
              <a:gd name="connsiteX2" fmla="*/ 79237 w 147986"/>
              <a:gd name="connsiteY2" fmla="*/ 81567 h 160804"/>
              <a:gd name="connsiteX3" fmla="*/ 0 w 147986"/>
              <a:gd name="connsiteY3" fmla="*/ 0 h 160804"/>
              <a:gd name="connsiteX4" fmla="*/ 68750 w 147986"/>
              <a:gd name="connsiteY4" fmla="*/ 0 h 160804"/>
              <a:gd name="connsiteX5" fmla="*/ 147986 w 147986"/>
              <a:gd name="connsiteY5" fmla="*/ 79237 h 160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0804">
                <a:moveTo>
                  <a:pt x="67584" y="160804"/>
                </a:moveTo>
                <a:lnTo>
                  <a:pt x="0" y="160804"/>
                </a:lnTo>
                <a:lnTo>
                  <a:pt x="79237" y="81567"/>
                </a:lnTo>
                <a:lnTo>
                  <a:pt x="0" y="0"/>
                </a:lnTo>
                <a:lnTo>
                  <a:pt x="68750" y="0"/>
                </a:lnTo>
                <a:lnTo>
                  <a:pt x="147986" y="79237"/>
                </a:lnTo>
                <a:close/>
              </a:path>
            </a:pathLst>
          </a:custGeom>
          <a:solidFill>
            <a:srgbClr val="2657A2"/>
          </a:solidFill>
          <a:ln w="11643" cap="flat">
            <a:noFill/>
            <a:prstDash val="solid"/>
            <a:miter/>
          </a:ln>
        </p:spPr>
        <p:txBody>
          <a:bodyPr rtlCol="0" anchor="ctr"/>
          <a:lstStyle/>
          <a:p>
            <a:endParaRPr lang="de-DE"/>
          </a:p>
        </p:txBody>
      </p:sp>
      <p:sp>
        <p:nvSpPr>
          <p:cNvPr id="144" name="Freihandform: Form 143">
            <a:extLst>
              <a:ext uri="{FF2B5EF4-FFF2-40B4-BE49-F238E27FC236}">
                <a16:creationId xmlns:a16="http://schemas.microsoft.com/office/drawing/2014/main" id="{22BBAF1C-7C70-4F51-B014-6DC73F68E698}"/>
              </a:ext>
            </a:extLst>
          </p:cNvPr>
          <p:cNvSpPr/>
          <p:nvPr userDrawn="1"/>
        </p:nvSpPr>
        <p:spPr>
          <a:xfrm>
            <a:off x="7682491" y="3448483"/>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79237"/>
                </a:lnTo>
                <a:close/>
              </a:path>
            </a:pathLst>
          </a:custGeom>
          <a:solidFill>
            <a:srgbClr val="2657A2"/>
          </a:solidFill>
          <a:ln w="11643" cap="flat">
            <a:noFill/>
            <a:prstDash val="solid"/>
            <a:miter/>
          </a:ln>
        </p:spPr>
        <p:txBody>
          <a:bodyPr rtlCol="0" anchor="ctr"/>
          <a:lstStyle/>
          <a:p>
            <a:endParaRPr lang="de-DE"/>
          </a:p>
        </p:txBody>
      </p:sp>
      <p:sp>
        <p:nvSpPr>
          <p:cNvPr id="145" name="Freihandform: Form 144">
            <a:extLst>
              <a:ext uri="{FF2B5EF4-FFF2-40B4-BE49-F238E27FC236}">
                <a16:creationId xmlns:a16="http://schemas.microsoft.com/office/drawing/2014/main" id="{2C1E7832-B0C7-4A63-82D7-3BBA52516F26}"/>
              </a:ext>
            </a:extLst>
          </p:cNvPr>
          <p:cNvSpPr/>
          <p:nvPr userDrawn="1"/>
        </p:nvSpPr>
        <p:spPr>
          <a:xfrm>
            <a:off x="7682491" y="3803883"/>
            <a:ext cx="147986" cy="160804"/>
          </a:xfrm>
          <a:custGeom>
            <a:avLst/>
            <a:gdLst>
              <a:gd name="connsiteX0" fmla="*/ 67584 w 147986"/>
              <a:gd name="connsiteY0" fmla="*/ 160804 h 160804"/>
              <a:gd name="connsiteX1" fmla="*/ 0 w 147986"/>
              <a:gd name="connsiteY1" fmla="*/ 160804 h 160804"/>
              <a:gd name="connsiteX2" fmla="*/ 79237 w 147986"/>
              <a:gd name="connsiteY2" fmla="*/ 81567 h 160804"/>
              <a:gd name="connsiteX3" fmla="*/ 0 w 147986"/>
              <a:gd name="connsiteY3" fmla="*/ 0 h 160804"/>
              <a:gd name="connsiteX4" fmla="*/ 68750 w 147986"/>
              <a:gd name="connsiteY4" fmla="*/ 0 h 160804"/>
              <a:gd name="connsiteX5" fmla="*/ 147986 w 147986"/>
              <a:gd name="connsiteY5" fmla="*/ 79237 h 160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0804">
                <a:moveTo>
                  <a:pt x="67584" y="160804"/>
                </a:moveTo>
                <a:lnTo>
                  <a:pt x="0" y="160804"/>
                </a:lnTo>
                <a:lnTo>
                  <a:pt x="79237" y="81567"/>
                </a:lnTo>
                <a:lnTo>
                  <a:pt x="0" y="0"/>
                </a:lnTo>
                <a:lnTo>
                  <a:pt x="68750" y="0"/>
                </a:lnTo>
                <a:lnTo>
                  <a:pt x="147986" y="79237"/>
                </a:lnTo>
                <a:close/>
              </a:path>
            </a:pathLst>
          </a:custGeom>
          <a:solidFill>
            <a:srgbClr val="2657A2"/>
          </a:solidFill>
          <a:ln w="11643" cap="flat">
            <a:noFill/>
            <a:prstDash val="solid"/>
            <a:miter/>
          </a:ln>
        </p:spPr>
        <p:txBody>
          <a:bodyPr rtlCol="0" anchor="ctr"/>
          <a:lstStyle/>
          <a:p>
            <a:endParaRPr lang="de-DE"/>
          </a:p>
        </p:txBody>
      </p:sp>
      <p:sp>
        <p:nvSpPr>
          <p:cNvPr id="146" name="Freihandform: Form 145">
            <a:extLst>
              <a:ext uri="{FF2B5EF4-FFF2-40B4-BE49-F238E27FC236}">
                <a16:creationId xmlns:a16="http://schemas.microsoft.com/office/drawing/2014/main" id="{4ADB28F8-65A7-427A-9339-4EA2851C22DE}"/>
              </a:ext>
            </a:extLst>
          </p:cNvPr>
          <p:cNvSpPr/>
          <p:nvPr userDrawn="1"/>
        </p:nvSpPr>
        <p:spPr>
          <a:xfrm>
            <a:off x="7682491" y="4158119"/>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79237"/>
                </a:lnTo>
                <a:close/>
              </a:path>
            </a:pathLst>
          </a:custGeom>
          <a:solidFill>
            <a:srgbClr val="2657A2"/>
          </a:solidFill>
          <a:ln w="11643" cap="flat">
            <a:noFill/>
            <a:prstDash val="solid"/>
            <a:miter/>
          </a:ln>
        </p:spPr>
        <p:txBody>
          <a:bodyPr rtlCol="0" anchor="ctr"/>
          <a:lstStyle/>
          <a:p>
            <a:endParaRPr lang="de-DE"/>
          </a:p>
        </p:txBody>
      </p:sp>
      <p:sp>
        <p:nvSpPr>
          <p:cNvPr id="147" name="Freihandform: Form 146">
            <a:extLst>
              <a:ext uri="{FF2B5EF4-FFF2-40B4-BE49-F238E27FC236}">
                <a16:creationId xmlns:a16="http://schemas.microsoft.com/office/drawing/2014/main" id="{01D41F8F-ECEB-4D64-A1BD-CCF25E726CC3}"/>
              </a:ext>
            </a:extLst>
          </p:cNvPr>
          <p:cNvSpPr/>
          <p:nvPr userDrawn="1"/>
        </p:nvSpPr>
        <p:spPr>
          <a:xfrm>
            <a:off x="7682491" y="4513520"/>
            <a:ext cx="147986" cy="160804"/>
          </a:xfrm>
          <a:custGeom>
            <a:avLst/>
            <a:gdLst>
              <a:gd name="connsiteX0" fmla="*/ 67584 w 147986"/>
              <a:gd name="connsiteY0" fmla="*/ 160804 h 160804"/>
              <a:gd name="connsiteX1" fmla="*/ 0 w 147986"/>
              <a:gd name="connsiteY1" fmla="*/ 160804 h 160804"/>
              <a:gd name="connsiteX2" fmla="*/ 79237 w 147986"/>
              <a:gd name="connsiteY2" fmla="*/ 81567 h 160804"/>
              <a:gd name="connsiteX3" fmla="*/ 0 w 147986"/>
              <a:gd name="connsiteY3" fmla="*/ 0 h 160804"/>
              <a:gd name="connsiteX4" fmla="*/ 68750 w 147986"/>
              <a:gd name="connsiteY4" fmla="*/ 0 h 160804"/>
              <a:gd name="connsiteX5" fmla="*/ 147986 w 147986"/>
              <a:gd name="connsiteY5" fmla="*/ 79237 h 160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0804">
                <a:moveTo>
                  <a:pt x="67584" y="160804"/>
                </a:moveTo>
                <a:lnTo>
                  <a:pt x="0" y="160804"/>
                </a:lnTo>
                <a:lnTo>
                  <a:pt x="79237" y="81567"/>
                </a:lnTo>
                <a:lnTo>
                  <a:pt x="0" y="0"/>
                </a:lnTo>
                <a:lnTo>
                  <a:pt x="68750" y="0"/>
                </a:lnTo>
                <a:lnTo>
                  <a:pt x="147986" y="79237"/>
                </a:lnTo>
                <a:close/>
              </a:path>
            </a:pathLst>
          </a:custGeom>
          <a:solidFill>
            <a:srgbClr val="2657A2"/>
          </a:solidFill>
          <a:ln w="11643" cap="flat">
            <a:noFill/>
            <a:prstDash val="solid"/>
            <a:miter/>
          </a:ln>
        </p:spPr>
        <p:txBody>
          <a:bodyPr rtlCol="0" anchor="ctr"/>
          <a:lstStyle/>
          <a:p>
            <a:endParaRPr lang="de-DE"/>
          </a:p>
        </p:txBody>
      </p:sp>
      <p:sp>
        <p:nvSpPr>
          <p:cNvPr id="148" name="Freihandform: Form 147">
            <a:extLst>
              <a:ext uri="{FF2B5EF4-FFF2-40B4-BE49-F238E27FC236}">
                <a16:creationId xmlns:a16="http://schemas.microsoft.com/office/drawing/2014/main" id="{CE531F72-8D2B-4919-8595-94099FCA9A1E}"/>
              </a:ext>
            </a:extLst>
          </p:cNvPr>
          <p:cNvSpPr/>
          <p:nvPr userDrawn="1"/>
        </p:nvSpPr>
        <p:spPr>
          <a:xfrm>
            <a:off x="7682491" y="4867755"/>
            <a:ext cx="147986" cy="161969"/>
          </a:xfrm>
          <a:custGeom>
            <a:avLst/>
            <a:gdLst>
              <a:gd name="connsiteX0" fmla="*/ 67584 w 147986"/>
              <a:gd name="connsiteY0" fmla="*/ 161970 h 161969"/>
              <a:gd name="connsiteX1" fmla="*/ 0 w 147986"/>
              <a:gd name="connsiteY1" fmla="*/ 161970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70"/>
                </a:moveTo>
                <a:lnTo>
                  <a:pt x="0" y="161970"/>
                </a:lnTo>
                <a:lnTo>
                  <a:pt x="79237" y="81567"/>
                </a:lnTo>
                <a:lnTo>
                  <a:pt x="0" y="0"/>
                </a:lnTo>
                <a:lnTo>
                  <a:pt x="68750" y="0"/>
                </a:lnTo>
                <a:lnTo>
                  <a:pt x="147986" y="79237"/>
                </a:lnTo>
                <a:close/>
              </a:path>
            </a:pathLst>
          </a:custGeom>
          <a:solidFill>
            <a:srgbClr val="2657A2"/>
          </a:solidFill>
          <a:ln w="11643" cap="flat">
            <a:noFill/>
            <a:prstDash val="solid"/>
            <a:miter/>
          </a:ln>
        </p:spPr>
        <p:txBody>
          <a:bodyPr rtlCol="0" anchor="ctr"/>
          <a:lstStyle/>
          <a:p>
            <a:endParaRPr lang="de-DE"/>
          </a:p>
        </p:txBody>
      </p:sp>
      <p:sp>
        <p:nvSpPr>
          <p:cNvPr id="149" name="Freihandform: Form 148">
            <a:extLst>
              <a:ext uri="{FF2B5EF4-FFF2-40B4-BE49-F238E27FC236}">
                <a16:creationId xmlns:a16="http://schemas.microsoft.com/office/drawing/2014/main" id="{B4F193FC-DA83-48F9-89F8-2D99F6AB5F00}"/>
              </a:ext>
            </a:extLst>
          </p:cNvPr>
          <p:cNvSpPr/>
          <p:nvPr userDrawn="1"/>
        </p:nvSpPr>
        <p:spPr>
          <a:xfrm>
            <a:off x="7682491" y="5223156"/>
            <a:ext cx="147986" cy="160804"/>
          </a:xfrm>
          <a:custGeom>
            <a:avLst/>
            <a:gdLst>
              <a:gd name="connsiteX0" fmla="*/ 67584 w 147986"/>
              <a:gd name="connsiteY0" fmla="*/ 160804 h 160804"/>
              <a:gd name="connsiteX1" fmla="*/ 0 w 147986"/>
              <a:gd name="connsiteY1" fmla="*/ 160804 h 160804"/>
              <a:gd name="connsiteX2" fmla="*/ 79237 w 147986"/>
              <a:gd name="connsiteY2" fmla="*/ 81567 h 160804"/>
              <a:gd name="connsiteX3" fmla="*/ 0 w 147986"/>
              <a:gd name="connsiteY3" fmla="*/ 0 h 160804"/>
              <a:gd name="connsiteX4" fmla="*/ 68750 w 147986"/>
              <a:gd name="connsiteY4" fmla="*/ 0 h 160804"/>
              <a:gd name="connsiteX5" fmla="*/ 147986 w 147986"/>
              <a:gd name="connsiteY5" fmla="*/ 79237 h 160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0804">
                <a:moveTo>
                  <a:pt x="67584" y="160804"/>
                </a:moveTo>
                <a:lnTo>
                  <a:pt x="0" y="160804"/>
                </a:lnTo>
                <a:lnTo>
                  <a:pt x="79237" y="81567"/>
                </a:lnTo>
                <a:lnTo>
                  <a:pt x="0" y="0"/>
                </a:lnTo>
                <a:lnTo>
                  <a:pt x="68750" y="0"/>
                </a:lnTo>
                <a:lnTo>
                  <a:pt x="147986" y="79237"/>
                </a:lnTo>
                <a:close/>
              </a:path>
            </a:pathLst>
          </a:custGeom>
          <a:solidFill>
            <a:srgbClr val="2657A2"/>
          </a:solidFill>
          <a:ln w="11643" cap="flat">
            <a:noFill/>
            <a:prstDash val="solid"/>
            <a:miter/>
          </a:ln>
        </p:spPr>
        <p:txBody>
          <a:bodyPr rtlCol="0" anchor="ctr"/>
          <a:lstStyle/>
          <a:p>
            <a:endParaRPr lang="de-DE"/>
          </a:p>
        </p:txBody>
      </p:sp>
      <p:sp>
        <p:nvSpPr>
          <p:cNvPr id="150" name="Freihandform: Form 149">
            <a:extLst>
              <a:ext uri="{FF2B5EF4-FFF2-40B4-BE49-F238E27FC236}">
                <a16:creationId xmlns:a16="http://schemas.microsoft.com/office/drawing/2014/main" id="{B6B3DDD1-B89D-4894-B73C-DBC48334AF1F}"/>
              </a:ext>
            </a:extLst>
          </p:cNvPr>
          <p:cNvSpPr/>
          <p:nvPr userDrawn="1"/>
        </p:nvSpPr>
        <p:spPr>
          <a:xfrm>
            <a:off x="7682491" y="5577391"/>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79237"/>
                </a:lnTo>
                <a:close/>
              </a:path>
            </a:pathLst>
          </a:custGeom>
          <a:solidFill>
            <a:srgbClr val="2657A2"/>
          </a:solidFill>
          <a:ln w="11643" cap="flat">
            <a:noFill/>
            <a:prstDash val="solid"/>
            <a:miter/>
          </a:ln>
        </p:spPr>
        <p:txBody>
          <a:bodyPr rtlCol="0" anchor="ctr"/>
          <a:lstStyle/>
          <a:p>
            <a:endParaRPr lang="de-DE"/>
          </a:p>
        </p:txBody>
      </p:sp>
      <p:sp>
        <p:nvSpPr>
          <p:cNvPr id="151" name="Freihandform: Form 150">
            <a:extLst>
              <a:ext uri="{FF2B5EF4-FFF2-40B4-BE49-F238E27FC236}">
                <a16:creationId xmlns:a16="http://schemas.microsoft.com/office/drawing/2014/main" id="{811AA052-2E74-40BE-9995-8034FBAF463A}"/>
              </a:ext>
            </a:extLst>
          </p:cNvPr>
          <p:cNvSpPr/>
          <p:nvPr userDrawn="1"/>
        </p:nvSpPr>
        <p:spPr>
          <a:xfrm>
            <a:off x="7682491" y="5932792"/>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79237"/>
                </a:lnTo>
                <a:close/>
              </a:path>
            </a:pathLst>
          </a:custGeom>
          <a:solidFill>
            <a:srgbClr val="2657A2"/>
          </a:solidFill>
          <a:ln w="11643" cap="flat">
            <a:noFill/>
            <a:prstDash val="solid"/>
            <a:miter/>
          </a:ln>
        </p:spPr>
        <p:txBody>
          <a:bodyPr rtlCol="0" anchor="ctr"/>
          <a:lstStyle/>
          <a:p>
            <a:endParaRPr lang="de-DE"/>
          </a:p>
        </p:txBody>
      </p:sp>
      <p:sp>
        <p:nvSpPr>
          <p:cNvPr id="152" name="Freihandform: Form 151">
            <a:extLst>
              <a:ext uri="{FF2B5EF4-FFF2-40B4-BE49-F238E27FC236}">
                <a16:creationId xmlns:a16="http://schemas.microsoft.com/office/drawing/2014/main" id="{D5FC3F70-8430-487B-955D-7CCE09194A36}"/>
              </a:ext>
            </a:extLst>
          </p:cNvPr>
          <p:cNvSpPr/>
          <p:nvPr userDrawn="1"/>
        </p:nvSpPr>
        <p:spPr>
          <a:xfrm>
            <a:off x="7682491" y="6287027"/>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80402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80402"/>
                </a:lnTo>
                <a:close/>
              </a:path>
            </a:pathLst>
          </a:custGeom>
          <a:solidFill>
            <a:srgbClr val="2657A2"/>
          </a:solidFill>
          <a:ln w="11643" cap="flat">
            <a:noFill/>
            <a:prstDash val="solid"/>
            <a:miter/>
          </a:ln>
        </p:spPr>
        <p:txBody>
          <a:bodyPr rtlCol="0" anchor="ctr"/>
          <a:lstStyle/>
          <a:p>
            <a:endParaRPr lang="de-DE"/>
          </a:p>
        </p:txBody>
      </p:sp>
      <p:sp>
        <p:nvSpPr>
          <p:cNvPr id="153" name="Freihandform: Form 152">
            <a:extLst>
              <a:ext uri="{FF2B5EF4-FFF2-40B4-BE49-F238E27FC236}">
                <a16:creationId xmlns:a16="http://schemas.microsoft.com/office/drawing/2014/main" id="{B2958A8B-B9EC-4E18-918A-DDD606A07ECA}"/>
              </a:ext>
            </a:extLst>
          </p:cNvPr>
          <p:cNvSpPr/>
          <p:nvPr userDrawn="1"/>
        </p:nvSpPr>
        <p:spPr>
          <a:xfrm>
            <a:off x="7682491" y="6642428"/>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79237"/>
                </a:lnTo>
                <a:close/>
              </a:path>
            </a:pathLst>
          </a:custGeom>
          <a:solidFill>
            <a:srgbClr val="2657A2"/>
          </a:solidFill>
          <a:ln w="11643" cap="flat">
            <a:noFill/>
            <a:prstDash val="solid"/>
            <a:miter/>
          </a:ln>
        </p:spPr>
        <p:txBody>
          <a:bodyPr rtlCol="0" anchor="ctr"/>
          <a:lstStyle/>
          <a:p>
            <a:endParaRPr lang="de-DE"/>
          </a:p>
        </p:txBody>
      </p:sp>
      <p:sp>
        <p:nvSpPr>
          <p:cNvPr id="154" name="Freihandform: Form 153">
            <a:extLst>
              <a:ext uri="{FF2B5EF4-FFF2-40B4-BE49-F238E27FC236}">
                <a16:creationId xmlns:a16="http://schemas.microsoft.com/office/drawing/2014/main" id="{F691BD25-1275-4AF8-9A84-E92E11AD82D6}"/>
              </a:ext>
            </a:extLst>
          </p:cNvPr>
          <p:cNvSpPr/>
          <p:nvPr userDrawn="1"/>
        </p:nvSpPr>
        <p:spPr>
          <a:xfrm>
            <a:off x="8028570" y="2019889"/>
            <a:ext cx="165465" cy="179448"/>
          </a:xfrm>
          <a:custGeom>
            <a:avLst/>
            <a:gdLst>
              <a:gd name="connsiteX0" fmla="*/ 75741 w 165465"/>
              <a:gd name="connsiteY0" fmla="*/ 179448 h 179448"/>
              <a:gd name="connsiteX1" fmla="*/ 0 w 165465"/>
              <a:gd name="connsiteY1" fmla="*/ 179448 h 179448"/>
              <a:gd name="connsiteX2" fmla="*/ 88559 w 165465"/>
              <a:gd name="connsiteY2" fmla="*/ 90889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89"/>
                </a:lnTo>
                <a:lnTo>
                  <a:pt x="0" y="0"/>
                </a:lnTo>
                <a:lnTo>
                  <a:pt x="76906" y="0"/>
                </a:lnTo>
                <a:lnTo>
                  <a:pt x="165465" y="88559"/>
                </a:lnTo>
                <a:close/>
              </a:path>
            </a:pathLst>
          </a:custGeom>
          <a:solidFill>
            <a:srgbClr val="2657A2"/>
          </a:solidFill>
          <a:ln w="11643" cap="flat">
            <a:noFill/>
            <a:prstDash val="solid"/>
            <a:miter/>
          </a:ln>
        </p:spPr>
        <p:txBody>
          <a:bodyPr rtlCol="0" anchor="ctr"/>
          <a:lstStyle/>
          <a:p>
            <a:endParaRPr lang="de-DE"/>
          </a:p>
        </p:txBody>
      </p:sp>
      <p:sp>
        <p:nvSpPr>
          <p:cNvPr id="155" name="Freihandform: Form 154">
            <a:extLst>
              <a:ext uri="{FF2B5EF4-FFF2-40B4-BE49-F238E27FC236}">
                <a16:creationId xmlns:a16="http://schemas.microsoft.com/office/drawing/2014/main" id="{DC4CAB94-430C-4912-8959-C4A9739D2BF3}"/>
              </a:ext>
            </a:extLst>
          </p:cNvPr>
          <p:cNvSpPr/>
          <p:nvPr userDrawn="1"/>
        </p:nvSpPr>
        <p:spPr>
          <a:xfrm>
            <a:off x="8028570" y="2375290"/>
            <a:ext cx="165465" cy="179448"/>
          </a:xfrm>
          <a:custGeom>
            <a:avLst/>
            <a:gdLst>
              <a:gd name="connsiteX0" fmla="*/ 75741 w 165465"/>
              <a:gd name="connsiteY0" fmla="*/ 179448 h 179448"/>
              <a:gd name="connsiteX1" fmla="*/ 0 w 165465"/>
              <a:gd name="connsiteY1" fmla="*/ 179448 h 179448"/>
              <a:gd name="connsiteX2" fmla="*/ 88559 w 165465"/>
              <a:gd name="connsiteY2" fmla="*/ 90889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89"/>
                </a:lnTo>
                <a:lnTo>
                  <a:pt x="0" y="0"/>
                </a:lnTo>
                <a:lnTo>
                  <a:pt x="76906" y="0"/>
                </a:lnTo>
                <a:lnTo>
                  <a:pt x="165465" y="88559"/>
                </a:lnTo>
                <a:close/>
              </a:path>
            </a:pathLst>
          </a:custGeom>
          <a:solidFill>
            <a:srgbClr val="2657A2"/>
          </a:solidFill>
          <a:ln w="11643" cap="flat">
            <a:noFill/>
            <a:prstDash val="solid"/>
            <a:miter/>
          </a:ln>
        </p:spPr>
        <p:txBody>
          <a:bodyPr rtlCol="0" anchor="ctr"/>
          <a:lstStyle/>
          <a:p>
            <a:endParaRPr lang="de-DE"/>
          </a:p>
        </p:txBody>
      </p:sp>
      <p:sp>
        <p:nvSpPr>
          <p:cNvPr id="156" name="Freihandform: Form 155">
            <a:extLst>
              <a:ext uri="{FF2B5EF4-FFF2-40B4-BE49-F238E27FC236}">
                <a16:creationId xmlns:a16="http://schemas.microsoft.com/office/drawing/2014/main" id="{C6BBFAA2-3B04-47FB-9741-86AA2D0A66BD}"/>
              </a:ext>
            </a:extLst>
          </p:cNvPr>
          <p:cNvSpPr/>
          <p:nvPr userDrawn="1"/>
        </p:nvSpPr>
        <p:spPr>
          <a:xfrm>
            <a:off x="8028570" y="2729525"/>
            <a:ext cx="165465" cy="179448"/>
          </a:xfrm>
          <a:custGeom>
            <a:avLst/>
            <a:gdLst>
              <a:gd name="connsiteX0" fmla="*/ 75741 w 165465"/>
              <a:gd name="connsiteY0" fmla="*/ 179448 h 179448"/>
              <a:gd name="connsiteX1" fmla="*/ 0 w 165465"/>
              <a:gd name="connsiteY1" fmla="*/ 179448 h 179448"/>
              <a:gd name="connsiteX2" fmla="*/ 88559 w 165465"/>
              <a:gd name="connsiteY2" fmla="*/ 90889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89"/>
                </a:lnTo>
                <a:lnTo>
                  <a:pt x="0" y="0"/>
                </a:lnTo>
                <a:lnTo>
                  <a:pt x="76906" y="0"/>
                </a:lnTo>
                <a:lnTo>
                  <a:pt x="165465" y="88559"/>
                </a:lnTo>
                <a:close/>
              </a:path>
            </a:pathLst>
          </a:custGeom>
          <a:solidFill>
            <a:srgbClr val="2657A2"/>
          </a:solidFill>
          <a:ln w="11643" cap="flat">
            <a:noFill/>
            <a:prstDash val="solid"/>
            <a:miter/>
          </a:ln>
        </p:spPr>
        <p:txBody>
          <a:bodyPr rtlCol="0" anchor="ctr"/>
          <a:lstStyle/>
          <a:p>
            <a:endParaRPr lang="de-DE"/>
          </a:p>
        </p:txBody>
      </p:sp>
      <p:sp>
        <p:nvSpPr>
          <p:cNvPr id="157" name="Freihandform: Form 156">
            <a:extLst>
              <a:ext uri="{FF2B5EF4-FFF2-40B4-BE49-F238E27FC236}">
                <a16:creationId xmlns:a16="http://schemas.microsoft.com/office/drawing/2014/main" id="{87273E84-7569-46FA-A0DE-65EF20AC2304}"/>
              </a:ext>
            </a:extLst>
          </p:cNvPr>
          <p:cNvSpPr/>
          <p:nvPr userDrawn="1"/>
        </p:nvSpPr>
        <p:spPr>
          <a:xfrm>
            <a:off x="8028570" y="3084926"/>
            <a:ext cx="165465" cy="179448"/>
          </a:xfrm>
          <a:custGeom>
            <a:avLst/>
            <a:gdLst>
              <a:gd name="connsiteX0" fmla="*/ 75741 w 165465"/>
              <a:gd name="connsiteY0" fmla="*/ 179448 h 179448"/>
              <a:gd name="connsiteX1" fmla="*/ 0 w 165465"/>
              <a:gd name="connsiteY1" fmla="*/ 179448 h 179448"/>
              <a:gd name="connsiteX2" fmla="*/ 88559 w 165465"/>
              <a:gd name="connsiteY2" fmla="*/ 90889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89"/>
                </a:lnTo>
                <a:lnTo>
                  <a:pt x="0" y="0"/>
                </a:lnTo>
                <a:lnTo>
                  <a:pt x="76906" y="0"/>
                </a:lnTo>
                <a:lnTo>
                  <a:pt x="165465" y="88559"/>
                </a:lnTo>
                <a:close/>
              </a:path>
            </a:pathLst>
          </a:custGeom>
          <a:solidFill>
            <a:srgbClr val="2657A2"/>
          </a:solidFill>
          <a:ln w="11643" cap="flat">
            <a:noFill/>
            <a:prstDash val="solid"/>
            <a:miter/>
          </a:ln>
        </p:spPr>
        <p:txBody>
          <a:bodyPr rtlCol="0" anchor="ctr"/>
          <a:lstStyle/>
          <a:p>
            <a:endParaRPr lang="de-DE"/>
          </a:p>
        </p:txBody>
      </p:sp>
      <p:sp>
        <p:nvSpPr>
          <p:cNvPr id="158" name="Freihandform: Form 157">
            <a:extLst>
              <a:ext uri="{FF2B5EF4-FFF2-40B4-BE49-F238E27FC236}">
                <a16:creationId xmlns:a16="http://schemas.microsoft.com/office/drawing/2014/main" id="{BB7E0BC0-C1AD-4461-9A4C-CC414046CDC0}"/>
              </a:ext>
            </a:extLst>
          </p:cNvPr>
          <p:cNvSpPr/>
          <p:nvPr userDrawn="1"/>
        </p:nvSpPr>
        <p:spPr>
          <a:xfrm>
            <a:off x="8028570" y="3439161"/>
            <a:ext cx="165465" cy="180613"/>
          </a:xfrm>
          <a:custGeom>
            <a:avLst/>
            <a:gdLst>
              <a:gd name="connsiteX0" fmla="*/ 75741 w 165465"/>
              <a:gd name="connsiteY0" fmla="*/ 180614 h 180613"/>
              <a:gd name="connsiteX1" fmla="*/ 0 w 165465"/>
              <a:gd name="connsiteY1" fmla="*/ 180614 h 180613"/>
              <a:gd name="connsiteX2" fmla="*/ 88559 w 165465"/>
              <a:gd name="connsiteY2" fmla="*/ 90889 h 180613"/>
              <a:gd name="connsiteX3" fmla="*/ 0 w 165465"/>
              <a:gd name="connsiteY3" fmla="*/ 0 h 180613"/>
              <a:gd name="connsiteX4" fmla="*/ 76906 w 165465"/>
              <a:gd name="connsiteY4" fmla="*/ 0 h 180613"/>
              <a:gd name="connsiteX5" fmla="*/ 165465 w 165465"/>
              <a:gd name="connsiteY5" fmla="*/ 88559 h 180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80613">
                <a:moveTo>
                  <a:pt x="75741" y="180614"/>
                </a:moveTo>
                <a:lnTo>
                  <a:pt x="0" y="180614"/>
                </a:lnTo>
                <a:lnTo>
                  <a:pt x="88559" y="90889"/>
                </a:lnTo>
                <a:lnTo>
                  <a:pt x="0" y="0"/>
                </a:lnTo>
                <a:lnTo>
                  <a:pt x="76906" y="0"/>
                </a:lnTo>
                <a:lnTo>
                  <a:pt x="165465" y="88559"/>
                </a:lnTo>
                <a:close/>
              </a:path>
            </a:pathLst>
          </a:custGeom>
          <a:solidFill>
            <a:srgbClr val="2657A2"/>
          </a:solidFill>
          <a:ln w="11643" cap="flat">
            <a:noFill/>
            <a:prstDash val="solid"/>
            <a:miter/>
          </a:ln>
        </p:spPr>
        <p:txBody>
          <a:bodyPr rtlCol="0" anchor="ctr"/>
          <a:lstStyle/>
          <a:p>
            <a:endParaRPr lang="de-DE"/>
          </a:p>
        </p:txBody>
      </p:sp>
      <p:sp>
        <p:nvSpPr>
          <p:cNvPr id="159" name="Freihandform: Form 158">
            <a:extLst>
              <a:ext uri="{FF2B5EF4-FFF2-40B4-BE49-F238E27FC236}">
                <a16:creationId xmlns:a16="http://schemas.microsoft.com/office/drawing/2014/main" id="{B6BD8AFE-4266-4C06-B3C7-3032BC71F4E3}"/>
              </a:ext>
            </a:extLst>
          </p:cNvPr>
          <p:cNvSpPr/>
          <p:nvPr userDrawn="1"/>
        </p:nvSpPr>
        <p:spPr>
          <a:xfrm>
            <a:off x="8028570" y="3794562"/>
            <a:ext cx="165465" cy="179448"/>
          </a:xfrm>
          <a:custGeom>
            <a:avLst/>
            <a:gdLst>
              <a:gd name="connsiteX0" fmla="*/ 75741 w 165465"/>
              <a:gd name="connsiteY0" fmla="*/ 179448 h 179448"/>
              <a:gd name="connsiteX1" fmla="*/ 0 w 165465"/>
              <a:gd name="connsiteY1" fmla="*/ 179448 h 179448"/>
              <a:gd name="connsiteX2" fmla="*/ 88559 w 165465"/>
              <a:gd name="connsiteY2" fmla="*/ 90889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89"/>
                </a:lnTo>
                <a:lnTo>
                  <a:pt x="0" y="0"/>
                </a:lnTo>
                <a:lnTo>
                  <a:pt x="76906" y="0"/>
                </a:lnTo>
                <a:lnTo>
                  <a:pt x="165465" y="88559"/>
                </a:lnTo>
                <a:close/>
              </a:path>
            </a:pathLst>
          </a:custGeom>
          <a:solidFill>
            <a:srgbClr val="2657A2"/>
          </a:solidFill>
          <a:ln w="11643" cap="flat">
            <a:noFill/>
            <a:prstDash val="solid"/>
            <a:miter/>
          </a:ln>
        </p:spPr>
        <p:txBody>
          <a:bodyPr rtlCol="0" anchor="ctr"/>
          <a:lstStyle/>
          <a:p>
            <a:endParaRPr lang="de-DE"/>
          </a:p>
        </p:txBody>
      </p:sp>
      <p:sp>
        <p:nvSpPr>
          <p:cNvPr id="160" name="Freihandform: Form 159">
            <a:extLst>
              <a:ext uri="{FF2B5EF4-FFF2-40B4-BE49-F238E27FC236}">
                <a16:creationId xmlns:a16="http://schemas.microsoft.com/office/drawing/2014/main" id="{F3695435-C87C-4AAF-9339-04ED04C5A759}"/>
              </a:ext>
            </a:extLst>
          </p:cNvPr>
          <p:cNvSpPr/>
          <p:nvPr userDrawn="1"/>
        </p:nvSpPr>
        <p:spPr>
          <a:xfrm>
            <a:off x="8028570" y="4148797"/>
            <a:ext cx="165465" cy="180613"/>
          </a:xfrm>
          <a:custGeom>
            <a:avLst/>
            <a:gdLst>
              <a:gd name="connsiteX0" fmla="*/ 75741 w 165465"/>
              <a:gd name="connsiteY0" fmla="*/ 180613 h 180613"/>
              <a:gd name="connsiteX1" fmla="*/ 0 w 165465"/>
              <a:gd name="connsiteY1" fmla="*/ 180613 h 180613"/>
              <a:gd name="connsiteX2" fmla="*/ 88559 w 165465"/>
              <a:gd name="connsiteY2" fmla="*/ 90889 h 180613"/>
              <a:gd name="connsiteX3" fmla="*/ 0 w 165465"/>
              <a:gd name="connsiteY3" fmla="*/ 0 h 180613"/>
              <a:gd name="connsiteX4" fmla="*/ 76906 w 165465"/>
              <a:gd name="connsiteY4" fmla="*/ 0 h 180613"/>
              <a:gd name="connsiteX5" fmla="*/ 165465 w 165465"/>
              <a:gd name="connsiteY5" fmla="*/ 88559 h 180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80613">
                <a:moveTo>
                  <a:pt x="75741" y="180613"/>
                </a:moveTo>
                <a:lnTo>
                  <a:pt x="0" y="180613"/>
                </a:lnTo>
                <a:lnTo>
                  <a:pt x="88559" y="90889"/>
                </a:lnTo>
                <a:lnTo>
                  <a:pt x="0" y="0"/>
                </a:lnTo>
                <a:lnTo>
                  <a:pt x="76906" y="0"/>
                </a:lnTo>
                <a:lnTo>
                  <a:pt x="165465" y="88559"/>
                </a:lnTo>
                <a:close/>
              </a:path>
            </a:pathLst>
          </a:custGeom>
          <a:solidFill>
            <a:srgbClr val="2657A2"/>
          </a:solidFill>
          <a:ln w="11643" cap="flat">
            <a:noFill/>
            <a:prstDash val="solid"/>
            <a:miter/>
          </a:ln>
        </p:spPr>
        <p:txBody>
          <a:bodyPr rtlCol="0" anchor="ctr"/>
          <a:lstStyle/>
          <a:p>
            <a:endParaRPr lang="de-DE"/>
          </a:p>
        </p:txBody>
      </p:sp>
      <p:sp>
        <p:nvSpPr>
          <p:cNvPr id="161" name="Freihandform: Form 160">
            <a:extLst>
              <a:ext uri="{FF2B5EF4-FFF2-40B4-BE49-F238E27FC236}">
                <a16:creationId xmlns:a16="http://schemas.microsoft.com/office/drawing/2014/main" id="{11C808CA-4A35-4E86-BA83-E00F3EF95605}"/>
              </a:ext>
            </a:extLst>
          </p:cNvPr>
          <p:cNvSpPr/>
          <p:nvPr userDrawn="1"/>
        </p:nvSpPr>
        <p:spPr>
          <a:xfrm>
            <a:off x="8028570" y="4504198"/>
            <a:ext cx="165465" cy="179448"/>
          </a:xfrm>
          <a:custGeom>
            <a:avLst/>
            <a:gdLst>
              <a:gd name="connsiteX0" fmla="*/ 75741 w 165465"/>
              <a:gd name="connsiteY0" fmla="*/ 179448 h 179448"/>
              <a:gd name="connsiteX1" fmla="*/ 0 w 165465"/>
              <a:gd name="connsiteY1" fmla="*/ 179448 h 179448"/>
              <a:gd name="connsiteX2" fmla="*/ 88559 w 165465"/>
              <a:gd name="connsiteY2" fmla="*/ 90889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89"/>
                </a:lnTo>
                <a:lnTo>
                  <a:pt x="0" y="0"/>
                </a:lnTo>
                <a:lnTo>
                  <a:pt x="76906" y="0"/>
                </a:lnTo>
                <a:lnTo>
                  <a:pt x="165465" y="88559"/>
                </a:lnTo>
                <a:close/>
              </a:path>
            </a:pathLst>
          </a:custGeom>
          <a:solidFill>
            <a:srgbClr val="2657A2"/>
          </a:solidFill>
          <a:ln w="11643" cap="flat">
            <a:noFill/>
            <a:prstDash val="solid"/>
            <a:miter/>
          </a:ln>
        </p:spPr>
        <p:txBody>
          <a:bodyPr rtlCol="0" anchor="ctr"/>
          <a:lstStyle/>
          <a:p>
            <a:endParaRPr lang="de-DE"/>
          </a:p>
        </p:txBody>
      </p:sp>
      <p:sp>
        <p:nvSpPr>
          <p:cNvPr id="162" name="Freihandform: Form 161">
            <a:extLst>
              <a:ext uri="{FF2B5EF4-FFF2-40B4-BE49-F238E27FC236}">
                <a16:creationId xmlns:a16="http://schemas.microsoft.com/office/drawing/2014/main" id="{49E3713B-D0F3-4994-AF90-60F1CB246E60}"/>
              </a:ext>
            </a:extLst>
          </p:cNvPr>
          <p:cNvSpPr/>
          <p:nvPr userDrawn="1"/>
        </p:nvSpPr>
        <p:spPr>
          <a:xfrm>
            <a:off x="8028570" y="4859598"/>
            <a:ext cx="165465" cy="179448"/>
          </a:xfrm>
          <a:custGeom>
            <a:avLst/>
            <a:gdLst>
              <a:gd name="connsiteX0" fmla="*/ 75741 w 165465"/>
              <a:gd name="connsiteY0" fmla="*/ 179448 h 179448"/>
              <a:gd name="connsiteX1" fmla="*/ 0 w 165465"/>
              <a:gd name="connsiteY1" fmla="*/ 179448 h 179448"/>
              <a:gd name="connsiteX2" fmla="*/ 88559 w 165465"/>
              <a:gd name="connsiteY2" fmla="*/ 89724 h 179448"/>
              <a:gd name="connsiteX3" fmla="*/ 0 w 165465"/>
              <a:gd name="connsiteY3" fmla="*/ 0 h 179448"/>
              <a:gd name="connsiteX4" fmla="*/ 76906 w 165465"/>
              <a:gd name="connsiteY4" fmla="*/ 0 h 179448"/>
              <a:gd name="connsiteX5" fmla="*/ 165465 w 165465"/>
              <a:gd name="connsiteY5" fmla="*/ 87394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89724"/>
                </a:lnTo>
                <a:lnTo>
                  <a:pt x="0" y="0"/>
                </a:lnTo>
                <a:lnTo>
                  <a:pt x="76906" y="0"/>
                </a:lnTo>
                <a:lnTo>
                  <a:pt x="165465" y="87394"/>
                </a:lnTo>
                <a:close/>
              </a:path>
            </a:pathLst>
          </a:custGeom>
          <a:solidFill>
            <a:srgbClr val="2657A2"/>
          </a:solidFill>
          <a:ln w="11643" cap="flat">
            <a:noFill/>
            <a:prstDash val="solid"/>
            <a:miter/>
          </a:ln>
        </p:spPr>
        <p:txBody>
          <a:bodyPr rtlCol="0" anchor="ctr"/>
          <a:lstStyle/>
          <a:p>
            <a:endParaRPr lang="de-DE"/>
          </a:p>
        </p:txBody>
      </p:sp>
      <p:sp>
        <p:nvSpPr>
          <p:cNvPr id="163" name="Freihandform: Form 162">
            <a:extLst>
              <a:ext uri="{FF2B5EF4-FFF2-40B4-BE49-F238E27FC236}">
                <a16:creationId xmlns:a16="http://schemas.microsoft.com/office/drawing/2014/main" id="{868047CF-C772-468C-A607-65A3B676D60F}"/>
              </a:ext>
            </a:extLst>
          </p:cNvPr>
          <p:cNvSpPr/>
          <p:nvPr userDrawn="1"/>
        </p:nvSpPr>
        <p:spPr>
          <a:xfrm>
            <a:off x="8028570" y="5213834"/>
            <a:ext cx="165465" cy="179448"/>
          </a:xfrm>
          <a:custGeom>
            <a:avLst/>
            <a:gdLst>
              <a:gd name="connsiteX0" fmla="*/ 75741 w 165465"/>
              <a:gd name="connsiteY0" fmla="*/ 179448 h 179448"/>
              <a:gd name="connsiteX1" fmla="*/ 0 w 165465"/>
              <a:gd name="connsiteY1" fmla="*/ 179448 h 179448"/>
              <a:gd name="connsiteX2" fmla="*/ 88559 w 165465"/>
              <a:gd name="connsiteY2" fmla="*/ 90890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90"/>
                </a:lnTo>
                <a:lnTo>
                  <a:pt x="0" y="0"/>
                </a:lnTo>
                <a:lnTo>
                  <a:pt x="76906" y="0"/>
                </a:lnTo>
                <a:lnTo>
                  <a:pt x="165465" y="88559"/>
                </a:lnTo>
                <a:close/>
              </a:path>
            </a:pathLst>
          </a:custGeom>
          <a:solidFill>
            <a:srgbClr val="2657A2"/>
          </a:solidFill>
          <a:ln w="11643" cap="flat">
            <a:noFill/>
            <a:prstDash val="solid"/>
            <a:miter/>
          </a:ln>
        </p:spPr>
        <p:txBody>
          <a:bodyPr rtlCol="0" anchor="ctr"/>
          <a:lstStyle/>
          <a:p>
            <a:endParaRPr lang="de-DE"/>
          </a:p>
        </p:txBody>
      </p:sp>
      <p:sp>
        <p:nvSpPr>
          <p:cNvPr id="164" name="Freihandform: Form 163">
            <a:extLst>
              <a:ext uri="{FF2B5EF4-FFF2-40B4-BE49-F238E27FC236}">
                <a16:creationId xmlns:a16="http://schemas.microsoft.com/office/drawing/2014/main" id="{F8A4F29B-3660-49FA-8AF7-514C22860C77}"/>
              </a:ext>
            </a:extLst>
          </p:cNvPr>
          <p:cNvSpPr/>
          <p:nvPr userDrawn="1"/>
        </p:nvSpPr>
        <p:spPr>
          <a:xfrm>
            <a:off x="8028570" y="5569234"/>
            <a:ext cx="165465" cy="179448"/>
          </a:xfrm>
          <a:custGeom>
            <a:avLst/>
            <a:gdLst>
              <a:gd name="connsiteX0" fmla="*/ 75741 w 165465"/>
              <a:gd name="connsiteY0" fmla="*/ 179448 h 179448"/>
              <a:gd name="connsiteX1" fmla="*/ 0 w 165465"/>
              <a:gd name="connsiteY1" fmla="*/ 179448 h 179448"/>
              <a:gd name="connsiteX2" fmla="*/ 88559 w 165465"/>
              <a:gd name="connsiteY2" fmla="*/ 89724 h 179448"/>
              <a:gd name="connsiteX3" fmla="*/ 0 w 165465"/>
              <a:gd name="connsiteY3" fmla="*/ 0 h 179448"/>
              <a:gd name="connsiteX4" fmla="*/ 76906 w 165465"/>
              <a:gd name="connsiteY4" fmla="*/ 0 h 179448"/>
              <a:gd name="connsiteX5" fmla="*/ 165465 w 165465"/>
              <a:gd name="connsiteY5" fmla="*/ 87394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89724"/>
                </a:lnTo>
                <a:lnTo>
                  <a:pt x="0" y="0"/>
                </a:lnTo>
                <a:lnTo>
                  <a:pt x="76906" y="0"/>
                </a:lnTo>
                <a:lnTo>
                  <a:pt x="165465" y="87394"/>
                </a:lnTo>
                <a:close/>
              </a:path>
            </a:pathLst>
          </a:custGeom>
          <a:solidFill>
            <a:srgbClr val="2657A2"/>
          </a:solidFill>
          <a:ln w="11643" cap="flat">
            <a:noFill/>
            <a:prstDash val="solid"/>
            <a:miter/>
          </a:ln>
        </p:spPr>
        <p:txBody>
          <a:bodyPr rtlCol="0" anchor="ctr"/>
          <a:lstStyle/>
          <a:p>
            <a:endParaRPr lang="de-DE"/>
          </a:p>
        </p:txBody>
      </p:sp>
      <p:sp>
        <p:nvSpPr>
          <p:cNvPr id="165" name="Freihandform: Form 164">
            <a:extLst>
              <a:ext uri="{FF2B5EF4-FFF2-40B4-BE49-F238E27FC236}">
                <a16:creationId xmlns:a16="http://schemas.microsoft.com/office/drawing/2014/main" id="{46685656-5684-4E77-9CAD-0B41EEF6BE36}"/>
              </a:ext>
            </a:extLst>
          </p:cNvPr>
          <p:cNvSpPr/>
          <p:nvPr userDrawn="1"/>
        </p:nvSpPr>
        <p:spPr>
          <a:xfrm>
            <a:off x="8028570" y="5923469"/>
            <a:ext cx="165465" cy="179448"/>
          </a:xfrm>
          <a:custGeom>
            <a:avLst/>
            <a:gdLst>
              <a:gd name="connsiteX0" fmla="*/ 75741 w 165465"/>
              <a:gd name="connsiteY0" fmla="*/ 179448 h 179448"/>
              <a:gd name="connsiteX1" fmla="*/ 0 w 165465"/>
              <a:gd name="connsiteY1" fmla="*/ 179448 h 179448"/>
              <a:gd name="connsiteX2" fmla="*/ 88559 w 165465"/>
              <a:gd name="connsiteY2" fmla="*/ 90890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90"/>
                </a:lnTo>
                <a:lnTo>
                  <a:pt x="0" y="0"/>
                </a:lnTo>
                <a:lnTo>
                  <a:pt x="76906" y="0"/>
                </a:lnTo>
                <a:lnTo>
                  <a:pt x="165465" y="88559"/>
                </a:lnTo>
                <a:close/>
              </a:path>
            </a:pathLst>
          </a:custGeom>
          <a:solidFill>
            <a:srgbClr val="2657A2"/>
          </a:solidFill>
          <a:ln w="11643" cap="flat">
            <a:noFill/>
            <a:prstDash val="solid"/>
            <a:miter/>
          </a:ln>
        </p:spPr>
        <p:txBody>
          <a:bodyPr rtlCol="0" anchor="ctr"/>
          <a:lstStyle/>
          <a:p>
            <a:endParaRPr lang="de-DE"/>
          </a:p>
        </p:txBody>
      </p:sp>
      <p:sp>
        <p:nvSpPr>
          <p:cNvPr id="166" name="Freihandform: Form 165">
            <a:extLst>
              <a:ext uri="{FF2B5EF4-FFF2-40B4-BE49-F238E27FC236}">
                <a16:creationId xmlns:a16="http://schemas.microsoft.com/office/drawing/2014/main" id="{4ED77200-5A3B-4FAB-97CF-876143D134BF}"/>
              </a:ext>
            </a:extLst>
          </p:cNvPr>
          <p:cNvSpPr/>
          <p:nvPr userDrawn="1"/>
        </p:nvSpPr>
        <p:spPr>
          <a:xfrm>
            <a:off x="8028570" y="6278870"/>
            <a:ext cx="165465" cy="179448"/>
          </a:xfrm>
          <a:custGeom>
            <a:avLst/>
            <a:gdLst>
              <a:gd name="connsiteX0" fmla="*/ 75741 w 165465"/>
              <a:gd name="connsiteY0" fmla="*/ 179448 h 179448"/>
              <a:gd name="connsiteX1" fmla="*/ 0 w 165465"/>
              <a:gd name="connsiteY1" fmla="*/ 179448 h 179448"/>
              <a:gd name="connsiteX2" fmla="*/ 88559 w 165465"/>
              <a:gd name="connsiteY2" fmla="*/ 89724 h 179448"/>
              <a:gd name="connsiteX3" fmla="*/ 0 w 165465"/>
              <a:gd name="connsiteY3" fmla="*/ 0 h 179448"/>
              <a:gd name="connsiteX4" fmla="*/ 76906 w 165465"/>
              <a:gd name="connsiteY4" fmla="*/ 0 h 179448"/>
              <a:gd name="connsiteX5" fmla="*/ 165465 w 165465"/>
              <a:gd name="connsiteY5" fmla="*/ 87394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89724"/>
                </a:lnTo>
                <a:lnTo>
                  <a:pt x="0" y="0"/>
                </a:lnTo>
                <a:lnTo>
                  <a:pt x="76906" y="0"/>
                </a:lnTo>
                <a:lnTo>
                  <a:pt x="165465" y="87394"/>
                </a:lnTo>
                <a:close/>
              </a:path>
            </a:pathLst>
          </a:custGeom>
          <a:solidFill>
            <a:srgbClr val="2657A2"/>
          </a:solidFill>
          <a:ln w="11643" cap="flat">
            <a:noFill/>
            <a:prstDash val="solid"/>
            <a:miter/>
          </a:ln>
        </p:spPr>
        <p:txBody>
          <a:bodyPr rtlCol="0" anchor="ctr"/>
          <a:lstStyle/>
          <a:p>
            <a:endParaRPr lang="de-DE"/>
          </a:p>
        </p:txBody>
      </p:sp>
      <p:sp>
        <p:nvSpPr>
          <p:cNvPr id="167" name="Freihandform: Form 166">
            <a:extLst>
              <a:ext uri="{FF2B5EF4-FFF2-40B4-BE49-F238E27FC236}">
                <a16:creationId xmlns:a16="http://schemas.microsoft.com/office/drawing/2014/main" id="{6DC5B69F-AA67-4338-A444-81CC657A6C56}"/>
              </a:ext>
            </a:extLst>
          </p:cNvPr>
          <p:cNvSpPr/>
          <p:nvPr userDrawn="1"/>
        </p:nvSpPr>
        <p:spPr>
          <a:xfrm>
            <a:off x="8028570" y="6633106"/>
            <a:ext cx="165465" cy="179448"/>
          </a:xfrm>
          <a:custGeom>
            <a:avLst/>
            <a:gdLst>
              <a:gd name="connsiteX0" fmla="*/ 75741 w 165465"/>
              <a:gd name="connsiteY0" fmla="*/ 179448 h 179448"/>
              <a:gd name="connsiteX1" fmla="*/ 0 w 165465"/>
              <a:gd name="connsiteY1" fmla="*/ 179448 h 179448"/>
              <a:gd name="connsiteX2" fmla="*/ 88559 w 165465"/>
              <a:gd name="connsiteY2" fmla="*/ 90889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89"/>
                </a:lnTo>
                <a:lnTo>
                  <a:pt x="0" y="0"/>
                </a:lnTo>
                <a:lnTo>
                  <a:pt x="76906" y="0"/>
                </a:lnTo>
                <a:lnTo>
                  <a:pt x="165465" y="88559"/>
                </a:lnTo>
                <a:close/>
              </a:path>
            </a:pathLst>
          </a:custGeom>
          <a:solidFill>
            <a:srgbClr val="2657A2"/>
          </a:solidFill>
          <a:ln w="11643" cap="flat">
            <a:noFill/>
            <a:prstDash val="solid"/>
            <a:miter/>
          </a:ln>
        </p:spPr>
        <p:txBody>
          <a:bodyPr rtlCol="0" anchor="ctr"/>
          <a:lstStyle/>
          <a:p>
            <a:endParaRPr lang="de-DE"/>
          </a:p>
        </p:txBody>
      </p:sp>
      <p:sp>
        <p:nvSpPr>
          <p:cNvPr id="168" name="Freihandform: Form 167">
            <a:extLst>
              <a:ext uri="{FF2B5EF4-FFF2-40B4-BE49-F238E27FC236}">
                <a16:creationId xmlns:a16="http://schemas.microsoft.com/office/drawing/2014/main" id="{6AF8D443-2884-41DC-A7BA-21AB00F1188E}"/>
              </a:ext>
            </a:extLst>
          </p:cNvPr>
          <p:cNvSpPr/>
          <p:nvPr userDrawn="1"/>
        </p:nvSpPr>
        <p:spPr>
          <a:xfrm>
            <a:off x="8375813" y="2011732"/>
            <a:ext cx="180613" cy="196926"/>
          </a:xfrm>
          <a:custGeom>
            <a:avLst/>
            <a:gdLst>
              <a:gd name="connsiteX0" fmla="*/ 82733 w 180613"/>
              <a:gd name="connsiteY0" fmla="*/ 196927 h 196926"/>
              <a:gd name="connsiteX1" fmla="*/ 0 w 180613"/>
              <a:gd name="connsiteY1" fmla="*/ 196927 h 196926"/>
              <a:gd name="connsiteX2" fmla="*/ 96715 w 180613"/>
              <a:gd name="connsiteY2" fmla="*/ 99046 h 196926"/>
              <a:gd name="connsiteX3" fmla="*/ 0 w 180613"/>
              <a:gd name="connsiteY3" fmla="*/ 0 h 196926"/>
              <a:gd name="connsiteX4" fmla="*/ 83898 w 180613"/>
              <a:gd name="connsiteY4" fmla="*/ 0 h 196926"/>
              <a:gd name="connsiteX5" fmla="*/ 180613 w 180613"/>
              <a:gd name="connsiteY5" fmla="*/ 96716 h 196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6926">
                <a:moveTo>
                  <a:pt x="82733" y="196927"/>
                </a:moveTo>
                <a:lnTo>
                  <a:pt x="0" y="196927"/>
                </a:lnTo>
                <a:lnTo>
                  <a:pt x="96715" y="99046"/>
                </a:lnTo>
                <a:lnTo>
                  <a:pt x="0" y="0"/>
                </a:lnTo>
                <a:lnTo>
                  <a:pt x="83898" y="0"/>
                </a:lnTo>
                <a:lnTo>
                  <a:pt x="180613" y="96716"/>
                </a:lnTo>
                <a:close/>
              </a:path>
            </a:pathLst>
          </a:custGeom>
          <a:solidFill>
            <a:srgbClr val="2657A2"/>
          </a:solidFill>
          <a:ln w="11643" cap="flat">
            <a:noFill/>
            <a:prstDash val="solid"/>
            <a:miter/>
          </a:ln>
        </p:spPr>
        <p:txBody>
          <a:bodyPr rtlCol="0" anchor="ctr"/>
          <a:lstStyle/>
          <a:p>
            <a:endParaRPr lang="de-DE"/>
          </a:p>
        </p:txBody>
      </p:sp>
      <p:sp>
        <p:nvSpPr>
          <p:cNvPr id="169" name="Freihandform: Form 168">
            <a:extLst>
              <a:ext uri="{FF2B5EF4-FFF2-40B4-BE49-F238E27FC236}">
                <a16:creationId xmlns:a16="http://schemas.microsoft.com/office/drawing/2014/main" id="{CE4A96D2-F7AA-4408-9B31-101E0036163C}"/>
              </a:ext>
            </a:extLst>
          </p:cNvPr>
          <p:cNvSpPr/>
          <p:nvPr userDrawn="1"/>
        </p:nvSpPr>
        <p:spPr>
          <a:xfrm>
            <a:off x="8375813" y="2367133"/>
            <a:ext cx="180613" cy="195761"/>
          </a:xfrm>
          <a:custGeom>
            <a:avLst/>
            <a:gdLst>
              <a:gd name="connsiteX0" fmla="*/ 82733 w 180613"/>
              <a:gd name="connsiteY0" fmla="*/ 195762 h 195761"/>
              <a:gd name="connsiteX1" fmla="*/ 0 w 180613"/>
              <a:gd name="connsiteY1" fmla="*/ 195762 h 195761"/>
              <a:gd name="connsiteX2" fmla="*/ 96715 w 180613"/>
              <a:gd name="connsiteY2" fmla="*/ 99046 h 195761"/>
              <a:gd name="connsiteX3" fmla="*/ 0 w 180613"/>
              <a:gd name="connsiteY3" fmla="*/ 0 h 195761"/>
              <a:gd name="connsiteX4" fmla="*/ 83898 w 180613"/>
              <a:gd name="connsiteY4" fmla="*/ 0 h 195761"/>
              <a:gd name="connsiteX5" fmla="*/ 180613 w 180613"/>
              <a:gd name="connsiteY5" fmla="*/ 95550 h 19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5761">
                <a:moveTo>
                  <a:pt x="82733" y="195762"/>
                </a:moveTo>
                <a:lnTo>
                  <a:pt x="0" y="195762"/>
                </a:lnTo>
                <a:lnTo>
                  <a:pt x="96715" y="99046"/>
                </a:lnTo>
                <a:lnTo>
                  <a:pt x="0" y="0"/>
                </a:lnTo>
                <a:lnTo>
                  <a:pt x="83898" y="0"/>
                </a:lnTo>
                <a:lnTo>
                  <a:pt x="180613" y="95550"/>
                </a:lnTo>
                <a:close/>
              </a:path>
            </a:pathLst>
          </a:custGeom>
          <a:solidFill>
            <a:srgbClr val="2657A2"/>
          </a:solidFill>
          <a:ln w="11643" cap="flat">
            <a:noFill/>
            <a:prstDash val="solid"/>
            <a:miter/>
          </a:ln>
        </p:spPr>
        <p:txBody>
          <a:bodyPr rtlCol="0" anchor="ctr"/>
          <a:lstStyle/>
          <a:p>
            <a:endParaRPr lang="de-DE"/>
          </a:p>
        </p:txBody>
      </p:sp>
      <p:sp>
        <p:nvSpPr>
          <p:cNvPr id="170" name="Freihandform: Form 169">
            <a:extLst>
              <a:ext uri="{FF2B5EF4-FFF2-40B4-BE49-F238E27FC236}">
                <a16:creationId xmlns:a16="http://schemas.microsoft.com/office/drawing/2014/main" id="{0C53E3EF-A2A5-4B56-984D-69A6D5FD4210}"/>
              </a:ext>
            </a:extLst>
          </p:cNvPr>
          <p:cNvSpPr/>
          <p:nvPr userDrawn="1"/>
        </p:nvSpPr>
        <p:spPr>
          <a:xfrm>
            <a:off x="8375813" y="2721368"/>
            <a:ext cx="180613" cy="196926"/>
          </a:xfrm>
          <a:custGeom>
            <a:avLst/>
            <a:gdLst>
              <a:gd name="connsiteX0" fmla="*/ 82733 w 180613"/>
              <a:gd name="connsiteY0" fmla="*/ 196927 h 196926"/>
              <a:gd name="connsiteX1" fmla="*/ 0 w 180613"/>
              <a:gd name="connsiteY1" fmla="*/ 196927 h 196926"/>
              <a:gd name="connsiteX2" fmla="*/ 96715 w 180613"/>
              <a:gd name="connsiteY2" fmla="*/ 99046 h 196926"/>
              <a:gd name="connsiteX3" fmla="*/ 0 w 180613"/>
              <a:gd name="connsiteY3" fmla="*/ 0 h 196926"/>
              <a:gd name="connsiteX4" fmla="*/ 83898 w 180613"/>
              <a:gd name="connsiteY4" fmla="*/ 0 h 196926"/>
              <a:gd name="connsiteX5" fmla="*/ 180613 w 180613"/>
              <a:gd name="connsiteY5" fmla="*/ 96716 h 196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6926">
                <a:moveTo>
                  <a:pt x="82733" y="196927"/>
                </a:moveTo>
                <a:lnTo>
                  <a:pt x="0" y="196927"/>
                </a:lnTo>
                <a:lnTo>
                  <a:pt x="96715" y="99046"/>
                </a:lnTo>
                <a:lnTo>
                  <a:pt x="0" y="0"/>
                </a:lnTo>
                <a:lnTo>
                  <a:pt x="83898" y="0"/>
                </a:lnTo>
                <a:lnTo>
                  <a:pt x="180613" y="96716"/>
                </a:lnTo>
                <a:close/>
              </a:path>
            </a:pathLst>
          </a:custGeom>
          <a:solidFill>
            <a:srgbClr val="2657A2"/>
          </a:solidFill>
          <a:ln w="11643" cap="flat">
            <a:noFill/>
            <a:prstDash val="solid"/>
            <a:miter/>
          </a:ln>
        </p:spPr>
        <p:txBody>
          <a:bodyPr rtlCol="0" anchor="ctr"/>
          <a:lstStyle/>
          <a:p>
            <a:endParaRPr lang="de-DE"/>
          </a:p>
        </p:txBody>
      </p:sp>
      <p:sp>
        <p:nvSpPr>
          <p:cNvPr id="171" name="Freihandform: Form 170">
            <a:extLst>
              <a:ext uri="{FF2B5EF4-FFF2-40B4-BE49-F238E27FC236}">
                <a16:creationId xmlns:a16="http://schemas.microsoft.com/office/drawing/2014/main" id="{FAE7EF37-28DF-40BF-BED3-E4AA2A2A15E5}"/>
              </a:ext>
            </a:extLst>
          </p:cNvPr>
          <p:cNvSpPr/>
          <p:nvPr userDrawn="1"/>
        </p:nvSpPr>
        <p:spPr>
          <a:xfrm>
            <a:off x="8375813" y="3076769"/>
            <a:ext cx="180613" cy="195761"/>
          </a:xfrm>
          <a:custGeom>
            <a:avLst/>
            <a:gdLst>
              <a:gd name="connsiteX0" fmla="*/ 82733 w 180613"/>
              <a:gd name="connsiteY0" fmla="*/ 195762 h 195761"/>
              <a:gd name="connsiteX1" fmla="*/ 0 w 180613"/>
              <a:gd name="connsiteY1" fmla="*/ 195762 h 195761"/>
              <a:gd name="connsiteX2" fmla="*/ 96715 w 180613"/>
              <a:gd name="connsiteY2" fmla="*/ 99046 h 195761"/>
              <a:gd name="connsiteX3" fmla="*/ 0 w 180613"/>
              <a:gd name="connsiteY3" fmla="*/ 0 h 195761"/>
              <a:gd name="connsiteX4" fmla="*/ 83898 w 180613"/>
              <a:gd name="connsiteY4" fmla="*/ 0 h 195761"/>
              <a:gd name="connsiteX5" fmla="*/ 180613 w 180613"/>
              <a:gd name="connsiteY5" fmla="*/ 95550 h 19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5761">
                <a:moveTo>
                  <a:pt x="82733" y="195762"/>
                </a:moveTo>
                <a:lnTo>
                  <a:pt x="0" y="195762"/>
                </a:lnTo>
                <a:lnTo>
                  <a:pt x="96715" y="99046"/>
                </a:lnTo>
                <a:lnTo>
                  <a:pt x="0" y="0"/>
                </a:lnTo>
                <a:lnTo>
                  <a:pt x="83898" y="0"/>
                </a:lnTo>
                <a:lnTo>
                  <a:pt x="180613" y="95550"/>
                </a:lnTo>
                <a:close/>
              </a:path>
            </a:pathLst>
          </a:custGeom>
          <a:solidFill>
            <a:srgbClr val="2657A2"/>
          </a:solidFill>
          <a:ln w="11643" cap="flat">
            <a:noFill/>
            <a:prstDash val="solid"/>
            <a:miter/>
          </a:ln>
        </p:spPr>
        <p:txBody>
          <a:bodyPr rtlCol="0" anchor="ctr"/>
          <a:lstStyle/>
          <a:p>
            <a:endParaRPr lang="de-DE"/>
          </a:p>
        </p:txBody>
      </p:sp>
      <p:sp>
        <p:nvSpPr>
          <p:cNvPr id="172" name="Freihandform: Form 171">
            <a:extLst>
              <a:ext uri="{FF2B5EF4-FFF2-40B4-BE49-F238E27FC236}">
                <a16:creationId xmlns:a16="http://schemas.microsoft.com/office/drawing/2014/main" id="{91F25CA8-DD84-41EA-ABB9-E6B3A0432754}"/>
              </a:ext>
            </a:extLst>
          </p:cNvPr>
          <p:cNvSpPr/>
          <p:nvPr userDrawn="1"/>
        </p:nvSpPr>
        <p:spPr>
          <a:xfrm>
            <a:off x="8375813" y="3431004"/>
            <a:ext cx="180613" cy="196926"/>
          </a:xfrm>
          <a:custGeom>
            <a:avLst/>
            <a:gdLst>
              <a:gd name="connsiteX0" fmla="*/ 82733 w 180613"/>
              <a:gd name="connsiteY0" fmla="*/ 196927 h 196926"/>
              <a:gd name="connsiteX1" fmla="*/ 0 w 180613"/>
              <a:gd name="connsiteY1" fmla="*/ 196927 h 196926"/>
              <a:gd name="connsiteX2" fmla="*/ 96715 w 180613"/>
              <a:gd name="connsiteY2" fmla="*/ 99046 h 196926"/>
              <a:gd name="connsiteX3" fmla="*/ 0 w 180613"/>
              <a:gd name="connsiteY3" fmla="*/ 0 h 196926"/>
              <a:gd name="connsiteX4" fmla="*/ 83898 w 180613"/>
              <a:gd name="connsiteY4" fmla="*/ 0 h 196926"/>
              <a:gd name="connsiteX5" fmla="*/ 180613 w 180613"/>
              <a:gd name="connsiteY5" fmla="*/ 96716 h 196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6926">
                <a:moveTo>
                  <a:pt x="82733" y="196927"/>
                </a:moveTo>
                <a:lnTo>
                  <a:pt x="0" y="196927"/>
                </a:lnTo>
                <a:lnTo>
                  <a:pt x="96715" y="99046"/>
                </a:lnTo>
                <a:lnTo>
                  <a:pt x="0" y="0"/>
                </a:lnTo>
                <a:lnTo>
                  <a:pt x="83898" y="0"/>
                </a:lnTo>
                <a:lnTo>
                  <a:pt x="180613" y="96716"/>
                </a:lnTo>
                <a:close/>
              </a:path>
            </a:pathLst>
          </a:custGeom>
          <a:solidFill>
            <a:srgbClr val="2657A2"/>
          </a:solidFill>
          <a:ln w="11643" cap="flat">
            <a:noFill/>
            <a:prstDash val="solid"/>
            <a:miter/>
          </a:ln>
        </p:spPr>
        <p:txBody>
          <a:bodyPr rtlCol="0" anchor="ctr"/>
          <a:lstStyle/>
          <a:p>
            <a:endParaRPr lang="de-DE"/>
          </a:p>
        </p:txBody>
      </p:sp>
      <p:sp>
        <p:nvSpPr>
          <p:cNvPr id="173" name="Freihandform: Form 172">
            <a:extLst>
              <a:ext uri="{FF2B5EF4-FFF2-40B4-BE49-F238E27FC236}">
                <a16:creationId xmlns:a16="http://schemas.microsoft.com/office/drawing/2014/main" id="{B7D96561-C828-466C-9DB0-65C39976D69F}"/>
              </a:ext>
            </a:extLst>
          </p:cNvPr>
          <p:cNvSpPr/>
          <p:nvPr userDrawn="1"/>
        </p:nvSpPr>
        <p:spPr>
          <a:xfrm>
            <a:off x="8375813" y="3786405"/>
            <a:ext cx="180613" cy="195761"/>
          </a:xfrm>
          <a:custGeom>
            <a:avLst/>
            <a:gdLst>
              <a:gd name="connsiteX0" fmla="*/ 82733 w 180613"/>
              <a:gd name="connsiteY0" fmla="*/ 195762 h 195761"/>
              <a:gd name="connsiteX1" fmla="*/ 0 w 180613"/>
              <a:gd name="connsiteY1" fmla="*/ 195762 h 195761"/>
              <a:gd name="connsiteX2" fmla="*/ 96715 w 180613"/>
              <a:gd name="connsiteY2" fmla="*/ 99046 h 195761"/>
              <a:gd name="connsiteX3" fmla="*/ 0 w 180613"/>
              <a:gd name="connsiteY3" fmla="*/ 0 h 195761"/>
              <a:gd name="connsiteX4" fmla="*/ 83898 w 180613"/>
              <a:gd name="connsiteY4" fmla="*/ 0 h 195761"/>
              <a:gd name="connsiteX5" fmla="*/ 180613 w 180613"/>
              <a:gd name="connsiteY5" fmla="*/ 96716 h 19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5761">
                <a:moveTo>
                  <a:pt x="82733" y="195762"/>
                </a:moveTo>
                <a:lnTo>
                  <a:pt x="0" y="195762"/>
                </a:lnTo>
                <a:lnTo>
                  <a:pt x="96715" y="99046"/>
                </a:lnTo>
                <a:lnTo>
                  <a:pt x="0" y="0"/>
                </a:lnTo>
                <a:lnTo>
                  <a:pt x="83898" y="0"/>
                </a:lnTo>
                <a:lnTo>
                  <a:pt x="180613" y="96716"/>
                </a:lnTo>
                <a:close/>
              </a:path>
            </a:pathLst>
          </a:custGeom>
          <a:solidFill>
            <a:srgbClr val="2657A2"/>
          </a:solidFill>
          <a:ln w="11643" cap="flat">
            <a:noFill/>
            <a:prstDash val="solid"/>
            <a:miter/>
          </a:ln>
        </p:spPr>
        <p:txBody>
          <a:bodyPr rtlCol="0" anchor="ctr"/>
          <a:lstStyle/>
          <a:p>
            <a:endParaRPr lang="de-DE"/>
          </a:p>
        </p:txBody>
      </p:sp>
      <p:sp>
        <p:nvSpPr>
          <p:cNvPr id="174" name="Freihandform: Form 173">
            <a:extLst>
              <a:ext uri="{FF2B5EF4-FFF2-40B4-BE49-F238E27FC236}">
                <a16:creationId xmlns:a16="http://schemas.microsoft.com/office/drawing/2014/main" id="{E25319EB-B7B4-49DA-AC68-702F6C094489}"/>
              </a:ext>
            </a:extLst>
          </p:cNvPr>
          <p:cNvSpPr/>
          <p:nvPr userDrawn="1"/>
        </p:nvSpPr>
        <p:spPr>
          <a:xfrm>
            <a:off x="8375813" y="4140640"/>
            <a:ext cx="180613" cy="196926"/>
          </a:xfrm>
          <a:custGeom>
            <a:avLst/>
            <a:gdLst>
              <a:gd name="connsiteX0" fmla="*/ 82733 w 180613"/>
              <a:gd name="connsiteY0" fmla="*/ 196927 h 196926"/>
              <a:gd name="connsiteX1" fmla="*/ 0 w 180613"/>
              <a:gd name="connsiteY1" fmla="*/ 196927 h 196926"/>
              <a:gd name="connsiteX2" fmla="*/ 96715 w 180613"/>
              <a:gd name="connsiteY2" fmla="*/ 99046 h 196926"/>
              <a:gd name="connsiteX3" fmla="*/ 0 w 180613"/>
              <a:gd name="connsiteY3" fmla="*/ 0 h 196926"/>
              <a:gd name="connsiteX4" fmla="*/ 83898 w 180613"/>
              <a:gd name="connsiteY4" fmla="*/ 0 h 196926"/>
              <a:gd name="connsiteX5" fmla="*/ 180613 w 180613"/>
              <a:gd name="connsiteY5" fmla="*/ 96716 h 196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6926">
                <a:moveTo>
                  <a:pt x="82733" y="196927"/>
                </a:moveTo>
                <a:lnTo>
                  <a:pt x="0" y="196927"/>
                </a:lnTo>
                <a:lnTo>
                  <a:pt x="96715" y="99046"/>
                </a:lnTo>
                <a:lnTo>
                  <a:pt x="0" y="0"/>
                </a:lnTo>
                <a:lnTo>
                  <a:pt x="83898" y="0"/>
                </a:lnTo>
                <a:lnTo>
                  <a:pt x="180613" y="96716"/>
                </a:lnTo>
                <a:close/>
              </a:path>
            </a:pathLst>
          </a:custGeom>
          <a:solidFill>
            <a:srgbClr val="2657A2"/>
          </a:solidFill>
          <a:ln w="11643" cap="flat">
            <a:noFill/>
            <a:prstDash val="solid"/>
            <a:miter/>
          </a:ln>
        </p:spPr>
        <p:txBody>
          <a:bodyPr rtlCol="0" anchor="ctr"/>
          <a:lstStyle/>
          <a:p>
            <a:endParaRPr lang="de-DE"/>
          </a:p>
        </p:txBody>
      </p:sp>
      <p:sp>
        <p:nvSpPr>
          <p:cNvPr id="175" name="Freihandform: Form 174">
            <a:extLst>
              <a:ext uri="{FF2B5EF4-FFF2-40B4-BE49-F238E27FC236}">
                <a16:creationId xmlns:a16="http://schemas.microsoft.com/office/drawing/2014/main" id="{16D6A1D1-4BF9-41B9-98BB-536834025E9B}"/>
              </a:ext>
            </a:extLst>
          </p:cNvPr>
          <p:cNvSpPr/>
          <p:nvPr userDrawn="1"/>
        </p:nvSpPr>
        <p:spPr>
          <a:xfrm>
            <a:off x="8375813" y="4496041"/>
            <a:ext cx="180613" cy="195761"/>
          </a:xfrm>
          <a:custGeom>
            <a:avLst/>
            <a:gdLst>
              <a:gd name="connsiteX0" fmla="*/ 82733 w 180613"/>
              <a:gd name="connsiteY0" fmla="*/ 195762 h 195761"/>
              <a:gd name="connsiteX1" fmla="*/ 0 w 180613"/>
              <a:gd name="connsiteY1" fmla="*/ 195762 h 195761"/>
              <a:gd name="connsiteX2" fmla="*/ 96715 w 180613"/>
              <a:gd name="connsiteY2" fmla="*/ 99046 h 195761"/>
              <a:gd name="connsiteX3" fmla="*/ 0 w 180613"/>
              <a:gd name="connsiteY3" fmla="*/ 0 h 195761"/>
              <a:gd name="connsiteX4" fmla="*/ 83898 w 180613"/>
              <a:gd name="connsiteY4" fmla="*/ 0 h 195761"/>
              <a:gd name="connsiteX5" fmla="*/ 180613 w 180613"/>
              <a:gd name="connsiteY5" fmla="*/ 96716 h 19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5761">
                <a:moveTo>
                  <a:pt x="82733" y="195762"/>
                </a:moveTo>
                <a:lnTo>
                  <a:pt x="0" y="195762"/>
                </a:lnTo>
                <a:lnTo>
                  <a:pt x="96715" y="99046"/>
                </a:lnTo>
                <a:lnTo>
                  <a:pt x="0" y="0"/>
                </a:lnTo>
                <a:lnTo>
                  <a:pt x="83898" y="0"/>
                </a:lnTo>
                <a:lnTo>
                  <a:pt x="180613" y="96716"/>
                </a:lnTo>
                <a:close/>
              </a:path>
            </a:pathLst>
          </a:custGeom>
          <a:solidFill>
            <a:srgbClr val="2657A2"/>
          </a:solidFill>
          <a:ln w="11643" cap="flat">
            <a:noFill/>
            <a:prstDash val="solid"/>
            <a:miter/>
          </a:ln>
        </p:spPr>
        <p:txBody>
          <a:bodyPr rtlCol="0" anchor="ctr"/>
          <a:lstStyle/>
          <a:p>
            <a:endParaRPr lang="de-DE"/>
          </a:p>
        </p:txBody>
      </p:sp>
      <p:sp>
        <p:nvSpPr>
          <p:cNvPr id="176" name="Freihandform: Form 175">
            <a:extLst>
              <a:ext uri="{FF2B5EF4-FFF2-40B4-BE49-F238E27FC236}">
                <a16:creationId xmlns:a16="http://schemas.microsoft.com/office/drawing/2014/main" id="{604C88A3-EFBB-4D78-8062-5AED615ABED7}"/>
              </a:ext>
            </a:extLst>
          </p:cNvPr>
          <p:cNvSpPr/>
          <p:nvPr userDrawn="1"/>
        </p:nvSpPr>
        <p:spPr>
          <a:xfrm>
            <a:off x="8375813" y="4850276"/>
            <a:ext cx="180613" cy="196927"/>
          </a:xfrm>
          <a:custGeom>
            <a:avLst/>
            <a:gdLst>
              <a:gd name="connsiteX0" fmla="*/ 82733 w 180613"/>
              <a:gd name="connsiteY0" fmla="*/ 196927 h 196927"/>
              <a:gd name="connsiteX1" fmla="*/ 0 w 180613"/>
              <a:gd name="connsiteY1" fmla="*/ 196927 h 196927"/>
              <a:gd name="connsiteX2" fmla="*/ 96715 w 180613"/>
              <a:gd name="connsiteY2" fmla="*/ 99046 h 196927"/>
              <a:gd name="connsiteX3" fmla="*/ 0 w 180613"/>
              <a:gd name="connsiteY3" fmla="*/ 0 h 196927"/>
              <a:gd name="connsiteX4" fmla="*/ 83898 w 180613"/>
              <a:gd name="connsiteY4" fmla="*/ 0 h 196927"/>
              <a:gd name="connsiteX5" fmla="*/ 180613 w 180613"/>
              <a:gd name="connsiteY5" fmla="*/ 96716 h 196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6927">
                <a:moveTo>
                  <a:pt x="82733" y="196927"/>
                </a:moveTo>
                <a:lnTo>
                  <a:pt x="0" y="196927"/>
                </a:lnTo>
                <a:lnTo>
                  <a:pt x="96715" y="99046"/>
                </a:lnTo>
                <a:lnTo>
                  <a:pt x="0" y="0"/>
                </a:lnTo>
                <a:lnTo>
                  <a:pt x="83898" y="0"/>
                </a:lnTo>
                <a:lnTo>
                  <a:pt x="180613" y="96716"/>
                </a:lnTo>
                <a:close/>
              </a:path>
            </a:pathLst>
          </a:custGeom>
          <a:solidFill>
            <a:srgbClr val="2657A2"/>
          </a:solidFill>
          <a:ln w="11643" cap="flat">
            <a:noFill/>
            <a:prstDash val="solid"/>
            <a:miter/>
          </a:ln>
        </p:spPr>
        <p:txBody>
          <a:bodyPr rtlCol="0" anchor="ctr"/>
          <a:lstStyle/>
          <a:p>
            <a:endParaRPr lang="de-DE"/>
          </a:p>
        </p:txBody>
      </p:sp>
      <p:sp>
        <p:nvSpPr>
          <p:cNvPr id="177" name="Freihandform: Form 176">
            <a:extLst>
              <a:ext uri="{FF2B5EF4-FFF2-40B4-BE49-F238E27FC236}">
                <a16:creationId xmlns:a16="http://schemas.microsoft.com/office/drawing/2014/main" id="{28BE4318-C9B0-4E2A-A05B-B25DE7DFC23F}"/>
              </a:ext>
            </a:extLst>
          </p:cNvPr>
          <p:cNvSpPr/>
          <p:nvPr userDrawn="1"/>
        </p:nvSpPr>
        <p:spPr>
          <a:xfrm>
            <a:off x="8375813" y="5205677"/>
            <a:ext cx="180613" cy="195761"/>
          </a:xfrm>
          <a:custGeom>
            <a:avLst/>
            <a:gdLst>
              <a:gd name="connsiteX0" fmla="*/ 82733 w 180613"/>
              <a:gd name="connsiteY0" fmla="*/ 195762 h 195761"/>
              <a:gd name="connsiteX1" fmla="*/ 0 w 180613"/>
              <a:gd name="connsiteY1" fmla="*/ 195762 h 195761"/>
              <a:gd name="connsiteX2" fmla="*/ 96715 w 180613"/>
              <a:gd name="connsiteY2" fmla="*/ 99046 h 195761"/>
              <a:gd name="connsiteX3" fmla="*/ 0 w 180613"/>
              <a:gd name="connsiteY3" fmla="*/ 0 h 195761"/>
              <a:gd name="connsiteX4" fmla="*/ 83898 w 180613"/>
              <a:gd name="connsiteY4" fmla="*/ 0 h 195761"/>
              <a:gd name="connsiteX5" fmla="*/ 180613 w 180613"/>
              <a:gd name="connsiteY5" fmla="*/ 96715 h 19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5761">
                <a:moveTo>
                  <a:pt x="82733" y="195762"/>
                </a:moveTo>
                <a:lnTo>
                  <a:pt x="0" y="195762"/>
                </a:lnTo>
                <a:lnTo>
                  <a:pt x="96715" y="99046"/>
                </a:lnTo>
                <a:lnTo>
                  <a:pt x="0" y="0"/>
                </a:lnTo>
                <a:lnTo>
                  <a:pt x="83898" y="0"/>
                </a:lnTo>
                <a:lnTo>
                  <a:pt x="180613" y="96715"/>
                </a:lnTo>
                <a:close/>
              </a:path>
            </a:pathLst>
          </a:custGeom>
          <a:solidFill>
            <a:srgbClr val="2657A2"/>
          </a:solidFill>
          <a:ln w="11643" cap="flat">
            <a:noFill/>
            <a:prstDash val="solid"/>
            <a:miter/>
          </a:ln>
        </p:spPr>
        <p:txBody>
          <a:bodyPr rtlCol="0" anchor="ctr"/>
          <a:lstStyle/>
          <a:p>
            <a:endParaRPr lang="de-DE"/>
          </a:p>
        </p:txBody>
      </p:sp>
      <p:sp>
        <p:nvSpPr>
          <p:cNvPr id="178" name="Freihandform: Form 177">
            <a:extLst>
              <a:ext uri="{FF2B5EF4-FFF2-40B4-BE49-F238E27FC236}">
                <a16:creationId xmlns:a16="http://schemas.microsoft.com/office/drawing/2014/main" id="{FA0A833F-554B-4BE0-AC5E-DE626D90CBA6}"/>
              </a:ext>
            </a:extLst>
          </p:cNvPr>
          <p:cNvSpPr/>
          <p:nvPr userDrawn="1"/>
        </p:nvSpPr>
        <p:spPr>
          <a:xfrm>
            <a:off x="8375813" y="5559912"/>
            <a:ext cx="180613" cy="196926"/>
          </a:xfrm>
          <a:custGeom>
            <a:avLst/>
            <a:gdLst>
              <a:gd name="connsiteX0" fmla="*/ 82733 w 180613"/>
              <a:gd name="connsiteY0" fmla="*/ 196927 h 196926"/>
              <a:gd name="connsiteX1" fmla="*/ 0 w 180613"/>
              <a:gd name="connsiteY1" fmla="*/ 196927 h 196926"/>
              <a:gd name="connsiteX2" fmla="*/ 96715 w 180613"/>
              <a:gd name="connsiteY2" fmla="*/ 99046 h 196926"/>
              <a:gd name="connsiteX3" fmla="*/ 0 w 180613"/>
              <a:gd name="connsiteY3" fmla="*/ 0 h 196926"/>
              <a:gd name="connsiteX4" fmla="*/ 83898 w 180613"/>
              <a:gd name="connsiteY4" fmla="*/ 0 h 196926"/>
              <a:gd name="connsiteX5" fmla="*/ 180613 w 180613"/>
              <a:gd name="connsiteY5" fmla="*/ 96715 h 196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6926">
                <a:moveTo>
                  <a:pt x="82733" y="196927"/>
                </a:moveTo>
                <a:lnTo>
                  <a:pt x="0" y="196927"/>
                </a:lnTo>
                <a:lnTo>
                  <a:pt x="96715" y="99046"/>
                </a:lnTo>
                <a:lnTo>
                  <a:pt x="0" y="0"/>
                </a:lnTo>
                <a:lnTo>
                  <a:pt x="83898" y="0"/>
                </a:lnTo>
                <a:lnTo>
                  <a:pt x="180613" y="96715"/>
                </a:lnTo>
                <a:close/>
              </a:path>
            </a:pathLst>
          </a:custGeom>
          <a:solidFill>
            <a:srgbClr val="2657A2"/>
          </a:solidFill>
          <a:ln w="11643" cap="flat">
            <a:noFill/>
            <a:prstDash val="solid"/>
            <a:miter/>
          </a:ln>
        </p:spPr>
        <p:txBody>
          <a:bodyPr rtlCol="0" anchor="ctr"/>
          <a:lstStyle/>
          <a:p>
            <a:endParaRPr lang="de-DE"/>
          </a:p>
        </p:txBody>
      </p:sp>
      <p:sp>
        <p:nvSpPr>
          <p:cNvPr id="179" name="Freihandform: Form 178">
            <a:extLst>
              <a:ext uri="{FF2B5EF4-FFF2-40B4-BE49-F238E27FC236}">
                <a16:creationId xmlns:a16="http://schemas.microsoft.com/office/drawing/2014/main" id="{6B549FD8-A0CD-4D20-AE30-441F25C75062}"/>
              </a:ext>
            </a:extLst>
          </p:cNvPr>
          <p:cNvSpPr/>
          <p:nvPr userDrawn="1"/>
        </p:nvSpPr>
        <p:spPr>
          <a:xfrm>
            <a:off x="8375813" y="5915313"/>
            <a:ext cx="180613" cy="195761"/>
          </a:xfrm>
          <a:custGeom>
            <a:avLst/>
            <a:gdLst>
              <a:gd name="connsiteX0" fmla="*/ 82733 w 180613"/>
              <a:gd name="connsiteY0" fmla="*/ 195762 h 195761"/>
              <a:gd name="connsiteX1" fmla="*/ 0 w 180613"/>
              <a:gd name="connsiteY1" fmla="*/ 195762 h 195761"/>
              <a:gd name="connsiteX2" fmla="*/ 96715 w 180613"/>
              <a:gd name="connsiteY2" fmla="*/ 99046 h 195761"/>
              <a:gd name="connsiteX3" fmla="*/ 0 w 180613"/>
              <a:gd name="connsiteY3" fmla="*/ 0 h 195761"/>
              <a:gd name="connsiteX4" fmla="*/ 83898 w 180613"/>
              <a:gd name="connsiteY4" fmla="*/ 0 h 195761"/>
              <a:gd name="connsiteX5" fmla="*/ 180613 w 180613"/>
              <a:gd name="connsiteY5" fmla="*/ 96715 h 19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5761">
                <a:moveTo>
                  <a:pt x="82733" y="195762"/>
                </a:moveTo>
                <a:lnTo>
                  <a:pt x="0" y="195762"/>
                </a:lnTo>
                <a:lnTo>
                  <a:pt x="96715" y="99046"/>
                </a:lnTo>
                <a:lnTo>
                  <a:pt x="0" y="0"/>
                </a:lnTo>
                <a:lnTo>
                  <a:pt x="83898" y="0"/>
                </a:lnTo>
                <a:lnTo>
                  <a:pt x="180613" y="96715"/>
                </a:lnTo>
                <a:close/>
              </a:path>
            </a:pathLst>
          </a:custGeom>
          <a:solidFill>
            <a:srgbClr val="2657A2"/>
          </a:solidFill>
          <a:ln w="11643" cap="flat">
            <a:noFill/>
            <a:prstDash val="solid"/>
            <a:miter/>
          </a:ln>
        </p:spPr>
        <p:txBody>
          <a:bodyPr rtlCol="0" anchor="ctr"/>
          <a:lstStyle/>
          <a:p>
            <a:endParaRPr lang="de-DE"/>
          </a:p>
        </p:txBody>
      </p:sp>
      <p:sp>
        <p:nvSpPr>
          <p:cNvPr id="180" name="Freihandform: Form 179">
            <a:extLst>
              <a:ext uri="{FF2B5EF4-FFF2-40B4-BE49-F238E27FC236}">
                <a16:creationId xmlns:a16="http://schemas.microsoft.com/office/drawing/2014/main" id="{36F0E624-A695-49F8-A9F9-F508C4AB72D9}"/>
              </a:ext>
            </a:extLst>
          </p:cNvPr>
          <p:cNvSpPr/>
          <p:nvPr userDrawn="1"/>
        </p:nvSpPr>
        <p:spPr>
          <a:xfrm>
            <a:off x="8375813" y="6270714"/>
            <a:ext cx="180613" cy="195761"/>
          </a:xfrm>
          <a:custGeom>
            <a:avLst/>
            <a:gdLst>
              <a:gd name="connsiteX0" fmla="*/ 82733 w 180613"/>
              <a:gd name="connsiteY0" fmla="*/ 195762 h 195761"/>
              <a:gd name="connsiteX1" fmla="*/ 0 w 180613"/>
              <a:gd name="connsiteY1" fmla="*/ 195762 h 195761"/>
              <a:gd name="connsiteX2" fmla="*/ 96715 w 180613"/>
              <a:gd name="connsiteY2" fmla="*/ 97881 h 195761"/>
              <a:gd name="connsiteX3" fmla="*/ 0 w 180613"/>
              <a:gd name="connsiteY3" fmla="*/ 0 h 195761"/>
              <a:gd name="connsiteX4" fmla="*/ 83898 w 180613"/>
              <a:gd name="connsiteY4" fmla="*/ 0 h 195761"/>
              <a:gd name="connsiteX5" fmla="*/ 180613 w 180613"/>
              <a:gd name="connsiteY5" fmla="*/ 95550 h 19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5761">
                <a:moveTo>
                  <a:pt x="82733" y="195762"/>
                </a:moveTo>
                <a:lnTo>
                  <a:pt x="0" y="195762"/>
                </a:lnTo>
                <a:lnTo>
                  <a:pt x="96715" y="97881"/>
                </a:lnTo>
                <a:lnTo>
                  <a:pt x="0" y="0"/>
                </a:lnTo>
                <a:lnTo>
                  <a:pt x="83898" y="0"/>
                </a:lnTo>
                <a:lnTo>
                  <a:pt x="180613" y="95550"/>
                </a:lnTo>
                <a:close/>
              </a:path>
            </a:pathLst>
          </a:custGeom>
          <a:solidFill>
            <a:srgbClr val="2657A2"/>
          </a:solidFill>
          <a:ln w="11643" cap="flat">
            <a:noFill/>
            <a:prstDash val="solid"/>
            <a:miter/>
          </a:ln>
        </p:spPr>
        <p:txBody>
          <a:bodyPr rtlCol="0" anchor="ctr"/>
          <a:lstStyle/>
          <a:p>
            <a:endParaRPr lang="de-DE"/>
          </a:p>
        </p:txBody>
      </p:sp>
      <p:sp>
        <p:nvSpPr>
          <p:cNvPr id="181" name="Freihandform: Form 180">
            <a:extLst>
              <a:ext uri="{FF2B5EF4-FFF2-40B4-BE49-F238E27FC236}">
                <a16:creationId xmlns:a16="http://schemas.microsoft.com/office/drawing/2014/main" id="{FCCEB576-1342-4970-91C3-813FF09CB68B}"/>
              </a:ext>
            </a:extLst>
          </p:cNvPr>
          <p:cNvSpPr/>
          <p:nvPr userDrawn="1"/>
        </p:nvSpPr>
        <p:spPr>
          <a:xfrm>
            <a:off x="8375813" y="6624949"/>
            <a:ext cx="180613" cy="196926"/>
          </a:xfrm>
          <a:custGeom>
            <a:avLst/>
            <a:gdLst>
              <a:gd name="connsiteX0" fmla="*/ 82733 w 180613"/>
              <a:gd name="connsiteY0" fmla="*/ 196927 h 196926"/>
              <a:gd name="connsiteX1" fmla="*/ 0 w 180613"/>
              <a:gd name="connsiteY1" fmla="*/ 196927 h 196926"/>
              <a:gd name="connsiteX2" fmla="*/ 96715 w 180613"/>
              <a:gd name="connsiteY2" fmla="*/ 99046 h 196926"/>
              <a:gd name="connsiteX3" fmla="*/ 0 w 180613"/>
              <a:gd name="connsiteY3" fmla="*/ 0 h 196926"/>
              <a:gd name="connsiteX4" fmla="*/ 83898 w 180613"/>
              <a:gd name="connsiteY4" fmla="*/ 0 h 196926"/>
              <a:gd name="connsiteX5" fmla="*/ 180613 w 180613"/>
              <a:gd name="connsiteY5" fmla="*/ 96715 h 196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6926">
                <a:moveTo>
                  <a:pt x="82733" y="196927"/>
                </a:moveTo>
                <a:lnTo>
                  <a:pt x="0" y="196927"/>
                </a:lnTo>
                <a:lnTo>
                  <a:pt x="96715" y="99046"/>
                </a:lnTo>
                <a:lnTo>
                  <a:pt x="0" y="0"/>
                </a:lnTo>
                <a:lnTo>
                  <a:pt x="83898" y="0"/>
                </a:lnTo>
                <a:lnTo>
                  <a:pt x="180613" y="96715"/>
                </a:lnTo>
                <a:close/>
              </a:path>
            </a:pathLst>
          </a:custGeom>
          <a:solidFill>
            <a:srgbClr val="2657A2"/>
          </a:solidFill>
          <a:ln w="11643" cap="flat">
            <a:noFill/>
            <a:prstDash val="solid"/>
            <a:miter/>
          </a:ln>
        </p:spPr>
        <p:txBody>
          <a:bodyPr rtlCol="0" anchor="ctr"/>
          <a:lstStyle/>
          <a:p>
            <a:endParaRPr lang="de-DE"/>
          </a:p>
        </p:txBody>
      </p:sp>
      <p:sp>
        <p:nvSpPr>
          <p:cNvPr id="182" name="Freihandform: Form 181">
            <a:extLst>
              <a:ext uri="{FF2B5EF4-FFF2-40B4-BE49-F238E27FC236}">
                <a16:creationId xmlns:a16="http://schemas.microsoft.com/office/drawing/2014/main" id="{C71B72A8-B10C-4364-A53A-822423D71B28}"/>
              </a:ext>
            </a:extLst>
          </p:cNvPr>
          <p:cNvSpPr/>
          <p:nvPr userDrawn="1"/>
        </p:nvSpPr>
        <p:spPr>
          <a:xfrm>
            <a:off x="8721892" y="2002410"/>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6038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6038"/>
                </a:lnTo>
                <a:close/>
              </a:path>
            </a:pathLst>
          </a:custGeom>
          <a:solidFill>
            <a:srgbClr val="2657A2"/>
          </a:solidFill>
          <a:ln w="11643" cap="flat">
            <a:noFill/>
            <a:prstDash val="solid"/>
            <a:miter/>
          </a:ln>
        </p:spPr>
        <p:txBody>
          <a:bodyPr rtlCol="0" anchor="ctr"/>
          <a:lstStyle/>
          <a:p>
            <a:endParaRPr lang="de-DE"/>
          </a:p>
        </p:txBody>
      </p:sp>
      <p:sp>
        <p:nvSpPr>
          <p:cNvPr id="183" name="Freihandform: Form 182">
            <a:extLst>
              <a:ext uri="{FF2B5EF4-FFF2-40B4-BE49-F238E27FC236}">
                <a16:creationId xmlns:a16="http://schemas.microsoft.com/office/drawing/2014/main" id="{E1132820-5089-4741-9D60-DAE2D2D497C4}"/>
              </a:ext>
            </a:extLst>
          </p:cNvPr>
          <p:cNvSpPr/>
          <p:nvPr userDrawn="1"/>
        </p:nvSpPr>
        <p:spPr>
          <a:xfrm>
            <a:off x="8721892" y="2357811"/>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4872"/>
                </a:lnTo>
                <a:close/>
              </a:path>
            </a:pathLst>
          </a:custGeom>
          <a:solidFill>
            <a:srgbClr val="2657A2"/>
          </a:solidFill>
          <a:ln w="11643" cap="flat">
            <a:noFill/>
            <a:prstDash val="solid"/>
            <a:miter/>
          </a:ln>
        </p:spPr>
        <p:txBody>
          <a:bodyPr rtlCol="0" anchor="ctr"/>
          <a:lstStyle/>
          <a:p>
            <a:endParaRPr lang="de-DE"/>
          </a:p>
        </p:txBody>
      </p:sp>
      <p:sp>
        <p:nvSpPr>
          <p:cNvPr id="184" name="Freihandform: Form 183">
            <a:extLst>
              <a:ext uri="{FF2B5EF4-FFF2-40B4-BE49-F238E27FC236}">
                <a16:creationId xmlns:a16="http://schemas.microsoft.com/office/drawing/2014/main" id="{3D92AB75-59E5-4E8C-9EEC-EAF687DD35E8}"/>
              </a:ext>
            </a:extLst>
          </p:cNvPr>
          <p:cNvSpPr/>
          <p:nvPr userDrawn="1"/>
        </p:nvSpPr>
        <p:spPr>
          <a:xfrm>
            <a:off x="8721892" y="2712046"/>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6038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6038"/>
                </a:lnTo>
                <a:close/>
              </a:path>
            </a:pathLst>
          </a:custGeom>
          <a:solidFill>
            <a:srgbClr val="2657A2"/>
          </a:solidFill>
          <a:ln w="11643" cap="flat">
            <a:noFill/>
            <a:prstDash val="solid"/>
            <a:miter/>
          </a:ln>
        </p:spPr>
        <p:txBody>
          <a:bodyPr rtlCol="0" anchor="ctr"/>
          <a:lstStyle/>
          <a:p>
            <a:endParaRPr lang="de-DE"/>
          </a:p>
        </p:txBody>
      </p:sp>
      <p:sp>
        <p:nvSpPr>
          <p:cNvPr id="185" name="Freihandform: Form 184">
            <a:extLst>
              <a:ext uri="{FF2B5EF4-FFF2-40B4-BE49-F238E27FC236}">
                <a16:creationId xmlns:a16="http://schemas.microsoft.com/office/drawing/2014/main" id="{A48C5770-AF03-4193-9325-FB3B7DA87D39}"/>
              </a:ext>
            </a:extLst>
          </p:cNvPr>
          <p:cNvSpPr/>
          <p:nvPr userDrawn="1"/>
        </p:nvSpPr>
        <p:spPr>
          <a:xfrm>
            <a:off x="8721892" y="3067447"/>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4872"/>
                </a:lnTo>
                <a:close/>
              </a:path>
            </a:pathLst>
          </a:custGeom>
          <a:solidFill>
            <a:srgbClr val="2657A2"/>
          </a:solidFill>
          <a:ln w="11643" cap="flat">
            <a:noFill/>
            <a:prstDash val="solid"/>
            <a:miter/>
          </a:ln>
        </p:spPr>
        <p:txBody>
          <a:bodyPr rtlCol="0" anchor="ctr"/>
          <a:lstStyle/>
          <a:p>
            <a:endParaRPr lang="de-DE"/>
          </a:p>
        </p:txBody>
      </p:sp>
      <p:sp>
        <p:nvSpPr>
          <p:cNvPr id="186" name="Freihandform: Form 185">
            <a:extLst>
              <a:ext uri="{FF2B5EF4-FFF2-40B4-BE49-F238E27FC236}">
                <a16:creationId xmlns:a16="http://schemas.microsoft.com/office/drawing/2014/main" id="{F69B1AF7-E993-4532-9321-16906D97E376}"/>
              </a:ext>
            </a:extLst>
          </p:cNvPr>
          <p:cNvSpPr/>
          <p:nvPr userDrawn="1"/>
        </p:nvSpPr>
        <p:spPr>
          <a:xfrm>
            <a:off x="8721892" y="3421682"/>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6038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6038"/>
                </a:lnTo>
                <a:close/>
              </a:path>
            </a:pathLst>
          </a:custGeom>
          <a:solidFill>
            <a:srgbClr val="2657A2"/>
          </a:solidFill>
          <a:ln w="11643" cap="flat">
            <a:noFill/>
            <a:prstDash val="solid"/>
            <a:miter/>
          </a:ln>
        </p:spPr>
        <p:txBody>
          <a:bodyPr rtlCol="0" anchor="ctr"/>
          <a:lstStyle/>
          <a:p>
            <a:endParaRPr lang="de-DE"/>
          </a:p>
        </p:txBody>
      </p:sp>
      <p:sp>
        <p:nvSpPr>
          <p:cNvPr id="187" name="Freihandform: Form 186">
            <a:extLst>
              <a:ext uri="{FF2B5EF4-FFF2-40B4-BE49-F238E27FC236}">
                <a16:creationId xmlns:a16="http://schemas.microsoft.com/office/drawing/2014/main" id="{AFC2475C-E9F8-4A9E-9954-D6096FA0221D}"/>
              </a:ext>
            </a:extLst>
          </p:cNvPr>
          <p:cNvSpPr/>
          <p:nvPr userDrawn="1"/>
        </p:nvSpPr>
        <p:spPr>
          <a:xfrm>
            <a:off x="8721892" y="3777083"/>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4872"/>
                </a:lnTo>
                <a:close/>
              </a:path>
            </a:pathLst>
          </a:custGeom>
          <a:solidFill>
            <a:srgbClr val="2657A2"/>
          </a:solidFill>
          <a:ln w="11643" cap="flat">
            <a:noFill/>
            <a:prstDash val="solid"/>
            <a:miter/>
          </a:ln>
        </p:spPr>
        <p:txBody>
          <a:bodyPr rtlCol="0" anchor="ctr"/>
          <a:lstStyle/>
          <a:p>
            <a:endParaRPr lang="de-DE"/>
          </a:p>
        </p:txBody>
      </p:sp>
      <p:sp>
        <p:nvSpPr>
          <p:cNvPr id="188" name="Freihandform: Form 187">
            <a:extLst>
              <a:ext uri="{FF2B5EF4-FFF2-40B4-BE49-F238E27FC236}">
                <a16:creationId xmlns:a16="http://schemas.microsoft.com/office/drawing/2014/main" id="{7EB26989-D867-4128-9830-EAB977A39E2C}"/>
              </a:ext>
            </a:extLst>
          </p:cNvPr>
          <p:cNvSpPr/>
          <p:nvPr userDrawn="1"/>
        </p:nvSpPr>
        <p:spPr>
          <a:xfrm>
            <a:off x="8721892" y="4132484"/>
            <a:ext cx="198092" cy="214405"/>
          </a:xfrm>
          <a:custGeom>
            <a:avLst/>
            <a:gdLst>
              <a:gd name="connsiteX0" fmla="*/ 90889 w 198092"/>
              <a:gd name="connsiteY0" fmla="*/ 214406 h 214405"/>
              <a:gd name="connsiteX1" fmla="*/ 0 w 198092"/>
              <a:gd name="connsiteY1" fmla="*/ 214406 h 214405"/>
              <a:gd name="connsiteX2" fmla="*/ 106037 w 198092"/>
              <a:gd name="connsiteY2" fmla="*/ 107203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7203"/>
                </a:lnTo>
                <a:lnTo>
                  <a:pt x="0" y="0"/>
                </a:lnTo>
                <a:lnTo>
                  <a:pt x="92055" y="0"/>
                </a:lnTo>
                <a:lnTo>
                  <a:pt x="198092" y="104872"/>
                </a:lnTo>
                <a:close/>
              </a:path>
            </a:pathLst>
          </a:custGeom>
          <a:solidFill>
            <a:srgbClr val="2657A2"/>
          </a:solidFill>
          <a:ln w="11643" cap="flat">
            <a:noFill/>
            <a:prstDash val="solid"/>
            <a:miter/>
          </a:ln>
        </p:spPr>
        <p:txBody>
          <a:bodyPr rtlCol="0" anchor="ctr"/>
          <a:lstStyle/>
          <a:p>
            <a:endParaRPr lang="de-DE"/>
          </a:p>
        </p:txBody>
      </p:sp>
      <p:sp>
        <p:nvSpPr>
          <p:cNvPr id="189" name="Freihandform: Form 188">
            <a:extLst>
              <a:ext uri="{FF2B5EF4-FFF2-40B4-BE49-F238E27FC236}">
                <a16:creationId xmlns:a16="http://schemas.microsoft.com/office/drawing/2014/main" id="{D58ED5A0-1CC3-4805-B8C1-D90486D067AD}"/>
              </a:ext>
            </a:extLst>
          </p:cNvPr>
          <p:cNvSpPr/>
          <p:nvPr userDrawn="1"/>
        </p:nvSpPr>
        <p:spPr>
          <a:xfrm>
            <a:off x="8721892" y="4486719"/>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4872"/>
                </a:lnTo>
                <a:close/>
              </a:path>
            </a:pathLst>
          </a:custGeom>
          <a:solidFill>
            <a:srgbClr val="2657A2"/>
          </a:solidFill>
          <a:ln w="11643" cap="flat">
            <a:noFill/>
            <a:prstDash val="solid"/>
            <a:miter/>
          </a:ln>
        </p:spPr>
        <p:txBody>
          <a:bodyPr rtlCol="0" anchor="ctr"/>
          <a:lstStyle/>
          <a:p>
            <a:endParaRPr lang="de-DE"/>
          </a:p>
        </p:txBody>
      </p:sp>
      <p:sp>
        <p:nvSpPr>
          <p:cNvPr id="190" name="Freihandform: Form 189">
            <a:extLst>
              <a:ext uri="{FF2B5EF4-FFF2-40B4-BE49-F238E27FC236}">
                <a16:creationId xmlns:a16="http://schemas.microsoft.com/office/drawing/2014/main" id="{6DD20BB9-FA2C-4712-987B-4726856A0C35}"/>
              </a:ext>
            </a:extLst>
          </p:cNvPr>
          <p:cNvSpPr/>
          <p:nvPr userDrawn="1"/>
        </p:nvSpPr>
        <p:spPr>
          <a:xfrm>
            <a:off x="8721892" y="4842120"/>
            <a:ext cx="198092" cy="214405"/>
          </a:xfrm>
          <a:custGeom>
            <a:avLst/>
            <a:gdLst>
              <a:gd name="connsiteX0" fmla="*/ 90889 w 198092"/>
              <a:gd name="connsiteY0" fmla="*/ 214406 h 214405"/>
              <a:gd name="connsiteX1" fmla="*/ 0 w 198092"/>
              <a:gd name="connsiteY1" fmla="*/ 214406 h 214405"/>
              <a:gd name="connsiteX2" fmla="*/ 106037 w 198092"/>
              <a:gd name="connsiteY2" fmla="*/ 107203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7203"/>
                </a:lnTo>
                <a:lnTo>
                  <a:pt x="0" y="0"/>
                </a:lnTo>
                <a:lnTo>
                  <a:pt x="92055" y="0"/>
                </a:lnTo>
                <a:lnTo>
                  <a:pt x="198092" y="104872"/>
                </a:lnTo>
                <a:close/>
              </a:path>
            </a:pathLst>
          </a:custGeom>
          <a:solidFill>
            <a:srgbClr val="2657A2"/>
          </a:solidFill>
          <a:ln w="11643" cap="flat">
            <a:noFill/>
            <a:prstDash val="solid"/>
            <a:miter/>
          </a:ln>
        </p:spPr>
        <p:txBody>
          <a:bodyPr rtlCol="0" anchor="ctr"/>
          <a:lstStyle/>
          <a:p>
            <a:endParaRPr lang="de-DE"/>
          </a:p>
        </p:txBody>
      </p:sp>
      <p:sp>
        <p:nvSpPr>
          <p:cNvPr id="191" name="Freihandform: Form 190">
            <a:extLst>
              <a:ext uri="{FF2B5EF4-FFF2-40B4-BE49-F238E27FC236}">
                <a16:creationId xmlns:a16="http://schemas.microsoft.com/office/drawing/2014/main" id="{D107B7FD-0E11-4F40-959C-D75544D7F80D}"/>
              </a:ext>
            </a:extLst>
          </p:cNvPr>
          <p:cNvSpPr/>
          <p:nvPr userDrawn="1"/>
        </p:nvSpPr>
        <p:spPr>
          <a:xfrm>
            <a:off x="8721892" y="5196355"/>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6038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6038"/>
                </a:lnTo>
                <a:close/>
              </a:path>
            </a:pathLst>
          </a:custGeom>
          <a:solidFill>
            <a:srgbClr val="2657A2"/>
          </a:solidFill>
          <a:ln w="11643" cap="flat">
            <a:noFill/>
            <a:prstDash val="solid"/>
            <a:miter/>
          </a:ln>
        </p:spPr>
        <p:txBody>
          <a:bodyPr rtlCol="0" anchor="ctr"/>
          <a:lstStyle/>
          <a:p>
            <a:endParaRPr lang="de-DE"/>
          </a:p>
        </p:txBody>
      </p:sp>
      <p:sp>
        <p:nvSpPr>
          <p:cNvPr id="192" name="Freihandform: Form 191">
            <a:extLst>
              <a:ext uri="{FF2B5EF4-FFF2-40B4-BE49-F238E27FC236}">
                <a16:creationId xmlns:a16="http://schemas.microsoft.com/office/drawing/2014/main" id="{0BEC6CE0-98D3-41C9-B80C-DB6BCA5DEC2F}"/>
              </a:ext>
            </a:extLst>
          </p:cNvPr>
          <p:cNvSpPr/>
          <p:nvPr userDrawn="1"/>
        </p:nvSpPr>
        <p:spPr>
          <a:xfrm>
            <a:off x="8721892" y="5551755"/>
            <a:ext cx="198092" cy="214405"/>
          </a:xfrm>
          <a:custGeom>
            <a:avLst/>
            <a:gdLst>
              <a:gd name="connsiteX0" fmla="*/ 90889 w 198092"/>
              <a:gd name="connsiteY0" fmla="*/ 214406 h 214405"/>
              <a:gd name="connsiteX1" fmla="*/ 0 w 198092"/>
              <a:gd name="connsiteY1" fmla="*/ 214406 h 214405"/>
              <a:gd name="connsiteX2" fmla="*/ 106037 w 198092"/>
              <a:gd name="connsiteY2" fmla="*/ 107203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7203"/>
                </a:lnTo>
                <a:lnTo>
                  <a:pt x="0" y="0"/>
                </a:lnTo>
                <a:lnTo>
                  <a:pt x="92055" y="0"/>
                </a:lnTo>
                <a:lnTo>
                  <a:pt x="198092" y="104872"/>
                </a:lnTo>
                <a:close/>
              </a:path>
            </a:pathLst>
          </a:custGeom>
          <a:solidFill>
            <a:srgbClr val="2657A2"/>
          </a:solidFill>
          <a:ln w="11643" cap="flat">
            <a:noFill/>
            <a:prstDash val="solid"/>
            <a:miter/>
          </a:ln>
        </p:spPr>
        <p:txBody>
          <a:bodyPr rtlCol="0" anchor="ctr"/>
          <a:lstStyle/>
          <a:p>
            <a:endParaRPr lang="de-DE"/>
          </a:p>
        </p:txBody>
      </p:sp>
      <p:sp>
        <p:nvSpPr>
          <p:cNvPr id="193" name="Freihandform: Form 192">
            <a:extLst>
              <a:ext uri="{FF2B5EF4-FFF2-40B4-BE49-F238E27FC236}">
                <a16:creationId xmlns:a16="http://schemas.microsoft.com/office/drawing/2014/main" id="{59B3988B-6436-487C-A393-213D7F3ADAC4}"/>
              </a:ext>
            </a:extLst>
          </p:cNvPr>
          <p:cNvSpPr/>
          <p:nvPr userDrawn="1"/>
        </p:nvSpPr>
        <p:spPr>
          <a:xfrm>
            <a:off x="8721892" y="5905991"/>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6038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6038"/>
                </a:lnTo>
                <a:close/>
              </a:path>
            </a:pathLst>
          </a:custGeom>
          <a:solidFill>
            <a:srgbClr val="2657A2"/>
          </a:solidFill>
          <a:ln w="11643" cap="flat">
            <a:noFill/>
            <a:prstDash val="solid"/>
            <a:miter/>
          </a:ln>
        </p:spPr>
        <p:txBody>
          <a:bodyPr rtlCol="0" anchor="ctr"/>
          <a:lstStyle/>
          <a:p>
            <a:endParaRPr lang="de-DE"/>
          </a:p>
        </p:txBody>
      </p:sp>
      <p:sp>
        <p:nvSpPr>
          <p:cNvPr id="194" name="Freihandform: Form 193">
            <a:extLst>
              <a:ext uri="{FF2B5EF4-FFF2-40B4-BE49-F238E27FC236}">
                <a16:creationId xmlns:a16="http://schemas.microsoft.com/office/drawing/2014/main" id="{779D9B39-4482-4D38-9D58-270431FA24F6}"/>
              </a:ext>
            </a:extLst>
          </p:cNvPr>
          <p:cNvSpPr/>
          <p:nvPr userDrawn="1"/>
        </p:nvSpPr>
        <p:spPr>
          <a:xfrm>
            <a:off x="8721892" y="6261391"/>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4872"/>
                </a:lnTo>
                <a:close/>
              </a:path>
            </a:pathLst>
          </a:custGeom>
          <a:solidFill>
            <a:srgbClr val="2657A2"/>
          </a:solidFill>
          <a:ln w="11643" cap="flat">
            <a:noFill/>
            <a:prstDash val="solid"/>
            <a:miter/>
          </a:ln>
        </p:spPr>
        <p:txBody>
          <a:bodyPr rtlCol="0" anchor="ctr"/>
          <a:lstStyle/>
          <a:p>
            <a:endParaRPr lang="de-DE"/>
          </a:p>
        </p:txBody>
      </p:sp>
      <p:sp>
        <p:nvSpPr>
          <p:cNvPr id="195" name="Freihandform: Form 194">
            <a:extLst>
              <a:ext uri="{FF2B5EF4-FFF2-40B4-BE49-F238E27FC236}">
                <a16:creationId xmlns:a16="http://schemas.microsoft.com/office/drawing/2014/main" id="{C56A34C0-8FD6-430D-A1CE-2A1C13157499}"/>
              </a:ext>
            </a:extLst>
          </p:cNvPr>
          <p:cNvSpPr/>
          <p:nvPr userDrawn="1"/>
        </p:nvSpPr>
        <p:spPr>
          <a:xfrm>
            <a:off x="8721892" y="6615627"/>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6037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6037"/>
                </a:lnTo>
                <a:close/>
              </a:path>
            </a:pathLst>
          </a:custGeom>
          <a:solidFill>
            <a:srgbClr val="2657A2"/>
          </a:solidFill>
          <a:ln w="11643" cap="flat">
            <a:noFill/>
            <a:prstDash val="solid"/>
            <a:miter/>
          </a:ln>
        </p:spPr>
        <p:txBody>
          <a:bodyPr rtlCol="0" anchor="ctr"/>
          <a:lstStyle/>
          <a:p>
            <a:endParaRPr lang="de-DE"/>
          </a:p>
        </p:txBody>
      </p:sp>
      <p:sp>
        <p:nvSpPr>
          <p:cNvPr id="196" name="Freihandform: Form 195">
            <a:extLst>
              <a:ext uri="{FF2B5EF4-FFF2-40B4-BE49-F238E27FC236}">
                <a16:creationId xmlns:a16="http://schemas.microsoft.com/office/drawing/2014/main" id="{B971C55B-0E05-4ADF-8455-66B869B0688E}"/>
              </a:ext>
            </a:extLst>
          </p:cNvPr>
          <p:cNvSpPr/>
          <p:nvPr userDrawn="1"/>
        </p:nvSpPr>
        <p:spPr>
          <a:xfrm>
            <a:off x="9069136" y="1994253"/>
            <a:ext cx="214405" cy="231884"/>
          </a:xfrm>
          <a:custGeom>
            <a:avLst/>
            <a:gdLst>
              <a:gd name="connsiteX0" fmla="*/ 97881 w 214405"/>
              <a:gd name="connsiteY0" fmla="*/ 231884 h 231884"/>
              <a:gd name="connsiteX1" fmla="*/ 0 w 214405"/>
              <a:gd name="connsiteY1" fmla="*/ 231884 h 231884"/>
              <a:gd name="connsiteX2" fmla="*/ 114194 w 214405"/>
              <a:gd name="connsiteY2" fmla="*/ 116525 h 231884"/>
              <a:gd name="connsiteX3" fmla="*/ 0 w 214405"/>
              <a:gd name="connsiteY3" fmla="*/ 0 h 231884"/>
              <a:gd name="connsiteX4" fmla="*/ 100211 w 214405"/>
              <a:gd name="connsiteY4" fmla="*/ 0 h 231884"/>
              <a:gd name="connsiteX5" fmla="*/ 214406 w 214405"/>
              <a:gd name="connsiteY5" fmla="*/ 114194 h 23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1884">
                <a:moveTo>
                  <a:pt x="97881" y="231884"/>
                </a:moveTo>
                <a:lnTo>
                  <a:pt x="0" y="231884"/>
                </a:lnTo>
                <a:lnTo>
                  <a:pt x="114194" y="116525"/>
                </a:lnTo>
                <a:lnTo>
                  <a:pt x="0" y="0"/>
                </a:lnTo>
                <a:lnTo>
                  <a:pt x="100211" y="0"/>
                </a:lnTo>
                <a:lnTo>
                  <a:pt x="214406" y="114194"/>
                </a:lnTo>
                <a:close/>
              </a:path>
            </a:pathLst>
          </a:custGeom>
          <a:solidFill>
            <a:srgbClr val="2657A2"/>
          </a:solidFill>
          <a:ln w="11643" cap="flat">
            <a:noFill/>
            <a:prstDash val="solid"/>
            <a:miter/>
          </a:ln>
        </p:spPr>
        <p:txBody>
          <a:bodyPr rtlCol="0" anchor="ctr"/>
          <a:lstStyle/>
          <a:p>
            <a:endParaRPr lang="de-DE"/>
          </a:p>
        </p:txBody>
      </p:sp>
      <p:sp>
        <p:nvSpPr>
          <p:cNvPr id="197" name="Freihandform: Form 196">
            <a:extLst>
              <a:ext uri="{FF2B5EF4-FFF2-40B4-BE49-F238E27FC236}">
                <a16:creationId xmlns:a16="http://schemas.microsoft.com/office/drawing/2014/main" id="{A0D374C9-6BA9-4F83-BFC5-970158F3E867}"/>
              </a:ext>
            </a:extLst>
          </p:cNvPr>
          <p:cNvSpPr/>
          <p:nvPr userDrawn="1"/>
        </p:nvSpPr>
        <p:spPr>
          <a:xfrm>
            <a:off x="9069136" y="2348489"/>
            <a:ext cx="214405" cy="233049"/>
          </a:xfrm>
          <a:custGeom>
            <a:avLst/>
            <a:gdLst>
              <a:gd name="connsiteX0" fmla="*/ 97881 w 214405"/>
              <a:gd name="connsiteY0" fmla="*/ 233050 h 233049"/>
              <a:gd name="connsiteX1" fmla="*/ 0 w 214405"/>
              <a:gd name="connsiteY1" fmla="*/ 233050 h 233049"/>
              <a:gd name="connsiteX2" fmla="*/ 114194 w 214405"/>
              <a:gd name="connsiteY2" fmla="*/ 117690 h 233049"/>
              <a:gd name="connsiteX3" fmla="*/ 0 w 214405"/>
              <a:gd name="connsiteY3" fmla="*/ 0 h 233049"/>
              <a:gd name="connsiteX4" fmla="*/ 100211 w 214405"/>
              <a:gd name="connsiteY4" fmla="*/ 0 h 233049"/>
              <a:gd name="connsiteX5" fmla="*/ 214406 w 214405"/>
              <a:gd name="connsiteY5" fmla="*/ 114194 h 23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3047">
                <a:moveTo>
                  <a:pt x="97881" y="233050"/>
                </a:moveTo>
                <a:lnTo>
                  <a:pt x="0" y="233050"/>
                </a:lnTo>
                <a:lnTo>
                  <a:pt x="114194" y="117690"/>
                </a:lnTo>
                <a:lnTo>
                  <a:pt x="0" y="0"/>
                </a:lnTo>
                <a:lnTo>
                  <a:pt x="100211" y="0"/>
                </a:lnTo>
                <a:lnTo>
                  <a:pt x="214406" y="114194"/>
                </a:lnTo>
                <a:close/>
              </a:path>
            </a:pathLst>
          </a:custGeom>
          <a:solidFill>
            <a:srgbClr val="2657A2"/>
          </a:solidFill>
          <a:ln w="11643" cap="flat">
            <a:noFill/>
            <a:prstDash val="solid"/>
            <a:miter/>
          </a:ln>
        </p:spPr>
        <p:txBody>
          <a:bodyPr rtlCol="0" anchor="ctr"/>
          <a:lstStyle/>
          <a:p>
            <a:endParaRPr lang="de-DE"/>
          </a:p>
        </p:txBody>
      </p:sp>
      <p:sp>
        <p:nvSpPr>
          <p:cNvPr id="198" name="Freihandform: Form 197">
            <a:extLst>
              <a:ext uri="{FF2B5EF4-FFF2-40B4-BE49-F238E27FC236}">
                <a16:creationId xmlns:a16="http://schemas.microsoft.com/office/drawing/2014/main" id="{DA9E1C91-F218-45C3-AB87-F1537D4AB36C}"/>
              </a:ext>
            </a:extLst>
          </p:cNvPr>
          <p:cNvSpPr/>
          <p:nvPr userDrawn="1"/>
        </p:nvSpPr>
        <p:spPr>
          <a:xfrm>
            <a:off x="9069136" y="2703889"/>
            <a:ext cx="214405" cy="231884"/>
          </a:xfrm>
          <a:custGeom>
            <a:avLst/>
            <a:gdLst>
              <a:gd name="connsiteX0" fmla="*/ 97881 w 214405"/>
              <a:gd name="connsiteY0" fmla="*/ 231884 h 231884"/>
              <a:gd name="connsiteX1" fmla="*/ 0 w 214405"/>
              <a:gd name="connsiteY1" fmla="*/ 231884 h 231884"/>
              <a:gd name="connsiteX2" fmla="*/ 114194 w 214405"/>
              <a:gd name="connsiteY2" fmla="*/ 116525 h 231884"/>
              <a:gd name="connsiteX3" fmla="*/ 0 w 214405"/>
              <a:gd name="connsiteY3" fmla="*/ 0 h 231884"/>
              <a:gd name="connsiteX4" fmla="*/ 100211 w 214405"/>
              <a:gd name="connsiteY4" fmla="*/ 0 h 231884"/>
              <a:gd name="connsiteX5" fmla="*/ 214406 w 214405"/>
              <a:gd name="connsiteY5" fmla="*/ 114194 h 23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1884">
                <a:moveTo>
                  <a:pt x="97881" y="231884"/>
                </a:moveTo>
                <a:lnTo>
                  <a:pt x="0" y="231884"/>
                </a:lnTo>
                <a:lnTo>
                  <a:pt x="114194" y="116525"/>
                </a:lnTo>
                <a:lnTo>
                  <a:pt x="0" y="0"/>
                </a:lnTo>
                <a:lnTo>
                  <a:pt x="100211" y="0"/>
                </a:lnTo>
                <a:lnTo>
                  <a:pt x="214406" y="114194"/>
                </a:lnTo>
                <a:close/>
              </a:path>
            </a:pathLst>
          </a:custGeom>
          <a:solidFill>
            <a:srgbClr val="2657A2"/>
          </a:solidFill>
          <a:ln w="11643" cap="flat">
            <a:noFill/>
            <a:prstDash val="solid"/>
            <a:miter/>
          </a:ln>
        </p:spPr>
        <p:txBody>
          <a:bodyPr rtlCol="0" anchor="ctr"/>
          <a:lstStyle/>
          <a:p>
            <a:endParaRPr lang="de-DE"/>
          </a:p>
        </p:txBody>
      </p:sp>
      <p:sp>
        <p:nvSpPr>
          <p:cNvPr id="199" name="Freihandform: Form 198">
            <a:extLst>
              <a:ext uri="{FF2B5EF4-FFF2-40B4-BE49-F238E27FC236}">
                <a16:creationId xmlns:a16="http://schemas.microsoft.com/office/drawing/2014/main" id="{2492B28E-09F5-4AD2-BCDD-FCB36DE2600D}"/>
              </a:ext>
            </a:extLst>
          </p:cNvPr>
          <p:cNvSpPr/>
          <p:nvPr userDrawn="1"/>
        </p:nvSpPr>
        <p:spPr>
          <a:xfrm>
            <a:off x="9069136" y="3058125"/>
            <a:ext cx="214405" cy="233049"/>
          </a:xfrm>
          <a:custGeom>
            <a:avLst/>
            <a:gdLst>
              <a:gd name="connsiteX0" fmla="*/ 97881 w 214405"/>
              <a:gd name="connsiteY0" fmla="*/ 233050 h 233049"/>
              <a:gd name="connsiteX1" fmla="*/ 0 w 214405"/>
              <a:gd name="connsiteY1" fmla="*/ 233050 h 233049"/>
              <a:gd name="connsiteX2" fmla="*/ 114194 w 214405"/>
              <a:gd name="connsiteY2" fmla="*/ 117690 h 233049"/>
              <a:gd name="connsiteX3" fmla="*/ 0 w 214405"/>
              <a:gd name="connsiteY3" fmla="*/ 0 h 233049"/>
              <a:gd name="connsiteX4" fmla="*/ 100211 w 214405"/>
              <a:gd name="connsiteY4" fmla="*/ 0 h 233049"/>
              <a:gd name="connsiteX5" fmla="*/ 214406 w 214405"/>
              <a:gd name="connsiteY5" fmla="*/ 114194 h 23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3047">
                <a:moveTo>
                  <a:pt x="97881" y="233050"/>
                </a:moveTo>
                <a:lnTo>
                  <a:pt x="0" y="233050"/>
                </a:lnTo>
                <a:lnTo>
                  <a:pt x="114194" y="117690"/>
                </a:lnTo>
                <a:lnTo>
                  <a:pt x="0" y="0"/>
                </a:lnTo>
                <a:lnTo>
                  <a:pt x="100211" y="0"/>
                </a:lnTo>
                <a:lnTo>
                  <a:pt x="214406" y="114194"/>
                </a:lnTo>
                <a:close/>
              </a:path>
            </a:pathLst>
          </a:custGeom>
          <a:solidFill>
            <a:srgbClr val="2657A2"/>
          </a:solidFill>
          <a:ln w="11643" cap="flat">
            <a:noFill/>
            <a:prstDash val="solid"/>
            <a:miter/>
          </a:ln>
        </p:spPr>
        <p:txBody>
          <a:bodyPr rtlCol="0" anchor="ctr"/>
          <a:lstStyle/>
          <a:p>
            <a:endParaRPr lang="de-DE"/>
          </a:p>
        </p:txBody>
      </p:sp>
      <p:sp>
        <p:nvSpPr>
          <p:cNvPr id="200" name="Freihandform: Form 199">
            <a:extLst>
              <a:ext uri="{FF2B5EF4-FFF2-40B4-BE49-F238E27FC236}">
                <a16:creationId xmlns:a16="http://schemas.microsoft.com/office/drawing/2014/main" id="{160082CD-2EE6-4668-93EF-416702415DBF}"/>
              </a:ext>
            </a:extLst>
          </p:cNvPr>
          <p:cNvSpPr/>
          <p:nvPr userDrawn="1"/>
        </p:nvSpPr>
        <p:spPr>
          <a:xfrm>
            <a:off x="9069136" y="3413526"/>
            <a:ext cx="214405" cy="231884"/>
          </a:xfrm>
          <a:custGeom>
            <a:avLst/>
            <a:gdLst>
              <a:gd name="connsiteX0" fmla="*/ 97881 w 214405"/>
              <a:gd name="connsiteY0" fmla="*/ 231884 h 231884"/>
              <a:gd name="connsiteX1" fmla="*/ 0 w 214405"/>
              <a:gd name="connsiteY1" fmla="*/ 231884 h 231884"/>
              <a:gd name="connsiteX2" fmla="*/ 114194 w 214405"/>
              <a:gd name="connsiteY2" fmla="*/ 116525 h 231884"/>
              <a:gd name="connsiteX3" fmla="*/ 0 w 214405"/>
              <a:gd name="connsiteY3" fmla="*/ 0 h 231884"/>
              <a:gd name="connsiteX4" fmla="*/ 100211 w 214405"/>
              <a:gd name="connsiteY4" fmla="*/ 0 h 231884"/>
              <a:gd name="connsiteX5" fmla="*/ 214406 w 214405"/>
              <a:gd name="connsiteY5" fmla="*/ 114194 h 23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1884">
                <a:moveTo>
                  <a:pt x="97881" y="231884"/>
                </a:moveTo>
                <a:lnTo>
                  <a:pt x="0" y="231884"/>
                </a:lnTo>
                <a:lnTo>
                  <a:pt x="114194" y="116525"/>
                </a:lnTo>
                <a:lnTo>
                  <a:pt x="0" y="0"/>
                </a:lnTo>
                <a:lnTo>
                  <a:pt x="100211" y="0"/>
                </a:lnTo>
                <a:lnTo>
                  <a:pt x="214406" y="114194"/>
                </a:lnTo>
                <a:close/>
              </a:path>
            </a:pathLst>
          </a:custGeom>
          <a:solidFill>
            <a:srgbClr val="2657A2"/>
          </a:solidFill>
          <a:ln w="11643" cap="flat">
            <a:noFill/>
            <a:prstDash val="solid"/>
            <a:miter/>
          </a:ln>
        </p:spPr>
        <p:txBody>
          <a:bodyPr rtlCol="0" anchor="ctr"/>
          <a:lstStyle/>
          <a:p>
            <a:endParaRPr lang="de-DE"/>
          </a:p>
        </p:txBody>
      </p:sp>
      <p:sp>
        <p:nvSpPr>
          <p:cNvPr id="201" name="Freihandform: Form 200">
            <a:extLst>
              <a:ext uri="{FF2B5EF4-FFF2-40B4-BE49-F238E27FC236}">
                <a16:creationId xmlns:a16="http://schemas.microsoft.com/office/drawing/2014/main" id="{EC398B7B-BB5C-4602-9E4E-A08872036BF0}"/>
              </a:ext>
            </a:extLst>
          </p:cNvPr>
          <p:cNvSpPr/>
          <p:nvPr userDrawn="1"/>
        </p:nvSpPr>
        <p:spPr>
          <a:xfrm>
            <a:off x="9069136" y="3767761"/>
            <a:ext cx="214405" cy="233049"/>
          </a:xfrm>
          <a:custGeom>
            <a:avLst/>
            <a:gdLst>
              <a:gd name="connsiteX0" fmla="*/ 97881 w 214405"/>
              <a:gd name="connsiteY0" fmla="*/ 233050 h 233049"/>
              <a:gd name="connsiteX1" fmla="*/ 0 w 214405"/>
              <a:gd name="connsiteY1" fmla="*/ 233050 h 233049"/>
              <a:gd name="connsiteX2" fmla="*/ 114194 w 214405"/>
              <a:gd name="connsiteY2" fmla="*/ 117690 h 233049"/>
              <a:gd name="connsiteX3" fmla="*/ 0 w 214405"/>
              <a:gd name="connsiteY3" fmla="*/ 0 h 233049"/>
              <a:gd name="connsiteX4" fmla="*/ 100211 w 214405"/>
              <a:gd name="connsiteY4" fmla="*/ 0 h 233049"/>
              <a:gd name="connsiteX5" fmla="*/ 214406 w 214405"/>
              <a:gd name="connsiteY5" fmla="*/ 114194 h 23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3047">
                <a:moveTo>
                  <a:pt x="97881" y="233050"/>
                </a:moveTo>
                <a:lnTo>
                  <a:pt x="0" y="233050"/>
                </a:lnTo>
                <a:lnTo>
                  <a:pt x="114194" y="117690"/>
                </a:lnTo>
                <a:lnTo>
                  <a:pt x="0" y="0"/>
                </a:lnTo>
                <a:lnTo>
                  <a:pt x="100211" y="0"/>
                </a:lnTo>
                <a:lnTo>
                  <a:pt x="214406" y="114194"/>
                </a:lnTo>
                <a:close/>
              </a:path>
            </a:pathLst>
          </a:custGeom>
          <a:solidFill>
            <a:srgbClr val="2657A2"/>
          </a:solidFill>
          <a:ln w="11643" cap="flat">
            <a:noFill/>
            <a:prstDash val="solid"/>
            <a:miter/>
          </a:ln>
        </p:spPr>
        <p:txBody>
          <a:bodyPr rtlCol="0" anchor="ctr"/>
          <a:lstStyle/>
          <a:p>
            <a:endParaRPr lang="de-DE"/>
          </a:p>
        </p:txBody>
      </p:sp>
      <p:sp>
        <p:nvSpPr>
          <p:cNvPr id="202" name="Freihandform: Form 201">
            <a:extLst>
              <a:ext uri="{FF2B5EF4-FFF2-40B4-BE49-F238E27FC236}">
                <a16:creationId xmlns:a16="http://schemas.microsoft.com/office/drawing/2014/main" id="{EC13F2B5-4D6F-4FB1-A365-C60BBEF6C5A2}"/>
              </a:ext>
            </a:extLst>
          </p:cNvPr>
          <p:cNvSpPr/>
          <p:nvPr userDrawn="1"/>
        </p:nvSpPr>
        <p:spPr>
          <a:xfrm>
            <a:off x="9069136" y="4123162"/>
            <a:ext cx="214405" cy="231884"/>
          </a:xfrm>
          <a:custGeom>
            <a:avLst/>
            <a:gdLst>
              <a:gd name="connsiteX0" fmla="*/ 97881 w 214405"/>
              <a:gd name="connsiteY0" fmla="*/ 231884 h 231884"/>
              <a:gd name="connsiteX1" fmla="*/ 0 w 214405"/>
              <a:gd name="connsiteY1" fmla="*/ 231884 h 231884"/>
              <a:gd name="connsiteX2" fmla="*/ 114194 w 214405"/>
              <a:gd name="connsiteY2" fmla="*/ 116525 h 231884"/>
              <a:gd name="connsiteX3" fmla="*/ 0 w 214405"/>
              <a:gd name="connsiteY3" fmla="*/ 0 h 231884"/>
              <a:gd name="connsiteX4" fmla="*/ 100211 w 214405"/>
              <a:gd name="connsiteY4" fmla="*/ 0 h 231884"/>
              <a:gd name="connsiteX5" fmla="*/ 214406 w 214405"/>
              <a:gd name="connsiteY5" fmla="*/ 114194 h 23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1884">
                <a:moveTo>
                  <a:pt x="97881" y="231884"/>
                </a:moveTo>
                <a:lnTo>
                  <a:pt x="0" y="231884"/>
                </a:lnTo>
                <a:lnTo>
                  <a:pt x="114194" y="116525"/>
                </a:lnTo>
                <a:lnTo>
                  <a:pt x="0" y="0"/>
                </a:lnTo>
                <a:lnTo>
                  <a:pt x="100211" y="0"/>
                </a:lnTo>
                <a:lnTo>
                  <a:pt x="214406" y="114194"/>
                </a:lnTo>
                <a:close/>
              </a:path>
            </a:pathLst>
          </a:custGeom>
          <a:solidFill>
            <a:srgbClr val="2657A2"/>
          </a:solidFill>
          <a:ln w="11643" cap="flat">
            <a:noFill/>
            <a:prstDash val="solid"/>
            <a:miter/>
          </a:ln>
        </p:spPr>
        <p:txBody>
          <a:bodyPr rtlCol="0" anchor="ctr"/>
          <a:lstStyle/>
          <a:p>
            <a:endParaRPr lang="de-DE"/>
          </a:p>
        </p:txBody>
      </p:sp>
      <p:sp>
        <p:nvSpPr>
          <p:cNvPr id="203" name="Freihandform: Form 202">
            <a:extLst>
              <a:ext uri="{FF2B5EF4-FFF2-40B4-BE49-F238E27FC236}">
                <a16:creationId xmlns:a16="http://schemas.microsoft.com/office/drawing/2014/main" id="{C79817D0-0C3B-48B8-80D4-0F007EDBC499}"/>
              </a:ext>
            </a:extLst>
          </p:cNvPr>
          <p:cNvSpPr/>
          <p:nvPr userDrawn="1"/>
        </p:nvSpPr>
        <p:spPr>
          <a:xfrm>
            <a:off x="9069136" y="4477397"/>
            <a:ext cx="214405" cy="233049"/>
          </a:xfrm>
          <a:custGeom>
            <a:avLst/>
            <a:gdLst>
              <a:gd name="connsiteX0" fmla="*/ 97881 w 214405"/>
              <a:gd name="connsiteY0" fmla="*/ 233050 h 233049"/>
              <a:gd name="connsiteX1" fmla="*/ 0 w 214405"/>
              <a:gd name="connsiteY1" fmla="*/ 233050 h 233049"/>
              <a:gd name="connsiteX2" fmla="*/ 114194 w 214405"/>
              <a:gd name="connsiteY2" fmla="*/ 117690 h 233049"/>
              <a:gd name="connsiteX3" fmla="*/ 0 w 214405"/>
              <a:gd name="connsiteY3" fmla="*/ 0 h 233049"/>
              <a:gd name="connsiteX4" fmla="*/ 100211 w 214405"/>
              <a:gd name="connsiteY4" fmla="*/ 0 h 233049"/>
              <a:gd name="connsiteX5" fmla="*/ 214406 w 214405"/>
              <a:gd name="connsiteY5" fmla="*/ 114194 h 23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3047">
                <a:moveTo>
                  <a:pt x="97881" y="233050"/>
                </a:moveTo>
                <a:lnTo>
                  <a:pt x="0" y="233050"/>
                </a:lnTo>
                <a:lnTo>
                  <a:pt x="114194" y="117690"/>
                </a:lnTo>
                <a:lnTo>
                  <a:pt x="0" y="0"/>
                </a:lnTo>
                <a:lnTo>
                  <a:pt x="100211" y="0"/>
                </a:lnTo>
                <a:lnTo>
                  <a:pt x="214406" y="114194"/>
                </a:lnTo>
                <a:close/>
              </a:path>
            </a:pathLst>
          </a:custGeom>
          <a:solidFill>
            <a:srgbClr val="2657A2"/>
          </a:solidFill>
          <a:ln w="11643" cap="flat">
            <a:noFill/>
            <a:prstDash val="solid"/>
            <a:miter/>
          </a:ln>
        </p:spPr>
        <p:txBody>
          <a:bodyPr rtlCol="0" anchor="ctr"/>
          <a:lstStyle/>
          <a:p>
            <a:endParaRPr lang="de-DE"/>
          </a:p>
        </p:txBody>
      </p:sp>
      <p:sp>
        <p:nvSpPr>
          <p:cNvPr id="204" name="Freihandform: Form 203">
            <a:extLst>
              <a:ext uri="{FF2B5EF4-FFF2-40B4-BE49-F238E27FC236}">
                <a16:creationId xmlns:a16="http://schemas.microsoft.com/office/drawing/2014/main" id="{AE9CEB4E-E922-401F-B67A-B68DDEAC30AD}"/>
              </a:ext>
            </a:extLst>
          </p:cNvPr>
          <p:cNvSpPr/>
          <p:nvPr userDrawn="1"/>
        </p:nvSpPr>
        <p:spPr>
          <a:xfrm>
            <a:off x="9069136" y="4832797"/>
            <a:ext cx="214405" cy="231884"/>
          </a:xfrm>
          <a:custGeom>
            <a:avLst/>
            <a:gdLst>
              <a:gd name="connsiteX0" fmla="*/ 97881 w 214405"/>
              <a:gd name="connsiteY0" fmla="*/ 231884 h 231884"/>
              <a:gd name="connsiteX1" fmla="*/ 0 w 214405"/>
              <a:gd name="connsiteY1" fmla="*/ 231884 h 231884"/>
              <a:gd name="connsiteX2" fmla="*/ 114194 w 214405"/>
              <a:gd name="connsiteY2" fmla="*/ 116525 h 231884"/>
              <a:gd name="connsiteX3" fmla="*/ 0 w 214405"/>
              <a:gd name="connsiteY3" fmla="*/ 0 h 231884"/>
              <a:gd name="connsiteX4" fmla="*/ 100211 w 214405"/>
              <a:gd name="connsiteY4" fmla="*/ 0 h 231884"/>
              <a:gd name="connsiteX5" fmla="*/ 214406 w 214405"/>
              <a:gd name="connsiteY5" fmla="*/ 114194 h 23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1884">
                <a:moveTo>
                  <a:pt x="97881" y="231884"/>
                </a:moveTo>
                <a:lnTo>
                  <a:pt x="0" y="231884"/>
                </a:lnTo>
                <a:lnTo>
                  <a:pt x="114194" y="116525"/>
                </a:lnTo>
                <a:lnTo>
                  <a:pt x="0" y="0"/>
                </a:lnTo>
                <a:lnTo>
                  <a:pt x="100211" y="0"/>
                </a:lnTo>
                <a:lnTo>
                  <a:pt x="214406" y="114194"/>
                </a:lnTo>
                <a:close/>
              </a:path>
            </a:pathLst>
          </a:custGeom>
          <a:solidFill>
            <a:srgbClr val="2657A2"/>
          </a:solidFill>
          <a:ln w="11643" cap="flat">
            <a:noFill/>
            <a:prstDash val="solid"/>
            <a:miter/>
          </a:ln>
        </p:spPr>
        <p:txBody>
          <a:bodyPr rtlCol="0" anchor="ctr"/>
          <a:lstStyle/>
          <a:p>
            <a:endParaRPr lang="de-DE"/>
          </a:p>
        </p:txBody>
      </p:sp>
      <p:sp>
        <p:nvSpPr>
          <p:cNvPr id="205" name="Freihandform: Form 204">
            <a:extLst>
              <a:ext uri="{FF2B5EF4-FFF2-40B4-BE49-F238E27FC236}">
                <a16:creationId xmlns:a16="http://schemas.microsoft.com/office/drawing/2014/main" id="{A6F8843E-2679-41E7-96DF-C290E8EE23AA}"/>
              </a:ext>
            </a:extLst>
          </p:cNvPr>
          <p:cNvSpPr/>
          <p:nvPr userDrawn="1"/>
        </p:nvSpPr>
        <p:spPr>
          <a:xfrm>
            <a:off x="9069136" y="5187033"/>
            <a:ext cx="214405" cy="233049"/>
          </a:xfrm>
          <a:custGeom>
            <a:avLst/>
            <a:gdLst>
              <a:gd name="connsiteX0" fmla="*/ 97881 w 214405"/>
              <a:gd name="connsiteY0" fmla="*/ 233050 h 233049"/>
              <a:gd name="connsiteX1" fmla="*/ 0 w 214405"/>
              <a:gd name="connsiteY1" fmla="*/ 233050 h 233049"/>
              <a:gd name="connsiteX2" fmla="*/ 114194 w 214405"/>
              <a:gd name="connsiteY2" fmla="*/ 117690 h 233049"/>
              <a:gd name="connsiteX3" fmla="*/ 0 w 214405"/>
              <a:gd name="connsiteY3" fmla="*/ 0 h 233049"/>
              <a:gd name="connsiteX4" fmla="*/ 100211 w 214405"/>
              <a:gd name="connsiteY4" fmla="*/ 0 h 233049"/>
              <a:gd name="connsiteX5" fmla="*/ 214406 w 214405"/>
              <a:gd name="connsiteY5" fmla="*/ 114194 h 23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3047">
                <a:moveTo>
                  <a:pt x="97881" y="233050"/>
                </a:moveTo>
                <a:lnTo>
                  <a:pt x="0" y="233050"/>
                </a:lnTo>
                <a:lnTo>
                  <a:pt x="114194" y="117690"/>
                </a:lnTo>
                <a:lnTo>
                  <a:pt x="0" y="0"/>
                </a:lnTo>
                <a:lnTo>
                  <a:pt x="100211" y="0"/>
                </a:lnTo>
                <a:lnTo>
                  <a:pt x="214406" y="114194"/>
                </a:lnTo>
                <a:close/>
              </a:path>
            </a:pathLst>
          </a:custGeom>
          <a:solidFill>
            <a:srgbClr val="2657A2"/>
          </a:solidFill>
          <a:ln w="11643" cap="flat">
            <a:noFill/>
            <a:prstDash val="solid"/>
            <a:miter/>
          </a:ln>
        </p:spPr>
        <p:txBody>
          <a:bodyPr rtlCol="0" anchor="ctr"/>
          <a:lstStyle/>
          <a:p>
            <a:endParaRPr lang="de-DE"/>
          </a:p>
        </p:txBody>
      </p:sp>
      <p:sp>
        <p:nvSpPr>
          <p:cNvPr id="206" name="Freihandform: Form 205">
            <a:extLst>
              <a:ext uri="{FF2B5EF4-FFF2-40B4-BE49-F238E27FC236}">
                <a16:creationId xmlns:a16="http://schemas.microsoft.com/office/drawing/2014/main" id="{215B1B05-3D47-434A-930D-538A456E3DC8}"/>
              </a:ext>
            </a:extLst>
          </p:cNvPr>
          <p:cNvSpPr/>
          <p:nvPr userDrawn="1"/>
        </p:nvSpPr>
        <p:spPr>
          <a:xfrm>
            <a:off x="9069136" y="5542434"/>
            <a:ext cx="214405" cy="231884"/>
          </a:xfrm>
          <a:custGeom>
            <a:avLst/>
            <a:gdLst>
              <a:gd name="connsiteX0" fmla="*/ 97881 w 214405"/>
              <a:gd name="connsiteY0" fmla="*/ 231884 h 231884"/>
              <a:gd name="connsiteX1" fmla="*/ 0 w 214405"/>
              <a:gd name="connsiteY1" fmla="*/ 231884 h 231884"/>
              <a:gd name="connsiteX2" fmla="*/ 114194 w 214405"/>
              <a:gd name="connsiteY2" fmla="*/ 117690 h 231884"/>
              <a:gd name="connsiteX3" fmla="*/ 0 w 214405"/>
              <a:gd name="connsiteY3" fmla="*/ 0 h 231884"/>
              <a:gd name="connsiteX4" fmla="*/ 100211 w 214405"/>
              <a:gd name="connsiteY4" fmla="*/ 0 h 231884"/>
              <a:gd name="connsiteX5" fmla="*/ 214406 w 214405"/>
              <a:gd name="connsiteY5" fmla="*/ 114194 h 23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1884">
                <a:moveTo>
                  <a:pt x="97881" y="231884"/>
                </a:moveTo>
                <a:lnTo>
                  <a:pt x="0" y="231884"/>
                </a:lnTo>
                <a:lnTo>
                  <a:pt x="114194" y="117690"/>
                </a:lnTo>
                <a:lnTo>
                  <a:pt x="0" y="0"/>
                </a:lnTo>
                <a:lnTo>
                  <a:pt x="100211" y="0"/>
                </a:lnTo>
                <a:lnTo>
                  <a:pt x="214406" y="114194"/>
                </a:lnTo>
                <a:close/>
              </a:path>
            </a:pathLst>
          </a:custGeom>
          <a:solidFill>
            <a:srgbClr val="2657A2"/>
          </a:solidFill>
          <a:ln w="11643" cap="flat">
            <a:noFill/>
            <a:prstDash val="solid"/>
            <a:miter/>
          </a:ln>
        </p:spPr>
        <p:txBody>
          <a:bodyPr rtlCol="0" anchor="ctr"/>
          <a:lstStyle/>
          <a:p>
            <a:endParaRPr lang="de-DE"/>
          </a:p>
        </p:txBody>
      </p:sp>
      <p:sp>
        <p:nvSpPr>
          <p:cNvPr id="207" name="Freihandform: Form 206">
            <a:extLst>
              <a:ext uri="{FF2B5EF4-FFF2-40B4-BE49-F238E27FC236}">
                <a16:creationId xmlns:a16="http://schemas.microsoft.com/office/drawing/2014/main" id="{071BF930-9E4A-4609-9452-74F5D75A4D89}"/>
              </a:ext>
            </a:extLst>
          </p:cNvPr>
          <p:cNvSpPr/>
          <p:nvPr userDrawn="1"/>
        </p:nvSpPr>
        <p:spPr>
          <a:xfrm>
            <a:off x="9069136" y="5896669"/>
            <a:ext cx="214405" cy="233049"/>
          </a:xfrm>
          <a:custGeom>
            <a:avLst/>
            <a:gdLst>
              <a:gd name="connsiteX0" fmla="*/ 97881 w 214405"/>
              <a:gd name="connsiteY0" fmla="*/ 233050 h 233049"/>
              <a:gd name="connsiteX1" fmla="*/ 0 w 214405"/>
              <a:gd name="connsiteY1" fmla="*/ 233050 h 233049"/>
              <a:gd name="connsiteX2" fmla="*/ 114194 w 214405"/>
              <a:gd name="connsiteY2" fmla="*/ 117690 h 233049"/>
              <a:gd name="connsiteX3" fmla="*/ 0 w 214405"/>
              <a:gd name="connsiteY3" fmla="*/ 0 h 233049"/>
              <a:gd name="connsiteX4" fmla="*/ 100211 w 214405"/>
              <a:gd name="connsiteY4" fmla="*/ 0 h 233049"/>
              <a:gd name="connsiteX5" fmla="*/ 214406 w 214405"/>
              <a:gd name="connsiteY5" fmla="*/ 114194 h 23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3047">
                <a:moveTo>
                  <a:pt x="97881" y="233050"/>
                </a:moveTo>
                <a:lnTo>
                  <a:pt x="0" y="233050"/>
                </a:lnTo>
                <a:lnTo>
                  <a:pt x="114194" y="117690"/>
                </a:lnTo>
                <a:lnTo>
                  <a:pt x="0" y="0"/>
                </a:lnTo>
                <a:lnTo>
                  <a:pt x="100211" y="0"/>
                </a:lnTo>
                <a:lnTo>
                  <a:pt x="214406" y="114194"/>
                </a:lnTo>
                <a:close/>
              </a:path>
            </a:pathLst>
          </a:custGeom>
          <a:solidFill>
            <a:srgbClr val="2657A2"/>
          </a:solidFill>
          <a:ln w="11643" cap="flat">
            <a:noFill/>
            <a:prstDash val="solid"/>
            <a:miter/>
          </a:ln>
        </p:spPr>
        <p:txBody>
          <a:bodyPr rtlCol="0" anchor="ctr"/>
          <a:lstStyle/>
          <a:p>
            <a:endParaRPr lang="de-DE"/>
          </a:p>
        </p:txBody>
      </p:sp>
      <p:sp>
        <p:nvSpPr>
          <p:cNvPr id="208" name="Freihandform: Form 207">
            <a:extLst>
              <a:ext uri="{FF2B5EF4-FFF2-40B4-BE49-F238E27FC236}">
                <a16:creationId xmlns:a16="http://schemas.microsoft.com/office/drawing/2014/main" id="{084CB511-06DF-462B-986F-93AADA41F0F4}"/>
              </a:ext>
            </a:extLst>
          </p:cNvPr>
          <p:cNvSpPr/>
          <p:nvPr userDrawn="1"/>
        </p:nvSpPr>
        <p:spPr>
          <a:xfrm>
            <a:off x="9069136" y="6252070"/>
            <a:ext cx="214405" cy="233049"/>
          </a:xfrm>
          <a:custGeom>
            <a:avLst/>
            <a:gdLst>
              <a:gd name="connsiteX0" fmla="*/ 97881 w 214405"/>
              <a:gd name="connsiteY0" fmla="*/ 233050 h 233049"/>
              <a:gd name="connsiteX1" fmla="*/ 0 w 214405"/>
              <a:gd name="connsiteY1" fmla="*/ 233050 h 233049"/>
              <a:gd name="connsiteX2" fmla="*/ 114194 w 214405"/>
              <a:gd name="connsiteY2" fmla="*/ 117690 h 233049"/>
              <a:gd name="connsiteX3" fmla="*/ 0 w 214405"/>
              <a:gd name="connsiteY3" fmla="*/ 0 h 233049"/>
              <a:gd name="connsiteX4" fmla="*/ 100211 w 214405"/>
              <a:gd name="connsiteY4" fmla="*/ 0 h 233049"/>
              <a:gd name="connsiteX5" fmla="*/ 214406 w 214405"/>
              <a:gd name="connsiteY5" fmla="*/ 114194 h 23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3047">
                <a:moveTo>
                  <a:pt x="97881" y="233050"/>
                </a:moveTo>
                <a:lnTo>
                  <a:pt x="0" y="233050"/>
                </a:lnTo>
                <a:lnTo>
                  <a:pt x="114194" y="117690"/>
                </a:lnTo>
                <a:lnTo>
                  <a:pt x="0" y="0"/>
                </a:lnTo>
                <a:lnTo>
                  <a:pt x="100211" y="0"/>
                </a:lnTo>
                <a:lnTo>
                  <a:pt x="214406" y="114194"/>
                </a:lnTo>
                <a:close/>
              </a:path>
            </a:pathLst>
          </a:custGeom>
          <a:solidFill>
            <a:srgbClr val="2657A2"/>
          </a:solidFill>
          <a:ln w="11643" cap="flat">
            <a:noFill/>
            <a:prstDash val="solid"/>
            <a:miter/>
          </a:ln>
        </p:spPr>
        <p:txBody>
          <a:bodyPr rtlCol="0" anchor="ctr"/>
          <a:lstStyle/>
          <a:p>
            <a:endParaRPr lang="de-DE"/>
          </a:p>
        </p:txBody>
      </p:sp>
      <p:sp>
        <p:nvSpPr>
          <p:cNvPr id="209" name="Freihandform: Form 208">
            <a:extLst>
              <a:ext uri="{FF2B5EF4-FFF2-40B4-BE49-F238E27FC236}">
                <a16:creationId xmlns:a16="http://schemas.microsoft.com/office/drawing/2014/main" id="{3E968065-397B-451F-8539-EA0CB9A7E175}"/>
              </a:ext>
            </a:extLst>
          </p:cNvPr>
          <p:cNvSpPr/>
          <p:nvPr userDrawn="1"/>
        </p:nvSpPr>
        <p:spPr>
          <a:xfrm>
            <a:off x="9069136" y="6607470"/>
            <a:ext cx="214405" cy="231884"/>
          </a:xfrm>
          <a:custGeom>
            <a:avLst/>
            <a:gdLst>
              <a:gd name="connsiteX0" fmla="*/ 97881 w 214405"/>
              <a:gd name="connsiteY0" fmla="*/ 231884 h 231884"/>
              <a:gd name="connsiteX1" fmla="*/ 0 w 214405"/>
              <a:gd name="connsiteY1" fmla="*/ 231884 h 231884"/>
              <a:gd name="connsiteX2" fmla="*/ 114194 w 214405"/>
              <a:gd name="connsiteY2" fmla="*/ 116525 h 231884"/>
              <a:gd name="connsiteX3" fmla="*/ 0 w 214405"/>
              <a:gd name="connsiteY3" fmla="*/ 0 h 231884"/>
              <a:gd name="connsiteX4" fmla="*/ 100211 w 214405"/>
              <a:gd name="connsiteY4" fmla="*/ 0 h 231884"/>
              <a:gd name="connsiteX5" fmla="*/ 214406 w 214405"/>
              <a:gd name="connsiteY5" fmla="*/ 114194 h 23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1884">
                <a:moveTo>
                  <a:pt x="97881" y="231884"/>
                </a:moveTo>
                <a:lnTo>
                  <a:pt x="0" y="231884"/>
                </a:lnTo>
                <a:lnTo>
                  <a:pt x="114194" y="116525"/>
                </a:lnTo>
                <a:lnTo>
                  <a:pt x="0" y="0"/>
                </a:lnTo>
                <a:lnTo>
                  <a:pt x="100211" y="0"/>
                </a:lnTo>
                <a:lnTo>
                  <a:pt x="214406" y="114194"/>
                </a:lnTo>
                <a:close/>
              </a:path>
            </a:pathLst>
          </a:custGeom>
          <a:solidFill>
            <a:srgbClr val="2657A2"/>
          </a:solidFill>
          <a:ln w="11643" cap="flat">
            <a:noFill/>
            <a:prstDash val="solid"/>
            <a:miter/>
          </a:ln>
        </p:spPr>
        <p:txBody>
          <a:bodyPr rtlCol="0" anchor="ctr"/>
          <a:lstStyle/>
          <a:p>
            <a:endParaRPr lang="de-DE"/>
          </a:p>
        </p:txBody>
      </p:sp>
      <p:sp>
        <p:nvSpPr>
          <p:cNvPr id="210" name="Freihandform: Form 209">
            <a:extLst>
              <a:ext uri="{FF2B5EF4-FFF2-40B4-BE49-F238E27FC236}">
                <a16:creationId xmlns:a16="http://schemas.microsoft.com/office/drawing/2014/main" id="{6E85CB86-5BB4-4AAE-AF56-1FFA4565733D}"/>
              </a:ext>
            </a:extLst>
          </p:cNvPr>
          <p:cNvSpPr/>
          <p:nvPr userDrawn="1"/>
        </p:nvSpPr>
        <p:spPr>
          <a:xfrm>
            <a:off x="9415215" y="1984931"/>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2351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6">
                <a:moveTo>
                  <a:pt x="106037" y="250528"/>
                </a:moveTo>
                <a:lnTo>
                  <a:pt x="0" y="250528"/>
                </a:lnTo>
                <a:lnTo>
                  <a:pt x="123516" y="125847"/>
                </a:lnTo>
                <a:lnTo>
                  <a:pt x="0" y="0"/>
                </a:lnTo>
                <a:lnTo>
                  <a:pt x="108368" y="0"/>
                </a:lnTo>
                <a:lnTo>
                  <a:pt x="230719" y="122351"/>
                </a:lnTo>
                <a:close/>
              </a:path>
            </a:pathLst>
          </a:custGeom>
          <a:solidFill>
            <a:srgbClr val="2657A2"/>
          </a:solidFill>
          <a:ln w="11643" cap="flat">
            <a:noFill/>
            <a:prstDash val="solid"/>
            <a:miter/>
          </a:ln>
        </p:spPr>
        <p:txBody>
          <a:bodyPr rtlCol="0" anchor="ctr"/>
          <a:lstStyle/>
          <a:p>
            <a:endParaRPr lang="de-DE"/>
          </a:p>
        </p:txBody>
      </p:sp>
      <p:sp>
        <p:nvSpPr>
          <p:cNvPr id="211" name="Freihandform: Form 210">
            <a:extLst>
              <a:ext uri="{FF2B5EF4-FFF2-40B4-BE49-F238E27FC236}">
                <a16:creationId xmlns:a16="http://schemas.microsoft.com/office/drawing/2014/main" id="{CFB8E64A-3E12-46C6-87D8-66CBB2425962}"/>
              </a:ext>
            </a:extLst>
          </p:cNvPr>
          <p:cNvSpPr/>
          <p:nvPr userDrawn="1"/>
        </p:nvSpPr>
        <p:spPr>
          <a:xfrm>
            <a:off x="9415215" y="2339167"/>
            <a:ext cx="230718" cy="250528"/>
          </a:xfrm>
          <a:custGeom>
            <a:avLst/>
            <a:gdLst>
              <a:gd name="connsiteX0" fmla="*/ 106037 w 230718"/>
              <a:gd name="connsiteY0" fmla="*/ 250528 h 250528"/>
              <a:gd name="connsiteX1" fmla="*/ 0 w 230718"/>
              <a:gd name="connsiteY1" fmla="*/ 250528 h 250528"/>
              <a:gd name="connsiteX2" fmla="*/ 123516 w 230718"/>
              <a:gd name="connsiteY2" fmla="*/ 127012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6">
                <a:moveTo>
                  <a:pt x="106037" y="250528"/>
                </a:moveTo>
                <a:lnTo>
                  <a:pt x="0" y="250528"/>
                </a:lnTo>
                <a:lnTo>
                  <a:pt x="123516" y="127012"/>
                </a:lnTo>
                <a:lnTo>
                  <a:pt x="0" y="0"/>
                </a:lnTo>
                <a:lnTo>
                  <a:pt x="108368" y="0"/>
                </a:lnTo>
                <a:lnTo>
                  <a:pt x="230719" y="123516"/>
                </a:lnTo>
                <a:close/>
              </a:path>
            </a:pathLst>
          </a:custGeom>
          <a:solidFill>
            <a:srgbClr val="2657A2"/>
          </a:solidFill>
          <a:ln w="11643" cap="flat">
            <a:noFill/>
            <a:prstDash val="solid"/>
            <a:miter/>
          </a:ln>
        </p:spPr>
        <p:txBody>
          <a:bodyPr rtlCol="0" anchor="ctr"/>
          <a:lstStyle/>
          <a:p>
            <a:endParaRPr lang="de-DE"/>
          </a:p>
        </p:txBody>
      </p:sp>
      <p:sp>
        <p:nvSpPr>
          <p:cNvPr id="212" name="Freihandform: Form 211">
            <a:extLst>
              <a:ext uri="{FF2B5EF4-FFF2-40B4-BE49-F238E27FC236}">
                <a16:creationId xmlns:a16="http://schemas.microsoft.com/office/drawing/2014/main" id="{D7750CA3-8186-404F-821B-B7ACDC600D49}"/>
              </a:ext>
            </a:extLst>
          </p:cNvPr>
          <p:cNvSpPr/>
          <p:nvPr userDrawn="1"/>
        </p:nvSpPr>
        <p:spPr>
          <a:xfrm>
            <a:off x="9415215" y="2694568"/>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6">
                <a:moveTo>
                  <a:pt x="106037" y="250528"/>
                </a:moveTo>
                <a:lnTo>
                  <a:pt x="0" y="250528"/>
                </a:lnTo>
                <a:lnTo>
                  <a:pt x="123516" y="125847"/>
                </a:lnTo>
                <a:lnTo>
                  <a:pt x="0" y="0"/>
                </a:lnTo>
                <a:lnTo>
                  <a:pt x="108368" y="0"/>
                </a:lnTo>
                <a:lnTo>
                  <a:pt x="230719" y="123516"/>
                </a:lnTo>
                <a:close/>
              </a:path>
            </a:pathLst>
          </a:custGeom>
          <a:solidFill>
            <a:srgbClr val="2657A2"/>
          </a:solidFill>
          <a:ln w="11643" cap="flat">
            <a:noFill/>
            <a:prstDash val="solid"/>
            <a:miter/>
          </a:ln>
        </p:spPr>
        <p:txBody>
          <a:bodyPr rtlCol="0" anchor="ctr"/>
          <a:lstStyle/>
          <a:p>
            <a:endParaRPr lang="de-DE"/>
          </a:p>
        </p:txBody>
      </p:sp>
      <p:sp>
        <p:nvSpPr>
          <p:cNvPr id="213" name="Freihandform: Form 212">
            <a:extLst>
              <a:ext uri="{FF2B5EF4-FFF2-40B4-BE49-F238E27FC236}">
                <a16:creationId xmlns:a16="http://schemas.microsoft.com/office/drawing/2014/main" id="{5FC66292-4352-4940-A2D6-92FF3429CC5B}"/>
              </a:ext>
            </a:extLst>
          </p:cNvPr>
          <p:cNvSpPr/>
          <p:nvPr userDrawn="1"/>
        </p:nvSpPr>
        <p:spPr>
          <a:xfrm>
            <a:off x="9415215" y="3048803"/>
            <a:ext cx="230718" cy="250528"/>
          </a:xfrm>
          <a:custGeom>
            <a:avLst/>
            <a:gdLst>
              <a:gd name="connsiteX0" fmla="*/ 106037 w 230718"/>
              <a:gd name="connsiteY0" fmla="*/ 250528 h 250528"/>
              <a:gd name="connsiteX1" fmla="*/ 0 w 230718"/>
              <a:gd name="connsiteY1" fmla="*/ 250528 h 250528"/>
              <a:gd name="connsiteX2" fmla="*/ 123516 w 230718"/>
              <a:gd name="connsiteY2" fmla="*/ 127012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6">
                <a:moveTo>
                  <a:pt x="106037" y="250528"/>
                </a:moveTo>
                <a:lnTo>
                  <a:pt x="0" y="250528"/>
                </a:lnTo>
                <a:lnTo>
                  <a:pt x="123516" y="127012"/>
                </a:lnTo>
                <a:lnTo>
                  <a:pt x="0" y="0"/>
                </a:lnTo>
                <a:lnTo>
                  <a:pt x="108368" y="0"/>
                </a:lnTo>
                <a:lnTo>
                  <a:pt x="230719" y="123516"/>
                </a:lnTo>
                <a:close/>
              </a:path>
            </a:pathLst>
          </a:custGeom>
          <a:solidFill>
            <a:srgbClr val="2657A2"/>
          </a:solidFill>
          <a:ln w="11643" cap="flat">
            <a:noFill/>
            <a:prstDash val="solid"/>
            <a:miter/>
          </a:ln>
        </p:spPr>
        <p:txBody>
          <a:bodyPr rtlCol="0" anchor="ctr"/>
          <a:lstStyle/>
          <a:p>
            <a:endParaRPr lang="de-DE"/>
          </a:p>
        </p:txBody>
      </p:sp>
      <p:sp>
        <p:nvSpPr>
          <p:cNvPr id="214" name="Freihandform: Form 213">
            <a:extLst>
              <a:ext uri="{FF2B5EF4-FFF2-40B4-BE49-F238E27FC236}">
                <a16:creationId xmlns:a16="http://schemas.microsoft.com/office/drawing/2014/main" id="{24923806-8A74-4CC7-B809-8F8330E70CCB}"/>
              </a:ext>
            </a:extLst>
          </p:cNvPr>
          <p:cNvSpPr/>
          <p:nvPr userDrawn="1"/>
        </p:nvSpPr>
        <p:spPr>
          <a:xfrm>
            <a:off x="9415215" y="3404203"/>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6">
                <a:moveTo>
                  <a:pt x="106037" y="250528"/>
                </a:moveTo>
                <a:lnTo>
                  <a:pt x="0" y="250528"/>
                </a:lnTo>
                <a:lnTo>
                  <a:pt x="123516" y="125847"/>
                </a:lnTo>
                <a:lnTo>
                  <a:pt x="0" y="0"/>
                </a:lnTo>
                <a:lnTo>
                  <a:pt x="108368" y="0"/>
                </a:lnTo>
                <a:lnTo>
                  <a:pt x="230719" y="123516"/>
                </a:lnTo>
                <a:close/>
              </a:path>
            </a:pathLst>
          </a:custGeom>
          <a:solidFill>
            <a:srgbClr val="2657A2"/>
          </a:solidFill>
          <a:ln w="11643" cap="flat">
            <a:noFill/>
            <a:prstDash val="solid"/>
            <a:miter/>
          </a:ln>
        </p:spPr>
        <p:txBody>
          <a:bodyPr rtlCol="0" anchor="ctr"/>
          <a:lstStyle/>
          <a:p>
            <a:endParaRPr lang="de-DE"/>
          </a:p>
        </p:txBody>
      </p:sp>
      <p:sp>
        <p:nvSpPr>
          <p:cNvPr id="215" name="Freihandform: Form 214">
            <a:extLst>
              <a:ext uri="{FF2B5EF4-FFF2-40B4-BE49-F238E27FC236}">
                <a16:creationId xmlns:a16="http://schemas.microsoft.com/office/drawing/2014/main" id="{10A2240C-0BDA-4703-812D-770C5FF3EF8A}"/>
              </a:ext>
            </a:extLst>
          </p:cNvPr>
          <p:cNvSpPr/>
          <p:nvPr userDrawn="1"/>
        </p:nvSpPr>
        <p:spPr>
          <a:xfrm>
            <a:off x="9415215" y="3758439"/>
            <a:ext cx="230718" cy="251693"/>
          </a:xfrm>
          <a:custGeom>
            <a:avLst/>
            <a:gdLst>
              <a:gd name="connsiteX0" fmla="*/ 106037 w 230718"/>
              <a:gd name="connsiteY0" fmla="*/ 251694 h 251693"/>
              <a:gd name="connsiteX1" fmla="*/ 0 w 230718"/>
              <a:gd name="connsiteY1" fmla="*/ 251694 h 251693"/>
              <a:gd name="connsiteX2" fmla="*/ 123516 w 230718"/>
              <a:gd name="connsiteY2" fmla="*/ 127012 h 251693"/>
              <a:gd name="connsiteX3" fmla="*/ 0 w 230718"/>
              <a:gd name="connsiteY3" fmla="*/ 0 h 251693"/>
              <a:gd name="connsiteX4" fmla="*/ 108368 w 230718"/>
              <a:gd name="connsiteY4" fmla="*/ 0 h 251693"/>
              <a:gd name="connsiteX5" fmla="*/ 230719 w 230718"/>
              <a:gd name="connsiteY5" fmla="*/ 123516 h 251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1693">
                <a:moveTo>
                  <a:pt x="106037" y="251694"/>
                </a:moveTo>
                <a:lnTo>
                  <a:pt x="0" y="251694"/>
                </a:lnTo>
                <a:lnTo>
                  <a:pt x="123516" y="127012"/>
                </a:lnTo>
                <a:lnTo>
                  <a:pt x="0" y="0"/>
                </a:lnTo>
                <a:lnTo>
                  <a:pt x="108368" y="0"/>
                </a:lnTo>
                <a:lnTo>
                  <a:pt x="230719" y="123516"/>
                </a:lnTo>
                <a:close/>
              </a:path>
            </a:pathLst>
          </a:custGeom>
          <a:solidFill>
            <a:srgbClr val="2657A2"/>
          </a:solidFill>
          <a:ln w="11643" cap="flat">
            <a:noFill/>
            <a:prstDash val="solid"/>
            <a:miter/>
          </a:ln>
        </p:spPr>
        <p:txBody>
          <a:bodyPr rtlCol="0" anchor="ctr"/>
          <a:lstStyle/>
          <a:p>
            <a:endParaRPr lang="de-DE"/>
          </a:p>
        </p:txBody>
      </p:sp>
      <p:sp>
        <p:nvSpPr>
          <p:cNvPr id="216" name="Freihandform: Form 215">
            <a:extLst>
              <a:ext uri="{FF2B5EF4-FFF2-40B4-BE49-F238E27FC236}">
                <a16:creationId xmlns:a16="http://schemas.microsoft.com/office/drawing/2014/main" id="{4AE50D48-E84E-4D1F-B37B-03DBFF3988A5}"/>
              </a:ext>
            </a:extLst>
          </p:cNvPr>
          <p:cNvSpPr/>
          <p:nvPr userDrawn="1"/>
        </p:nvSpPr>
        <p:spPr>
          <a:xfrm>
            <a:off x="9415215" y="4113840"/>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6">
                <a:moveTo>
                  <a:pt x="106037" y="250528"/>
                </a:moveTo>
                <a:lnTo>
                  <a:pt x="0" y="250528"/>
                </a:lnTo>
                <a:lnTo>
                  <a:pt x="123516" y="125847"/>
                </a:lnTo>
                <a:lnTo>
                  <a:pt x="0" y="0"/>
                </a:lnTo>
                <a:lnTo>
                  <a:pt x="108368" y="0"/>
                </a:lnTo>
                <a:lnTo>
                  <a:pt x="230719" y="123516"/>
                </a:lnTo>
                <a:close/>
              </a:path>
            </a:pathLst>
          </a:custGeom>
          <a:solidFill>
            <a:srgbClr val="2657A2"/>
          </a:solidFill>
          <a:ln w="11643" cap="flat">
            <a:noFill/>
            <a:prstDash val="solid"/>
            <a:miter/>
          </a:ln>
        </p:spPr>
        <p:txBody>
          <a:bodyPr rtlCol="0" anchor="ctr"/>
          <a:lstStyle/>
          <a:p>
            <a:endParaRPr lang="de-DE"/>
          </a:p>
        </p:txBody>
      </p:sp>
      <p:sp>
        <p:nvSpPr>
          <p:cNvPr id="217" name="Freihandform: Form 216">
            <a:extLst>
              <a:ext uri="{FF2B5EF4-FFF2-40B4-BE49-F238E27FC236}">
                <a16:creationId xmlns:a16="http://schemas.microsoft.com/office/drawing/2014/main" id="{F4B7EDB8-9B5E-4FE0-8B99-D43E379E9C2C}"/>
              </a:ext>
            </a:extLst>
          </p:cNvPr>
          <p:cNvSpPr/>
          <p:nvPr userDrawn="1"/>
        </p:nvSpPr>
        <p:spPr>
          <a:xfrm>
            <a:off x="9415215" y="4469240"/>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2351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6">
                <a:moveTo>
                  <a:pt x="106037" y="250528"/>
                </a:moveTo>
                <a:lnTo>
                  <a:pt x="0" y="250528"/>
                </a:lnTo>
                <a:lnTo>
                  <a:pt x="123516" y="125847"/>
                </a:lnTo>
                <a:lnTo>
                  <a:pt x="0" y="0"/>
                </a:lnTo>
                <a:lnTo>
                  <a:pt x="108368" y="0"/>
                </a:lnTo>
                <a:lnTo>
                  <a:pt x="230719" y="122351"/>
                </a:lnTo>
                <a:close/>
              </a:path>
            </a:pathLst>
          </a:custGeom>
          <a:solidFill>
            <a:srgbClr val="2657A2"/>
          </a:solidFill>
          <a:ln w="11643" cap="flat">
            <a:noFill/>
            <a:prstDash val="solid"/>
            <a:miter/>
          </a:ln>
        </p:spPr>
        <p:txBody>
          <a:bodyPr rtlCol="0" anchor="ctr"/>
          <a:lstStyle/>
          <a:p>
            <a:endParaRPr lang="de-DE"/>
          </a:p>
        </p:txBody>
      </p:sp>
      <p:sp>
        <p:nvSpPr>
          <p:cNvPr id="218" name="Freihandform: Form 217">
            <a:extLst>
              <a:ext uri="{FF2B5EF4-FFF2-40B4-BE49-F238E27FC236}">
                <a16:creationId xmlns:a16="http://schemas.microsoft.com/office/drawing/2014/main" id="{6C7B9EF0-88C2-4318-AAF4-BDCED195EC9F}"/>
              </a:ext>
            </a:extLst>
          </p:cNvPr>
          <p:cNvSpPr/>
          <p:nvPr userDrawn="1"/>
        </p:nvSpPr>
        <p:spPr>
          <a:xfrm>
            <a:off x="9415215" y="4823475"/>
            <a:ext cx="230718" cy="250528"/>
          </a:xfrm>
          <a:custGeom>
            <a:avLst/>
            <a:gdLst>
              <a:gd name="connsiteX0" fmla="*/ 106037 w 230718"/>
              <a:gd name="connsiteY0" fmla="*/ 250528 h 250528"/>
              <a:gd name="connsiteX1" fmla="*/ 0 w 230718"/>
              <a:gd name="connsiteY1" fmla="*/ 250528 h 250528"/>
              <a:gd name="connsiteX2" fmla="*/ 123516 w 230718"/>
              <a:gd name="connsiteY2" fmla="*/ 127012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6">
                <a:moveTo>
                  <a:pt x="106037" y="250528"/>
                </a:moveTo>
                <a:lnTo>
                  <a:pt x="0" y="250528"/>
                </a:lnTo>
                <a:lnTo>
                  <a:pt x="123516" y="127012"/>
                </a:lnTo>
                <a:lnTo>
                  <a:pt x="0" y="0"/>
                </a:lnTo>
                <a:lnTo>
                  <a:pt x="108368" y="0"/>
                </a:lnTo>
                <a:lnTo>
                  <a:pt x="230719" y="123516"/>
                </a:lnTo>
                <a:close/>
              </a:path>
            </a:pathLst>
          </a:custGeom>
          <a:solidFill>
            <a:srgbClr val="2657A2"/>
          </a:solidFill>
          <a:ln w="11643" cap="flat">
            <a:noFill/>
            <a:prstDash val="solid"/>
            <a:miter/>
          </a:ln>
        </p:spPr>
        <p:txBody>
          <a:bodyPr rtlCol="0" anchor="ctr"/>
          <a:lstStyle/>
          <a:p>
            <a:endParaRPr lang="de-DE"/>
          </a:p>
        </p:txBody>
      </p:sp>
      <p:sp>
        <p:nvSpPr>
          <p:cNvPr id="219" name="Freihandform: Form 218">
            <a:extLst>
              <a:ext uri="{FF2B5EF4-FFF2-40B4-BE49-F238E27FC236}">
                <a16:creationId xmlns:a16="http://schemas.microsoft.com/office/drawing/2014/main" id="{53A7C4EC-6AAB-4B80-96D1-295E51FF4A53}"/>
              </a:ext>
            </a:extLst>
          </p:cNvPr>
          <p:cNvSpPr/>
          <p:nvPr userDrawn="1"/>
        </p:nvSpPr>
        <p:spPr>
          <a:xfrm>
            <a:off x="9415215" y="5178876"/>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2351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6">
                <a:moveTo>
                  <a:pt x="106037" y="250528"/>
                </a:moveTo>
                <a:lnTo>
                  <a:pt x="0" y="250528"/>
                </a:lnTo>
                <a:lnTo>
                  <a:pt x="123516" y="125847"/>
                </a:lnTo>
                <a:lnTo>
                  <a:pt x="0" y="0"/>
                </a:lnTo>
                <a:lnTo>
                  <a:pt x="108368" y="0"/>
                </a:lnTo>
                <a:lnTo>
                  <a:pt x="230719" y="122351"/>
                </a:lnTo>
                <a:close/>
              </a:path>
            </a:pathLst>
          </a:custGeom>
          <a:solidFill>
            <a:srgbClr val="2657A2"/>
          </a:solidFill>
          <a:ln w="11643" cap="flat">
            <a:noFill/>
            <a:prstDash val="solid"/>
            <a:miter/>
          </a:ln>
        </p:spPr>
        <p:txBody>
          <a:bodyPr rtlCol="0" anchor="ctr"/>
          <a:lstStyle/>
          <a:p>
            <a:endParaRPr lang="de-DE"/>
          </a:p>
        </p:txBody>
      </p:sp>
      <p:sp>
        <p:nvSpPr>
          <p:cNvPr id="220" name="Freihandform: Form 219">
            <a:extLst>
              <a:ext uri="{FF2B5EF4-FFF2-40B4-BE49-F238E27FC236}">
                <a16:creationId xmlns:a16="http://schemas.microsoft.com/office/drawing/2014/main" id="{B2933393-A38B-4A5B-A279-7AAA49F15142}"/>
              </a:ext>
            </a:extLst>
          </p:cNvPr>
          <p:cNvSpPr/>
          <p:nvPr userDrawn="1"/>
        </p:nvSpPr>
        <p:spPr>
          <a:xfrm>
            <a:off x="9415215" y="5533111"/>
            <a:ext cx="230718" cy="250528"/>
          </a:xfrm>
          <a:custGeom>
            <a:avLst/>
            <a:gdLst>
              <a:gd name="connsiteX0" fmla="*/ 106037 w 230718"/>
              <a:gd name="connsiteY0" fmla="*/ 250528 h 250528"/>
              <a:gd name="connsiteX1" fmla="*/ 0 w 230718"/>
              <a:gd name="connsiteY1" fmla="*/ 250528 h 250528"/>
              <a:gd name="connsiteX2" fmla="*/ 123516 w 230718"/>
              <a:gd name="connsiteY2" fmla="*/ 127012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6">
                <a:moveTo>
                  <a:pt x="106037" y="250528"/>
                </a:moveTo>
                <a:lnTo>
                  <a:pt x="0" y="250528"/>
                </a:lnTo>
                <a:lnTo>
                  <a:pt x="123516" y="127012"/>
                </a:lnTo>
                <a:lnTo>
                  <a:pt x="0" y="0"/>
                </a:lnTo>
                <a:lnTo>
                  <a:pt x="108368" y="0"/>
                </a:lnTo>
                <a:lnTo>
                  <a:pt x="230719" y="123516"/>
                </a:lnTo>
                <a:close/>
              </a:path>
            </a:pathLst>
          </a:custGeom>
          <a:solidFill>
            <a:srgbClr val="2657A2"/>
          </a:solidFill>
          <a:ln w="11643" cap="flat">
            <a:noFill/>
            <a:prstDash val="solid"/>
            <a:miter/>
          </a:ln>
        </p:spPr>
        <p:txBody>
          <a:bodyPr rtlCol="0" anchor="ctr"/>
          <a:lstStyle/>
          <a:p>
            <a:endParaRPr lang="de-DE"/>
          </a:p>
        </p:txBody>
      </p:sp>
      <p:sp>
        <p:nvSpPr>
          <p:cNvPr id="221" name="Freihandform: Form 220">
            <a:extLst>
              <a:ext uri="{FF2B5EF4-FFF2-40B4-BE49-F238E27FC236}">
                <a16:creationId xmlns:a16="http://schemas.microsoft.com/office/drawing/2014/main" id="{67908A13-F16D-441B-B370-2E71BE19F2C5}"/>
              </a:ext>
            </a:extLst>
          </p:cNvPr>
          <p:cNvSpPr/>
          <p:nvPr userDrawn="1"/>
        </p:nvSpPr>
        <p:spPr>
          <a:xfrm>
            <a:off x="9415215" y="5888512"/>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2351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6">
                <a:moveTo>
                  <a:pt x="106037" y="250528"/>
                </a:moveTo>
                <a:lnTo>
                  <a:pt x="0" y="250528"/>
                </a:lnTo>
                <a:lnTo>
                  <a:pt x="123516" y="125847"/>
                </a:lnTo>
                <a:lnTo>
                  <a:pt x="0" y="0"/>
                </a:lnTo>
                <a:lnTo>
                  <a:pt x="108368" y="0"/>
                </a:lnTo>
                <a:lnTo>
                  <a:pt x="230719" y="122351"/>
                </a:lnTo>
                <a:close/>
              </a:path>
            </a:pathLst>
          </a:custGeom>
          <a:solidFill>
            <a:srgbClr val="2657A2"/>
          </a:solidFill>
          <a:ln w="11643" cap="flat">
            <a:noFill/>
            <a:prstDash val="solid"/>
            <a:miter/>
          </a:ln>
        </p:spPr>
        <p:txBody>
          <a:bodyPr rtlCol="0" anchor="ctr"/>
          <a:lstStyle/>
          <a:p>
            <a:endParaRPr lang="de-DE"/>
          </a:p>
        </p:txBody>
      </p:sp>
      <p:sp>
        <p:nvSpPr>
          <p:cNvPr id="222" name="Freihandform: Form 221">
            <a:extLst>
              <a:ext uri="{FF2B5EF4-FFF2-40B4-BE49-F238E27FC236}">
                <a16:creationId xmlns:a16="http://schemas.microsoft.com/office/drawing/2014/main" id="{D7964D65-7EF9-45B9-BFB5-24534CBFA2EC}"/>
              </a:ext>
            </a:extLst>
          </p:cNvPr>
          <p:cNvSpPr/>
          <p:nvPr userDrawn="1"/>
        </p:nvSpPr>
        <p:spPr>
          <a:xfrm>
            <a:off x="9415215" y="6242748"/>
            <a:ext cx="230718" cy="250528"/>
          </a:xfrm>
          <a:custGeom>
            <a:avLst/>
            <a:gdLst>
              <a:gd name="connsiteX0" fmla="*/ 106037 w 230718"/>
              <a:gd name="connsiteY0" fmla="*/ 250528 h 250528"/>
              <a:gd name="connsiteX1" fmla="*/ 0 w 230718"/>
              <a:gd name="connsiteY1" fmla="*/ 250528 h 250528"/>
              <a:gd name="connsiteX2" fmla="*/ 123516 w 230718"/>
              <a:gd name="connsiteY2" fmla="*/ 127012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6">
                <a:moveTo>
                  <a:pt x="106037" y="250528"/>
                </a:moveTo>
                <a:lnTo>
                  <a:pt x="0" y="250528"/>
                </a:lnTo>
                <a:lnTo>
                  <a:pt x="123516" y="127012"/>
                </a:lnTo>
                <a:lnTo>
                  <a:pt x="0" y="0"/>
                </a:lnTo>
                <a:lnTo>
                  <a:pt x="108368" y="0"/>
                </a:lnTo>
                <a:lnTo>
                  <a:pt x="230719" y="123516"/>
                </a:lnTo>
                <a:close/>
              </a:path>
            </a:pathLst>
          </a:custGeom>
          <a:solidFill>
            <a:srgbClr val="2657A2"/>
          </a:solidFill>
          <a:ln w="11643" cap="flat">
            <a:noFill/>
            <a:prstDash val="solid"/>
            <a:miter/>
          </a:ln>
        </p:spPr>
        <p:txBody>
          <a:bodyPr rtlCol="0" anchor="ctr"/>
          <a:lstStyle/>
          <a:p>
            <a:endParaRPr lang="de-DE"/>
          </a:p>
        </p:txBody>
      </p:sp>
      <p:sp>
        <p:nvSpPr>
          <p:cNvPr id="223" name="Freihandform: Form 222">
            <a:extLst>
              <a:ext uri="{FF2B5EF4-FFF2-40B4-BE49-F238E27FC236}">
                <a16:creationId xmlns:a16="http://schemas.microsoft.com/office/drawing/2014/main" id="{9C9C275D-8CBA-4F92-883B-4929C1BC0F1D}"/>
              </a:ext>
            </a:extLst>
          </p:cNvPr>
          <p:cNvSpPr/>
          <p:nvPr userDrawn="1"/>
        </p:nvSpPr>
        <p:spPr>
          <a:xfrm>
            <a:off x="9415215" y="6598148"/>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2351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6">
                <a:moveTo>
                  <a:pt x="106037" y="250528"/>
                </a:moveTo>
                <a:lnTo>
                  <a:pt x="0" y="250528"/>
                </a:lnTo>
                <a:lnTo>
                  <a:pt x="123516" y="125847"/>
                </a:lnTo>
                <a:lnTo>
                  <a:pt x="0" y="0"/>
                </a:lnTo>
                <a:lnTo>
                  <a:pt x="108368" y="0"/>
                </a:lnTo>
                <a:lnTo>
                  <a:pt x="230719" y="122351"/>
                </a:lnTo>
                <a:close/>
              </a:path>
            </a:pathLst>
          </a:custGeom>
          <a:solidFill>
            <a:srgbClr val="2657A2"/>
          </a:solidFill>
          <a:ln w="11643" cap="flat">
            <a:noFill/>
            <a:prstDash val="solid"/>
            <a:miter/>
          </a:ln>
        </p:spPr>
        <p:txBody>
          <a:bodyPr rtlCol="0" anchor="ctr"/>
          <a:lstStyle/>
          <a:p>
            <a:endParaRPr lang="de-DE"/>
          </a:p>
        </p:txBody>
      </p:sp>
      <p:sp>
        <p:nvSpPr>
          <p:cNvPr id="224" name="Freihandform: Form 223">
            <a:extLst>
              <a:ext uri="{FF2B5EF4-FFF2-40B4-BE49-F238E27FC236}">
                <a16:creationId xmlns:a16="http://schemas.microsoft.com/office/drawing/2014/main" id="{6D2BCCAA-B205-4936-869F-06D92D00CA1D}"/>
              </a:ext>
            </a:extLst>
          </p:cNvPr>
          <p:cNvSpPr/>
          <p:nvPr userDrawn="1"/>
        </p:nvSpPr>
        <p:spPr>
          <a:xfrm>
            <a:off x="9761293" y="1975610"/>
            <a:ext cx="248198" cy="269172"/>
          </a:xfrm>
          <a:custGeom>
            <a:avLst/>
            <a:gdLst>
              <a:gd name="connsiteX0" fmla="*/ 114195 w 248198"/>
              <a:gd name="connsiteY0" fmla="*/ 269172 h 269172"/>
              <a:gd name="connsiteX1" fmla="*/ 0 w 248198"/>
              <a:gd name="connsiteY1" fmla="*/ 269172 h 269172"/>
              <a:gd name="connsiteX2" fmla="*/ 132838 w 248198"/>
              <a:gd name="connsiteY2" fmla="*/ 135169 h 269172"/>
              <a:gd name="connsiteX3" fmla="*/ 0 w 248198"/>
              <a:gd name="connsiteY3" fmla="*/ 0 h 269172"/>
              <a:gd name="connsiteX4" fmla="*/ 116525 w 248198"/>
              <a:gd name="connsiteY4" fmla="*/ 0 h 269172"/>
              <a:gd name="connsiteX5" fmla="*/ 248198 w 248198"/>
              <a:gd name="connsiteY5" fmla="*/ 131673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5169"/>
                </a:lnTo>
                <a:lnTo>
                  <a:pt x="0" y="0"/>
                </a:lnTo>
                <a:lnTo>
                  <a:pt x="116525" y="0"/>
                </a:lnTo>
                <a:lnTo>
                  <a:pt x="248198" y="131673"/>
                </a:lnTo>
                <a:close/>
              </a:path>
            </a:pathLst>
          </a:custGeom>
          <a:solidFill>
            <a:srgbClr val="2657A2"/>
          </a:solidFill>
          <a:ln w="11643" cap="flat">
            <a:noFill/>
            <a:prstDash val="solid"/>
            <a:miter/>
          </a:ln>
        </p:spPr>
        <p:txBody>
          <a:bodyPr rtlCol="0" anchor="ctr"/>
          <a:lstStyle/>
          <a:p>
            <a:endParaRPr lang="de-DE"/>
          </a:p>
        </p:txBody>
      </p:sp>
      <p:sp>
        <p:nvSpPr>
          <p:cNvPr id="225" name="Freihandform: Form 224">
            <a:extLst>
              <a:ext uri="{FF2B5EF4-FFF2-40B4-BE49-F238E27FC236}">
                <a16:creationId xmlns:a16="http://schemas.microsoft.com/office/drawing/2014/main" id="{3C51EDAC-50A1-4CD7-ABB1-4E1438FB88E3}"/>
              </a:ext>
            </a:extLst>
          </p:cNvPr>
          <p:cNvSpPr/>
          <p:nvPr userDrawn="1"/>
        </p:nvSpPr>
        <p:spPr>
          <a:xfrm>
            <a:off x="9761293" y="2331010"/>
            <a:ext cx="248198" cy="268007"/>
          </a:xfrm>
          <a:custGeom>
            <a:avLst/>
            <a:gdLst>
              <a:gd name="connsiteX0" fmla="*/ 114195 w 248198"/>
              <a:gd name="connsiteY0" fmla="*/ 268007 h 268007"/>
              <a:gd name="connsiteX1" fmla="*/ 0 w 248198"/>
              <a:gd name="connsiteY1" fmla="*/ 268007 h 268007"/>
              <a:gd name="connsiteX2" fmla="*/ 132838 w 248198"/>
              <a:gd name="connsiteY2" fmla="*/ 135169 h 268007"/>
              <a:gd name="connsiteX3" fmla="*/ 0 w 248198"/>
              <a:gd name="connsiteY3" fmla="*/ 0 h 268007"/>
              <a:gd name="connsiteX4" fmla="*/ 116525 w 248198"/>
              <a:gd name="connsiteY4" fmla="*/ 0 h 268007"/>
              <a:gd name="connsiteX5" fmla="*/ 248198 w 248198"/>
              <a:gd name="connsiteY5" fmla="*/ 131673 h 268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8007">
                <a:moveTo>
                  <a:pt x="114195" y="268007"/>
                </a:moveTo>
                <a:lnTo>
                  <a:pt x="0" y="268007"/>
                </a:lnTo>
                <a:lnTo>
                  <a:pt x="132838" y="135169"/>
                </a:lnTo>
                <a:lnTo>
                  <a:pt x="0" y="0"/>
                </a:lnTo>
                <a:lnTo>
                  <a:pt x="116525" y="0"/>
                </a:lnTo>
                <a:lnTo>
                  <a:pt x="248198" y="131673"/>
                </a:lnTo>
                <a:close/>
              </a:path>
            </a:pathLst>
          </a:custGeom>
          <a:solidFill>
            <a:srgbClr val="2657A2"/>
          </a:solidFill>
          <a:ln w="11643" cap="flat">
            <a:noFill/>
            <a:prstDash val="solid"/>
            <a:miter/>
          </a:ln>
        </p:spPr>
        <p:txBody>
          <a:bodyPr rtlCol="0" anchor="ctr"/>
          <a:lstStyle/>
          <a:p>
            <a:endParaRPr lang="de-DE"/>
          </a:p>
        </p:txBody>
      </p:sp>
      <p:sp>
        <p:nvSpPr>
          <p:cNvPr id="226" name="Freihandform: Form 225">
            <a:extLst>
              <a:ext uri="{FF2B5EF4-FFF2-40B4-BE49-F238E27FC236}">
                <a16:creationId xmlns:a16="http://schemas.microsoft.com/office/drawing/2014/main" id="{F0C63A58-DF6A-4ABC-8314-0EED65F3B230}"/>
              </a:ext>
            </a:extLst>
          </p:cNvPr>
          <p:cNvSpPr/>
          <p:nvPr userDrawn="1"/>
        </p:nvSpPr>
        <p:spPr>
          <a:xfrm>
            <a:off x="9761293" y="2685246"/>
            <a:ext cx="248198" cy="269172"/>
          </a:xfrm>
          <a:custGeom>
            <a:avLst/>
            <a:gdLst>
              <a:gd name="connsiteX0" fmla="*/ 114195 w 248198"/>
              <a:gd name="connsiteY0" fmla="*/ 269172 h 269172"/>
              <a:gd name="connsiteX1" fmla="*/ 0 w 248198"/>
              <a:gd name="connsiteY1" fmla="*/ 269172 h 269172"/>
              <a:gd name="connsiteX2" fmla="*/ 132838 w 248198"/>
              <a:gd name="connsiteY2" fmla="*/ 135169 h 269172"/>
              <a:gd name="connsiteX3" fmla="*/ 0 w 248198"/>
              <a:gd name="connsiteY3" fmla="*/ 0 h 269172"/>
              <a:gd name="connsiteX4" fmla="*/ 116525 w 248198"/>
              <a:gd name="connsiteY4" fmla="*/ 0 h 269172"/>
              <a:gd name="connsiteX5" fmla="*/ 248198 w 248198"/>
              <a:gd name="connsiteY5" fmla="*/ 131673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5169"/>
                </a:lnTo>
                <a:lnTo>
                  <a:pt x="0" y="0"/>
                </a:lnTo>
                <a:lnTo>
                  <a:pt x="116525" y="0"/>
                </a:lnTo>
                <a:lnTo>
                  <a:pt x="248198" y="131673"/>
                </a:lnTo>
                <a:close/>
              </a:path>
            </a:pathLst>
          </a:custGeom>
          <a:solidFill>
            <a:srgbClr val="2657A2"/>
          </a:solidFill>
          <a:ln w="11643" cap="flat">
            <a:noFill/>
            <a:prstDash val="solid"/>
            <a:miter/>
          </a:ln>
        </p:spPr>
        <p:txBody>
          <a:bodyPr rtlCol="0" anchor="ctr"/>
          <a:lstStyle/>
          <a:p>
            <a:endParaRPr lang="de-DE"/>
          </a:p>
        </p:txBody>
      </p:sp>
      <p:sp>
        <p:nvSpPr>
          <p:cNvPr id="227" name="Freihandform: Form 226">
            <a:extLst>
              <a:ext uri="{FF2B5EF4-FFF2-40B4-BE49-F238E27FC236}">
                <a16:creationId xmlns:a16="http://schemas.microsoft.com/office/drawing/2014/main" id="{DBF5668C-6555-445D-96C3-10D0030AD3C2}"/>
              </a:ext>
            </a:extLst>
          </p:cNvPr>
          <p:cNvSpPr/>
          <p:nvPr userDrawn="1"/>
        </p:nvSpPr>
        <p:spPr>
          <a:xfrm>
            <a:off x="9761293" y="3040646"/>
            <a:ext cx="248198" cy="268007"/>
          </a:xfrm>
          <a:custGeom>
            <a:avLst/>
            <a:gdLst>
              <a:gd name="connsiteX0" fmla="*/ 114195 w 248198"/>
              <a:gd name="connsiteY0" fmla="*/ 268007 h 268007"/>
              <a:gd name="connsiteX1" fmla="*/ 0 w 248198"/>
              <a:gd name="connsiteY1" fmla="*/ 268007 h 268007"/>
              <a:gd name="connsiteX2" fmla="*/ 132838 w 248198"/>
              <a:gd name="connsiteY2" fmla="*/ 135169 h 268007"/>
              <a:gd name="connsiteX3" fmla="*/ 0 w 248198"/>
              <a:gd name="connsiteY3" fmla="*/ 0 h 268007"/>
              <a:gd name="connsiteX4" fmla="*/ 116525 w 248198"/>
              <a:gd name="connsiteY4" fmla="*/ 0 h 268007"/>
              <a:gd name="connsiteX5" fmla="*/ 248198 w 248198"/>
              <a:gd name="connsiteY5" fmla="*/ 131673 h 268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8007">
                <a:moveTo>
                  <a:pt x="114195" y="268007"/>
                </a:moveTo>
                <a:lnTo>
                  <a:pt x="0" y="268007"/>
                </a:lnTo>
                <a:lnTo>
                  <a:pt x="132838" y="135169"/>
                </a:lnTo>
                <a:lnTo>
                  <a:pt x="0" y="0"/>
                </a:lnTo>
                <a:lnTo>
                  <a:pt x="116525" y="0"/>
                </a:lnTo>
                <a:lnTo>
                  <a:pt x="248198" y="131673"/>
                </a:lnTo>
                <a:close/>
              </a:path>
            </a:pathLst>
          </a:custGeom>
          <a:solidFill>
            <a:srgbClr val="2657A2"/>
          </a:solidFill>
          <a:ln w="11643" cap="flat">
            <a:noFill/>
            <a:prstDash val="solid"/>
            <a:miter/>
          </a:ln>
        </p:spPr>
        <p:txBody>
          <a:bodyPr rtlCol="0" anchor="ctr"/>
          <a:lstStyle/>
          <a:p>
            <a:endParaRPr lang="de-DE"/>
          </a:p>
        </p:txBody>
      </p:sp>
      <p:sp>
        <p:nvSpPr>
          <p:cNvPr id="228" name="Freihandform: Form 227">
            <a:extLst>
              <a:ext uri="{FF2B5EF4-FFF2-40B4-BE49-F238E27FC236}">
                <a16:creationId xmlns:a16="http://schemas.microsoft.com/office/drawing/2014/main" id="{6D5129A8-5EBF-4D3E-909F-BE2E2414B7AA}"/>
              </a:ext>
            </a:extLst>
          </p:cNvPr>
          <p:cNvSpPr/>
          <p:nvPr userDrawn="1"/>
        </p:nvSpPr>
        <p:spPr>
          <a:xfrm>
            <a:off x="9761293" y="3394882"/>
            <a:ext cx="248198" cy="269172"/>
          </a:xfrm>
          <a:custGeom>
            <a:avLst/>
            <a:gdLst>
              <a:gd name="connsiteX0" fmla="*/ 114195 w 248198"/>
              <a:gd name="connsiteY0" fmla="*/ 269172 h 269172"/>
              <a:gd name="connsiteX1" fmla="*/ 0 w 248198"/>
              <a:gd name="connsiteY1" fmla="*/ 269172 h 269172"/>
              <a:gd name="connsiteX2" fmla="*/ 132838 w 248198"/>
              <a:gd name="connsiteY2" fmla="*/ 135169 h 269172"/>
              <a:gd name="connsiteX3" fmla="*/ 0 w 248198"/>
              <a:gd name="connsiteY3" fmla="*/ 0 h 269172"/>
              <a:gd name="connsiteX4" fmla="*/ 116525 w 248198"/>
              <a:gd name="connsiteY4" fmla="*/ 0 h 269172"/>
              <a:gd name="connsiteX5" fmla="*/ 248198 w 248198"/>
              <a:gd name="connsiteY5" fmla="*/ 131673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5169"/>
                </a:lnTo>
                <a:lnTo>
                  <a:pt x="0" y="0"/>
                </a:lnTo>
                <a:lnTo>
                  <a:pt x="116525" y="0"/>
                </a:lnTo>
                <a:lnTo>
                  <a:pt x="248198" y="131673"/>
                </a:lnTo>
                <a:close/>
              </a:path>
            </a:pathLst>
          </a:custGeom>
          <a:solidFill>
            <a:srgbClr val="2657A2"/>
          </a:solidFill>
          <a:ln w="11643" cap="flat">
            <a:noFill/>
            <a:prstDash val="solid"/>
            <a:miter/>
          </a:ln>
        </p:spPr>
        <p:txBody>
          <a:bodyPr rtlCol="0" anchor="ctr"/>
          <a:lstStyle/>
          <a:p>
            <a:endParaRPr lang="de-DE"/>
          </a:p>
        </p:txBody>
      </p:sp>
      <p:sp>
        <p:nvSpPr>
          <p:cNvPr id="229" name="Freihandform: Form 228">
            <a:extLst>
              <a:ext uri="{FF2B5EF4-FFF2-40B4-BE49-F238E27FC236}">
                <a16:creationId xmlns:a16="http://schemas.microsoft.com/office/drawing/2014/main" id="{9F3FEBB7-4E1F-4A67-BC5C-C145D4456456}"/>
              </a:ext>
            </a:extLst>
          </p:cNvPr>
          <p:cNvSpPr/>
          <p:nvPr userDrawn="1"/>
        </p:nvSpPr>
        <p:spPr>
          <a:xfrm>
            <a:off x="9761293" y="3750282"/>
            <a:ext cx="248198" cy="268007"/>
          </a:xfrm>
          <a:custGeom>
            <a:avLst/>
            <a:gdLst>
              <a:gd name="connsiteX0" fmla="*/ 114195 w 248198"/>
              <a:gd name="connsiteY0" fmla="*/ 268007 h 268007"/>
              <a:gd name="connsiteX1" fmla="*/ 0 w 248198"/>
              <a:gd name="connsiteY1" fmla="*/ 268007 h 268007"/>
              <a:gd name="connsiteX2" fmla="*/ 132838 w 248198"/>
              <a:gd name="connsiteY2" fmla="*/ 135169 h 268007"/>
              <a:gd name="connsiteX3" fmla="*/ 0 w 248198"/>
              <a:gd name="connsiteY3" fmla="*/ 0 h 268007"/>
              <a:gd name="connsiteX4" fmla="*/ 116525 w 248198"/>
              <a:gd name="connsiteY4" fmla="*/ 0 h 268007"/>
              <a:gd name="connsiteX5" fmla="*/ 248198 w 248198"/>
              <a:gd name="connsiteY5" fmla="*/ 131673 h 268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8007">
                <a:moveTo>
                  <a:pt x="114195" y="268007"/>
                </a:moveTo>
                <a:lnTo>
                  <a:pt x="0" y="268007"/>
                </a:lnTo>
                <a:lnTo>
                  <a:pt x="132838" y="135169"/>
                </a:lnTo>
                <a:lnTo>
                  <a:pt x="0" y="0"/>
                </a:lnTo>
                <a:lnTo>
                  <a:pt x="116525" y="0"/>
                </a:lnTo>
                <a:lnTo>
                  <a:pt x="248198" y="131673"/>
                </a:lnTo>
                <a:close/>
              </a:path>
            </a:pathLst>
          </a:custGeom>
          <a:solidFill>
            <a:srgbClr val="2657A2"/>
          </a:solidFill>
          <a:ln w="11643" cap="flat">
            <a:noFill/>
            <a:prstDash val="solid"/>
            <a:miter/>
          </a:ln>
        </p:spPr>
        <p:txBody>
          <a:bodyPr rtlCol="0" anchor="ctr"/>
          <a:lstStyle/>
          <a:p>
            <a:endParaRPr lang="de-DE"/>
          </a:p>
        </p:txBody>
      </p:sp>
      <p:sp>
        <p:nvSpPr>
          <p:cNvPr id="230" name="Freihandform: Form 229">
            <a:extLst>
              <a:ext uri="{FF2B5EF4-FFF2-40B4-BE49-F238E27FC236}">
                <a16:creationId xmlns:a16="http://schemas.microsoft.com/office/drawing/2014/main" id="{2DA9BDC8-FE60-419D-8CB1-F082C9AADAE3}"/>
              </a:ext>
            </a:extLst>
          </p:cNvPr>
          <p:cNvSpPr/>
          <p:nvPr userDrawn="1"/>
        </p:nvSpPr>
        <p:spPr>
          <a:xfrm>
            <a:off x="9761293" y="4104518"/>
            <a:ext cx="248198" cy="269172"/>
          </a:xfrm>
          <a:custGeom>
            <a:avLst/>
            <a:gdLst>
              <a:gd name="connsiteX0" fmla="*/ 114195 w 248198"/>
              <a:gd name="connsiteY0" fmla="*/ 269172 h 269172"/>
              <a:gd name="connsiteX1" fmla="*/ 0 w 248198"/>
              <a:gd name="connsiteY1" fmla="*/ 269172 h 269172"/>
              <a:gd name="connsiteX2" fmla="*/ 132838 w 248198"/>
              <a:gd name="connsiteY2" fmla="*/ 136334 h 269172"/>
              <a:gd name="connsiteX3" fmla="*/ 0 w 248198"/>
              <a:gd name="connsiteY3" fmla="*/ 0 h 269172"/>
              <a:gd name="connsiteX4" fmla="*/ 116525 w 248198"/>
              <a:gd name="connsiteY4" fmla="*/ 0 h 269172"/>
              <a:gd name="connsiteX5" fmla="*/ 248198 w 248198"/>
              <a:gd name="connsiteY5" fmla="*/ 132838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6334"/>
                </a:lnTo>
                <a:lnTo>
                  <a:pt x="0" y="0"/>
                </a:lnTo>
                <a:lnTo>
                  <a:pt x="116525" y="0"/>
                </a:lnTo>
                <a:lnTo>
                  <a:pt x="248198" y="132838"/>
                </a:lnTo>
                <a:close/>
              </a:path>
            </a:pathLst>
          </a:custGeom>
          <a:solidFill>
            <a:srgbClr val="2657A2"/>
          </a:solidFill>
          <a:ln w="11643" cap="flat">
            <a:noFill/>
            <a:prstDash val="solid"/>
            <a:miter/>
          </a:ln>
        </p:spPr>
        <p:txBody>
          <a:bodyPr rtlCol="0" anchor="ctr"/>
          <a:lstStyle/>
          <a:p>
            <a:endParaRPr lang="de-DE"/>
          </a:p>
        </p:txBody>
      </p:sp>
      <p:sp>
        <p:nvSpPr>
          <p:cNvPr id="231" name="Freihandform: Form 230">
            <a:extLst>
              <a:ext uri="{FF2B5EF4-FFF2-40B4-BE49-F238E27FC236}">
                <a16:creationId xmlns:a16="http://schemas.microsoft.com/office/drawing/2014/main" id="{806D866D-8424-49C8-9BE2-03C7A110A349}"/>
              </a:ext>
            </a:extLst>
          </p:cNvPr>
          <p:cNvSpPr/>
          <p:nvPr userDrawn="1"/>
        </p:nvSpPr>
        <p:spPr>
          <a:xfrm>
            <a:off x="9761293" y="4459918"/>
            <a:ext cx="248198" cy="268007"/>
          </a:xfrm>
          <a:custGeom>
            <a:avLst/>
            <a:gdLst>
              <a:gd name="connsiteX0" fmla="*/ 114195 w 248198"/>
              <a:gd name="connsiteY0" fmla="*/ 268007 h 268007"/>
              <a:gd name="connsiteX1" fmla="*/ 0 w 248198"/>
              <a:gd name="connsiteY1" fmla="*/ 268007 h 268007"/>
              <a:gd name="connsiteX2" fmla="*/ 132838 w 248198"/>
              <a:gd name="connsiteY2" fmla="*/ 135169 h 268007"/>
              <a:gd name="connsiteX3" fmla="*/ 0 w 248198"/>
              <a:gd name="connsiteY3" fmla="*/ 0 h 268007"/>
              <a:gd name="connsiteX4" fmla="*/ 116525 w 248198"/>
              <a:gd name="connsiteY4" fmla="*/ 0 h 268007"/>
              <a:gd name="connsiteX5" fmla="*/ 248198 w 248198"/>
              <a:gd name="connsiteY5" fmla="*/ 131673 h 268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8007">
                <a:moveTo>
                  <a:pt x="114195" y="268007"/>
                </a:moveTo>
                <a:lnTo>
                  <a:pt x="0" y="268007"/>
                </a:lnTo>
                <a:lnTo>
                  <a:pt x="132838" y="135169"/>
                </a:lnTo>
                <a:lnTo>
                  <a:pt x="0" y="0"/>
                </a:lnTo>
                <a:lnTo>
                  <a:pt x="116525" y="0"/>
                </a:lnTo>
                <a:lnTo>
                  <a:pt x="248198" y="131673"/>
                </a:lnTo>
                <a:close/>
              </a:path>
            </a:pathLst>
          </a:custGeom>
          <a:solidFill>
            <a:srgbClr val="2657A2"/>
          </a:solidFill>
          <a:ln w="11643" cap="flat">
            <a:noFill/>
            <a:prstDash val="solid"/>
            <a:miter/>
          </a:ln>
        </p:spPr>
        <p:txBody>
          <a:bodyPr rtlCol="0" anchor="ctr"/>
          <a:lstStyle/>
          <a:p>
            <a:endParaRPr lang="de-DE"/>
          </a:p>
        </p:txBody>
      </p:sp>
      <p:sp>
        <p:nvSpPr>
          <p:cNvPr id="232" name="Freihandform: Form 231">
            <a:extLst>
              <a:ext uri="{FF2B5EF4-FFF2-40B4-BE49-F238E27FC236}">
                <a16:creationId xmlns:a16="http://schemas.microsoft.com/office/drawing/2014/main" id="{28C125C8-14A7-47D1-8240-26B138F12D2B}"/>
              </a:ext>
            </a:extLst>
          </p:cNvPr>
          <p:cNvSpPr/>
          <p:nvPr userDrawn="1"/>
        </p:nvSpPr>
        <p:spPr>
          <a:xfrm>
            <a:off x="9761293" y="4814154"/>
            <a:ext cx="248198" cy="269172"/>
          </a:xfrm>
          <a:custGeom>
            <a:avLst/>
            <a:gdLst>
              <a:gd name="connsiteX0" fmla="*/ 114195 w 248198"/>
              <a:gd name="connsiteY0" fmla="*/ 269172 h 269172"/>
              <a:gd name="connsiteX1" fmla="*/ 0 w 248198"/>
              <a:gd name="connsiteY1" fmla="*/ 269172 h 269172"/>
              <a:gd name="connsiteX2" fmla="*/ 132838 w 248198"/>
              <a:gd name="connsiteY2" fmla="*/ 136334 h 269172"/>
              <a:gd name="connsiteX3" fmla="*/ 0 w 248198"/>
              <a:gd name="connsiteY3" fmla="*/ 0 h 269172"/>
              <a:gd name="connsiteX4" fmla="*/ 116525 w 248198"/>
              <a:gd name="connsiteY4" fmla="*/ 0 h 269172"/>
              <a:gd name="connsiteX5" fmla="*/ 248198 w 248198"/>
              <a:gd name="connsiteY5" fmla="*/ 132838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6334"/>
                </a:lnTo>
                <a:lnTo>
                  <a:pt x="0" y="0"/>
                </a:lnTo>
                <a:lnTo>
                  <a:pt x="116525" y="0"/>
                </a:lnTo>
                <a:lnTo>
                  <a:pt x="248198" y="132838"/>
                </a:lnTo>
                <a:close/>
              </a:path>
            </a:pathLst>
          </a:custGeom>
          <a:solidFill>
            <a:srgbClr val="2657A2"/>
          </a:solidFill>
          <a:ln w="11643" cap="flat">
            <a:noFill/>
            <a:prstDash val="solid"/>
            <a:miter/>
          </a:ln>
        </p:spPr>
        <p:txBody>
          <a:bodyPr rtlCol="0" anchor="ctr"/>
          <a:lstStyle/>
          <a:p>
            <a:endParaRPr lang="de-DE"/>
          </a:p>
        </p:txBody>
      </p:sp>
      <p:sp>
        <p:nvSpPr>
          <p:cNvPr id="233" name="Freihandform: Form 232">
            <a:extLst>
              <a:ext uri="{FF2B5EF4-FFF2-40B4-BE49-F238E27FC236}">
                <a16:creationId xmlns:a16="http://schemas.microsoft.com/office/drawing/2014/main" id="{A41817CA-266A-4928-B2AF-E1C8C6D88D87}"/>
              </a:ext>
            </a:extLst>
          </p:cNvPr>
          <p:cNvSpPr/>
          <p:nvPr userDrawn="1"/>
        </p:nvSpPr>
        <p:spPr>
          <a:xfrm>
            <a:off x="9761293" y="5169554"/>
            <a:ext cx="248198" cy="268007"/>
          </a:xfrm>
          <a:custGeom>
            <a:avLst/>
            <a:gdLst>
              <a:gd name="connsiteX0" fmla="*/ 114195 w 248198"/>
              <a:gd name="connsiteY0" fmla="*/ 268007 h 268007"/>
              <a:gd name="connsiteX1" fmla="*/ 0 w 248198"/>
              <a:gd name="connsiteY1" fmla="*/ 268007 h 268007"/>
              <a:gd name="connsiteX2" fmla="*/ 132838 w 248198"/>
              <a:gd name="connsiteY2" fmla="*/ 135169 h 268007"/>
              <a:gd name="connsiteX3" fmla="*/ 0 w 248198"/>
              <a:gd name="connsiteY3" fmla="*/ 0 h 268007"/>
              <a:gd name="connsiteX4" fmla="*/ 116525 w 248198"/>
              <a:gd name="connsiteY4" fmla="*/ 0 h 268007"/>
              <a:gd name="connsiteX5" fmla="*/ 248198 w 248198"/>
              <a:gd name="connsiteY5" fmla="*/ 131673 h 268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8007">
                <a:moveTo>
                  <a:pt x="114195" y="268007"/>
                </a:moveTo>
                <a:lnTo>
                  <a:pt x="0" y="268007"/>
                </a:lnTo>
                <a:lnTo>
                  <a:pt x="132838" y="135169"/>
                </a:lnTo>
                <a:lnTo>
                  <a:pt x="0" y="0"/>
                </a:lnTo>
                <a:lnTo>
                  <a:pt x="116525" y="0"/>
                </a:lnTo>
                <a:lnTo>
                  <a:pt x="248198" y="131673"/>
                </a:lnTo>
                <a:close/>
              </a:path>
            </a:pathLst>
          </a:custGeom>
          <a:solidFill>
            <a:srgbClr val="2657A2"/>
          </a:solidFill>
          <a:ln w="11643" cap="flat">
            <a:noFill/>
            <a:prstDash val="solid"/>
            <a:miter/>
          </a:ln>
        </p:spPr>
        <p:txBody>
          <a:bodyPr rtlCol="0" anchor="ctr"/>
          <a:lstStyle/>
          <a:p>
            <a:endParaRPr lang="de-DE"/>
          </a:p>
        </p:txBody>
      </p:sp>
      <p:sp>
        <p:nvSpPr>
          <p:cNvPr id="234" name="Freihandform: Form 233">
            <a:extLst>
              <a:ext uri="{FF2B5EF4-FFF2-40B4-BE49-F238E27FC236}">
                <a16:creationId xmlns:a16="http://schemas.microsoft.com/office/drawing/2014/main" id="{7DE4DADC-50B7-4C9F-A01A-511E8AF26178}"/>
              </a:ext>
            </a:extLst>
          </p:cNvPr>
          <p:cNvSpPr/>
          <p:nvPr userDrawn="1"/>
        </p:nvSpPr>
        <p:spPr>
          <a:xfrm>
            <a:off x="9761293" y="5523790"/>
            <a:ext cx="248198" cy="269172"/>
          </a:xfrm>
          <a:custGeom>
            <a:avLst/>
            <a:gdLst>
              <a:gd name="connsiteX0" fmla="*/ 114195 w 248198"/>
              <a:gd name="connsiteY0" fmla="*/ 269172 h 269172"/>
              <a:gd name="connsiteX1" fmla="*/ 0 w 248198"/>
              <a:gd name="connsiteY1" fmla="*/ 269172 h 269172"/>
              <a:gd name="connsiteX2" fmla="*/ 132838 w 248198"/>
              <a:gd name="connsiteY2" fmla="*/ 136334 h 269172"/>
              <a:gd name="connsiteX3" fmla="*/ 0 w 248198"/>
              <a:gd name="connsiteY3" fmla="*/ 0 h 269172"/>
              <a:gd name="connsiteX4" fmla="*/ 116525 w 248198"/>
              <a:gd name="connsiteY4" fmla="*/ 0 h 269172"/>
              <a:gd name="connsiteX5" fmla="*/ 248198 w 248198"/>
              <a:gd name="connsiteY5" fmla="*/ 132838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6334"/>
                </a:lnTo>
                <a:lnTo>
                  <a:pt x="0" y="0"/>
                </a:lnTo>
                <a:lnTo>
                  <a:pt x="116525" y="0"/>
                </a:lnTo>
                <a:lnTo>
                  <a:pt x="248198" y="132838"/>
                </a:lnTo>
                <a:close/>
              </a:path>
            </a:pathLst>
          </a:custGeom>
          <a:solidFill>
            <a:srgbClr val="2657A2"/>
          </a:solidFill>
          <a:ln w="11643" cap="flat">
            <a:noFill/>
            <a:prstDash val="solid"/>
            <a:miter/>
          </a:ln>
        </p:spPr>
        <p:txBody>
          <a:bodyPr rtlCol="0" anchor="ctr"/>
          <a:lstStyle/>
          <a:p>
            <a:endParaRPr lang="de-DE"/>
          </a:p>
        </p:txBody>
      </p:sp>
      <p:sp>
        <p:nvSpPr>
          <p:cNvPr id="235" name="Freihandform: Form 234">
            <a:extLst>
              <a:ext uri="{FF2B5EF4-FFF2-40B4-BE49-F238E27FC236}">
                <a16:creationId xmlns:a16="http://schemas.microsoft.com/office/drawing/2014/main" id="{1505C753-822F-44A6-8749-7A8B83396FAF}"/>
              </a:ext>
            </a:extLst>
          </p:cNvPr>
          <p:cNvSpPr/>
          <p:nvPr userDrawn="1"/>
        </p:nvSpPr>
        <p:spPr>
          <a:xfrm>
            <a:off x="9761293" y="5879190"/>
            <a:ext cx="248198" cy="269172"/>
          </a:xfrm>
          <a:custGeom>
            <a:avLst/>
            <a:gdLst>
              <a:gd name="connsiteX0" fmla="*/ 114195 w 248198"/>
              <a:gd name="connsiteY0" fmla="*/ 269172 h 269172"/>
              <a:gd name="connsiteX1" fmla="*/ 0 w 248198"/>
              <a:gd name="connsiteY1" fmla="*/ 269172 h 269172"/>
              <a:gd name="connsiteX2" fmla="*/ 132838 w 248198"/>
              <a:gd name="connsiteY2" fmla="*/ 135169 h 269172"/>
              <a:gd name="connsiteX3" fmla="*/ 0 w 248198"/>
              <a:gd name="connsiteY3" fmla="*/ 0 h 269172"/>
              <a:gd name="connsiteX4" fmla="*/ 116525 w 248198"/>
              <a:gd name="connsiteY4" fmla="*/ 0 h 269172"/>
              <a:gd name="connsiteX5" fmla="*/ 248198 w 248198"/>
              <a:gd name="connsiteY5" fmla="*/ 131673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5169"/>
                </a:lnTo>
                <a:lnTo>
                  <a:pt x="0" y="0"/>
                </a:lnTo>
                <a:lnTo>
                  <a:pt x="116525" y="0"/>
                </a:lnTo>
                <a:lnTo>
                  <a:pt x="248198" y="131673"/>
                </a:lnTo>
                <a:close/>
              </a:path>
            </a:pathLst>
          </a:custGeom>
          <a:solidFill>
            <a:srgbClr val="2657A2"/>
          </a:solidFill>
          <a:ln w="11643" cap="flat">
            <a:noFill/>
            <a:prstDash val="solid"/>
            <a:miter/>
          </a:ln>
        </p:spPr>
        <p:txBody>
          <a:bodyPr rtlCol="0" anchor="ctr"/>
          <a:lstStyle/>
          <a:p>
            <a:endParaRPr lang="de-DE"/>
          </a:p>
        </p:txBody>
      </p:sp>
      <p:sp>
        <p:nvSpPr>
          <p:cNvPr id="236" name="Freihandform: Form 235">
            <a:extLst>
              <a:ext uri="{FF2B5EF4-FFF2-40B4-BE49-F238E27FC236}">
                <a16:creationId xmlns:a16="http://schemas.microsoft.com/office/drawing/2014/main" id="{13F4F0C6-4107-4986-A2FF-D8B176A8A22A}"/>
              </a:ext>
            </a:extLst>
          </p:cNvPr>
          <p:cNvSpPr/>
          <p:nvPr userDrawn="1"/>
        </p:nvSpPr>
        <p:spPr>
          <a:xfrm>
            <a:off x="9761293" y="6233426"/>
            <a:ext cx="248198" cy="269172"/>
          </a:xfrm>
          <a:custGeom>
            <a:avLst/>
            <a:gdLst>
              <a:gd name="connsiteX0" fmla="*/ 114195 w 248198"/>
              <a:gd name="connsiteY0" fmla="*/ 269172 h 269172"/>
              <a:gd name="connsiteX1" fmla="*/ 0 w 248198"/>
              <a:gd name="connsiteY1" fmla="*/ 269172 h 269172"/>
              <a:gd name="connsiteX2" fmla="*/ 132838 w 248198"/>
              <a:gd name="connsiteY2" fmla="*/ 136334 h 269172"/>
              <a:gd name="connsiteX3" fmla="*/ 0 w 248198"/>
              <a:gd name="connsiteY3" fmla="*/ 0 h 269172"/>
              <a:gd name="connsiteX4" fmla="*/ 116525 w 248198"/>
              <a:gd name="connsiteY4" fmla="*/ 0 h 269172"/>
              <a:gd name="connsiteX5" fmla="*/ 248198 w 248198"/>
              <a:gd name="connsiteY5" fmla="*/ 132838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6334"/>
                </a:lnTo>
                <a:lnTo>
                  <a:pt x="0" y="0"/>
                </a:lnTo>
                <a:lnTo>
                  <a:pt x="116525" y="0"/>
                </a:lnTo>
                <a:lnTo>
                  <a:pt x="248198" y="132838"/>
                </a:lnTo>
                <a:close/>
              </a:path>
            </a:pathLst>
          </a:custGeom>
          <a:solidFill>
            <a:srgbClr val="2657A2"/>
          </a:solidFill>
          <a:ln w="11643" cap="flat">
            <a:noFill/>
            <a:prstDash val="solid"/>
            <a:miter/>
          </a:ln>
        </p:spPr>
        <p:txBody>
          <a:bodyPr rtlCol="0" anchor="ctr"/>
          <a:lstStyle/>
          <a:p>
            <a:endParaRPr lang="de-DE"/>
          </a:p>
        </p:txBody>
      </p:sp>
      <p:sp>
        <p:nvSpPr>
          <p:cNvPr id="237" name="Freihandform: Form 236">
            <a:extLst>
              <a:ext uri="{FF2B5EF4-FFF2-40B4-BE49-F238E27FC236}">
                <a16:creationId xmlns:a16="http://schemas.microsoft.com/office/drawing/2014/main" id="{59F86372-A52C-4C48-8D9D-B4ECAAC0B2F6}"/>
              </a:ext>
            </a:extLst>
          </p:cNvPr>
          <p:cNvSpPr/>
          <p:nvPr userDrawn="1"/>
        </p:nvSpPr>
        <p:spPr>
          <a:xfrm>
            <a:off x="9761293" y="6588826"/>
            <a:ext cx="248198" cy="269172"/>
          </a:xfrm>
          <a:custGeom>
            <a:avLst/>
            <a:gdLst>
              <a:gd name="connsiteX0" fmla="*/ 114195 w 248198"/>
              <a:gd name="connsiteY0" fmla="*/ 269172 h 269172"/>
              <a:gd name="connsiteX1" fmla="*/ 0 w 248198"/>
              <a:gd name="connsiteY1" fmla="*/ 269172 h 269172"/>
              <a:gd name="connsiteX2" fmla="*/ 132838 w 248198"/>
              <a:gd name="connsiteY2" fmla="*/ 135169 h 269172"/>
              <a:gd name="connsiteX3" fmla="*/ 0 w 248198"/>
              <a:gd name="connsiteY3" fmla="*/ 0 h 269172"/>
              <a:gd name="connsiteX4" fmla="*/ 116525 w 248198"/>
              <a:gd name="connsiteY4" fmla="*/ 0 h 269172"/>
              <a:gd name="connsiteX5" fmla="*/ 248198 w 248198"/>
              <a:gd name="connsiteY5" fmla="*/ 131673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5169"/>
                </a:lnTo>
                <a:lnTo>
                  <a:pt x="0" y="0"/>
                </a:lnTo>
                <a:lnTo>
                  <a:pt x="116525" y="0"/>
                </a:lnTo>
                <a:lnTo>
                  <a:pt x="248198" y="131673"/>
                </a:lnTo>
                <a:close/>
              </a:path>
            </a:pathLst>
          </a:custGeom>
          <a:solidFill>
            <a:srgbClr val="2657A2"/>
          </a:solidFill>
          <a:ln w="11643" cap="flat">
            <a:noFill/>
            <a:prstDash val="solid"/>
            <a:miter/>
          </a:ln>
        </p:spPr>
        <p:txBody>
          <a:bodyPr rtlCol="0" anchor="ctr"/>
          <a:lstStyle/>
          <a:p>
            <a:endParaRPr lang="de-DE"/>
          </a:p>
        </p:txBody>
      </p:sp>
    </p:spTree>
    <p:extLst>
      <p:ext uri="{BB962C8B-B14F-4D97-AF65-F5344CB8AC3E}">
        <p14:creationId xmlns:p14="http://schemas.microsoft.com/office/powerpoint/2010/main" val="2036735427"/>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10" presetClass="entr" presetSubtype="0" dur="1000" fill="hold" grpId="0" nodeType="afterEffect">
                                  <p:stCondLst>
                                    <p:cond delay="250"/>
                                  </p:stCondLst>
                                  <p:childTnLst>
                                    <p:set>
                                      <p:cBhvr>
                                        <p:cTn id="6" dur="1" fill="hold">
                                          <p:stCondLst>
                                            <p:cond delay="0"/>
                                          </p:stCondLst>
                                        </p:cTn>
                                        <p:tgtEl>
                                          <p:spTgt spid="13">
                                            <p:txEl>
                                              <p:pRg st="0" end="0"/>
                                            </p:txEl>
                                          </p:spTgt>
                                        </p:tgtEl>
                                        <p:attrNameLst>
                                          <p:attrName>style.visibility</p:attrName>
                                        </p:attrNameLst>
                                      </p:cBhvr>
                                      <p:to>
                                        <p:strVal val="visible"/>
                                      </p:to>
                                    </p:set>
                                    <p:animEffect transition="in" filter="fade">
                                      <p:cBhvr>
                                        <p:cTn id="7" dur="1000"/>
                                        <p:tgtEl>
                                          <p:spTgt spid="13">
                                            <p:txEl>
                                              <p:pRg st="0" end="0"/>
                                            </p:txEl>
                                          </p:spTgt>
                                        </p:tgtEl>
                                      </p:cBhvr>
                                    </p:animEffect>
                                  </p:childTnLst>
                                </p:cTn>
                              </p:par>
                              <p:par>
                                <p:cTn id="8" presetID="26" presetClass="emph" presetSubtype="0" dur="2000" repeatCount="indefinite" fill="hold" grpId="0" nodeType="withEffect">
                                  <p:stCondLst>
                                    <p:cond delay="0"/>
                                  </p:stCondLst>
                                  <p:childTnLst>
                                    <p:animEffect transition="out" filter="fade">
                                      <p:cBhvr>
                                        <p:cTn id="9" dur="2000" tmFilter="0, 0; .2, .5; .8, .5; 1, 0"/>
                                        <p:tgtEl>
                                          <p:spTgt spid="53"/>
                                        </p:tgtEl>
                                      </p:cBhvr>
                                    </p:animEffect>
                                    <p:animScale>
                                      <p:cBhvr>
                                        <p:cTn id="10" dur="1000" autoRev="1" fill="hold"/>
                                        <p:tgtEl>
                                          <p:spTgt spid="53"/>
                                        </p:tgtEl>
                                      </p:cBhvr>
                                      <p:by x="105000" y="105000"/>
                                    </p:animScale>
                                  </p:childTnLst>
                                </p:cTn>
                              </p:par>
                              <p:par>
                                <p:cTn id="11" presetID="26" presetClass="emph" presetSubtype="0" dur="2000" repeatCount="indefinite" fill="hold" grpId="0" nodeType="withEffect">
                                  <p:stCondLst>
                                    <p:cond delay="0"/>
                                  </p:stCondLst>
                                  <p:childTnLst>
                                    <p:animEffect transition="out" filter="fade">
                                      <p:cBhvr>
                                        <p:cTn id="12" dur="2000" tmFilter="0, 0; .2, .5; .8, .5; 1, 0"/>
                                        <p:tgtEl>
                                          <p:spTgt spid="54"/>
                                        </p:tgtEl>
                                      </p:cBhvr>
                                    </p:animEffect>
                                    <p:animScale>
                                      <p:cBhvr>
                                        <p:cTn id="13" dur="1000" autoRev="1" fill="hold"/>
                                        <p:tgtEl>
                                          <p:spTgt spid="54"/>
                                        </p:tgtEl>
                                      </p:cBhvr>
                                      <p:by x="105000" y="105000"/>
                                    </p:animScale>
                                  </p:childTnLst>
                                </p:cTn>
                              </p:par>
                              <p:par>
                                <p:cTn id="14" presetID="26" presetClass="emph" presetSubtype="0" dur="2000" repeatCount="indefinite" fill="hold" grpId="0" nodeType="withEffect">
                                  <p:stCondLst>
                                    <p:cond delay="0"/>
                                  </p:stCondLst>
                                  <p:childTnLst>
                                    <p:animEffect transition="out" filter="fade">
                                      <p:cBhvr>
                                        <p:cTn id="15" dur="2000" tmFilter="0, 0; .2, .5; .8, .5; 1, 0"/>
                                        <p:tgtEl>
                                          <p:spTgt spid="55"/>
                                        </p:tgtEl>
                                      </p:cBhvr>
                                    </p:animEffect>
                                    <p:animScale>
                                      <p:cBhvr>
                                        <p:cTn id="16" dur="1000" autoRev="1" fill="hold"/>
                                        <p:tgtEl>
                                          <p:spTgt spid="55"/>
                                        </p:tgtEl>
                                      </p:cBhvr>
                                      <p:by x="105000" y="105000"/>
                                    </p:animScale>
                                  </p:childTnLst>
                                </p:cTn>
                              </p:par>
                              <p:par>
                                <p:cTn id="17" presetID="26" presetClass="emph" presetSubtype="0" dur="2000" repeatCount="indefinite" fill="hold" grpId="0" nodeType="withEffect">
                                  <p:stCondLst>
                                    <p:cond delay="0"/>
                                  </p:stCondLst>
                                  <p:childTnLst>
                                    <p:animEffect transition="out" filter="fade">
                                      <p:cBhvr>
                                        <p:cTn id="18" dur="2000" tmFilter="0, 0; .2, .5; .8, .5; 1, 0"/>
                                        <p:tgtEl>
                                          <p:spTgt spid="56"/>
                                        </p:tgtEl>
                                      </p:cBhvr>
                                    </p:animEffect>
                                    <p:animScale>
                                      <p:cBhvr>
                                        <p:cTn id="19" dur="1000" autoRev="1" fill="hold"/>
                                        <p:tgtEl>
                                          <p:spTgt spid="56"/>
                                        </p:tgtEl>
                                      </p:cBhvr>
                                      <p:by x="105000" y="105000"/>
                                    </p:animScale>
                                  </p:childTnLst>
                                </p:cTn>
                              </p:par>
                              <p:par>
                                <p:cTn id="20" presetID="26" presetClass="emph" presetSubtype="0" dur="2000" repeatCount="indefinite" fill="hold" grpId="0" nodeType="withEffect">
                                  <p:stCondLst>
                                    <p:cond delay="0"/>
                                  </p:stCondLst>
                                  <p:childTnLst>
                                    <p:animEffect transition="out" filter="fade">
                                      <p:cBhvr>
                                        <p:cTn id="21" dur="2000" tmFilter="0, 0; .2, .5; .8, .5; 1, 0"/>
                                        <p:tgtEl>
                                          <p:spTgt spid="57"/>
                                        </p:tgtEl>
                                      </p:cBhvr>
                                    </p:animEffect>
                                    <p:animScale>
                                      <p:cBhvr>
                                        <p:cTn id="22" dur="1000" autoRev="1" fill="hold"/>
                                        <p:tgtEl>
                                          <p:spTgt spid="57"/>
                                        </p:tgtEl>
                                      </p:cBhvr>
                                      <p:by x="105000" y="105000"/>
                                    </p:animScale>
                                  </p:childTnLst>
                                </p:cTn>
                              </p:par>
                              <p:par>
                                <p:cTn id="23" presetID="26" presetClass="emph" presetSubtype="0" dur="2000" repeatCount="indefinite" fill="hold" grpId="0" nodeType="withEffect">
                                  <p:stCondLst>
                                    <p:cond delay="250"/>
                                  </p:stCondLst>
                                  <p:childTnLst>
                                    <p:animEffect transition="out" filter="fade">
                                      <p:cBhvr>
                                        <p:cTn id="24" dur="2000" tmFilter="0, 0; .2, .5; .8, .5; 1, 0"/>
                                        <p:tgtEl>
                                          <p:spTgt spid="58"/>
                                        </p:tgtEl>
                                      </p:cBhvr>
                                    </p:animEffect>
                                    <p:animScale>
                                      <p:cBhvr>
                                        <p:cTn id="25" dur="1000" autoRev="1" fill="hold"/>
                                        <p:tgtEl>
                                          <p:spTgt spid="58"/>
                                        </p:tgtEl>
                                      </p:cBhvr>
                                      <p:by x="105000" y="105000"/>
                                    </p:animScale>
                                  </p:childTnLst>
                                </p:cTn>
                              </p:par>
                              <p:par>
                                <p:cTn id="26" presetID="26" presetClass="emph" presetSubtype="0" dur="2000" repeatCount="indefinite" fill="hold" grpId="0" nodeType="withEffect">
                                  <p:stCondLst>
                                    <p:cond delay="250"/>
                                  </p:stCondLst>
                                  <p:childTnLst>
                                    <p:animEffect transition="out" filter="fade">
                                      <p:cBhvr>
                                        <p:cTn id="27" dur="2000" tmFilter="0, 0; .2, .5; .8, .5; 1, 0"/>
                                        <p:tgtEl>
                                          <p:spTgt spid="59"/>
                                        </p:tgtEl>
                                      </p:cBhvr>
                                    </p:animEffect>
                                    <p:animScale>
                                      <p:cBhvr>
                                        <p:cTn id="28" dur="1000" autoRev="1" fill="hold"/>
                                        <p:tgtEl>
                                          <p:spTgt spid="59"/>
                                        </p:tgtEl>
                                      </p:cBhvr>
                                      <p:by x="105000" y="105000"/>
                                    </p:animScale>
                                  </p:childTnLst>
                                </p:cTn>
                              </p:par>
                              <p:par>
                                <p:cTn id="29" presetID="26" presetClass="emph" presetSubtype="0" dur="2000" repeatCount="indefinite" fill="hold" grpId="0" nodeType="withEffect">
                                  <p:stCondLst>
                                    <p:cond delay="250"/>
                                  </p:stCondLst>
                                  <p:childTnLst>
                                    <p:animEffect transition="out" filter="fade">
                                      <p:cBhvr>
                                        <p:cTn id="30" dur="2000" tmFilter="0, 0; .2, .5; .8, .5; 1, 0"/>
                                        <p:tgtEl>
                                          <p:spTgt spid="60"/>
                                        </p:tgtEl>
                                      </p:cBhvr>
                                    </p:animEffect>
                                    <p:animScale>
                                      <p:cBhvr>
                                        <p:cTn id="31" dur="1000" autoRev="1" fill="hold"/>
                                        <p:tgtEl>
                                          <p:spTgt spid="60"/>
                                        </p:tgtEl>
                                      </p:cBhvr>
                                      <p:by x="105000" y="105000"/>
                                    </p:animScale>
                                  </p:childTnLst>
                                </p:cTn>
                              </p:par>
                              <p:par>
                                <p:cTn id="32" presetID="26" presetClass="emph" presetSubtype="0" dur="2000" repeatCount="indefinite" fill="hold" grpId="0" nodeType="withEffect">
                                  <p:stCondLst>
                                    <p:cond delay="250"/>
                                  </p:stCondLst>
                                  <p:childTnLst>
                                    <p:animEffect transition="out" filter="fade">
                                      <p:cBhvr>
                                        <p:cTn id="33" dur="2000" tmFilter="0, 0; .2, .5; .8, .5; 1, 0"/>
                                        <p:tgtEl>
                                          <p:spTgt spid="61"/>
                                        </p:tgtEl>
                                      </p:cBhvr>
                                    </p:animEffect>
                                    <p:animScale>
                                      <p:cBhvr>
                                        <p:cTn id="34" dur="1000" autoRev="1" fill="hold"/>
                                        <p:tgtEl>
                                          <p:spTgt spid="61"/>
                                        </p:tgtEl>
                                      </p:cBhvr>
                                      <p:by x="105000" y="105000"/>
                                    </p:animScale>
                                  </p:childTnLst>
                                </p:cTn>
                              </p:par>
                              <p:par>
                                <p:cTn id="35" presetID="26" presetClass="emph" presetSubtype="0" dur="2000" repeatCount="indefinite" fill="hold" grpId="0" nodeType="withEffect">
                                  <p:stCondLst>
                                    <p:cond delay="250"/>
                                  </p:stCondLst>
                                  <p:childTnLst>
                                    <p:animEffect transition="out" filter="fade">
                                      <p:cBhvr>
                                        <p:cTn id="36" dur="2000" tmFilter="0, 0; .2, .5; .8, .5; 1, 0"/>
                                        <p:tgtEl>
                                          <p:spTgt spid="62"/>
                                        </p:tgtEl>
                                      </p:cBhvr>
                                    </p:animEffect>
                                    <p:animScale>
                                      <p:cBhvr>
                                        <p:cTn id="37" dur="1000" autoRev="1" fill="hold"/>
                                        <p:tgtEl>
                                          <p:spTgt spid="62"/>
                                        </p:tgtEl>
                                      </p:cBhvr>
                                      <p:by x="105000" y="105000"/>
                                    </p:animScale>
                                  </p:childTnLst>
                                </p:cTn>
                              </p:par>
                              <p:par>
                                <p:cTn id="38" presetID="26" presetClass="emph" presetSubtype="0" dur="2000" repeatCount="indefinite" fill="hold" grpId="0" nodeType="withEffect">
                                  <p:stCondLst>
                                    <p:cond delay="250"/>
                                  </p:stCondLst>
                                  <p:childTnLst>
                                    <p:animEffect transition="out" filter="fade">
                                      <p:cBhvr>
                                        <p:cTn id="39" dur="2000" tmFilter="0, 0; .2, .5; .8, .5; 1, 0"/>
                                        <p:tgtEl>
                                          <p:spTgt spid="63"/>
                                        </p:tgtEl>
                                      </p:cBhvr>
                                    </p:animEffect>
                                    <p:animScale>
                                      <p:cBhvr>
                                        <p:cTn id="40" dur="1000" autoRev="1" fill="hold"/>
                                        <p:tgtEl>
                                          <p:spTgt spid="63"/>
                                        </p:tgtEl>
                                      </p:cBhvr>
                                      <p:by x="105000" y="105000"/>
                                    </p:animScale>
                                  </p:childTnLst>
                                </p:cTn>
                              </p:par>
                              <p:par>
                                <p:cTn id="41" presetID="26" presetClass="emph" presetSubtype="0" dur="2000" repeatCount="indefinite" fill="hold" grpId="0" nodeType="withEffect">
                                  <p:stCondLst>
                                    <p:cond delay="250"/>
                                  </p:stCondLst>
                                  <p:childTnLst>
                                    <p:animEffect transition="out" filter="fade">
                                      <p:cBhvr>
                                        <p:cTn id="42" dur="2000" tmFilter="0, 0; .2, .5; .8, .5; 1, 0"/>
                                        <p:tgtEl>
                                          <p:spTgt spid="64"/>
                                        </p:tgtEl>
                                      </p:cBhvr>
                                    </p:animEffect>
                                    <p:animScale>
                                      <p:cBhvr>
                                        <p:cTn id="43" dur="1000" autoRev="1" fill="hold"/>
                                        <p:tgtEl>
                                          <p:spTgt spid="64"/>
                                        </p:tgtEl>
                                      </p:cBhvr>
                                      <p:by x="105000" y="105000"/>
                                    </p:animScale>
                                  </p:childTnLst>
                                </p:cTn>
                              </p:par>
                              <p:par>
                                <p:cTn id="44" presetID="26" presetClass="emph" presetSubtype="0" dur="2000" repeatCount="indefinite" fill="hold" grpId="0" nodeType="withEffect">
                                  <p:stCondLst>
                                    <p:cond delay="500"/>
                                  </p:stCondLst>
                                  <p:childTnLst>
                                    <p:animEffect transition="out" filter="fade">
                                      <p:cBhvr>
                                        <p:cTn id="45" dur="2000" tmFilter="0, 0; .2, .5; .8, .5; 1, 0"/>
                                        <p:tgtEl>
                                          <p:spTgt spid="65"/>
                                        </p:tgtEl>
                                      </p:cBhvr>
                                    </p:animEffect>
                                    <p:animScale>
                                      <p:cBhvr>
                                        <p:cTn id="46" dur="1000" autoRev="1" fill="hold"/>
                                        <p:tgtEl>
                                          <p:spTgt spid="65"/>
                                        </p:tgtEl>
                                      </p:cBhvr>
                                      <p:by x="105000" y="105000"/>
                                    </p:animScale>
                                  </p:childTnLst>
                                </p:cTn>
                              </p:par>
                              <p:par>
                                <p:cTn id="47" presetID="26" presetClass="emph" presetSubtype="0" dur="2000" repeatCount="indefinite" fill="hold" grpId="0" nodeType="withEffect">
                                  <p:stCondLst>
                                    <p:cond delay="500"/>
                                  </p:stCondLst>
                                  <p:childTnLst>
                                    <p:animEffect transition="out" filter="fade">
                                      <p:cBhvr>
                                        <p:cTn id="48" dur="2000" tmFilter="0, 0; .2, .5; .8, .5; 1, 0"/>
                                        <p:tgtEl>
                                          <p:spTgt spid="66"/>
                                        </p:tgtEl>
                                      </p:cBhvr>
                                    </p:animEffect>
                                    <p:animScale>
                                      <p:cBhvr>
                                        <p:cTn id="49" dur="1000" autoRev="1" fill="hold"/>
                                        <p:tgtEl>
                                          <p:spTgt spid="66"/>
                                        </p:tgtEl>
                                      </p:cBhvr>
                                      <p:by x="105000" y="105000"/>
                                    </p:animScale>
                                  </p:childTnLst>
                                </p:cTn>
                              </p:par>
                              <p:par>
                                <p:cTn id="50" presetID="26" presetClass="emph" presetSubtype="0" dur="2000" repeatCount="indefinite" fill="hold" grpId="0" nodeType="withEffect">
                                  <p:stCondLst>
                                    <p:cond delay="500"/>
                                  </p:stCondLst>
                                  <p:childTnLst>
                                    <p:animEffect transition="out" filter="fade">
                                      <p:cBhvr>
                                        <p:cTn id="51" dur="2000" tmFilter="0, 0; .2, .5; .8, .5; 1, 0"/>
                                        <p:tgtEl>
                                          <p:spTgt spid="67"/>
                                        </p:tgtEl>
                                      </p:cBhvr>
                                    </p:animEffect>
                                    <p:animScale>
                                      <p:cBhvr>
                                        <p:cTn id="52" dur="1000" autoRev="1" fill="hold"/>
                                        <p:tgtEl>
                                          <p:spTgt spid="67"/>
                                        </p:tgtEl>
                                      </p:cBhvr>
                                      <p:by x="105000" y="105000"/>
                                    </p:animScale>
                                  </p:childTnLst>
                                </p:cTn>
                              </p:par>
                              <p:par>
                                <p:cTn id="53" presetID="26" presetClass="emph" presetSubtype="0" dur="2000" repeatCount="indefinite" fill="hold" grpId="0" nodeType="withEffect">
                                  <p:stCondLst>
                                    <p:cond delay="500"/>
                                  </p:stCondLst>
                                  <p:childTnLst>
                                    <p:animEffect transition="out" filter="fade">
                                      <p:cBhvr>
                                        <p:cTn id="54" dur="2000" tmFilter="0, 0; .2, .5; .8, .5; 1, 0"/>
                                        <p:tgtEl>
                                          <p:spTgt spid="68"/>
                                        </p:tgtEl>
                                      </p:cBhvr>
                                    </p:animEffect>
                                    <p:animScale>
                                      <p:cBhvr>
                                        <p:cTn id="55" dur="1000" autoRev="1" fill="hold"/>
                                        <p:tgtEl>
                                          <p:spTgt spid="68"/>
                                        </p:tgtEl>
                                      </p:cBhvr>
                                      <p:by x="105000" y="105000"/>
                                    </p:animScale>
                                  </p:childTnLst>
                                </p:cTn>
                              </p:par>
                              <p:par>
                                <p:cTn id="56" presetID="26" presetClass="emph" presetSubtype="0" dur="2000" repeatCount="indefinite" fill="hold" grpId="0" nodeType="withEffect">
                                  <p:stCondLst>
                                    <p:cond delay="500"/>
                                  </p:stCondLst>
                                  <p:childTnLst>
                                    <p:animEffect transition="out" filter="fade">
                                      <p:cBhvr>
                                        <p:cTn id="57" dur="2000" tmFilter="0, 0; .2, .5; .8, .5; 1, 0"/>
                                        <p:tgtEl>
                                          <p:spTgt spid="69"/>
                                        </p:tgtEl>
                                      </p:cBhvr>
                                    </p:animEffect>
                                    <p:animScale>
                                      <p:cBhvr>
                                        <p:cTn id="58" dur="1000" autoRev="1" fill="hold"/>
                                        <p:tgtEl>
                                          <p:spTgt spid="69"/>
                                        </p:tgtEl>
                                      </p:cBhvr>
                                      <p:by x="105000" y="105000"/>
                                    </p:animScale>
                                  </p:childTnLst>
                                </p:cTn>
                              </p:par>
                              <p:par>
                                <p:cTn id="59" presetID="26" presetClass="emph" presetSubtype="0" dur="2000" repeatCount="indefinite" fill="hold" grpId="0" nodeType="withEffect">
                                  <p:stCondLst>
                                    <p:cond delay="500"/>
                                  </p:stCondLst>
                                  <p:childTnLst>
                                    <p:animEffect transition="out" filter="fade">
                                      <p:cBhvr>
                                        <p:cTn id="60" dur="2000" tmFilter="0, 0; .2, .5; .8, .5; 1, 0"/>
                                        <p:tgtEl>
                                          <p:spTgt spid="70"/>
                                        </p:tgtEl>
                                      </p:cBhvr>
                                    </p:animEffect>
                                    <p:animScale>
                                      <p:cBhvr>
                                        <p:cTn id="61" dur="1000" autoRev="1" fill="hold"/>
                                        <p:tgtEl>
                                          <p:spTgt spid="70"/>
                                        </p:tgtEl>
                                      </p:cBhvr>
                                      <p:by x="105000" y="105000"/>
                                    </p:animScale>
                                  </p:childTnLst>
                                </p:cTn>
                              </p:par>
                              <p:par>
                                <p:cTn id="62" presetID="26" presetClass="emph" presetSubtype="0" dur="2000" repeatCount="indefinite" fill="hold" grpId="0" nodeType="withEffect">
                                  <p:stCondLst>
                                    <p:cond delay="500"/>
                                  </p:stCondLst>
                                  <p:childTnLst>
                                    <p:animEffect transition="out" filter="fade">
                                      <p:cBhvr>
                                        <p:cTn id="63" dur="2000" tmFilter="0, 0; .2, .5; .8, .5; 1, 0"/>
                                        <p:tgtEl>
                                          <p:spTgt spid="71"/>
                                        </p:tgtEl>
                                      </p:cBhvr>
                                    </p:animEffect>
                                    <p:animScale>
                                      <p:cBhvr>
                                        <p:cTn id="64" dur="1000" autoRev="1" fill="hold"/>
                                        <p:tgtEl>
                                          <p:spTgt spid="71"/>
                                        </p:tgtEl>
                                      </p:cBhvr>
                                      <p:by x="105000" y="105000"/>
                                    </p:animScale>
                                  </p:childTnLst>
                                </p:cTn>
                              </p:par>
                              <p:par>
                                <p:cTn id="65" presetID="26" presetClass="emph" presetSubtype="0" dur="2000" repeatCount="indefinite" fill="hold" grpId="0" nodeType="withEffect">
                                  <p:stCondLst>
                                    <p:cond delay="500"/>
                                  </p:stCondLst>
                                  <p:childTnLst>
                                    <p:animEffect transition="out" filter="fade">
                                      <p:cBhvr>
                                        <p:cTn id="66" dur="2000" tmFilter="0, 0; .2, .5; .8, .5; 1, 0"/>
                                        <p:tgtEl>
                                          <p:spTgt spid="72"/>
                                        </p:tgtEl>
                                      </p:cBhvr>
                                    </p:animEffect>
                                    <p:animScale>
                                      <p:cBhvr>
                                        <p:cTn id="67" dur="1000" autoRev="1" fill="hold"/>
                                        <p:tgtEl>
                                          <p:spTgt spid="72"/>
                                        </p:tgtEl>
                                      </p:cBhvr>
                                      <p:by x="105000" y="105000"/>
                                    </p:animScale>
                                  </p:childTnLst>
                                </p:cTn>
                              </p:par>
                              <p:par>
                                <p:cTn id="68" presetID="26" presetClass="emph" presetSubtype="0" dur="2000" repeatCount="indefinite" fill="hold" grpId="0" nodeType="withEffect">
                                  <p:stCondLst>
                                    <p:cond delay="500"/>
                                  </p:stCondLst>
                                  <p:childTnLst>
                                    <p:animEffect transition="out" filter="fade">
                                      <p:cBhvr>
                                        <p:cTn id="69" dur="2000" tmFilter="0, 0; .2, .5; .8, .5; 1, 0"/>
                                        <p:tgtEl>
                                          <p:spTgt spid="73"/>
                                        </p:tgtEl>
                                      </p:cBhvr>
                                    </p:animEffect>
                                    <p:animScale>
                                      <p:cBhvr>
                                        <p:cTn id="70" dur="1000" autoRev="1" fill="hold"/>
                                        <p:tgtEl>
                                          <p:spTgt spid="73"/>
                                        </p:tgtEl>
                                      </p:cBhvr>
                                      <p:by x="105000" y="105000"/>
                                    </p:animScale>
                                  </p:childTnLst>
                                </p:cTn>
                              </p:par>
                              <p:par>
                                <p:cTn id="71" presetID="26" presetClass="emph" presetSubtype="0" dur="2000" repeatCount="indefinite" fill="hold" grpId="0" nodeType="withEffect">
                                  <p:stCondLst>
                                    <p:cond delay="750"/>
                                  </p:stCondLst>
                                  <p:childTnLst>
                                    <p:animEffect transition="out" filter="fade">
                                      <p:cBhvr>
                                        <p:cTn id="72" dur="2000" tmFilter="0, 0; .2, .5; .8, .5; 1, 0"/>
                                        <p:tgtEl>
                                          <p:spTgt spid="74"/>
                                        </p:tgtEl>
                                      </p:cBhvr>
                                    </p:animEffect>
                                    <p:animScale>
                                      <p:cBhvr>
                                        <p:cTn id="73" dur="1000" autoRev="1" fill="hold"/>
                                        <p:tgtEl>
                                          <p:spTgt spid="74"/>
                                        </p:tgtEl>
                                      </p:cBhvr>
                                      <p:by x="105000" y="105000"/>
                                    </p:animScale>
                                  </p:childTnLst>
                                </p:cTn>
                              </p:par>
                              <p:par>
                                <p:cTn id="74" presetID="26" presetClass="emph" presetSubtype="0" dur="2000" repeatCount="indefinite" fill="hold" grpId="0" nodeType="withEffect">
                                  <p:stCondLst>
                                    <p:cond delay="750"/>
                                  </p:stCondLst>
                                  <p:childTnLst>
                                    <p:animEffect transition="out" filter="fade">
                                      <p:cBhvr>
                                        <p:cTn id="75" dur="2000" tmFilter="0, 0; .2, .5; .8, .5; 1, 0"/>
                                        <p:tgtEl>
                                          <p:spTgt spid="75"/>
                                        </p:tgtEl>
                                      </p:cBhvr>
                                    </p:animEffect>
                                    <p:animScale>
                                      <p:cBhvr>
                                        <p:cTn id="76" dur="1000" autoRev="1" fill="hold"/>
                                        <p:tgtEl>
                                          <p:spTgt spid="75"/>
                                        </p:tgtEl>
                                      </p:cBhvr>
                                      <p:by x="105000" y="105000"/>
                                    </p:animScale>
                                  </p:childTnLst>
                                </p:cTn>
                              </p:par>
                              <p:par>
                                <p:cTn id="77" presetID="26" presetClass="emph" presetSubtype="0" dur="2000" repeatCount="indefinite" fill="hold" grpId="0" nodeType="withEffect">
                                  <p:stCondLst>
                                    <p:cond delay="750"/>
                                  </p:stCondLst>
                                  <p:childTnLst>
                                    <p:animEffect transition="out" filter="fade">
                                      <p:cBhvr>
                                        <p:cTn id="78" dur="2000" tmFilter="0, 0; .2, .5; .8, .5; 1, 0"/>
                                        <p:tgtEl>
                                          <p:spTgt spid="76"/>
                                        </p:tgtEl>
                                      </p:cBhvr>
                                    </p:animEffect>
                                    <p:animScale>
                                      <p:cBhvr>
                                        <p:cTn id="79" dur="1000" autoRev="1" fill="hold"/>
                                        <p:tgtEl>
                                          <p:spTgt spid="76"/>
                                        </p:tgtEl>
                                      </p:cBhvr>
                                      <p:by x="105000" y="105000"/>
                                    </p:animScale>
                                  </p:childTnLst>
                                </p:cTn>
                              </p:par>
                              <p:par>
                                <p:cTn id="80" presetID="26" presetClass="emph" presetSubtype="0" dur="2000" repeatCount="indefinite" fill="hold" grpId="0" nodeType="withEffect">
                                  <p:stCondLst>
                                    <p:cond delay="750"/>
                                  </p:stCondLst>
                                  <p:childTnLst>
                                    <p:animEffect transition="out" filter="fade">
                                      <p:cBhvr>
                                        <p:cTn id="81" dur="2000" tmFilter="0, 0; .2, .5; .8, .5; 1, 0"/>
                                        <p:tgtEl>
                                          <p:spTgt spid="77"/>
                                        </p:tgtEl>
                                      </p:cBhvr>
                                    </p:animEffect>
                                    <p:animScale>
                                      <p:cBhvr>
                                        <p:cTn id="82" dur="1000" autoRev="1" fill="hold"/>
                                        <p:tgtEl>
                                          <p:spTgt spid="77"/>
                                        </p:tgtEl>
                                      </p:cBhvr>
                                      <p:by x="105000" y="105000"/>
                                    </p:animScale>
                                  </p:childTnLst>
                                </p:cTn>
                              </p:par>
                              <p:par>
                                <p:cTn id="83" presetID="26" presetClass="emph" presetSubtype="0" dur="2000" repeatCount="indefinite" fill="hold" grpId="0" nodeType="withEffect">
                                  <p:stCondLst>
                                    <p:cond delay="750"/>
                                  </p:stCondLst>
                                  <p:childTnLst>
                                    <p:animEffect transition="out" filter="fade">
                                      <p:cBhvr>
                                        <p:cTn id="84" dur="2000" tmFilter="0, 0; .2, .5; .8, .5; 1, 0"/>
                                        <p:tgtEl>
                                          <p:spTgt spid="78"/>
                                        </p:tgtEl>
                                      </p:cBhvr>
                                    </p:animEffect>
                                    <p:animScale>
                                      <p:cBhvr>
                                        <p:cTn id="85" dur="1000" autoRev="1" fill="hold"/>
                                        <p:tgtEl>
                                          <p:spTgt spid="78"/>
                                        </p:tgtEl>
                                      </p:cBhvr>
                                      <p:by x="105000" y="105000"/>
                                    </p:animScale>
                                  </p:childTnLst>
                                </p:cTn>
                              </p:par>
                              <p:par>
                                <p:cTn id="86" presetID="26" presetClass="emph" presetSubtype="0" dur="2000" repeatCount="indefinite" fill="hold" grpId="0" nodeType="withEffect">
                                  <p:stCondLst>
                                    <p:cond delay="750"/>
                                  </p:stCondLst>
                                  <p:childTnLst>
                                    <p:animEffect transition="out" filter="fade">
                                      <p:cBhvr>
                                        <p:cTn id="87" dur="2000" tmFilter="0, 0; .2, .5; .8, .5; 1, 0"/>
                                        <p:tgtEl>
                                          <p:spTgt spid="79"/>
                                        </p:tgtEl>
                                      </p:cBhvr>
                                    </p:animEffect>
                                    <p:animScale>
                                      <p:cBhvr>
                                        <p:cTn id="88" dur="1000" autoRev="1" fill="hold"/>
                                        <p:tgtEl>
                                          <p:spTgt spid="79"/>
                                        </p:tgtEl>
                                      </p:cBhvr>
                                      <p:by x="105000" y="105000"/>
                                    </p:animScale>
                                  </p:childTnLst>
                                </p:cTn>
                              </p:par>
                              <p:par>
                                <p:cTn id="89" presetID="26" presetClass="emph" presetSubtype="0" dur="2000" repeatCount="indefinite" fill="hold" grpId="0" nodeType="withEffect">
                                  <p:stCondLst>
                                    <p:cond delay="750"/>
                                  </p:stCondLst>
                                  <p:childTnLst>
                                    <p:animEffect transition="out" filter="fade">
                                      <p:cBhvr>
                                        <p:cTn id="90" dur="2000" tmFilter="0, 0; .2, .5; .8, .5; 1, 0"/>
                                        <p:tgtEl>
                                          <p:spTgt spid="80"/>
                                        </p:tgtEl>
                                      </p:cBhvr>
                                    </p:animEffect>
                                    <p:animScale>
                                      <p:cBhvr>
                                        <p:cTn id="91" dur="1000" autoRev="1" fill="hold"/>
                                        <p:tgtEl>
                                          <p:spTgt spid="80"/>
                                        </p:tgtEl>
                                      </p:cBhvr>
                                      <p:by x="105000" y="105000"/>
                                    </p:animScale>
                                  </p:childTnLst>
                                </p:cTn>
                              </p:par>
                              <p:par>
                                <p:cTn id="92" presetID="26" presetClass="emph" presetSubtype="0" dur="2000" repeatCount="indefinite" fill="hold" grpId="0" nodeType="withEffect">
                                  <p:stCondLst>
                                    <p:cond delay="750"/>
                                  </p:stCondLst>
                                  <p:childTnLst>
                                    <p:animEffect transition="out" filter="fade">
                                      <p:cBhvr>
                                        <p:cTn id="93" dur="2000" tmFilter="0, 0; .2, .5; .8, .5; 1, 0"/>
                                        <p:tgtEl>
                                          <p:spTgt spid="81"/>
                                        </p:tgtEl>
                                      </p:cBhvr>
                                    </p:animEffect>
                                    <p:animScale>
                                      <p:cBhvr>
                                        <p:cTn id="94" dur="1000" autoRev="1" fill="hold"/>
                                        <p:tgtEl>
                                          <p:spTgt spid="81"/>
                                        </p:tgtEl>
                                      </p:cBhvr>
                                      <p:by x="105000" y="105000"/>
                                    </p:animScale>
                                  </p:childTnLst>
                                </p:cTn>
                              </p:par>
                              <p:par>
                                <p:cTn id="95" presetID="26" presetClass="emph" presetSubtype="0" dur="2000" repeatCount="indefinite" fill="hold" grpId="0" nodeType="withEffect">
                                  <p:stCondLst>
                                    <p:cond delay="750"/>
                                  </p:stCondLst>
                                  <p:childTnLst>
                                    <p:animEffect transition="out" filter="fade">
                                      <p:cBhvr>
                                        <p:cTn id="96" dur="2000" tmFilter="0, 0; .2, .5; .8, .5; 1, 0"/>
                                        <p:tgtEl>
                                          <p:spTgt spid="82"/>
                                        </p:tgtEl>
                                      </p:cBhvr>
                                    </p:animEffect>
                                    <p:animScale>
                                      <p:cBhvr>
                                        <p:cTn id="97" dur="1000" autoRev="1" fill="hold"/>
                                        <p:tgtEl>
                                          <p:spTgt spid="82"/>
                                        </p:tgtEl>
                                      </p:cBhvr>
                                      <p:by x="105000" y="105000"/>
                                    </p:animScale>
                                  </p:childTnLst>
                                </p:cTn>
                              </p:par>
                              <p:par>
                                <p:cTn id="98" presetID="26" presetClass="emph" presetSubtype="0" dur="2000" repeatCount="indefinite" fill="hold" grpId="0" nodeType="withEffect">
                                  <p:stCondLst>
                                    <p:cond delay="750"/>
                                  </p:stCondLst>
                                  <p:childTnLst>
                                    <p:animEffect transition="out" filter="fade">
                                      <p:cBhvr>
                                        <p:cTn id="99" dur="2000" tmFilter="0, 0; .2, .5; .8, .5; 1, 0"/>
                                        <p:tgtEl>
                                          <p:spTgt spid="83"/>
                                        </p:tgtEl>
                                      </p:cBhvr>
                                    </p:animEffect>
                                    <p:animScale>
                                      <p:cBhvr>
                                        <p:cTn id="100" dur="1000" autoRev="1" fill="hold"/>
                                        <p:tgtEl>
                                          <p:spTgt spid="83"/>
                                        </p:tgtEl>
                                      </p:cBhvr>
                                      <p:by x="105000" y="105000"/>
                                    </p:animScale>
                                  </p:childTnLst>
                                </p:cTn>
                              </p:par>
                              <p:par>
                                <p:cTn id="101" presetID="26" presetClass="emph" presetSubtype="0" dur="2000" repeatCount="indefinite" fill="hold" grpId="0" nodeType="withEffect">
                                  <p:stCondLst>
                                    <p:cond delay="750"/>
                                  </p:stCondLst>
                                  <p:childTnLst>
                                    <p:animEffect transition="out" filter="fade">
                                      <p:cBhvr>
                                        <p:cTn id="102" dur="2000" tmFilter="0, 0; .2, .5; .8, .5; 1, 0"/>
                                        <p:tgtEl>
                                          <p:spTgt spid="84"/>
                                        </p:tgtEl>
                                      </p:cBhvr>
                                    </p:animEffect>
                                    <p:animScale>
                                      <p:cBhvr>
                                        <p:cTn id="103" dur="1000" autoRev="1" fill="hold"/>
                                        <p:tgtEl>
                                          <p:spTgt spid="84"/>
                                        </p:tgtEl>
                                      </p:cBhvr>
                                      <p:by x="105000" y="105000"/>
                                    </p:animScale>
                                  </p:childTnLst>
                                </p:cTn>
                              </p:par>
                              <p:par>
                                <p:cTn id="104" presetID="26" presetClass="emph" presetSubtype="0" dur="2000" repeatCount="indefinite" fill="hold" grpId="0" nodeType="withEffect">
                                  <p:stCondLst>
                                    <p:cond delay="1000"/>
                                  </p:stCondLst>
                                  <p:childTnLst>
                                    <p:animEffect transition="out" filter="fade">
                                      <p:cBhvr>
                                        <p:cTn id="105" dur="2000" tmFilter="0, 0; .2, .5; .8, .5; 1, 0"/>
                                        <p:tgtEl>
                                          <p:spTgt spid="85"/>
                                        </p:tgtEl>
                                      </p:cBhvr>
                                    </p:animEffect>
                                    <p:animScale>
                                      <p:cBhvr>
                                        <p:cTn id="106" dur="1000" autoRev="1" fill="hold"/>
                                        <p:tgtEl>
                                          <p:spTgt spid="85"/>
                                        </p:tgtEl>
                                      </p:cBhvr>
                                      <p:by x="105000" y="105000"/>
                                    </p:animScale>
                                  </p:childTnLst>
                                </p:cTn>
                              </p:par>
                              <p:par>
                                <p:cTn id="107" presetID="26" presetClass="emph" presetSubtype="0" dur="2000" repeatCount="indefinite" fill="hold" grpId="0" nodeType="withEffect">
                                  <p:stCondLst>
                                    <p:cond delay="1000"/>
                                  </p:stCondLst>
                                  <p:childTnLst>
                                    <p:animEffect transition="out" filter="fade">
                                      <p:cBhvr>
                                        <p:cTn id="108" dur="2000" tmFilter="0, 0; .2, .5; .8, .5; 1, 0"/>
                                        <p:tgtEl>
                                          <p:spTgt spid="86"/>
                                        </p:tgtEl>
                                      </p:cBhvr>
                                    </p:animEffect>
                                    <p:animScale>
                                      <p:cBhvr>
                                        <p:cTn id="109" dur="1000" autoRev="1" fill="hold"/>
                                        <p:tgtEl>
                                          <p:spTgt spid="86"/>
                                        </p:tgtEl>
                                      </p:cBhvr>
                                      <p:by x="105000" y="105000"/>
                                    </p:animScale>
                                  </p:childTnLst>
                                </p:cTn>
                              </p:par>
                              <p:par>
                                <p:cTn id="110" presetID="26" presetClass="emph" presetSubtype="0" dur="2000" repeatCount="indefinite" fill="hold" grpId="0" nodeType="withEffect">
                                  <p:stCondLst>
                                    <p:cond delay="1000"/>
                                  </p:stCondLst>
                                  <p:childTnLst>
                                    <p:animEffect transition="out" filter="fade">
                                      <p:cBhvr>
                                        <p:cTn id="111" dur="2000" tmFilter="0, 0; .2, .5; .8, .5; 1, 0"/>
                                        <p:tgtEl>
                                          <p:spTgt spid="87"/>
                                        </p:tgtEl>
                                      </p:cBhvr>
                                    </p:animEffect>
                                    <p:animScale>
                                      <p:cBhvr>
                                        <p:cTn id="112" dur="1000" autoRev="1" fill="hold"/>
                                        <p:tgtEl>
                                          <p:spTgt spid="87"/>
                                        </p:tgtEl>
                                      </p:cBhvr>
                                      <p:by x="105000" y="105000"/>
                                    </p:animScale>
                                  </p:childTnLst>
                                </p:cTn>
                              </p:par>
                              <p:par>
                                <p:cTn id="113" presetID="26" presetClass="emph" presetSubtype="0" dur="2000" repeatCount="indefinite" fill="hold" grpId="0" nodeType="withEffect">
                                  <p:stCondLst>
                                    <p:cond delay="1000"/>
                                  </p:stCondLst>
                                  <p:childTnLst>
                                    <p:animEffect transition="out" filter="fade">
                                      <p:cBhvr>
                                        <p:cTn id="114" dur="2000" tmFilter="0, 0; .2, .5; .8, .5; 1, 0"/>
                                        <p:tgtEl>
                                          <p:spTgt spid="88"/>
                                        </p:tgtEl>
                                      </p:cBhvr>
                                    </p:animEffect>
                                    <p:animScale>
                                      <p:cBhvr>
                                        <p:cTn id="115" dur="1000" autoRev="1" fill="hold"/>
                                        <p:tgtEl>
                                          <p:spTgt spid="88"/>
                                        </p:tgtEl>
                                      </p:cBhvr>
                                      <p:by x="105000" y="105000"/>
                                    </p:animScale>
                                  </p:childTnLst>
                                </p:cTn>
                              </p:par>
                              <p:par>
                                <p:cTn id="116" presetID="26" presetClass="emph" presetSubtype="0" dur="2000" repeatCount="indefinite" fill="hold" grpId="0" nodeType="withEffect">
                                  <p:stCondLst>
                                    <p:cond delay="1000"/>
                                  </p:stCondLst>
                                  <p:childTnLst>
                                    <p:animEffect transition="out" filter="fade">
                                      <p:cBhvr>
                                        <p:cTn id="117" dur="2000" tmFilter="0, 0; .2, .5; .8, .5; 1, 0"/>
                                        <p:tgtEl>
                                          <p:spTgt spid="89"/>
                                        </p:tgtEl>
                                      </p:cBhvr>
                                    </p:animEffect>
                                    <p:animScale>
                                      <p:cBhvr>
                                        <p:cTn id="118" dur="1000" autoRev="1" fill="hold"/>
                                        <p:tgtEl>
                                          <p:spTgt spid="89"/>
                                        </p:tgtEl>
                                      </p:cBhvr>
                                      <p:by x="105000" y="105000"/>
                                    </p:animScale>
                                  </p:childTnLst>
                                </p:cTn>
                              </p:par>
                              <p:par>
                                <p:cTn id="119" presetID="26" presetClass="emph" presetSubtype="0" dur="2000" repeatCount="indefinite" fill="hold" grpId="0" nodeType="withEffect">
                                  <p:stCondLst>
                                    <p:cond delay="1000"/>
                                  </p:stCondLst>
                                  <p:childTnLst>
                                    <p:animEffect transition="out" filter="fade">
                                      <p:cBhvr>
                                        <p:cTn id="120" dur="2000" tmFilter="0, 0; .2, .5; .8, .5; 1, 0"/>
                                        <p:tgtEl>
                                          <p:spTgt spid="90"/>
                                        </p:tgtEl>
                                      </p:cBhvr>
                                    </p:animEffect>
                                    <p:animScale>
                                      <p:cBhvr>
                                        <p:cTn id="121" dur="1000" autoRev="1" fill="hold"/>
                                        <p:tgtEl>
                                          <p:spTgt spid="90"/>
                                        </p:tgtEl>
                                      </p:cBhvr>
                                      <p:by x="105000" y="105000"/>
                                    </p:animScale>
                                  </p:childTnLst>
                                </p:cTn>
                              </p:par>
                              <p:par>
                                <p:cTn id="122" presetID="26" presetClass="emph" presetSubtype="0" dur="2000" repeatCount="indefinite" fill="hold" grpId="0" nodeType="withEffect">
                                  <p:stCondLst>
                                    <p:cond delay="1000"/>
                                  </p:stCondLst>
                                  <p:childTnLst>
                                    <p:animEffect transition="out" filter="fade">
                                      <p:cBhvr>
                                        <p:cTn id="123" dur="2000" tmFilter="0, 0; .2, .5; .8, .5; 1, 0"/>
                                        <p:tgtEl>
                                          <p:spTgt spid="91"/>
                                        </p:tgtEl>
                                      </p:cBhvr>
                                    </p:animEffect>
                                    <p:animScale>
                                      <p:cBhvr>
                                        <p:cTn id="124" dur="1000" autoRev="1" fill="hold"/>
                                        <p:tgtEl>
                                          <p:spTgt spid="91"/>
                                        </p:tgtEl>
                                      </p:cBhvr>
                                      <p:by x="105000" y="105000"/>
                                    </p:animScale>
                                  </p:childTnLst>
                                </p:cTn>
                              </p:par>
                              <p:par>
                                <p:cTn id="125" presetID="26" presetClass="emph" presetSubtype="0" dur="2000" repeatCount="indefinite" fill="hold" grpId="0" nodeType="withEffect">
                                  <p:stCondLst>
                                    <p:cond delay="1000"/>
                                  </p:stCondLst>
                                  <p:childTnLst>
                                    <p:animEffect transition="out" filter="fade">
                                      <p:cBhvr>
                                        <p:cTn id="126" dur="2000" tmFilter="0, 0; .2, .5; .8, .5; 1, 0"/>
                                        <p:tgtEl>
                                          <p:spTgt spid="92"/>
                                        </p:tgtEl>
                                      </p:cBhvr>
                                    </p:animEffect>
                                    <p:animScale>
                                      <p:cBhvr>
                                        <p:cTn id="127" dur="1000" autoRev="1" fill="hold"/>
                                        <p:tgtEl>
                                          <p:spTgt spid="92"/>
                                        </p:tgtEl>
                                      </p:cBhvr>
                                      <p:by x="105000" y="105000"/>
                                    </p:animScale>
                                  </p:childTnLst>
                                </p:cTn>
                              </p:par>
                              <p:par>
                                <p:cTn id="128" presetID="26" presetClass="emph" presetSubtype="0" dur="2000" repeatCount="indefinite" fill="hold" grpId="0" nodeType="withEffect">
                                  <p:stCondLst>
                                    <p:cond delay="1000"/>
                                  </p:stCondLst>
                                  <p:childTnLst>
                                    <p:animEffect transition="out" filter="fade">
                                      <p:cBhvr>
                                        <p:cTn id="129" dur="2000" tmFilter="0, 0; .2, .5; .8, .5; 1, 0"/>
                                        <p:tgtEl>
                                          <p:spTgt spid="93"/>
                                        </p:tgtEl>
                                      </p:cBhvr>
                                    </p:animEffect>
                                    <p:animScale>
                                      <p:cBhvr>
                                        <p:cTn id="130" dur="1000" autoRev="1" fill="hold"/>
                                        <p:tgtEl>
                                          <p:spTgt spid="93"/>
                                        </p:tgtEl>
                                      </p:cBhvr>
                                      <p:by x="105000" y="105000"/>
                                    </p:animScale>
                                  </p:childTnLst>
                                </p:cTn>
                              </p:par>
                              <p:par>
                                <p:cTn id="131" presetID="26" presetClass="emph" presetSubtype="0" dur="2000" repeatCount="indefinite" fill="hold" grpId="0" nodeType="withEffect">
                                  <p:stCondLst>
                                    <p:cond delay="1000"/>
                                  </p:stCondLst>
                                  <p:childTnLst>
                                    <p:animEffect transition="out" filter="fade">
                                      <p:cBhvr>
                                        <p:cTn id="132" dur="2000" tmFilter="0, 0; .2, .5; .8, .5; 1, 0"/>
                                        <p:tgtEl>
                                          <p:spTgt spid="94"/>
                                        </p:tgtEl>
                                      </p:cBhvr>
                                    </p:animEffect>
                                    <p:animScale>
                                      <p:cBhvr>
                                        <p:cTn id="133" dur="1000" autoRev="1" fill="hold"/>
                                        <p:tgtEl>
                                          <p:spTgt spid="94"/>
                                        </p:tgtEl>
                                      </p:cBhvr>
                                      <p:by x="105000" y="105000"/>
                                    </p:animScale>
                                  </p:childTnLst>
                                </p:cTn>
                              </p:par>
                              <p:par>
                                <p:cTn id="134" presetID="26" presetClass="emph" presetSubtype="0" dur="2000" repeatCount="indefinite" fill="hold" grpId="0" nodeType="withEffect">
                                  <p:stCondLst>
                                    <p:cond delay="1000"/>
                                  </p:stCondLst>
                                  <p:childTnLst>
                                    <p:animEffect transition="out" filter="fade">
                                      <p:cBhvr>
                                        <p:cTn id="135" dur="2000" tmFilter="0, 0; .2, .5; .8, .5; 1, 0"/>
                                        <p:tgtEl>
                                          <p:spTgt spid="95"/>
                                        </p:tgtEl>
                                      </p:cBhvr>
                                    </p:animEffect>
                                    <p:animScale>
                                      <p:cBhvr>
                                        <p:cTn id="136" dur="1000" autoRev="1" fill="hold"/>
                                        <p:tgtEl>
                                          <p:spTgt spid="95"/>
                                        </p:tgtEl>
                                      </p:cBhvr>
                                      <p:by x="105000" y="105000"/>
                                    </p:animScale>
                                  </p:childTnLst>
                                </p:cTn>
                              </p:par>
                              <p:par>
                                <p:cTn id="137" presetID="26" presetClass="emph" presetSubtype="0" dur="2000" repeatCount="indefinite" fill="hold" grpId="0" nodeType="withEffect">
                                  <p:stCondLst>
                                    <p:cond delay="1000"/>
                                  </p:stCondLst>
                                  <p:childTnLst>
                                    <p:animEffect transition="out" filter="fade">
                                      <p:cBhvr>
                                        <p:cTn id="138" dur="2000" tmFilter="0, 0; .2, .5; .8, .5; 1, 0"/>
                                        <p:tgtEl>
                                          <p:spTgt spid="96"/>
                                        </p:tgtEl>
                                      </p:cBhvr>
                                    </p:animEffect>
                                    <p:animScale>
                                      <p:cBhvr>
                                        <p:cTn id="139" dur="1000" autoRev="1" fill="hold"/>
                                        <p:tgtEl>
                                          <p:spTgt spid="96"/>
                                        </p:tgtEl>
                                      </p:cBhvr>
                                      <p:by x="105000" y="105000"/>
                                    </p:animScale>
                                  </p:childTnLst>
                                </p:cTn>
                              </p:par>
                              <p:par>
                                <p:cTn id="140" presetID="26" presetClass="emph" presetSubtype="0" dur="2000" repeatCount="indefinite" fill="hold" grpId="0" nodeType="withEffect">
                                  <p:stCondLst>
                                    <p:cond delay="1000"/>
                                  </p:stCondLst>
                                  <p:childTnLst>
                                    <p:animEffect transition="out" filter="fade">
                                      <p:cBhvr>
                                        <p:cTn id="141" dur="2000" tmFilter="0, 0; .2, .5; .8, .5; 1, 0"/>
                                        <p:tgtEl>
                                          <p:spTgt spid="97"/>
                                        </p:tgtEl>
                                      </p:cBhvr>
                                    </p:animEffect>
                                    <p:animScale>
                                      <p:cBhvr>
                                        <p:cTn id="142" dur="1000" autoRev="1" fill="hold"/>
                                        <p:tgtEl>
                                          <p:spTgt spid="97"/>
                                        </p:tgtEl>
                                      </p:cBhvr>
                                      <p:by x="105000" y="105000"/>
                                    </p:animScale>
                                  </p:childTnLst>
                                </p:cTn>
                              </p:par>
                              <p:par>
                                <p:cTn id="143" presetID="26" presetClass="emph" presetSubtype="0" dur="2000" repeatCount="indefinite" fill="hold" grpId="0" nodeType="withEffect">
                                  <p:stCondLst>
                                    <p:cond delay="1250"/>
                                  </p:stCondLst>
                                  <p:childTnLst>
                                    <p:animEffect transition="out" filter="fade">
                                      <p:cBhvr>
                                        <p:cTn id="144" dur="2000" tmFilter="0, 0; .2, .5; .8, .5; 1, 0"/>
                                        <p:tgtEl>
                                          <p:spTgt spid="98"/>
                                        </p:tgtEl>
                                      </p:cBhvr>
                                    </p:animEffect>
                                    <p:animScale>
                                      <p:cBhvr>
                                        <p:cTn id="145" dur="1000" autoRev="1" fill="hold"/>
                                        <p:tgtEl>
                                          <p:spTgt spid="98"/>
                                        </p:tgtEl>
                                      </p:cBhvr>
                                      <p:by x="105000" y="105000"/>
                                    </p:animScale>
                                  </p:childTnLst>
                                </p:cTn>
                              </p:par>
                              <p:par>
                                <p:cTn id="146" presetID="26" presetClass="emph" presetSubtype="0" dur="2000" repeatCount="indefinite" fill="hold" grpId="0" nodeType="withEffect">
                                  <p:stCondLst>
                                    <p:cond delay="1250"/>
                                  </p:stCondLst>
                                  <p:childTnLst>
                                    <p:animEffect transition="out" filter="fade">
                                      <p:cBhvr>
                                        <p:cTn id="147" dur="2000" tmFilter="0, 0; .2, .5; .8, .5; 1, 0"/>
                                        <p:tgtEl>
                                          <p:spTgt spid="99"/>
                                        </p:tgtEl>
                                      </p:cBhvr>
                                    </p:animEffect>
                                    <p:animScale>
                                      <p:cBhvr>
                                        <p:cTn id="148" dur="1000" autoRev="1" fill="hold"/>
                                        <p:tgtEl>
                                          <p:spTgt spid="99"/>
                                        </p:tgtEl>
                                      </p:cBhvr>
                                      <p:by x="105000" y="105000"/>
                                    </p:animScale>
                                  </p:childTnLst>
                                </p:cTn>
                              </p:par>
                              <p:par>
                                <p:cTn id="149" presetID="26" presetClass="emph" presetSubtype="0" dur="2000" repeatCount="indefinite" fill="hold" grpId="0" nodeType="withEffect">
                                  <p:stCondLst>
                                    <p:cond delay="1250"/>
                                  </p:stCondLst>
                                  <p:childTnLst>
                                    <p:animEffect transition="out" filter="fade">
                                      <p:cBhvr>
                                        <p:cTn id="150" dur="2000" tmFilter="0, 0; .2, .5; .8, .5; 1, 0"/>
                                        <p:tgtEl>
                                          <p:spTgt spid="100"/>
                                        </p:tgtEl>
                                      </p:cBhvr>
                                    </p:animEffect>
                                    <p:animScale>
                                      <p:cBhvr>
                                        <p:cTn id="151" dur="1000" autoRev="1" fill="hold"/>
                                        <p:tgtEl>
                                          <p:spTgt spid="100"/>
                                        </p:tgtEl>
                                      </p:cBhvr>
                                      <p:by x="105000" y="105000"/>
                                    </p:animScale>
                                  </p:childTnLst>
                                </p:cTn>
                              </p:par>
                              <p:par>
                                <p:cTn id="152" presetID="26" presetClass="emph" presetSubtype="0" dur="2000" repeatCount="indefinite" fill="hold" grpId="0" nodeType="withEffect">
                                  <p:stCondLst>
                                    <p:cond delay="1250"/>
                                  </p:stCondLst>
                                  <p:childTnLst>
                                    <p:animEffect transition="out" filter="fade">
                                      <p:cBhvr>
                                        <p:cTn id="153" dur="2000" tmFilter="0, 0; .2, .5; .8, .5; 1, 0"/>
                                        <p:tgtEl>
                                          <p:spTgt spid="101"/>
                                        </p:tgtEl>
                                      </p:cBhvr>
                                    </p:animEffect>
                                    <p:animScale>
                                      <p:cBhvr>
                                        <p:cTn id="154" dur="1000" autoRev="1" fill="hold"/>
                                        <p:tgtEl>
                                          <p:spTgt spid="101"/>
                                        </p:tgtEl>
                                      </p:cBhvr>
                                      <p:by x="105000" y="105000"/>
                                    </p:animScale>
                                  </p:childTnLst>
                                </p:cTn>
                              </p:par>
                              <p:par>
                                <p:cTn id="155" presetID="26" presetClass="emph" presetSubtype="0" dur="2000" repeatCount="indefinite" fill="hold" grpId="0" nodeType="withEffect">
                                  <p:stCondLst>
                                    <p:cond delay="1250"/>
                                  </p:stCondLst>
                                  <p:childTnLst>
                                    <p:animEffect transition="out" filter="fade">
                                      <p:cBhvr>
                                        <p:cTn id="156" dur="2000" tmFilter="0, 0; .2, .5; .8, .5; 1, 0"/>
                                        <p:tgtEl>
                                          <p:spTgt spid="102"/>
                                        </p:tgtEl>
                                      </p:cBhvr>
                                    </p:animEffect>
                                    <p:animScale>
                                      <p:cBhvr>
                                        <p:cTn id="157" dur="1000" autoRev="1" fill="hold"/>
                                        <p:tgtEl>
                                          <p:spTgt spid="102"/>
                                        </p:tgtEl>
                                      </p:cBhvr>
                                      <p:by x="105000" y="105000"/>
                                    </p:animScale>
                                  </p:childTnLst>
                                </p:cTn>
                              </p:par>
                              <p:par>
                                <p:cTn id="158" presetID="26" presetClass="emph" presetSubtype="0" dur="2000" repeatCount="indefinite" fill="hold" grpId="0" nodeType="withEffect">
                                  <p:stCondLst>
                                    <p:cond delay="1250"/>
                                  </p:stCondLst>
                                  <p:childTnLst>
                                    <p:animEffect transition="out" filter="fade">
                                      <p:cBhvr>
                                        <p:cTn id="159" dur="2000" tmFilter="0, 0; .2, .5; .8, .5; 1, 0"/>
                                        <p:tgtEl>
                                          <p:spTgt spid="103"/>
                                        </p:tgtEl>
                                      </p:cBhvr>
                                    </p:animEffect>
                                    <p:animScale>
                                      <p:cBhvr>
                                        <p:cTn id="160" dur="1000" autoRev="1" fill="hold"/>
                                        <p:tgtEl>
                                          <p:spTgt spid="103"/>
                                        </p:tgtEl>
                                      </p:cBhvr>
                                      <p:by x="105000" y="105000"/>
                                    </p:animScale>
                                  </p:childTnLst>
                                </p:cTn>
                              </p:par>
                              <p:par>
                                <p:cTn id="161" presetID="26" presetClass="emph" presetSubtype="0" dur="2000" repeatCount="indefinite" fill="hold" grpId="0" nodeType="withEffect">
                                  <p:stCondLst>
                                    <p:cond delay="1250"/>
                                  </p:stCondLst>
                                  <p:childTnLst>
                                    <p:animEffect transition="out" filter="fade">
                                      <p:cBhvr>
                                        <p:cTn id="162" dur="2000" tmFilter="0, 0; .2, .5; .8, .5; 1, 0"/>
                                        <p:tgtEl>
                                          <p:spTgt spid="104"/>
                                        </p:tgtEl>
                                      </p:cBhvr>
                                    </p:animEffect>
                                    <p:animScale>
                                      <p:cBhvr>
                                        <p:cTn id="163" dur="1000" autoRev="1" fill="hold"/>
                                        <p:tgtEl>
                                          <p:spTgt spid="104"/>
                                        </p:tgtEl>
                                      </p:cBhvr>
                                      <p:by x="105000" y="105000"/>
                                    </p:animScale>
                                  </p:childTnLst>
                                </p:cTn>
                              </p:par>
                              <p:par>
                                <p:cTn id="164" presetID="26" presetClass="emph" presetSubtype="0" dur="2000" repeatCount="indefinite" fill="hold" grpId="0" nodeType="withEffect">
                                  <p:stCondLst>
                                    <p:cond delay="1250"/>
                                  </p:stCondLst>
                                  <p:childTnLst>
                                    <p:animEffect transition="out" filter="fade">
                                      <p:cBhvr>
                                        <p:cTn id="165" dur="2000" tmFilter="0, 0; .2, .5; .8, .5; 1, 0"/>
                                        <p:tgtEl>
                                          <p:spTgt spid="105"/>
                                        </p:tgtEl>
                                      </p:cBhvr>
                                    </p:animEffect>
                                    <p:animScale>
                                      <p:cBhvr>
                                        <p:cTn id="166" dur="1000" autoRev="1" fill="hold"/>
                                        <p:tgtEl>
                                          <p:spTgt spid="105"/>
                                        </p:tgtEl>
                                      </p:cBhvr>
                                      <p:by x="105000" y="105000"/>
                                    </p:animScale>
                                  </p:childTnLst>
                                </p:cTn>
                              </p:par>
                              <p:par>
                                <p:cTn id="167" presetID="26" presetClass="emph" presetSubtype="0" dur="2000" repeatCount="indefinite" fill="hold" grpId="0" nodeType="withEffect">
                                  <p:stCondLst>
                                    <p:cond delay="1250"/>
                                  </p:stCondLst>
                                  <p:childTnLst>
                                    <p:animEffect transition="out" filter="fade">
                                      <p:cBhvr>
                                        <p:cTn id="168" dur="2000" tmFilter="0, 0; .2, .5; .8, .5; 1, 0"/>
                                        <p:tgtEl>
                                          <p:spTgt spid="106"/>
                                        </p:tgtEl>
                                      </p:cBhvr>
                                    </p:animEffect>
                                    <p:animScale>
                                      <p:cBhvr>
                                        <p:cTn id="169" dur="1000" autoRev="1" fill="hold"/>
                                        <p:tgtEl>
                                          <p:spTgt spid="106"/>
                                        </p:tgtEl>
                                      </p:cBhvr>
                                      <p:by x="105000" y="105000"/>
                                    </p:animScale>
                                  </p:childTnLst>
                                </p:cTn>
                              </p:par>
                              <p:par>
                                <p:cTn id="170" presetID="26" presetClass="emph" presetSubtype="0" dur="2000" repeatCount="indefinite" fill="hold" grpId="0" nodeType="withEffect">
                                  <p:stCondLst>
                                    <p:cond delay="1250"/>
                                  </p:stCondLst>
                                  <p:childTnLst>
                                    <p:animEffect transition="out" filter="fade">
                                      <p:cBhvr>
                                        <p:cTn id="171" dur="2000" tmFilter="0, 0; .2, .5; .8, .5; 1, 0"/>
                                        <p:tgtEl>
                                          <p:spTgt spid="107"/>
                                        </p:tgtEl>
                                      </p:cBhvr>
                                    </p:animEffect>
                                    <p:animScale>
                                      <p:cBhvr>
                                        <p:cTn id="172" dur="1000" autoRev="1" fill="hold"/>
                                        <p:tgtEl>
                                          <p:spTgt spid="107"/>
                                        </p:tgtEl>
                                      </p:cBhvr>
                                      <p:by x="105000" y="105000"/>
                                    </p:animScale>
                                  </p:childTnLst>
                                </p:cTn>
                              </p:par>
                              <p:par>
                                <p:cTn id="173" presetID="26" presetClass="emph" presetSubtype="0" dur="2000" repeatCount="indefinite" fill="hold" grpId="0" nodeType="withEffect">
                                  <p:stCondLst>
                                    <p:cond delay="1250"/>
                                  </p:stCondLst>
                                  <p:childTnLst>
                                    <p:animEffect transition="out" filter="fade">
                                      <p:cBhvr>
                                        <p:cTn id="174" dur="2000" tmFilter="0, 0; .2, .5; .8, .5; 1, 0"/>
                                        <p:tgtEl>
                                          <p:spTgt spid="108"/>
                                        </p:tgtEl>
                                      </p:cBhvr>
                                    </p:animEffect>
                                    <p:animScale>
                                      <p:cBhvr>
                                        <p:cTn id="175" dur="1000" autoRev="1" fill="hold"/>
                                        <p:tgtEl>
                                          <p:spTgt spid="108"/>
                                        </p:tgtEl>
                                      </p:cBhvr>
                                      <p:by x="105000" y="105000"/>
                                    </p:animScale>
                                  </p:childTnLst>
                                </p:cTn>
                              </p:par>
                              <p:par>
                                <p:cTn id="176" presetID="26" presetClass="emph" presetSubtype="0" dur="2000" repeatCount="indefinite" fill="hold" grpId="0" nodeType="withEffect">
                                  <p:stCondLst>
                                    <p:cond delay="1250"/>
                                  </p:stCondLst>
                                  <p:childTnLst>
                                    <p:animEffect transition="out" filter="fade">
                                      <p:cBhvr>
                                        <p:cTn id="177" dur="2000" tmFilter="0, 0; .2, .5; .8, .5; 1, 0"/>
                                        <p:tgtEl>
                                          <p:spTgt spid="109"/>
                                        </p:tgtEl>
                                      </p:cBhvr>
                                    </p:animEffect>
                                    <p:animScale>
                                      <p:cBhvr>
                                        <p:cTn id="178" dur="1000" autoRev="1" fill="hold"/>
                                        <p:tgtEl>
                                          <p:spTgt spid="109"/>
                                        </p:tgtEl>
                                      </p:cBhvr>
                                      <p:by x="105000" y="105000"/>
                                    </p:animScale>
                                  </p:childTnLst>
                                </p:cTn>
                              </p:par>
                              <p:par>
                                <p:cTn id="179" presetID="26" presetClass="emph" presetSubtype="0" dur="2000" repeatCount="indefinite" fill="hold" grpId="0" nodeType="withEffect">
                                  <p:stCondLst>
                                    <p:cond delay="1250"/>
                                  </p:stCondLst>
                                  <p:childTnLst>
                                    <p:animEffect transition="out" filter="fade">
                                      <p:cBhvr>
                                        <p:cTn id="180" dur="2000" tmFilter="0, 0; .2, .5; .8, .5; 1, 0"/>
                                        <p:tgtEl>
                                          <p:spTgt spid="110"/>
                                        </p:tgtEl>
                                      </p:cBhvr>
                                    </p:animEffect>
                                    <p:animScale>
                                      <p:cBhvr>
                                        <p:cTn id="181" dur="1000" autoRev="1" fill="hold"/>
                                        <p:tgtEl>
                                          <p:spTgt spid="110"/>
                                        </p:tgtEl>
                                      </p:cBhvr>
                                      <p:by x="105000" y="105000"/>
                                    </p:animScale>
                                  </p:childTnLst>
                                </p:cTn>
                              </p:par>
                              <p:par>
                                <p:cTn id="182" presetID="26" presetClass="emph" presetSubtype="0" dur="2000" repeatCount="indefinite" fill="hold" grpId="0" nodeType="withEffect">
                                  <p:stCondLst>
                                    <p:cond delay="1250"/>
                                  </p:stCondLst>
                                  <p:childTnLst>
                                    <p:animEffect transition="out" filter="fade">
                                      <p:cBhvr>
                                        <p:cTn id="183" dur="2000" tmFilter="0, 0; .2, .5; .8, .5; 1, 0"/>
                                        <p:tgtEl>
                                          <p:spTgt spid="111"/>
                                        </p:tgtEl>
                                      </p:cBhvr>
                                    </p:animEffect>
                                    <p:animScale>
                                      <p:cBhvr>
                                        <p:cTn id="184" dur="1000" autoRev="1" fill="hold"/>
                                        <p:tgtEl>
                                          <p:spTgt spid="111"/>
                                        </p:tgtEl>
                                      </p:cBhvr>
                                      <p:by x="105000" y="105000"/>
                                    </p:animScale>
                                  </p:childTnLst>
                                </p:cTn>
                              </p:par>
                              <p:par>
                                <p:cTn id="185" presetID="26" presetClass="emph" presetSubtype="0" dur="2000" repeatCount="indefinite" fill="hold" grpId="0" nodeType="withEffect">
                                  <p:stCondLst>
                                    <p:cond delay="1500"/>
                                  </p:stCondLst>
                                  <p:childTnLst>
                                    <p:animEffect transition="out" filter="fade">
                                      <p:cBhvr>
                                        <p:cTn id="186" dur="2000" tmFilter="0, 0; .2, .5; .8, .5; 1, 0"/>
                                        <p:tgtEl>
                                          <p:spTgt spid="112"/>
                                        </p:tgtEl>
                                      </p:cBhvr>
                                    </p:animEffect>
                                    <p:animScale>
                                      <p:cBhvr>
                                        <p:cTn id="187" dur="1000" autoRev="1" fill="hold"/>
                                        <p:tgtEl>
                                          <p:spTgt spid="112"/>
                                        </p:tgtEl>
                                      </p:cBhvr>
                                      <p:by x="105000" y="105000"/>
                                    </p:animScale>
                                  </p:childTnLst>
                                </p:cTn>
                              </p:par>
                              <p:par>
                                <p:cTn id="188" presetID="26" presetClass="emph" presetSubtype="0" dur="2000" repeatCount="indefinite" fill="hold" grpId="0" nodeType="withEffect">
                                  <p:stCondLst>
                                    <p:cond delay="1500"/>
                                  </p:stCondLst>
                                  <p:childTnLst>
                                    <p:animEffect transition="out" filter="fade">
                                      <p:cBhvr>
                                        <p:cTn id="189" dur="2000" tmFilter="0, 0; .2, .5; .8, .5; 1, 0"/>
                                        <p:tgtEl>
                                          <p:spTgt spid="113"/>
                                        </p:tgtEl>
                                      </p:cBhvr>
                                    </p:animEffect>
                                    <p:animScale>
                                      <p:cBhvr>
                                        <p:cTn id="190" dur="1000" autoRev="1" fill="hold"/>
                                        <p:tgtEl>
                                          <p:spTgt spid="113"/>
                                        </p:tgtEl>
                                      </p:cBhvr>
                                      <p:by x="105000" y="105000"/>
                                    </p:animScale>
                                  </p:childTnLst>
                                </p:cTn>
                              </p:par>
                              <p:par>
                                <p:cTn id="191" presetID="26" presetClass="emph" presetSubtype="0" dur="2000" repeatCount="indefinite" fill="hold" grpId="0" nodeType="withEffect">
                                  <p:stCondLst>
                                    <p:cond delay="1500"/>
                                  </p:stCondLst>
                                  <p:childTnLst>
                                    <p:animEffect transition="out" filter="fade">
                                      <p:cBhvr>
                                        <p:cTn id="192" dur="2000" tmFilter="0, 0; .2, .5; .8, .5; 1, 0"/>
                                        <p:tgtEl>
                                          <p:spTgt spid="114"/>
                                        </p:tgtEl>
                                      </p:cBhvr>
                                    </p:animEffect>
                                    <p:animScale>
                                      <p:cBhvr>
                                        <p:cTn id="193" dur="1000" autoRev="1" fill="hold"/>
                                        <p:tgtEl>
                                          <p:spTgt spid="114"/>
                                        </p:tgtEl>
                                      </p:cBhvr>
                                      <p:by x="105000" y="105000"/>
                                    </p:animScale>
                                  </p:childTnLst>
                                </p:cTn>
                              </p:par>
                              <p:par>
                                <p:cTn id="194" presetID="26" presetClass="emph" presetSubtype="0" dur="2000" repeatCount="indefinite" fill="hold" grpId="0" nodeType="withEffect">
                                  <p:stCondLst>
                                    <p:cond delay="1500"/>
                                  </p:stCondLst>
                                  <p:childTnLst>
                                    <p:animEffect transition="out" filter="fade">
                                      <p:cBhvr>
                                        <p:cTn id="195" dur="2000" tmFilter="0, 0; .2, .5; .8, .5; 1, 0"/>
                                        <p:tgtEl>
                                          <p:spTgt spid="115"/>
                                        </p:tgtEl>
                                      </p:cBhvr>
                                    </p:animEffect>
                                    <p:animScale>
                                      <p:cBhvr>
                                        <p:cTn id="196" dur="1000" autoRev="1" fill="hold"/>
                                        <p:tgtEl>
                                          <p:spTgt spid="115"/>
                                        </p:tgtEl>
                                      </p:cBhvr>
                                      <p:by x="105000" y="105000"/>
                                    </p:animScale>
                                  </p:childTnLst>
                                </p:cTn>
                              </p:par>
                              <p:par>
                                <p:cTn id="197" presetID="26" presetClass="emph" presetSubtype="0" dur="2000" repeatCount="indefinite" fill="hold" grpId="0" nodeType="withEffect">
                                  <p:stCondLst>
                                    <p:cond delay="1500"/>
                                  </p:stCondLst>
                                  <p:childTnLst>
                                    <p:animEffect transition="out" filter="fade">
                                      <p:cBhvr>
                                        <p:cTn id="198" dur="2000" tmFilter="0, 0; .2, .5; .8, .5; 1, 0"/>
                                        <p:tgtEl>
                                          <p:spTgt spid="116"/>
                                        </p:tgtEl>
                                      </p:cBhvr>
                                    </p:animEffect>
                                    <p:animScale>
                                      <p:cBhvr>
                                        <p:cTn id="199" dur="1000" autoRev="1" fill="hold"/>
                                        <p:tgtEl>
                                          <p:spTgt spid="116"/>
                                        </p:tgtEl>
                                      </p:cBhvr>
                                      <p:by x="105000" y="105000"/>
                                    </p:animScale>
                                  </p:childTnLst>
                                </p:cTn>
                              </p:par>
                              <p:par>
                                <p:cTn id="200" presetID="26" presetClass="emph" presetSubtype="0" dur="2000" repeatCount="indefinite" fill="hold" grpId="0" nodeType="withEffect">
                                  <p:stCondLst>
                                    <p:cond delay="1500"/>
                                  </p:stCondLst>
                                  <p:childTnLst>
                                    <p:animEffect transition="out" filter="fade">
                                      <p:cBhvr>
                                        <p:cTn id="201" dur="2000" tmFilter="0, 0; .2, .5; .8, .5; 1, 0"/>
                                        <p:tgtEl>
                                          <p:spTgt spid="117"/>
                                        </p:tgtEl>
                                      </p:cBhvr>
                                    </p:animEffect>
                                    <p:animScale>
                                      <p:cBhvr>
                                        <p:cTn id="202" dur="1000" autoRev="1" fill="hold"/>
                                        <p:tgtEl>
                                          <p:spTgt spid="117"/>
                                        </p:tgtEl>
                                      </p:cBhvr>
                                      <p:by x="105000" y="105000"/>
                                    </p:animScale>
                                  </p:childTnLst>
                                </p:cTn>
                              </p:par>
                              <p:par>
                                <p:cTn id="203" presetID="26" presetClass="emph" presetSubtype="0" dur="2000" repeatCount="indefinite" fill="hold" grpId="0" nodeType="withEffect">
                                  <p:stCondLst>
                                    <p:cond delay="1500"/>
                                  </p:stCondLst>
                                  <p:childTnLst>
                                    <p:animEffect transition="out" filter="fade">
                                      <p:cBhvr>
                                        <p:cTn id="204" dur="2000" tmFilter="0, 0; .2, .5; .8, .5; 1, 0"/>
                                        <p:tgtEl>
                                          <p:spTgt spid="118"/>
                                        </p:tgtEl>
                                      </p:cBhvr>
                                    </p:animEffect>
                                    <p:animScale>
                                      <p:cBhvr>
                                        <p:cTn id="205" dur="1000" autoRev="1" fill="hold"/>
                                        <p:tgtEl>
                                          <p:spTgt spid="118"/>
                                        </p:tgtEl>
                                      </p:cBhvr>
                                      <p:by x="105000" y="105000"/>
                                    </p:animScale>
                                  </p:childTnLst>
                                </p:cTn>
                              </p:par>
                              <p:par>
                                <p:cTn id="206" presetID="26" presetClass="emph" presetSubtype="0" dur="2000" repeatCount="indefinite" fill="hold" grpId="0" nodeType="withEffect">
                                  <p:stCondLst>
                                    <p:cond delay="1500"/>
                                  </p:stCondLst>
                                  <p:childTnLst>
                                    <p:animEffect transition="out" filter="fade">
                                      <p:cBhvr>
                                        <p:cTn id="207" dur="2000" tmFilter="0, 0; .2, .5; .8, .5; 1, 0"/>
                                        <p:tgtEl>
                                          <p:spTgt spid="119"/>
                                        </p:tgtEl>
                                      </p:cBhvr>
                                    </p:animEffect>
                                    <p:animScale>
                                      <p:cBhvr>
                                        <p:cTn id="208" dur="1000" autoRev="1" fill="hold"/>
                                        <p:tgtEl>
                                          <p:spTgt spid="119"/>
                                        </p:tgtEl>
                                      </p:cBhvr>
                                      <p:by x="105000" y="105000"/>
                                    </p:animScale>
                                  </p:childTnLst>
                                </p:cTn>
                              </p:par>
                              <p:par>
                                <p:cTn id="209" presetID="26" presetClass="emph" presetSubtype="0" dur="2000" repeatCount="indefinite" fill="hold" grpId="0" nodeType="withEffect">
                                  <p:stCondLst>
                                    <p:cond delay="1500"/>
                                  </p:stCondLst>
                                  <p:childTnLst>
                                    <p:animEffect transition="out" filter="fade">
                                      <p:cBhvr>
                                        <p:cTn id="210" dur="2000" tmFilter="0, 0; .2, .5; .8, .5; 1, 0"/>
                                        <p:tgtEl>
                                          <p:spTgt spid="120"/>
                                        </p:tgtEl>
                                      </p:cBhvr>
                                    </p:animEffect>
                                    <p:animScale>
                                      <p:cBhvr>
                                        <p:cTn id="211" dur="1000" autoRev="1" fill="hold"/>
                                        <p:tgtEl>
                                          <p:spTgt spid="120"/>
                                        </p:tgtEl>
                                      </p:cBhvr>
                                      <p:by x="105000" y="105000"/>
                                    </p:animScale>
                                  </p:childTnLst>
                                </p:cTn>
                              </p:par>
                              <p:par>
                                <p:cTn id="212" presetID="26" presetClass="emph" presetSubtype="0" dur="2000" repeatCount="indefinite" fill="hold" grpId="0" nodeType="withEffect">
                                  <p:stCondLst>
                                    <p:cond delay="1500"/>
                                  </p:stCondLst>
                                  <p:childTnLst>
                                    <p:animEffect transition="out" filter="fade">
                                      <p:cBhvr>
                                        <p:cTn id="213" dur="2000" tmFilter="0, 0; .2, .5; .8, .5; 1, 0"/>
                                        <p:tgtEl>
                                          <p:spTgt spid="121"/>
                                        </p:tgtEl>
                                      </p:cBhvr>
                                    </p:animEffect>
                                    <p:animScale>
                                      <p:cBhvr>
                                        <p:cTn id="214" dur="1000" autoRev="1" fill="hold"/>
                                        <p:tgtEl>
                                          <p:spTgt spid="121"/>
                                        </p:tgtEl>
                                      </p:cBhvr>
                                      <p:by x="105000" y="105000"/>
                                    </p:animScale>
                                  </p:childTnLst>
                                </p:cTn>
                              </p:par>
                              <p:par>
                                <p:cTn id="215" presetID="26" presetClass="emph" presetSubtype="0" dur="2000" repeatCount="indefinite" fill="hold" grpId="0" nodeType="withEffect">
                                  <p:stCondLst>
                                    <p:cond delay="1500"/>
                                  </p:stCondLst>
                                  <p:childTnLst>
                                    <p:animEffect transition="out" filter="fade">
                                      <p:cBhvr>
                                        <p:cTn id="216" dur="2000" tmFilter="0, 0; .2, .5; .8, .5; 1, 0"/>
                                        <p:tgtEl>
                                          <p:spTgt spid="122"/>
                                        </p:tgtEl>
                                      </p:cBhvr>
                                    </p:animEffect>
                                    <p:animScale>
                                      <p:cBhvr>
                                        <p:cTn id="217" dur="1000" autoRev="1" fill="hold"/>
                                        <p:tgtEl>
                                          <p:spTgt spid="122"/>
                                        </p:tgtEl>
                                      </p:cBhvr>
                                      <p:by x="105000" y="105000"/>
                                    </p:animScale>
                                  </p:childTnLst>
                                </p:cTn>
                              </p:par>
                              <p:par>
                                <p:cTn id="218" presetID="26" presetClass="emph" presetSubtype="0" dur="2000" repeatCount="indefinite" fill="hold" grpId="0" nodeType="withEffect">
                                  <p:stCondLst>
                                    <p:cond delay="1500"/>
                                  </p:stCondLst>
                                  <p:childTnLst>
                                    <p:animEffect transition="out" filter="fade">
                                      <p:cBhvr>
                                        <p:cTn id="219" dur="2000" tmFilter="0, 0; .2, .5; .8, .5; 1, 0"/>
                                        <p:tgtEl>
                                          <p:spTgt spid="123"/>
                                        </p:tgtEl>
                                      </p:cBhvr>
                                    </p:animEffect>
                                    <p:animScale>
                                      <p:cBhvr>
                                        <p:cTn id="220" dur="1000" autoRev="1" fill="hold"/>
                                        <p:tgtEl>
                                          <p:spTgt spid="123"/>
                                        </p:tgtEl>
                                      </p:cBhvr>
                                      <p:by x="105000" y="105000"/>
                                    </p:animScale>
                                  </p:childTnLst>
                                </p:cTn>
                              </p:par>
                              <p:par>
                                <p:cTn id="221" presetID="26" presetClass="emph" presetSubtype="0" dur="2000" repeatCount="indefinite" fill="hold" grpId="0" nodeType="withEffect">
                                  <p:stCondLst>
                                    <p:cond delay="1500"/>
                                  </p:stCondLst>
                                  <p:childTnLst>
                                    <p:animEffect transition="out" filter="fade">
                                      <p:cBhvr>
                                        <p:cTn id="222" dur="2000" tmFilter="0, 0; .2, .5; .8, .5; 1, 0"/>
                                        <p:tgtEl>
                                          <p:spTgt spid="124"/>
                                        </p:tgtEl>
                                      </p:cBhvr>
                                    </p:animEffect>
                                    <p:animScale>
                                      <p:cBhvr>
                                        <p:cTn id="223" dur="1000" autoRev="1" fill="hold"/>
                                        <p:tgtEl>
                                          <p:spTgt spid="124"/>
                                        </p:tgtEl>
                                      </p:cBhvr>
                                      <p:by x="105000" y="105000"/>
                                    </p:animScale>
                                  </p:childTnLst>
                                </p:cTn>
                              </p:par>
                              <p:par>
                                <p:cTn id="224" presetID="26" presetClass="emph" presetSubtype="0" dur="2000" repeatCount="indefinite" fill="hold" grpId="0" nodeType="withEffect">
                                  <p:stCondLst>
                                    <p:cond delay="1500"/>
                                  </p:stCondLst>
                                  <p:childTnLst>
                                    <p:animEffect transition="out" filter="fade">
                                      <p:cBhvr>
                                        <p:cTn id="225" dur="2000" tmFilter="0, 0; .2, .5; .8, .5; 1, 0"/>
                                        <p:tgtEl>
                                          <p:spTgt spid="125"/>
                                        </p:tgtEl>
                                      </p:cBhvr>
                                    </p:animEffect>
                                    <p:animScale>
                                      <p:cBhvr>
                                        <p:cTn id="226" dur="1000" autoRev="1" fill="hold"/>
                                        <p:tgtEl>
                                          <p:spTgt spid="125"/>
                                        </p:tgtEl>
                                      </p:cBhvr>
                                      <p:by x="105000" y="105000"/>
                                    </p:animScale>
                                  </p:childTnLst>
                                </p:cTn>
                              </p:par>
                              <p:par>
                                <p:cTn id="227" presetID="26" presetClass="emph" presetSubtype="0" dur="2000" repeatCount="indefinite" fill="hold" grpId="0" nodeType="withEffect">
                                  <p:stCondLst>
                                    <p:cond delay="1750"/>
                                  </p:stCondLst>
                                  <p:childTnLst>
                                    <p:animEffect transition="out" filter="fade">
                                      <p:cBhvr>
                                        <p:cTn id="228" dur="2000" tmFilter="0, 0; .2, .5; .8, .5; 1, 0"/>
                                        <p:tgtEl>
                                          <p:spTgt spid="126"/>
                                        </p:tgtEl>
                                      </p:cBhvr>
                                    </p:animEffect>
                                    <p:animScale>
                                      <p:cBhvr>
                                        <p:cTn id="229" dur="1000" autoRev="1" fill="hold"/>
                                        <p:tgtEl>
                                          <p:spTgt spid="126"/>
                                        </p:tgtEl>
                                      </p:cBhvr>
                                      <p:by x="105000" y="105000"/>
                                    </p:animScale>
                                  </p:childTnLst>
                                </p:cTn>
                              </p:par>
                              <p:par>
                                <p:cTn id="230" presetID="26" presetClass="emph" presetSubtype="0" dur="2000" repeatCount="indefinite" fill="hold" grpId="0" nodeType="withEffect">
                                  <p:stCondLst>
                                    <p:cond delay="1750"/>
                                  </p:stCondLst>
                                  <p:childTnLst>
                                    <p:animEffect transition="out" filter="fade">
                                      <p:cBhvr>
                                        <p:cTn id="231" dur="2000" tmFilter="0, 0; .2, .5; .8, .5; 1, 0"/>
                                        <p:tgtEl>
                                          <p:spTgt spid="127"/>
                                        </p:tgtEl>
                                      </p:cBhvr>
                                    </p:animEffect>
                                    <p:animScale>
                                      <p:cBhvr>
                                        <p:cTn id="232" dur="1000" autoRev="1" fill="hold"/>
                                        <p:tgtEl>
                                          <p:spTgt spid="127"/>
                                        </p:tgtEl>
                                      </p:cBhvr>
                                      <p:by x="105000" y="105000"/>
                                    </p:animScale>
                                  </p:childTnLst>
                                </p:cTn>
                              </p:par>
                              <p:par>
                                <p:cTn id="233" presetID="26" presetClass="emph" presetSubtype="0" dur="2000" repeatCount="indefinite" fill="hold" grpId="0" nodeType="withEffect">
                                  <p:stCondLst>
                                    <p:cond delay="1750"/>
                                  </p:stCondLst>
                                  <p:childTnLst>
                                    <p:animEffect transition="out" filter="fade">
                                      <p:cBhvr>
                                        <p:cTn id="234" dur="2000" tmFilter="0, 0; .2, .5; .8, .5; 1, 0"/>
                                        <p:tgtEl>
                                          <p:spTgt spid="128"/>
                                        </p:tgtEl>
                                      </p:cBhvr>
                                    </p:animEffect>
                                    <p:animScale>
                                      <p:cBhvr>
                                        <p:cTn id="235" dur="1000" autoRev="1" fill="hold"/>
                                        <p:tgtEl>
                                          <p:spTgt spid="128"/>
                                        </p:tgtEl>
                                      </p:cBhvr>
                                      <p:by x="105000" y="105000"/>
                                    </p:animScale>
                                  </p:childTnLst>
                                </p:cTn>
                              </p:par>
                              <p:par>
                                <p:cTn id="236" presetID="26" presetClass="emph" presetSubtype="0" dur="2000" repeatCount="indefinite" fill="hold" grpId="0" nodeType="withEffect">
                                  <p:stCondLst>
                                    <p:cond delay="1750"/>
                                  </p:stCondLst>
                                  <p:childTnLst>
                                    <p:animEffect transition="out" filter="fade">
                                      <p:cBhvr>
                                        <p:cTn id="237" dur="2000" tmFilter="0, 0; .2, .5; .8, .5; 1, 0"/>
                                        <p:tgtEl>
                                          <p:spTgt spid="129"/>
                                        </p:tgtEl>
                                      </p:cBhvr>
                                    </p:animEffect>
                                    <p:animScale>
                                      <p:cBhvr>
                                        <p:cTn id="238" dur="1000" autoRev="1" fill="hold"/>
                                        <p:tgtEl>
                                          <p:spTgt spid="129"/>
                                        </p:tgtEl>
                                      </p:cBhvr>
                                      <p:by x="105000" y="105000"/>
                                    </p:animScale>
                                  </p:childTnLst>
                                </p:cTn>
                              </p:par>
                              <p:par>
                                <p:cTn id="239" presetID="26" presetClass="emph" presetSubtype="0" dur="2000" repeatCount="indefinite" fill="hold" grpId="0" nodeType="withEffect">
                                  <p:stCondLst>
                                    <p:cond delay="1750"/>
                                  </p:stCondLst>
                                  <p:childTnLst>
                                    <p:animEffect transition="out" filter="fade">
                                      <p:cBhvr>
                                        <p:cTn id="240" dur="2000" tmFilter="0, 0; .2, .5; .8, .5; 1, 0"/>
                                        <p:tgtEl>
                                          <p:spTgt spid="130"/>
                                        </p:tgtEl>
                                      </p:cBhvr>
                                    </p:animEffect>
                                    <p:animScale>
                                      <p:cBhvr>
                                        <p:cTn id="241" dur="1000" autoRev="1" fill="hold"/>
                                        <p:tgtEl>
                                          <p:spTgt spid="130"/>
                                        </p:tgtEl>
                                      </p:cBhvr>
                                      <p:by x="105000" y="105000"/>
                                    </p:animScale>
                                  </p:childTnLst>
                                </p:cTn>
                              </p:par>
                              <p:par>
                                <p:cTn id="242" presetID="26" presetClass="emph" presetSubtype="0" dur="2000" repeatCount="indefinite" fill="hold" grpId="0" nodeType="withEffect">
                                  <p:stCondLst>
                                    <p:cond delay="1750"/>
                                  </p:stCondLst>
                                  <p:childTnLst>
                                    <p:animEffect transition="out" filter="fade">
                                      <p:cBhvr>
                                        <p:cTn id="243" dur="2000" tmFilter="0, 0; .2, .5; .8, .5; 1, 0"/>
                                        <p:tgtEl>
                                          <p:spTgt spid="131"/>
                                        </p:tgtEl>
                                      </p:cBhvr>
                                    </p:animEffect>
                                    <p:animScale>
                                      <p:cBhvr>
                                        <p:cTn id="244" dur="1000" autoRev="1" fill="hold"/>
                                        <p:tgtEl>
                                          <p:spTgt spid="131"/>
                                        </p:tgtEl>
                                      </p:cBhvr>
                                      <p:by x="105000" y="105000"/>
                                    </p:animScale>
                                  </p:childTnLst>
                                </p:cTn>
                              </p:par>
                              <p:par>
                                <p:cTn id="245" presetID="26" presetClass="emph" presetSubtype="0" dur="2000" repeatCount="indefinite" fill="hold" grpId="0" nodeType="withEffect">
                                  <p:stCondLst>
                                    <p:cond delay="1750"/>
                                  </p:stCondLst>
                                  <p:childTnLst>
                                    <p:animEffect transition="out" filter="fade">
                                      <p:cBhvr>
                                        <p:cTn id="246" dur="2000" tmFilter="0, 0; .2, .5; .8, .5; 1, 0"/>
                                        <p:tgtEl>
                                          <p:spTgt spid="132"/>
                                        </p:tgtEl>
                                      </p:cBhvr>
                                    </p:animEffect>
                                    <p:animScale>
                                      <p:cBhvr>
                                        <p:cTn id="247" dur="1000" autoRev="1" fill="hold"/>
                                        <p:tgtEl>
                                          <p:spTgt spid="132"/>
                                        </p:tgtEl>
                                      </p:cBhvr>
                                      <p:by x="105000" y="105000"/>
                                    </p:animScale>
                                  </p:childTnLst>
                                </p:cTn>
                              </p:par>
                              <p:par>
                                <p:cTn id="248" presetID="26" presetClass="emph" presetSubtype="0" dur="2000" repeatCount="indefinite" fill="hold" grpId="0" nodeType="withEffect">
                                  <p:stCondLst>
                                    <p:cond delay="1750"/>
                                  </p:stCondLst>
                                  <p:childTnLst>
                                    <p:animEffect transition="out" filter="fade">
                                      <p:cBhvr>
                                        <p:cTn id="249" dur="2000" tmFilter="0, 0; .2, .5; .8, .5; 1, 0"/>
                                        <p:tgtEl>
                                          <p:spTgt spid="133"/>
                                        </p:tgtEl>
                                      </p:cBhvr>
                                    </p:animEffect>
                                    <p:animScale>
                                      <p:cBhvr>
                                        <p:cTn id="250" dur="1000" autoRev="1" fill="hold"/>
                                        <p:tgtEl>
                                          <p:spTgt spid="133"/>
                                        </p:tgtEl>
                                      </p:cBhvr>
                                      <p:by x="105000" y="105000"/>
                                    </p:animScale>
                                  </p:childTnLst>
                                </p:cTn>
                              </p:par>
                              <p:par>
                                <p:cTn id="251" presetID="26" presetClass="emph" presetSubtype="0" dur="2000" repeatCount="indefinite" fill="hold" grpId="0" nodeType="withEffect">
                                  <p:stCondLst>
                                    <p:cond delay="1750"/>
                                  </p:stCondLst>
                                  <p:childTnLst>
                                    <p:animEffect transition="out" filter="fade">
                                      <p:cBhvr>
                                        <p:cTn id="252" dur="2000" tmFilter="0, 0; .2, .5; .8, .5; 1, 0"/>
                                        <p:tgtEl>
                                          <p:spTgt spid="134"/>
                                        </p:tgtEl>
                                      </p:cBhvr>
                                    </p:animEffect>
                                    <p:animScale>
                                      <p:cBhvr>
                                        <p:cTn id="253" dur="1000" autoRev="1" fill="hold"/>
                                        <p:tgtEl>
                                          <p:spTgt spid="134"/>
                                        </p:tgtEl>
                                      </p:cBhvr>
                                      <p:by x="105000" y="105000"/>
                                    </p:animScale>
                                  </p:childTnLst>
                                </p:cTn>
                              </p:par>
                              <p:par>
                                <p:cTn id="254" presetID="26" presetClass="emph" presetSubtype="0" dur="2000" repeatCount="indefinite" fill="hold" grpId="0" nodeType="withEffect">
                                  <p:stCondLst>
                                    <p:cond delay="1750"/>
                                  </p:stCondLst>
                                  <p:childTnLst>
                                    <p:animEffect transition="out" filter="fade">
                                      <p:cBhvr>
                                        <p:cTn id="255" dur="2000" tmFilter="0, 0; .2, .5; .8, .5; 1, 0"/>
                                        <p:tgtEl>
                                          <p:spTgt spid="135"/>
                                        </p:tgtEl>
                                      </p:cBhvr>
                                    </p:animEffect>
                                    <p:animScale>
                                      <p:cBhvr>
                                        <p:cTn id="256" dur="1000" autoRev="1" fill="hold"/>
                                        <p:tgtEl>
                                          <p:spTgt spid="135"/>
                                        </p:tgtEl>
                                      </p:cBhvr>
                                      <p:by x="105000" y="105000"/>
                                    </p:animScale>
                                  </p:childTnLst>
                                </p:cTn>
                              </p:par>
                              <p:par>
                                <p:cTn id="257" presetID="26" presetClass="emph" presetSubtype="0" dur="2000" repeatCount="indefinite" fill="hold" grpId="0" nodeType="withEffect">
                                  <p:stCondLst>
                                    <p:cond delay="1750"/>
                                  </p:stCondLst>
                                  <p:childTnLst>
                                    <p:animEffect transition="out" filter="fade">
                                      <p:cBhvr>
                                        <p:cTn id="258" dur="2000" tmFilter="0, 0; .2, .5; .8, .5; 1, 0"/>
                                        <p:tgtEl>
                                          <p:spTgt spid="136"/>
                                        </p:tgtEl>
                                      </p:cBhvr>
                                    </p:animEffect>
                                    <p:animScale>
                                      <p:cBhvr>
                                        <p:cTn id="259" dur="1000" autoRev="1" fill="hold"/>
                                        <p:tgtEl>
                                          <p:spTgt spid="136"/>
                                        </p:tgtEl>
                                      </p:cBhvr>
                                      <p:by x="105000" y="105000"/>
                                    </p:animScale>
                                  </p:childTnLst>
                                </p:cTn>
                              </p:par>
                              <p:par>
                                <p:cTn id="260" presetID="26" presetClass="emph" presetSubtype="0" dur="2000" repeatCount="indefinite" fill="hold" grpId="0" nodeType="withEffect">
                                  <p:stCondLst>
                                    <p:cond delay="1750"/>
                                  </p:stCondLst>
                                  <p:childTnLst>
                                    <p:animEffect transition="out" filter="fade">
                                      <p:cBhvr>
                                        <p:cTn id="261" dur="2000" tmFilter="0, 0; .2, .5; .8, .5; 1, 0"/>
                                        <p:tgtEl>
                                          <p:spTgt spid="137"/>
                                        </p:tgtEl>
                                      </p:cBhvr>
                                    </p:animEffect>
                                    <p:animScale>
                                      <p:cBhvr>
                                        <p:cTn id="262" dur="1000" autoRev="1" fill="hold"/>
                                        <p:tgtEl>
                                          <p:spTgt spid="137"/>
                                        </p:tgtEl>
                                      </p:cBhvr>
                                      <p:by x="105000" y="105000"/>
                                    </p:animScale>
                                  </p:childTnLst>
                                </p:cTn>
                              </p:par>
                              <p:par>
                                <p:cTn id="263" presetID="26" presetClass="emph" presetSubtype="0" dur="2000" repeatCount="indefinite" fill="hold" grpId="0" nodeType="withEffect">
                                  <p:stCondLst>
                                    <p:cond delay="1750"/>
                                  </p:stCondLst>
                                  <p:childTnLst>
                                    <p:animEffect transition="out" filter="fade">
                                      <p:cBhvr>
                                        <p:cTn id="264" dur="2000" tmFilter="0, 0; .2, .5; .8, .5; 1, 0"/>
                                        <p:tgtEl>
                                          <p:spTgt spid="138"/>
                                        </p:tgtEl>
                                      </p:cBhvr>
                                    </p:animEffect>
                                    <p:animScale>
                                      <p:cBhvr>
                                        <p:cTn id="265" dur="1000" autoRev="1" fill="hold"/>
                                        <p:tgtEl>
                                          <p:spTgt spid="138"/>
                                        </p:tgtEl>
                                      </p:cBhvr>
                                      <p:by x="105000" y="105000"/>
                                    </p:animScale>
                                  </p:childTnLst>
                                </p:cTn>
                              </p:par>
                              <p:par>
                                <p:cTn id="266" presetID="26" presetClass="emph" presetSubtype="0" dur="2000" repeatCount="indefinite" fill="hold" grpId="0" nodeType="withEffect">
                                  <p:stCondLst>
                                    <p:cond delay="1750"/>
                                  </p:stCondLst>
                                  <p:childTnLst>
                                    <p:animEffect transition="out" filter="fade">
                                      <p:cBhvr>
                                        <p:cTn id="267" dur="2000" tmFilter="0, 0; .2, .5; .8, .5; 1, 0"/>
                                        <p:tgtEl>
                                          <p:spTgt spid="139"/>
                                        </p:tgtEl>
                                      </p:cBhvr>
                                    </p:animEffect>
                                    <p:animScale>
                                      <p:cBhvr>
                                        <p:cTn id="268" dur="1000" autoRev="1" fill="hold"/>
                                        <p:tgtEl>
                                          <p:spTgt spid="139"/>
                                        </p:tgtEl>
                                      </p:cBhvr>
                                      <p:by x="105000" y="105000"/>
                                    </p:animScale>
                                  </p:childTnLst>
                                </p:cTn>
                              </p:par>
                              <p:par>
                                <p:cTn id="269" presetID="26" presetClass="emph" presetSubtype="0" dur="2000" repeatCount="indefinite" fill="hold" grpId="0" nodeType="withEffect">
                                  <p:stCondLst>
                                    <p:cond delay="2000"/>
                                  </p:stCondLst>
                                  <p:childTnLst>
                                    <p:animEffect transition="out" filter="fade">
                                      <p:cBhvr>
                                        <p:cTn id="270" dur="2000" tmFilter="0, 0; .2, .5; .8, .5; 1, 0"/>
                                        <p:tgtEl>
                                          <p:spTgt spid="140"/>
                                        </p:tgtEl>
                                      </p:cBhvr>
                                    </p:animEffect>
                                    <p:animScale>
                                      <p:cBhvr>
                                        <p:cTn id="271" dur="1000" autoRev="1" fill="hold"/>
                                        <p:tgtEl>
                                          <p:spTgt spid="140"/>
                                        </p:tgtEl>
                                      </p:cBhvr>
                                      <p:by x="105000" y="105000"/>
                                    </p:animScale>
                                  </p:childTnLst>
                                </p:cTn>
                              </p:par>
                              <p:par>
                                <p:cTn id="272" presetID="26" presetClass="emph" presetSubtype="0" dur="2000" repeatCount="indefinite" fill="hold" grpId="0" nodeType="withEffect">
                                  <p:stCondLst>
                                    <p:cond delay="2000"/>
                                  </p:stCondLst>
                                  <p:childTnLst>
                                    <p:animEffect transition="out" filter="fade">
                                      <p:cBhvr>
                                        <p:cTn id="273" dur="2000" tmFilter="0, 0; .2, .5; .8, .5; 1, 0"/>
                                        <p:tgtEl>
                                          <p:spTgt spid="141"/>
                                        </p:tgtEl>
                                      </p:cBhvr>
                                    </p:animEffect>
                                    <p:animScale>
                                      <p:cBhvr>
                                        <p:cTn id="274" dur="1000" autoRev="1" fill="hold"/>
                                        <p:tgtEl>
                                          <p:spTgt spid="141"/>
                                        </p:tgtEl>
                                      </p:cBhvr>
                                      <p:by x="105000" y="105000"/>
                                    </p:animScale>
                                  </p:childTnLst>
                                </p:cTn>
                              </p:par>
                              <p:par>
                                <p:cTn id="275" presetID="26" presetClass="emph" presetSubtype="0" dur="2000" repeatCount="indefinite" fill="hold" grpId="0" nodeType="withEffect">
                                  <p:stCondLst>
                                    <p:cond delay="2000"/>
                                  </p:stCondLst>
                                  <p:childTnLst>
                                    <p:animEffect transition="out" filter="fade">
                                      <p:cBhvr>
                                        <p:cTn id="276" dur="2000" tmFilter="0, 0; .2, .5; .8, .5; 1, 0"/>
                                        <p:tgtEl>
                                          <p:spTgt spid="142"/>
                                        </p:tgtEl>
                                      </p:cBhvr>
                                    </p:animEffect>
                                    <p:animScale>
                                      <p:cBhvr>
                                        <p:cTn id="277" dur="1000" autoRev="1" fill="hold"/>
                                        <p:tgtEl>
                                          <p:spTgt spid="142"/>
                                        </p:tgtEl>
                                      </p:cBhvr>
                                      <p:by x="105000" y="105000"/>
                                    </p:animScale>
                                  </p:childTnLst>
                                </p:cTn>
                              </p:par>
                              <p:par>
                                <p:cTn id="278" presetID="26" presetClass="emph" presetSubtype="0" dur="2000" repeatCount="indefinite" fill="hold" grpId="0" nodeType="withEffect">
                                  <p:stCondLst>
                                    <p:cond delay="2000"/>
                                  </p:stCondLst>
                                  <p:childTnLst>
                                    <p:animEffect transition="out" filter="fade">
                                      <p:cBhvr>
                                        <p:cTn id="279" dur="2000" tmFilter="0, 0; .2, .5; .8, .5; 1, 0"/>
                                        <p:tgtEl>
                                          <p:spTgt spid="143"/>
                                        </p:tgtEl>
                                      </p:cBhvr>
                                    </p:animEffect>
                                    <p:animScale>
                                      <p:cBhvr>
                                        <p:cTn id="280" dur="1000" autoRev="1" fill="hold"/>
                                        <p:tgtEl>
                                          <p:spTgt spid="143"/>
                                        </p:tgtEl>
                                      </p:cBhvr>
                                      <p:by x="105000" y="105000"/>
                                    </p:animScale>
                                  </p:childTnLst>
                                </p:cTn>
                              </p:par>
                              <p:par>
                                <p:cTn id="281" presetID="26" presetClass="emph" presetSubtype="0" dur="2000" repeatCount="indefinite" fill="hold" grpId="0" nodeType="withEffect">
                                  <p:stCondLst>
                                    <p:cond delay="2000"/>
                                  </p:stCondLst>
                                  <p:childTnLst>
                                    <p:animEffect transition="out" filter="fade">
                                      <p:cBhvr>
                                        <p:cTn id="282" dur="2000" tmFilter="0, 0; .2, .5; .8, .5; 1, 0"/>
                                        <p:tgtEl>
                                          <p:spTgt spid="144"/>
                                        </p:tgtEl>
                                      </p:cBhvr>
                                    </p:animEffect>
                                    <p:animScale>
                                      <p:cBhvr>
                                        <p:cTn id="283" dur="1000" autoRev="1" fill="hold"/>
                                        <p:tgtEl>
                                          <p:spTgt spid="144"/>
                                        </p:tgtEl>
                                      </p:cBhvr>
                                      <p:by x="105000" y="105000"/>
                                    </p:animScale>
                                  </p:childTnLst>
                                </p:cTn>
                              </p:par>
                              <p:par>
                                <p:cTn id="284" presetID="26" presetClass="emph" presetSubtype="0" dur="2000" repeatCount="indefinite" fill="hold" grpId="0" nodeType="withEffect">
                                  <p:stCondLst>
                                    <p:cond delay="2000"/>
                                  </p:stCondLst>
                                  <p:childTnLst>
                                    <p:animEffect transition="out" filter="fade">
                                      <p:cBhvr>
                                        <p:cTn id="285" dur="2000" tmFilter="0, 0; .2, .5; .8, .5; 1, 0"/>
                                        <p:tgtEl>
                                          <p:spTgt spid="145"/>
                                        </p:tgtEl>
                                      </p:cBhvr>
                                    </p:animEffect>
                                    <p:animScale>
                                      <p:cBhvr>
                                        <p:cTn id="286" dur="1000" autoRev="1" fill="hold"/>
                                        <p:tgtEl>
                                          <p:spTgt spid="145"/>
                                        </p:tgtEl>
                                      </p:cBhvr>
                                      <p:by x="105000" y="105000"/>
                                    </p:animScale>
                                  </p:childTnLst>
                                </p:cTn>
                              </p:par>
                              <p:par>
                                <p:cTn id="287" presetID="26" presetClass="emph" presetSubtype="0" dur="2000" repeatCount="indefinite" fill="hold" grpId="0" nodeType="withEffect">
                                  <p:stCondLst>
                                    <p:cond delay="2000"/>
                                  </p:stCondLst>
                                  <p:childTnLst>
                                    <p:animEffect transition="out" filter="fade">
                                      <p:cBhvr>
                                        <p:cTn id="288" dur="2000" tmFilter="0, 0; .2, .5; .8, .5; 1, 0"/>
                                        <p:tgtEl>
                                          <p:spTgt spid="146"/>
                                        </p:tgtEl>
                                      </p:cBhvr>
                                    </p:animEffect>
                                    <p:animScale>
                                      <p:cBhvr>
                                        <p:cTn id="289" dur="1000" autoRev="1" fill="hold"/>
                                        <p:tgtEl>
                                          <p:spTgt spid="146"/>
                                        </p:tgtEl>
                                      </p:cBhvr>
                                      <p:by x="105000" y="105000"/>
                                    </p:animScale>
                                  </p:childTnLst>
                                </p:cTn>
                              </p:par>
                              <p:par>
                                <p:cTn id="290" presetID="26" presetClass="emph" presetSubtype="0" dur="2000" repeatCount="indefinite" fill="hold" grpId="0" nodeType="withEffect">
                                  <p:stCondLst>
                                    <p:cond delay="2000"/>
                                  </p:stCondLst>
                                  <p:childTnLst>
                                    <p:animEffect transition="out" filter="fade">
                                      <p:cBhvr>
                                        <p:cTn id="291" dur="2000" tmFilter="0, 0; .2, .5; .8, .5; 1, 0"/>
                                        <p:tgtEl>
                                          <p:spTgt spid="147"/>
                                        </p:tgtEl>
                                      </p:cBhvr>
                                    </p:animEffect>
                                    <p:animScale>
                                      <p:cBhvr>
                                        <p:cTn id="292" dur="1000" autoRev="1" fill="hold"/>
                                        <p:tgtEl>
                                          <p:spTgt spid="147"/>
                                        </p:tgtEl>
                                      </p:cBhvr>
                                      <p:by x="105000" y="105000"/>
                                    </p:animScale>
                                  </p:childTnLst>
                                </p:cTn>
                              </p:par>
                              <p:par>
                                <p:cTn id="293" presetID="26" presetClass="emph" presetSubtype="0" dur="2000" repeatCount="indefinite" fill="hold" grpId="0" nodeType="withEffect">
                                  <p:stCondLst>
                                    <p:cond delay="2000"/>
                                  </p:stCondLst>
                                  <p:childTnLst>
                                    <p:animEffect transition="out" filter="fade">
                                      <p:cBhvr>
                                        <p:cTn id="294" dur="2000" tmFilter="0, 0; .2, .5; .8, .5; 1, 0"/>
                                        <p:tgtEl>
                                          <p:spTgt spid="148"/>
                                        </p:tgtEl>
                                      </p:cBhvr>
                                    </p:animEffect>
                                    <p:animScale>
                                      <p:cBhvr>
                                        <p:cTn id="295" dur="1000" autoRev="1" fill="hold"/>
                                        <p:tgtEl>
                                          <p:spTgt spid="148"/>
                                        </p:tgtEl>
                                      </p:cBhvr>
                                      <p:by x="105000" y="105000"/>
                                    </p:animScale>
                                  </p:childTnLst>
                                </p:cTn>
                              </p:par>
                              <p:par>
                                <p:cTn id="296" presetID="26" presetClass="emph" presetSubtype="0" dur="2000" repeatCount="indefinite" fill="hold" grpId="0" nodeType="withEffect">
                                  <p:stCondLst>
                                    <p:cond delay="2000"/>
                                  </p:stCondLst>
                                  <p:childTnLst>
                                    <p:animEffect transition="out" filter="fade">
                                      <p:cBhvr>
                                        <p:cTn id="297" dur="2000" tmFilter="0, 0; .2, .5; .8, .5; 1, 0"/>
                                        <p:tgtEl>
                                          <p:spTgt spid="149"/>
                                        </p:tgtEl>
                                      </p:cBhvr>
                                    </p:animEffect>
                                    <p:animScale>
                                      <p:cBhvr>
                                        <p:cTn id="298" dur="1000" autoRev="1" fill="hold"/>
                                        <p:tgtEl>
                                          <p:spTgt spid="149"/>
                                        </p:tgtEl>
                                      </p:cBhvr>
                                      <p:by x="105000" y="105000"/>
                                    </p:animScale>
                                  </p:childTnLst>
                                </p:cTn>
                              </p:par>
                              <p:par>
                                <p:cTn id="299" presetID="26" presetClass="emph" presetSubtype="0" dur="2000" repeatCount="indefinite" fill="hold" grpId="0" nodeType="withEffect">
                                  <p:stCondLst>
                                    <p:cond delay="2000"/>
                                  </p:stCondLst>
                                  <p:childTnLst>
                                    <p:animEffect transition="out" filter="fade">
                                      <p:cBhvr>
                                        <p:cTn id="300" dur="2000" tmFilter="0, 0; .2, .5; .8, .5; 1, 0"/>
                                        <p:tgtEl>
                                          <p:spTgt spid="150"/>
                                        </p:tgtEl>
                                      </p:cBhvr>
                                    </p:animEffect>
                                    <p:animScale>
                                      <p:cBhvr>
                                        <p:cTn id="301" dur="1000" autoRev="1" fill="hold"/>
                                        <p:tgtEl>
                                          <p:spTgt spid="150"/>
                                        </p:tgtEl>
                                      </p:cBhvr>
                                      <p:by x="105000" y="105000"/>
                                    </p:animScale>
                                  </p:childTnLst>
                                </p:cTn>
                              </p:par>
                              <p:par>
                                <p:cTn id="302" presetID="26" presetClass="emph" presetSubtype="0" dur="2000" repeatCount="indefinite" fill="hold" grpId="0" nodeType="withEffect">
                                  <p:stCondLst>
                                    <p:cond delay="2000"/>
                                  </p:stCondLst>
                                  <p:childTnLst>
                                    <p:animEffect transition="out" filter="fade">
                                      <p:cBhvr>
                                        <p:cTn id="303" dur="2000" tmFilter="0, 0; .2, .5; .8, .5; 1, 0"/>
                                        <p:tgtEl>
                                          <p:spTgt spid="151"/>
                                        </p:tgtEl>
                                      </p:cBhvr>
                                    </p:animEffect>
                                    <p:animScale>
                                      <p:cBhvr>
                                        <p:cTn id="304" dur="1000" autoRev="1" fill="hold"/>
                                        <p:tgtEl>
                                          <p:spTgt spid="151"/>
                                        </p:tgtEl>
                                      </p:cBhvr>
                                      <p:by x="105000" y="105000"/>
                                    </p:animScale>
                                  </p:childTnLst>
                                </p:cTn>
                              </p:par>
                              <p:par>
                                <p:cTn id="305" presetID="26" presetClass="emph" presetSubtype="0" dur="2000" repeatCount="indefinite" fill="hold" grpId="0" nodeType="withEffect">
                                  <p:stCondLst>
                                    <p:cond delay="2000"/>
                                  </p:stCondLst>
                                  <p:childTnLst>
                                    <p:animEffect transition="out" filter="fade">
                                      <p:cBhvr>
                                        <p:cTn id="306" dur="2000" tmFilter="0, 0; .2, .5; .8, .5; 1, 0"/>
                                        <p:tgtEl>
                                          <p:spTgt spid="152"/>
                                        </p:tgtEl>
                                      </p:cBhvr>
                                    </p:animEffect>
                                    <p:animScale>
                                      <p:cBhvr>
                                        <p:cTn id="307" dur="1000" autoRev="1" fill="hold"/>
                                        <p:tgtEl>
                                          <p:spTgt spid="152"/>
                                        </p:tgtEl>
                                      </p:cBhvr>
                                      <p:by x="105000" y="105000"/>
                                    </p:animScale>
                                  </p:childTnLst>
                                </p:cTn>
                              </p:par>
                              <p:par>
                                <p:cTn id="308" presetID="26" presetClass="emph" presetSubtype="0" dur="2000" repeatCount="indefinite" fill="hold" grpId="0" nodeType="withEffect">
                                  <p:stCondLst>
                                    <p:cond delay="2000"/>
                                  </p:stCondLst>
                                  <p:childTnLst>
                                    <p:animEffect transition="out" filter="fade">
                                      <p:cBhvr>
                                        <p:cTn id="309" dur="2000" tmFilter="0, 0; .2, .5; .8, .5; 1, 0"/>
                                        <p:tgtEl>
                                          <p:spTgt spid="153"/>
                                        </p:tgtEl>
                                      </p:cBhvr>
                                    </p:animEffect>
                                    <p:animScale>
                                      <p:cBhvr>
                                        <p:cTn id="310" dur="1000" autoRev="1" fill="hold"/>
                                        <p:tgtEl>
                                          <p:spTgt spid="153"/>
                                        </p:tgtEl>
                                      </p:cBhvr>
                                      <p:by x="105000" y="105000"/>
                                    </p:animScale>
                                  </p:childTnLst>
                                </p:cTn>
                              </p:par>
                              <p:par>
                                <p:cTn id="311" presetID="26" presetClass="emph" presetSubtype="0" dur="2000" repeatCount="indefinite" fill="hold" grpId="0" nodeType="withEffect">
                                  <p:stCondLst>
                                    <p:cond delay="2250"/>
                                  </p:stCondLst>
                                  <p:childTnLst>
                                    <p:animEffect transition="out" filter="fade">
                                      <p:cBhvr>
                                        <p:cTn id="312" dur="2000" tmFilter="0, 0; .2, .5; .8, .5; 1, 0"/>
                                        <p:tgtEl>
                                          <p:spTgt spid="154"/>
                                        </p:tgtEl>
                                      </p:cBhvr>
                                    </p:animEffect>
                                    <p:animScale>
                                      <p:cBhvr>
                                        <p:cTn id="313" dur="1000" autoRev="1" fill="hold"/>
                                        <p:tgtEl>
                                          <p:spTgt spid="154"/>
                                        </p:tgtEl>
                                      </p:cBhvr>
                                      <p:by x="105000" y="105000"/>
                                    </p:animScale>
                                  </p:childTnLst>
                                </p:cTn>
                              </p:par>
                              <p:par>
                                <p:cTn id="314" presetID="26" presetClass="emph" presetSubtype="0" dur="2000" repeatCount="indefinite" fill="hold" grpId="0" nodeType="withEffect">
                                  <p:stCondLst>
                                    <p:cond delay="2250"/>
                                  </p:stCondLst>
                                  <p:childTnLst>
                                    <p:animEffect transition="out" filter="fade">
                                      <p:cBhvr>
                                        <p:cTn id="315" dur="2000" tmFilter="0, 0; .2, .5; .8, .5; 1, 0"/>
                                        <p:tgtEl>
                                          <p:spTgt spid="155"/>
                                        </p:tgtEl>
                                      </p:cBhvr>
                                    </p:animEffect>
                                    <p:animScale>
                                      <p:cBhvr>
                                        <p:cTn id="316" dur="1000" autoRev="1" fill="hold"/>
                                        <p:tgtEl>
                                          <p:spTgt spid="155"/>
                                        </p:tgtEl>
                                      </p:cBhvr>
                                      <p:by x="105000" y="105000"/>
                                    </p:animScale>
                                  </p:childTnLst>
                                </p:cTn>
                              </p:par>
                              <p:par>
                                <p:cTn id="317" presetID="26" presetClass="emph" presetSubtype="0" dur="2000" repeatCount="indefinite" fill="hold" grpId="0" nodeType="withEffect">
                                  <p:stCondLst>
                                    <p:cond delay="2250"/>
                                  </p:stCondLst>
                                  <p:childTnLst>
                                    <p:animEffect transition="out" filter="fade">
                                      <p:cBhvr>
                                        <p:cTn id="318" dur="2000" tmFilter="0, 0; .2, .5; .8, .5; 1, 0"/>
                                        <p:tgtEl>
                                          <p:spTgt spid="156"/>
                                        </p:tgtEl>
                                      </p:cBhvr>
                                    </p:animEffect>
                                    <p:animScale>
                                      <p:cBhvr>
                                        <p:cTn id="319" dur="1000" autoRev="1" fill="hold"/>
                                        <p:tgtEl>
                                          <p:spTgt spid="156"/>
                                        </p:tgtEl>
                                      </p:cBhvr>
                                      <p:by x="105000" y="105000"/>
                                    </p:animScale>
                                  </p:childTnLst>
                                </p:cTn>
                              </p:par>
                              <p:par>
                                <p:cTn id="320" presetID="26" presetClass="emph" presetSubtype="0" dur="2000" repeatCount="indefinite" fill="hold" grpId="0" nodeType="withEffect">
                                  <p:stCondLst>
                                    <p:cond delay="2250"/>
                                  </p:stCondLst>
                                  <p:childTnLst>
                                    <p:animEffect transition="out" filter="fade">
                                      <p:cBhvr>
                                        <p:cTn id="321" dur="2000" tmFilter="0, 0; .2, .5; .8, .5; 1, 0"/>
                                        <p:tgtEl>
                                          <p:spTgt spid="157"/>
                                        </p:tgtEl>
                                      </p:cBhvr>
                                    </p:animEffect>
                                    <p:animScale>
                                      <p:cBhvr>
                                        <p:cTn id="322" dur="1000" autoRev="1" fill="hold"/>
                                        <p:tgtEl>
                                          <p:spTgt spid="157"/>
                                        </p:tgtEl>
                                      </p:cBhvr>
                                      <p:by x="105000" y="105000"/>
                                    </p:animScale>
                                  </p:childTnLst>
                                </p:cTn>
                              </p:par>
                              <p:par>
                                <p:cTn id="323" presetID="26" presetClass="emph" presetSubtype="0" dur="2000" repeatCount="indefinite" fill="hold" grpId="0" nodeType="withEffect">
                                  <p:stCondLst>
                                    <p:cond delay="2250"/>
                                  </p:stCondLst>
                                  <p:childTnLst>
                                    <p:animEffect transition="out" filter="fade">
                                      <p:cBhvr>
                                        <p:cTn id="324" dur="2000" tmFilter="0, 0; .2, .5; .8, .5; 1, 0"/>
                                        <p:tgtEl>
                                          <p:spTgt spid="158"/>
                                        </p:tgtEl>
                                      </p:cBhvr>
                                    </p:animEffect>
                                    <p:animScale>
                                      <p:cBhvr>
                                        <p:cTn id="325" dur="1000" autoRev="1" fill="hold"/>
                                        <p:tgtEl>
                                          <p:spTgt spid="158"/>
                                        </p:tgtEl>
                                      </p:cBhvr>
                                      <p:by x="105000" y="105000"/>
                                    </p:animScale>
                                  </p:childTnLst>
                                </p:cTn>
                              </p:par>
                              <p:par>
                                <p:cTn id="326" presetID="26" presetClass="emph" presetSubtype="0" dur="2000" repeatCount="indefinite" fill="hold" grpId="0" nodeType="withEffect">
                                  <p:stCondLst>
                                    <p:cond delay="2250"/>
                                  </p:stCondLst>
                                  <p:childTnLst>
                                    <p:animEffect transition="out" filter="fade">
                                      <p:cBhvr>
                                        <p:cTn id="327" dur="2000" tmFilter="0, 0; .2, .5; .8, .5; 1, 0"/>
                                        <p:tgtEl>
                                          <p:spTgt spid="159"/>
                                        </p:tgtEl>
                                      </p:cBhvr>
                                    </p:animEffect>
                                    <p:animScale>
                                      <p:cBhvr>
                                        <p:cTn id="328" dur="1000" autoRev="1" fill="hold"/>
                                        <p:tgtEl>
                                          <p:spTgt spid="159"/>
                                        </p:tgtEl>
                                      </p:cBhvr>
                                      <p:by x="105000" y="105000"/>
                                    </p:animScale>
                                  </p:childTnLst>
                                </p:cTn>
                              </p:par>
                              <p:par>
                                <p:cTn id="329" presetID="26" presetClass="emph" presetSubtype="0" dur="2000" repeatCount="indefinite" fill="hold" grpId="0" nodeType="withEffect">
                                  <p:stCondLst>
                                    <p:cond delay="2250"/>
                                  </p:stCondLst>
                                  <p:childTnLst>
                                    <p:animEffect transition="out" filter="fade">
                                      <p:cBhvr>
                                        <p:cTn id="330" dur="2000" tmFilter="0, 0; .2, .5; .8, .5; 1, 0"/>
                                        <p:tgtEl>
                                          <p:spTgt spid="160"/>
                                        </p:tgtEl>
                                      </p:cBhvr>
                                    </p:animEffect>
                                    <p:animScale>
                                      <p:cBhvr>
                                        <p:cTn id="331" dur="1000" autoRev="1" fill="hold"/>
                                        <p:tgtEl>
                                          <p:spTgt spid="160"/>
                                        </p:tgtEl>
                                      </p:cBhvr>
                                      <p:by x="105000" y="105000"/>
                                    </p:animScale>
                                  </p:childTnLst>
                                </p:cTn>
                              </p:par>
                              <p:par>
                                <p:cTn id="332" presetID="26" presetClass="emph" presetSubtype="0" dur="2000" repeatCount="indefinite" fill="hold" grpId="0" nodeType="withEffect">
                                  <p:stCondLst>
                                    <p:cond delay="2250"/>
                                  </p:stCondLst>
                                  <p:childTnLst>
                                    <p:animEffect transition="out" filter="fade">
                                      <p:cBhvr>
                                        <p:cTn id="333" dur="2000" tmFilter="0, 0; .2, .5; .8, .5; 1, 0"/>
                                        <p:tgtEl>
                                          <p:spTgt spid="161"/>
                                        </p:tgtEl>
                                      </p:cBhvr>
                                    </p:animEffect>
                                    <p:animScale>
                                      <p:cBhvr>
                                        <p:cTn id="334" dur="1000" autoRev="1" fill="hold"/>
                                        <p:tgtEl>
                                          <p:spTgt spid="161"/>
                                        </p:tgtEl>
                                      </p:cBhvr>
                                      <p:by x="105000" y="105000"/>
                                    </p:animScale>
                                  </p:childTnLst>
                                </p:cTn>
                              </p:par>
                              <p:par>
                                <p:cTn id="335" presetID="26" presetClass="emph" presetSubtype="0" dur="2000" repeatCount="indefinite" fill="hold" grpId="0" nodeType="withEffect">
                                  <p:stCondLst>
                                    <p:cond delay="2250"/>
                                  </p:stCondLst>
                                  <p:childTnLst>
                                    <p:animEffect transition="out" filter="fade">
                                      <p:cBhvr>
                                        <p:cTn id="336" dur="2000" tmFilter="0, 0; .2, .5; .8, .5; 1, 0"/>
                                        <p:tgtEl>
                                          <p:spTgt spid="162"/>
                                        </p:tgtEl>
                                      </p:cBhvr>
                                    </p:animEffect>
                                    <p:animScale>
                                      <p:cBhvr>
                                        <p:cTn id="337" dur="1000" autoRev="1" fill="hold"/>
                                        <p:tgtEl>
                                          <p:spTgt spid="162"/>
                                        </p:tgtEl>
                                      </p:cBhvr>
                                      <p:by x="105000" y="105000"/>
                                    </p:animScale>
                                  </p:childTnLst>
                                </p:cTn>
                              </p:par>
                              <p:par>
                                <p:cTn id="338" presetID="26" presetClass="emph" presetSubtype="0" dur="2000" repeatCount="indefinite" fill="hold" grpId="0" nodeType="withEffect">
                                  <p:stCondLst>
                                    <p:cond delay="2250"/>
                                  </p:stCondLst>
                                  <p:childTnLst>
                                    <p:animEffect transition="out" filter="fade">
                                      <p:cBhvr>
                                        <p:cTn id="339" dur="2000" tmFilter="0, 0; .2, .5; .8, .5; 1, 0"/>
                                        <p:tgtEl>
                                          <p:spTgt spid="163"/>
                                        </p:tgtEl>
                                      </p:cBhvr>
                                    </p:animEffect>
                                    <p:animScale>
                                      <p:cBhvr>
                                        <p:cTn id="340" dur="1000" autoRev="1" fill="hold"/>
                                        <p:tgtEl>
                                          <p:spTgt spid="163"/>
                                        </p:tgtEl>
                                      </p:cBhvr>
                                      <p:by x="105000" y="105000"/>
                                    </p:animScale>
                                  </p:childTnLst>
                                </p:cTn>
                              </p:par>
                              <p:par>
                                <p:cTn id="341" presetID="26" presetClass="emph" presetSubtype="0" dur="2000" repeatCount="indefinite" fill="hold" grpId="0" nodeType="withEffect">
                                  <p:stCondLst>
                                    <p:cond delay="2250"/>
                                  </p:stCondLst>
                                  <p:childTnLst>
                                    <p:animEffect transition="out" filter="fade">
                                      <p:cBhvr>
                                        <p:cTn id="342" dur="2000" tmFilter="0, 0; .2, .5; .8, .5; 1, 0"/>
                                        <p:tgtEl>
                                          <p:spTgt spid="164"/>
                                        </p:tgtEl>
                                      </p:cBhvr>
                                    </p:animEffect>
                                    <p:animScale>
                                      <p:cBhvr>
                                        <p:cTn id="343" dur="1000" autoRev="1" fill="hold"/>
                                        <p:tgtEl>
                                          <p:spTgt spid="164"/>
                                        </p:tgtEl>
                                      </p:cBhvr>
                                      <p:by x="105000" y="105000"/>
                                    </p:animScale>
                                  </p:childTnLst>
                                </p:cTn>
                              </p:par>
                              <p:par>
                                <p:cTn id="344" presetID="26" presetClass="emph" presetSubtype="0" dur="2000" repeatCount="indefinite" fill="hold" grpId="0" nodeType="withEffect">
                                  <p:stCondLst>
                                    <p:cond delay="2250"/>
                                  </p:stCondLst>
                                  <p:childTnLst>
                                    <p:animEffect transition="out" filter="fade">
                                      <p:cBhvr>
                                        <p:cTn id="345" dur="2000" tmFilter="0, 0; .2, .5; .8, .5; 1, 0"/>
                                        <p:tgtEl>
                                          <p:spTgt spid="165"/>
                                        </p:tgtEl>
                                      </p:cBhvr>
                                    </p:animEffect>
                                    <p:animScale>
                                      <p:cBhvr>
                                        <p:cTn id="346" dur="1000" autoRev="1" fill="hold"/>
                                        <p:tgtEl>
                                          <p:spTgt spid="165"/>
                                        </p:tgtEl>
                                      </p:cBhvr>
                                      <p:by x="105000" y="105000"/>
                                    </p:animScale>
                                  </p:childTnLst>
                                </p:cTn>
                              </p:par>
                              <p:par>
                                <p:cTn id="347" presetID="26" presetClass="emph" presetSubtype="0" dur="2000" repeatCount="indefinite" fill="hold" grpId="0" nodeType="withEffect">
                                  <p:stCondLst>
                                    <p:cond delay="2250"/>
                                  </p:stCondLst>
                                  <p:childTnLst>
                                    <p:animEffect transition="out" filter="fade">
                                      <p:cBhvr>
                                        <p:cTn id="348" dur="2000" tmFilter="0, 0; .2, .5; .8, .5; 1, 0"/>
                                        <p:tgtEl>
                                          <p:spTgt spid="166"/>
                                        </p:tgtEl>
                                      </p:cBhvr>
                                    </p:animEffect>
                                    <p:animScale>
                                      <p:cBhvr>
                                        <p:cTn id="349" dur="1000" autoRev="1" fill="hold"/>
                                        <p:tgtEl>
                                          <p:spTgt spid="166"/>
                                        </p:tgtEl>
                                      </p:cBhvr>
                                      <p:by x="105000" y="105000"/>
                                    </p:animScale>
                                  </p:childTnLst>
                                </p:cTn>
                              </p:par>
                              <p:par>
                                <p:cTn id="350" presetID="26" presetClass="emph" presetSubtype="0" dur="2000" repeatCount="indefinite" fill="hold" grpId="0" nodeType="withEffect">
                                  <p:stCondLst>
                                    <p:cond delay="2250"/>
                                  </p:stCondLst>
                                  <p:childTnLst>
                                    <p:animEffect transition="out" filter="fade">
                                      <p:cBhvr>
                                        <p:cTn id="351" dur="2000" tmFilter="0, 0; .2, .5; .8, .5; 1, 0"/>
                                        <p:tgtEl>
                                          <p:spTgt spid="167"/>
                                        </p:tgtEl>
                                      </p:cBhvr>
                                    </p:animEffect>
                                    <p:animScale>
                                      <p:cBhvr>
                                        <p:cTn id="352" dur="1000" autoRev="1" fill="hold"/>
                                        <p:tgtEl>
                                          <p:spTgt spid="167"/>
                                        </p:tgtEl>
                                      </p:cBhvr>
                                      <p:by x="105000" y="105000"/>
                                    </p:animScale>
                                  </p:childTnLst>
                                </p:cTn>
                              </p:par>
                              <p:par>
                                <p:cTn id="353" presetID="26" presetClass="emph" presetSubtype="0" dur="2000" repeatCount="indefinite" fill="hold" grpId="0" nodeType="withEffect">
                                  <p:stCondLst>
                                    <p:cond delay="2500"/>
                                  </p:stCondLst>
                                  <p:childTnLst>
                                    <p:animEffect transition="out" filter="fade">
                                      <p:cBhvr>
                                        <p:cTn id="354" dur="2000" tmFilter="0, 0; .2, .5; .8, .5; 1, 0"/>
                                        <p:tgtEl>
                                          <p:spTgt spid="168"/>
                                        </p:tgtEl>
                                      </p:cBhvr>
                                    </p:animEffect>
                                    <p:animScale>
                                      <p:cBhvr>
                                        <p:cTn id="355" dur="1000" autoRev="1" fill="hold"/>
                                        <p:tgtEl>
                                          <p:spTgt spid="168"/>
                                        </p:tgtEl>
                                      </p:cBhvr>
                                      <p:by x="105000" y="105000"/>
                                    </p:animScale>
                                  </p:childTnLst>
                                </p:cTn>
                              </p:par>
                              <p:par>
                                <p:cTn id="356" presetID="26" presetClass="emph" presetSubtype="0" dur="2000" repeatCount="indefinite" fill="hold" grpId="0" nodeType="withEffect">
                                  <p:stCondLst>
                                    <p:cond delay="2500"/>
                                  </p:stCondLst>
                                  <p:childTnLst>
                                    <p:animEffect transition="out" filter="fade">
                                      <p:cBhvr>
                                        <p:cTn id="357" dur="2000" tmFilter="0, 0; .2, .5; .8, .5; 1, 0"/>
                                        <p:tgtEl>
                                          <p:spTgt spid="169"/>
                                        </p:tgtEl>
                                      </p:cBhvr>
                                    </p:animEffect>
                                    <p:animScale>
                                      <p:cBhvr>
                                        <p:cTn id="358" dur="1000" autoRev="1" fill="hold"/>
                                        <p:tgtEl>
                                          <p:spTgt spid="169"/>
                                        </p:tgtEl>
                                      </p:cBhvr>
                                      <p:by x="105000" y="105000"/>
                                    </p:animScale>
                                  </p:childTnLst>
                                </p:cTn>
                              </p:par>
                              <p:par>
                                <p:cTn id="359" presetID="26" presetClass="emph" presetSubtype="0" dur="2000" repeatCount="indefinite" fill="hold" grpId="0" nodeType="withEffect">
                                  <p:stCondLst>
                                    <p:cond delay="2500"/>
                                  </p:stCondLst>
                                  <p:childTnLst>
                                    <p:animEffect transition="out" filter="fade">
                                      <p:cBhvr>
                                        <p:cTn id="360" dur="2000" tmFilter="0, 0; .2, .5; .8, .5; 1, 0"/>
                                        <p:tgtEl>
                                          <p:spTgt spid="170"/>
                                        </p:tgtEl>
                                      </p:cBhvr>
                                    </p:animEffect>
                                    <p:animScale>
                                      <p:cBhvr>
                                        <p:cTn id="361" dur="1000" autoRev="1" fill="hold"/>
                                        <p:tgtEl>
                                          <p:spTgt spid="170"/>
                                        </p:tgtEl>
                                      </p:cBhvr>
                                      <p:by x="105000" y="105000"/>
                                    </p:animScale>
                                  </p:childTnLst>
                                </p:cTn>
                              </p:par>
                              <p:par>
                                <p:cTn id="362" presetID="26" presetClass="emph" presetSubtype="0" dur="2000" repeatCount="indefinite" fill="hold" grpId="0" nodeType="withEffect">
                                  <p:stCondLst>
                                    <p:cond delay="2500"/>
                                  </p:stCondLst>
                                  <p:childTnLst>
                                    <p:animEffect transition="out" filter="fade">
                                      <p:cBhvr>
                                        <p:cTn id="363" dur="2000" tmFilter="0, 0; .2, .5; .8, .5; 1, 0"/>
                                        <p:tgtEl>
                                          <p:spTgt spid="171"/>
                                        </p:tgtEl>
                                      </p:cBhvr>
                                    </p:animEffect>
                                    <p:animScale>
                                      <p:cBhvr>
                                        <p:cTn id="364" dur="1000" autoRev="1" fill="hold"/>
                                        <p:tgtEl>
                                          <p:spTgt spid="171"/>
                                        </p:tgtEl>
                                      </p:cBhvr>
                                      <p:by x="105000" y="105000"/>
                                    </p:animScale>
                                  </p:childTnLst>
                                </p:cTn>
                              </p:par>
                              <p:par>
                                <p:cTn id="365" presetID="26" presetClass="emph" presetSubtype="0" dur="2000" repeatCount="indefinite" fill="hold" grpId="0" nodeType="withEffect">
                                  <p:stCondLst>
                                    <p:cond delay="2500"/>
                                  </p:stCondLst>
                                  <p:childTnLst>
                                    <p:animEffect transition="out" filter="fade">
                                      <p:cBhvr>
                                        <p:cTn id="366" dur="2000" tmFilter="0, 0; .2, .5; .8, .5; 1, 0"/>
                                        <p:tgtEl>
                                          <p:spTgt spid="172"/>
                                        </p:tgtEl>
                                      </p:cBhvr>
                                    </p:animEffect>
                                    <p:animScale>
                                      <p:cBhvr>
                                        <p:cTn id="367" dur="1000" autoRev="1" fill="hold"/>
                                        <p:tgtEl>
                                          <p:spTgt spid="172"/>
                                        </p:tgtEl>
                                      </p:cBhvr>
                                      <p:by x="105000" y="105000"/>
                                    </p:animScale>
                                  </p:childTnLst>
                                </p:cTn>
                              </p:par>
                              <p:par>
                                <p:cTn id="368" presetID="26" presetClass="emph" presetSubtype="0" dur="2000" repeatCount="indefinite" fill="hold" grpId="0" nodeType="withEffect">
                                  <p:stCondLst>
                                    <p:cond delay="2500"/>
                                  </p:stCondLst>
                                  <p:childTnLst>
                                    <p:animEffect transition="out" filter="fade">
                                      <p:cBhvr>
                                        <p:cTn id="369" dur="2000" tmFilter="0, 0; .2, .5; .8, .5; 1, 0"/>
                                        <p:tgtEl>
                                          <p:spTgt spid="173"/>
                                        </p:tgtEl>
                                      </p:cBhvr>
                                    </p:animEffect>
                                    <p:animScale>
                                      <p:cBhvr>
                                        <p:cTn id="370" dur="1000" autoRev="1" fill="hold"/>
                                        <p:tgtEl>
                                          <p:spTgt spid="173"/>
                                        </p:tgtEl>
                                      </p:cBhvr>
                                      <p:by x="105000" y="105000"/>
                                    </p:animScale>
                                  </p:childTnLst>
                                </p:cTn>
                              </p:par>
                              <p:par>
                                <p:cTn id="371" presetID="26" presetClass="emph" presetSubtype="0" dur="2000" repeatCount="indefinite" fill="hold" grpId="0" nodeType="withEffect">
                                  <p:stCondLst>
                                    <p:cond delay="2500"/>
                                  </p:stCondLst>
                                  <p:childTnLst>
                                    <p:animEffect transition="out" filter="fade">
                                      <p:cBhvr>
                                        <p:cTn id="372" dur="2000" tmFilter="0, 0; .2, .5; .8, .5; 1, 0"/>
                                        <p:tgtEl>
                                          <p:spTgt spid="174"/>
                                        </p:tgtEl>
                                      </p:cBhvr>
                                    </p:animEffect>
                                    <p:animScale>
                                      <p:cBhvr>
                                        <p:cTn id="373" dur="1000" autoRev="1" fill="hold"/>
                                        <p:tgtEl>
                                          <p:spTgt spid="174"/>
                                        </p:tgtEl>
                                      </p:cBhvr>
                                      <p:by x="105000" y="105000"/>
                                    </p:animScale>
                                  </p:childTnLst>
                                </p:cTn>
                              </p:par>
                              <p:par>
                                <p:cTn id="374" presetID="26" presetClass="emph" presetSubtype="0" dur="2000" repeatCount="indefinite" fill="hold" grpId="0" nodeType="withEffect">
                                  <p:stCondLst>
                                    <p:cond delay="2500"/>
                                  </p:stCondLst>
                                  <p:childTnLst>
                                    <p:animEffect transition="out" filter="fade">
                                      <p:cBhvr>
                                        <p:cTn id="375" dur="2000" tmFilter="0, 0; .2, .5; .8, .5; 1, 0"/>
                                        <p:tgtEl>
                                          <p:spTgt spid="175"/>
                                        </p:tgtEl>
                                      </p:cBhvr>
                                    </p:animEffect>
                                    <p:animScale>
                                      <p:cBhvr>
                                        <p:cTn id="376" dur="1000" autoRev="1" fill="hold"/>
                                        <p:tgtEl>
                                          <p:spTgt spid="175"/>
                                        </p:tgtEl>
                                      </p:cBhvr>
                                      <p:by x="105000" y="105000"/>
                                    </p:animScale>
                                  </p:childTnLst>
                                </p:cTn>
                              </p:par>
                              <p:par>
                                <p:cTn id="377" presetID="26" presetClass="emph" presetSubtype="0" dur="2000" repeatCount="indefinite" fill="hold" grpId="0" nodeType="withEffect">
                                  <p:stCondLst>
                                    <p:cond delay="2500"/>
                                  </p:stCondLst>
                                  <p:childTnLst>
                                    <p:animEffect transition="out" filter="fade">
                                      <p:cBhvr>
                                        <p:cTn id="378" dur="2000" tmFilter="0, 0; .2, .5; .8, .5; 1, 0"/>
                                        <p:tgtEl>
                                          <p:spTgt spid="176"/>
                                        </p:tgtEl>
                                      </p:cBhvr>
                                    </p:animEffect>
                                    <p:animScale>
                                      <p:cBhvr>
                                        <p:cTn id="379" dur="1000" autoRev="1" fill="hold"/>
                                        <p:tgtEl>
                                          <p:spTgt spid="176"/>
                                        </p:tgtEl>
                                      </p:cBhvr>
                                      <p:by x="105000" y="105000"/>
                                    </p:animScale>
                                  </p:childTnLst>
                                </p:cTn>
                              </p:par>
                              <p:par>
                                <p:cTn id="380" presetID="26" presetClass="emph" presetSubtype="0" dur="2000" repeatCount="indefinite" fill="hold" grpId="0" nodeType="withEffect">
                                  <p:stCondLst>
                                    <p:cond delay="2500"/>
                                  </p:stCondLst>
                                  <p:childTnLst>
                                    <p:animEffect transition="out" filter="fade">
                                      <p:cBhvr>
                                        <p:cTn id="381" dur="2000" tmFilter="0, 0; .2, .5; .8, .5; 1, 0"/>
                                        <p:tgtEl>
                                          <p:spTgt spid="177"/>
                                        </p:tgtEl>
                                      </p:cBhvr>
                                    </p:animEffect>
                                    <p:animScale>
                                      <p:cBhvr>
                                        <p:cTn id="382" dur="1000" autoRev="1" fill="hold"/>
                                        <p:tgtEl>
                                          <p:spTgt spid="177"/>
                                        </p:tgtEl>
                                      </p:cBhvr>
                                      <p:by x="105000" y="105000"/>
                                    </p:animScale>
                                  </p:childTnLst>
                                </p:cTn>
                              </p:par>
                              <p:par>
                                <p:cTn id="383" presetID="26" presetClass="emph" presetSubtype="0" dur="2000" repeatCount="indefinite" fill="hold" grpId="0" nodeType="withEffect">
                                  <p:stCondLst>
                                    <p:cond delay="2500"/>
                                  </p:stCondLst>
                                  <p:childTnLst>
                                    <p:animEffect transition="out" filter="fade">
                                      <p:cBhvr>
                                        <p:cTn id="384" dur="2000" tmFilter="0, 0; .2, .5; .8, .5; 1, 0"/>
                                        <p:tgtEl>
                                          <p:spTgt spid="178"/>
                                        </p:tgtEl>
                                      </p:cBhvr>
                                    </p:animEffect>
                                    <p:animScale>
                                      <p:cBhvr>
                                        <p:cTn id="385" dur="1000" autoRev="1" fill="hold"/>
                                        <p:tgtEl>
                                          <p:spTgt spid="178"/>
                                        </p:tgtEl>
                                      </p:cBhvr>
                                      <p:by x="105000" y="105000"/>
                                    </p:animScale>
                                  </p:childTnLst>
                                </p:cTn>
                              </p:par>
                              <p:par>
                                <p:cTn id="386" presetID="26" presetClass="emph" presetSubtype="0" dur="2000" repeatCount="indefinite" fill="hold" grpId="0" nodeType="withEffect">
                                  <p:stCondLst>
                                    <p:cond delay="2500"/>
                                  </p:stCondLst>
                                  <p:childTnLst>
                                    <p:animEffect transition="out" filter="fade">
                                      <p:cBhvr>
                                        <p:cTn id="387" dur="2000" tmFilter="0, 0; .2, .5; .8, .5; 1, 0"/>
                                        <p:tgtEl>
                                          <p:spTgt spid="179"/>
                                        </p:tgtEl>
                                      </p:cBhvr>
                                    </p:animEffect>
                                    <p:animScale>
                                      <p:cBhvr>
                                        <p:cTn id="388" dur="1000" autoRev="1" fill="hold"/>
                                        <p:tgtEl>
                                          <p:spTgt spid="179"/>
                                        </p:tgtEl>
                                      </p:cBhvr>
                                      <p:by x="105000" y="105000"/>
                                    </p:animScale>
                                  </p:childTnLst>
                                </p:cTn>
                              </p:par>
                              <p:par>
                                <p:cTn id="389" presetID="26" presetClass="emph" presetSubtype="0" dur="2000" repeatCount="indefinite" fill="hold" grpId="0" nodeType="withEffect">
                                  <p:stCondLst>
                                    <p:cond delay="2500"/>
                                  </p:stCondLst>
                                  <p:childTnLst>
                                    <p:animEffect transition="out" filter="fade">
                                      <p:cBhvr>
                                        <p:cTn id="390" dur="2000" tmFilter="0, 0; .2, .5; .8, .5; 1, 0"/>
                                        <p:tgtEl>
                                          <p:spTgt spid="180"/>
                                        </p:tgtEl>
                                      </p:cBhvr>
                                    </p:animEffect>
                                    <p:animScale>
                                      <p:cBhvr>
                                        <p:cTn id="391" dur="1000" autoRev="1" fill="hold"/>
                                        <p:tgtEl>
                                          <p:spTgt spid="180"/>
                                        </p:tgtEl>
                                      </p:cBhvr>
                                      <p:by x="105000" y="105000"/>
                                    </p:animScale>
                                  </p:childTnLst>
                                </p:cTn>
                              </p:par>
                              <p:par>
                                <p:cTn id="392" presetID="26" presetClass="emph" presetSubtype="0" dur="2000" repeatCount="indefinite" fill="hold" grpId="0" nodeType="withEffect">
                                  <p:stCondLst>
                                    <p:cond delay="2500"/>
                                  </p:stCondLst>
                                  <p:childTnLst>
                                    <p:animEffect transition="out" filter="fade">
                                      <p:cBhvr>
                                        <p:cTn id="393" dur="2000" tmFilter="0, 0; .2, .5; .8, .5; 1, 0"/>
                                        <p:tgtEl>
                                          <p:spTgt spid="181"/>
                                        </p:tgtEl>
                                      </p:cBhvr>
                                    </p:animEffect>
                                    <p:animScale>
                                      <p:cBhvr>
                                        <p:cTn id="394" dur="1000" autoRev="1" fill="hold"/>
                                        <p:tgtEl>
                                          <p:spTgt spid="181"/>
                                        </p:tgtEl>
                                      </p:cBhvr>
                                      <p:by x="105000" y="105000"/>
                                    </p:animScale>
                                  </p:childTnLst>
                                </p:cTn>
                              </p:par>
                              <p:par>
                                <p:cTn id="395" presetID="26" presetClass="emph" presetSubtype="0" dur="2000" repeatCount="indefinite" fill="hold" grpId="0" nodeType="withEffect">
                                  <p:stCondLst>
                                    <p:cond delay="2750"/>
                                  </p:stCondLst>
                                  <p:childTnLst>
                                    <p:animEffect transition="out" filter="fade">
                                      <p:cBhvr>
                                        <p:cTn id="396" dur="2000" tmFilter="0, 0; .2, .5; .8, .5; 1, 0"/>
                                        <p:tgtEl>
                                          <p:spTgt spid="182"/>
                                        </p:tgtEl>
                                      </p:cBhvr>
                                    </p:animEffect>
                                    <p:animScale>
                                      <p:cBhvr>
                                        <p:cTn id="397" dur="1000" autoRev="1" fill="hold"/>
                                        <p:tgtEl>
                                          <p:spTgt spid="182"/>
                                        </p:tgtEl>
                                      </p:cBhvr>
                                      <p:by x="105000" y="105000"/>
                                    </p:animScale>
                                  </p:childTnLst>
                                </p:cTn>
                              </p:par>
                              <p:par>
                                <p:cTn id="398" presetID="26" presetClass="emph" presetSubtype="0" dur="2000" repeatCount="indefinite" fill="hold" grpId="0" nodeType="withEffect">
                                  <p:stCondLst>
                                    <p:cond delay="2750"/>
                                  </p:stCondLst>
                                  <p:childTnLst>
                                    <p:animEffect transition="out" filter="fade">
                                      <p:cBhvr>
                                        <p:cTn id="399" dur="2000" tmFilter="0, 0; .2, .5; .8, .5; 1, 0"/>
                                        <p:tgtEl>
                                          <p:spTgt spid="183"/>
                                        </p:tgtEl>
                                      </p:cBhvr>
                                    </p:animEffect>
                                    <p:animScale>
                                      <p:cBhvr>
                                        <p:cTn id="400" dur="1000" autoRev="1" fill="hold"/>
                                        <p:tgtEl>
                                          <p:spTgt spid="183"/>
                                        </p:tgtEl>
                                      </p:cBhvr>
                                      <p:by x="105000" y="105000"/>
                                    </p:animScale>
                                  </p:childTnLst>
                                </p:cTn>
                              </p:par>
                              <p:par>
                                <p:cTn id="401" presetID="26" presetClass="emph" presetSubtype="0" dur="2000" repeatCount="indefinite" fill="hold" grpId="0" nodeType="withEffect">
                                  <p:stCondLst>
                                    <p:cond delay="2750"/>
                                  </p:stCondLst>
                                  <p:childTnLst>
                                    <p:animEffect transition="out" filter="fade">
                                      <p:cBhvr>
                                        <p:cTn id="402" dur="2000" tmFilter="0, 0; .2, .5; .8, .5; 1, 0"/>
                                        <p:tgtEl>
                                          <p:spTgt spid="184"/>
                                        </p:tgtEl>
                                      </p:cBhvr>
                                    </p:animEffect>
                                    <p:animScale>
                                      <p:cBhvr>
                                        <p:cTn id="403" dur="1000" autoRev="1" fill="hold"/>
                                        <p:tgtEl>
                                          <p:spTgt spid="184"/>
                                        </p:tgtEl>
                                      </p:cBhvr>
                                      <p:by x="105000" y="105000"/>
                                    </p:animScale>
                                  </p:childTnLst>
                                </p:cTn>
                              </p:par>
                              <p:par>
                                <p:cTn id="404" presetID="26" presetClass="emph" presetSubtype="0" dur="2000" repeatCount="indefinite" fill="hold" grpId="0" nodeType="withEffect">
                                  <p:stCondLst>
                                    <p:cond delay="2750"/>
                                  </p:stCondLst>
                                  <p:childTnLst>
                                    <p:animEffect transition="out" filter="fade">
                                      <p:cBhvr>
                                        <p:cTn id="405" dur="2000" tmFilter="0, 0; .2, .5; .8, .5; 1, 0"/>
                                        <p:tgtEl>
                                          <p:spTgt spid="185"/>
                                        </p:tgtEl>
                                      </p:cBhvr>
                                    </p:animEffect>
                                    <p:animScale>
                                      <p:cBhvr>
                                        <p:cTn id="406" dur="1000" autoRev="1" fill="hold"/>
                                        <p:tgtEl>
                                          <p:spTgt spid="185"/>
                                        </p:tgtEl>
                                      </p:cBhvr>
                                      <p:by x="105000" y="105000"/>
                                    </p:animScale>
                                  </p:childTnLst>
                                </p:cTn>
                              </p:par>
                              <p:par>
                                <p:cTn id="407" presetID="26" presetClass="emph" presetSubtype="0" dur="2000" repeatCount="indefinite" fill="hold" grpId="0" nodeType="withEffect">
                                  <p:stCondLst>
                                    <p:cond delay="2750"/>
                                  </p:stCondLst>
                                  <p:childTnLst>
                                    <p:animEffect transition="out" filter="fade">
                                      <p:cBhvr>
                                        <p:cTn id="408" dur="2000" tmFilter="0, 0; .2, .5; .8, .5; 1, 0"/>
                                        <p:tgtEl>
                                          <p:spTgt spid="186"/>
                                        </p:tgtEl>
                                      </p:cBhvr>
                                    </p:animEffect>
                                    <p:animScale>
                                      <p:cBhvr>
                                        <p:cTn id="409" dur="1000" autoRev="1" fill="hold"/>
                                        <p:tgtEl>
                                          <p:spTgt spid="186"/>
                                        </p:tgtEl>
                                      </p:cBhvr>
                                      <p:by x="105000" y="105000"/>
                                    </p:animScale>
                                  </p:childTnLst>
                                </p:cTn>
                              </p:par>
                              <p:par>
                                <p:cTn id="410" presetID="26" presetClass="emph" presetSubtype="0" dur="2000" repeatCount="indefinite" fill="hold" grpId="0" nodeType="withEffect">
                                  <p:stCondLst>
                                    <p:cond delay="2750"/>
                                  </p:stCondLst>
                                  <p:childTnLst>
                                    <p:animEffect transition="out" filter="fade">
                                      <p:cBhvr>
                                        <p:cTn id="411" dur="2000" tmFilter="0, 0; .2, .5; .8, .5; 1, 0"/>
                                        <p:tgtEl>
                                          <p:spTgt spid="187"/>
                                        </p:tgtEl>
                                      </p:cBhvr>
                                    </p:animEffect>
                                    <p:animScale>
                                      <p:cBhvr>
                                        <p:cTn id="412" dur="1000" autoRev="1" fill="hold"/>
                                        <p:tgtEl>
                                          <p:spTgt spid="187"/>
                                        </p:tgtEl>
                                      </p:cBhvr>
                                      <p:by x="105000" y="105000"/>
                                    </p:animScale>
                                  </p:childTnLst>
                                </p:cTn>
                              </p:par>
                              <p:par>
                                <p:cTn id="413" presetID="26" presetClass="emph" presetSubtype="0" dur="2000" repeatCount="indefinite" fill="hold" grpId="0" nodeType="withEffect">
                                  <p:stCondLst>
                                    <p:cond delay="2750"/>
                                  </p:stCondLst>
                                  <p:childTnLst>
                                    <p:animEffect transition="out" filter="fade">
                                      <p:cBhvr>
                                        <p:cTn id="414" dur="2000" tmFilter="0, 0; .2, .5; .8, .5; 1, 0"/>
                                        <p:tgtEl>
                                          <p:spTgt spid="188"/>
                                        </p:tgtEl>
                                      </p:cBhvr>
                                    </p:animEffect>
                                    <p:animScale>
                                      <p:cBhvr>
                                        <p:cTn id="415" dur="1000" autoRev="1" fill="hold"/>
                                        <p:tgtEl>
                                          <p:spTgt spid="188"/>
                                        </p:tgtEl>
                                      </p:cBhvr>
                                      <p:by x="105000" y="105000"/>
                                    </p:animScale>
                                  </p:childTnLst>
                                </p:cTn>
                              </p:par>
                              <p:par>
                                <p:cTn id="416" presetID="26" presetClass="emph" presetSubtype="0" dur="2000" repeatCount="indefinite" fill="hold" grpId="0" nodeType="withEffect">
                                  <p:stCondLst>
                                    <p:cond delay="2750"/>
                                  </p:stCondLst>
                                  <p:childTnLst>
                                    <p:animEffect transition="out" filter="fade">
                                      <p:cBhvr>
                                        <p:cTn id="417" dur="2000" tmFilter="0, 0; .2, .5; .8, .5; 1, 0"/>
                                        <p:tgtEl>
                                          <p:spTgt spid="189"/>
                                        </p:tgtEl>
                                      </p:cBhvr>
                                    </p:animEffect>
                                    <p:animScale>
                                      <p:cBhvr>
                                        <p:cTn id="418" dur="1000" autoRev="1" fill="hold"/>
                                        <p:tgtEl>
                                          <p:spTgt spid="189"/>
                                        </p:tgtEl>
                                      </p:cBhvr>
                                      <p:by x="105000" y="105000"/>
                                    </p:animScale>
                                  </p:childTnLst>
                                </p:cTn>
                              </p:par>
                              <p:par>
                                <p:cTn id="419" presetID="26" presetClass="emph" presetSubtype="0" dur="2000" repeatCount="indefinite" fill="hold" grpId="0" nodeType="withEffect">
                                  <p:stCondLst>
                                    <p:cond delay="2750"/>
                                  </p:stCondLst>
                                  <p:childTnLst>
                                    <p:animEffect transition="out" filter="fade">
                                      <p:cBhvr>
                                        <p:cTn id="420" dur="2000" tmFilter="0, 0; .2, .5; .8, .5; 1, 0"/>
                                        <p:tgtEl>
                                          <p:spTgt spid="190"/>
                                        </p:tgtEl>
                                      </p:cBhvr>
                                    </p:animEffect>
                                    <p:animScale>
                                      <p:cBhvr>
                                        <p:cTn id="421" dur="1000" autoRev="1" fill="hold"/>
                                        <p:tgtEl>
                                          <p:spTgt spid="190"/>
                                        </p:tgtEl>
                                      </p:cBhvr>
                                      <p:by x="105000" y="105000"/>
                                    </p:animScale>
                                  </p:childTnLst>
                                </p:cTn>
                              </p:par>
                              <p:par>
                                <p:cTn id="422" presetID="26" presetClass="emph" presetSubtype="0" dur="2000" repeatCount="indefinite" fill="hold" grpId="0" nodeType="withEffect">
                                  <p:stCondLst>
                                    <p:cond delay="2750"/>
                                  </p:stCondLst>
                                  <p:childTnLst>
                                    <p:animEffect transition="out" filter="fade">
                                      <p:cBhvr>
                                        <p:cTn id="423" dur="2000" tmFilter="0, 0; .2, .5; .8, .5; 1, 0"/>
                                        <p:tgtEl>
                                          <p:spTgt spid="191"/>
                                        </p:tgtEl>
                                      </p:cBhvr>
                                    </p:animEffect>
                                    <p:animScale>
                                      <p:cBhvr>
                                        <p:cTn id="424" dur="1000" autoRev="1" fill="hold"/>
                                        <p:tgtEl>
                                          <p:spTgt spid="191"/>
                                        </p:tgtEl>
                                      </p:cBhvr>
                                      <p:by x="105000" y="105000"/>
                                    </p:animScale>
                                  </p:childTnLst>
                                </p:cTn>
                              </p:par>
                              <p:par>
                                <p:cTn id="425" presetID="26" presetClass="emph" presetSubtype="0" dur="2000" repeatCount="indefinite" fill="hold" grpId="0" nodeType="withEffect">
                                  <p:stCondLst>
                                    <p:cond delay="2750"/>
                                  </p:stCondLst>
                                  <p:childTnLst>
                                    <p:animEffect transition="out" filter="fade">
                                      <p:cBhvr>
                                        <p:cTn id="426" dur="2000" tmFilter="0, 0; .2, .5; .8, .5; 1, 0"/>
                                        <p:tgtEl>
                                          <p:spTgt spid="192"/>
                                        </p:tgtEl>
                                      </p:cBhvr>
                                    </p:animEffect>
                                    <p:animScale>
                                      <p:cBhvr>
                                        <p:cTn id="427" dur="1000" autoRev="1" fill="hold"/>
                                        <p:tgtEl>
                                          <p:spTgt spid="192"/>
                                        </p:tgtEl>
                                      </p:cBhvr>
                                      <p:by x="105000" y="105000"/>
                                    </p:animScale>
                                  </p:childTnLst>
                                </p:cTn>
                              </p:par>
                              <p:par>
                                <p:cTn id="428" presetID="26" presetClass="emph" presetSubtype="0" dur="2000" repeatCount="indefinite" fill="hold" grpId="0" nodeType="withEffect">
                                  <p:stCondLst>
                                    <p:cond delay="2750"/>
                                  </p:stCondLst>
                                  <p:childTnLst>
                                    <p:animEffect transition="out" filter="fade">
                                      <p:cBhvr>
                                        <p:cTn id="429" dur="2000" tmFilter="0, 0; .2, .5; .8, .5; 1, 0"/>
                                        <p:tgtEl>
                                          <p:spTgt spid="193"/>
                                        </p:tgtEl>
                                      </p:cBhvr>
                                    </p:animEffect>
                                    <p:animScale>
                                      <p:cBhvr>
                                        <p:cTn id="430" dur="1000" autoRev="1" fill="hold"/>
                                        <p:tgtEl>
                                          <p:spTgt spid="193"/>
                                        </p:tgtEl>
                                      </p:cBhvr>
                                      <p:by x="105000" y="105000"/>
                                    </p:animScale>
                                  </p:childTnLst>
                                </p:cTn>
                              </p:par>
                              <p:par>
                                <p:cTn id="431" presetID="26" presetClass="emph" presetSubtype="0" dur="2000" repeatCount="indefinite" fill="hold" grpId="0" nodeType="withEffect">
                                  <p:stCondLst>
                                    <p:cond delay="2750"/>
                                  </p:stCondLst>
                                  <p:childTnLst>
                                    <p:animEffect transition="out" filter="fade">
                                      <p:cBhvr>
                                        <p:cTn id="432" dur="2000" tmFilter="0, 0; .2, .5; .8, .5; 1, 0"/>
                                        <p:tgtEl>
                                          <p:spTgt spid="194"/>
                                        </p:tgtEl>
                                      </p:cBhvr>
                                    </p:animEffect>
                                    <p:animScale>
                                      <p:cBhvr>
                                        <p:cTn id="433" dur="1000" autoRev="1" fill="hold"/>
                                        <p:tgtEl>
                                          <p:spTgt spid="194"/>
                                        </p:tgtEl>
                                      </p:cBhvr>
                                      <p:by x="105000" y="105000"/>
                                    </p:animScale>
                                  </p:childTnLst>
                                </p:cTn>
                              </p:par>
                              <p:par>
                                <p:cTn id="434" presetID="26" presetClass="emph" presetSubtype="0" dur="2000" repeatCount="indefinite" fill="hold" grpId="0" nodeType="withEffect">
                                  <p:stCondLst>
                                    <p:cond delay="2750"/>
                                  </p:stCondLst>
                                  <p:childTnLst>
                                    <p:animEffect transition="out" filter="fade">
                                      <p:cBhvr>
                                        <p:cTn id="435" dur="2000" tmFilter="0, 0; .2, .5; .8, .5; 1, 0"/>
                                        <p:tgtEl>
                                          <p:spTgt spid="195"/>
                                        </p:tgtEl>
                                      </p:cBhvr>
                                    </p:animEffect>
                                    <p:animScale>
                                      <p:cBhvr>
                                        <p:cTn id="436" dur="1000" autoRev="1" fill="hold"/>
                                        <p:tgtEl>
                                          <p:spTgt spid="195"/>
                                        </p:tgtEl>
                                      </p:cBhvr>
                                      <p:by x="105000" y="105000"/>
                                    </p:animScale>
                                  </p:childTnLst>
                                </p:cTn>
                              </p:par>
                              <p:par>
                                <p:cTn id="437" presetID="26" presetClass="emph" presetSubtype="0" dur="2000" repeatCount="indefinite" fill="hold" grpId="0" nodeType="withEffect">
                                  <p:stCondLst>
                                    <p:cond delay="3000"/>
                                  </p:stCondLst>
                                  <p:childTnLst>
                                    <p:animEffect transition="out" filter="fade">
                                      <p:cBhvr>
                                        <p:cTn id="438" dur="2000" tmFilter="0, 0; .2, .5; .8, .5; 1, 0"/>
                                        <p:tgtEl>
                                          <p:spTgt spid="196"/>
                                        </p:tgtEl>
                                      </p:cBhvr>
                                    </p:animEffect>
                                    <p:animScale>
                                      <p:cBhvr>
                                        <p:cTn id="439" dur="1000" autoRev="1" fill="hold"/>
                                        <p:tgtEl>
                                          <p:spTgt spid="196"/>
                                        </p:tgtEl>
                                      </p:cBhvr>
                                      <p:by x="105000" y="105000"/>
                                    </p:animScale>
                                  </p:childTnLst>
                                </p:cTn>
                              </p:par>
                              <p:par>
                                <p:cTn id="440" presetID="26" presetClass="emph" presetSubtype="0" dur="2000" repeatCount="indefinite" fill="hold" grpId="0" nodeType="withEffect">
                                  <p:stCondLst>
                                    <p:cond delay="3000"/>
                                  </p:stCondLst>
                                  <p:childTnLst>
                                    <p:animEffect transition="out" filter="fade">
                                      <p:cBhvr>
                                        <p:cTn id="441" dur="2000" tmFilter="0, 0; .2, .5; .8, .5; 1, 0"/>
                                        <p:tgtEl>
                                          <p:spTgt spid="197"/>
                                        </p:tgtEl>
                                      </p:cBhvr>
                                    </p:animEffect>
                                    <p:animScale>
                                      <p:cBhvr>
                                        <p:cTn id="442" dur="1000" autoRev="1" fill="hold"/>
                                        <p:tgtEl>
                                          <p:spTgt spid="197"/>
                                        </p:tgtEl>
                                      </p:cBhvr>
                                      <p:by x="105000" y="105000"/>
                                    </p:animScale>
                                  </p:childTnLst>
                                </p:cTn>
                              </p:par>
                              <p:par>
                                <p:cTn id="443" presetID="26" presetClass="emph" presetSubtype="0" dur="2000" repeatCount="indefinite" fill="hold" grpId="0" nodeType="withEffect">
                                  <p:stCondLst>
                                    <p:cond delay="3000"/>
                                  </p:stCondLst>
                                  <p:childTnLst>
                                    <p:animEffect transition="out" filter="fade">
                                      <p:cBhvr>
                                        <p:cTn id="444" dur="2000" tmFilter="0, 0; .2, .5; .8, .5; 1, 0"/>
                                        <p:tgtEl>
                                          <p:spTgt spid="198"/>
                                        </p:tgtEl>
                                      </p:cBhvr>
                                    </p:animEffect>
                                    <p:animScale>
                                      <p:cBhvr>
                                        <p:cTn id="445" dur="1000" autoRev="1" fill="hold"/>
                                        <p:tgtEl>
                                          <p:spTgt spid="198"/>
                                        </p:tgtEl>
                                      </p:cBhvr>
                                      <p:by x="105000" y="105000"/>
                                    </p:animScale>
                                  </p:childTnLst>
                                </p:cTn>
                              </p:par>
                              <p:par>
                                <p:cTn id="446" presetID="26" presetClass="emph" presetSubtype="0" dur="2000" repeatCount="indefinite" fill="hold" grpId="0" nodeType="withEffect">
                                  <p:stCondLst>
                                    <p:cond delay="3000"/>
                                  </p:stCondLst>
                                  <p:childTnLst>
                                    <p:animEffect transition="out" filter="fade">
                                      <p:cBhvr>
                                        <p:cTn id="447" dur="2000" tmFilter="0, 0; .2, .5; .8, .5; 1, 0"/>
                                        <p:tgtEl>
                                          <p:spTgt spid="199"/>
                                        </p:tgtEl>
                                      </p:cBhvr>
                                    </p:animEffect>
                                    <p:animScale>
                                      <p:cBhvr>
                                        <p:cTn id="448" dur="1000" autoRev="1" fill="hold"/>
                                        <p:tgtEl>
                                          <p:spTgt spid="199"/>
                                        </p:tgtEl>
                                      </p:cBhvr>
                                      <p:by x="105000" y="105000"/>
                                    </p:animScale>
                                  </p:childTnLst>
                                </p:cTn>
                              </p:par>
                              <p:par>
                                <p:cTn id="449" presetID="26" presetClass="emph" presetSubtype="0" dur="2000" repeatCount="indefinite" fill="hold" grpId="0" nodeType="withEffect">
                                  <p:stCondLst>
                                    <p:cond delay="3000"/>
                                  </p:stCondLst>
                                  <p:childTnLst>
                                    <p:animEffect transition="out" filter="fade">
                                      <p:cBhvr>
                                        <p:cTn id="450" dur="2000" tmFilter="0, 0; .2, .5; .8, .5; 1, 0"/>
                                        <p:tgtEl>
                                          <p:spTgt spid="200"/>
                                        </p:tgtEl>
                                      </p:cBhvr>
                                    </p:animEffect>
                                    <p:animScale>
                                      <p:cBhvr>
                                        <p:cTn id="451" dur="1000" autoRev="1" fill="hold"/>
                                        <p:tgtEl>
                                          <p:spTgt spid="200"/>
                                        </p:tgtEl>
                                      </p:cBhvr>
                                      <p:by x="105000" y="105000"/>
                                    </p:animScale>
                                  </p:childTnLst>
                                </p:cTn>
                              </p:par>
                              <p:par>
                                <p:cTn id="452" presetID="26" presetClass="emph" presetSubtype="0" dur="2000" repeatCount="indefinite" fill="hold" grpId="0" nodeType="withEffect">
                                  <p:stCondLst>
                                    <p:cond delay="3000"/>
                                  </p:stCondLst>
                                  <p:childTnLst>
                                    <p:animEffect transition="out" filter="fade">
                                      <p:cBhvr>
                                        <p:cTn id="453" dur="2000" tmFilter="0, 0; .2, .5; .8, .5; 1, 0"/>
                                        <p:tgtEl>
                                          <p:spTgt spid="201"/>
                                        </p:tgtEl>
                                      </p:cBhvr>
                                    </p:animEffect>
                                    <p:animScale>
                                      <p:cBhvr>
                                        <p:cTn id="454" dur="1000" autoRev="1" fill="hold"/>
                                        <p:tgtEl>
                                          <p:spTgt spid="201"/>
                                        </p:tgtEl>
                                      </p:cBhvr>
                                      <p:by x="105000" y="105000"/>
                                    </p:animScale>
                                  </p:childTnLst>
                                </p:cTn>
                              </p:par>
                              <p:par>
                                <p:cTn id="455" presetID="26" presetClass="emph" presetSubtype="0" dur="2000" repeatCount="indefinite" fill="hold" grpId="0" nodeType="withEffect">
                                  <p:stCondLst>
                                    <p:cond delay="3000"/>
                                  </p:stCondLst>
                                  <p:childTnLst>
                                    <p:animEffect transition="out" filter="fade">
                                      <p:cBhvr>
                                        <p:cTn id="456" dur="2000" tmFilter="0, 0; .2, .5; .8, .5; 1, 0"/>
                                        <p:tgtEl>
                                          <p:spTgt spid="202"/>
                                        </p:tgtEl>
                                      </p:cBhvr>
                                    </p:animEffect>
                                    <p:animScale>
                                      <p:cBhvr>
                                        <p:cTn id="457" dur="1000" autoRev="1" fill="hold"/>
                                        <p:tgtEl>
                                          <p:spTgt spid="202"/>
                                        </p:tgtEl>
                                      </p:cBhvr>
                                      <p:by x="105000" y="105000"/>
                                    </p:animScale>
                                  </p:childTnLst>
                                </p:cTn>
                              </p:par>
                              <p:par>
                                <p:cTn id="458" presetID="26" presetClass="emph" presetSubtype="0" dur="2000" repeatCount="indefinite" fill="hold" grpId="0" nodeType="withEffect">
                                  <p:stCondLst>
                                    <p:cond delay="3000"/>
                                  </p:stCondLst>
                                  <p:childTnLst>
                                    <p:animEffect transition="out" filter="fade">
                                      <p:cBhvr>
                                        <p:cTn id="459" dur="2000" tmFilter="0, 0; .2, .5; .8, .5; 1, 0"/>
                                        <p:tgtEl>
                                          <p:spTgt spid="203"/>
                                        </p:tgtEl>
                                      </p:cBhvr>
                                    </p:animEffect>
                                    <p:animScale>
                                      <p:cBhvr>
                                        <p:cTn id="460" dur="1000" autoRev="1" fill="hold"/>
                                        <p:tgtEl>
                                          <p:spTgt spid="203"/>
                                        </p:tgtEl>
                                      </p:cBhvr>
                                      <p:by x="105000" y="105000"/>
                                    </p:animScale>
                                  </p:childTnLst>
                                </p:cTn>
                              </p:par>
                              <p:par>
                                <p:cTn id="461" presetID="26" presetClass="emph" presetSubtype="0" dur="2000" repeatCount="indefinite" fill="hold" grpId="0" nodeType="withEffect">
                                  <p:stCondLst>
                                    <p:cond delay="3000"/>
                                  </p:stCondLst>
                                  <p:childTnLst>
                                    <p:animEffect transition="out" filter="fade">
                                      <p:cBhvr>
                                        <p:cTn id="462" dur="2000" tmFilter="0, 0; .2, .5; .8, .5; 1, 0"/>
                                        <p:tgtEl>
                                          <p:spTgt spid="204"/>
                                        </p:tgtEl>
                                      </p:cBhvr>
                                    </p:animEffect>
                                    <p:animScale>
                                      <p:cBhvr>
                                        <p:cTn id="463" dur="1000" autoRev="1" fill="hold"/>
                                        <p:tgtEl>
                                          <p:spTgt spid="204"/>
                                        </p:tgtEl>
                                      </p:cBhvr>
                                      <p:by x="105000" y="105000"/>
                                    </p:animScale>
                                  </p:childTnLst>
                                </p:cTn>
                              </p:par>
                              <p:par>
                                <p:cTn id="464" presetID="26" presetClass="emph" presetSubtype="0" dur="2000" repeatCount="indefinite" fill="hold" grpId="0" nodeType="withEffect">
                                  <p:stCondLst>
                                    <p:cond delay="3000"/>
                                  </p:stCondLst>
                                  <p:childTnLst>
                                    <p:animEffect transition="out" filter="fade">
                                      <p:cBhvr>
                                        <p:cTn id="465" dur="2000" tmFilter="0, 0; .2, .5; .8, .5; 1, 0"/>
                                        <p:tgtEl>
                                          <p:spTgt spid="205"/>
                                        </p:tgtEl>
                                      </p:cBhvr>
                                    </p:animEffect>
                                    <p:animScale>
                                      <p:cBhvr>
                                        <p:cTn id="466" dur="1000" autoRev="1" fill="hold"/>
                                        <p:tgtEl>
                                          <p:spTgt spid="205"/>
                                        </p:tgtEl>
                                      </p:cBhvr>
                                      <p:by x="105000" y="105000"/>
                                    </p:animScale>
                                  </p:childTnLst>
                                </p:cTn>
                              </p:par>
                              <p:par>
                                <p:cTn id="467" presetID="26" presetClass="emph" presetSubtype="0" dur="2000" repeatCount="indefinite" fill="hold" grpId="0" nodeType="withEffect">
                                  <p:stCondLst>
                                    <p:cond delay="3000"/>
                                  </p:stCondLst>
                                  <p:childTnLst>
                                    <p:animEffect transition="out" filter="fade">
                                      <p:cBhvr>
                                        <p:cTn id="468" dur="2000" tmFilter="0, 0; .2, .5; .8, .5; 1, 0"/>
                                        <p:tgtEl>
                                          <p:spTgt spid="206"/>
                                        </p:tgtEl>
                                      </p:cBhvr>
                                    </p:animEffect>
                                    <p:animScale>
                                      <p:cBhvr>
                                        <p:cTn id="469" dur="1000" autoRev="1" fill="hold"/>
                                        <p:tgtEl>
                                          <p:spTgt spid="206"/>
                                        </p:tgtEl>
                                      </p:cBhvr>
                                      <p:by x="105000" y="105000"/>
                                    </p:animScale>
                                  </p:childTnLst>
                                </p:cTn>
                              </p:par>
                              <p:par>
                                <p:cTn id="470" presetID="26" presetClass="emph" presetSubtype="0" dur="2000" repeatCount="indefinite" fill="hold" grpId="0" nodeType="withEffect">
                                  <p:stCondLst>
                                    <p:cond delay="3000"/>
                                  </p:stCondLst>
                                  <p:childTnLst>
                                    <p:animEffect transition="out" filter="fade">
                                      <p:cBhvr>
                                        <p:cTn id="471" dur="2000" tmFilter="0, 0; .2, .5; .8, .5; 1, 0"/>
                                        <p:tgtEl>
                                          <p:spTgt spid="207"/>
                                        </p:tgtEl>
                                      </p:cBhvr>
                                    </p:animEffect>
                                    <p:animScale>
                                      <p:cBhvr>
                                        <p:cTn id="472" dur="1000" autoRev="1" fill="hold"/>
                                        <p:tgtEl>
                                          <p:spTgt spid="207"/>
                                        </p:tgtEl>
                                      </p:cBhvr>
                                      <p:by x="105000" y="105000"/>
                                    </p:animScale>
                                  </p:childTnLst>
                                </p:cTn>
                              </p:par>
                              <p:par>
                                <p:cTn id="473" presetID="26" presetClass="emph" presetSubtype="0" dur="2000" repeatCount="indefinite" fill="hold" grpId="0" nodeType="withEffect">
                                  <p:stCondLst>
                                    <p:cond delay="3000"/>
                                  </p:stCondLst>
                                  <p:childTnLst>
                                    <p:animEffect transition="out" filter="fade">
                                      <p:cBhvr>
                                        <p:cTn id="474" dur="2000" tmFilter="0, 0; .2, .5; .8, .5; 1, 0"/>
                                        <p:tgtEl>
                                          <p:spTgt spid="208"/>
                                        </p:tgtEl>
                                      </p:cBhvr>
                                    </p:animEffect>
                                    <p:animScale>
                                      <p:cBhvr>
                                        <p:cTn id="475" dur="1000" autoRev="1" fill="hold"/>
                                        <p:tgtEl>
                                          <p:spTgt spid="208"/>
                                        </p:tgtEl>
                                      </p:cBhvr>
                                      <p:by x="105000" y="105000"/>
                                    </p:animScale>
                                  </p:childTnLst>
                                </p:cTn>
                              </p:par>
                              <p:par>
                                <p:cTn id="476" presetID="26" presetClass="emph" presetSubtype="0" dur="2000" repeatCount="indefinite" fill="hold" grpId="0" nodeType="withEffect">
                                  <p:stCondLst>
                                    <p:cond delay="3000"/>
                                  </p:stCondLst>
                                  <p:childTnLst>
                                    <p:animEffect transition="out" filter="fade">
                                      <p:cBhvr>
                                        <p:cTn id="477" dur="2000" tmFilter="0, 0; .2, .5; .8, .5; 1, 0"/>
                                        <p:tgtEl>
                                          <p:spTgt spid="209"/>
                                        </p:tgtEl>
                                      </p:cBhvr>
                                    </p:animEffect>
                                    <p:animScale>
                                      <p:cBhvr>
                                        <p:cTn id="478" dur="1000" autoRev="1" fill="hold"/>
                                        <p:tgtEl>
                                          <p:spTgt spid="209"/>
                                        </p:tgtEl>
                                      </p:cBhvr>
                                      <p:by x="105000" y="105000"/>
                                    </p:animScale>
                                  </p:childTnLst>
                                </p:cTn>
                              </p:par>
                              <p:par>
                                <p:cTn id="479" presetID="26" presetClass="emph" presetSubtype="0" dur="2000" repeatCount="indefinite" fill="hold" grpId="0" nodeType="withEffect">
                                  <p:stCondLst>
                                    <p:cond delay="3250"/>
                                  </p:stCondLst>
                                  <p:childTnLst>
                                    <p:animEffect transition="out" filter="fade">
                                      <p:cBhvr>
                                        <p:cTn id="480" dur="2000" tmFilter="0, 0; .2, .5; .8, .5; 1, 0"/>
                                        <p:tgtEl>
                                          <p:spTgt spid="210"/>
                                        </p:tgtEl>
                                      </p:cBhvr>
                                    </p:animEffect>
                                    <p:animScale>
                                      <p:cBhvr>
                                        <p:cTn id="481" dur="1000" autoRev="1" fill="hold"/>
                                        <p:tgtEl>
                                          <p:spTgt spid="210"/>
                                        </p:tgtEl>
                                      </p:cBhvr>
                                      <p:by x="105000" y="105000"/>
                                    </p:animScale>
                                  </p:childTnLst>
                                </p:cTn>
                              </p:par>
                              <p:par>
                                <p:cTn id="482" presetID="26" presetClass="emph" presetSubtype="0" dur="2000" repeatCount="indefinite" fill="hold" grpId="0" nodeType="withEffect">
                                  <p:stCondLst>
                                    <p:cond delay="3250"/>
                                  </p:stCondLst>
                                  <p:childTnLst>
                                    <p:animEffect transition="out" filter="fade">
                                      <p:cBhvr>
                                        <p:cTn id="483" dur="2000" tmFilter="0, 0; .2, .5; .8, .5; 1, 0"/>
                                        <p:tgtEl>
                                          <p:spTgt spid="211"/>
                                        </p:tgtEl>
                                      </p:cBhvr>
                                    </p:animEffect>
                                    <p:animScale>
                                      <p:cBhvr>
                                        <p:cTn id="484" dur="1000" autoRev="1" fill="hold"/>
                                        <p:tgtEl>
                                          <p:spTgt spid="211"/>
                                        </p:tgtEl>
                                      </p:cBhvr>
                                      <p:by x="105000" y="105000"/>
                                    </p:animScale>
                                  </p:childTnLst>
                                </p:cTn>
                              </p:par>
                              <p:par>
                                <p:cTn id="485" presetID="26" presetClass="emph" presetSubtype="0" dur="2000" repeatCount="indefinite" fill="hold" grpId="0" nodeType="withEffect">
                                  <p:stCondLst>
                                    <p:cond delay="3250"/>
                                  </p:stCondLst>
                                  <p:childTnLst>
                                    <p:animEffect transition="out" filter="fade">
                                      <p:cBhvr>
                                        <p:cTn id="486" dur="2000" tmFilter="0, 0; .2, .5; .8, .5; 1, 0"/>
                                        <p:tgtEl>
                                          <p:spTgt spid="212"/>
                                        </p:tgtEl>
                                      </p:cBhvr>
                                    </p:animEffect>
                                    <p:animScale>
                                      <p:cBhvr>
                                        <p:cTn id="487" dur="1000" autoRev="1" fill="hold"/>
                                        <p:tgtEl>
                                          <p:spTgt spid="212"/>
                                        </p:tgtEl>
                                      </p:cBhvr>
                                      <p:by x="105000" y="105000"/>
                                    </p:animScale>
                                  </p:childTnLst>
                                </p:cTn>
                              </p:par>
                              <p:par>
                                <p:cTn id="488" presetID="26" presetClass="emph" presetSubtype="0" dur="2000" repeatCount="indefinite" fill="hold" grpId="0" nodeType="withEffect">
                                  <p:stCondLst>
                                    <p:cond delay="3250"/>
                                  </p:stCondLst>
                                  <p:childTnLst>
                                    <p:animEffect transition="out" filter="fade">
                                      <p:cBhvr>
                                        <p:cTn id="489" dur="2000" tmFilter="0, 0; .2, .5; .8, .5; 1, 0"/>
                                        <p:tgtEl>
                                          <p:spTgt spid="213"/>
                                        </p:tgtEl>
                                      </p:cBhvr>
                                    </p:animEffect>
                                    <p:animScale>
                                      <p:cBhvr>
                                        <p:cTn id="490" dur="1000" autoRev="1" fill="hold"/>
                                        <p:tgtEl>
                                          <p:spTgt spid="213"/>
                                        </p:tgtEl>
                                      </p:cBhvr>
                                      <p:by x="105000" y="105000"/>
                                    </p:animScale>
                                  </p:childTnLst>
                                </p:cTn>
                              </p:par>
                              <p:par>
                                <p:cTn id="491" presetID="26" presetClass="emph" presetSubtype="0" dur="2000" repeatCount="indefinite" fill="hold" grpId="0" nodeType="withEffect">
                                  <p:stCondLst>
                                    <p:cond delay="3250"/>
                                  </p:stCondLst>
                                  <p:childTnLst>
                                    <p:animEffect transition="out" filter="fade">
                                      <p:cBhvr>
                                        <p:cTn id="492" dur="2000" tmFilter="0, 0; .2, .5; .8, .5; 1, 0"/>
                                        <p:tgtEl>
                                          <p:spTgt spid="214"/>
                                        </p:tgtEl>
                                      </p:cBhvr>
                                    </p:animEffect>
                                    <p:animScale>
                                      <p:cBhvr>
                                        <p:cTn id="493" dur="1000" autoRev="1" fill="hold"/>
                                        <p:tgtEl>
                                          <p:spTgt spid="214"/>
                                        </p:tgtEl>
                                      </p:cBhvr>
                                      <p:by x="105000" y="105000"/>
                                    </p:animScale>
                                  </p:childTnLst>
                                </p:cTn>
                              </p:par>
                              <p:par>
                                <p:cTn id="494" presetID="26" presetClass="emph" presetSubtype="0" dur="2000" repeatCount="indefinite" fill="hold" grpId="0" nodeType="withEffect">
                                  <p:stCondLst>
                                    <p:cond delay="3250"/>
                                  </p:stCondLst>
                                  <p:childTnLst>
                                    <p:animEffect transition="out" filter="fade">
                                      <p:cBhvr>
                                        <p:cTn id="495" dur="2000" tmFilter="0, 0; .2, .5; .8, .5; 1, 0"/>
                                        <p:tgtEl>
                                          <p:spTgt spid="215"/>
                                        </p:tgtEl>
                                      </p:cBhvr>
                                    </p:animEffect>
                                    <p:animScale>
                                      <p:cBhvr>
                                        <p:cTn id="496" dur="1000" autoRev="1" fill="hold"/>
                                        <p:tgtEl>
                                          <p:spTgt spid="215"/>
                                        </p:tgtEl>
                                      </p:cBhvr>
                                      <p:by x="105000" y="105000"/>
                                    </p:animScale>
                                  </p:childTnLst>
                                </p:cTn>
                              </p:par>
                              <p:par>
                                <p:cTn id="497" presetID="26" presetClass="emph" presetSubtype="0" dur="2000" repeatCount="indefinite" fill="hold" grpId="0" nodeType="withEffect">
                                  <p:stCondLst>
                                    <p:cond delay="3250"/>
                                  </p:stCondLst>
                                  <p:childTnLst>
                                    <p:animEffect transition="out" filter="fade">
                                      <p:cBhvr>
                                        <p:cTn id="498" dur="2000" tmFilter="0, 0; .2, .5; .8, .5; 1, 0"/>
                                        <p:tgtEl>
                                          <p:spTgt spid="216"/>
                                        </p:tgtEl>
                                      </p:cBhvr>
                                    </p:animEffect>
                                    <p:animScale>
                                      <p:cBhvr>
                                        <p:cTn id="499" dur="1000" autoRev="1" fill="hold"/>
                                        <p:tgtEl>
                                          <p:spTgt spid="216"/>
                                        </p:tgtEl>
                                      </p:cBhvr>
                                      <p:by x="105000" y="105000"/>
                                    </p:animScale>
                                  </p:childTnLst>
                                </p:cTn>
                              </p:par>
                              <p:par>
                                <p:cTn id="500" presetID="26" presetClass="emph" presetSubtype="0" dur="2000" repeatCount="indefinite" fill="hold" grpId="0" nodeType="withEffect">
                                  <p:stCondLst>
                                    <p:cond delay="3250"/>
                                  </p:stCondLst>
                                  <p:childTnLst>
                                    <p:animEffect transition="out" filter="fade">
                                      <p:cBhvr>
                                        <p:cTn id="501" dur="2000" tmFilter="0, 0; .2, .5; .8, .5; 1, 0"/>
                                        <p:tgtEl>
                                          <p:spTgt spid="217"/>
                                        </p:tgtEl>
                                      </p:cBhvr>
                                    </p:animEffect>
                                    <p:animScale>
                                      <p:cBhvr>
                                        <p:cTn id="502" dur="1000" autoRev="1" fill="hold"/>
                                        <p:tgtEl>
                                          <p:spTgt spid="217"/>
                                        </p:tgtEl>
                                      </p:cBhvr>
                                      <p:by x="105000" y="105000"/>
                                    </p:animScale>
                                  </p:childTnLst>
                                </p:cTn>
                              </p:par>
                              <p:par>
                                <p:cTn id="503" presetID="26" presetClass="emph" presetSubtype="0" dur="2000" repeatCount="indefinite" fill="hold" grpId="0" nodeType="withEffect">
                                  <p:stCondLst>
                                    <p:cond delay="3250"/>
                                  </p:stCondLst>
                                  <p:childTnLst>
                                    <p:animEffect transition="out" filter="fade">
                                      <p:cBhvr>
                                        <p:cTn id="504" dur="2000" tmFilter="0, 0; .2, .5; .8, .5; 1, 0"/>
                                        <p:tgtEl>
                                          <p:spTgt spid="218"/>
                                        </p:tgtEl>
                                      </p:cBhvr>
                                    </p:animEffect>
                                    <p:animScale>
                                      <p:cBhvr>
                                        <p:cTn id="505" dur="1000" autoRev="1" fill="hold"/>
                                        <p:tgtEl>
                                          <p:spTgt spid="218"/>
                                        </p:tgtEl>
                                      </p:cBhvr>
                                      <p:by x="105000" y="105000"/>
                                    </p:animScale>
                                  </p:childTnLst>
                                </p:cTn>
                              </p:par>
                              <p:par>
                                <p:cTn id="506" presetID="26" presetClass="emph" presetSubtype="0" dur="2000" repeatCount="indefinite" fill="hold" grpId="0" nodeType="withEffect">
                                  <p:stCondLst>
                                    <p:cond delay="3250"/>
                                  </p:stCondLst>
                                  <p:childTnLst>
                                    <p:animEffect transition="out" filter="fade">
                                      <p:cBhvr>
                                        <p:cTn id="507" dur="2000" tmFilter="0, 0; .2, .5; .8, .5; 1, 0"/>
                                        <p:tgtEl>
                                          <p:spTgt spid="219"/>
                                        </p:tgtEl>
                                      </p:cBhvr>
                                    </p:animEffect>
                                    <p:animScale>
                                      <p:cBhvr>
                                        <p:cTn id="508" dur="1000" autoRev="1" fill="hold"/>
                                        <p:tgtEl>
                                          <p:spTgt spid="219"/>
                                        </p:tgtEl>
                                      </p:cBhvr>
                                      <p:by x="105000" y="105000"/>
                                    </p:animScale>
                                  </p:childTnLst>
                                </p:cTn>
                              </p:par>
                              <p:par>
                                <p:cTn id="509" presetID="26" presetClass="emph" presetSubtype="0" dur="2000" repeatCount="indefinite" fill="hold" grpId="0" nodeType="withEffect">
                                  <p:stCondLst>
                                    <p:cond delay="3250"/>
                                  </p:stCondLst>
                                  <p:childTnLst>
                                    <p:animEffect transition="out" filter="fade">
                                      <p:cBhvr>
                                        <p:cTn id="510" dur="2000" tmFilter="0, 0; .2, .5; .8, .5; 1, 0"/>
                                        <p:tgtEl>
                                          <p:spTgt spid="220"/>
                                        </p:tgtEl>
                                      </p:cBhvr>
                                    </p:animEffect>
                                    <p:animScale>
                                      <p:cBhvr>
                                        <p:cTn id="511" dur="1000" autoRev="1" fill="hold"/>
                                        <p:tgtEl>
                                          <p:spTgt spid="220"/>
                                        </p:tgtEl>
                                      </p:cBhvr>
                                      <p:by x="105000" y="105000"/>
                                    </p:animScale>
                                  </p:childTnLst>
                                </p:cTn>
                              </p:par>
                              <p:par>
                                <p:cTn id="512" presetID="26" presetClass="emph" presetSubtype="0" dur="2000" repeatCount="indefinite" fill="hold" grpId="0" nodeType="withEffect">
                                  <p:stCondLst>
                                    <p:cond delay="3250"/>
                                  </p:stCondLst>
                                  <p:childTnLst>
                                    <p:animEffect transition="out" filter="fade">
                                      <p:cBhvr>
                                        <p:cTn id="513" dur="2000" tmFilter="0, 0; .2, .5; .8, .5; 1, 0"/>
                                        <p:tgtEl>
                                          <p:spTgt spid="221"/>
                                        </p:tgtEl>
                                      </p:cBhvr>
                                    </p:animEffect>
                                    <p:animScale>
                                      <p:cBhvr>
                                        <p:cTn id="514" dur="1000" autoRev="1" fill="hold"/>
                                        <p:tgtEl>
                                          <p:spTgt spid="221"/>
                                        </p:tgtEl>
                                      </p:cBhvr>
                                      <p:by x="105000" y="105000"/>
                                    </p:animScale>
                                  </p:childTnLst>
                                </p:cTn>
                              </p:par>
                              <p:par>
                                <p:cTn id="515" presetID="26" presetClass="emph" presetSubtype="0" dur="2000" repeatCount="indefinite" fill="hold" grpId="0" nodeType="withEffect">
                                  <p:stCondLst>
                                    <p:cond delay="3250"/>
                                  </p:stCondLst>
                                  <p:childTnLst>
                                    <p:animEffect transition="out" filter="fade">
                                      <p:cBhvr>
                                        <p:cTn id="516" dur="2000" tmFilter="0, 0; .2, .5; .8, .5; 1, 0"/>
                                        <p:tgtEl>
                                          <p:spTgt spid="222"/>
                                        </p:tgtEl>
                                      </p:cBhvr>
                                    </p:animEffect>
                                    <p:animScale>
                                      <p:cBhvr>
                                        <p:cTn id="517" dur="1000" autoRev="1" fill="hold"/>
                                        <p:tgtEl>
                                          <p:spTgt spid="222"/>
                                        </p:tgtEl>
                                      </p:cBhvr>
                                      <p:by x="105000" y="105000"/>
                                    </p:animScale>
                                  </p:childTnLst>
                                </p:cTn>
                              </p:par>
                              <p:par>
                                <p:cTn id="518" presetID="26" presetClass="emph" presetSubtype="0" dur="2000" repeatCount="indefinite" fill="hold" grpId="0" nodeType="withEffect">
                                  <p:stCondLst>
                                    <p:cond delay="3250"/>
                                  </p:stCondLst>
                                  <p:childTnLst>
                                    <p:animEffect transition="out" filter="fade">
                                      <p:cBhvr>
                                        <p:cTn id="519" dur="2000" tmFilter="0, 0; .2, .5; .8, .5; 1, 0"/>
                                        <p:tgtEl>
                                          <p:spTgt spid="223"/>
                                        </p:tgtEl>
                                      </p:cBhvr>
                                    </p:animEffect>
                                    <p:animScale>
                                      <p:cBhvr>
                                        <p:cTn id="520" dur="1000" autoRev="1" fill="hold"/>
                                        <p:tgtEl>
                                          <p:spTgt spid="223"/>
                                        </p:tgtEl>
                                      </p:cBhvr>
                                      <p:by x="105000" y="105000"/>
                                    </p:animScale>
                                  </p:childTnLst>
                                </p:cTn>
                              </p:par>
                              <p:par>
                                <p:cTn id="521" presetID="26" presetClass="emph" presetSubtype="0" dur="2000" repeatCount="indefinite" fill="hold" grpId="0" nodeType="withEffect">
                                  <p:stCondLst>
                                    <p:cond delay="3500"/>
                                  </p:stCondLst>
                                  <p:childTnLst>
                                    <p:animEffect transition="out" filter="fade">
                                      <p:cBhvr>
                                        <p:cTn id="522" dur="2000" tmFilter="0, 0; .2, .5; .8, .5; 1, 0"/>
                                        <p:tgtEl>
                                          <p:spTgt spid="224"/>
                                        </p:tgtEl>
                                      </p:cBhvr>
                                    </p:animEffect>
                                    <p:animScale>
                                      <p:cBhvr>
                                        <p:cTn id="523" dur="1000" autoRev="1" fill="hold"/>
                                        <p:tgtEl>
                                          <p:spTgt spid="224"/>
                                        </p:tgtEl>
                                      </p:cBhvr>
                                      <p:by x="105000" y="105000"/>
                                    </p:animScale>
                                  </p:childTnLst>
                                </p:cTn>
                              </p:par>
                              <p:par>
                                <p:cTn id="524" presetID="26" presetClass="emph" presetSubtype="0" dur="2000" repeatCount="indefinite" fill="hold" grpId="0" nodeType="withEffect">
                                  <p:stCondLst>
                                    <p:cond delay="3500"/>
                                  </p:stCondLst>
                                  <p:childTnLst>
                                    <p:animEffect transition="out" filter="fade">
                                      <p:cBhvr>
                                        <p:cTn id="525" dur="2000" tmFilter="0, 0; .2, .5; .8, .5; 1, 0"/>
                                        <p:tgtEl>
                                          <p:spTgt spid="225"/>
                                        </p:tgtEl>
                                      </p:cBhvr>
                                    </p:animEffect>
                                    <p:animScale>
                                      <p:cBhvr>
                                        <p:cTn id="526" dur="1000" autoRev="1" fill="hold"/>
                                        <p:tgtEl>
                                          <p:spTgt spid="225"/>
                                        </p:tgtEl>
                                      </p:cBhvr>
                                      <p:by x="105000" y="105000"/>
                                    </p:animScale>
                                  </p:childTnLst>
                                </p:cTn>
                              </p:par>
                              <p:par>
                                <p:cTn id="527" presetID="26" presetClass="emph" presetSubtype="0" dur="2000" repeatCount="indefinite" fill="hold" grpId="0" nodeType="withEffect">
                                  <p:stCondLst>
                                    <p:cond delay="3500"/>
                                  </p:stCondLst>
                                  <p:childTnLst>
                                    <p:animEffect transition="out" filter="fade">
                                      <p:cBhvr>
                                        <p:cTn id="528" dur="2000" tmFilter="0, 0; .2, .5; .8, .5; 1, 0"/>
                                        <p:tgtEl>
                                          <p:spTgt spid="226"/>
                                        </p:tgtEl>
                                      </p:cBhvr>
                                    </p:animEffect>
                                    <p:animScale>
                                      <p:cBhvr>
                                        <p:cTn id="529" dur="1000" autoRev="1" fill="hold"/>
                                        <p:tgtEl>
                                          <p:spTgt spid="226"/>
                                        </p:tgtEl>
                                      </p:cBhvr>
                                      <p:by x="105000" y="105000"/>
                                    </p:animScale>
                                  </p:childTnLst>
                                </p:cTn>
                              </p:par>
                              <p:par>
                                <p:cTn id="530" presetID="26" presetClass="emph" presetSubtype="0" dur="2000" repeatCount="indefinite" fill="hold" grpId="0" nodeType="withEffect">
                                  <p:stCondLst>
                                    <p:cond delay="3500"/>
                                  </p:stCondLst>
                                  <p:childTnLst>
                                    <p:animEffect transition="out" filter="fade">
                                      <p:cBhvr>
                                        <p:cTn id="531" dur="2000" tmFilter="0, 0; .2, .5; .8, .5; 1, 0"/>
                                        <p:tgtEl>
                                          <p:spTgt spid="227"/>
                                        </p:tgtEl>
                                      </p:cBhvr>
                                    </p:animEffect>
                                    <p:animScale>
                                      <p:cBhvr>
                                        <p:cTn id="532" dur="1000" autoRev="1" fill="hold"/>
                                        <p:tgtEl>
                                          <p:spTgt spid="227"/>
                                        </p:tgtEl>
                                      </p:cBhvr>
                                      <p:by x="105000" y="105000"/>
                                    </p:animScale>
                                  </p:childTnLst>
                                </p:cTn>
                              </p:par>
                              <p:par>
                                <p:cTn id="533" presetID="26" presetClass="emph" presetSubtype="0" dur="2000" repeatCount="indefinite" fill="hold" grpId="0" nodeType="withEffect">
                                  <p:stCondLst>
                                    <p:cond delay="3500"/>
                                  </p:stCondLst>
                                  <p:childTnLst>
                                    <p:animEffect transition="out" filter="fade">
                                      <p:cBhvr>
                                        <p:cTn id="534" dur="2000" tmFilter="0, 0; .2, .5; .8, .5; 1, 0"/>
                                        <p:tgtEl>
                                          <p:spTgt spid="228"/>
                                        </p:tgtEl>
                                      </p:cBhvr>
                                    </p:animEffect>
                                    <p:animScale>
                                      <p:cBhvr>
                                        <p:cTn id="535" dur="1000" autoRev="1" fill="hold"/>
                                        <p:tgtEl>
                                          <p:spTgt spid="228"/>
                                        </p:tgtEl>
                                      </p:cBhvr>
                                      <p:by x="105000" y="105000"/>
                                    </p:animScale>
                                  </p:childTnLst>
                                </p:cTn>
                              </p:par>
                              <p:par>
                                <p:cTn id="536" presetID="26" presetClass="emph" presetSubtype="0" dur="2000" repeatCount="indefinite" fill="hold" grpId="0" nodeType="withEffect">
                                  <p:stCondLst>
                                    <p:cond delay="3500"/>
                                  </p:stCondLst>
                                  <p:childTnLst>
                                    <p:animEffect transition="out" filter="fade">
                                      <p:cBhvr>
                                        <p:cTn id="537" dur="2000" tmFilter="0, 0; .2, .5; .8, .5; 1, 0"/>
                                        <p:tgtEl>
                                          <p:spTgt spid="229"/>
                                        </p:tgtEl>
                                      </p:cBhvr>
                                    </p:animEffect>
                                    <p:animScale>
                                      <p:cBhvr>
                                        <p:cTn id="538" dur="1000" autoRev="1" fill="hold"/>
                                        <p:tgtEl>
                                          <p:spTgt spid="229"/>
                                        </p:tgtEl>
                                      </p:cBhvr>
                                      <p:by x="105000" y="105000"/>
                                    </p:animScale>
                                  </p:childTnLst>
                                </p:cTn>
                              </p:par>
                              <p:par>
                                <p:cTn id="539" presetID="26" presetClass="emph" presetSubtype="0" dur="2000" repeatCount="indefinite" fill="hold" grpId="0" nodeType="withEffect">
                                  <p:stCondLst>
                                    <p:cond delay="3500"/>
                                  </p:stCondLst>
                                  <p:childTnLst>
                                    <p:animEffect transition="out" filter="fade">
                                      <p:cBhvr>
                                        <p:cTn id="540" dur="2000" tmFilter="0, 0; .2, .5; .8, .5; 1, 0"/>
                                        <p:tgtEl>
                                          <p:spTgt spid="230"/>
                                        </p:tgtEl>
                                      </p:cBhvr>
                                    </p:animEffect>
                                    <p:animScale>
                                      <p:cBhvr>
                                        <p:cTn id="541" dur="1000" autoRev="1" fill="hold"/>
                                        <p:tgtEl>
                                          <p:spTgt spid="230"/>
                                        </p:tgtEl>
                                      </p:cBhvr>
                                      <p:by x="105000" y="105000"/>
                                    </p:animScale>
                                  </p:childTnLst>
                                </p:cTn>
                              </p:par>
                              <p:par>
                                <p:cTn id="542" presetID="26" presetClass="emph" presetSubtype="0" dur="2000" repeatCount="indefinite" fill="hold" grpId="0" nodeType="withEffect">
                                  <p:stCondLst>
                                    <p:cond delay="3500"/>
                                  </p:stCondLst>
                                  <p:childTnLst>
                                    <p:animEffect transition="out" filter="fade">
                                      <p:cBhvr>
                                        <p:cTn id="543" dur="2000" tmFilter="0, 0; .2, .5; .8, .5; 1, 0"/>
                                        <p:tgtEl>
                                          <p:spTgt spid="231"/>
                                        </p:tgtEl>
                                      </p:cBhvr>
                                    </p:animEffect>
                                    <p:animScale>
                                      <p:cBhvr>
                                        <p:cTn id="544" dur="1000" autoRev="1" fill="hold"/>
                                        <p:tgtEl>
                                          <p:spTgt spid="231"/>
                                        </p:tgtEl>
                                      </p:cBhvr>
                                      <p:by x="105000" y="105000"/>
                                    </p:animScale>
                                  </p:childTnLst>
                                </p:cTn>
                              </p:par>
                              <p:par>
                                <p:cTn id="545" presetID="26" presetClass="emph" presetSubtype="0" dur="2000" repeatCount="indefinite" fill="hold" grpId="0" nodeType="withEffect">
                                  <p:stCondLst>
                                    <p:cond delay="3500"/>
                                  </p:stCondLst>
                                  <p:childTnLst>
                                    <p:animEffect transition="out" filter="fade">
                                      <p:cBhvr>
                                        <p:cTn id="546" dur="2000" tmFilter="0, 0; .2, .5; .8, .5; 1, 0"/>
                                        <p:tgtEl>
                                          <p:spTgt spid="232"/>
                                        </p:tgtEl>
                                      </p:cBhvr>
                                    </p:animEffect>
                                    <p:animScale>
                                      <p:cBhvr>
                                        <p:cTn id="547" dur="1000" autoRev="1" fill="hold"/>
                                        <p:tgtEl>
                                          <p:spTgt spid="232"/>
                                        </p:tgtEl>
                                      </p:cBhvr>
                                      <p:by x="105000" y="105000"/>
                                    </p:animScale>
                                  </p:childTnLst>
                                </p:cTn>
                              </p:par>
                              <p:par>
                                <p:cTn id="548" presetID="26" presetClass="emph" presetSubtype="0" dur="2000" repeatCount="indefinite" fill="hold" grpId="0" nodeType="withEffect">
                                  <p:stCondLst>
                                    <p:cond delay="3500"/>
                                  </p:stCondLst>
                                  <p:childTnLst>
                                    <p:animEffect transition="out" filter="fade">
                                      <p:cBhvr>
                                        <p:cTn id="549" dur="2000" tmFilter="0, 0; .2, .5; .8, .5; 1, 0"/>
                                        <p:tgtEl>
                                          <p:spTgt spid="233"/>
                                        </p:tgtEl>
                                      </p:cBhvr>
                                    </p:animEffect>
                                    <p:animScale>
                                      <p:cBhvr>
                                        <p:cTn id="550" dur="1000" autoRev="1" fill="hold"/>
                                        <p:tgtEl>
                                          <p:spTgt spid="233"/>
                                        </p:tgtEl>
                                      </p:cBhvr>
                                      <p:by x="105000" y="105000"/>
                                    </p:animScale>
                                  </p:childTnLst>
                                </p:cTn>
                              </p:par>
                              <p:par>
                                <p:cTn id="551" presetID="26" presetClass="emph" presetSubtype="0" dur="2000" repeatCount="indefinite" fill="hold" grpId="0" nodeType="withEffect">
                                  <p:stCondLst>
                                    <p:cond delay="3500"/>
                                  </p:stCondLst>
                                  <p:childTnLst>
                                    <p:animEffect transition="out" filter="fade">
                                      <p:cBhvr>
                                        <p:cTn id="552" dur="2000" tmFilter="0, 0; .2, .5; .8, .5; 1, 0"/>
                                        <p:tgtEl>
                                          <p:spTgt spid="234"/>
                                        </p:tgtEl>
                                      </p:cBhvr>
                                    </p:animEffect>
                                    <p:animScale>
                                      <p:cBhvr>
                                        <p:cTn id="553" dur="1000" autoRev="1" fill="hold"/>
                                        <p:tgtEl>
                                          <p:spTgt spid="234"/>
                                        </p:tgtEl>
                                      </p:cBhvr>
                                      <p:by x="105000" y="105000"/>
                                    </p:animScale>
                                  </p:childTnLst>
                                </p:cTn>
                              </p:par>
                              <p:par>
                                <p:cTn id="554" presetID="26" presetClass="emph" presetSubtype="0" dur="2000" repeatCount="indefinite" fill="hold" grpId="0" nodeType="withEffect">
                                  <p:stCondLst>
                                    <p:cond delay="3500"/>
                                  </p:stCondLst>
                                  <p:childTnLst>
                                    <p:animEffect transition="out" filter="fade">
                                      <p:cBhvr>
                                        <p:cTn id="555" dur="2000" tmFilter="0, 0; .2, .5; .8, .5; 1, 0"/>
                                        <p:tgtEl>
                                          <p:spTgt spid="235"/>
                                        </p:tgtEl>
                                      </p:cBhvr>
                                    </p:animEffect>
                                    <p:animScale>
                                      <p:cBhvr>
                                        <p:cTn id="556" dur="1000" autoRev="1" fill="hold"/>
                                        <p:tgtEl>
                                          <p:spTgt spid="235"/>
                                        </p:tgtEl>
                                      </p:cBhvr>
                                      <p:by x="105000" y="105000"/>
                                    </p:animScale>
                                  </p:childTnLst>
                                </p:cTn>
                              </p:par>
                              <p:par>
                                <p:cTn id="557" presetID="26" presetClass="emph" presetSubtype="0" dur="2000" repeatCount="indefinite" fill="hold" grpId="0" nodeType="withEffect">
                                  <p:stCondLst>
                                    <p:cond delay="3500"/>
                                  </p:stCondLst>
                                  <p:childTnLst>
                                    <p:animEffect transition="out" filter="fade">
                                      <p:cBhvr>
                                        <p:cTn id="558" dur="2000" tmFilter="0, 0; .2, .5; .8, .5; 1, 0"/>
                                        <p:tgtEl>
                                          <p:spTgt spid="236"/>
                                        </p:tgtEl>
                                      </p:cBhvr>
                                    </p:animEffect>
                                    <p:animScale>
                                      <p:cBhvr>
                                        <p:cTn id="559" dur="1000" autoRev="1" fill="hold"/>
                                        <p:tgtEl>
                                          <p:spTgt spid="236"/>
                                        </p:tgtEl>
                                      </p:cBhvr>
                                      <p:by x="105000" y="105000"/>
                                    </p:animScale>
                                  </p:childTnLst>
                                </p:cTn>
                              </p:par>
                              <p:par>
                                <p:cTn id="560" presetID="26" presetClass="emph" presetSubtype="0" dur="2000" repeatCount="indefinite" fill="hold" grpId="0" nodeType="withEffect">
                                  <p:stCondLst>
                                    <p:cond delay="3500"/>
                                  </p:stCondLst>
                                  <p:childTnLst>
                                    <p:animEffect transition="out" filter="fade">
                                      <p:cBhvr>
                                        <p:cTn id="561" dur="2000" tmFilter="0, 0; .2, .5; .8, .5; 1, 0"/>
                                        <p:tgtEl>
                                          <p:spTgt spid="237"/>
                                        </p:tgtEl>
                                      </p:cBhvr>
                                    </p:animEffect>
                                    <p:animScale>
                                      <p:cBhvr>
                                        <p:cTn id="562" dur="1000" autoRev="1" fill="hold"/>
                                        <p:tgtEl>
                                          <p:spTgt spid="237"/>
                                        </p:tgtEl>
                                      </p:cBhvr>
                                      <p:by x="105000" y="105000"/>
                                    </p:animScale>
                                  </p:childTnLst>
                                </p:cTn>
                              </p:par>
                              <p:par>
                                <p:cTn id="563" presetID="26" presetClass="emph" presetSubtype="0" dur="2000" repeatCount="indefinite" fill="hold" grpId="0" nodeType="withEffect">
                                  <p:stCondLst>
                                    <p:cond delay="3750"/>
                                  </p:stCondLst>
                                  <p:childTnLst>
                                    <p:animEffect transition="out" filter="fade">
                                      <p:cBhvr>
                                        <p:cTn id="564" dur="2000" tmFilter="0, 0; .2, .5; .8, .5; 1, 0"/>
                                        <p:tgtEl>
                                          <p:spTgt spid="41"/>
                                        </p:tgtEl>
                                      </p:cBhvr>
                                    </p:animEffect>
                                    <p:animScale>
                                      <p:cBhvr>
                                        <p:cTn id="565" dur="1000" autoRev="1" fill="hold"/>
                                        <p:tgtEl>
                                          <p:spTgt spid="41"/>
                                        </p:tgtEl>
                                      </p:cBhvr>
                                      <p:by x="105000" y="105000"/>
                                    </p:animScale>
                                  </p:childTnLst>
                                </p:cTn>
                              </p:par>
                              <p:par>
                                <p:cTn id="566" presetID="26" presetClass="emph" presetSubtype="0" dur="2000" repeatCount="indefinite" fill="hold" grpId="0" nodeType="withEffect">
                                  <p:stCondLst>
                                    <p:cond delay="3750"/>
                                  </p:stCondLst>
                                  <p:childTnLst>
                                    <p:animEffect transition="out" filter="fade">
                                      <p:cBhvr>
                                        <p:cTn id="567" dur="2000" tmFilter="0, 0; .2, .5; .8, .5; 1, 0"/>
                                        <p:tgtEl>
                                          <p:spTgt spid="42"/>
                                        </p:tgtEl>
                                      </p:cBhvr>
                                    </p:animEffect>
                                    <p:animScale>
                                      <p:cBhvr>
                                        <p:cTn id="568" dur="1000" autoRev="1" fill="hold"/>
                                        <p:tgtEl>
                                          <p:spTgt spid="42"/>
                                        </p:tgtEl>
                                      </p:cBhvr>
                                      <p:by x="105000" y="105000"/>
                                    </p:animScale>
                                  </p:childTnLst>
                                </p:cTn>
                              </p:par>
                              <p:par>
                                <p:cTn id="569" presetID="26" presetClass="emph" presetSubtype="0" dur="2000" repeatCount="indefinite" fill="hold" grpId="0" nodeType="withEffect">
                                  <p:stCondLst>
                                    <p:cond delay="3750"/>
                                  </p:stCondLst>
                                  <p:childTnLst>
                                    <p:animEffect transition="out" filter="fade">
                                      <p:cBhvr>
                                        <p:cTn id="570" dur="2000" tmFilter="0, 0; .2, .5; .8, .5; 1, 0"/>
                                        <p:tgtEl>
                                          <p:spTgt spid="43"/>
                                        </p:tgtEl>
                                      </p:cBhvr>
                                    </p:animEffect>
                                    <p:animScale>
                                      <p:cBhvr>
                                        <p:cTn id="571" dur="1000" autoRev="1" fill="hold"/>
                                        <p:tgtEl>
                                          <p:spTgt spid="43"/>
                                        </p:tgtEl>
                                      </p:cBhvr>
                                      <p:by x="105000" y="105000"/>
                                    </p:animScale>
                                  </p:childTnLst>
                                </p:cTn>
                              </p:par>
                              <p:par>
                                <p:cTn id="572" presetID="26" presetClass="emph" presetSubtype="0" dur="2000" repeatCount="indefinite" fill="hold" grpId="0" nodeType="withEffect">
                                  <p:stCondLst>
                                    <p:cond delay="3750"/>
                                  </p:stCondLst>
                                  <p:childTnLst>
                                    <p:animEffect transition="out" filter="fade">
                                      <p:cBhvr>
                                        <p:cTn id="573" dur="2000" tmFilter="0, 0; .2, .5; .8, .5; 1, 0"/>
                                        <p:tgtEl>
                                          <p:spTgt spid="44"/>
                                        </p:tgtEl>
                                      </p:cBhvr>
                                    </p:animEffect>
                                    <p:animScale>
                                      <p:cBhvr>
                                        <p:cTn id="574" dur="1000" autoRev="1" fill="hold"/>
                                        <p:tgtEl>
                                          <p:spTgt spid="44"/>
                                        </p:tgtEl>
                                      </p:cBhvr>
                                      <p:by x="105000" y="105000"/>
                                    </p:animScale>
                                  </p:childTnLst>
                                </p:cTn>
                              </p:par>
                              <p:par>
                                <p:cTn id="575" presetID="26" presetClass="emph" presetSubtype="0" dur="2000" repeatCount="indefinite" fill="hold" grpId="0" nodeType="withEffect">
                                  <p:stCondLst>
                                    <p:cond delay="3750"/>
                                  </p:stCondLst>
                                  <p:childTnLst>
                                    <p:animEffect transition="out" filter="fade">
                                      <p:cBhvr>
                                        <p:cTn id="576" dur="2000" tmFilter="0, 0; .2, .5; .8, .5; 1, 0"/>
                                        <p:tgtEl>
                                          <p:spTgt spid="45"/>
                                        </p:tgtEl>
                                      </p:cBhvr>
                                    </p:animEffect>
                                    <p:animScale>
                                      <p:cBhvr>
                                        <p:cTn id="577" dur="1000" autoRev="1" fill="hold"/>
                                        <p:tgtEl>
                                          <p:spTgt spid="45"/>
                                        </p:tgtEl>
                                      </p:cBhvr>
                                      <p:by x="105000" y="105000"/>
                                    </p:animScale>
                                  </p:childTnLst>
                                </p:cTn>
                              </p:par>
                              <p:par>
                                <p:cTn id="578" presetID="26" presetClass="emph" presetSubtype="0" dur="2000" repeatCount="indefinite" fill="hold" grpId="0" nodeType="withEffect">
                                  <p:stCondLst>
                                    <p:cond delay="3750"/>
                                  </p:stCondLst>
                                  <p:childTnLst>
                                    <p:animEffect transition="out" filter="fade">
                                      <p:cBhvr>
                                        <p:cTn id="579" dur="2000" tmFilter="0, 0; .2, .5; .8, .5; 1, 0"/>
                                        <p:tgtEl>
                                          <p:spTgt spid="46"/>
                                        </p:tgtEl>
                                      </p:cBhvr>
                                    </p:animEffect>
                                    <p:animScale>
                                      <p:cBhvr>
                                        <p:cTn id="580" dur="1000" autoRev="1" fill="hold"/>
                                        <p:tgtEl>
                                          <p:spTgt spid="46"/>
                                        </p:tgtEl>
                                      </p:cBhvr>
                                      <p:by x="105000" y="105000"/>
                                    </p:animScale>
                                  </p:childTnLst>
                                </p:cTn>
                              </p:par>
                              <p:par>
                                <p:cTn id="581" presetID="26" presetClass="emph" presetSubtype="0" dur="2000" repeatCount="indefinite" fill="hold" grpId="0" nodeType="withEffect">
                                  <p:stCondLst>
                                    <p:cond delay="3750"/>
                                  </p:stCondLst>
                                  <p:childTnLst>
                                    <p:animEffect transition="out" filter="fade">
                                      <p:cBhvr>
                                        <p:cTn id="582" dur="2000" tmFilter="0, 0; .2, .5; .8, .5; 1, 0"/>
                                        <p:tgtEl>
                                          <p:spTgt spid="47"/>
                                        </p:tgtEl>
                                      </p:cBhvr>
                                    </p:animEffect>
                                    <p:animScale>
                                      <p:cBhvr>
                                        <p:cTn id="583" dur="1000" autoRev="1" fill="hold"/>
                                        <p:tgtEl>
                                          <p:spTgt spid="47"/>
                                        </p:tgtEl>
                                      </p:cBhvr>
                                      <p:by x="105000" y="105000"/>
                                    </p:animScale>
                                  </p:childTnLst>
                                </p:cTn>
                              </p:par>
                              <p:par>
                                <p:cTn id="584" presetID="26" presetClass="emph" presetSubtype="0" dur="2000" repeatCount="indefinite" fill="hold" grpId="0" nodeType="withEffect">
                                  <p:stCondLst>
                                    <p:cond delay="3750"/>
                                  </p:stCondLst>
                                  <p:childTnLst>
                                    <p:animEffect transition="out" filter="fade">
                                      <p:cBhvr>
                                        <p:cTn id="585" dur="2000" tmFilter="0, 0; .2, .5; .8, .5; 1, 0"/>
                                        <p:tgtEl>
                                          <p:spTgt spid="48"/>
                                        </p:tgtEl>
                                      </p:cBhvr>
                                    </p:animEffect>
                                    <p:animScale>
                                      <p:cBhvr>
                                        <p:cTn id="586" dur="1000" autoRev="1" fill="hold"/>
                                        <p:tgtEl>
                                          <p:spTgt spid="48"/>
                                        </p:tgtEl>
                                      </p:cBhvr>
                                      <p:by x="105000" y="105000"/>
                                    </p:animScale>
                                  </p:childTnLst>
                                </p:cTn>
                              </p:par>
                              <p:par>
                                <p:cTn id="587" presetID="26" presetClass="emph" presetSubtype="0" dur="2000" repeatCount="indefinite" fill="hold" grpId="0" nodeType="withEffect">
                                  <p:stCondLst>
                                    <p:cond delay="3750"/>
                                  </p:stCondLst>
                                  <p:childTnLst>
                                    <p:animEffect transition="out" filter="fade">
                                      <p:cBhvr>
                                        <p:cTn id="588" dur="2000" tmFilter="0, 0; .2, .5; .8, .5; 1, 0"/>
                                        <p:tgtEl>
                                          <p:spTgt spid="49"/>
                                        </p:tgtEl>
                                      </p:cBhvr>
                                    </p:animEffect>
                                    <p:animScale>
                                      <p:cBhvr>
                                        <p:cTn id="589" dur="1000" autoRev="1" fill="hold"/>
                                        <p:tgtEl>
                                          <p:spTgt spid="49"/>
                                        </p:tgtEl>
                                      </p:cBhvr>
                                      <p:by x="105000" y="105000"/>
                                    </p:animScale>
                                  </p:childTnLst>
                                </p:cTn>
                              </p:par>
                              <p:par>
                                <p:cTn id="590" presetID="26" presetClass="emph" presetSubtype="0" dur="2000" repeatCount="indefinite" fill="hold" grpId="0" nodeType="withEffect">
                                  <p:stCondLst>
                                    <p:cond delay="3750"/>
                                  </p:stCondLst>
                                  <p:childTnLst>
                                    <p:animEffect transition="out" filter="fade">
                                      <p:cBhvr>
                                        <p:cTn id="591" dur="2000" tmFilter="0, 0; .2, .5; .8, .5; 1, 0"/>
                                        <p:tgtEl>
                                          <p:spTgt spid="50"/>
                                        </p:tgtEl>
                                      </p:cBhvr>
                                    </p:animEffect>
                                    <p:animScale>
                                      <p:cBhvr>
                                        <p:cTn id="592" dur="1000" autoRev="1" fill="hold"/>
                                        <p:tgtEl>
                                          <p:spTgt spid="50"/>
                                        </p:tgtEl>
                                      </p:cBhvr>
                                      <p:by x="105000" y="105000"/>
                                    </p:animScale>
                                  </p:childTnLst>
                                </p:cTn>
                              </p:par>
                              <p:par>
                                <p:cTn id="593" presetID="26" presetClass="emph" presetSubtype="0" dur="2000" repeatCount="indefinite" fill="hold" grpId="0" nodeType="withEffect">
                                  <p:stCondLst>
                                    <p:cond delay="3750"/>
                                  </p:stCondLst>
                                  <p:childTnLst>
                                    <p:animEffect transition="out" filter="fade">
                                      <p:cBhvr>
                                        <p:cTn id="594" dur="2000" tmFilter="0, 0; .2, .5; .8, .5; 1, 0"/>
                                        <p:tgtEl>
                                          <p:spTgt spid="51"/>
                                        </p:tgtEl>
                                      </p:cBhvr>
                                    </p:animEffect>
                                    <p:animScale>
                                      <p:cBhvr>
                                        <p:cTn id="595" dur="1000" autoRev="1" fill="hold"/>
                                        <p:tgtEl>
                                          <p:spTgt spid="51"/>
                                        </p:tgtEl>
                                      </p:cBhvr>
                                      <p:by x="105000" y="105000"/>
                                    </p:animScale>
                                  </p:childTnLst>
                                </p:cTn>
                              </p:par>
                              <p:par>
                                <p:cTn id="596" presetID="26" presetClass="emph" presetSubtype="0" dur="2000" repeatCount="indefinite" fill="hold" grpId="0" nodeType="withEffect">
                                  <p:stCondLst>
                                    <p:cond delay="3750"/>
                                  </p:stCondLst>
                                  <p:childTnLst>
                                    <p:animEffect transition="out" filter="fade">
                                      <p:cBhvr>
                                        <p:cTn id="597" dur="2000" tmFilter="0, 0; .2, .5; .8, .5; 1, 0"/>
                                        <p:tgtEl>
                                          <p:spTgt spid="52"/>
                                        </p:tgtEl>
                                      </p:cBhvr>
                                    </p:animEffect>
                                    <p:animScale>
                                      <p:cBhvr>
                                        <p:cTn id="598" dur="1000" autoRev="1" fill="hold"/>
                                        <p:tgtEl>
                                          <p:spTgt spid="52"/>
                                        </p:tgtEl>
                                      </p:cBhvr>
                                      <p:by x="105000" y="105000"/>
                                    </p:animScale>
                                  </p:childTnLst>
                                </p:cTn>
                              </p:par>
                              <p:par>
                                <p:cTn id="599" presetID="26" presetClass="emph" presetSubtype="0" dur="2000" repeatCount="indefinite" fill="hold" grpId="0" nodeType="withEffect">
                                  <p:stCondLst>
                                    <p:cond delay="4000"/>
                                  </p:stCondLst>
                                  <p:childTnLst>
                                    <p:animEffect transition="out" filter="fade">
                                      <p:cBhvr>
                                        <p:cTn id="600" dur="2000" tmFilter="0, 0; .2, .5; .8, .5; 1, 0"/>
                                        <p:tgtEl>
                                          <p:spTgt spid="31"/>
                                        </p:tgtEl>
                                      </p:cBhvr>
                                    </p:animEffect>
                                    <p:animScale>
                                      <p:cBhvr>
                                        <p:cTn id="601" dur="1000" autoRev="1" fill="hold"/>
                                        <p:tgtEl>
                                          <p:spTgt spid="31"/>
                                        </p:tgtEl>
                                      </p:cBhvr>
                                      <p:by x="105000" y="105000"/>
                                    </p:animScale>
                                  </p:childTnLst>
                                </p:cTn>
                              </p:par>
                              <p:par>
                                <p:cTn id="602" presetID="26" presetClass="emph" presetSubtype="0" dur="2000" repeatCount="indefinite" fill="hold" grpId="0" nodeType="withEffect">
                                  <p:stCondLst>
                                    <p:cond delay="4000"/>
                                  </p:stCondLst>
                                  <p:childTnLst>
                                    <p:animEffect transition="out" filter="fade">
                                      <p:cBhvr>
                                        <p:cTn id="603" dur="2000" tmFilter="0, 0; .2, .5; .8, .5; 1, 0"/>
                                        <p:tgtEl>
                                          <p:spTgt spid="32"/>
                                        </p:tgtEl>
                                      </p:cBhvr>
                                    </p:animEffect>
                                    <p:animScale>
                                      <p:cBhvr>
                                        <p:cTn id="604" dur="1000" autoRev="1" fill="hold"/>
                                        <p:tgtEl>
                                          <p:spTgt spid="32"/>
                                        </p:tgtEl>
                                      </p:cBhvr>
                                      <p:by x="105000" y="105000"/>
                                    </p:animScale>
                                  </p:childTnLst>
                                </p:cTn>
                              </p:par>
                              <p:par>
                                <p:cTn id="605" presetID="26" presetClass="emph" presetSubtype="0" dur="2000" repeatCount="indefinite" fill="hold" grpId="0" nodeType="withEffect">
                                  <p:stCondLst>
                                    <p:cond delay="4000"/>
                                  </p:stCondLst>
                                  <p:childTnLst>
                                    <p:animEffect transition="out" filter="fade">
                                      <p:cBhvr>
                                        <p:cTn id="606" dur="2000" tmFilter="0, 0; .2, .5; .8, .5; 1, 0"/>
                                        <p:tgtEl>
                                          <p:spTgt spid="33"/>
                                        </p:tgtEl>
                                      </p:cBhvr>
                                    </p:animEffect>
                                    <p:animScale>
                                      <p:cBhvr>
                                        <p:cTn id="607" dur="1000" autoRev="1" fill="hold"/>
                                        <p:tgtEl>
                                          <p:spTgt spid="33"/>
                                        </p:tgtEl>
                                      </p:cBhvr>
                                      <p:by x="105000" y="105000"/>
                                    </p:animScale>
                                  </p:childTnLst>
                                </p:cTn>
                              </p:par>
                              <p:par>
                                <p:cTn id="608" presetID="26" presetClass="emph" presetSubtype="0" dur="2000" repeatCount="indefinite" fill="hold" grpId="0" nodeType="withEffect">
                                  <p:stCondLst>
                                    <p:cond delay="4000"/>
                                  </p:stCondLst>
                                  <p:childTnLst>
                                    <p:animEffect transition="out" filter="fade">
                                      <p:cBhvr>
                                        <p:cTn id="609" dur="2000" tmFilter="0, 0; .2, .5; .8, .5; 1, 0"/>
                                        <p:tgtEl>
                                          <p:spTgt spid="34"/>
                                        </p:tgtEl>
                                      </p:cBhvr>
                                    </p:animEffect>
                                    <p:animScale>
                                      <p:cBhvr>
                                        <p:cTn id="610" dur="1000" autoRev="1" fill="hold"/>
                                        <p:tgtEl>
                                          <p:spTgt spid="34"/>
                                        </p:tgtEl>
                                      </p:cBhvr>
                                      <p:by x="105000" y="105000"/>
                                    </p:animScale>
                                  </p:childTnLst>
                                </p:cTn>
                              </p:par>
                              <p:par>
                                <p:cTn id="611" presetID="26" presetClass="emph" presetSubtype="0" dur="2000" repeatCount="indefinite" fill="hold" grpId="0" nodeType="withEffect">
                                  <p:stCondLst>
                                    <p:cond delay="4000"/>
                                  </p:stCondLst>
                                  <p:childTnLst>
                                    <p:animEffect transition="out" filter="fade">
                                      <p:cBhvr>
                                        <p:cTn id="612" dur="2000" tmFilter="0, 0; .2, .5; .8, .5; 1, 0"/>
                                        <p:tgtEl>
                                          <p:spTgt spid="35"/>
                                        </p:tgtEl>
                                      </p:cBhvr>
                                    </p:animEffect>
                                    <p:animScale>
                                      <p:cBhvr>
                                        <p:cTn id="613" dur="1000" autoRev="1" fill="hold"/>
                                        <p:tgtEl>
                                          <p:spTgt spid="35"/>
                                        </p:tgtEl>
                                      </p:cBhvr>
                                      <p:by x="105000" y="105000"/>
                                    </p:animScale>
                                  </p:childTnLst>
                                </p:cTn>
                              </p:par>
                              <p:par>
                                <p:cTn id="614" presetID="26" presetClass="emph" presetSubtype="0" dur="2000" repeatCount="indefinite" fill="hold" grpId="0" nodeType="withEffect">
                                  <p:stCondLst>
                                    <p:cond delay="4000"/>
                                  </p:stCondLst>
                                  <p:childTnLst>
                                    <p:animEffect transition="out" filter="fade">
                                      <p:cBhvr>
                                        <p:cTn id="615" dur="2000" tmFilter="0, 0; .2, .5; .8, .5; 1, 0"/>
                                        <p:tgtEl>
                                          <p:spTgt spid="36"/>
                                        </p:tgtEl>
                                      </p:cBhvr>
                                    </p:animEffect>
                                    <p:animScale>
                                      <p:cBhvr>
                                        <p:cTn id="616" dur="1000" autoRev="1" fill="hold"/>
                                        <p:tgtEl>
                                          <p:spTgt spid="36"/>
                                        </p:tgtEl>
                                      </p:cBhvr>
                                      <p:by x="105000" y="105000"/>
                                    </p:animScale>
                                  </p:childTnLst>
                                </p:cTn>
                              </p:par>
                              <p:par>
                                <p:cTn id="617" presetID="26" presetClass="emph" presetSubtype="0" dur="2000" repeatCount="indefinite" fill="hold" grpId="0" nodeType="withEffect">
                                  <p:stCondLst>
                                    <p:cond delay="4000"/>
                                  </p:stCondLst>
                                  <p:childTnLst>
                                    <p:animEffect transition="out" filter="fade">
                                      <p:cBhvr>
                                        <p:cTn id="618" dur="2000" tmFilter="0, 0; .2, .5; .8, .5; 1, 0"/>
                                        <p:tgtEl>
                                          <p:spTgt spid="37"/>
                                        </p:tgtEl>
                                      </p:cBhvr>
                                    </p:animEffect>
                                    <p:animScale>
                                      <p:cBhvr>
                                        <p:cTn id="619" dur="1000" autoRev="1" fill="hold"/>
                                        <p:tgtEl>
                                          <p:spTgt spid="37"/>
                                        </p:tgtEl>
                                      </p:cBhvr>
                                      <p:by x="105000" y="105000"/>
                                    </p:animScale>
                                  </p:childTnLst>
                                </p:cTn>
                              </p:par>
                              <p:par>
                                <p:cTn id="620" presetID="26" presetClass="emph" presetSubtype="0" dur="2000" repeatCount="indefinite" fill="hold" grpId="0" nodeType="withEffect">
                                  <p:stCondLst>
                                    <p:cond delay="4000"/>
                                  </p:stCondLst>
                                  <p:childTnLst>
                                    <p:animEffect transition="out" filter="fade">
                                      <p:cBhvr>
                                        <p:cTn id="621" dur="2000" tmFilter="0, 0; .2, .5; .8, .5; 1, 0"/>
                                        <p:tgtEl>
                                          <p:spTgt spid="38"/>
                                        </p:tgtEl>
                                      </p:cBhvr>
                                    </p:animEffect>
                                    <p:animScale>
                                      <p:cBhvr>
                                        <p:cTn id="622" dur="1000" autoRev="1" fill="hold"/>
                                        <p:tgtEl>
                                          <p:spTgt spid="38"/>
                                        </p:tgtEl>
                                      </p:cBhvr>
                                      <p:by x="105000" y="105000"/>
                                    </p:animScale>
                                  </p:childTnLst>
                                </p:cTn>
                              </p:par>
                              <p:par>
                                <p:cTn id="623" presetID="26" presetClass="emph" presetSubtype="0" dur="2000" repeatCount="indefinite" fill="hold" grpId="0" nodeType="withEffect">
                                  <p:stCondLst>
                                    <p:cond delay="4000"/>
                                  </p:stCondLst>
                                  <p:childTnLst>
                                    <p:animEffect transition="out" filter="fade">
                                      <p:cBhvr>
                                        <p:cTn id="624" dur="2000" tmFilter="0, 0; .2, .5; .8, .5; 1, 0"/>
                                        <p:tgtEl>
                                          <p:spTgt spid="39"/>
                                        </p:tgtEl>
                                      </p:cBhvr>
                                    </p:animEffect>
                                    <p:animScale>
                                      <p:cBhvr>
                                        <p:cTn id="625" dur="1000" autoRev="1" fill="hold"/>
                                        <p:tgtEl>
                                          <p:spTgt spid="39"/>
                                        </p:tgtEl>
                                      </p:cBhvr>
                                      <p:by x="105000" y="105000"/>
                                    </p:animScale>
                                  </p:childTnLst>
                                </p:cTn>
                              </p:par>
                              <p:par>
                                <p:cTn id="626" presetID="26" presetClass="emph" presetSubtype="0" dur="2000" repeatCount="indefinite" fill="hold" grpId="0" nodeType="withEffect">
                                  <p:stCondLst>
                                    <p:cond delay="4000"/>
                                  </p:stCondLst>
                                  <p:childTnLst>
                                    <p:animEffect transition="out" filter="fade">
                                      <p:cBhvr>
                                        <p:cTn id="627" dur="2000" tmFilter="0, 0; .2, .5; .8, .5; 1, 0"/>
                                        <p:tgtEl>
                                          <p:spTgt spid="40"/>
                                        </p:tgtEl>
                                      </p:cBhvr>
                                    </p:animEffect>
                                    <p:animScale>
                                      <p:cBhvr>
                                        <p:cTn id="628" dur="1000" autoRev="1" fill="hold"/>
                                        <p:tgtEl>
                                          <p:spTgt spid="40"/>
                                        </p:tgtEl>
                                      </p:cBhvr>
                                      <p:by x="105000" y="105000"/>
                                    </p:animScale>
                                  </p:childTnLst>
                                </p:cTn>
                              </p:par>
                              <p:par>
                                <p:cTn id="629" presetID="26" presetClass="emph" presetSubtype="0" dur="2000" repeatCount="indefinite" fill="hold" grpId="0" nodeType="withEffect">
                                  <p:stCondLst>
                                    <p:cond delay="4250"/>
                                  </p:stCondLst>
                                  <p:childTnLst>
                                    <p:animEffect transition="out" filter="fade">
                                      <p:cBhvr>
                                        <p:cTn id="630" dur="2000" tmFilter="0, 0; .2, .5; .8, .5; 1, 0"/>
                                        <p:tgtEl>
                                          <p:spTgt spid="23"/>
                                        </p:tgtEl>
                                      </p:cBhvr>
                                    </p:animEffect>
                                    <p:animScale>
                                      <p:cBhvr>
                                        <p:cTn id="631" dur="1000" autoRev="1" fill="hold"/>
                                        <p:tgtEl>
                                          <p:spTgt spid="23"/>
                                        </p:tgtEl>
                                      </p:cBhvr>
                                      <p:by x="105000" y="105000"/>
                                    </p:animScale>
                                  </p:childTnLst>
                                </p:cTn>
                              </p:par>
                              <p:par>
                                <p:cTn id="632" presetID="26" presetClass="emph" presetSubtype="0" dur="2000" repeatCount="indefinite" fill="hold" grpId="0" nodeType="withEffect">
                                  <p:stCondLst>
                                    <p:cond delay="4250"/>
                                  </p:stCondLst>
                                  <p:childTnLst>
                                    <p:animEffect transition="out" filter="fade">
                                      <p:cBhvr>
                                        <p:cTn id="633" dur="2000" tmFilter="0, 0; .2, .5; .8, .5; 1, 0"/>
                                        <p:tgtEl>
                                          <p:spTgt spid="24"/>
                                        </p:tgtEl>
                                      </p:cBhvr>
                                    </p:animEffect>
                                    <p:animScale>
                                      <p:cBhvr>
                                        <p:cTn id="634" dur="1000" autoRev="1" fill="hold"/>
                                        <p:tgtEl>
                                          <p:spTgt spid="24"/>
                                        </p:tgtEl>
                                      </p:cBhvr>
                                      <p:by x="105000" y="105000"/>
                                    </p:animScale>
                                  </p:childTnLst>
                                </p:cTn>
                              </p:par>
                              <p:par>
                                <p:cTn id="635" presetID="26" presetClass="emph" presetSubtype="0" dur="2000" repeatCount="indefinite" fill="hold" grpId="0" nodeType="withEffect">
                                  <p:stCondLst>
                                    <p:cond delay="4250"/>
                                  </p:stCondLst>
                                  <p:childTnLst>
                                    <p:animEffect transition="out" filter="fade">
                                      <p:cBhvr>
                                        <p:cTn id="636" dur="2000" tmFilter="0, 0; .2, .5; .8, .5; 1, 0"/>
                                        <p:tgtEl>
                                          <p:spTgt spid="25"/>
                                        </p:tgtEl>
                                      </p:cBhvr>
                                    </p:animEffect>
                                    <p:animScale>
                                      <p:cBhvr>
                                        <p:cTn id="637" dur="1000" autoRev="1" fill="hold"/>
                                        <p:tgtEl>
                                          <p:spTgt spid="25"/>
                                        </p:tgtEl>
                                      </p:cBhvr>
                                      <p:by x="105000" y="105000"/>
                                    </p:animScale>
                                  </p:childTnLst>
                                </p:cTn>
                              </p:par>
                              <p:par>
                                <p:cTn id="638" presetID="26" presetClass="emph" presetSubtype="0" dur="2000" repeatCount="indefinite" fill="hold" grpId="0" nodeType="withEffect">
                                  <p:stCondLst>
                                    <p:cond delay="4250"/>
                                  </p:stCondLst>
                                  <p:childTnLst>
                                    <p:animEffect transition="out" filter="fade">
                                      <p:cBhvr>
                                        <p:cTn id="639" dur="2000" tmFilter="0, 0; .2, .5; .8, .5; 1, 0"/>
                                        <p:tgtEl>
                                          <p:spTgt spid="26"/>
                                        </p:tgtEl>
                                      </p:cBhvr>
                                    </p:animEffect>
                                    <p:animScale>
                                      <p:cBhvr>
                                        <p:cTn id="640" dur="1000" autoRev="1" fill="hold"/>
                                        <p:tgtEl>
                                          <p:spTgt spid="26"/>
                                        </p:tgtEl>
                                      </p:cBhvr>
                                      <p:by x="105000" y="105000"/>
                                    </p:animScale>
                                  </p:childTnLst>
                                </p:cTn>
                              </p:par>
                              <p:par>
                                <p:cTn id="641" presetID="26" presetClass="emph" presetSubtype="0" dur="2000" repeatCount="indefinite" fill="hold" grpId="0" nodeType="withEffect">
                                  <p:stCondLst>
                                    <p:cond delay="4250"/>
                                  </p:stCondLst>
                                  <p:childTnLst>
                                    <p:animEffect transition="out" filter="fade">
                                      <p:cBhvr>
                                        <p:cTn id="642" dur="2000" tmFilter="0, 0; .2, .5; .8, .5; 1, 0"/>
                                        <p:tgtEl>
                                          <p:spTgt spid="27"/>
                                        </p:tgtEl>
                                      </p:cBhvr>
                                    </p:animEffect>
                                    <p:animScale>
                                      <p:cBhvr>
                                        <p:cTn id="643" dur="1000" autoRev="1" fill="hold"/>
                                        <p:tgtEl>
                                          <p:spTgt spid="27"/>
                                        </p:tgtEl>
                                      </p:cBhvr>
                                      <p:by x="105000" y="105000"/>
                                    </p:animScale>
                                  </p:childTnLst>
                                </p:cTn>
                              </p:par>
                              <p:par>
                                <p:cTn id="644" presetID="26" presetClass="emph" presetSubtype="0" dur="2000" repeatCount="indefinite" fill="hold" grpId="0" nodeType="withEffect">
                                  <p:stCondLst>
                                    <p:cond delay="4250"/>
                                  </p:stCondLst>
                                  <p:childTnLst>
                                    <p:animEffect transition="out" filter="fade">
                                      <p:cBhvr>
                                        <p:cTn id="645" dur="2000" tmFilter="0, 0; .2, .5; .8, .5; 1, 0"/>
                                        <p:tgtEl>
                                          <p:spTgt spid="28"/>
                                        </p:tgtEl>
                                      </p:cBhvr>
                                    </p:animEffect>
                                    <p:animScale>
                                      <p:cBhvr>
                                        <p:cTn id="646" dur="1000" autoRev="1" fill="hold"/>
                                        <p:tgtEl>
                                          <p:spTgt spid="28"/>
                                        </p:tgtEl>
                                      </p:cBhvr>
                                      <p:by x="105000" y="105000"/>
                                    </p:animScale>
                                  </p:childTnLst>
                                </p:cTn>
                              </p:par>
                              <p:par>
                                <p:cTn id="647" presetID="26" presetClass="emph" presetSubtype="0" dur="2000" repeatCount="indefinite" fill="hold" grpId="0" nodeType="withEffect">
                                  <p:stCondLst>
                                    <p:cond delay="4250"/>
                                  </p:stCondLst>
                                  <p:childTnLst>
                                    <p:animEffect transition="out" filter="fade">
                                      <p:cBhvr>
                                        <p:cTn id="648" dur="2000" tmFilter="0, 0; .2, .5; .8, .5; 1, 0"/>
                                        <p:tgtEl>
                                          <p:spTgt spid="29"/>
                                        </p:tgtEl>
                                      </p:cBhvr>
                                    </p:animEffect>
                                    <p:animScale>
                                      <p:cBhvr>
                                        <p:cTn id="649" dur="1000" autoRev="1" fill="hold"/>
                                        <p:tgtEl>
                                          <p:spTgt spid="29"/>
                                        </p:tgtEl>
                                      </p:cBhvr>
                                      <p:by x="105000" y="105000"/>
                                    </p:animScale>
                                  </p:childTnLst>
                                </p:cTn>
                              </p:par>
                              <p:par>
                                <p:cTn id="650" presetID="26" presetClass="emph" presetSubtype="0" dur="2000" repeatCount="indefinite" fill="hold" grpId="0" nodeType="withEffect">
                                  <p:stCondLst>
                                    <p:cond delay="4250"/>
                                  </p:stCondLst>
                                  <p:childTnLst>
                                    <p:animEffect transition="out" filter="fade">
                                      <p:cBhvr>
                                        <p:cTn id="651" dur="2000" tmFilter="0, 0; .2, .5; .8, .5; 1, 0"/>
                                        <p:tgtEl>
                                          <p:spTgt spid="30"/>
                                        </p:tgtEl>
                                      </p:cBhvr>
                                    </p:animEffect>
                                    <p:animScale>
                                      <p:cBhvr>
                                        <p:cTn id="652" dur="1000" autoRev="1" fill="hold"/>
                                        <p:tgtEl>
                                          <p:spTgt spid="30"/>
                                        </p:tgtEl>
                                      </p:cBhvr>
                                      <p:by x="105000" y="105000"/>
                                    </p:animScale>
                                  </p:childTnLst>
                                </p:cTn>
                              </p:par>
                              <p:par>
                                <p:cTn id="653" presetID="26" presetClass="emph" presetSubtype="0" dur="2000" repeatCount="indefinite" fill="hold" grpId="0" nodeType="withEffect">
                                  <p:stCondLst>
                                    <p:cond delay="4500"/>
                                  </p:stCondLst>
                                  <p:childTnLst>
                                    <p:animEffect transition="out" filter="fade">
                                      <p:cBhvr>
                                        <p:cTn id="654" dur="2000" tmFilter="0, 0; .2, .5; .8, .5; 1, 0"/>
                                        <p:tgtEl>
                                          <p:spTgt spid="17"/>
                                        </p:tgtEl>
                                      </p:cBhvr>
                                    </p:animEffect>
                                    <p:animScale>
                                      <p:cBhvr>
                                        <p:cTn id="655" dur="1000" autoRev="1" fill="hold"/>
                                        <p:tgtEl>
                                          <p:spTgt spid="17"/>
                                        </p:tgtEl>
                                      </p:cBhvr>
                                      <p:by x="105000" y="105000"/>
                                    </p:animScale>
                                  </p:childTnLst>
                                </p:cTn>
                              </p:par>
                              <p:par>
                                <p:cTn id="656" presetID="26" presetClass="emph" presetSubtype="0" dur="2000" repeatCount="indefinite" fill="hold" grpId="0" nodeType="withEffect">
                                  <p:stCondLst>
                                    <p:cond delay="4500"/>
                                  </p:stCondLst>
                                  <p:childTnLst>
                                    <p:animEffect transition="out" filter="fade">
                                      <p:cBhvr>
                                        <p:cTn id="657" dur="2000" tmFilter="0, 0; .2, .5; .8, .5; 1, 0"/>
                                        <p:tgtEl>
                                          <p:spTgt spid="18"/>
                                        </p:tgtEl>
                                      </p:cBhvr>
                                    </p:animEffect>
                                    <p:animScale>
                                      <p:cBhvr>
                                        <p:cTn id="658" dur="1000" autoRev="1" fill="hold"/>
                                        <p:tgtEl>
                                          <p:spTgt spid="18"/>
                                        </p:tgtEl>
                                      </p:cBhvr>
                                      <p:by x="105000" y="105000"/>
                                    </p:animScale>
                                  </p:childTnLst>
                                </p:cTn>
                              </p:par>
                              <p:par>
                                <p:cTn id="659" presetID="26" presetClass="emph" presetSubtype="0" dur="2000" repeatCount="indefinite" fill="hold" grpId="0" nodeType="withEffect">
                                  <p:stCondLst>
                                    <p:cond delay="4500"/>
                                  </p:stCondLst>
                                  <p:childTnLst>
                                    <p:animEffect transition="out" filter="fade">
                                      <p:cBhvr>
                                        <p:cTn id="660" dur="2000" tmFilter="0, 0; .2, .5; .8, .5; 1, 0"/>
                                        <p:tgtEl>
                                          <p:spTgt spid="19"/>
                                        </p:tgtEl>
                                      </p:cBhvr>
                                    </p:animEffect>
                                    <p:animScale>
                                      <p:cBhvr>
                                        <p:cTn id="661" dur="1000" autoRev="1" fill="hold"/>
                                        <p:tgtEl>
                                          <p:spTgt spid="19"/>
                                        </p:tgtEl>
                                      </p:cBhvr>
                                      <p:by x="105000" y="105000"/>
                                    </p:animScale>
                                  </p:childTnLst>
                                </p:cTn>
                              </p:par>
                              <p:par>
                                <p:cTn id="662" presetID="26" presetClass="emph" presetSubtype="0" dur="2000" repeatCount="indefinite" fill="hold" grpId="0" nodeType="withEffect">
                                  <p:stCondLst>
                                    <p:cond delay="4500"/>
                                  </p:stCondLst>
                                  <p:childTnLst>
                                    <p:animEffect transition="out" filter="fade">
                                      <p:cBhvr>
                                        <p:cTn id="663" dur="2000" tmFilter="0, 0; .2, .5; .8, .5; 1, 0"/>
                                        <p:tgtEl>
                                          <p:spTgt spid="20"/>
                                        </p:tgtEl>
                                      </p:cBhvr>
                                    </p:animEffect>
                                    <p:animScale>
                                      <p:cBhvr>
                                        <p:cTn id="664" dur="1000" autoRev="1" fill="hold"/>
                                        <p:tgtEl>
                                          <p:spTgt spid="20"/>
                                        </p:tgtEl>
                                      </p:cBhvr>
                                      <p:by x="105000" y="105000"/>
                                    </p:animScale>
                                  </p:childTnLst>
                                </p:cTn>
                              </p:par>
                              <p:par>
                                <p:cTn id="665" presetID="26" presetClass="emph" presetSubtype="0" dur="2000" repeatCount="indefinite" fill="hold" grpId="0" nodeType="withEffect">
                                  <p:stCondLst>
                                    <p:cond delay="4500"/>
                                  </p:stCondLst>
                                  <p:childTnLst>
                                    <p:animEffect transition="out" filter="fade">
                                      <p:cBhvr>
                                        <p:cTn id="666" dur="2000" tmFilter="0, 0; .2, .5; .8, .5; 1, 0"/>
                                        <p:tgtEl>
                                          <p:spTgt spid="21"/>
                                        </p:tgtEl>
                                      </p:cBhvr>
                                    </p:animEffect>
                                    <p:animScale>
                                      <p:cBhvr>
                                        <p:cTn id="667" dur="1000" autoRev="1" fill="hold"/>
                                        <p:tgtEl>
                                          <p:spTgt spid="21"/>
                                        </p:tgtEl>
                                      </p:cBhvr>
                                      <p:by x="105000" y="105000"/>
                                    </p:animScale>
                                  </p:childTnLst>
                                </p:cTn>
                              </p:par>
                              <p:par>
                                <p:cTn id="668" presetID="26" presetClass="emph" presetSubtype="0" dur="2000" repeatCount="indefinite" fill="hold" grpId="0" nodeType="withEffect">
                                  <p:stCondLst>
                                    <p:cond delay="4500"/>
                                  </p:stCondLst>
                                  <p:childTnLst>
                                    <p:animEffect transition="out" filter="fade">
                                      <p:cBhvr>
                                        <p:cTn id="669" dur="2000" tmFilter="0, 0; .2, .5; .8, .5; 1, 0"/>
                                        <p:tgtEl>
                                          <p:spTgt spid="22"/>
                                        </p:tgtEl>
                                      </p:cBhvr>
                                    </p:animEffect>
                                    <p:animScale>
                                      <p:cBhvr>
                                        <p:cTn id="670" dur="1000" autoRev="1" fill="hold"/>
                                        <p:tgtEl>
                                          <p:spTgt spid="22"/>
                                        </p:tgtEl>
                                      </p:cBhvr>
                                      <p:by x="105000" y="105000"/>
                                    </p:animScale>
                                  </p:childTnLst>
                                </p:cTn>
                              </p:par>
                              <p:par>
                                <p:cTn id="671" presetID="26" presetClass="emph" presetSubtype="0" dur="2000" repeatCount="indefinite" fill="hold" grpId="0" nodeType="withEffect">
                                  <p:stCondLst>
                                    <p:cond delay="4750"/>
                                  </p:stCondLst>
                                  <p:childTnLst>
                                    <p:animEffect transition="out" filter="fade">
                                      <p:cBhvr>
                                        <p:cTn id="672" dur="2000" tmFilter="0, 0; .2, .5; .8, .5; 1, 0"/>
                                        <p:tgtEl>
                                          <p:spTgt spid="12"/>
                                        </p:tgtEl>
                                      </p:cBhvr>
                                    </p:animEffect>
                                    <p:animScale>
                                      <p:cBhvr>
                                        <p:cTn id="673" dur="1000" autoRev="1" fill="hold"/>
                                        <p:tgtEl>
                                          <p:spTgt spid="12"/>
                                        </p:tgtEl>
                                      </p:cBhvr>
                                      <p:by x="105000" y="105000"/>
                                    </p:animScale>
                                  </p:childTnLst>
                                </p:cTn>
                              </p:par>
                              <p:par>
                                <p:cTn id="674" presetID="26" presetClass="emph" presetSubtype="0" dur="2000" repeatCount="indefinite" fill="hold" grpId="0" nodeType="withEffect">
                                  <p:stCondLst>
                                    <p:cond delay="4750"/>
                                  </p:stCondLst>
                                  <p:childTnLst>
                                    <p:animEffect transition="out" filter="fade">
                                      <p:cBhvr>
                                        <p:cTn id="675" dur="2000" tmFilter="0, 0; .2, .5; .8, .5; 1, 0"/>
                                        <p:tgtEl>
                                          <p:spTgt spid="14"/>
                                        </p:tgtEl>
                                      </p:cBhvr>
                                    </p:animEffect>
                                    <p:animScale>
                                      <p:cBhvr>
                                        <p:cTn id="676" dur="1000" autoRev="1" fill="hold"/>
                                        <p:tgtEl>
                                          <p:spTgt spid="14"/>
                                        </p:tgtEl>
                                      </p:cBhvr>
                                      <p:by x="105000" y="105000"/>
                                    </p:animScale>
                                  </p:childTnLst>
                                </p:cTn>
                              </p:par>
                              <p:par>
                                <p:cTn id="677" presetID="26" presetClass="emph" presetSubtype="0" dur="2000" repeatCount="indefinite" fill="hold" grpId="0" nodeType="withEffect">
                                  <p:stCondLst>
                                    <p:cond delay="4750"/>
                                  </p:stCondLst>
                                  <p:childTnLst>
                                    <p:animEffect transition="out" filter="fade">
                                      <p:cBhvr>
                                        <p:cTn id="678" dur="2000" tmFilter="0, 0; .2, .5; .8, .5; 1, 0"/>
                                        <p:tgtEl>
                                          <p:spTgt spid="15"/>
                                        </p:tgtEl>
                                      </p:cBhvr>
                                    </p:animEffect>
                                    <p:animScale>
                                      <p:cBhvr>
                                        <p:cTn id="679" dur="1000" autoRev="1" fill="hold"/>
                                        <p:tgtEl>
                                          <p:spTgt spid="15"/>
                                        </p:tgtEl>
                                      </p:cBhvr>
                                      <p:by x="105000" y="105000"/>
                                    </p:animScale>
                                  </p:childTnLst>
                                </p:cTn>
                              </p:par>
                              <p:par>
                                <p:cTn id="680" presetID="26" presetClass="emph" presetSubtype="0" dur="2000" repeatCount="indefinite" fill="hold" grpId="0" nodeType="withEffect">
                                  <p:stCondLst>
                                    <p:cond delay="4750"/>
                                  </p:stCondLst>
                                  <p:childTnLst>
                                    <p:animEffect transition="out" filter="fade">
                                      <p:cBhvr>
                                        <p:cTn id="681" dur="2000" tmFilter="0, 0; .2, .5; .8, .5; 1, 0"/>
                                        <p:tgtEl>
                                          <p:spTgt spid="16"/>
                                        </p:tgtEl>
                                      </p:cBhvr>
                                    </p:animEffect>
                                    <p:animScale>
                                      <p:cBhvr>
                                        <p:cTn id="682" dur="1000" autoRev="1" fill="hold"/>
                                        <p:tgtEl>
                                          <p:spTgt spid="16"/>
                                        </p:tgtEl>
                                      </p:cBhvr>
                                      <p:by x="105000" y="105000"/>
                                    </p:animScale>
                                  </p:childTnLst>
                                </p:cTn>
                              </p:par>
                              <p:par>
                                <p:cTn id="683" presetID="26" presetClass="emph" presetSubtype="0" dur="2000" repeatCount="indefinite" fill="hold" grpId="0" nodeType="withEffect">
                                  <p:stCondLst>
                                    <p:cond delay="5000"/>
                                  </p:stCondLst>
                                  <p:childTnLst>
                                    <p:animEffect transition="out" filter="fade">
                                      <p:cBhvr>
                                        <p:cTn id="684" dur="2000" tmFilter="0, 0; .2, .5; .8, .5; 1, 0"/>
                                        <p:tgtEl>
                                          <p:spTgt spid="9"/>
                                        </p:tgtEl>
                                      </p:cBhvr>
                                    </p:animEffect>
                                    <p:animScale>
                                      <p:cBhvr>
                                        <p:cTn id="685" dur="1000" autoRev="1" fill="hold"/>
                                        <p:tgtEl>
                                          <p:spTgt spid="9"/>
                                        </p:tgtEl>
                                      </p:cBhvr>
                                      <p:by x="105000" y="105000"/>
                                    </p:animScale>
                                  </p:childTnLst>
                                </p:cTn>
                              </p:par>
                              <p:par>
                                <p:cTn id="686" presetID="26" presetClass="emph" presetSubtype="0" dur="2000" repeatCount="indefinite" fill="hold" grpId="0" nodeType="withEffect">
                                  <p:stCondLst>
                                    <p:cond delay="5000"/>
                                  </p:stCondLst>
                                  <p:childTnLst>
                                    <p:animEffect transition="out" filter="fade">
                                      <p:cBhvr>
                                        <p:cTn id="687" dur="2000" tmFilter="0, 0; .2, .5; .8, .5; 1, 0"/>
                                        <p:tgtEl>
                                          <p:spTgt spid="11"/>
                                        </p:tgtEl>
                                      </p:cBhvr>
                                    </p:animEffect>
                                    <p:animScale>
                                      <p:cBhvr>
                                        <p:cTn id="688" dur="1000" autoRev="1" fill="hold"/>
                                        <p:tgtEl>
                                          <p:spTgt spid="11"/>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uiExpand="1" build="p">
        <p:tmplLst>
          <p:tmpl>
            <p:tnLst>
              <p:par>
                <p:cTn presetID="10" presetClass="entr" presetSubtype="0" fill="hold" nodeType="afterEffect">
                  <p:stCondLst>
                    <p:cond delay="250"/>
                  </p:stCondLst>
                  <p:childTnLst>
                    <p:set>
                      <p:cBhvr>
                        <p:cTn dur="1" fill="hold">
                          <p:stCondLst>
                            <p:cond delay="0"/>
                          </p:stCondLst>
                        </p:cTn>
                        <p:tgtEl>
                          <p:spTgt spid="13"/>
                        </p:tgtEl>
                        <p:attrNameLst>
                          <p:attrName>style.visibility</p:attrName>
                        </p:attrNameLst>
                      </p:cBhvr>
                      <p:to>
                        <p:strVal val="visible"/>
                      </p:to>
                    </p:set>
                    <p:animEffect transition="in" filter="fade">
                      <p:cBhvr>
                        <p:cTn dur="1000"/>
                        <p:tgtEl>
                          <p:spTgt spid="13"/>
                        </p:tgtEl>
                      </p:cBhvr>
                    </p:animEffect>
                  </p:childTnLst>
                </p:cTn>
              </p:par>
            </p:tnLst>
          </p:tmpl>
          <p:tmpl lvl="1">
            <p:tnLst>
              <p:par>
                <p:cTn presetID="10" presetClass="entr" presetSubtype="0" fill="hold" nodeType="afterEffect" nodePh="1">
                  <p:stCondLst>
                    <p:cond delay="250"/>
                  </p:stCondLst>
                  <p:endCondLst>
                    <p:cond delay="0"/>
                  </p:endCondLst>
                  <p:childTnLst>
                    <p:set>
                      <p:cBhvr>
                        <p:cTn dur="1" fill="hold">
                          <p:stCondLst>
                            <p:cond delay="0"/>
                          </p:stCondLst>
                        </p:cTn>
                        <p:tgtEl>
                          <p:spTgt spid="13"/>
                        </p:tgtEl>
                        <p:attrNameLst>
                          <p:attrName>style.visibility</p:attrName>
                        </p:attrNameLst>
                      </p:cBhvr>
                      <p:to>
                        <p:strVal val="visible"/>
                      </p:to>
                    </p:set>
                    <p:animEffect transition="in" filter="fade">
                      <p:cBhvr>
                        <p:cTn dur="1000"/>
                        <p:tgtEl>
                          <p:spTgt spid="13"/>
                        </p:tgtEl>
                      </p:cBhvr>
                    </p:animEffect>
                  </p:childTnLst>
                </p:cTn>
              </p:par>
            </p:tnLst>
          </p:tmpl>
        </p:tmplLst>
      </p:bldP>
      <p:bldP spid="9" grpId="0" animBg="1"/>
      <p:bldP spid="11" grpId="0" animBg="1"/>
      <p:bldP spid="12"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26" grpId="0" animBg="1"/>
      <p:bldP spid="27" grpId="0" animBg="1"/>
      <p:bldP spid="28" grpId="0" animBg="1"/>
      <p:bldP spid="29" grpId="0" animBg="1"/>
      <p:bldP spid="30" grpId="0" animBg="1"/>
      <p:bldP spid="31" grpId="0" animBg="1"/>
      <p:bldP spid="32" grpId="0" animBg="1"/>
      <p:bldP spid="33" grpId="0" animBg="1"/>
      <p:bldP spid="34" grpId="0" animBg="1"/>
      <p:bldP spid="35" grpId="0" animBg="1"/>
      <p:bldP spid="36" grpId="0" animBg="1"/>
      <p:bldP spid="37" grpId="0" animBg="1"/>
      <p:bldP spid="38" grpId="0" animBg="1"/>
      <p:bldP spid="39" grpId="0" animBg="1"/>
      <p:bldP spid="40" grpId="0" animBg="1"/>
      <p:bldP spid="41" grpId="0" animBg="1"/>
      <p:bldP spid="42" grpId="0" animBg="1"/>
      <p:bldP spid="43" grpId="0" animBg="1"/>
      <p:bldP spid="44" grpId="0" animBg="1"/>
      <p:bldP spid="45" grpId="0" animBg="1"/>
      <p:bldP spid="46" grpId="0" animBg="1"/>
      <p:bldP spid="47" grpId="0" animBg="1"/>
      <p:bldP spid="48" grpId="0" animBg="1"/>
      <p:bldP spid="49" grpId="0" animBg="1"/>
      <p:bldP spid="50" grpId="0" animBg="1"/>
      <p:bldP spid="51" grpId="0" animBg="1"/>
      <p:bldP spid="52" grpId="0" animBg="1"/>
      <p:bldP spid="53" grpId="0" animBg="1"/>
      <p:bldP spid="54" grpId="0" animBg="1"/>
      <p:bldP spid="55" grpId="0" animBg="1"/>
      <p:bldP spid="56" grpId="0" animBg="1"/>
      <p:bldP spid="57" grpId="0" animBg="1"/>
      <p:bldP spid="58" grpId="0" animBg="1"/>
      <p:bldP spid="59" grpId="0" animBg="1"/>
      <p:bldP spid="60" grpId="0" animBg="1"/>
      <p:bldP spid="61" grpId="0" animBg="1"/>
      <p:bldP spid="62" grpId="0" animBg="1"/>
      <p:bldP spid="63" grpId="0" animBg="1"/>
      <p:bldP spid="64" grpId="0" animBg="1"/>
      <p:bldP spid="65" grpId="0" animBg="1"/>
      <p:bldP spid="66" grpId="0" animBg="1"/>
      <p:bldP spid="67" grpId="0" animBg="1"/>
      <p:bldP spid="68" grpId="0" animBg="1"/>
      <p:bldP spid="69" grpId="0" animBg="1"/>
      <p:bldP spid="70" grpId="0" animBg="1"/>
      <p:bldP spid="71" grpId="0" animBg="1"/>
      <p:bldP spid="72" grpId="0" animBg="1"/>
      <p:bldP spid="73" grpId="0" animBg="1"/>
      <p:bldP spid="74" grpId="0" animBg="1"/>
      <p:bldP spid="75" grpId="0" animBg="1"/>
      <p:bldP spid="76" grpId="0" animBg="1"/>
      <p:bldP spid="77" grpId="0" animBg="1"/>
      <p:bldP spid="78" grpId="0" animBg="1"/>
      <p:bldP spid="79" grpId="0" animBg="1"/>
      <p:bldP spid="80" grpId="0" animBg="1"/>
      <p:bldP spid="81" grpId="0" animBg="1"/>
      <p:bldP spid="82" grpId="0" animBg="1"/>
      <p:bldP spid="83" grpId="0" animBg="1"/>
      <p:bldP spid="84" grpId="0" animBg="1"/>
      <p:bldP spid="85" grpId="0" animBg="1"/>
      <p:bldP spid="86" grpId="0" animBg="1"/>
      <p:bldP spid="87" grpId="0" animBg="1"/>
      <p:bldP spid="88" grpId="0" animBg="1"/>
      <p:bldP spid="89" grpId="0" animBg="1"/>
      <p:bldP spid="90" grpId="0" animBg="1"/>
      <p:bldP spid="91" grpId="0" animBg="1"/>
      <p:bldP spid="92" grpId="0" animBg="1"/>
      <p:bldP spid="93" grpId="0" animBg="1"/>
      <p:bldP spid="94" grpId="0" animBg="1"/>
      <p:bldP spid="95" grpId="0" animBg="1"/>
      <p:bldP spid="96" grpId="0" animBg="1"/>
      <p:bldP spid="97" grpId="0" animBg="1"/>
      <p:bldP spid="98" grpId="0" animBg="1"/>
      <p:bldP spid="99" grpId="0" animBg="1"/>
      <p:bldP spid="100" grpId="0" animBg="1"/>
      <p:bldP spid="101" grpId="0" animBg="1"/>
      <p:bldP spid="102" grpId="0" animBg="1"/>
      <p:bldP spid="103" grpId="0" animBg="1"/>
      <p:bldP spid="104" grpId="0" animBg="1"/>
      <p:bldP spid="105" grpId="0" animBg="1"/>
      <p:bldP spid="106" grpId="0" animBg="1"/>
      <p:bldP spid="107" grpId="0" animBg="1"/>
      <p:bldP spid="108" grpId="0" animBg="1"/>
      <p:bldP spid="109" grpId="0" animBg="1"/>
      <p:bldP spid="110" grpId="0" animBg="1"/>
      <p:bldP spid="111" grpId="0" animBg="1"/>
      <p:bldP spid="112" grpId="0" animBg="1"/>
      <p:bldP spid="113" grpId="0" animBg="1"/>
      <p:bldP spid="114" grpId="0" animBg="1"/>
      <p:bldP spid="115" grpId="0" animBg="1"/>
      <p:bldP spid="116" grpId="0" animBg="1"/>
      <p:bldP spid="117" grpId="0" animBg="1"/>
      <p:bldP spid="118" grpId="0" animBg="1"/>
      <p:bldP spid="119" grpId="0" animBg="1"/>
      <p:bldP spid="120" grpId="0" animBg="1"/>
      <p:bldP spid="121" grpId="0" animBg="1"/>
      <p:bldP spid="122" grpId="0" animBg="1"/>
      <p:bldP spid="123" grpId="0" animBg="1"/>
      <p:bldP spid="124" grpId="0" animBg="1"/>
      <p:bldP spid="125" grpId="0" animBg="1"/>
      <p:bldP spid="126" grpId="0" animBg="1"/>
      <p:bldP spid="127" grpId="0" animBg="1"/>
      <p:bldP spid="128" grpId="0" animBg="1"/>
      <p:bldP spid="129" grpId="0" animBg="1"/>
      <p:bldP spid="130" grpId="0" animBg="1"/>
      <p:bldP spid="131" grpId="0" animBg="1"/>
      <p:bldP spid="132" grpId="0" animBg="1"/>
      <p:bldP spid="133" grpId="0" animBg="1"/>
      <p:bldP spid="134" grpId="0" animBg="1"/>
      <p:bldP spid="135" grpId="0" animBg="1"/>
      <p:bldP spid="136" grpId="0" animBg="1"/>
      <p:bldP spid="137" grpId="0" animBg="1"/>
      <p:bldP spid="138" grpId="0" animBg="1"/>
      <p:bldP spid="139" grpId="0" animBg="1"/>
      <p:bldP spid="140" grpId="0" animBg="1"/>
      <p:bldP spid="141" grpId="0" animBg="1"/>
      <p:bldP spid="142" grpId="0" animBg="1"/>
      <p:bldP spid="143" grpId="0" animBg="1"/>
      <p:bldP spid="144" grpId="0" animBg="1"/>
      <p:bldP spid="145" grpId="0" animBg="1"/>
      <p:bldP spid="146" grpId="0" animBg="1"/>
      <p:bldP spid="147" grpId="0" animBg="1"/>
      <p:bldP spid="148" grpId="0" animBg="1"/>
      <p:bldP spid="149" grpId="0" animBg="1"/>
      <p:bldP spid="150" grpId="0" animBg="1"/>
      <p:bldP spid="151" grpId="0" animBg="1"/>
      <p:bldP spid="152" grpId="0" animBg="1"/>
      <p:bldP spid="153" grpId="0" animBg="1"/>
      <p:bldP spid="154" grpId="0" animBg="1"/>
      <p:bldP spid="155" grpId="0" animBg="1"/>
      <p:bldP spid="156" grpId="0" animBg="1"/>
      <p:bldP spid="157" grpId="0" animBg="1"/>
      <p:bldP spid="158" grpId="0" animBg="1"/>
      <p:bldP spid="159" grpId="0" animBg="1"/>
      <p:bldP spid="160" grpId="0" animBg="1"/>
      <p:bldP spid="161" grpId="0" animBg="1"/>
      <p:bldP spid="162" grpId="0" animBg="1"/>
      <p:bldP spid="163" grpId="0" animBg="1"/>
      <p:bldP spid="164" grpId="0" animBg="1"/>
      <p:bldP spid="165" grpId="0" animBg="1"/>
      <p:bldP spid="166" grpId="0" animBg="1"/>
      <p:bldP spid="167" grpId="0" animBg="1"/>
      <p:bldP spid="168" grpId="0" animBg="1"/>
      <p:bldP spid="169" grpId="0" animBg="1"/>
      <p:bldP spid="170" grpId="0" animBg="1"/>
      <p:bldP spid="171" grpId="0" animBg="1"/>
      <p:bldP spid="172" grpId="0" animBg="1"/>
      <p:bldP spid="173" grpId="0" animBg="1"/>
      <p:bldP spid="174" grpId="0" animBg="1"/>
      <p:bldP spid="175" grpId="0" animBg="1"/>
      <p:bldP spid="176" grpId="0" animBg="1"/>
      <p:bldP spid="177" grpId="0" animBg="1"/>
      <p:bldP spid="178" grpId="0" animBg="1"/>
      <p:bldP spid="179" grpId="0" animBg="1"/>
      <p:bldP spid="180" grpId="0" animBg="1"/>
      <p:bldP spid="181" grpId="0" animBg="1"/>
      <p:bldP spid="182" grpId="0" animBg="1"/>
      <p:bldP spid="183" grpId="0" animBg="1"/>
      <p:bldP spid="184" grpId="0" animBg="1"/>
      <p:bldP spid="185" grpId="0" animBg="1"/>
      <p:bldP spid="186" grpId="0" animBg="1"/>
      <p:bldP spid="187" grpId="0" animBg="1"/>
      <p:bldP spid="188" grpId="0" animBg="1"/>
      <p:bldP spid="189" grpId="0" animBg="1"/>
      <p:bldP spid="190" grpId="0" animBg="1"/>
      <p:bldP spid="191" grpId="0" animBg="1"/>
      <p:bldP spid="192" grpId="0" animBg="1"/>
      <p:bldP spid="193" grpId="0" animBg="1"/>
      <p:bldP spid="194" grpId="0" animBg="1"/>
      <p:bldP spid="195" grpId="0" animBg="1"/>
      <p:bldP spid="196" grpId="0" animBg="1"/>
      <p:bldP spid="197" grpId="0" animBg="1"/>
      <p:bldP spid="198" grpId="0" animBg="1"/>
      <p:bldP spid="199" grpId="0" animBg="1"/>
      <p:bldP spid="200" grpId="0" animBg="1"/>
      <p:bldP spid="201" grpId="0" animBg="1"/>
      <p:bldP spid="202" grpId="0" animBg="1"/>
      <p:bldP spid="203" grpId="0" animBg="1"/>
      <p:bldP spid="204" grpId="0" animBg="1"/>
      <p:bldP spid="205" grpId="0" animBg="1"/>
      <p:bldP spid="206" grpId="0" animBg="1"/>
      <p:bldP spid="207" grpId="0" animBg="1"/>
      <p:bldP spid="208" grpId="0" animBg="1"/>
      <p:bldP spid="209" grpId="0" animBg="1"/>
      <p:bldP spid="210" grpId="0" animBg="1"/>
      <p:bldP spid="211" grpId="0" animBg="1"/>
      <p:bldP spid="212" grpId="0" animBg="1"/>
      <p:bldP spid="213" grpId="0" animBg="1"/>
      <p:bldP spid="214" grpId="0" animBg="1"/>
      <p:bldP spid="215" grpId="0" animBg="1"/>
      <p:bldP spid="216" grpId="0" animBg="1"/>
      <p:bldP spid="217" grpId="0" animBg="1"/>
      <p:bldP spid="218" grpId="0" animBg="1"/>
      <p:bldP spid="219" grpId="0" animBg="1"/>
      <p:bldP spid="220" grpId="0" animBg="1"/>
      <p:bldP spid="221" grpId="0" animBg="1"/>
      <p:bldP spid="222" grpId="0" animBg="1"/>
      <p:bldP spid="223" grpId="0" animBg="1"/>
      <p:bldP spid="224" grpId="0" animBg="1"/>
      <p:bldP spid="225" grpId="0" animBg="1"/>
      <p:bldP spid="226" grpId="0" animBg="1"/>
      <p:bldP spid="227" grpId="0" animBg="1"/>
      <p:bldP spid="228" grpId="0" animBg="1"/>
      <p:bldP spid="229" grpId="0" animBg="1"/>
      <p:bldP spid="230" grpId="0" animBg="1"/>
      <p:bldP spid="231" grpId="0" animBg="1"/>
      <p:bldP spid="232" grpId="0" animBg="1"/>
      <p:bldP spid="233" grpId="0" animBg="1"/>
      <p:bldP spid="234" grpId="0" animBg="1"/>
      <p:bldP spid="235" grpId="0" animBg="1"/>
      <p:bldP spid="236" grpId="0" animBg="1"/>
      <p:bldP spid="237" grpId="0" animBg="1"/>
    </p:bldLst>
  </p:timing>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IMAGE 2 with captions">
    <p:spTree>
      <p:nvGrpSpPr>
        <p:cNvPr id="1" name=""/>
        <p:cNvGrpSpPr/>
        <p:nvPr/>
      </p:nvGrpSpPr>
      <p:grpSpPr>
        <a:xfrm>
          <a:off x="0" y="0"/>
          <a:ext cx="0" cy="0"/>
          <a:chOff x="0" y="0"/>
          <a:chExt cx="0" cy="0"/>
        </a:xfrm>
      </p:grpSpPr>
      <p:sp>
        <p:nvSpPr>
          <p:cNvPr id="44" name="Freihandform: Form 43">
            <a:extLst>
              <a:ext uri="{FF2B5EF4-FFF2-40B4-BE49-F238E27FC236}">
                <a16:creationId xmlns:a16="http://schemas.microsoft.com/office/drawing/2014/main" id="{5AB03B7D-630C-475D-827B-A5F0693756DD}"/>
              </a:ext>
            </a:extLst>
          </p:cNvPr>
          <p:cNvSpPr/>
          <p:nvPr userDrawn="1"/>
        </p:nvSpPr>
        <p:spPr>
          <a:xfrm>
            <a:off x="2362200" y="1975610"/>
            <a:ext cx="9829800" cy="4882390"/>
          </a:xfrm>
          <a:custGeom>
            <a:avLst/>
            <a:gdLst>
              <a:gd name="connsiteX0" fmla="*/ 910059 w 9829800"/>
              <a:gd name="connsiteY0" fmla="*/ 0 h 4882390"/>
              <a:gd name="connsiteX1" fmla="*/ 3015085 w 9829800"/>
              <a:gd name="connsiteY1" fmla="*/ 0 h 4882390"/>
              <a:gd name="connsiteX2" fmla="*/ 7981950 w 9829800"/>
              <a:gd name="connsiteY2" fmla="*/ 0 h 4882390"/>
              <a:gd name="connsiteX3" fmla="*/ 9829800 w 9829800"/>
              <a:gd name="connsiteY3" fmla="*/ 0 h 4882390"/>
              <a:gd name="connsiteX4" fmla="*/ 9829800 w 9829800"/>
              <a:gd name="connsiteY4" fmla="*/ 4882390 h 4882390"/>
              <a:gd name="connsiteX5" fmla="*/ 7981950 w 9829800"/>
              <a:gd name="connsiteY5" fmla="*/ 4882390 h 4882390"/>
              <a:gd name="connsiteX6" fmla="*/ 2183098 w 9829800"/>
              <a:gd name="connsiteY6" fmla="*/ 4882390 h 4882390"/>
              <a:gd name="connsiteX7" fmla="*/ 78072 w 9829800"/>
              <a:gd name="connsiteY7" fmla="*/ 4882390 h 4882390"/>
              <a:gd name="connsiteX8" fmla="*/ 0 w 9829800"/>
              <a:gd name="connsiteY8" fmla="*/ 4804318 h 4882390"/>
              <a:gd name="connsiteX9" fmla="*/ 831987 w 9829800"/>
              <a:gd name="connsiteY9" fmla="*/ 78072 h 4882390"/>
              <a:gd name="connsiteX10" fmla="*/ 910059 w 9829800"/>
              <a:gd name="connsiteY10" fmla="*/ 0 h 4882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829800" h="4882390">
                <a:moveTo>
                  <a:pt x="910059" y="0"/>
                </a:moveTo>
                <a:lnTo>
                  <a:pt x="3015085" y="0"/>
                </a:lnTo>
                <a:lnTo>
                  <a:pt x="7981950" y="0"/>
                </a:lnTo>
                <a:lnTo>
                  <a:pt x="9829800" y="0"/>
                </a:lnTo>
                <a:lnTo>
                  <a:pt x="9829800" y="4882390"/>
                </a:lnTo>
                <a:lnTo>
                  <a:pt x="7981950" y="4882390"/>
                </a:lnTo>
                <a:lnTo>
                  <a:pt x="2183098" y="4882390"/>
                </a:lnTo>
                <a:lnTo>
                  <a:pt x="78072" y="4882390"/>
                </a:lnTo>
                <a:cubicBezTo>
                  <a:pt x="34957" y="4882390"/>
                  <a:pt x="0" y="4847433"/>
                  <a:pt x="0" y="4804318"/>
                </a:cubicBezTo>
                <a:lnTo>
                  <a:pt x="831987" y="78072"/>
                </a:lnTo>
                <a:cubicBezTo>
                  <a:pt x="831987" y="34957"/>
                  <a:pt x="866945" y="0"/>
                  <a:pt x="910059" y="0"/>
                </a:cubicBezTo>
                <a:close/>
              </a:path>
            </a:pathLst>
          </a:custGeom>
          <a:gradFill>
            <a:gsLst>
              <a:gs pos="0">
                <a:schemeClr val="bg1"/>
              </a:gs>
              <a:gs pos="95000">
                <a:srgbClr val="ECF0F4"/>
              </a:gs>
            </a:gsLst>
            <a:lin ang="5400000" scaled="1"/>
          </a:gradFill>
          <a:ln w="11652" cap="flat">
            <a:noFill/>
            <a:prstDash val="solid"/>
            <a:miter/>
          </a:ln>
        </p:spPr>
        <p:txBody>
          <a:bodyPr rtlCol="0" anchor="ctr"/>
          <a:lstStyle/>
          <a:p>
            <a:endParaRPr lang="de-DE"/>
          </a:p>
        </p:txBody>
      </p:sp>
      <p:sp>
        <p:nvSpPr>
          <p:cNvPr id="2" name="Titel 1">
            <a:extLst>
              <a:ext uri="{FF2B5EF4-FFF2-40B4-BE49-F238E27FC236}">
                <a16:creationId xmlns:a16="http://schemas.microsoft.com/office/drawing/2014/main" id="{0526DC72-FA1D-422D-8055-3374742D122B}"/>
              </a:ext>
            </a:extLst>
          </p:cNvPr>
          <p:cNvSpPr>
            <a:spLocks noGrp="1"/>
          </p:cNvSpPr>
          <p:nvPr>
            <p:ph type="title"/>
          </p:nvPr>
        </p:nvSpPr>
        <p:spPr/>
        <p:txBody>
          <a:bodyPr/>
          <a:lstStyle>
            <a:lvl1pPr>
              <a:lnSpc>
                <a:spcPct val="100000"/>
              </a:lnSpc>
              <a:defRPr/>
            </a:lvl1pPr>
          </a:lstStyle>
          <a:p>
            <a:r>
              <a:rPr lang="de-DE"/>
              <a:t>Mastertitelformat bearbeiten</a:t>
            </a:r>
          </a:p>
        </p:txBody>
      </p:sp>
      <p:sp>
        <p:nvSpPr>
          <p:cNvPr id="3" name="Foliennummernplatzhalter 2">
            <a:extLst>
              <a:ext uri="{FF2B5EF4-FFF2-40B4-BE49-F238E27FC236}">
                <a16:creationId xmlns:a16="http://schemas.microsoft.com/office/drawing/2014/main" id="{5B327254-466C-4606-8589-BCC72CBDADDF}"/>
              </a:ext>
            </a:extLst>
          </p:cNvPr>
          <p:cNvSpPr>
            <a:spLocks noGrp="1"/>
          </p:cNvSpPr>
          <p:nvPr>
            <p:ph type="sldNum" sz="quarter" idx="10"/>
          </p:nvPr>
        </p:nvSpPr>
        <p:spPr/>
        <p:txBody>
          <a:bodyPr/>
          <a:lstStyle/>
          <a:p>
            <a:fld id="{A04BEB4F-8CE1-4F18-986F-6CE0A0BE9470}" type="slidenum">
              <a:rPr lang="de-DE" smtClean="0"/>
              <a:t>‹#›</a:t>
            </a:fld>
            <a:endParaRPr lang="de-DE"/>
          </a:p>
        </p:txBody>
      </p:sp>
      <p:sp>
        <p:nvSpPr>
          <p:cNvPr id="14" name="Bildplatzhalter 13">
            <a:extLst>
              <a:ext uri="{FF2B5EF4-FFF2-40B4-BE49-F238E27FC236}">
                <a16:creationId xmlns:a16="http://schemas.microsoft.com/office/drawing/2014/main" id="{1A5E599F-92AD-4196-9B52-76185993092E}"/>
              </a:ext>
            </a:extLst>
          </p:cNvPr>
          <p:cNvSpPr>
            <a:spLocks noGrp="1"/>
          </p:cNvSpPr>
          <p:nvPr>
            <p:ph type="pic" sz="quarter" idx="44" hasCustomPrompt="1"/>
          </p:nvPr>
        </p:nvSpPr>
        <p:spPr>
          <a:xfrm>
            <a:off x="815952" y="1975610"/>
            <a:ext cx="5005758" cy="2624160"/>
          </a:xfrm>
          <a:custGeom>
            <a:avLst/>
            <a:gdLst>
              <a:gd name="connsiteX0" fmla="*/ 191605 w 5005758"/>
              <a:gd name="connsiteY0" fmla="*/ 0 h 2624160"/>
              <a:gd name="connsiteX1" fmla="*/ 603779 w 5005758"/>
              <a:gd name="connsiteY1" fmla="*/ 0 h 2624160"/>
              <a:gd name="connsiteX2" fmla="*/ 881583 w 5005758"/>
              <a:gd name="connsiteY2" fmla="*/ 0 h 2624160"/>
              <a:gd name="connsiteX3" fmla="*/ 1013521 w 5005758"/>
              <a:gd name="connsiteY3" fmla="*/ 0 h 2624160"/>
              <a:gd name="connsiteX4" fmla="*/ 1333004 w 5005758"/>
              <a:gd name="connsiteY4" fmla="*/ 0 h 2624160"/>
              <a:gd name="connsiteX5" fmla="*/ 1440383 w 5005758"/>
              <a:gd name="connsiteY5" fmla="*/ 0 h 2624160"/>
              <a:gd name="connsiteX6" fmla="*/ 1520281 w 5005758"/>
              <a:gd name="connsiteY6" fmla="*/ 0 h 2624160"/>
              <a:gd name="connsiteX7" fmla="*/ 1572321 w 5005758"/>
              <a:gd name="connsiteY7" fmla="*/ 0 h 2624160"/>
              <a:gd name="connsiteX8" fmla="*/ 1850125 w 5005758"/>
              <a:gd name="connsiteY8" fmla="*/ 0 h 2624160"/>
              <a:gd name="connsiteX9" fmla="*/ 1891804 w 5005758"/>
              <a:gd name="connsiteY9" fmla="*/ 0 h 2624160"/>
              <a:gd name="connsiteX10" fmla="*/ 2066944 w 5005758"/>
              <a:gd name="connsiteY10" fmla="*/ 0 h 2624160"/>
              <a:gd name="connsiteX11" fmla="*/ 2079081 w 5005758"/>
              <a:gd name="connsiteY11" fmla="*/ 0 h 2624160"/>
              <a:gd name="connsiteX12" fmla="*/ 2169608 w 5005758"/>
              <a:gd name="connsiteY12" fmla="*/ 0 h 2624160"/>
              <a:gd name="connsiteX13" fmla="*/ 2301546 w 5005758"/>
              <a:gd name="connsiteY13" fmla="*/ 0 h 2624160"/>
              <a:gd name="connsiteX14" fmla="*/ 2408925 w 5005758"/>
              <a:gd name="connsiteY14" fmla="*/ 0 h 2624160"/>
              <a:gd name="connsiteX15" fmla="*/ 2488823 w 5005758"/>
              <a:gd name="connsiteY15" fmla="*/ 0 h 2624160"/>
              <a:gd name="connsiteX16" fmla="*/ 2625744 w 5005758"/>
              <a:gd name="connsiteY16" fmla="*/ 0 h 2624160"/>
              <a:gd name="connsiteX17" fmla="*/ 2728408 w 5005758"/>
              <a:gd name="connsiteY17" fmla="*/ 0 h 2624160"/>
              <a:gd name="connsiteX18" fmla="*/ 2808306 w 5005758"/>
              <a:gd name="connsiteY18" fmla="*/ 0 h 2624160"/>
              <a:gd name="connsiteX19" fmla="*/ 2860346 w 5005758"/>
              <a:gd name="connsiteY19" fmla="*/ 0 h 2624160"/>
              <a:gd name="connsiteX20" fmla="*/ 3047623 w 5005758"/>
              <a:gd name="connsiteY20" fmla="*/ 0 h 2624160"/>
              <a:gd name="connsiteX21" fmla="*/ 3138150 w 5005758"/>
              <a:gd name="connsiteY21" fmla="*/ 0 h 2624160"/>
              <a:gd name="connsiteX22" fmla="*/ 3158933 w 5005758"/>
              <a:gd name="connsiteY22" fmla="*/ 0 h 2624160"/>
              <a:gd name="connsiteX23" fmla="*/ 3354969 w 5005758"/>
              <a:gd name="connsiteY23" fmla="*/ 0 h 2624160"/>
              <a:gd name="connsiteX24" fmla="*/ 3367106 w 5005758"/>
              <a:gd name="connsiteY24" fmla="*/ 0 h 2624160"/>
              <a:gd name="connsiteX25" fmla="*/ 3696950 w 5005758"/>
              <a:gd name="connsiteY25" fmla="*/ 0 h 2624160"/>
              <a:gd name="connsiteX26" fmla="*/ 3717733 w 5005758"/>
              <a:gd name="connsiteY26" fmla="*/ 0 h 2624160"/>
              <a:gd name="connsiteX27" fmla="*/ 3776848 w 5005758"/>
              <a:gd name="connsiteY27" fmla="*/ 0 h 2624160"/>
              <a:gd name="connsiteX28" fmla="*/ 3913769 w 5005758"/>
              <a:gd name="connsiteY28" fmla="*/ 0 h 2624160"/>
              <a:gd name="connsiteX29" fmla="*/ 4335648 w 5005758"/>
              <a:gd name="connsiteY29" fmla="*/ 0 h 2624160"/>
              <a:gd name="connsiteX30" fmla="*/ 4446958 w 5005758"/>
              <a:gd name="connsiteY30" fmla="*/ 0 h 2624160"/>
              <a:gd name="connsiteX31" fmla="*/ 5005758 w 5005758"/>
              <a:gd name="connsiteY31" fmla="*/ 0 h 2624160"/>
              <a:gd name="connsiteX32" fmla="*/ 5005758 w 5005758"/>
              <a:gd name="connsiteY32" fmla="*/ 762000 h 2624160"/>
              <a:gd name="connsiteX33" fmla="*/ 5005758 w 5005758"/>
              <a:gd name="connsiteY33" fmla="*/ 1862160 h 2624160"/>
              <a:gd name="connsiteX34" fmla="*/ 5005758 w 5005758"/>
              <a:gd name="connsiteY34" fmla="*/ 2624160 h 2624160"/>
              <a:gd name="connsiteX35" fmla="*/ 4446958 w 5005758"/>
              <a:gd name="connsiteY35" fmla="*/ 2624160 h 2624160"/>
              <a:gd name="connsiteX36" fmla="*/ 3717733 w 5005758"/>
              <a:gd name="connsiteY36" fmla="*/ 2624160 h 2624160"/>
              <a:gd name="connsiteX37" fmla="*/ 3158933 w 5005758"/>
              <a:gd name="connsiteY37" fmla="*/ 2624160 h 2624160"/>
              <a:gd name="connsiteX38" fmla="*/ 1846825 w 5005758"/>
              <a:gd name="connsiteY38" fmla="*/ 2624160 h 2624160"/>
              <a:gd name="connsiteX39" fmla="*/ 1288025 w 5005758"/>
              <a:gd name="connsiteY39" fmla="*/ 2624160 h 2624160"/>
              <a:gd name="connsiteX40" fmla="*/ 558800 w 5005758"/>
              <a:gd name="connsiteY40" fmla="*/ 2624160 h 2624160"/>
              <a:gd name="connsiteX41" fmla="*/ 0 w 5005758"/>
              <a:gd name="connsiteY41" fmla="*/ 2624160 h 2624160"/>
              <a:gd name="connsiteX42" fmla="*/ 0 w 5005758"/>
              <a:gd name="connsiteY42" fmla="*/ 1862160 h 2624160"/>
              <a:gd name="connsiteX43" fmla="*/ 0 w 5005758"/>
              <a:gd name="connsiteY43" fmla="*/ 806979 h 2624160"/>
              <a:gd name="connsiteX44" fmla="*/ 0 w 5005758"/>
              <a:gd name="connsiteY44" fmla="*/ 192138 h 2624160"/>
              <a:gd name="connsiteX45" fmla="*/ 17774 w 5005758"/>
              <a:gd name="connsiteY45" fmla="*/ 127831 h 2624160"/>
              <a:gd name="connsiteX46" fmla="*/ 121493 w 5005758"/>
              <a:gd name="connsiteY46" fmla="*/ 21405 h 2624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5005758" h="2624160">
                <a:moveTo>
                  <a:pt x="191605" y="0"/>
                </a:moveTo>
                <a:lnTo>
                  <a:pt x="603779" y="0"/>
                </a:lnTo>
                <a:lnTo>
                  <a:pt x="881583" y="0"/>
                </a:lnTo>
                <a:lnTo>
                  <a:pt x="1013521" y="0"/>
                </a:lnTo>
                <a:lnTo>
                  <a:pt x="1333004" y="0"/>
                </a:lnTo>
                <a:lnTo>
                  <a:pt x="1440383" y="0"/>
                </a:lnTo>
                <a:lnTo>
                  <a:pt x="1520281" y="0"/>
                </a:lnTo>
                <a:lnTo>
                  <a:pt x="1572321" y="0"/>
                </a:lnTo>
                <a:lnTo>
                  <a:pt x="1850125" y="0"/>
                </a:lnTo>
                <a:lnTo>
                  <a:pt x="1891804" y="0"/>
                </a:lnTo>
                <a:lnTo>
                  <a:pt x="2066944" y="0"/>
                </a:lnTo>
                <a:lnTo>
                  <a:pt x="2079081" y="0"/>
                </a:lnTo>
                <a:lnTo>
                  <a:pt x="2169608" y="0"/>
                </a:lnTo>
                <a:lnTo>
                  <a:pt x="2301546" y="0"/>
                </a:lnTo>
                <a:lnTo>
                  <a:pt x="2408925" y="0"/>
                </a:lnTo>
                <a:lnTo>
                  <a:pt x="2488823" y="0"/>
                </a:lnTo>
                <a:lnTo>
                  <a:pt x="2625744" y="0"/>
                </a:lnTo>
                <a:lnTo>
                  <a:pt x="2728408" y="0"/>
                </a:lnTo>
                <a:lnTo>
                  <a:pt x="2808306" y="0"/>
                </a:lnTo>
                <a:lnTo>
                  <a:pt x="2860346" y="0"/>
                </a:lnTo>
                <a:lnTo>
                  <a:pt x="3047623" y="0"/>
                </a:lnTo>
                <a:lnTo>
                  <a:pt x="3138150" y="0"/>
                </a:lnTo>
                <a:lnTo>
                  <a:pt x="3158933" y="0"/>
                </a:lnTo>
                <a:lnTo>
                  <a:pt x="3354969" y="0"/>
                </a:lnTo>
                <a:lnTo>
                  <a:pt x="3367106" y="0"/>
                </a:lnTo>
                <a:lnTo>
                  <a:pt x="3696950" y="0"/>
                </a:lnTo>
                <a:lnTo>
                  <a:pt x="3717733" y="0"/>
                </a:lnTo>
                <a:lnTo>
                  <a:pt x="3776848" y="0"/>
                </a:lnTo>
                <a:lnTo>
                  <a:pt x="3913769" y="0"/>
                </a:lnTo>
                <a:lnTo>
                  <a:pt x="4335648" y="0"/>
                </a:lnTo>
                <a:lnTo>
                  <a:pt x="4446958" y="0"/>
                </a:lnTo>
                <a:lnTo>
                  <a:pt x="5005758" y="0"/>
                </a:lnTo>
                <a:lnTo>
                  <a:pt x="5005758" y="762000"/>
                </a:lnTo>
                <a:lnTo>
                  <a:pt x="5005758" y="1862160"/>
                </a:lnTo>
                <a:lnTo>
                  <a:pt x="5005758" y="2624160"/>
                </a:lnTo>
                <a:lnTo>
                  <a:pt x="4446958" y="2624160"/>
                </a:lnTo>
                <a:lnTo>
                  <a:pt x="3717733" y="2624160"/>
                </a:lnTo>
                <a:lnTo>
                  <a:pt x="3158933" y="2624160"/>
                </a:lnTo>
                <a:lnTo>
                  <a:pt x="1846825" y="2624160"/>
                </a:lnTo>
                <a:lnTo>
                  <a:pt x="1288025" y="2624160"/>
                </a:lnTo>
                <a:lnTo>
                  <a:pt x="558800" y="2624160"/>
                </a:lnTo>
                <a:lnTo>
                  <a:pt x="0" y="2624160"/>
                </a:lnTo>
                <a:lnTo>
                  <a:pt x="0" y="1862160"/>
                </a:lnTo>
                <a:lnTo>
                  <a:pt x="0" y="806979"/>
                </a:lnTo>
                <a:lnTo>
                  <a:pt x="0" y="192138"/>
                </a:lnTo>
                <a:lnTo>
                  <a:pt x="17774" y="127831"/>
                </a:lnTo>
                <a:cubicBezTo>
                  <a:pt x="39511" y="81806"/>
                  <a:pt x="76175" y="44263"/>
                  <a:pt x="121493" y="21405"/>
                </a:cubicBezTo>
                <a:close/>
              </a:path>
            </a:pathLst>
          </a:custGeom>
          <a:effectLst>
            <a:outerShdw blurRad="190500" dist="127000" dir="2700000" algn="tl" rotWithShape="0">
              <a:prstClr val="black">
                <a:alpha val="10000"/>
              </a:prstClr>
            </a:outerShdw>
          </a:effectLst>
        </p:spPr>
        <p:txBody>
          <a:bodyPr wrap="square">
            <a:noAutofit/>
          </a:bodyPr>
          <a:lstStyle>
            <a:lvl1pPr marL="285750" marR="0" indent="-285750" algn="l" defTabSz="1644650" rtl="0" eaLnBrk="0" fontAlgn="base" latinLnBrk="0" hangingPunct="0">
              <a:lnSpc>
                <a:spcPct val="130000"/>
              </a:lnSpc>
              <a:spcBef>
                <a:spcPct val="0"/>
              </a:spcBef>
              <a:spcAft>
                <a:spcPts val="1200"/>
              </a:spcAft>
              <a:buClr>
                <a:srgbClr val="004C99"/>
              </a:buClr>
              <a:buSzPct val="120000"/>
              <a:defRPr/>
            </a:lvl1pPr>
          </a:lstStyle>
          <a:p>
            <a:pPr marL="285750" marR="0" lvl="0" indent="-285750" algn="l" defTabSz="1644650" rtl="0" eaLnBrk="0" fontAlgn="base" latinLnBrk="0" hangingPunct="0">
              <a:lnSpc>
                <a:spcPct val="130000"/>
              </a:lnSpc>
              <a:spcBef>
                <a:spcPct val="0"/>
              </a:spcBef>
              <a:spcAft>
                <a:spcPts val="1200"/>
              </a:spcAft>
              <a:buClr>
                <a:srgbClr val="004C99"/>
              </a:buClr>
              <a:buSzPct val="120000"/>
              <a:defRPr/>
            </a:pPr>
            <a:r>
              <a:rPr lang="de-DE"/>
              <a:t>Please insert image</a:t>
            </a:r>
          </a:p>
        </p:txBody>
      </p:sp>
      <p:sp>
        <p:nvSpPr>
          <p:cNvPr id="20" name="Textplatzhalter 19">
            <a:extLst>
              <a:ext uri="{FF2B5EF4-FFF2-40B4-BE49-F238E27FC236}">
                <a16:creationId xmlns:a16="http://schemas.microsoft.com/office/drawing/2014/main" id="{2E1F4465-5076-467C-BECD-50E8F152EB1E}"/>
              </a:ext>
            </a:extLst>
          </p:cNvPr>
          <p:cNvSpPr>
            <a:spLocks noGrp="1"/>
          </p:cNvSpPr>
          <p:nvPr>
            <p:ph type="body" sz="quarter" idx="45"/>
          </p:nvPr>
        </p:nvSpPr>
        <p:spPr>
          <a:xfrm>
            <a:off x="815955" y="4599770"/>
            <a:ext cx="5034311" cy="1722481"/>
          </a:xfrm>
          <a:custGeom>
            <a:avLst/>
            <a:gdLst>
              <a:gd name="connsiteX0" fmla="*/ 0 w 5034311"/>
              <a:gd name="connsiteY0" fmla="*/ 0 h 1722481"/>
              <a:gd name="connsiteX1" fmla="*/ 587355 w 5034311"/>
              <a:gd name="connsiteY1" fmla="*/ 0 h 1722481"/>
              <a:gd name="connsiteX2" fmla="*/ 4446956 w 5034311"/>
              <a:gd name="connsiteY2" fmla="*/ 0 h 1722481"/>
              <a:gd name="connsiteX3" fmla="*/ 5034311 w 5034311"/>
              <a:gd name="connsiteY3" fmla="*/ 0 h 1722481"/>
              <a:gd name="connsiteX4" fmla="*/ 5034311 w 5034311"/>
              <a:gd name="connsiteY4" fmla="*/ 14703 h 1722481"/>
              <a:gd name="connsiteX5" fmla="*/ 5034311 w 5034311"/>
              <a:gd name="connsiteY5" fmla="*/ 539689 h 1722481"/>
              <a:gd name="connsiteX6" fmla="*/ 5034311 w 5034311"/>
              <a:gd name="connsiteY6" fmla="*/ 1083783 h 1722481"/>
              <a:gd name="connsiteX7" fmla="*/ 5034311 w 5034311"/>
              <a:gd name="connsiteY7" fmla="*/ 1534184 h 1722481"/>
              <a:gd name="connsiteX8" fmla="*/ 5016272 w 5034311"/>
              <a:gd name="connsiteY8" fmla="*/ 1599450 h 1722481"/>
              <a:gd name="connsiteX9" fmla="*/ 4912554 w 5034311"/>
              <a:gd name="connsiteY9" fmla="*/ 1705875 h 1722481"/>
              <a:gd name="connsiteX10" fmla="*/ 4858161 w 5034311"/>
              <a:gd name="connsiteY10" fmla="*/ 1722481 h 1722481"/>
              <a:gd name="connsiteX11" fmla="*/ 4629902 w 5034311"/>
              <a:gd name="connsiteY11" fmla="*/ 1722481 h 1722481"/>
              <a:gd name="connsiteX12" fmla="*/ 4454201 w 5034311"/>
              <a:gd name="connsiteY12" fmla="*/ 1722481 h 1722481"/>
              <a:gd name="connsiteX13" fmla="*/ 4401977 w 5034311"/>
              <a:gd name="connsiteY13" fmla="*/ 1722481 h 1722481"/>
              <a:gd name="connsiteX14" fmla="*/ 4144132 w 5034311"/>
              <a:gd name="connsiteY14" fmla="*/ 1722481 h 1722481"/>
              <a:gd name="connsiteX15" fmla="*/ 4042547 w 5034311"/>
              <a:gd name="connsiteY15" fmla="*/ 1722481 h 1722481"/>
              <a:gd name="connsiteX16" fmla="*/ 3866846 w 5034311"/>
              <a:gd name="connsiteY16" fmla="*/ 1722481 h 1722481"/>
              <a:gd name="connsiteX17" fmla="*/ 3706015 w 5034311"/>
              <a:gd name="connsiteY17" fmla="*/ 1722481 h 1722481"/>
              <a:gd name="connsiteX18" fmla="*/ 3701307 w 5034311"/>
              <a:gd name="connsiteY18" fmla="*/ 1722481 h 1722481"/>
              <a:gd name="connsiteX19" fmla="*/ 3556777 w 5034311"/>
              <a:gd name="connsiteY19" fmla="*/ 1722481 h 1722481"/>
              <a:gd name="connsiteX20" fmla="*/ 3487442 w 5034311"/>
              <a:gd name="connsiteY20" fmla="*/ 1722481 h 1722481"/>
              <a:gd name="connsiteX21" fmla="*/ 3341877 w 5034311"/>
              <a:gd name="connsiteY21" fmla="*/ 1722481 h 1722481"/>
              <a:gd name="connsiteX22" fmla="*/ 3220245 w 5034311"/>
              <a:gd name="connsiteY22" fmla="*/ 1722481 h 1722481"/>
              <a:gd name="connsiteX23" fmla="*/ 3166176 w 5034311"/>
              <a:gd name="connsiteY23" fmla="*/ 1722481 h 1722481"/>
              <a:gd name="connsiteX24" fmla="*/ 3118660 w 5034311"/>
              <a:gd name="connsiteY24" fmla="*/ 1722481 h 1722481"/>
              <a:gd name="connsiteX25" fmla="*/ 3113952 w 5034311"/>
              <a:gd name="connsiteY25" fmla="*/ 1722481 h 1722481"/>
              <a:gd name="connsiteX26" fmla="*/ 2900087 w 5034311"/>
              <a:gd name="connsiteY26" fmla="*/ 1722481 h 1722481"/>
              <a:gd name="connsiteX27" fmla="*/ 2856107 w 5034311"/>
              <a:gd name="connsiteY27" fmla="*/ 1722481 h 1722481"/>
              <a:gd name="connsiteX28" fmla="*/ 2799267 w 5034311"/>
              <a:gd name="connsiteY28" fmla="*/ 1722481 h 1722481"/>
              <a:gd name="connsiteX29" fmla="*/ 2754522 w 5034311"/>
              <a:gd name="connsiteY29" fmla="*/ 1722481 h 1722481"/>
              <a:gd name="connsiteX30" fmla="*/ 2632890 w 5034311"/>
              <a:gd name="connsiteY30" fmla="*/ 1722481 h 1722481"/>
              <a:gd name="connsiteX31" fmla="*/ 2578821 w 5034311"/>
              <a:gd name="connsiteY31" fmla="*/ 1722481 h 1722481"/>
              <a:gd name="connsiteX32" fmla="*/ 2563555 w 5034311"/>
              <a:gd name="connsiteY32" fmla="*/ 1722481 h 1722481"/>
              <a:gd name="connsiteX33" fmla="*/ 2417990 w 5034311"/>
              <a:gd name="connsiteY33" fmla="*/ 1722481 h 1722481"/>
              <a:gd name="connsiteX34" fmla="*/ 2268752 w 5034311"/>
              <a:gd name="connsiteY34" fmla="*/ 1722481 h 1722481"/>
              <a:gd name="connsiteX35" fmla="*/ 2211912 w 5034311"/>
              <a:gd name="connsiteY35" fmla="*/ 1722481 h 1722481"/>
              <a:gd name="connsiteX36" fmla="*/ 2199417 w 5034311"/>
              <a:gd name="connsiteY36" fmla="*/ 1722481 h 1722481"/>
              <a:gd name="connsiteX37" fmla="*/ 1976200 w 5034311"/>
              <a:gd name="connsiteY37" fmla="*/ 1722481 h 1722481"/>
              <a:gd name="connsiteX38" fmla="*/ 1932220 w 5034311"/>
              <a:gd name="connsiteY38" fmla="*/ 1722481 h 1722481"/>
              <a:gd name="connsiteX39" fmla="*/ 1875380 w 5034311"/>
              <a:gd name="connsiteY39" fmla="*/ 1722481 h 1722481"/>
              <a:gd name="connsiteX40" fmla="*/ 1830635 w 5034311"/>
              <a:gd name="connsiteY40" fmla="*/ 1722481 h 1722481"/>
              <a:gd name="connsiteX41" fmla="*/ 1612062 w 5034311"/>
              <a:gd name="connsiteY41" fmla="*/ 1722481 h 1722481"/>
              <a:gd name="connsiteX42" fmla="*/ 1511242 w 5034311"/>
              <a:gd name="connsiteY42" fmla="*/ 1722481 h 1722481"/>
              <a:gd name="connsiteX43" fmla="*/ 1344865 w 5034311"/>
              <a:gd name="connsiteY43" fmla="*/ 1722481 h 1722481"/>
              <a:gd name="connsiteX44" fmla="*/ 1288025 w 5034311"/>
              <a:gd name="connsiteY44" fmla="*/ 1722481 h 1722481"/>
              <a:gd name="connsiteX45" fmla="*/ 1275530 w 5034311"/>
              <a:gd name="connsiteY45" fmla="*/ 1722481 h 1722481"/>
              <a:gd name="connsiteX46" fmla="*/ 923887 w 5034311"/>
              <a:gd name="connsiteY46" fmla="*/ 1722481 h 1722481"/>
              <a:gd name="connsiteX47" fmla="*/ 688175 w 5034311"/>
              <a:gd name="connsiteY47" fmla="*/ 1722481 h 1722481"/>
              <a:gd name="connsiteX48" fmla="*/ 587355 w 5034311"/>
              <a:gd name="connsiteY48" fmla="*/ 1722481 h 1722481"/>
              <a:gd name="connsiteX49" fmla="*/ 0 w 5034311"/>
              <a:gd name="connsiteY49" fmla="*/ 1722481 h 1722481"/>
              <a:gd name="connsiteX50" fmla="*/ 0 w 5034311"/>
              <a:gd name="connsiteY50" fmla="*/ 1128762 h 1722481"/>
              <a:gd name="connsiteX51" fmla="*/ 0 w 5034311"/>
              <a:gd name="connsiteY51" fmla="*/ 539689 h 1722481"/>
              <a:gd name="connsiteX52" fmla="*/ 0 w 5034311"/>
              <a:gd name="connsiteY52" fmla="*/ 59682 h 1722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5034311" h="1722481">
                <a:moveTo>
                  <a:pt x="0" y="0"/>
                </a:moveTo>
                <a:lnTo>
                  <a:pt x="587355" y="0"/>
                </a:lnTo>
                <a:lnTo>
                  <a:pt x="4446956" y="0"/>
                </a:lnTo>
                <a:lnTo>
                  <a:pt x="5034311" y="0"/>
                </a:lnTo>
                <a:lnTo>
                  <a:pt x="5034311" y="14703"/>
                </a:lnTo>
                <a:lnTo>
                  <a:pt x="5034311" y="539689"/>
                </a:lnTo>
                <a:lnTo>
                  <a:pt x="5034311" y="1083783"/>
                </a:lnTo>
                <a:lnTo>
                  <a:pt x="5034311" y="1534184"/>
                </a:lnTo>
                <a:lnTo>
                  <a:pt x="5016272" y="1599450"/>
                </a:lnTo>
                <a:cubicBezTo>
                  <a:pt x="4994536" y="1645474"/>
                  <a:pt x="4957871" y="1683018"/>
                  <a:pt x="4912554" y="1705875"/>
                </a:cubicBezTo>
                <a:lnTo>
                  <a:pt x="4858161" y="1722481"/>
                </a:lnTo>
                <a:lnTo>
                  <a:pt x="4629902" y="1722481"/>
                </a:lnTo>
                <a:lnTo>
                  <a:pt x="4454201" y="1722481"/>
                </a:lnTo>
                <a:lnTo>
                  <a:pt x="4401977" y="1722481"/>
                </a:lnTo>
                <a:lnTo>
                  <a:pt x="4144132" y="1722481"/>
                </a:lnTo>
                <a:lnTo>
                  <a:pt x="4042547" y="1722481"/>
                </a:lnTo>
                <a:lnTo>
                  <a:pt x="3866846" y="1722481"/>
                </a:lnTo>
                <a:lnTo>
                  <a:pt x="3706015" y="1722481"/>
                </a:lnTo>
                <a:lnTo>
                  <a:pt x="3701307" y="1722481"/>
                </a:lnTo>
                <a:lnTo>
                  <a:pt x="3556777" y="1722481"/>
                </a:lnTo>
                <a:lnTo>
                  <a:pt x="3487442" y="1722481"/>
                </a:lnTo>
                <a:lnTo>
                  <a:pt x="3341877" y="1722481"/>
                </a:lnTo>
                <a:lnTo>
                  <a:pt x="3220245" y="1722481"/>
                </a:lnTo>
                <a:lnTo>
                  <a:pt x="3166176" y="1722481"/>
                </a:lnTo>
                <a:lnTo>
                  <a:pt x="3118660" y="1722481"/>
                </a:lnTo>
                <a:lnTo>
                  <a:pt x="3113952" y="1722481"/>
                </a:lnTo>
                <a:lnTo>
                  <a:pt x="2900087" y="1722481"/>
                </a:lnTo>
                <a:lnTo>
                  <a:pt x="2856107" y="1722481"/>
                </a:lnTo>
                <a:lnTo>
                  <a:pt x="2799267" y="1722481"/>
                </a:lnTo>
                <a:lnTo>
                  <a:pt x="2754522" y="1722481"/>
                </a:lnTo>
                <a:lnTo>
                  <a:pt x="2632890" y="1722481"/>
                </a:lnTo>
                <a:lnTo>
                  <a:pt x="2578821" y="1722481"/>
                </a:lnTo>
                <a:lnTo>
                  <a:pt x="2563555" y="1722481"/>
                </a:lnTo>
                <a:lnTo>
                  <a:pt x="2417990" y="1722481"/>
                </a:lnTo>
                <a:lnTo>
                  <a:pt x="2268752" y="1722481"/>
                </a:lnTo>
                <a:lnTo>
                  <a:pt x="2211912" y="1722481"/>
                </a:lnTo>
                <a:lnTo>
                  <a:pt x="2199417" y="1722481"/>
                </a:lnTo>
                <a:lnTo>
                  <a:pt x="1976200" y="1722481"/>
                </a:lnTo>
                <a:lnTo>
                  <a:pt x="1932220" y="1722481"/>
                </a:lnTo>
                <a:lnTo>
                  <a:pt x="1875380" y="1722481"/>
                </a:lnTo>
                <a:lnTo>
                  <a:pt x="1830635" y="1722481"/>
                </a:lnTo>
                <a:lnTo>
                  <a:pt x="1612062" y="1722481"/>
                </a:lnTo>
                <a:lnTo>
                  <a:pt x="1511242" y="1722481"/>
                </a:lnTo>
                <a:lnTo>
                  <a:pt x="1344865" y="1722481"/>
                </a:lnTo>
                <a:lnTo>
                  <a:pt x="1288025" y="1722481"/>
                </a:lnTo>
                <a:lnTo>
                  <a:pt x="1275530" y="1722481"/>
                </a:lnTo>
                <a:lnTo>
                  <a:pt x="923887" y="1722481"/>
                </a:lnTo>
                <a:lnTo>
                  <a:pt x="688175" y="1722481"/>
                </a:lnTo>
                <a:lnTo>
                  <a:pt x="587355" y="1722481"/>
                </a:lnTo>
                <a:lnTo>
                  <a:pt x="0" y="1722481"/>
                </a:lnTo>
                <a:lnTo>
                  <a:pt x="0" y="1128762"/>
                </a:lnTo>
                <a:lnTo>
                  <a:pt x="0" y="539689"/>
                </a:lnTo>
                <a:lnTo>
                  <a:pt x="0" y="59682"/>
                </a:lnTo>
                <a:close/>
              </a:path>
            </a:pathLst>
          </a:custGeom>
          <a:solidFill>
            <a:schemeClr val="bg1"/>
          </a:solidFill>
          <a:ln w="12700">
            <a:solidFill>
              <a:schemeClr val="accent3"/>
            </a:solidFill>
          </a:ln>
          <a:effectLst>
            <a:outerShdw blurRad="190500" dist="127000" dir="2700000" algn="tl" rotWithShape="0">
              <a:prstClr val="black">
                <a:alpha val="10000"/>
              </a:prstClr>
            </a:outerShdw>
          </a:effectLst>
        </p:spPr>
        <p:txBody>
          <a:bodyPr wrap="square" lIns="180000" tIns="180000" rIns="180000" bIns="180000" numCol="1" anchor="t" anchorCtr="0">
            <a:normAutofit/>
          </a:bodyPr>
          <a:lstStyle>
            <a:lvl1pPr marL="0" indent="0" algn="l">
              <a:buFontTx/>
              <a:buNone/>
              <a:defRPr i="0">
                <a:solidFill>
                  <a:schemeClr val="tx1"/>
                </a:solidFill>
                <a:latin typeface="+mn-lt"/>
                <a:ea typeface="Roboto Light italic" pitchFamily="2" charset="0"/>
              </a:defRPr>
            </a:lvl1pPr>
            <a:lvl2pPr algn="l">
              <a:defRPr>
                <a:solidFill>
                  <a:schemeClr val="tx1"/>
                </a:solidFill>
                <a:latin typeface="+mn-lt"/>
              </a:defRPr>
            </a:lvl2pPr>
            <a:lvl3pPr algn="l">
              <a:defRPr>
                <a:solidFill>
                  <a:schemeClr val="tx1"/>
                </a:solidFill>
                <a:latin typeface="+mn-lt"/>
              </a:defRPr>
            </a:lvl3pPr>
            <a:lvl4pPr algn="l">
              <a:defRPr>
                <a:solidFill>
                  <a:schemeClr val="tx1"/>
                </a:solidFill>
                <a:latin typeface="+mn-lt"/>
              </a:defRPr>
            </a:lvl4pPr>
            <a:lvl5pPr algn="l">
              <a:defRPr>
                <a:solidFill>
                  <a:schemeClr val="tx1"/>
                </a:solidFill>
                <a:latin typeface="+mn-lt"/>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6" name="Bildplatzhalter 15">
            <a:extLst>
              <a:ext uri="{FF2B5EF4-FFF2-40B4-BE49-F238E27FC236}">
                <a16:creationId xmlns:a16="http://schemas.microsoft.com/office/drawing/2014/main" id="{941CB55B-1AFC-4732-B725-022C610594C2}"/>
              </a:ext>
            </a:extLst>
          </p:cNvPr>
          <p:cNvSpPr>
            <a:spLocks noGrp="1"/>
          </p:cNvSpPr>
          <p:nvPr>
            <p:ph type="pic" sz="quarter" idx="46" hasCustomPrompt="1"/>
          </p:nvPr>
        </p:nvSpPr>
        <p:spPr>
          <a:xfrm>
            <a:off x="6341732" y="1975610"/>
            <a:ext cx="5005758" cy="2624160"/>
          </a:xfrm>
          <a:custGeom>
            <a:avLst/>
            <a:gdLst>
              <a:gd name="connsiteX0" fmla="*/ 196186 w 5005758"/>
              <a:gd name="connsiteY0" fmla="*/ 0 h 2624160"/>
              <a:gd name="connsiteX1" fmla="*/ 603779 w 5005758"/>
              <a:gd name="connsiteY1" fmla="*/ 0 h 2624160"/>
              <a:gd name="connsiteX2" fmla="*/ 881583 w 5005758"/>
              <a:gd name="connsiteY2" fmla="*/ 0 h 2624160"/>
              <a:gd name="connsiteX3" fmla="*/ 1013521 w 5005758"/>
              <a:gd name="connsiteY3" fmla="*/ 0 h 2624160"/>
              <a:gd name="connsiteX4" fmla="*/ 1333004 w 5005758"/>
              <a:gd name="connsiteY4" fmla="*/ 0 h 2624160"/>
              <a:gd name="connsiteX5" fmla="*/ 1440383 w 5005758"/>
              <a:gd name="connsiteY5" fmla="*/ 0 h 2624160"/>
              <a:gd name="connsiteX6" fmla="*/ 1520281 w 5005758"/>
              <a:gd name="connsiteY6" fmla="*/ 0 h 2624160"/>
              <a:gd name="connsiteX7" fmla="*/ 1572321 w 5005758"/>
              <a:gd name="connsiteY7" fmla="*/ 0 h 2624160"/>
              <a:gd name="connsiteX8" fmla="*/ 1850125 w 5005758"/>
              <a:gd name="connsiteY8" fmla="*/ 0 h 2624160"/>
              <a:gd name="connsiteX9" fmla="*/ 1891804 w 5005758"/>
              <a:gd name="connsiteY9" fmla="*/ 0 h 2624160"/>
              <a:gd name="connsiteX10" fmla="*/ 2066944 w 5005758"/>
              <a:gd name="connsiteY10" fmla="*/ 0 h 2624160"/>
              <a:gd name="connsiteX11" fmla="*/ 2079081 w 5005758"/>
              <a:gd name="connsiteY11" fmla="*/ 0 h 2624160"/>
              <a:gd name="connsiteX12" fmla="*/ 2169608 w 5005758"/>
              <a:gd name="connsiteY12" fmla="*/ 0 h 2624160"/>
              <a:gd name="connsiteX13" fmla="*/ 2301546 w 5005758"/>
              <a:gd name="connsiteY13" fmla="*/ 0 h 2624160"/>
              <a:gd name="connsiteX14" fmla="*/ 2408925 w 5005758"/>
              <a:gd name="connsiteY14" fmla="*/ 0 h 2624160"/>
              <a:gd name="connsiteX15" fmla="*/ 2488823 w 5005758"/>
              <a:gd name="connsiteY15" fmla="*/ 0 h 2624160"/>
              <a:gd name="connsiteX16" fmla="*/ 2625744 w 5005758"/>
              <a:gd name="connsiteY16" fmla="*/ 0 h 2624160"/>
              <a:gd name="connsiteX17" fmla="*/ 2728408 w 5005758"/>
              <a:gd name="connsiteY17" fmla="*/ 0 h 2624160"/>
              <a:gd name="connsiteX18" fmla="*/ 2808306 w 5005758"/>
              <a:gd name="connsiteY18" fmla="*/ 0 h 2624160"/>
              <a:gd name="connsiteX19" fmla="*/ 2860346 w 5005758"/>
              <a:gd name="connsiteY19" fmla="*/ 0 h 2624160"/>
              <a:gd name="connsiteX20" fmla="*/ 3047623 w 5005758"/>
              <a:gd name="connsiteY20" fmla="*/ 0 h 2624160"/>
              <a:gd name="connsiteX21" fmla="*/ 3138150 w 5005758"/>
              <a:gd name="connsiteY21" fmla="*/ 0 h 2624160"/>
              <a:gd name="connsiteX22" fmla="*/ 3158933 w 5005758"/>
              <a:gd name="connsiteY22" fmla="*/ 0 h 2624160"/>
              <a:gd name="connsiteX23" fmla="*/ 3354969 w 5005758"/>
              <a:gd name="connsiteY23" fmla="*/ 0 h 2624160"/>
              <a:gd name="connsiteX24" fmla="*/ 3367106 w 5005758"/>
              <a:gd name="connsiteY24" fmla="*/ 0 h 2624160"/>
              <a:gd name="connsiteX25" fmla="*/ 3696950 w 5005758"/>
              <a:gd name="connsiteY25" fmla="*/ 0 h 2624160"/>
              <a:gd name="connsiteX26" fmla="*/ 3717733 w 5005758"/>
              <a:gd name="connsiteY26" fmla="*/ 0 h 2624160"/>
              <a:gd name="connsiteX27" fmla="*/ 3776848 w 5005758"/>
              <a:gd name="connsiteY27" fmla="*/ 0 h 2624160"/>
              <a:gd name="connsiteX28" fmla="*/ 3913769 w 5005758"/>
              <a:gd name="connsiteY28" fmla="*/ 0 h 2624160"/>
              <a:gd name="connsiteX29" fmla="*/ 4335648 w 5005758"/>
              <a:gd name="connsiteY29" fmla="*/ 0 h 2624160"/>
              <a:gd name="connsiteX30" fmla="*/ 4446958 w 5005758"/>
              <a:gd name="connsiteY30" fmla="*/ 0 h 2624160"/>
              <a:gd name="connsiteX31" fmla="*/ 5005758 w 5005758"/>
              <a:gd name="connsiteY31" fmla="*/ 0 h 2624160"/>
              <a:gd name="connsiteX32" fmla="*/ 5005758 w 5005758"/>
              <a:gd name="connsiteY32" fmla="*/ 762000 h 2624160"/>
              <a:gd name="connsiteX33" fmla="*/ 5005758 w 5005758"/>
              <a:gd name="connsiteY33" fmla="*/ 1862160 h 2624160"/>
              <a:gd name="connsiteX34" fmla="*/ 5005758 w 5005758"/>
              <a:gd name="connsiteY34" fmla="*/ 2624160 h 2624160"/>
              <a:gd name="connsiteX35" fmla="*/ 4446958 w 5005758"/>
              <a:gd name="connsiteY35" fmla="*/ 2624160 h 2624160"/>
              <a:gd name="connsiteX36" fmla="*/ 3717733 w 5005758"/>
              <a:gd name="connsiteY36" fmla="*/ 2624160 h 2624160"/>
              <a:gd name="connsiteX37" fmla="*/ 3158933 w 5005758"/>
              <a:gd name="connsiteY37" fmla="*/ 2624160 h 2624160"/>
              <a:gd name="connsiteX38" fmla="*/ 1846825 w 5005758"/>
              <a:gd name="connsiteY38" fmla="*/ 2624160 h 2624160"/>
              <a:gd name="connsiteX39" fmla="*/ 1288025 w 5005758"/>
              <a:gd name="connsiteY39" fmla="*/ 2624160 h 2624160"/>
              <a:gd name="connsiteX40" fmla="*/ 558800 w 5005758"/>
              <a:gd name="connsiteY40" fmla="*/ 2624160 h 2624160"/>
              <a:gd name="connsiteX41" fmla="*/ 0 w 5005758"/>
              <a:gd name="connsiteY41" fmla="*/ 2624160 h 2624160"/>
              <a:gd name="connsiteX42" fmla="*/ 0 w 5005758"/>
              <a:gd name="connsiteY42" fmla="*/ 1862160 h 2624160"/>
              <a:gd name="connsiteX43" fmla="*/ 0 w 5005758"/>
              <a:gd name="connsiteY43" fmla="*/ 806979 h 2624160"/>
              <a:gd name="connsiteX44" fmla="*/ 0 w 5005758"/>
              <a:gd name="connsiteY44" fmla="*/ 202453 h 2624160"/>
              <a:gd name="connsiteX45" fmla="*/ 1729 w 5005758"/>
              <a:gd name="connsiteY45" fmla="*/ 202453 h 2624160"/>
              <a:gd name="connsiteX46" fmla="*/ 126073 w 5005758"/>
              <a:gd name="connsiteY46" fmla="*/ 21405 h 2624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5005758" h="2624160">
                <a:moveTo>
                  <a:pt x="196186" y="0"/>
                </a:moveTo>
                <a:lnTo>
                  <a:pt x="603779" y="0"/>
                </a:lnTo>
                <a:lnTo>
                  <a:pt x="881583" y="0"/>
                </a:lnTo>
                <a:lnTo>
                  <a:pt x="1013521" y="0"/>
                </a:lnTo>
                <a:lnTo>
                  <a:pt x="1333004" y="0"/>
                </a:lnTo>
                <a:lnTo>
                  <a:pt x="1440383" y="0"/>
                </a:lnTo>
                <a:lnTo>
                  <a:pt x="1520281" y="0"/>
                </a:lnTo>
                <a:lnTo>
                  <a:pt x="1572321" y="0"/>
                </a:lnTo>
                <a:lnTo>
                  <a:pt x="1850125" y="0"/>
                </a:lnTo>
                <a:lnTo>
                  <a:pt x="1891804" y="0"/>
                </a:lnTo>
                <a:lnTo>
                  <a:pt x="2066944" y="0"/>
                </a:lnTo>
                <a:lnTo>
                  <a:pt x="2079081" y="0"/>
                </a:lnTo>
                <a:lnTo>
                  <a:pt x="2169608" y="0"/>
                </a:lnTo>
                <a:lnTo>
                  <a:pt x="2301546" y="0"/>
                </a:lnTo>
                <a:lnTo>
                  <a:pt x="2408925" y="0"/>
                </a:lnTo>
                <a:lnTo>
                  <a:pt x="2488823" y="0"/>
                </a:lnTo>
                <a:lnTo>
                  <a:pt x="2625744" y="0"/>
                </a:lnTo>
                <a:lnTo>
                  <a:pt x="2728408" y="0"/>
                </a:lnTo>
                <a:lnTo>
                  <a:pt x="2808306" y="0"/>
                </a:lnTo>
                <a:lnTo>
                  <a:pt x="2860346" y="0"/>
                </a:lnTo>
                <a:lnTo>
                  <a:pt x="3047623" y="0"/>
                </a:lnTo>
                <a:lnTo>
                  <a:pt x="3138150" y="0"/>
                </a:lnTo>
                <a:lnTo>
                  <a:pt x="3158933" y="0"/>
                </a:lnTo>
                <a:lnTo>
                  <a:pt x="3354969" y="0"/>
                </a:lnTo>
                <a:lnTo>
                  <a:pt x="3367106" y="0"/>
                </a:lnTo>
                <a:lnTo>
                  <a:pt x="3696950" y="0"/>
                </a:lnTo>
                <a:lnTo>
                  <a:pt x="3717733" y="0"/>
                </a:lnTo>
                <a:lnTo>
                  <a:pt x="3776848" y="0"/>
                </a:lnTo>
                <a:lnTo>
                  <a:pt x="3913769" y="0"/>
                </a:lnTo>
                <a:lnTo>
                  <a:pt x="4335648" y="0"/>
                </a:lnTo>
                <a:lnTo>
                  <a:pt x="4446958" y="0"/>
                </a:lnTo>
                <a:lnTo>
                  <a:pt x="5005758" y="0"/>
                </a:lnTo>
                <a:lnTo>
                  <a:pt x="5005758" y="762000"/>
                </a:lnTo>
                <a:lnTo>
                  <a:pt x="5005758" y="1862160"/>
                </a:lnTo>
                <a:lnTo>
                  <a:pt x="5005758" y="2624160"/>
                </a:lnTo>
                <a:lnTo>
                  <a:pt x="4446958" y="2624160"/>
                </a:lnTo>
                <a:lnTo>
                  <a:pt x="3717733" y="2624160"/>
                </a:lnTo>
                <a:lnTo>
                  <a:pt x="3158933" y="2624160"/>
                </a:lnTo>
                <a:lnTo>
                  <a:pt x="1846825" y="2624160"/>
                </a:lnTo>
                <a:lnTo>
                  <a:pt x="1288025" y="2624160"/>
                </a:lnTo>
                <a:lnTo>
                  <a:pt x="558800" y="2624160"/>
                </a:lnTo>
                <a:lnTo>
                  <a:pt x="0" y="2624160"/>
                </a:lnTo>
                <a:lnTo>
                  <a:pt x="0" y="1862160"/>
                </a:lnTo>
                <a:lnTo>
                  <a:pt x="0" y="806979"/>
                </a:lnTo>
                <a:lnTo>
                  <a:pt x="0" y="202453"/>
                </a:lnTo>
                <a:lnTo>
                  <a:pt x="1729" y="202453"/>
                </a:lnTo>
                <a:cubicBezTo>
                  <a:pt x="9590" y="123022"/>
                  <a:pt x="58096" y="55691"/>
                  <a:pt x="126073" y="21405"/>
                </a:cubicBezTo>
                <a:close/>
              </a:path>
            </a:pathLst>
          </a:custGeom>
          <a:effectLst>
            <a:outerShdw blurRad="190500" dist="127000" dir="2700000" algn="tl" rotWithShape="0">
              <a:prstClr val="black">
                <a:alpha val="10000"/>
              </a:prstClr>
            </a:outerShdw>
          </a:effectLst>
        </p:spPr>
        <p:txBody>
          <a:bodyPr wrap="square">
            <a:noAutofit/>
          </a:bodyPr>
          <a:lstStyle>
            <a:lvl1pPr marL="285750" marR="0" indent="-285750" algn="l" defTabSz="1644650" rtl="0" eaLnBrk="0" fontAlgn="base" latinLnBrk="0" hangingPunct="0">
              <a:lnSpc>
                <a:spcPct val="130000"/>
              </a:lnSpc>
              <a:spcBef>
                <a:spcPct val="0"/>
              </a:spcBef>
              <a:spcAft>
                <a:spcPts val="1200"/>
              </a:spcAft>
              <a:buClr>
                <a:srgbClr val="004C99"/>
              </a:buClr>
              <a:buSzPct val="120000"/>
              <a:defRPr/>
            </a:lvl1pPr>
          </a:lstStyle>
          <a:p>
            <a:pPr marL="285750" marR="0" lvl="0" indent="-285750" algn="l" defTabSz="1644650" rtl="0" eaLnBrk="0" fontAlgn="base" latinLnBrk="0" hangingPunct="0">
              <a:lnSpc>
                <a:spcPct val="130000"/>
              </a:lnSpc>
              <a:spcBef>
                <a:spcPct val="0"/>
              </a:spcBef>
              <a:spcAft>
                <a:spcPts val="1200"/>
              </a:spcAft>
              <a:buClr>
                <a:srgbClr val="004C99"/>
              </a:buClr>
              <a:buSzPct val="120000"/>
              <a:defRPr/>
            </a:pPr>
            <a:r>
              <a:rPr lang="de-DE"/>
              <a:t>Please insert image</a:t>
            </a:r>
          </a:p>
        </p:txBody>
      </p:sp>
      <p:sp>
        <p:nvSpPr>
          <p:cNvPr id="23" name="Textplatzhalter 22">
            <a:extLst>
              <a:ext uri="{FF2B5EF4-FFF2-40B4-BE49-F238E27FC236}">
                <a16:creationId xmlns:a16="http://schemas.microsoft.com/office/drawing/2014/main" id="{0387AD56-EDBE-40CB-959C-7E108FABF5B0}"/>
              </a:ext>
            </a:extLst>
          </p:cNvPr>
          <p:cNvSpPr>
            <a:spLocks noGrp="1"/>
          </p:cNvSpPr>
          <p:nvPr>
            <p:ph type="body" sz="quarter" idx="47"/>
          </p:nvPr>
        </p:nvSpPr>
        <p:spPr>
          <a:xfrm>
            <a:off x="6341734" y="4599770"/>
            <a:ext cx="5034311" cy="1722481"/>
          </a:xfrm>
          <a:custGeom>
            <a:avLst/>
            <a:gdLst>
              <a:gd name="connsiteX0" fmla="*/ 0 w 5034311"/>
              <a:gd name="connsiteY0" fmla="*/ 0 h 1722481"/>
              <a:gd name="connsiteX1" fmla="*/ 587355 w 5034311"/>
              <a:gd name="connsiteY1" fmla="*/ 0 h 1722481"/>
              <a:gd name="connsiteX2" fmla="*/ 4446956 w 5034311"/>
              <a:gd name="connsiteY2" fmla="*/ 0 h 1722481"/>
              <a:gd name="connsiteX3" fmla="*/ 5034311 w 5034311"/>
              <a:gd name="connsiteY3" fmla="*/ 0 h 1722481"/>
              <a:gd name="connsiteX4" fmla="*/ 5034311 w 5034311"/>
              <a:gd name="connsiteY4" fmla="*/ 14703 h 1722481"/>
              <a:gd name="connsiteX5" fmla="*/ 5034311 w 5034311"/>
              <a:gd name="connsiteY5" fmla="*/ 539689 h 1722481"/>
              <a:gd name="connsiteX6" fmla="*/ 5034311 w 5034311"/>
              <a:gd name="connsiteY6" fmla="*/ 1083783 h 1722481"/>
              <a:gd name="connsiteX7" fmla="*/ 5034311 w 5034311"/>
              <a:gd name="connsiteY7" fmla="*/ 1542683 h 1722481"/>
              <a:gd name="connsiteX8" fmla="*/ 5018621 w 5034311"/>
              <a:gd name="connsiteY8" fmla="*/ 1599450 h 1722481"/>
              <a:gd name="connsiteX9" fmla="*/ 4914902 w 5034311"/>
              <a:gd name="connsiteY9" fmla="*/ 1705875 h 1722481"/>
              <a:gd name="connsiteX10" fmla="*/ 4860509 w 5034311"/>
              <a:gd name="connsiteY10" fmla="*/ 1722481 h 1722481"/>
              <a:gd name="connsiteX11" fmla="*/ 4629902 w 5034311"/>
              <a:gd name="connsiteY11" fmla="*/ 1722481 h 1722481"/>
              <a:gd name="connsiteX12" fmla="*/ 4454201 w 5034311"/>
              <a:gd name="connsiteY12" fmla="*/ 1722481 h 1722481"/>
              <a:gd name="connsiteX13" fmla="*/ 4401977 w 5034311"/>
              <a:gd name="connsiteY13" fmla="*/ 1722481 h 1722481"/>
              <a:gd name="connsiteX14" fmla="*/ 4144132 w 5034311"/>
              <a:gd name="connsiteY14" fmla="*/ 1722481 h 1722481"/>
              <a:gd name="connsiteX15" fmla="*/ 4042547 w 5034311"/>
              <a:gd name="connsiteY15" fmla="*/ 1722481 h 1722481"/>
              <a:gd name="connsiteX16" fmla="*/ 3866846 w 5034311"/>
              <a:gd name="connsiteY16" fmla="*/ 1722481 h 1722481"/>
              <a:gd name="connsiteX17" fmla="*/ 3706015 w 5034311"/>
              <a:gd name="connsiteY17" fmla="*/ 1722481 h 1722481"/>
              <a:gd name="connsiteX18" fmla="*/ 3701307 w 5034311"/>
              <a:gd name="connsiteY18" fmla="*/ 1722481 h 1722481"/>
              <a:gd name="connsiteX19" fmla="*/ 3556777 w 5034311"/>
              <a:gd name="connsiteY19" fmla="*/ 1722481 h 1722481"/>
              <a:gd name="connsiteX20" fmla="*/ 3487442 w 5034311"/>
              <a:gd name="connsiteY20" fmla="*/ 1722481 h 1722481"/>
              <a:gd name="connsiteX21" fmla="*/ 3341877 w 5034311"/>
              <a:gd name="connsiteY21" fmla="*/ 1722481 h 1722481"/>
              <a:gd name="connsiteX22" fmla="*/ 3220245 w 5034311"/>
              <a:gd name="connsiteY22" fmla="*/ 1722481 h 1722481"/>
              <a:gd name="connsiteX23" fmla="*/ 3166176 w 5034311"/>
              <a:gd name="connsiteY23" fmla="*/ 1722481 h 1722481"/>
              <a:gd name="connsiteX24" fmla="*/ 3118660 w 5034311"/>
              <a:gd name="connsiteY24" fmla="*/ 1722481 h 1722481"/>
              <a:gd name="connsiteX25" fmla="*/ 3113952 w 5034311"/>
              <a:gd name="connsiteY25" fmla="*/ 1722481 h 1722481"/>
              <a:gd name="connsiteX26" fmla="*/ 2900087 w 5034311"/>
              <a:gd name="connsiteY26" fmla="*/ 1722481 h 1722481"/>
              <a:gd name="connsiteX27" fmla="*/ 2856107 w 5034311"/>
              <a:gd name="connsiteY27" fmla="*/ 1722481 h 1722481"/>
              <a:gd name="connsiteX28" fmla="*/ 2799267 w 5034311"/>
              <a:gd name="connsiteY28" fmla="*/ 1722481 h 1722481"/>
              <a:gd name="connsiteX29" fmla="*/ 2754522 w 5034311"/>
              <a:gd name="connsiteY29" fmla="*/ 1722481 h 1722481"/>
              <a:gd name="connsiteX30" fmla="*/ 2632890 w 5034311"/>
              <a:gd name="connsiteY30" fmla="*/ 1722481 h 1722481"/>
              <a:gd name="connsiteX31" fmla="*/ 2578821 w 5034311"/>
              <a:gd name="connsiteY31" fmla="*/ 1722481 h 1722481"/>
              <a:gd name="connsiteX32" fmla="*/ 2563555 w 5034311"/>
              <a:gd name="connsiteY32" fmla="*/ 1722481 h 1722481"/>
              <a:gd name="connsiteX33" fmla="*/ 2417990 w 5034311"/>
              <a:gd name="connsiteY33" fmla="*/ 1722481 h 1722481"/>
              <a:gd name="connsiteX34" fmla="*/ 2268752 w 5034311"/>
              <a:gd name="connsiteY34" fmla="*/ 1722481 h 1722481"/>
              <a:gd name="connsiteX35" fmla="*/ 2211912 w 5034311"/>
              <a:gd name="connsiteY35" fmla="*/ 1722481 h 1722481"/>
              <a:gd name="connsiteX36" fmla="*/ 2199417 w 5034311"/>
              <a:gd name="connsiteY36" fmla="*/ 1722481 h 1722481"/>
              <a:gd name="connsiteX37" fmla="*/ 1976200 w 5034311"/>
              <a:gd name="connsiteY37" fmla="*/ 1722481 h 1722481"/>
              <a:gd name="connsiteX38" fmla="*/ 1932220 w 5034311"/>
              <a:gd name="connsiteY38" fmla="*/ 1722481 h 1722481"/>
              <a:gd name="connsiteX39" fmla="*/ 1875380 w 5034311"/>
              <a:gd name="connsiteY39" fmla="*/ 1722481 h 1722481"/>
              <a:gd name="connsiteX40" fmla="*/ 1830635 w 5034311"/>
              <a:gd name="connsiteY40" fmla="*/ 1722481 h 1722481"/>
              <a:gd name="connsiteX41" fmla="*/ 1612062 w 5034311"/>
              <a:gd name="connsiteY41" fmla="*/ 1722481 h 1722481"/>
              <a:gd name="connsiteX42" fmla="*/ 1511242 w 5034311"/>
              <a:gd name="connsiteY42" fmla="*/ 1722481 h 1722481"/>
              <a:gd name="connsiteX43" fmla="*/ 1344865 w 5034311"/>
              <a:gd name="connsiteY43" fmla="*/ 1722481 h 1722481"/>
              <a:gd name="connsiteX44" fmla="*/ 1288025 w 5034311"/>
              <a:gd name="connsiteY44" fmla="*/ 1722481 h 1722481"/>
              <a:gd name="connsiteX45" fmla="*/ 1275530 w 5034311"/>
              <a:gd name="connsiteY45" fmla="*/ 1722481 h 1722481"/>
              <a:gd name="connsiteX46" fmla="*/ 923887 w 5034311"/>
              <a:gd name="connsiteY46" fmla="*/ 1722481 h 1722481"/>
              <a:gd name="connsiteX47" fmla="*/ 688175 w 5034311"/>
              <a:gd name="connsiteY47" fmla="*/ 1722481 h 1722481"/>
              <a:gd name="connsiteX48" fmla="*/ 587355 w 5034311"/>
              <a:gd name="connsiteY48" fmla="*/ 1722481 h 1722481"/>
              <a:gd name="connsiteX49" fmla="*/ 0 w 5034311"/>
              <a:gd name="connsiteY49" fmla="*/ 1722481 h 1722481"/>
              <a:gd name="connsiteX50" fmla="*/ 0 w 5034311"/>
              <a:gd name="connsiteY50" fmla="*/ 1128762 h 1722481"/>
              <a:gd name="connsiteX51" fmla="*/ 0 w 5034311"/>
              <a:gd name="connsiteY51" fmla="*/ 539689 h 1722481"/>
              <a:gd name="connsiteX52" fmla="*/ 0 w 5034311"/>
              <a:gd name="connsiteY52" fmla="*/ 59682 h 1722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5034311" h="1722481">
                <a:moveTo>
                  <a:pt x="0" y="0"/>
                </a:moveTo>
                <a:lnTo>
                  <a:pt x="587355" y="0"/>
                </a:lnTo>
                <a:lnTo>
                  <a:pt x="4446956" y="0"/>
                </a:lnTo>
                <a:lnTo>
                  <a:pt x="5034311" y="0"/>
                </a:lnTo>
                <a:lnTo>
                  <a:pt x="5034311" y="14703"/>
                </a:lnTo>
                <a:lnTo>
                  <a:pt x="5034311" y="539689"/>
                </a:lnTo>
                <a:lnTo>
                  <a:pt x="5034311" y="1083783"/>
                </a:lnTo>
                <a:lnTo>
                  <a:pt x="5034311" y="1542683"/>
                </a:lnTo>
                <a:lnTo>
                  <a:pt x="5018621" y="1599450"/>
                </a:lnTo>
                <a:cubicBezTo>
                  <a:pt x="4996885" y="1645474"/>
                  <a:pt x="4960220" y="1683018"/>
                  <a:pt x="4914902" y="1705875"/>
                </a:cubicBezTo>
                <a:lnTo>
                  <a:pt x="4860509" y="1722481"/>
                </a:lnTo>
                <a:lnTo>
                  <a:pt x="4629902" y="1722481"/>
                </a:lnTo>
                <a:lnTo>
                  <a:pt x="4454201" y="1722481"/>
                </a:lnTo>
                <a:lnTo>
                  <a:pt x="4401977" y="1722481"/>
                </a:lnTo>
                <a:lnTo>
                  <a:pt x="4144132" y="1722481"/>
                </a:lnTo>
                <a:lnTo>
                  <a:pt x="4042547" y="1722481"/>
                </a:lnTo>
                <a:lnTo>
                  <a:pt x="3866846" y="1722481"/>
                </a:lnTo>
                <a:lnTo>
                  <a:pt x="3706015" y="1722481"/>
                </a:lnTo>
                <a:lnTo>
                  <a:pt x="3701307" y="1722481"/>
                </a:lnTo>
                <a:lnTo>
                  <a:pt x="3556777" y="1722481"/>
                </a:lnTo>
                <a:lnTo>
                  <a:pt x="3487442" y="1722481"/>
                </a:lnTo>
                <a:lnTo>
                  <a:pt x="3341877" y="1722481"/>
                </a:lnTo>
                <a:lnTo>
                  <a:pt x="3220245" y="1722481"/>
                </a:lnTo>
                <a:lnTo>
                  <a:pt x="3166176" y="1722481"/>
                </a:lnTo>
                <a:lnTo>
                  <a:pt x="3118660" y="1722481"/>
                </a:lnTo>
                <a:lnTo>
                  <a:pt x="3113952" y="1722481"/>
                </a:lnTo>
                <a:lnTo>
                  <a:pt x="2900087" y="1722481"/>
                </a:lnTo>
                <a:lnTo>
                  <a:pt x="2856107" y="1722481"/>
                </a:lnTo>
                <a:lnTo>
                  <a:pt x="2799267" y="1722481"/>
                </a:lnTo>
                <a:lnTo>
                  <a:pt x="2754522" y="1722481"/>
                </a:lnTo>
                <a:lnTo>
                  <a:pt x="2632890" y="1722481"/>
                </a:lnTo>
                <a:lnTo>
                  <a:pt x="2578821" y="1722481"/>
                </a:lnTo>
                <a:lnTo>
                  <a:pt x="2563555" y="1722481"/>
                </a:lnTo>
                <a:lnTo>
                  <a:pt x="2417990" y="1722481"/>
                </a:lnTo>
                <a:lnTo>
                  <a:pt x="2268752" y="1722481"/>
                </a:lnTo>
                <a:lnTo>
                  <a:pt x="2211912" y="1722481"/>
                </a:lnTo>
                <a:lnTo>
                  <a:pt x="2199417" y="1722481"/>
                </a:lnTo>
                <a:lnTo>
                  <a:pt x="1976200" y="1722481"/>
                </a:lnTo>
                <a:lnTo>
                  <a:pt x="1932220" y="1722481"/>
                </a:lnTo>
                <a:lnTo>
                  <a:pt x="1875380" y="1722481"/>
                </a:lnTo>
                <a:lnTo>
                  <a:pt x="1830635" y="1722481"/>
                </a:lnTo>
                <a:lnTo>
                  <a:pt x="1612062" y="1722481"/>
                </a:lnTo>
                <a:lnTo>
                  <a:pt x="1511242" y="1722481"/>
                </a:lnTo>
                <a:lnTo>
                  <a:pt x="1344865" y="1722481"/>
                </a:lnTo>
                <a:lnTo>
                  <a:pt x="1288025" y="1722481"/>
                </a:lnTo>
                <a:lnTo>
                  <a:pt x="1275530" y="1722481"/>
                </a:lnTo>
                <a:lnTo>
                  <a:pt x="923887" y="1722481"/>
                </a:lnTo>
                <a:lnTo>
                  <a:pt x="688175" y="1722481"/>
                </a:lnTo>
                <a:lnTo>
                  <a:pt x="587355" y="1722481"/>
                </a:lnTo>
                <a:lnTo>
                  <a:pt x="0" y="1722481"/>
                </a:lnTo>
                <a:lnTo>
                  <a:pt x="0" y="1128762"/>
                </a:lnTo>
                <a:lnTo>
                  <a:pt x="0" y="539689"/>
                </a:lnTo>
                <a:lnTo>
                  <a:pt x="0" y="59682"/>
                </a:lnTo>
                <a:close/>
              </a:path>
            </a:pathLst>
          </a:custGeom>
          <a:solidFill>
            <a:schemeClr val="bg1"/>
          </a:solidFill>
          <a:ln w="12700">
            <a:solidFill>
              <a:schemeClr val="accent3"/>
            </a:solidFill>
          </a:ln>
          <a:effectLst>
            <a:outerShdw blurRad="190500" dist="127000" dir="2700000" algn="tl" rotWithShape="0">
              <a:prstClr val="black">
                <a:alpha val="10000"/>
              </a:prstClr>
            </a:outerShdw>
          </a:effectLst>
        </p:spPr>
        <p:txBody>
          <a:bodyPr wrap="square" lIns="180000" tIns="180000" rIns="180000" bIns="180000" numCol="1" anchor="t" anchorCtr="0">
            <a:normAutofit/>
          </a:bodyPr>
          <a:lstStyle>
            <a:lvl1pPr marL="0" indent="0" algn="l">
              <a:buFontTx/>
              <a:buNone/>
              <a:defRPr i="0">
                <a:solidFill>
                  <a:schemeClr val="tx1"/>
                </a:solidFill>
                <a:latin typeface="+mn-lt"/>
                <a:ea typeface="Roboto Light italic" pitchFamily="2" charset="0"/>
              </a:defRPr>
            </a:lvl1pPr>
            <a:lvl2pPr algn="l">
              <a:defRPr>
                <a:solidFill>
                  <a:schemeClr val="tx1"/>
                </a:solidFill>
                <a:latin typeface="+mn-lt"/>
              </a:defRPr>
            </a:lvl2pPr>
            <a:lvl3pPr algn="l">
              <a:defRPr>
                <a:solidFill>
                  <a:schemeClr val="tx1"/>
                </a:solidFill>
                <a:latin typeface="+mn-lt"/>
              </a:defRPr>
            </a:lvl3pPr>
            <a:lvl4pPr algn="l">
              <a:defRPr>
                <a:solidFill>
                  <a:schemeClr val="tx1"/>
                </a:solidFill>
                <a:latin typeface="+mn-lt"/>
              </a:defRPr>
            </a:lvl4pPr>
            <a:lvl5pPr algn="l">
              <a:defRPr>
                <a:solidFill>
                  <a:schemeClr val="tx1"/>
                </a:solidFill>
                <a:latin typeface="+mn-lt"/>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236523600"/>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8" dur="1000" decel="10000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0-#ppt_w/2"/>
                                          </p:val>
                                        </p:tav>
                                        <p:tav tm="100000">
                                          <p:val>
                                            <p:strVal val="#ppt_x"/>
                                          </p:val>
                                        </p:tav>
                                      </p:tavLst>
                                    </p:anim>
                                    <p:anim calcmode="lin" valueType="num">
                                      <p:cBhvr additive="base">
                                        <p:cTn id="8" dur="1000" fill="hold"/>
                                        <p:tgtEl>
                                          <p:spTgt spid="2"/>
                                        </p:tgtEl>
                                        <p:attrNameLst>
                                          <p:attrName>ppt_y</p:attrName>
                                        </p:attrNameLst>
                                      </p:cBhvr>
                                      <p:tavLst>
                                        <p:tav tm="0">
                                          <p:val>
                                            <p:strVal val="#ppt_y"/>
                                          </p:val>
                                        </p:tav>
                                        <p:tav tm="100000">
                                          <p:val>
                                            <p:strVal val="#ppt_y"/>
                                          </p:val>
                                        </p:tav>
                                      </p:tavLst>
                                    </p:anim>
                                  </p:childTnLst>
                                </p:cTn>
                              </p:par>
                              <p:par>
                                <p:cTn id="9" presetID="2" presetClass="entr" presetSubtype="8" dur="1000" decel="100000" fill="hold" grpId="0" nodeType="withEffect">
                                  <p:stCondLst>
                                    <p:cond delay="250"/>
                                  </p:stCondLst>
                                  <p:childTnLst>
                                    <p:set>
                                      <p:cBhvr>
                                        <p:cTn id="10" dur="1" fill="hold">
                                          <p:stCondLst>
                                            <p:cond delay="0"/>
                                          </p:stCondLst>
                                        </p:cTn>
                                        <p:tgtEl>
                                          <p:spTgt spid="16"/>
                                        </p:tgtEl>
                                        <p:attrNameLst>
                                          <p:attrName>style.visibility</p:attrName>
                                        </p:attrNameLst>
                                      </p:cBhvr>
                                      <p:to>
                                        <p:strVal val="visible"/>
                                      </p:to>
                                    </p:set>
                                    <p:anim calcmode="lin" valueType="num">
                                      <p:cBhvr additive="base">
                                        <p:cTn id="11" dur="1000" fill="hold"/>
                                        <p:tgtEl>
                                          <p:spTgt spid="16"/>
                                        </p:tgtEl>
                                        <p:attrNameLst>
                                          <p:attrName>ppt_x</p:attrName>
                                        </p:attrNameLst>
                                      </p:cBhvr>
                                      <p:tavLst>
                                        <p:tav tm="0">
                                          <p:val>
                                            <p:strVal val="0-#ppt_w/2"/>
                                          </p:val>
                                        </p:tav>
                                        <p:tav tm="100000">
                                          <p:val>
                                            <p:strVal val="#ppt_x"/>
                                          </p:val>
                                        </p:tav>
                                      </p:tavLst>
                                    </p:anim>
                                    <p:anim calcmode="lin" valueType="num">
                                      <p:cBhvr additive="base">
                                        <p:cTn id="12" dur="1000" fill="hold"/>
                                        <p:tgtEl>
                                          <p:spTgt spid="16"/>
                                        </p:tgtEl>
                                        <p:attrNameLst>
                                          <p:attrName>ppt_y</p:attrName>
                                        </p:attrNameLst>
                                      </p:cBhvr>
                                      <p:tavLst>
                                        <p:tav tm="0">
                                          <p:val>
                                            <p:strVal val="#ppt_y"/>
                                          </p:val>
                                        </p:tav>
                                        <p:tav tm="100000">
                                          <p:val>
                                            <p:strVal val="#ppt_y"/>
                                          </p:val>
                                        </p:tav>
                                      </p:tavLst>
                                    </p:anim>
                                  </p:childTnLst>
                                </p:cTn>
                              </p:par>
                              <p:par>
                                <p:cTn id="13" presetID="2" presetClass="entr" presetSubtype="8" dur="1000" decel="100000" fill="hold" grpId="0" nodeType="withEffect">
                                  <p:stCondLst>
                                    <p:cond delay="250"/>
                                  </p:stCondLst>
                                  <p:childTnLst>
                                    <p:set>
                                      <p:cBhvr>
                                        <p:cTn id="14" dur="1" fill="hold">
                                          <p:stCondLst>
                                            <p:cond delay="0"/>
                                          </p:stCondLst>
                                        </p:cTn>
                                        <p:tgtEl>
                                          <p:spTgt spid="23"/>
                                        </p:tgtEl>
                                        <p:attrNameLst>
                                          <p:attrName>style.visibility</p:attrName>
                                        </p:attrNameLst>
                                      </p:cBhvr>
                                      <p:to>
                                        <p:strVal val="visible"/>
                                      </p:to>
                                    </p:set>
                                    <p:anim calcmode="lin" valueType="num">
                                      <p:cBhvr additive="base">
                                        <p:cTn id="15" dur="1000" fill="hold"/>
                                        <p:tgtEl>
                                          <p:spTgt spid="23"/>
                                        </p:tgtEl>
                                        <p:attrNameLst>
                                          <p:attrName>ppt_x</p:attrName>
                                        </p:attrNameLst>
                                      </p:cBhvr>
                                      <p:tavLst>
                                        <p:tav tm="0">
                                          <p:val>
                                            <p:strVal val="0-#ppt_w/2"/>
                                          </p:val>
                                        </p:tav>
                                        <p:tav tm="100000">
                                          <p:val>
                                            <p:strVal val="#ppt_x"/>
                                          </p:val>
                                        </p:tav>
                                      </p:tavLst>
                                    </p:anim>
                                    <p:anim calcmode="lin" valueType="num">
                                      <p:cBhvr additive="base">
                                        <p:cTn id="16" dur="1000" fill="hold"/>
                                        <p:tgtEl>
                                          <p:spTgt spid="23"/>
                                        </p:tgtEl>
                                        <p:attrNameLst>
                                          <p:attrName>ppt_y</p:attrName>
                                        </p:attrNameLst>
                                      </p:cBhvr>
                                      <p:tavLst>
                                        <p:tav tm="0">
                                          <p:val>
                                            <p:strVal val="#ppt_y"/>
                                          </p:val>
                                        </p:tav>
                                        <p:tav tm="100000">
                                          <p:val>
                                            <p:strVal val="#ppt_y"/>
                                          </p:val>
                                        </p:tav>
                                      </p:tavLst>
                                    </p:anim>
                                  </p:childTnLst>
                                </p:cTn>
                              </p:par>
                              <p:par>
                                <p:cTn id="17" presetID="2" presetClass="entr" presetSubtype="8" dur="1000" decel="100000" fill="hold" grpId="0" nodeType="withEffect">
                                  <p:stCondLst>
                                    <p:cond delay="500"/>
                                  </p:stCondLst>
                                  <p:childTnLst>
                                    <p:set>
                                      <p:cBhvr>
                                        <p:cTn id="18" dur="1" fill="hold">
                                          <p:stCondLst>
                                            <p:cond delay="0"/>
                                          </p:stCondLst>
                                        </p:cTn>
                                        <p:tgtEl>
                                          <p:spTgt spid="14"/>
                                        </p:tgtEl>
                                        <p:attrNameLst>
                                          <p:attrName>style.visibility</p:attrName>
                                        </p:attrNameLst>
                                      </p:cBhvr>
                                      <p:to>
                                        <p:strVal val="visible"/>
                                      </p:to>
                                    </p:set>
                                    <p:anim calcmode="lin" valueType="num">
                                      <p:cBhvr additive="base">
                                        <p:cTn id="19" dur="1000" fill="hold"/>
                                        <p:tgtEl>
                                          <p:spTgt spid="14"/>
                                        </p:tgtEl>
                                        <p:attrNameLst>
                                          <p:attrName>ppt_x</p:attrName>
                                        </p:attrNameLst>
                                      </p:cBhvr>
                                      <p:tavLst>
                                        <p:tav tm="0">
                                          <p:val>
                                            <p:strVal val="0-#ppt_w/2"/>
                                          </p:val>
                                        </p:tav>
                                        <p:tav tm="100000">
                                          <p:val>
                                            <p:strVal val="#ppt_x"/>
                                          </p:val>
                                        </p:tav>
                                      </p:tavLst>
                                    </p:anim>
                                    <p:anim calcmode="lin" valueType="num">
                                      <p:cBhvr additive="base">
                                        <p:cTn id="20" dur="1000" fill="hold"/>
                                        <p:tgtEl>
                                          <p:spTgt spid="14"/>
                                        </p:tgtEl>
                                        <p:attrNameLst>
                                          <p:attrName>ppt_y</p:attrName>
                                        </p:attrNameLst>
                                      </p:cBhvr>
                                      <p:tavLst>
                                        <p:tav tm="0">
                                          <p:val>
                                            <p:strVal val="#ppt_y"/>
                                          </p:val>
                                        </p:tav>
                                        <p:tav tm="100000">
                                          <p:val>
                                            <p:strVal val="#ppt_y"/>
                                          </p:val>
                                        </p:tav>
                                      </p:tavLst>
                                    </p:anim>
                                  </p:childTnLst>
                                </p:cTn>
                              </p:par>
                              <p:par>
                                <p:cTn id="21" presetID="2" presetClass="entr" presetSubtype="8" dur="1000" decel="100000" fill="hold" grpId="0" nodeType="withEffect">
                                  <p:stCondLst>
                                    <p:cond delay="500"/>
                                  </p:stCondLst>
                                  <p:childTnLst>
                                    <p:set>
                                      <p:cBhvr>
                                        <p:cTn id="22" dur="1" fill="hold">
                                          <p:stCondLst>
                                            <p:cond delay="0"/>
                                          </p:stCondLst>
                                        </p:cTn>
                                        <p:tgtEl>
                                          <p:spTgt spid="20"/>
                                        </p:tgtEl>
                                        <p:attrNameLst>
                                          <p:attrName>style.visibility</p:attrName>
                                        </p:attrNameLst>
                                      </p:cBhvr>
                                      <p:to>
                                        <p:strVal val="visible"/>
                                      </p:to>
                                    </p:set>
                                    <p:anim calcmode="lin" valueType="num">
                                      <p:cBhvr additive="base">
                                        <p:cTn id="23" dur="1000" fill="hold"/>
                                        <p:tgtEl>
                                          <p:spTgt spid="20"/>
                                        </p:tgtEl>
                                        <p:attrNameLst>
                                          <p:attrName>ppt_x</p:attrName>
                                        </p:attrNameLst>
                                      </p:cBhvr>
                                      <p:tavLst>
                                        <p:tav tm="0">
                                          <p:val>
                                            <p:strVal val="0-#ppt_w/2"/>
                                          </p:val>
                                        </p:tav>
                                        <p:tav tm="100000">
                                          <p:val>
                                            <p:strVal val="#ppt_x"/>
                                          </p:val>
                                        </p:tav>
                                      </p:tavLst>
                                    </p:anim>
                                    <p:anim calcmode="lin" valueType="num">
                                      <p:cBhvr additive="base">
                                        <p:cTn id="24" dur="1000" fill="hold"/>
                                        <p:tgtEl>
                                          <p:spTgt spid="2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4" grpId="0"/>
      <p:bldP spid="20" grpId="0" animBg="1">
        <p:tmplLst>
          <p:tmpl>
            <p:tnLst>
              <p:par>
                <p:cTn presetID="2" presetClass="entr" presetSubtype="8" decel="100000" fill="hold" nodeType="withEffect">
                  <p:stCondLst>
                    <p:cond delay="500"/>
                  </p:stCondLst>
                  <p:childTnLst>
                    <p:set>
                      <p:cBhvr>
                        <p:cTn dur="1" fill="hold">
                          <p:stCondLst>
                            <p:cond delay="0"/>
                          </p:stCondLst>
                        </p:cTn>
                        <p:tgtEl>
                          <p:spTgt spid="20"/>
                        </p:tgtEl>
                        <p:attrNameLst>
                          <p:attrName>style.visibility</p:attrName>
                        </p:attrNameLst>
                      </p:cBhvr>
                      <p:to>
                        <p:strVal val="visible"/>
                      </p:to>
                    </p:set>
                    <p:anim calcmode="lin" valueType="num">
                      <p:cBhvr additive="base">
                        <p:cTn dur="1000" fill="hold"/>
                        <p:tgtEl>
                          <p:spTgt spid="20"/>
                        </p:tgtEl>
                        <p:attrNameLst>
                          <p:attrName>ppt_x</p:attrName>
                        </p:attrNameLst>
                      </p:cBhvr>
                      <p:tavLst>
                        <p:tav tm="0">
                          <p:val>
                            <p:strVal val="0-#ppt_w/2"/>
                          </p:val>
                        </p:tav>
                        <p:tav tm="100000">
                          <p:val>
                            <p:strVal val="#ppt_x"/>
                          </p:val>
                        </p:tav>
                      </p:tavLst>
                    </p:anim>
                    <p:anim calcmode="lin" valueType="num">
                      <p:cBhvr additive="base">
                        <p:cTn dur="1000" fill="hold"/>
                        <p:tgtEl>
                          <p:spTgt spid="20"/>
                        </p:tgtEl>
                        <p:attrNameLst>
                          <p:attrName>ppt_y</p:attrName>
                        </p:attrNameLst>
                      </p:cBhvr>
                      <p:tavLst>
                        <p:tav tm="0">
                          <p:val>
                            <p:strVal val="#ppt_y"/>
                          </p:val>
                        </p:tav>
                        <p:tav tm="100000">
                          <p:val>
                            <p:strVal val="#ppt_y"/>
                          </p:val>
                        </p:tav>
                      </p:tavLst>
                    </p:anim>
                  </p:childTnLst>
                </p:cTn>
              </p:par>
            </p:tnLst>
          </p:tmpl>
        </p:tmplLst>
      </p:bldP>
      <p:bldP spid="16" grpId="0"/>
      <p:bldP spid="23" grpId="0" animBg="1">
        <p:tmplLst>
          <p:tmpl>
            <p:tnLst>
              <p:par>
                <p:cTn presetID="2" presetClass="entr" presetSubtype="8" decel="100000" fill="hold" nodeType="withEffect">
                  <p:stCondLst>
                    <p:cond delay="250"/>
                  </p:stCondLst>
                  <p:childTnLst>
                    <p:set>
                      <p:cBhvr>
                        <p:cTn dur="1" fill="hold">
                          <p:stCondLst>
                            <p:cond delay="0"/>
                          </p:stCondLst>
                        </p:cTn>
                        <p:tgtEl>
                          <p:spTgt spid="23"/>
                        </p:tgtEl>
                        <p:attrNameLst>
                          <p:attrName>style.visibility</p:attrName>
                        </p:attrNameLst>
                      </p:cBhvr>
                      <p:to>
                        <p:strVal val="visible"/>
                      </p:to>
                    </p:set>
                    <p:anim calcmode="lin" valueType="num">
                      <p:cBhvr additive="base">
                        <p:cTn dur="1000" fill="hold"/>
                        <p:tgtEl>
                          <p:spTgt spid="23"/>
                        </p:tgtEl>
                        <p:attrNameLst>
                          <p:attrName>ppt_x</p:attrName>
                        </p:attrNameLst>
                      </p:cBhvr>
                      <p:tavLst>
                        <p:tav tm="0">
                          <p:val>
                            <p:strVal val="0-#ppt_w/2"/>
                          </p:val>
                        </p:tav>
                        <p:tav tm="100000">
                          <p:val>
                            <p:strVal val="#ppt_x"/>
                          </p:val>
                        </p:tav>
                      </p:tavLst>
                    </p:anim>
                    <p:anim calcmode="lin" valueType="num">
                      <p:cBhvr additive="base">
                        <p:cTn dur="1000" fill="hold"/>
                        <p:tgtEl>
                          <p:spTgt spid="23"/>
                        </p:tgtEl>
                        <p:attrNameLst>
                          <p:attrName>ppt_y</p:attrName>
                        </p:attrNameLst>
                      </p:cBhvr>
                      <p:tavLst>
                        <p:tav tm="0">
                          <p:val>
                            <p:strVal val="#ppt_y"/>
                          </p:val>
                        </p:tav>
                        <p:tav tm="100000">
                          <p:val>
                            <p:strVal val="#ppt_y"/>
                          </p:val>
                        </p:tav>
                      </p:tavLst>
                    </p:anim>
                  </p:childTnLst>
                </p:cTn>
              </p:par>
            </p:tnLst>
          </p:tmpl>
        </p:tmplLst>
      </p:bldP>
    </p:bldLst>
  </p:timing>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IMAGE 3 with captions">
    <p:spTree>
      <p:nvGrpSpPr>
        <p:cNvPr id="1" name=""/>
        <p:cNvGrpSpPr/>
        <p:nvPr/>
      </p:nvGrpSpPr>
      <p:grpSpPr>
        <a:xfrm>
          <a:off x="0" y="0"/>
          <a:ext cx="0" cy="0"/>
          <a:chOff x="0" y="0"/>
          <a:chExt cx="0" cy="0"/>
        </a:xfrm>
      </p:grpSpPr>
      <p:sp>
        <p:nvSpPr>
          <p:cNvPr id="44" name="Freihandform: Form 43">
            <a:extLst>
              <a:ext uri="{FF2B5EF4-FFF2-40B4-BE49-F238E27FC236}">
                <a16:creationId xmlns:a16="http://schemas.microsoft.com/office/drawing/2014/main" id="{5AB03B7D-630C-475D-827B-A5F0693756DD}"/>
              </a:ext>
            </a:extLst>
          </p:cNvPr>
          <p:cNvSpPr/>
          <p:nvPr userDrawn="1"/>
        </p:nvSpPr>
        <p:spPr>
          <a:xfrm>
            <a:off x="2362200" y="1975611"/>
            <a:ext cx="9829800" cy="4882390"/>
          </a:xfrm>
          <a:custGeom>
            <a:avLst/>
            <a:gdLst>
              <a:gd name="connsiteX0" fmla="*/ 910059 w 9829800"/>
              <a:gd name="connsiteY0" fmla="*/ 0 h 4882390"/>
              <a:gd name="connsiteX1" fmla="*/ 3015085 w 9829800"/>
              <a:gd name="connsiteY1" fmla="*/ 0 h 4882390"/>
              <a:gd name="connsiteX2" fmla="*/ 7981950 w 9829800"/>
              <a:gd name="connsiteY2" fmla="*/ 0 h 4882390"/>
              <a:gd name="connsiteX3" fmla="*/ 9829800 w 9829800"/>
              <a:gd name="connsiteY3" fmla="*/ 0 h 4882390"/>
              <a:gd name="connsiteX4" fmla="*/ 9829800 w 9829800"/>
              <a:gd name="connsiteY4" fmla="*/ 4882390 h 4882390"/>
              <a:gd name="connsiteX5" fmla="*/ 7981950 w 9829800"/>
              <a:gd name="connsiteY5" fmla="*/ 4882390 h 4882390"/>
              <a:gd name="connsiteX6" fmla="*/ 2183098 w 9829800"/>
              <a:gd name="connsiteY6" fmla="*/ 4882390 h 4882390"/>
              <a:gd name="connsiteX7" fmla="*/ 78072 w 9829800"/>
              <a:gd name="connsiteY7" fmla="*/ 4882390 h 4882390"/>
              <a:gd name="connsiteX8" fmla="*/ 0 w 9829800"/>
              <a:gd name="connsiteY8" fmla="*/ 4804318 h 4882390"/>
              <a:gd name="connsiteX9" fmla="*/ 831987 w 9829800"/>
              <a:gd name="connsiteY9" fmla="*/ 78072 h 4882390"/>
              <a:gd name="connsiteX10" fmla="*/ 910059 w 9829800"/>
              <a:gd name="connsiteY10" fmla="*/ 0 h 4882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829800" h="4882390">
                <a:moveTo>
                  <a:pt x="910059" y="0"/>
                </a:moveTo>
                <a:lnTo>
                  <a:pt x="3015085" y="0"/>
                </a:lnTo>
                <a:lnTo>
                  <a:pt x="7981950" y="0"/>
                </a:lnTo>
                <a:lnTo>
                  <a:pt x="9829800" y="0"/>
                </a:lnTo>
                <a:lnTo>
                  <a:pt x="9829800" y="4882390"/>
                </a:lnTo>
                <a:lnTo>
                  <a:pt x="7981950" y="4882390"/>
                </a:lnTo>
                <a:lnTo>
                  <a:pt x="2183098" y="4882390"/>
                </a:lnTo>
                <a:lnTo>
                  <a:pt x="78072" y="4882390"/>
                </a:lnTo>
                <a:cubicBezTo>
                  <a:pt x="34957" y="4882390"/>
                  <a:pt x="0" y="4847433"/>
                  <a:pt x="0" y="4804318"/>
                </a:cubicBezTo>
                <a:lnTo>
                  <a:pt x="831987" y="78072"/>
                </a:lnTo>
                <a:cubicBezTo>
                  <a:pt x="831987" y="34957"/>
                  <a:pt x="866945" y="0"/>
                  <a:pt x="910059" y="0"/>
                </a:cubicBezTo>
                <a:close/>
              </a:path>
            </a:pathLst>
          </a:custGeom>
          <a:gradFill>
            <a:gsLst>
              <a:gs pos="0">
                <a:schemeClr val="bg1"/>
              </a:gs>
              <a:gs pos="95000">
                <a:srgbClr val="ECF0F4"/>
              </a:gs>
            </a:gsLst>
            <a:lin ang="5400000" scaled="1"/>
          </a:gradFill>
          <a:ln w="11652" cap="flat">
            <a:noFill/>
            <a:prstDash val="solid"/>
            <a:miter/>
          </a:ln>
        </p:spPr>
        <p:txBody>
          <a:bodyPr rtlCol="0" anchor="ctr"/>
          <a:lstStyle/>
          <a:p>
            <a:endParaRPr lang="de-DE"/>
          </a:p>
        </p:txBody>
      </p:sp>
      <p:sp>
        <p:nvSpPr>
          <p:cNvPr id="2" name="Titel 1">
            <a:extLst>
              <a:ext uri="{FF2B5EF4-FFF2-40B4-BE49-F238E27FC236}">
                <a16:creationId xmlns:a16="http://schemas.microsoft.com/office/drawing/2014/main" id="{0526DC72-FA1D-422D-8055-3374742D122B}"/>
              </a:ext>
            </a:extLst>
          </p:cNvPr>
          <p:cNvSpPr>
            <a:spLocks noGrp="1"/>
          </p:cNvSpPr>
          <p:nvPr>
            <p:ph type="title"/>
          </p:nvPr>
        </p:nvSpPr>
        <p:spPr/>
        <p:txBody>
          <a:bodyPr/>
          <a:lstStyle>
            <a:lvl1pPr>
              <a:lnSpc>
                <a:spcPct val="100000"/>
              </a:lnSpc>
              <a:defRPr/>
            </a:lvl1pPr>
          </a:lstStyle>
          <a:p>
            <a:r>
              <a:rPr lang="de-DE"/>
              <a:t>Mastertitelformat bearbeiten</a:t>
            </a:r>
          </a:p>
        </p:txBody>
      </p:sp>
      <p:sp>
        <p:nvSpPr>
          <p:cNvPr id="3" name="Foliennummernplatzhalter 2">
            <a:extLst>
              <a:ext uri="{FF2B5EF4-FFF2-40B4-BE49-F238E27FC236}">
                <a16:creationId xmlns:a16="http://schemas.microsoft.com/office/drawing/2014/main" id="{5B327254-466C-4606-8589-BCC72CBDADDF}"/>
              </a:ext>
            </a:extLst>
          </p:cNvPr>
          <p:cNvSpPr>
            <a:spLocks noGrp="1"/>
          </p:cNvSpPr>
          <p:nvPr>
            <p:ph type="sldNum" sz="quarter" idx="10"/>
          </p:nvPr>
        </p:nvSpPr>
        <p:spPr/>
        <p:txBody>
          <a:bodyPr/>
          <a:lstStyle/>
          <a:p>
            <a:fld id="{A04BEB4F-8CE1-4F18-986F-6CE0A0BE9470}" type="slidenum">
              <a:rPr lang="de-DE" smtClean="0"/>
              <a:t>‹#›</a:t>
            </a:fld>
            <a:endParaRPr lang="de-DE"/>
          </a:p>
        </p:txBody>
      </p:sp>
      <p:sp>
        <p:nvSpPr>
          <p:cNvPr id="14" name="Bildplatzhalter 13">
            <a:extLst>
              <a:ext uri="{FF2B5EF4-FFF2-40B4-BE49-F238E27FC236}">
                <a16:creationId xmlns:a16="http://schemas.microsoft.com/office/drawing/2014/main" id="{835C9B92-5064-48BC-91E4-9256E45CE646}"/>
              </a:ext>
            </a:extLst>
          </p:cNvPr>
          <p:cNvSpPr>
            <a:spLocks noGrp="1"/>
          </p:cNvSpPr>
          <p:nvPr>
            <p:ph type="pic" sz="quarter" idx="37" hasCustomPrompt="1"/>
          </p:nvPr>
        </p:nvSpPr>
        <p:spPr>
          <a:xfrm>
            <a:off x="815952" y="1975610"/>
            <a:ext cx="3158933" cy="1862160"/>
          </a:xfrm>
          <a:custGeom>
            <a:avLst/>
            <a:gdLst>
              <a:gd name="connsiteX0" fmla="*/ 191605 w 3158933"/>
              <a:gd name="connsiteY0" fmla="*/ 0 h 1862160"/>
              <a:gd name="connsiteX1" fmla="*/ 881583 w 3158933"/>
              <a:gd name="connsiteY1" fmla="*/ 0 h 1862160"/>
              <a:gd name="connsiteX2" fmla="*/ 1013521 w 3158933"/>
              <a:gd name="connsiteY2" fmla="*/ 0 h 1862160"/>
              <a:gd name="connsiteX3" fmla="*/ 1520281 w 3158933"/>
              <a:gd name="connsiteY3" fmla="*/ 0 h 1862160"/>
              <a:gd name="connsiteX4" fmla="*/ 1850125 w 3158933"/>
              <a:gd name="connsiteY4" fmla="*/ 0 h 1862160"/>
              <a:gd name="connsiteX5" fmla="*/ 2066944 w 3158933"/>
              <a:gd name="connsiteY5" fmla="*/ 0 h 1862160"/>
              <a:gd name="connsiteX6" fmla="*/ 2488823 w 3158933"/>
              <a:gd name="connsiteY6" fmla="*/ 0 h 1862160"/>
              <a:gd name="connsiteX7" fmla="*/ 3158933 w 3158933"/>
              <a:gd name="connsiteY7" fmla="*/ 0 h 1862160"/>
              <a:gd name="connsiteX8" fmla="*/ 3158933 w 3158933"/>
              <a:gd name="connsiteY8" fmla="*/ 1862160 h 1862160"/>
              <a:gd name="connsiteX9" fmla="*/ 0 w 3158933"/>
              <a:gd name="connsiteY9" fmla="*/ 1862160 h 1862160"/>
              <a:gd name="connsiteX10" fmla="*/ 0 w 3158933"/>
              <a:gd name="connsiteY10" fmla="*/ 192138 h 1862160"/>
              <a:gd name="connsiteX11" fmla="*/ 17774 w 3158933"/>
              <a:gd name="connsiteY11" fmla="*/ 127831 h 1862160"/>
              <a:gd name="connsiteX12" fmla="*/ 121493 w 3158933"/>
              <a:gd name="connsiteY12" fmla="*/ 21405 h 1862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158933" h="1862160">
                <a:moveTo>
                  <a:pt x="191605" y="0"/>
                </a:moveTo>
                <a:lnTo>
                  <a:pt x="881583" y="0"/>
                </a:lnTo>
                <a:lnTo>
                  <a:pt x="1013521" y="0"/>
                </a:lnTo>
                <a:lnTo>
                  <a:pt x="1520281" y="0"/>
                </a:lnTo>
                <a:lnTo>
                  <a:pt x="1850125" y="0"/>
                </a:lnTo>
                <a:lnTo>
                  <a:pt x="2066944" y="0"/>
                </a:lnTo>
                <a:lnTo>
                  <a:pt x="2488823" y="0"/>
                </a:lnTo>
                <a:lnTo>
                  <a:pt x="3158933" y="0"/>
                </a:lnTo>
                <a:lnTo>
                  <a:pt x="3158933" y="1862160"/>
                </a:lnTo>
                <a:lnTo>
                  <a:pt x="0" y="1862160"/>
                </a:lnTo>
                <a:lnTo>
                  <a:pt x="0" y="192138"/>
                </a:lnTo>
                <a:lnTo>
                  <a:pt x="17774" y="127831"/>
                </a:lnTo>
                <a:cubicBezTo>
                  <a:pt x="39511" y="81806"/>
                  <a:pt x="76175" y="44263"/>
                  <a:pt x="121493" y="21405"/>
                </a:cubicBezTo>
                <a:close/>
              </a:path>
            </a:pathLst>
          </a:custGeom>
          <a:effectLst>
            <a:outerShdw blurRad="190500" dist="127000" dir="2700000" algn="tl" rotWithShape="0">
              <a:prstClr val="black">
                <a:alpha val="10000"/>
              </a:prstClr>
            </a:outerShdw>
          </a:effectLst>
        </p:spPr>
        <p:txBody>
          <a:bodyPr wrap="square">
            <a:noAutofit/>
          </a:bodyPr>
          <a:lstStyle>
            <a:lvl1pPr marL="285750" marR="0" indent="-285750" algn="l" defTabSz="1644650" rtl="0" eaLnBrk="0" fontAlgn="base" latinLnBrk="0" hangingPunct="0">
              <a:lnSpc>
                <a:spcPct val="130000"/>
              </a:lnSpc>
              <a:spcBef>
                <a:spcPct val="0"/>
              </a:spcBef>
              <a:spcAft>
                <a:spcPts val="1200"/>
              </a:spcAft>
              <a:buClr>
                <a:srgbClr val="004C99"/>
              </a:buClr>
              <a:buSzPct val="120000"/>
              <a:defRPr/>
            </a:lvl1pPr>
          </a:lstStyle>
          <a:p>
            <a:pPr marL="285750" marR="0" lvl="0" indent="-285750" algn="l" defTabSz="1644650" rtl="0" eaLnBrk="0" fontAlgn="base" latinLnBrk="0" hangingPunct="0">
              <a:lnSpc>
                <a:spcPct val="130000"/>
              </a:lnSpc>
              <a:spcBef>
                <a:spcPct val="0"/>
              </a:spcBef>
              <a:spcAft>
                <a:spcPts val="1200"/>
              </a:spcAft>
              <a:buClr>
                <a:srgbClr val="004C99"/>
              </a:buClr>
              <a:buSzPct val="120000"/>
              <a:defRPr/>
            </a:pPr>
            <a:r>
              <a:rPr lang="de-DE"/>
              <a:t>Please insert image</a:t>
            </a:r>
          </a:p>
        </p:txBody>
      </p:sp>
      <p:sp>
        <p:nvSpPr>
          <p:cNvPr id="20" name="Textplatzhalter 19">
            <a:extLst>
              <a:ext uri="{FF2B5EF4-FFF2-40B4-BE49-F238E27FC236}">
                <a16:creationId xmlns:a16="http://schemas.microsoft.com/office/drawing/2014/main" id="{429B93EB-E526-4AA2-8E01-6842B5CC828D}"/>
              </a:ext>
            </a:extLst>
          </p:cNvPr>
          <p:cNvSpPr>
            <a:spLocks noGrp="1"/>
          </p:cNvSpPr>
          <p:nvPr>
            <p:ph type="body" sz="quarter" idx="38"/>
          </p:nvPr>
        </p:nvSpPr>
        <p:spPr>
          <a:xfrm>
            <a:off x="815954" y="3837770"/>
            <a:ext cx="3158931" cy="2484481"/>
          </a:xfrm>
          <a:custGeom>
            <a:avLst/>
            <a:gdLst>
              <a:gd name="connsiteX0" fmla="*/ 0 w 3158931"/>
              <a:gd name="connsiteY0" fmla="*/ 0 h 2484481"/>
              <a:gd name="connsiteX1" fmla="*/ 3158931 w 3158931"/>
              <a:gd name="connsiteY1" fmla="*/ 0 h 2484481"/>
              <a:gd name="connsiteX2" fmla="*/ 3158931 w 3158931"/>
              <a:gd name="connsiteY2" fmla="*/ 707970 h 2484481"/>
              <a:gd name="connsiteX3" fmla="*/ 3158931 w 3158931"/>
              <a:gd name="connsiteY3" fmla="*/ 776703 h 2484481"/>
              <a:gd name="connsiteX4" fmla="*/ 3158931 w 3158931"/>
              <a:gd name="connsiteY4" fmla="*/ 1301689 h 2484481"/>
              <a:gd name="connsiteX5" fmla="*/ 3158931 w 3158931"/>
              <a:gd name="connsiteY5" fmla="*/ 1845783 h 2484481"/>
              <a:gd name="connsiteX6" fmla="*/ 3158931 w 3158931"/>
              <a:gd name="connsiteY6" fmla="*/ 2298026 h 2484481"/>
              <a:gd name="connsiteX7" fmla="*/ 3141401 w 3158931"/>
              <a:gd name="connsiteY7" fmla="*/ 2361450 h 2484481"/>
              <a:gd name="connsiteX8" fmla="*/ 3037682 w 3158931"/>
              <a:gd name="connsiteY8" fmla="*/ 2467875 h 2484481"/>
              <a:gd name="connsiteX9" fmla="*/ 2983289 w 3158931"/>
              <a:gd name="connsiteY9" fmla="*/ 2484481 h 2484481"/>
              <a:gd name="connsiteX10" fmla="*/ 2754522 w 3158931"/>
              <a:gd name="connsiteY10" fmla="*/ 2484481 h 2484481"/>
              <a:gd name="connsiteX11" fmla="*/ 2578821 w 3158931"/>
              <a:gd name="connsiteY11" fmla="*/ 2484481 h 2484481"/>
              <a:gd name="connsiteX12" fmla="*/ 2268752 w 3158931"/>
              <a:gd name="connsiteY12" fmla="*/ 2484481 h 2484481"/>
              <a:gd name="connsiteX13" fmla="*/ 1830635 w 3158931"/>
              <a:gd name="connsiteY13" fmla="*/ 2484481 h 2484481"/>
              <a:gd name="connsiteX14" fmla="*/ 1612062 w 3158931"/>
              <a:gd name="connsiteY14" fmla="*/ 2484481 h 2484481"/>
              <a:gd name="connsiteX15" fmla="*/ 1344865 w 3158931"/>
              <a:gd name="connsiteY15" fmla="*/ 2484481 h 2484481"/>
              <a:gd name="connsiteX16" fmla="*/ 923887 w 3158931"/>
              <a:gd name="connsiteY16" fmla="*/ 2484481 h 2484481"/>
              <a:gd name="connsiteX17" fmla="*/ 688175 w 3158931"/>
              <a:gd name="connsiteY17" fmla="*/ 2484481 h 2484481"/>
              <a:gd name="connsiteX18" fmla="*/ 0 w 3158931"/>
              <a:gd name="connsiteY18" fmla="*/ 2484481 h 2484481"/>
              <a:gd name="connsiteX19" fmla="*/ 0 w 3158931"/>
              <a:gd name="connsiteY19" fmla="*/ 1890762 h 2484481"/>
              <a:gd name="connsiteX20" fmla="*/ 0 w 3158931"/>
              <a:gd name="connsiteY20" fmla="*/ 1301689 h 2484481"/>
              <a:gd name="connsiteX21" fmla="*/ 0 w 3158931"/>
              <a:gd name="connsiteY21" fmla="*/ 821682 h 2484481"/>
              <a:gd name="connsiteX22" fmla="*/ 0 w 3158931"/>
              <a:gd name="connsiteY22" fmla="*/ 707970 h 248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158931" h="2484481">
                <a:moveTo>
                  <a:pt x="0" y="0"/>
                </a:moveTo>
                <a:lnTo>
                  <a:pt x="3158931" y="0"/>
                </a:lnTo>
                <a:lnTo>
                  <a:pt x="3158931" y="707970"/>
                </a:lnTo>
                <a:lnTo>
                  <a:pt x="3158931" y="776703"/>
                </a:lnTo>
                <a:lnTo>
                  <a:pt x="3158931" y="1301689"/>
                </a:lnTo>
                <a:lnTo>
                  <a:pt x="3158931" y="1845783"/>
                </a:lnTo>
                <a:lnTo>
                  <a:pt x="3158931" y="2298026"/>
                </a:lnTo>
                <a:lnTo>
                  <a:pt x="3141401" y="2361450"/>
                </a:lnTo>
                <a:cubicBezTo>
                  <a:pt x="3119665" y="2407474"/>
                  <a:pt x="3083000" y="2445018"/>
                  <a:pt x="3037682" y="2467875"/>
                </a:cubicBezTo>
                <a:lnTo>
                  <a:pt x="2983289" y="2484481"/>
                </a:lnTo>
                <a:lnTo>
                  <a:pt x="2754522" y="2484481"/>
                </a:lnTo>
                <a:lnTo>
                  <a:pt x="2578821" y="2484481"/>
                </a:lnTo>
                <a:lnTo>
                  <a:pt x="2268752" y="2484481"/>
                </a:lnTo>
                <a:lnTo>
                  <a:pt x="1830635" y="2484481"/>
                </a:lnTo>
                <a:lnTo>
                  <a:pt x="1612062" y="2484481"/>
                </a:lnTo>
                <a:lnTo>
                  <a:pt x="1344865" y="2484481"/>
                </a:lnTo>
                <a:lnTo>
                  <a:pt x="923887" y="2484481"/>
                </a:lnTo>
                <a:lnTo>
                  <a:pt x="688175" y="2484481"/>
                </a:lnTo>
                <a:lnTo>
                  <a:pt x="0" y="2484481"/>
                </a:lnTo>
                <a:lnTo>
                  <a:pt x="0" y="1890762"/>
                </a:lnTo>
                <a:lnTo>
                  <a:pt x="0" y="1301689"/>
                </a:lnTo>
                <a:lnTo>
                  <a:pt x="0" y="821682"/>
                </a:lnTo>
                <a:lnTo>
                  <a:pt x="0" y="707970"/>
                </a:lnTo>
                <a:close/>
              </a:path>
            </a:pathLst>
          </a:custGeom>
          <a:solidFill>
            <a:schemeClr val="bg1"/>
          </a:solidFill>
          <a:ln w="12700">
            <a:solidFill>
              <a:schemeClr val="accent3"/>
            </a:solidFill>
          </a:ln>
          <a:effectLst>
            <a:outerShdw blurRad="190500" dist="127000" dir="2700000" algn="tl" rotWithShape="0">
              <a:prstClr val="black">
                <a:alpha val="10000"/>
              </a:prstClr>
            </a:outerShdw>
          </a:effectLst>
        </p:spPr>
        <p:txBody>
          <a:bodyPr wrap="square" lIns="180000" tIns="180000" rIns="180000" bIns="180000" numCol="1" anchor="t" anchorCtr="0">
            <a:normAutofit/>
          </a:bodyPr>
          <a:lstStyle>
            <a:lvl1pPr marL="0" indent="0" algn="l">
              <a:buFontTx/>
              <a:buNone/>
              <a:defRPr i="0">
                <a:solidFill>
                  <a:schemeClr val="tx1"/>
                </a:solidFill>
                <a:latin typeface="+mn-lt"/>
                <a:ea typeface="Roboto Light italic" pitchFamily="2" charset="0"/>
              </a:defRPr>
            </a:lvl1pPr>
            <a:lvl2pPr algn="l">
              <a:defRPr>
                <a:solidFill>
                  <a:schemeClr val="tx1"/>
                </a:solidFill>
                <a:latin typeface="+mn-lt"/>
              </a:defRPr>
            </a:lvl2pPr>
            <a:lvl3pPr algn="l">
              <a:defRPr>
                <a:solidFill>
                  <a:schemeClr val="tx1"/>
                </a:solidFill>
                <a:latin typeface="+mn-lt"/>
              </a:defRPr>
            </a:lvl3pPr>
            <a:lvl4pPr algn="l">
              <a:defRPr>
                <a:solidFill>
                  <a:schemeClr val="tx1"/>
                </a:solidFill>
                <a:latin typeface="+mn-lt"/>
              </a:defRPr>
            </a:lvl4pPr>
            <a:lvl5pPr algn="l">
              <a:defRPr>
                <a:solidFill>
                  <a:schemeClr val="tx1"/>
                </a:solidFill>
                <a:latin typeface="+mn-lt"/>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5" name="Bildplatzhalter 14">
            <a:extLst>
              <a:ext uri="{FF2B5EF4-FFF2-40B4-BE49-F238E27FC236}">
                <a16:creationId xmlns:a16="http://schemas.microsoft.com/office/drawing/2014/main" id="{2C234C9B-2691-4443-8B89-CE32D80213DD}"/>
              </a:ext>
            </a:extLst>
          </p:cNvPr>
          <p:cNvSpPr>
            <a:spLocks noGrp="1"/>
          </p:cNvSpPr>
          <p:nvPr>
            <p:ph type="pic" sz="quarter" idx="35" hasCustomPrompt="1"/>
          </p:nvPr>
        </p:nvSpPr>
        <p:spPr>
          <a:xfrm>
            <a:off x="4516532" y="1975610"/>
            <a:ext cx="3158933" cy="1862160"/>
          </a:xfrm>
          <a:custGeom>
            <a:avLst/>
            <a:gdLst>
              <a:gd name="connsiteX0" fmla="*/ 194345 w 3158933"/>
              <a:gd name="connsiteY0" fmla="*/ 0 h 1862160"/>
              <a:gd name="connsiteX1" fmla="*/ 881583 w 3158933"/>
              <a:gd name="connsiteY1" fmla="*/ 0 h 1862160"/>
              <a:gd name="connsiteX2" fmla="*/ 1013521 w 3158933"/>
              <a:gd name="connsiteY2" fmla="*/ 0 h 1862160"/>
              <a:gd name="connsiteX3" fmla="*/ 1520281 w 3158933"/>
              <a:gd name="connsiteY3" fmla="*/ 0 h 1862160"/>
              <a:gd name="connsiteX4" fmla="*/ 1850125 w 3158933"/>
              <a:gd name="connsiteY4" fmla="*/ 0 h 1862160"/>
              <a:gd name="connsiteX5" fmla="*/ 2066944 w 3158933"/>
              <a:gd name="connsiteY5" fmla="*/ 0 h 1862160"/>
              <a:gd name="connsiteX6" fmla="*/ 2488823 w 3158933"/>
              <a:gd name="connsiteY6" fmla="*/ 0 h 1862160"/>
              <a:gd name="connsiteX7" fmla="*/ 3158933 w 3158933"/>
              <a:gd name="connsiteY7" fmla="*/ 0 h 1862160"/>
              <a:gd name="connsiteX8" fmla="*/ 3158933 w 3158933"/>
              <a:gd name="connsiteY8" fmla="*/ 1862160 h 1862160"/>
              <a:gd name="connsiteX9" fmla="*/ 0 w 3158933"/>
              <a:gd name="connsiteY9" fmla="*/ 1862160 h 1862160"/>
              <a:gd name="connsiteX10" fmla="*/ 0 w 3158933"/>
              <a:gd name="connsiteY10" fmla="*/ 202051 h 1862160"/>
              <a:gd name="connsiteX11" fmla="*/ 20514 w 3158933"/>
              <a:gd name="connsiteY11" fmla="*/ 127831 h 1862160"/>
              <a:gd name="connsiteX12" fmla="*/ 124233 w 3158933"/>
              <a:gd name="connsiteY12" fmla="*/ 21405 h 1862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158933" h="1862160">
                <a:moveTo>
                  <a:pt x="194345" y="0"/>
                </a:moveTo>
                <a:lnTo>
                  <a:pt x="881583" y="0"/>
                </a:lnTo>
                <a:lnTo>
                  <a:pt x="1013521" y="0"/>
                </a:lnTo>
                <a:lnTo>
                  <a:pt x="1520281" y="0"/>
                </a:lnTo>
                <a:lnTo>
                  <a:pt x="1850125" y="0"/>
                </a:lnTo>
                <a:lnTo>
                  <a:pt x="2066944" y="0"/>
                </a:lnTo>
                <a:lnTo>
                  <a:pt x="2488823" y="0"/>
                </a:lnTo>
                <a:lnTo>
                  <a:pt x="3158933" y="0"/>
                </a:lnTo>
                <a:lnTo>
                  <a:pt x="3158933" y="1862160"/>
                </a:lnTo>
                <a:lnTo>
                  <a:pt x="0" y="1862160"/>
                </a:lnTo>
                <a:lnTo>
                  <a:pt x="0" y="202051"/>
                </a:lnTo>
                <a:lnTo>
                  <a:pt x="20514" y="127831"/>
                </a:lnTo>
                <a:cubicBezTo>
                  <a:pt x="42251" y="81806"/>
                  <a:pt x="78915" y="44263"/>
                  <a:pt x="124233" y="21405"/>
                </a:cubicBezTo>
                <a:close/>
              </a:path>
            </a:pathLst>
          </a:custGeom>
          <a:effectLst>
            <a:outerShdw blurRad="190500" dist="127000" dir="2700000" algn="tl" rotWithShape="0">
              <a:prstClr val="black">
                <a:alpha val="10000"/>
              </a:prstClr>
            </a:outerShdw>
          </a:effectLst>
        </p:spPr>
        <p:txBody>
          <a:bodyPr wrap="square">
            <a:noAutofit/>
          </a:bodyPr>
          <a:lstStyle>
            <a:lvl1pPr marL="285750" marR="0" indent="-285750" algn="l" defTabSz="1644650" rtl="0" eaLnBrk="0" fontAlgn="base" latinLnBrk="0" hangingPunct="0">
              <a:lnSpc>
                <a:spcPct val="130000"/>
              </a:lnSpc>
              <a:spcBef>
                <a:spcPct val="0"/>
              </a:spcBef>
              <a:spcAft>
                <a:spcPts val="1200"/>
              </a:spcAft>
              <a:buClr>
                <a:srgbClr val="004C99"/>
              </a:buClr>
              <a:buSzPct val="120000"/>
              <a:defRPr/>
            </a:lvl1pPr>
          </a:lstStyle>
          <a:p>
            <a:pPr marL="285750" marR="0" lvl="0" indent="-285750" algn="l" defTabSz="1644650" rtl="0" eaLnBrk="0" fontAlgn="base" latinLnBrk="0" hangingPunct="0">
              <a:lnSpc>
                <a:spcPct val="130000"/>
              </a:lnSpc>
              <a:spcBef>
                <a:spcPct val="0"/>
              </a:spcBef>
              <a:spcAft>
                <a:spcPts val="1200"/>
              </a:spcAft>
              <a:buClr>
                <a:srgbClr val="004C99"/>
              </a:buClr>
              <a:buSzPct val="120000"/>
              <a:defRPr/>
            </a:pPr>
            <a:r>
              <a:rPr lang="de-DE"/>
              <a:t>Please insert image</a:t>
            </a:r>
          </a:p>
        </p:txBody>
      </p:sp>
      <p:sp>
        <p:nvSpPr>
          <p:cNvPr id="21" name="Textplatzhalter 20">
            <a:extLst>
              <a:ext uri="{FF2B5EF4-FFF2-40B4-BE49-F238E27FC236}">
                <a16:creationId xmlns:a16="http://schemas.microsoft.com/office/drawing/2014/main" id="{5F3EDB82-BF92-4E53-8D00-C3C050C50A1D}"/>
              </a:ext>
            </a:extLst>
          </p:cNvPr>
          <p:cNvSpPr>
            <a:spLocks noGrp="1"/>
          </p:cNvSpPr>
          <p:nvPr>
            <p:ph type="body" sz="quarter" idx="36"/>
          </p:nvPr>
        </p:nvSpPr>
        <p:spPr>
          <a:xfrm>
            <a:off x="4516534" y="3837770"/>
            <a:ext cx="3158931" cy="2484481"/>
          </a:xfrm>
          <a:custGeom>
            <a:avLst/>
            <a:gdLst>
              <a:gd name="connsiteX0" fmla="*/ 0 w 3158931"/>
              <a:gd name="connsiteY0" fmla="*/ 0 h 2484481"/>
              <a:gd name="connsiteX1" fmla="*/ 3158931 w 3158931"/>
              <a:gd name="connsiteY1" fmla="*/ 0 h 2484481"/>
              <a:gd name="connsiteX2" fmla="*/ 3158931 w 3158931"/>
              <a:gd name="connsiteY2" fmla="*/ 707970 h 2484481"/>
              <a:gd name="connsiteX3" fmla="*/ 3158931 w 3158931"/>
              <a:gd name="connsiteY3" fmla="*/ 776703 h 2484481"/>
              <a:gd name="connsiteX4" fmla="*/ 3158931 w 3158931"/>
              <a:gd name="connsiteY4" fmla="*/ 1301689 h 2484481"/>
              <a:gd name="connsiteX5" fmla="*/ 3158931 w 3158931"/>
              <a:gd name="connsiteY5" fmla="*/ 1845783 h 2484481"/>
              <a:gd name="connsiteX6" fmla="*/ 3158931 w 3158931"/>
              <a:gd name="connsiteY6" fmla="*/ 2306376 h 2484481"/>
              <a:gd name="connsiteX7" fmla="*/ 3143709 w 3158931"/>
              <a:gd name="connsiteY7" fmla="*/ 2361450 h 2484481"/>
              <a:gd name="connsiteX8" fmla="*/ 3039991 w 3158931"/>
              <a:gd name="connsiteY8" fmla="*/ 2467875 h 2484481"/>
              <a:gd name="connsiteX9" fmla="*/ 2985597 w 3158931"/>
              <a:gd name="connsiteY9" fmla="*/ 2484481 h 2484481"/>
              <a:gd name="connsiteX10" fmla="*/ 2754522 w 3158931"/>
              <a:gd name="connsiteY10" fmla="*/ 2484481 h 2484481"/>
              <a:gd name="connsiteX11" fmla="*/ 2578821 w 3158931"/>
              <a:gd name="connsiteY11" fmla="*/ 2484481 h 2484481"/>
              <a:gd name="connsiteX12" fmla="*/ 2268752 w 3158931"/>
              <a:gd name="connsiteY12" fmla="*/ 2484481 h 2484481"/>
              <a:gd name="connsiteX13" fmla="*/ 1830635 w 3158931"/>
              <a:gd name="connsiteY13" fmla="*/ 2484481 h 2484481"/>
              <a:gd name="connsiteX14" fmla="*/ 1612062 w 3158931"/>
              <a:gd name="connsiteY14" fmla="*/ 2484481 h 2484481"/>
              <a:gd name="connsiteX15" fmla="*/ 1344865 w 3158931"/>
              <a:gd name="connsiteY15" fmla="*/ 2484481 h 2484481"/>
              <a:gd name="connsiteX16" fmla="*/ 923887 w 3158931"/>
              <a:gd name="connsiteY16" fmla="*/ 2484481 h 2484481"/>
              <a:gd name="connsiteX17" fmla="*/ 688175 w 3158931"/>
              <a:gd name="connsiteY17" fmla="*/ 2484481 h 2484481"/>
              <a:gd name="connsiteX18" fmla="*/ 0 w 3158931"/>
              <a:gd name="connsiteY18" fmla="*/ 2484481 h 2484481"/>
              <a:gd name="connsiteX19" fmla="*/ 0 w 3158931"/>
              <a:gd name="connsiteY19" fmla="*/ 1890762 h 2484481"/>
              <a:gd name="connsiteX20" fmla="*/ 0 w 3158931"/>
              <a:gd name="connsiteY20" fmla="*/ 1301689 h 2484481"/>
              <a:gd name="connsiteX21" fmla="*/ 0 w 3158931"/>
              <a:gd name="connsiteY21" fmla="*/ 821682 h 2484481"/>
              <a:gd name="connsiteX22" fmla="*/ 0 w 3158931"/>
              <a:gd name="connsiteY22" fmla="*/ 707970 h 248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158931" h="2484481">
                <a:moveTo>
                  <a:pt x="0" y="0"/>
                </a:moveTo>
                <a:lnTo>
                  <a:pt x="3158931" y="0"/>
                </a:lnTo>
                <a:lnTo>
                  <a:pt x="3158931" y="707970"/>
                </a:lnTo>
                <a:lnTo>
                  <a:pt x="3158931" y="776703"/>
                </a:lnTo>
                <a:lnTo>
                  <a:pt x="3158931" y="1301689"/>
                </a:lnTo>
                <a:lnTo>
                  <a:pt x="3158931" y="1845783"/>
                </a:lnTo>
                <a:lnTo>
                  <a:pt x="3158931" y="2306376"/>
                </a:lnTo>
                <a:lnTo>
                  <a:pt x="3143709" y="2361450"/>
                </a:lnTo>
                <a:cubicBezTo>
                  <a:pt x="3121973" y="2407474"/>
                  <a:pt x="3085308" y="2445018"/>
                  <a:pt x="3039991" y="2467875"/>
                </a:cubicBezTo>
                <a:lnTo>
                  <a:pt x="2985597" y="2484481"/>
                </a:lnTo>
                <a:lnTo>
                  <a:pt x="2754522" y="2484481"/>
                </a:lnTo>
                <a:lnTo>
                  <a:pt x="2578821" y="2484481"/>
                </a:lnTo>
                <a:lnTo>
                  <a:pt x="2268752" y="2484481"/>
                </a:lnTo>
                <a:lnTo>
                  <a:pt x="1830635" y="2484481"/>
                </a:lnTo>
                <a:lnTo>
                  <a:pt x="1612062" y="2484481"/>
                </a:lnTo>
                <a:lnTo>
                  <a:pt x="1344865" y="2484481"/>
                </a:lnTo>
                <a:lnTo>
                  <a:pt x="923887" y="2484481"/>
                </a:lnTo>
                <a:lnTo>
                  <a:pt x="688175" y="2484481"/>
                </a:lnTo>
                <a:lnTo>
                  <a:pt x="0" y="2484481"/>
                </a:lnTo>
                <a:lnTo>
                  <a:pt x="0" y="1890762"/>
                </a:lnTo>
                <a:lnTo>
                  <a:pt x="0" y="1301689"/>
                </a:lnTo>
                <a:lnTo>
                  <a:pt x="0" y="821682"/>
                </a:lnTo>
                <a:lnTo>
                  <a:pt x="0" y="707970"/>
                </a:lnTo>
                <a:close/>
              </a:path>
            </a:pathLst>
          </a:custGeom>
          <a:solidFill>
            <a:schemeClr val="bg1"/>
          </a:solidFill>
          <a:ln w="12700">
            <a:solidFill>
              <a:schemeClr val="accent3"/>
            </a:solidFill>
          </a:ln>
          <a:effectLst>
            <a:outerShdw blurRad="190500" dist="127000" dir="2700000" algn="tl" rotWithShape="0">
              <a:prstClr val="black">
                <a:alpha val="10000"/>
              </a:prstClr>
            </a:outerShdw>
          </a:effectLst>
        </p:spPr>
        <p:txBody>
          <a:bodyPr wrap="square" lIns="180000" tIns="180000" rIns="180000" bIns="180000" numCol="1" anchor="t" anchorCtr="0">
            <a:normAutofit/>
          </a:bodyPr>
          <a:lstStyle>
            <a:lvl1pPr marL="0" indent="0" algn="l">
              <a:buFontTx/>
              <a:buNone/>
              <a:defRPr i="0">
                <a:solidFill>
                  <a:schemeClr val="tx1"/>
                </a:solidFill>
                <a:latin typeface="+mn-lt"/>
                <a:ea typeface="Roboto Light italic" pitchFamily="2" charset="0"/>
              </a:defRPr>
            </a:lvl1pPr>
            <a:lvl2pPr algn="l">
              <a:defRPr>
                <a:solidFill>
                  <a:schemeClr val="tx1"/>
                </a:solidFill>
                <a:latin typeface="+mn-lt"/>
              </a:defRPr>
            </a:lvl2pPr>
            <a:lvl3pPr algn="l">
              <a:defRPr>
                <a:solidFill>
                  <a:schemeClr val="tx1"/>
                </a:solidFill>
                <a:latin typeface="+mn-lt"/>
              </a:defRPr>
            </a:lvl3pPr>
            <a:lvl4pPr algn="l">
              <a:defRPr>
                <a:solidFill>
                  <a:schemeClr val="tx1"/>
                </a:solidFill>
                <a:latin typeface="+mn-lt"/>
              </a:defRPr>
            </a:lvl4pPr>
            <a:lvl5pPr algn="l">
              <a:defRPr>
                <a:solidFill>
                  <a:schemeClr val="tx1"/>
                </a:solidFill>
                <a:latin typeface="+mn-lt"/>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6" name="Bildplatzhalter 15">
            <a:extLst>
              <a:ext uri="{FF2B5EF4-FFF2-40B4-BE49-F238E27FC236}">
                <a16:creationId xmlns:a16="http://schemas.microsoft.com/office/drawing/2014/main" id="{E0024AAB-8476-491F-AAD2-8357218F2D69}"/>
              </a:ext>
            </a:extLst>
          </p:cNvPr>
          <p:cNvSpPr>
            <a:spLocks noGrp="1"/>
          </p:cNvSpPr>
          <p:nvPr>
            <p:ph type="pic" sz="quarter" idx="39" hasCustomPrompt="1"/>
          </p:nvPr>
        </p:nvSpPr>
        <p:spPr>
          <a:xfrm>
            <a:off x="8217112" y="1975610"/>
            <a:ext cx="3158933" cy="1862160"/>
          </a:xfrm>
          <a:custGeom>
            <a:avLst/>
            <a:gdLst>
              <a:gd name="connsiteX0" fmla="*/ 189465 w 3158933"/>
              <a:gd name="connsiteY0" fmla="*/ 0 h 1862160"/>
              <a:gd name="connsiteX1" fmla="*/ 881583 w 3158933"/>
              <a:gd name="connsiteY1" fmla="*/ 0 h 1862160"/>
              <a:gd name="connsiteX2" fmla="*/ 1013521 w 3158933"/>
              <a:gd name="connsiteY2" fmla="*/ 0 h 1862160"/>
              <a:gd name="connsiteX3" fmla="*/ 1520281 w 3158933"/>
              <a:gd name="connsiteY3" fmla="*/ 0 h 1862160"/>
              <a:gd name="connsiteX4" fmla="*/ 1850125 w 3158933"/>
              <a:gd name="connsiteY4" fmla="*/ 0 h 1862160"/>
              <a:gd name="connsiteX5" fmla="*/ 2066944 w 3158933"/>
              <a:gd name="connsiteY5" fmla="*/ 0 h 1862160"/>
              <a:gd name="connsiteX6" fmla="*/ 2488823 w 3158933"/>
              <a:gd name="connsiteY6" fmla="*/ 0 h 1862160"/>
              <a:gd name="connsiteX7" fmla="*/ 3158933 w 3158933"/>
              <a:gd name="connsiteY7" fmla="*/ 0 h 1862160"/>
              <a:gd name="connsiteX8" fmla="*/ 3158933 w 3158933"/>
              <a:gd name="connsiteY8" fmla="*/ 1862160 h 1862160"/>
              <a:gd name="connsiteX9" fmla="*/ 0 w 3158933"/>
              <a:gd name="connsiteY9" fmla="*/ 1862160 h 1862160"/>
              <a:gd name="connsiteX10" fmla="*/ 0 w 3158933"/>
              <a:gd name="connsiteY10" fmla="*/ 184395 h 1862160"/>
              <a:gd name="connsiteX11" fmla="*/ 15634 w 3158933"/>
              <a:gd name="connsiteY11" fmla="*/ 127831 h 1862160"/>
              <a:gd name="connsiteX12" fmla="*/ 119353 w 3158933"/>
              <a:gd name="connsiteY12" fmla="*/ 21405 h 1862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158933" h="1862160">
                <a:moveTo>
                  <a:pt x="189465" y="0"/>
                </a:moveTo>
                <a:lnTo>
                  <a:pt x="881583" y="0"/>
                </a:lnTo>
                <a:lnTo>
                  <a:pt x="1013521" y="0"/>
                </a:lnTo>
                <a:lnTo>
                  <a:pt x="1520281" y="0"/>
                </a:lnTo>
                <a:lnTo>
                  <a:pt x="1850125" y="0"/>
                </a:lnTo>
                <a:lnTo>
                  <a:pt x="2066944" y="0"/>
                </a:lnTo>
                <a:lnTo>
                  <a:pt x="2488823" y="0"/>
                </a:lnTo>
                <a:lnTo>
                  <a:pt x="3158933" y="0"/>
                </a:lnTo>
                <a:lnTo>
                  <a:pt x="3158933" y="1862160"/>
                </a:lnTo>
                <a:lnTo>
                  <a:pt x="0" y="1862160"/>
                </a:lnTo>
                <a:lnTo>
                  <a:pt x="0" y="184395"/>
                </a:lnTo>
                <a:lnTo>
                  <a:pt x="15634" y="127831"/>
                </a:lnTo>
                <a:cubicBezTo>
                  <a:pt x="37371" y="81806"/>
                  <a:pt x="74035" y="44263"/>
                  <a:pt x="119353" y="21405"/>
                </a:cubicBezTo>
                <a:close/>
              </a:path>
            </a:pathLst>
          </a:custGeom>
          <a:effectLst>
            <a:outerShdw blurRad="190500" dist="127000" dir="2700000" algn="tl" rotWithShape="0">
              <a:prstClr val="black">
                <a:alpha val="10000"/>
              </a:prstClr>
            </a:outerShdw>
          </a:effectLst>
        </p:spPr>
        <p:txBody>
          <a:bodyPr wrap="square">
            <a:noAutofit/>
          </a:bodyPr>
          <a:lstStyle>
            <a:lvl1pPr marL="285750" marR="0" indent="-285750" algn="l" defTabSz="1644650" rtl="0" eaLnBrk="0" fontAlgn="base" latinLnBrk="0" hangingPunct="0">
              <a:lnSpc>
                <a:spcPct val="130000"/>
              </a:lnSpc>
              <a:spcBef>
                <a:spcPct val="0"/>
              </a:spcBef>
              <a:spcAft>
                <a:spcPts val="1200"/>
              </a:spcAft>
              <a:buClr>
                <a:srgbClr val="004C99"/>
              </a:buClr>
              <a:buSzPct val="120000"/>
              <a:defRPr/>
            </a:lvl1pPr>
          </a:lstStyle>
          <a:p>
            <a:pPr marL="285750" marR="0" lvl="0" indent="-285750" algn="l" defTabSz="1644650" rtl="0" eaLnBrk="0" fontAlgn="base" latinLnBrk="0" hangingPunct="0">
              <a:lnSpc>
                <a:spcPct val="130000"/>
              </a:lnSpc>
              <a:spcBef>
                <a:spcPct val="0"/>
              </a:spcBef>
              <a:spcAft>
                <a:spcPts val="1200"/>
              </a:spcAft>
              <a:buClr>
                <a:srgbClr val="004C99"/>
              </a:buClr>
              <a:buSzPct val="120000"/>
              <a:defRPr/>
            </a:pPr>
            <a:r>
              <a:rPr lang="de-DE"/>
              <a:t>Please insert image</a:t>
            </a:r>
          </a:p>
        </p:txBody>
      </p:sp>
      <p:sp>
        <p:nvSpPr>
          <p:cNvPr id="22" name="Textplatzhalter 21">
            <a:extLst>
              <a:ext uri="{FF2B5EF4-FFF2-40B4-BE49-F238E27FC236}">
                <a16:creationId xmlns:a16="http://schemas.microsoft.com/office/drawing/2014/main" id="{1AFB7EAB-A06A-4452-9AFF-BDD5C53545EF}"/>
              </a:ext>
            </a:extLst>
          </p:cNvPr>
          <p:cNvSpPr>
            <a:spLocks noGrp="1"/>
          </p:cNvSpPr>
          <p:nvPr>
            <p:ph type="body" sz="quarter" idx="40"/>
          </p:nvPr>
        </p:nvSpPr>
        <p:spPr>
          <a:xfrm>
            <a:off x="8217114" y="3837770"/>
            <a:ext cx="3158931" cy="2484481"/>
          </a:xfrm>
          <a:custGeom>
            <a:avLst/>
            <a:gdLst>
              <a:gd name="connsiteX0" fmla="*/ 0 w 3158931"/>
              <a:gd name="connsiteY0" fmla="*/ 0 h 2484481"/>
              <a:gd name="connsiteX1" fmla="*/ 3158931 w 3158931"/>
              <a:gd name="connsiteY1" fmla="*/ 0 h 2484481"/>
              <a:gd name="connsiteX2" fmla="*/ 3158931 w 3158931"/>
              <a:gd name="connsiteY2" fmla="*/ 707970 h 2484481"/>
              <a:gd name="connsiteX3" fmla="*/ 3158931 w 3158931"/>
              <a:gd name="connsiteY3" fmla="*/ 776703 h 2484481"/>
              <a:gd name="connsiteX4" fmla="*/ 3158931 w 3158931"/>
              <a:gd name="connsiteY4" fmla="*/ 1301689 h 2484481"/>
              <a:gd name="connsiteX5" fmla="*/ 3158931 w 3158931"/>
              <a:gd name="connsiteY5" fmla="*/ 1845783 h 2484481"/>
              <a:gd name="connsiteX6" fmla="*/ 3158931 w 3158931"/>
              <a:gd name="connsiteY6" fmla="*/ 2313298 h 2484481"/>
              <a:gd name="connsiteX7" fmla="*/ 3145622 w 3158931"/>
              <a:gd name="connsiteY7" fmla="*/ 2361450 h 2484481"/>
              <a:gd name="connsiteX8" fmla="*/ 3041903 w 3158931"/>
              <a:gd name="connsiteY8" fmla="*/ 2467875 h 2484481"/>
              <a:gd name="connsiteX9" fmla="*/ 2987510 w 3158931"/>
              <a:gd name="connsiteY9" fmla="*/ 2484481 h 2484481"/>
              <a:gd name="connsiteX10" fmla="*/ 2754522 w 3158931"/>
              <a:gd name="connsiteY10" fmla="*/ 2484481 h 2484481"/>
              <a:gd name="connsiteX11" fmla="*/ 2578821 w 3158931"/>
              <a:gd name="connsiteY11" fmla="*/ 2484481 h 2484481"/>
              <a:gd name="connsiteX12" fmla="*/ 2268752 w 3158931"/>
              <a:gd name="connsiteY12" fmla="*/ 2484481 h 2484481"/>
              <a:gd name="connsiteX13" fmla="*/ 1830635 w 3158931"/>
              <a:gd name="connsiteY13" fmla="*/ 2484481 h 2484481"/>
              <a:gd name="connsiteX14" fmla="*/ 1612062 w 3158931"/>
              <a:gd name="connsiteY14" fmla="*/ 2484481 h 2484481"/>
              <a:gd name="connsiteX15" fmla="*/ 1344865 w 3158931"/>
              <a:gd name="connsiteY15" fmla="*/ 2484481 h 2484481"/>
              <a:gd name="connsiteX16" fmla="*/ 923887 w 3158931"/>
              <a:gd name="connsiteY16" fmla="*/ 2484481 h 2484481"/>
              <a:gd name="connsiteX17" fmla="*/ 688175 w 3158931"/>
              <a:gd name="connsiteY17" fmla="*/ 2484481 h 2484481"/>
              <a:gd name="connsiteX18" fmla="*/ 0 w 3158931"/>
              <a:gd name="connsiteY18" fmla="*/ 2484481 h 2484481"/>
              <a:gd name="connsiteX19" fmla="*/ 0 w 3158931"/>
              <a:gd name="connsiteY19" fmla="*/ 1890762 h 2484481"/>
              <a:gd name="connsiteX20" fmla="*/ 0 w 3158931"/>
              <a:gd name="connsiteY20" fmla="*/ 1301689 h 2484481"/>
              <a:gd name="connsiteX21" fmla="*/ 0 w 3158931"/>
              <a:gd name="connsiteY21" fmla="*/ 821682 h 2484481"/>
              <a:gd name="connsiteX22" fmla="*/ 0 w 3158931"/>
              <a:gd name="connsiteY22" fmla="*/ 707970 h 248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158931" h="2484481">
                <a:moveTo>
                  <a:pt x="0" y="0"/>
                </a:moveTo>
                <a:lnTo>
                  <a:pt x="3158931" y="0"/>
                </a:lnTo>
                <a:lnTo>
                  <a:pt x="3158931" y="707970"/>
                </a:lnTo>
                <a:lnTo>
                  <a:pt x="3158931" y="776703"/>
                </a:lnTo>
                <a:lnTo>
                  <a:pt x="3158931" y="1301689"/>
                </a:lnTo>
                <a:lnTo>
                  <a:pt x="3158931" y="1845783"/>
                </a:lnTo>
                <a:lnTo>
                  <a:pt x="3158931" y="2313298"/>
                </a:lnTo>
                <a:lnTo>
                  <a:pt x="3145622" y="2361450"/>
                </a:lnTo>
                <a:cubicBezTo>
                  <a:pt x="3123886" y="2407474"/>
                  <a:pt x="3087221" y="2445018"/>
                  <a:pt x="3041903" y="2467875"/>
                </a:cubicBezTo>
                <a:lnTo>
                  <a:pt x="2987510" y="2484481"/>
                </a:lnTo>
                <a:lnTo>
                  <a:pt x="2754522" y="2484481"/>
                </a:lnTo>
                <a:lnTo>
                  <a:pt x="2578821" y="2484481"/>
                </a:lnTo>
                <a:lnTo>
                  <a:pt x="2268752" y="2484481"/>
                </a:lnTo>
                <a:lnTo>
                  <a:pt x="1830635" y="2484481"/>
                </a:lnTo>
                <a:lnTo>
                  <a:pt x="1612062" y="2484481"/>
                </a:lnTo>
                <a:lnTo>
                  <a:pt x="1344865" y="2484481"/>
                </a:lnTo>
                <a:lnTo>
                  <a:pt x="923887" y="2484481"/>
                </a:lnTo>
                <a:lnTo>
                  <a:pt x="688175" y="2484481"/>
                </a:lnTo>
                <a:lnTo>
                  <a:pt x="0" y="2484481"/>
                </a:lnTo>
                <a:lnTo>
                  <a:pt x="0" y="1890762"/>
                </a:lnTo>
                <a:lnTo>
                  <a:pt x="0" y="1301689"/>
                </a:lnTo>
                <a:lnTo>
                  <a:pt x="0" y="821682"/>
                </a:lnTo>
                <a:lnTo>
                  <a:pt x="0" y="707970"/>
                </a:lnTo>
                <a:close/>
              </a:path>
            </a:pathLst>
          </a:custGeom>
          <a:solidFill>
            <a:schemeClr val="bg1"/>
          </a:solidFill>
          <a:ln w="12700">
            <a:solidFill>
              <a:schemeClr val="accent3"/>
            </a:solidFill>
          </a:ln>
          <a:effectLst>
            <a:outerShdw blurRad="190500" dist="127000" dir="2700000" algn="tl" rotWithShape="0">
              <a:prstClr val="black">
                <a:alpha val="10000"/>
              </a:prstClr>
            </a:outerShdw>
          </a:effectLst>
        </p:spPr>
        <p:txBody>
          <a:bodyPr wrap="square" lIns="180000" tIns="180000" rIns="180000" bIns="180000" numCol="1" anchor="t" anchorCtr="0">
            <a:normAutofit/>
          </a:bodyPr>
          <a:lstStyle>
            <a:lvl1pPr marL="0" indent="0" algn="l">
              <a:buFontTx/>
              <a:buNone/>
              <a:defRPr i="0">
                <a:solidFill>
                  <a:schemeClr val="tx1"/>
                </a:solidFill>
                <a:latin typeface="+mn-lt"/>
                <a:ea typeface="Roboto Light italic" pitchFamily="2" charset="0"/>
              </a:defRPr>
            </a:lvl1pPr>
            <a:lvl2pPr algn="l">
              <a:defRPr>
                <a:solidFill>
                  <a:schemeClr val="tx1"/>
                </a:solidFill>
                <a:latin typeface="+mn-lt"/>
              </a:defRPr>
            </a:lvl2pPr>
            <a:lvl3pPr algn="l">
              <a:defRPr>
                <a:solidFill>
                  <a:schemeClr val="tx1"/>
                </a:solidFill>
                <a:latin typeface="+mn-lt"/>
              </a:defRPr>
            </a:lvl3pPr>
            <a:lvl4pPr algn="l">
              <a:defRPr>
                <a:solidFill>
                  <a:schemeClr val="tx1"/>
                </a:solidFill>
                <a:latin typeface="+mn-lt"/>
              </a:defRPr>
            </a:lvl4pPr>
            <a:lvl5pPr algn="l">
              <a:defRPr>
                <a:solidFill>
                  <a:schemeClr val="tx1"/>
                </a:solidFill>
                <a:latin typeface="+mn-lt"/>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83929583"/>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8" dur="1000" decel="10000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0-#ppt_w/2"/>
                                          </p:val>
                                        </p:tav>
                                        <p:tav tm="100000">
                                          <p:val>
                                            <p:strVal val="#ppt_x"/>
                                          </p:val>
                                        </p:tav>
                                      </p:tavLst>
                                    </p:anim>
                                    <p:anim calcmode="lin" valueType="num">
                                      <p:cBhvr additive="base">
                                        <p:cTn id="8" dur="1000" fill="hold"/>
                                        <p:tgtEl>
                                          <p:spTgt spid="2"/>
                                        </p:tgtEl>
                                        <p:attrNameLst>
                                          <p:attrName>ppt_y</p:attrName>
                                        </p:attrNameLst>
                                      </p:cBhvr>
                                      <p:tavLst>
                                        <p:tav tm="0">
                                          <p:val>
                                            <p:strVal val="#ppt_y"/>
                                          </p:val>
                                        </p:tav>
                                        <p:tav tm="100000">
                                          <p:val>
                                            <p:strVal val="#ppt_y"/>
                                          </p:val>
                                        </p:tav>
                                      </p:tavLst>
                                    </p:anim>
                                  </p:childTnLst>
                                </p:cTn>
                              </p:par>
                              <p:par>
                                <p:cTn id="9" presetID="2" presetClass="entr" presetSubtype="8" dur="1000" decel="100000" fill="hold" grpId="0" nodeType="withEffect">
                                  <p:stCondLst>
                                    <p:cond delay="250"/>
                                  </p:stCondLst>
                                  <p:childTnLst>
                                    <p:set>
                                      <p:cBhvr>
                                        <p:cTn id="10" dur="1" fill="hold">
                                          <p:stCondLst>
                                            <p:cond delay="0"/>
                                          </p:stCondLst>
                                        </p:cTn>
                                        <p:tgtEl>
                                          <p:spTgt spid="16"/>
                                        </p:tgtEl>
                                        <p:attrNameLst>
                                          <p:attrName>style.visibility</p:attrName>
                                        </p:attrNameLst>
                                      </p:cBhvr>
                                      <p:to>
                                        <p:strVal val="visible"/>
                                      </p:to>
                                    </p:set>
                                    <p:anim calcmode="lin" valueType="num">
                                      <p:cBhvr additive="base">
                                        <p:cTn id="11" dur="1000" fill="hold"/>
                                        <p:tgtEl>
                                          <p:spTgt spid="16"/>
                                        </p:tgtEl>
                                        <p:attrNameLst>
                                          <p:attrName>ppt_x</p:attrName>
                                        </p:attrNameLst>
                                      </p:cBhvr>
                                      <p:tavLst>
                                        <p:tav tm="0">
                                          <p:val>
                                            <p:strVal val="0-#ppt_w/2"/>
                                          </p:val>
                                        </p:tav>
                                        <p:tav tm="100000">
                                          <p:val>
                                            <p:strVal val="#ppt_x"/>
                                          </p:val>
                                        </p:tav>
                                      </p:tavLst>
                                    </p:anim>
                                    <p:anim calcmode="lin" valueType="num">
                                      <p:cBhvr additive="base">
                                        <p:cTn id="12" dur="1000" fill="hold"/>
                                        <p:tgtEl>
                                          <p:spTgt spid="16"/>
                                        </p:tgtEl>
                                        <p:attrNameLst>
                                          <p:attrName>ppt_y</p:attrName>
                                        </p:attrNameLst>
                                      </p:cBhvr>
                                      <p:tavLst>
                                        <p:tav tm="0">
                                          <p:val>
                                            <p:strVal val="#ppt_y"/>
                                          </p:val>
                                        </p:tav>
                                        <p:tav tm="100000">
                                          <p:val>
                                            <p:strVal val="#ppt_y"/>
                                          </p:val>
                                        </p:tav>
                                      </p:tavLst>
                                    </p:anim>
                                  </p:childTnLst>
                                </p:cTn>
                              </p:par>
                              <p:par>
                                <p:cTn id="13" presetID="2" presetClass="entr" presetSubtype="8" dur="1000" decel="100000" fill="hold" grpId="0" nodeType="withEffect">
                                  <p:stCondLst>
                                    <p:cond delay="250"/>
                                  </p:stCondLst>
                                  <p:childTnLst>
                                    <p:set>
                                      <p:cBhvr>
                                        <p:cTn id="14" dur="1" fill="hold">
                                          <p:stCondLst>
                                            <p:cond delay="0"/>
                                          </p:stCondLst>
                                        </p:cTn>
                                        <p:tgtEl>
                                          <p:spTgt spid="22"/>
                                        </p:tgtEl>
                                        <p:attrNameLst>
                                          <p:attrName>style.visibility</p:attrName>
                                        </p:attrNameLst>
                                      </p:cBhvr>
                                      <p:to>
                                        <p:strVal val="visible"/>
                                      </p:to>
                                    </p:set>
                                    <p:anim calcmode="lin" valueType="num">
                                      <p:cBhvr additive="base">
                                        <p:cTn id="15" dur="1000" fill="hold"/>
                                        <p:tgtEl>
                                          <p:spTgt spid="22"/>
                                        </p:tgtEl>
                                        <p:attrNameLst>
                                          <p:attrName>ppt_x</p:attrName>
                                        </p:attrNameLst>
                                      </p:cBhvr>
                                      <p:tavLst>
                                        <p:tav tm="0">
                                          <p:val>
                                            <p:strVal val="0-#ppt_w/2"/>
                                          </p:val>
                                        </p:tav>
                                        <p:tav tm="100000">
                                          <p:val>
                                            <p:strVal val="#ppt_x"/>
                                          </p:val>
                                        </p:tav>
                                      </p:tavLst>
                                    </p:anim>
                                    <p:anim calcmode="lin" valueType="num">
                                      <p:cBhvr additive="base">
                                        <p:cTn id="16" dur="1000" fill="hold"/>
                                        <p:tgtEl>
                                          <p:spTgt spid="22"/>
                                        </p:tgtEl>
                                        <p:attrNameLst>
                                          <p:attrName>ppt_y</p:attrName>
                                        </p:attrNameLst>
                                      </p:cBhvr>
                                      <p:tavLst>
                                        <p:tav tm="0">
                                          <p:val>
                                            <p:strVal val="#ppt_y"/>
                                          </p:val>
                                        </p:tav>
                                        <p:tav tm="100000">
                                          <p:val>
                                            <p:strVal val="#ppt_y"/>
                                          </p:val>
                                        </p:tav>
                                      </p:tavLst>
                                    </p:anim>
                                  </p:childTnLst>
                                </p:cTn>
                              </p:par>
                              <p:par>
                                <p:cTn id="17" presetID="2" presetClass="entr" presetSubtype="8" dur="1000" decel="100000" fill="hold" grpId="0" nodeType="withEffect">
                                  <p:stCondLst>
                                    <p:cond delay="500"/>
                                  </p:stCondLst>
                                  <p:childTnLst>
                                    <p:set>
                                      <p:cBhvr>
                                        <p:cTn id="18" dur="1" fill="hold">
                                          <p:stCondLst>
                                            <p:cond delay="0"/>
                                          </p:stCondLst>
                                        </p:cTn>
                                        <p:tgtEl>
                                          <p:spTgt spid="15"/>
                                        </p:tgtEl>
                                        <p:attrNameLst>
                                          <p:attrName>style.visibility</p:attrName>
                                        </p:attrNameLst>
                                      </p:cBhvr>
                                      <p:to>
                                        <p:strVal val="visible"/>
                                      </p:to>
                                    </p:set>
                                    <p:anim calcmode="lin" valueType="num">
                                      <p:cBhvr additive="base">
                                        <p:cTn id="19" dur="1000" fill="hold"/>
                                        <p:tgtEl>
                                          <p:spTgt spid="15"/>
                                        </p:tgtEl>
                                        <p:attrNameLst>
                                          <p:attrName>ppt_x</p:attrName>
                                        </p:attrNameLst>
                                      </p:cBhvr>
                                      <p:tavLst>
                                        <p:tav tm="0">
                                          <p:val>
                                            <p:strVal val="0-#ppt_w/2"/>
                                          </p:val>
                                        </p:tav>
                                        <p:tav tm="100000">
                                          <p:val>
                                            <p:strVal val="#ppt_x"/>
                                          </p:val>
                                        </p:tav>
                                      </p:tavLst>
                                    </p:anim>
                                    <p:anim calcmode="lin" valueType="num">
                                      <p:cBhvr additive="base">
                                        <p:cTn id="20" dur="1000" fill="hold"/>
                                        <p:tgtEl>
                                          <p:spTgt spid="15"/>
                                        </p:tgtEl>
                                        <p:attrNameLst>
                                          <p:attrName>ppt_y</p:attrName>
                                        </p:attrNameLst>
                                      </p:cBhvr>
                                      <p:tavLst>
                                        <p:tav tm="0">
                                          <p:val>
                                            <p:strVal val="#ppt_y"/>
                                          </p:val>
                                        </p:tav>
                                        <p:tav tm="100000">
                                          <p:val>
                                            <p:strVal val="#ppt_y"/>
                                          </p:val>
                                        </p:tav>
                                      </p:tavLst>
                                    </p:anim>
                                  </p:childTnLst>
                                </p:cTn>
                              </p:par>
                              <p:par>
                                <p:cTn id="21" presetID="2" presetClass="entr" presetSubtype="8" dur="1000" decel="100000" fill="hold" grpId="0" nodeType="withEffect">
                                  <p:stCondLst>
                                    <p:cond delay="500"/>
                                  </p:stCondLst>
                                  <p:childTnLst>
                                    <p:set>
                                      <p:cBhvr>
                                        <p:cTn id="22" dur="1" fill="hold">
                                          <p:stCondLst>
                                            <p:cond delay="0"/>
                                          </p:stCondLst>
                                        </p:cTn>
                                        <p:tgtEl>
                                          <p:spTgt spid="21"/>
                                        </p:tgtEl>
                                        <p:attrNameLst>
                                          <p:attrName>style.visibility</p:attrName>
                                        </p:attrNameLst>
                                      </p:cBhvr>
                                      <p:to>
                                        <p:strVal val="visible"/>
                                      </p:to>
                                    </p:set>
                                    <p:anim calcmode="lin" valueType="num">
                                      <p:cBhvr additive="base">
                                        <p:cTn id="23" dur="1000" fill="hold"/>
                                        <p:tgtEl>
                                          <p:spTgt spid="21"/>
                                        </p:tgtEl>
                                        <p:attrNameLst>
                                          <p:attrName>ppt_x</p:attrName>
                                        </p:attrNameLst>
                                      </p:cBhvr>
                                      <p:tavLst>
                                        <p:tav tm="0">
                                          <p:val>
                                            <p:strVal val="0-#ppt_w/2"/>
                                          </p:val>
                                        </p:tav>
                                        <p:tav tm="100000">
                                          <p:val>
                                            <p:strVal val="#ppt_x"/>
                                          </p:val>
                                        </p:tav>
                                      </p:tavLst>
                                    </p:anim>
                                    <p:anim calcmode="lin" valueType="num">
                                      <p:cBhvr additive="base">
                                        <p:cTn id="24" dur="1000" fill="hold"/>
                                        <p:tgtEl>
                                          <p:spTgt spid="21"/>
                                        </p:tgtEl>
                                        <p:attrNameLst>
                                          <p:attrName>ppt_y</p:attrName>
                                        </p:attrNameLst>
                                      </p:cBhvr>
                                      <p:tavLst>
                                        <p:tav tm="0">
                                          <p:val>
                                            <p:strVal val="#ppt_y"/>
                                          </p:val>
                                        </p:tav>
                                        <p:tav tm="100000">
                                          <p:val>
                                            <p:strVal val="#ppt_y"/>
                                          </p:val>
                                        </p:tav>
                                      </p:tavLst>
                                    </p:anim>
                                  </p:childTnLst>
                                </p:cTn>
                              </p:par>
                              <p:par>
                                <p:cTn id="25" presetID="2" presetClass="entr" presetSubtype="8" dur="1000" decel="100000" fill="hold" grpId="0" nodeType="withEffect">
                                  <p:stCondLst>
                                    <p:cond delay="750"/>
                                  </p:stCondLst>
                                  <p:childTnLst>
                                    <p:set>
                                      <p:cBhvr>
                                        <p:cTn id="26" dur="1" fill="hold">
                                          <p:stCondLst>
                                            <p:cond delay="0"/>
                                          </p:stCondLst>
                                        </p:cTn>
                                        <p:tgtEl>
                                          <p:spTgt spid="14"/>
                                        </p:tgtEl>
                                        <p:attrNameLst>
                                          <p:attrName>style.visibility</p:attrName>
                                        </p:attrNameLst>
                                      </p:cBhvr>
                                      <p:to>
                                        <p:strVal val="visible"/>
                                      </p:to>
                                    </p:set>
                                    <p:anim calcmode="lin" valueType="num">
                                      <p:cBhvr additive="base">
                                        <p:cTn id="27" dur="1000" fill="hold"/>
                                        <p:tgtEl>
                                          <p:spTgt spid="14"/>
                                        </p:tgtEl>
                                        <p:attrNameLst>
                                          <p:attrName>ppt_x</p:attrName>
                                        </p:attrNameLst>
                                      </p:cBhvr>
                                      <p:tavLst>
                                        <p:tav tm="0">
                                          <p:val>
                                            <p:strVal val="0-#ppt_w/2"/>
                                          </p:val>
                                        </p:tav>
                                        <p:tav tm="100000">
                                          <p:val>
                                            <p:strVal val="#ppt_x"/>
                                          </p:val>
                                        </p:tav>
                                      </p:tavLst>
                                    </p:anim>
                                    <p:anim calcmode="lin" valueType="num">
                                      <p:cBhvr additive="base">
                                        <p:cTn id="28" dur="1000" fill="hold"/>
                                        <p:tgtEl>
                                          <p:spTgt spid="14"/>
                                        </p:tgtEl>
                                        <p:attrNameLst>
                                          <p:attrName>ppt_y</p:attrName>
                                        </p:attrNameLst>
                                      </p:cBhvr>
                                      <p:tavLst>
                                        <p:tav tm="0">
                                          <p:val>
                                            <p:strVal val="#ppt_y"/>
                                          </p:val>
                                        </p:tav>
                                        <p:tav tm="100000">
                                          <p:val>
                                            <p:strVal val="#ppt_y"/>
                                          </p:val>
                                        </p:tav>
                                      </p:tavLst>
                                    </p:anim>
                                  </p:childTnLst>
                                </p:cTn>
                              </p:par>
                              <p:par>
                                <p:cTn id="29" presetID="2" presetClass="entr" presetSubtype="8" dur="1000" decel="100000" fill="hold" grpId="0" nodeType="withEffect">
                                  <p:stCondLst>
                                    <p:cond delay="750"/>
                                  </p:stCondLst>
                                  <p:childTnLst>
                                    <p:set>
                                      <p:cBhvr>
                                        <p:cTn id="30" dur="1" fill="hold">
                                          <p:stCondLst>
                                            <p:cond delay="0"/>
                                          </p:stCondLst>
                                        </p:cTn>
                                        <p:tgtEl>
                                          <p:spTgt spid="20"/>
                                        </p:tgtEl>
                                        <p:attrNameLst>
                                          <p:attrName>style.visibility</p:attrName>
                                        </p:attrNameLst>
                                      </p:cBhvr>
                                      <p:to>
                                        <p:strVal val="visible"/>
                                      </p:to>
                                    </p:set>
                                    <p:anim calcmode="lin" valueType="num">
                                      <p:cBhvr additive="base">
                                        <p:cTn id="31" dur="1000" fill="hold"/>
                                        <p:tgtEl>
                                          <p:spTgt spid="20"/>
                                        </p:tgtEl>
                                        <p:attrNameLst>
                                          <p:attrName>ppt_x</p:attrName>
                                        </p:attrNameLst>
                                      </p:cBhvr>
                                      <p:tavLst>
                                        <p:tav tm="0">
                                          <p:val>
                                            <p:strVal val="0-#ppt_w/2"/>
                                          </p:val>
                                        </p:tav>
                                        <p:tav tm="100000">
                                          <p:val>
                                            <p:strVal val="#ppt_x"/>
                                          </p:val>
                                        </p:tav>
                                      </p:tavLst>
                                    </p:anim>
                                    <p:anim calcmode="lin" valueType="num">
                                      <p:cBhvr additive="base">
                                        <p:cTn id="32" dur="1000" fill="hold"/>
                                        <p:tgtEl>
                                          <p:spTgt spid="2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4" grpId="0"/>
      <p:bldP spid="20" grpId="0" animBg="1">
        <p:tmplLst>
          <p:tmpl>
            <p:tnLst>
              <p:par>
                <p:cTn presetID="2" presetClass="entr" presetSubtype="8" decel="100000" fill="hold" nodeType="withEffect">
                  <p:stCondLst>
                    <p:cond delay="750"/>
                  </p:stCondLst>
                  <p:childTnLst>
                    <p:set>
                      <p:cBhvr>
                        <p:cTn dur="1" fill="hold">
                          <p:stCondLst>
                            <p:cond delay="0"/>
                          </p:stCondLst>
                        </p:cTn>
                        <p:tgtEl>
                          <p:spTgt spid="20"/>
                        </p:tgtEl>
                        <p:attrNameLst>
                          <p:attrName>style.visibility</p:attrName>
                        </p:attrNameLst>
                      </p:cBhvr>
                      <p:to>
                        <p:strVal val="visible"/>
                      </p:to>
                    </p:set>
                    <p:anim calcmode="lin" valueType="num">
                      <p:cBhvr additive="base">
                        <p:cTn dur="1000" fill="hold"/>
                        <p:tgtEl>
                          <p:spTgt spid="20"/>
                        </p:tgtEl>
                        <p:attrNameLst>
                          <p:attrName>ppt_x</p:attrName>
                        </p:attrNameLst>
                      </p:cBhvr>
                      <p:tavLst>
                        <p:tav tm="0">
                          <p:val>
                            <p:strVal val="0-#ppt_w/2"/>
                          </p:val>
                        </p:tav>
                        <p:tav tm="100000">
                          <p:val>
                            <p:strVal val="#ppt_x"/>
                          </p:val>
                        </p:tav>
                      </p:tavLst>
                    </p:anim>
                    <p:anim calcmode="lin" valueType="num">
                      <p:cBhvr additive="base">
                        <p:cTn dur="1000" fill="hold"/>
                        <p:tgtEl>
                          <p:spTgt spid="20"/>
                        </p:tgtEl>
                        <p:attrNameLst>
                          <p:attrName>ppt_y</p:attrName>
                        </p:attrNameLst>
                      </p:cBhvr>
                      <p:tavLst>
                        <p:tav tm="0">
                          <p:val>
                            <p:strVal val="#ppt_y"/>
                          </p:val>
                        </p:tav>
                        <p:tav tm="100000">
                          <p:val>
                            <p:strVal val="#ppt_y"/>
                          </p:val>
                        </p:tav>
                      </p:tavLst>
                    </p:anim>
                  </p:childTnLst>
                </p:cTn>
              </p:par>
            </p:tnLst>
          </p:tmpl>
        </p:tmplLst>
      </p:bldP>
      <p:bldP spid="15" grpId="0"/>
      <p:bldP spid="21" grpId="0" animBg="1">
        <p:tmplLst>
          <p:tmpl>
            <p:tnLst>
              <p:par>
                <p:cTn presetID="2" presetClass="entr" presetSubtype="8" decel="100000" fill="hold" nodeType="withEffect">
                  <p:stCondLst>
                    <p:cond delay="500"/>
                  </p:stCondLst>
                  <p:childTnLst>
                    <p:set>
                      <p:cBhvr>
                        <p:cTn dur="1" fill="hold">
                          <p:stCondLst>
                            <p:cond delay="0"/>
                          </p:stCondLst>
                        </p:cTn>
                        <p:tgtEl>
                          <p:spTgt spid="21"/>
                        </p:tgtEl>
                        <p:attrNameLst>
                          <p:attrName>style.visibility</p:attrName>
                        </p:attrNameLst>
                      </p:cBhvr>
                      <p:to>
                        <p:strVal val="visible"/>
                      </p:to>
                    </p:set>
                    <p:anim calcmode="lin" valueType="num">
                      <p:cBhvr additive="base">
                        <p:cTn dur="1000" fill="hold"/>
                        <p:tgtEl>
                          <p:spTgt spid="21"/>
                        </p:tgtEl>
                        <p:attrNameLst>
                          <p:attrName>ppt_x</p:attrName>
                        </p:attrNameLst>
                      </p:cBhvr>
                      <p:tavLst>
                        <p:tav tm="0">
                          <p:val>
                            <p:strVal val="0-#ppt_w/2"/>
                          </p:val>
                        </p:tav>
                        <p:tav tm="100000">
                          <p:val>
                            <p:strVal val="#ppt_x"/>
                          </p:val>
                        </p:tav>
                      </p:tavLst>
                    </p:anim>
                    <p:anim calcmode="lin" valueType="num">
                      <p:cBhvr additive="base">
                        <p:cTn dur="1000" fill="hold"/>
                        <p:tgtEl>
                          <p:spTgt spid="21"/>
                        </p:tgtEl>
                        <p:attrNameLst>
                          <p:attrName>ppt_y</p:attrName>
                        </p:attrNameLst>
                      </p:cBhvr>
                      <p:tavLst>
                        <p:tav tm="0">
                          <p:val>
                            <p:strVal val="#ppt_y"/>
                          </p:val>
                        </p:tav>
                        <p:tav tm="100000">
                          <p:val>
                            <p:strVal val="#ppt_y"/>
                          </p:val>
                        </p:tav>
                      </p:tavLst>
                    </p:anim>
                  </p:childTnLst>
                </p:cTn>
              </p:par>
            </p:tnLst>
          </p:tmpl>
        </p:tmplLst>
      </p:bldP>
      <p:bldP spid="16" grpId="0"/>
      <p:bldP spid="22" grpId="0" animBg="1">
        <p:tmplLst>
          <p:tmpl>
            <p:tnLst>
              <p:par>
                <p:cTn presetID="2" presetClass="entr" presetSubtype="8" decel="100000" fill="hold" nodeType="withEffect">
                  <p:stCondLst>
                    <p:cond delay="250"/>
                  </p:stCondLst>
                  <p:childTnLst>
                    <p:set>
                      <p:cBhvr>
                        <p:cTn dur="1" fill="hold">
                          <p:stCondLst>
                            <p:cond delay="0"/>
                          </p:stCondLst>
                        </p:cTn>
                        <p:tgtEl>
                          <p:spTgt spid="22"/>
                        </p:tgtEl>
                        <p:attrNameLst>
                          <p:attrName>style.visibility</p:attrName>
                        </p:attrNameLst>
                      </p:cBhvr>
                      <p:to>
                        <p:strVal val="visible"/>
                      </p:to>
                    </p:set>
                    <p:anim calcmode="lin" valueType="num">
                      <p:cBhvr additive="base">
                        <p:cTn dur="1000" fill="hold"/>
                        <p:tgtEl>
                          <p:spTgt spid="22"/>
                        </p:tgtEl>
                        <p:attrNameLst>
                          <p:attrName>ppt_x</p:attrName>
                        </p:attrNameLst>
                      </p:cBhvr>
                      <p:tavLst>
                        <p:tav tm="0">
                          <p:val>
                            <p:strVal val="0-#ppt_w/2"/>
                          </p:val>
                        </p:tav>
                        <p:tav tm="100000">
                          <p:val>
                            <p:strVal val="#ppt_x"/>
                          </p:val>
                        </p:tav>
                      </p:tavLst>
                    </p:anim>
                    <p:anim calcmode="lin" valueType="num">
                      <p:cBhvr additive="base">
                        <p:cTn dur="1000" fill="hold"/>
                        <p:tgtEl>
                          <p:spTgt spid="22"/>
                        </p:tgtEl>
                        <p:attrNameLst>
                          <p:attrName>ppt_y</p:attrName>
                        </p:attrNameLst>
                      </p:cBhvr>
                      <p:tavLst>
                        <p:tav tm="0">
                          <p:val>
                            <p:strVal val="#ppt_y"/>
                          </p:val>
                        </p:tav>
                        <p:tav tm="100000">
                          <p:val>
                            <p:strVal val="#ppt_y"/>
                          </p:val>
                        </p:tav>
                      </p:tavLst>
                    </p:anim>
                  </p:childTnLst>
                </p:cTn>
              </p:par>
            </p:tnLst>
          </p:tmpl>
        </p:tmplLst>
      </p:bldP>
    </p:bldLst>
  </p:timing>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3 TEXT PLACEHOLDER with arrow">
    <p:spTree>
      <p:nvGrpSpPr>
        <p:cNvPr id="1" name=""/>
        <p:cNvGrpSpPr/>
        <p:nvPr/>
      </p:nvGrpSpPr>
      <p:grpSpPr>
        <a:xfrm>
          <a:off x="0" y="0"/>
          <a:ext cx="0" cy="0"/>
          <a:chOff x="0" y="0"/>
          <a:chExt cx="0" cy="0"/>
        </a:xfrm>
      </p:grpSpPr>
      <p:sp>
        <p:nvSpPr>
          <p:cNvPr id="44" name="Freihandform: Form 43">
            <a:extLst>
              <a:ext uri="{FF2B5EF4-FFF2-40B4-BE49-F238E27FC236}">
                <a16:creationId xmlns:a16="http://schemas.microsoft.com/office/drawing/2014/main" id="{5AB03B7D-630C-475D-827B-A5F0693756DD}"/>
              </a:ext>
            </a:extLst>
          </p:cNvPr>
          <p:cNvSpPr/>
          <p:nvPr userDrawn="1"/>
        </p:nvSpPr>
        <p:spPr>
          <a:xfrm>
            <a:off x="2362200" y="1975611"/>
            <a:ext cx="9829800" cy="4882390"/>
          </a:xfrm>
          <a:custGeom>
            <a:avLst/>
            <a:gdLst>
              <a:gd name="connsiteX0" fmla="*/ 910059 w 9829800"/>
              <a:gd name="connsiteY0" fmla="*/ 0 h 4882390"/>
              <a:gd name="connsiteX1" fmla="*/ 3015085 w 9829800"/>
              <a:gd name="connsiteY1" fmla="*/ 0 h 4882390"/>
              <a:gd name="connsiteX2" fmla="*/ 7981950 w 9829800"/>
              <a:gd name="connsiteY2" fmla="*/ 0 h 4882390"/>
              <a:gd name="connsiteX3" fmla="*/ 9829800 w 9829800"/>
              <a:gd name="connsiteY3" fmla="*/ 0 h 4882390"/>
              <a:gd name="connsiteX4" fmla="*/ 9829800 w 9829800"/>
              <a:gd name="connsiteY4" fmla="*/ 4882390 h 4882390"/>
              <a:gd name="connsiteX5" fmla="*/ 7981950 w 9829800"/>
              <a:gd name="connsiteY5" fmla="*/ 4882390 h 4882390"/>
              <a:gd name="connsiteX6" fmla="*/ 2183098 w 9829800"/>
              <a:gd name="connsiteY6" fmla="*/ 4882390 h 4882390"/>
              <a:gd name="connsiteX7" fmla="*/ 78072 w 9829800"/>
              <a:gd name="connsiteY7" fmla="*/ 4882390 h 4882390"/>
              <a:gd name="connsiteX8" fmla="*/ 0 w 9829800"/>
              <a:gd name="connsiteY8" fmla="*/ 4804318 h 4882390"/>
              <a:gd name="connsiteX9" fmla="*/ 831987 w 9829800"/>
              <a:gd name="connsiteY9" fmla="*/ 78072 h 4882390"/>
              <a:gd name="connsiteX10" fmla="*/ 910059 w 9829800"/>
              <a:gd name="connsiteY10" fmla="*/ 0 h 4882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829800" h="4882390">
                <a:moveTo>
                  <a:pt x="910059" y="0"/>
                </a:moveTo>
                <a:lnTo>
                  <a:pt x="3015085" y="0"/>
                </a:lnTo>
                <a:lnTo>
                  <a:pt x="7981950" y="0"/>
                </a:lnTo>
                <a:lnTo>
                  <a:pt x="9829800" y="0"/>
                </a:lnTo>
                <a:lnTo>
                  <a:pt x="9829800" y="4882390"/>
                </a:lnTo>
                <a:lnTo>
                  <a:pt x="7981950" y="4882390"/>
                </a:lnTo>
                <a:lnTo>
                  <a:pt x="2183098" y="4882390"/>
                </a:lnTo>
                <a:lnTo>
                  <a:pt x="78072" y="4882390"/>
                </a:lnTo>
                <a:cubicBezTo>
                  <a:pt x="34957" y="4882390"/>
                  <a:pt x="0" y="4847433"/>
                  <a:pt x="0" y="4804318"/>
                </a:cubicBezTo>
                <a:lnTo>
                  <a:pt x="831987" y="78072"/>
                </a:lnTo>
                <a:cubicBezTo>
                  <a:pt x="831987" y="34957"/>
                  <a:pt x="866945" y="0"/>
                  <a:pt x="910059" y="0"/>
                </a:cubicBezTo>
                <a:close/>
              </a:path>
            </a:pathLst>
          </a:custGeom>
          <a:gradFill>
            <a:gsLst>
              <a:gs pos="0">
                <a:schemeClr val="bg1"/>
              </a:gs>
              <a:gs pos="95000">
                <a:srgbClr val="ECF0F4"/>
              </a:gs>
            </a:gsLst>
            <a:lin ang="5400000" scaled="1"/>
          </a:gradFill>
          <a:ln w="11652" cap="flat">
            <a:noFill/>
            <a:prstDash val="solid"/>
            <a:miter/>
          </a:ln>
        </p:spPr>
        <p:txBody>
          <a:bodyPr rtlCol="0" anchor="ctr"/>
          <a:lstStyle/>
          <a:p>
            <a:endParaRPr lang="de-DE"/>
          </a:p>
        </p:txBody>
      </p:sp>
      <p:sp>
        <p:nvSpPr>
          <p:cNvPr id="2" name="Titel 1">
            <a:extLst>
              <a:ext uri="{FF2B5EF4-FFF2-40B4-BE49-F238E27FC236}">
                <a16:creationId xmlns:a16="http://schemas.microsoft.com/office/drawing/2014/main" id="{0526DC72-FA1D-422D-8055-3374742D122B}"/>
              </a:ext>
            </a:extLst>
          </p:cNvPr>
          <p:cNvSpPr>
            <a:spLocks noGrp="1"/>
          </p:cNvSpPr>
          <p:nvPr>
            <p:ph type="title"/>
          </p:nvPr>
        </p:nvSpPr>
        <p:spPr/>
        <p:txBody>
          <a:bodyPr/>
          <a:lstStyle>
            <a:lvl1pPr>
              <a:lnSpc>
                <a:spcPct val="100000"/>
              </a:lnSpc>
              <a:defRPr/>
            </a:lvl1pPr>
          </a:lstStyle>
          <a:p>
            <a:r>
              <a:rPr lang="de-DE"/>
              <a:t>Mastertitelformat bearbeiten</a:t>
            </a:r>
          </a:p>
        </p:txBody>
      </p:sp>
      <p:sp>
        <p:nvSpPr>
          <p:cNvPr id="3" name="Foliennummernplatzhalter 2">
            <a:extLst>
              <a:ext uri="{FF2B5EF4-FFF2-40B4-BE49-F238E27FC236}">
                <a16:creationId xmlns:a16="http://schemas.microsoft.com/office/drawing/2014/main" id="{5B327254-466C-4606-8589-BCC72CBDADDF}"/>
              </a:ext>
            </a:extLst>
          </p:cNvPr>
          <p:cNvSpPr>
            <a:spLocks noGrp="1"/>
          </p:cNvSpPr>
          <p:nvPr>
            <p:ph type="sldNum" sz="quarter" idx="10"/>
          </p:nvPr>
        </p:nvSpPr>
        <p:spPr/>
        <p:txBody>
          <a:bodyPr/>
          <a:lstStyle/>
          <a:p>
            <a:fld id="{A04BEB4F-8CE1-4F18-986F-6CE0A0BE9470}" type="slidenum">
              <a:rPr lang="de-DE" smtClean="0"/>
              <a:t>‹#›</a:t>
            </a:fld>
            <a:endParaRPr lang="de-DE"/>
          </a:p>
        </p:txBody>
      </p:sp>
      <p:sp>
        <p:nvSpPr>
          <p:cNvPr id="12" name="Textplatzhalter 16">
            <a:extLst>
              <a:ext uri="{FF2B5EF4-FFF2-40B4-BE49-F238E27FC236}">
                <a16:creationId xmlns:a16="http://schemas.microsoft.com/office/drawing/2014/main" id="{E8979402-175E-4E4E-8B33-074C7D26C256}"/>
              </a:ext>
            </a:extLst>
          </p:cNvPr>
          <p:cNvSpPr>
            <a:spLocks noGrp="1"/>
          </p:cNvSpPr>
          <p:nvPr>
            <p:ph type="body" sz="quarter" idx="11" hasCustomPrompt="1"/>
          </p:nvPr>
        </p:nvSpPr>
        <p:spPr>
          <a:xfrm>
            <a:off x="815951" y="2766184"/>
            <a:ext cx="2880000" cy="3425046"/>
          </a:xfrm>
        </p:spPr>
        <p:txBody>
          <a:bodyPr>
            <a:normAutofit/>
          </a:bodyPr>
          <a:lstStyle>
            <a:lvl1pPr marL="0" indent="0" algn="l">
              <a:buNone/>
              <a:defRPr sz="1200" b="0">
                <a:latin typeface="+mn-lt"/>
                <a:ea typeface="Roboto Medium" panose="02000000000000000000" pitchFamily="2" charset="0"/>
              </a:defRPr>
            </a:lvl1pPr>
          </a:lstStyle>
          <a:p>
            <a:pPr lvl="0"/>
            <a:r>
              <a:rPr lang="de-DE" err="1"/>
              <a:t>Lorem ipsum dolor sit amet, consectetuer adipiscing elit. Aenean commodo ligula eget dolor. </a:t>
            </a:r>
          </a:p>
        </p:txBody>
      </p:sp>
      <p:sp>
        <p:nvSpPr>
          <p:cNvPr id="13" name="Textplatzhalter 16">
            <a:extLst>
              <a:ext uri="{FF2B5EF4-FFF2-40B4-BE49-F238E27FC236}">
                <a16:creationId xmlns:a16="http://schemas.microsoft.com/office/drawing/2014/main" id="{2F1C55BF-A002-4A7B-A64B-2F8E118CDF09}"/>
              </a:ext>
            </a:extLst>
          </p:cNvPr>
          <p:cNvSpPr>
            <a:spLocks noGrp="1"/>
          </p:cNvSpPr>
          <p:nvPr>
            <p:ph type="body" sz="quarter" idx="12" hasCustomPrompt="1"/>
          </p:nvPr>
        </p:nvSpPr>
        <p:spPr>
          <a:xfrm>
            <a:off x="815951" y="2473708"/>
            <a:ext cx="2880000" cy="282952"/>
          </a:xfrm>
        </p:spPr>
        <p:txBody>
          <a:bodyPr>
            <a:normAutofit/>
          </a:bodyPr>
          <a:lstStyle>
            <a:lvl1pPr marL="0" indent="0">
              <a:buNone/>
              <a:defRPr sz="1200">
                <a:solidFill>
                  <a:schemeClr val="accent1"/>
                </a:solidFill>
                <a:latin typeface="Roboto Medium" panose="02000000000000000000" pitchFamily="2" charset="0"/>
                <a:ea typeface="Roboto Medium" panose="02000000000000000000" pitchFamily="2" charset="0"/>
              </a:defRPr>
            </a:lvl1pPr>
          </a:lstStyle>
          <a:p>
            <a:pPr lvl="0"/>
            <a:r>
              <a:rPr lang="de-DE"/>
              <a:t>HEADLINE</a:t>
            </a:r>
          </a:p>
        </p:txBody>
      </p:sp>
      <p:sp>
        <p:nvSpPr>
          <p:cNvPr id="15" name="Textplatzhalter 16">
            <a:extLst>
              <a:ext uri="{FF2B5EF4-FFF2-40B4-BE49-F238E27FC236}">
                <a16:creationId xmlns:a16="http://schemas.microsoft.com/office/drawing/2014/main" id="{D50E8765-C7B5-4312-9582-BF3EFB62EDE8}"/>
              </a:ext>
            </a:extLst>
          </p:cNvPr>
          <p:cNvSpPr>
            <a:spLocks noGrp="1"/>
          </p:cNvSpPr>
          <p:nvPr>
            <p:ph type="body" sz="quarter" idx="14" hasCustomPrompt="1"/>
          </p:nvPr>
        </p:nvSpPr>
        <p:spPr>
          <a:xfrm>
            <a:off x="4659767" y="2766184"/>
            <a:ext cx="2880000" cy="3425046"/>
          </a:xfrm>
        </p:spPr>
        <p:txBody>
          <a:bodyPr>
            <a:normAutofit/>
          </a:bodyPr>
          <a:lstStyle>
            <a:lvl1pPr marL="0" indent="0" algn="l">
              <a:buNone/>
              <a:defRPr sz="1200" b="0">
                <a:latin typeface="+mn-lt"/>
                <a:ea typeface="Roboto Medium" panose="02000000000000000000" pitchFamily="2" charset="0"/>
              </a:defRPr>
            </a:lvl1pPr>
          </a:lstStyle>
          <a:p>
            <a:pPr lvl="0"/>
            <a:r>
              <a:rPr lang="de-DE" err="1"/>
              <a:t>Lorem ipsum dolor sit amet, consectetuer adipiscing elit. Aenean commodo ligula eget dolor. </a:t>
            </a:r>
          </a:p>
        </p:txBody>
      </p:sp>
      <p:sp>
        <p:nvSpPr>
          <p:cNvPr id="16" name="Textplatzhalter 16">
            <a:extLst>
              <a:ext uri="{FF2B5EF4-FFF2-40B4-BE49-F238E27FC236}">
                <a16:creationId xmlns:a16="http://schemas.microsoft.com/office/drawing/2014/main" id="{2E7BA4E0-DFA3-4185-9996-FD734574643B}"/>
              </a:ext>
            </a:extLst>
          </p:cNvPr>
          <p:cNvSpPr>
            <a:spLocks noGrp="1"/>
          </p:cNvSpPr>
          <p:nvPr>
            <p:ph type="body" sz="quarter" idx="15" hasCustomPrompt="1"/>
          </p:nvPr>
        </p:nvSpPr>
        <p:spPr>
          <a:xfrm>
            <a:off x="4656000" y="2473708"/>
            <a:ext cx="2880000" cy="282952"/>
          </a:xfrm>
        </p:spPr>
        <p:txBody>
          <a:bodyPr>
            <a:normAutofit/>
          </a:bodyPr>
          <a:lstStyle>
            <a:lvl1pPr marL="0" indent="0">
              <a:buNone/>
              <a:defRPr sz="1200">
                <a:solidFill>
                  <a:schemeClr val="accent1"/>
                </a:solidFill>
                <a:latin typeface="Roboto Medium" panose="02000000000000000000" pitchFamily="2" charset="0"/>
                <a:ea typeface="Roboto Medium" panose="02000000000000000000" pitchFamily="2" charset="0"/>
              </a:defRPr>
            </a:lvl1pPr>
          </a:lstStyle>
          <a:p>
            <a:pPr lvl="0"/>
            <a:r>
              <a:rPr lang="de-DE"/>
              <a:t>HEADLINE</a:t>
            </a:r>
          </a:p>
        </p:txBody>
      </p:sp>
      <p:sp>
        <p:nvSpPr>
          <p:cNvPr id="18" name="Textplatzhalter 16">
            <a:extLst>
              <a:ext uri="{FF2B5EF4-FFF2-40B4-BE49-F238E27FC236}">
                <a16:creationId xmlns:a16="http://schemas.microsoft.com/office/drawing/2014/main" id="{010051D9-4832-4D4D-81B8-9E95F61D8D46}"/>
              </a:ext>
            </a:extLst>
          </p:cNvPr>
          <p:cNvSpPr>
            <a:spLocks noGrp="1"/>
          </p:cNvSpPr>
          <p:nvPr>
            <p:ph type="body" sz="quarter" idx="17" hasCustomPrompt="1"/>
          </p:nvPr>
        </p:nvSpPr>
        <p:spPr>
          <a:xfrm>
            <a:off x="8496047" y="2766184"/>
            <a:ext cx="2880000" cy="3425046"/>
          </a:xfrm>
        </p:spPr>
        <p:txBody>
          <a:bodyPr>
            <a:normAutofit/>
          </a:bodyPr>
          <a:lstStyle>
            <a:lvl1pPr marL="0" indent="0" algn="l">
              <a:buNone/>
              <a:defRPr sz="1200" b="0">
                <a:latin typeface="+mn-lt"/>
                <a:ea typeface="Roboto Medium" panose="02000000000000000000" pitchFamily="2" charset="0"/>
              </a:defRPr>
            </a:lvl1pPr>
          </a:lstStyle>
          <a:p>
            <a:pPr lvl="0"/>
            <a:r>
              <a:rPr lang="de-DE" err="1"/>
              <a:t>Lorem ipsum dolor sit amet, consectetuer adipiscing elit. Aenean commodo ligula eget dolor. </a:t>
            </a:r>
          </a:p>
        </p:txBody>
      </p:sp>
      <p:sp>
        <p:nvSpPr>
          <p:cNvPr id="19" name="Textplatzhalter 16">
            <a:extLst>
              <a:ext uri="{FF2B5EF4-FFF2-40B4-BE49-F238E27FC236}">
                <a16:creationId xmlns:a16="http://schemas.microsoft.com/office/drawing/2014/main" id="{9477F715-7F5E-4584-9759-A9B39215FA53}"/>
              </a:ext>
            </a:extLst>
          </p:cNvPr>
          <p:cNvSpPr>
            <a:spLocks noGrp="1"/>
          </p:cNvSpPr>
          <p:nvPr>
            <p:ph type="body" sz="quarter" idx="18" hasCustomPrompt="1"/>
          </p:nvPr>
        </p:nvSpPr>
        <p:spPr>
          <a:xfrm>
            <a:off x="8496047" y="2473708"/>
            <a:ext cx="2880000" cy="282952"/>
          </a:xfrm>
        </p:spPr>
        <p:txBody>
          <a:bodyPr>
            <a:normAutofit/>
          </a:bodyPr>
          <a:lstStyle>
            <a:lvl1pPr marL="0" indent="0">
              <a:buNone/>
              <a:defRPr sz="1200">
                <a:solidFill>
                  <a:schemeClr val="accent1"/>
                </a:solidFill>
                <a:latin typeface="Roboto Medium" panose="02000000000000000000" pitchFamily="2" charset="0"/>
                <a:ea typeface="Roboto Medium" panose="02000000000000000000" pitchFamily="2" charset="0"/>
              </a:defRPr>
            </a:lvl1pPr>
          </a:lstStyle>
          <a:p>
            <a:pPr lvl="0"/>
            <a:r>
              <a:rPr lang="de-DE"/>
              <a:t>HEADLINE</a:t>
            </a:r>
          </a:p>
        </p:txBody>
      </p:sp>
      <p:pic>
        <p:nvPicPr>
          <p:cNvPr id="20" name="Grafik 19">
            <a:extLst>
              <a:ext uri="{FF2B5EF4-FFF2-40B4-BE49-F238E27FC236}">
                <a16:creationId xmlns:a16="http://schemas.microsoft.com/office/drawing/2014/main" id="{94DAD0F5-BF1C-42D1-8246-ED9AD0172933}"/>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15954" y="1975609"/>
            <a:ext cx="407987" cy="407987"/>
          </a:xfrm>
          <a:prstGeom prst="rect">
            <a:avLst/>
          </a:prstGeom>
        </p:spPr>
      </p:pic>
      <p:pic>
        <p:nvPicPr>
          <p:cNvPr id="21" name="Grafik 20">
            <a:extLst>
              <a:ext uri="{FF2B5EF4-FFF2-40B4-BE49-F238E27FC236}">
                <a16:creationId xmlns:a16="http://schemas.microsoft.com/office/drawing/2014/main" id="{F32BCC0E-FC93-4E0C-BC95-5C5ABC68DB8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659947" y="1975609"/>
            <a:ext cx="407987" cy="407987"/>
          </a:xfrm>
          <a:prstGeom prst="rect">
            <a:avLst/>
          </a:prstGeom>
        </p:spPr>
      </p:pic>
      <p:pic>
        <p:nvPicPr>
          <p:cNvPr id="22" name="Grafik 21">
            <a:extLst>
              <a:ext uri="{FF2B5EF4-FFF2-40B4-BE49-F238E27FC236}">
                <a16:creationId xmlns:a16="http://schemas.microsoft.com/office/drawing/2014/main" id="{BC35E7D2-14F8-4BCD-BBF5-95938325ECAB}"/>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496047" y="1975609"/>
            <a:ext cx="407987" cy="407987"/>
          </a:xfrm>
          <a:prstGeom prst="rect">
            <a:avLst/>
          </a:prstGeom>
        </p:spPr>
      </p:pic>
    </p:spTree>
    <p:extLst>
      <p:ext uri="{BB962C8B-B14F-4D97-AF65-F5344CB8AC3E}">
        <p14:creationId xmlns:p14="http://schemas.microsoft.com/office/powerpoint/2010/main" val="2659528842"/>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8" dur="1000" decel="10000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0-#ppt_w/2"/>
                                          </p:val>
                                        </p:tav>
                                        <p:tav tm="100000">
                                          <p:val>
                                            <p:strVal val="#ppt_x"/>
                                          </p:val>
                                        </p:tav>
                                      </p:tavLst>
                                    </p:anim>
                                    <p:anim calcmode="lin" valueType="num">
                                      <p:cBhvr additive="base">
                                        <p:cTn id="8" dur="1000" fill="hold"/>
                                        <p:tgtEl>
                                          <p:spTgt spid="2"/>
                                        </p:tgtEl>
                                        <p:attrNameLst>
                                          <p:attrName>ppt_y</p:attrName>
                                        </p:attrNameLst>
                                      </p:cBhvr>
                                      <p:tavLst>
                                        <p:tav tm="0">
                                          <p:val>
                                            <p:strVal val="#ppt_y"/>
                                          </p:val>
                                        </p:tav>
                                        <p:tav tm="100000">
                                          <p:val>
                                            <p:strVal val="#ppt_y"/>
                                          </p:val>
                                        </p:tav>
                                      </p:tavLst>
                                    </p:anim>
                                  </p:childTnLst>
                                </p:cTn>
                              </p:par>
                              <p:par>
                                <p:cTn id="9" presetID="2" presetClass="entr" presetSubtype="8" dur="1000" decel="100000" fill="hold" nodeType="withEffect">
                                  <p:stCondLst>
                                    <p:cond delay="250"/>
                                  </p:stCondLst>
                                  <p:childTnLst>
                                    <p:set>
                                      <p:cBhvr>
                                        <p:cTn id="10" dur="1" fill="hold">
                                          <p:stCondLst>
                                            <p:cond delay="0"/>
                                          </p:stCondLst>
                                        </p:cTn>
                                        <p:tgtEl>
                                          <p:spTgt spid="22"/>
                                        </p:tgtEl>
                                        <p:attrNameLst>
                                          <p:attrName>style.visibility</p:attrName>
                                        </p:attrNameLst>
                                      </p:cBhvr>
                                      <p:to>
                                        <p:strVal val="visible"/>
                                      </p:to>
                                    </p:set>
                                    <p:anim calcmode="lin" valueType="num">
                                      <p:cBhvr additive="base">
                                        <p:cTn id="11" dur="1000" fill="hold"/>
                                        <p:tgtEl>
                                          <p:spTgt spid="22"/>
                                        </p:tgtEl>
                                        <p:attrNameLst>
                                          <p:attrName>ppt_x</p:attrName>
                                        </p:attrNameLst>
                                      </p:cBhvr>
                                      <p:tavLst>
                                        <p:tav tm="0">
                                          <p:val>
                                            <p:strVal val="0-#ppt_w/2"/>
                                          </p:val>
                                        </p:tav>
                                        <p:tav tm="100000">
                                          <p:val>
                                            <p:strVal val="#ppt_x"/>
                                          </p:val>
                                        </p:tav>
                                      </p:tavLst>
                                    </p:anim>
                                    <p:anim calcmode="lin" valueType="num">
                                      <p:cBhvr additive="base">
                                        <p:cTn id="12" dur="1000" fill="hold"/>
                                        <p:tgtEl>
                                          <p:spTgt spid="22"/>
                                        </p:tgtEl>
                                        <p:attrNameLst>
                                          <p:attrName>ppt_y</p:attrName>
                                        </p:attrNameLst>
                                      </p:cBhvr>
                                      <p:tavLst>
                                        <p:tav tm="0">
                                          <p:val>
                                            <p:strVal val="#ppt_y"/>
                                          </p:val>
                                        </p:tav>
                                        <p:tav tm="100000">
                                          <p:val>
                                            <p:strVal val="#ppt_y"/>
                                          </p:val>
                                        </p:tav>
                                      </p:tavLst>
                                    </p:anim>
                                  </p:childTnLst>
                                </p:cTn>
                              </p:par>
                              <p:par>
                                <p:cTn id="13" presetID="2" presetClass="entr" presetSubtype="8" dur="1000" decel="100000" fill="hold" grpId="0" nodeType="withEffect">
                                  <p:stCondLst>
                                    <p:cond delay="250"/>
                                  </p:stCondLst>
                                  <p:childTnLst>
                                    <p:set>
                                      <p:cBhvr>
                                        <p:cTn id="14" dur="1" fill="hold">
                                          <p:stCondLst>
                                            <p:cond delay="0"/>
                                          </p:stCondLst>
                                        </p:cTn>
                                        <p:tgtEl>
                                          <p:spTgt spid="19"/>
                                        </p:tgtEl>
                                        <p:attrNameLst>
                                          <p:attrName>style.visibility</p:attrName>
                                        </p:attrNameLst>
                                      </p:cBhvr>
                                      <p:to>
                                        <p:strVal val="visible"/>
                                      </p:to>
                                    </p:set>
                                    <p:anim calcmode="lin" valueType="num">
                                      <p:cBhvr additive="base">
                                        <p:cTn id="15" dur="1000" fill="hold"/>
                                        <p:tgtEl>
                                          <p:spTgt spid="19"/>
                                        </p:tgtEl>
                                        <p:attrNameLst>
                                          <p:attrName>ppt_x</p:attrName>
                                        </p:attrNameLst>
                                      </p:cBhvr>
                                      <p:tavLst>
                                        <p:tav tm="0">
                                          <p:val>
                                            <p:strVal val="0-#ppt_w/2"/>
                                          </p:val>
                                        </p:tav>
                                        <p:tav tm="100000">
                                          <p:val>
                                            <p:strVal val="#ppt_x"/>
                                          </p:val>
                                        </p:tav>
                                      </p:tavLst>
                                    </p:anim>
                                    <p:anim calcmode="lin" valueType="num">
                                      <p:cBhvr additive="base">
                                        <p:cTn id="16" dur="1000" fill="hold"/>
                                        <p:tgtEl>
                                          <p:spTgt spid="19"/>
                                        </p:tgtEl>
                                        <p:attrNameLst>
                                          <p:attrName>ppt_y</p:attrName>
                                        </p:attrNameLst>
                                      </p:cBhvr>
                                      <p:tavLst>
                                        <p:tav tm="0">
                                          <p:val>
                                            <p:strVal val="#ppt_y"/>
                                          </p:val>
                                        </p:tav>
                                        <p:tav tm="100000">
                                          <p:val>
                                            <p:strVal val="#ppt_y"/>
                                          </p:val>
                                        </p:tav>
                                      </p:tavLst>
                                    </p:anim>
                                  </p:childTnLst>
                                </p:cTn>
                              </p:par>
                              <p:par>
                                <p:cTn id="17" presetID="2" presetClass="entr" presetSubtype="8" dur="1000" decel="100000" fill="hold" grpId="0" nodeType="withEffect">
                                  <p:stCondLst>
                                    <p:cond delay="250"/>
                                  </p:stCondLst>
                                  <p:childTnLst>
                                    <p:set>
                                      <p:cBhvr>
                                        <p:cTn id="18" dur="1" fill="hold">
                                          <p:stCondLst>
                                            <p:cond delay="0"/>
                                          </p:stCondLst>
                                        </p:cTn>
                                        <p:tgtEl>
                                          <p:spTgt spid="18"/>
                                        </p:tgtEl>
                                        <p:attrNameLst>
                                          <p:attrName>style.visibility</p:attrName>
                                        </p:attrNameLst>
                                      </p:cBhvr>
                                      <p:to>
                                        <p:strVal val="visible"/>
                                      </p:to>
                                    </p:set>
                                    <p:anim calcmode="lin" valueType="num">
                                      <p:cBhvr additive="base">
                                        <p:cTn id="19" dur="1000" fill="hold"/>
                                        <p:tgtEl>
                                          <p:spTgt spid="18"/>
                                        </p:tgtEl>
                                        <p:attrNameLst>
                                          <p:attrName>ppt_x</p:attrName>
                                        </p:attrNameLst>
                                      </p:cBhvr>
                                      <p:tavLst>
                                        <p:tav tm="0">
                                          <p:val>
                                            <p:strVal val="0-#ppt_w/2"/>
                                          </p:val>
                                        </p:tav>
                                        <p:tav tm="100000">
                                          <p:val>
                                            <p:strVal val="#ppt_x"/>
                                          </p:val>
                                        </p:tav>
                                      </p:tavLst>
                                    </p:anim>
                                    <p:anim calcmode="lin" valueType="num">
                                      <p:cBhvr additive="base">
                                        <p:cTn id="20" dur="1000" fill="hold"/>
                                        <p:tgtEl>
                                          <p:spTgt spid="18"/>
                                        </p:tgtEl>
                                        <p:attrNameLst>
                                          <p:attrName>ppt_y</p:attrName>
                                        </p:attrNameLst>
                                      </p:cBhvr>
                                      <p:tavLst>
                                        <p:tav tm="0">
                                          <p:val>
                                            <p:strVal val="#ppt_y"/>
                                          </p:val>
                                        </p:tav>
                                        <p:tav tm="100000">
                                          <p:val>
                                            <p:strVal val="#ppt_y"/>
                                          </p:val>
                                        </p:tav>
                                      </p:tavLst>
                                    </p:anim>
                                  </p:childTnLst>
                                </p:cTn>
                              </p:par>
                              <p:par>
                                <p:cTn id="21" presetID="2" presetClass="entr" presetSubtype="8" dur="1000" decel="100000" fill="hold" nodeType="withEffect">
                                  <p:stCondLst>
                                    <p:cond delay="500"/>
                                  </p:stCondLst>
                                  <p:childTnLst>
                                    <p:set>
                                      <p:cBhvr>
                                        <p:cTn id="22" dur="1" fill="hold">
                                          <p:stCondLst>
                                            <p:cond delay="0"/>
                                          </p:stCondLst>
                                        </p:cTn>
                                        <p:tgtEl>
                                          <p:spTgt spid="21"/>
                                        </p:tgtEl>
                                        <p:attrNameLst>
                                          <p:attrName>style.visibility</p:attrName>
                                        </p:attrNameLst>
                                      </p:cBhvr>
                                      <p:to>
                                        <p:strVal val="visible"/>
                                      </p:to>
                                    </p:set>
                                    <p:anim calcmode="lin" valueType="num">
                                      <p:cBhvr additive="base">
                                        <p:cTn id="23" dur="1000" fill="hold"/>
                                        <p:tgtEl>
                                          <p:spTgt spid="21"/>
                                        </p:tgtEl>
                                        <p:attrNameLst>
                                          <p:attrName>ppt_x</p:attrName>
                                        </p:attrNameLst>
                                      </p:cBhvr>
                                      <p:tavLst>
                                        <p:tav tm="0">
                                          <p:val>
                                            <p:strVal val="0-#ppt_w/2"/>
                                          </p:val>
                                        </p:tav>
                                        <p:tav tm="100000">
                                          <p:val>
                                            <p:strVal val="#ppt_x"/>
                                          </p:val>
                                        </p:tav>
                                      </p:tavLst>
                                    </p:anim>
                                    <p:anim calcmode="lin" valueType="num">
                                      <p:cBhvr additive="base">
                                        <p:cTn id="24" dur="1000" fill="hold"/>
                                        <p:tgtEl>
                                          <p:spTgt spid="21"/>
                                        </p:tgtEl>
                                        <p:attrNameLst>
                                          <p:attrName>ppt_y</p:attrName>
                                        </p:attrNameLst>
                                      </p:cBhvr>
                                      <p:tavLst>
                                        <p:tav tm="0">
                                          <p:val>
                                            <p:strVal val="#ppt_y"/>
                                          </p:val>
                                        </p:tav>
                                        <p:tav tm="100000">
                                          <p:val>
                                            <p:strVal val="#ppt_y"/>
                                          </p:val>
                                        </p:tav>
                                      </p:tavLst>
                                    </p:anim>
                                  </p:childTnLst>
                                </p:cTn>
                              </p:par>
                              <p:par>
                                <p:cTn id="25" presetID="2" presetClass="entr" presetSubtype="8" dur="1000" decel="100000" fill="hold" grpId="0" nodeType="withEffect">
                                  <p:stCondLst>
                                    <p:cond delay="500"/>
                                  </p:stCondLst>
                                  <p:childTnLst>
                                    <p:set>
                                      <p:cBhvr>
                                        <p:cTn id="26" dur="1" fill="hold">
                                          <p:stCondLst>
                                            <p:cond delay="0"/>
                                          </p:stCondLst>
                                        </p:cTn>
                                        <p:tgtEl>
                                          <p:spTgt spid="16"/>
                                        </p:tgtEl>
                                        <p:attrNameLst>
                                          <p:attrName>style.visibility</p:attrName>
                                        </p:attrNameLst>
                                      </p:cBhvr>
                                      <p:to>
                                        <p:strVal val="visible"/>
                                      </p:to>
                                    </p:set>
                                    <p:anim calcmode="lin" valueType="num">
                                      <p:cBhvr additive="base">
                                        <p:cTn id="27" dur="1000" fill="hold"/>
                                        <p:tgtEl>
                                          <p:spTgt spid="16"/>
                                        </p:tgtEl>
                                        <p:attrNameLst>
                                          <p:attrName>ppt_x</p:attrName>
                                        </p:attrNameLst>
                                      </p:cBhvr>
                                      <p:tavLst>
                                        <p:tav tm="0">
                                          <p:val>
                                            <p:strVal val="0-#ppt_w/2"/>
                                          </p:val>
                                        </p:tav>
                                        <p:tav tm="100000">
                                          <p:val>
                                            <p:strVal val="#ppt_x"/>
                                          </p:val>
                                        </p:tav>
                                      </p:tavLst>
                                    </p:anim>
                                    <p:anim calcmode="lin" valueType="num">
                                      <p:cBhvr additive="base">
                                        <p:cTn id="28" dur="1000" fill="hold"/>
                                        <p:tgtEl>
                                          <p:spTgt spid="16"/>
                                        </p:tgtEl>
                                        <p:attrNameLst>
                                          <p:attrName>ppt_y</p:attrName>
                                        </p:attrNameLst>
                                      </p:cBhvr>
                                      <p:tavLst>
                                        <p:tav tm="0">
                                          <p:val>
                                            <p:strVal val="#ppt_y"/>
                                          </p:val>
                                        </p:tav>
                                        <p:tav tm="100000">
                                          <p:val>
                                            <p:strVal val="#ppt_y"/>
                                          </p:val>
                                        </p:tav>
                                      </p:tavLst>
                                    </p:anim>
                                  </p:childTnLst>
                                </p:cTn>
                              </p:par>
                              <p:par>
                                <p:cTn id="29" presetID="2" presetClass="entr" presetSubtype="8" dur="1000" decel="100000" fill="hold" grpId="0" nodeType="withEffect">
                                  <p:stCondLst>
                                    <p:cond delay="500"/>
                                  </p:stCondLst>
                                  <p:childTnLst>
                                    <p:set>
                                      <p:cBhvr>
                                        <p:cTn id="30" dur="1" fill="hold">
                                          <p:stCondLst>
                                            <p:cond delay="0"/>
                                          </p:stCondLst>
                                        </p:cTn>
                                        <p:tgtEl>
                                          <p:spTgt spid="15"/>
                                        </p:tgtEl>
                                        <p:attrNameLst>
                                          <p:attrName>style.visibility</p:attrName>
                                        </p:attrNameLst>
                                      </p:cBhvr>
                                      <p:to>
                                        <p:strVal val="visible"/>
                                      </p:to>
                                    </p:set>
                                    <p:anim calcmode="lin" valueType="num">
                                      <p:cBhvr additive="base">
                                        <p:cTn id="31" dur="1000" fill="hold"/>
                                        <p:tgtEl>
                                          <p:spTgt spid="15"/>
                                        </p:tgtEl>
                                        <p:attrNameLst>
                                          <p:attrName>ppt_x</p:attrName>
                                        </p:attrNameLst>
                                      </p:cBhvr>
                                      <p:tavLst>
                                        <p:tav tm="0">
                                          <p:val>
                                            <p:strVal val="0-#ppt_w/2"/>
                                          </p:val>
                                        </p:tav>
                                        <p:tav tm="100000">
                                          <p:val>
                                            <p:strVal val="#ppt_x"/>
                                          </p:val>
                                        </p:tav>
                                      </p:tavLst>
                                    </p:anim>
                                    <p:anim calcmode="lin" valueType="num">
                                      <p:cBhvr additive="base">
                                        <p:cTn id="32" dur="1000" fill="hold"/>
                                        <p:tgtEl>
                                          <p:spTgt spid="15"/>
                                        </p:tgtEl>
                                        <p:attrNameLst>
                                          <p:attrName>ppt_y</p:attrName>
                                        </p:attrNameLst>
                                      </p:cBhvr>
                                      <p:tavLst>
                                        <p:tav tm="0">
                                          <p:val>
                                            <p:strVal val="#ppt_y"/>
                                          </p:val>
                                        </p:tav>
                                        <p:tav tm="100000">
                                          <p:val>
                                            <p:strVal val="#ppt_y"/>
                                          </p:val>
                                        </p:tav>
                                      </p:tavLst>
                                    </p:anim>
                                  </p:childTnLst>
                                </p:cTn>
                              </p:par>
                              <p:par>
                                <p:cTn id="33" presetID="2" presetClass="entr" presetSubtype="8" dur="1000" decel="100000" fill="hold" nodeType="withEffect">
                                  <p:stCondLst>
                                    <p:cond delay="750"/>
                                  </p:stCondLst>
                                  <p:childTnLst>
                                    <p:set>
                                      <p:cBhvr>
                                        <p:cTn id="34" dur="1" fill="hold">
                                          <p:stCondLst>
                                            <p:cond delay="0"/>
                                          </p:stCondLst>
                                        </p:cTn>
                                        <p:tgtEl>
                                          <p:spTgt spid="20"/>
                                        </p:tgtEl>
                                        <p:attrNameLst>
                                          <p:attrName>style.visibility</p:attrName>
                                        </p:attrNameLst>
                                      </p:cBhvr>
                                      <p:to>
                                        <p:strVal val="visible"/>
                                      </p:to>
                                    </p:set>
                                    <p:anim calcmode="lin" valueType="num">
                                      <p:cBhvr additive="base">
                                        <p:cTn id="35" dur="1000" fill="hold"/>
                                        <p:tgtEl>
                                          <p:spTgt spid="20"/>
                                        </p:tgtEl>
                                        <p:attrNameLst>
                                          <p:attrName>ppt_x</p:attrName>
                                        </p:attrNameLst>
                                      </p:cBhvr>
                                      <p:tavLst>
                                        <p:tav tm="0">
                                          <p:val>
                                            <p:strVal val="0-#ppt_w/2"/>
                                          </p:val>
                                        </p:tav>
                                        <p:tav tm="100000">
                                          <p:val>
                                            <p:strVal val="#ppt_x"/>
                                          </p:val>
                                        </p:tav>
                                      </p:tavLst>
                                    </p:anim>
                                    <p:anim calcmode="lin" valueType="num">
                                      <p:cBhvr additive="base">
                                        <p:cTn id="36" dur="1000" fill="hold"/>
                                        <p:tgtEl>
                                          <p:spTgt spid="20"/>
                                        </p:tgtEl>
                                        <p:attrNameLst>
                                          <p:attrName>ppt_y</p:attrName>
                                        </p:attrNameLst>
                                      </p:cBhvr>
                                      <p:tavLst>
                                        <p:tav tm="0">
                                          <p:val>
                                            <p:strVal val="#ppt_y"/>
                                          </p:val>
                                        </p:tav>
                                        <p:tav tm="100000">
                                          <p:val>
                                            <p:strVal val="#ppt_y"/>
                                          </p:val>
                                        </p:tav>
                                      </p:tavLst>
                                    </p:anim>
                                  </p:childTnLst>
                                </p:cTn>
                              </p:par>
                              <p:par>
                                <p:cTn id="37" presetID="2" presetClass="entr" presetSubtype="8" dur="1000" decel="100000" fill="hold" grpId="0" nodeType="withEffect">
                                  <p:stCondLst>
                                    <p:cond delay="750"/>
                                  </p:stCondLst>
                                  <p:childTnLst>
                                    <p:set>
                                      <p:cBhvr>
                                        <p:cTn id="38" dur="1" fill="hold">
                                          <p:stCondLst>
                                            <p:cond delay="0"/>
                                          </p:stCondLst>
                                        </p:cTn>
                                        <p:tgtEl>
                                          <p:spTgt spid="13"/>
                                        </p:tgtEl>
                                        <p:attrNameLst>
                                          <p:attrName>style.visibility</p:attrName>
                                        </p:attrNameLst>
                                      </p:cBhvr>
                                      <p:to>
                                        <p:strVal val="visible"/>
                                      </p:to>
                                    </p:set>
                                    <p:anim calcmode="lin" valueType="num">
                                      <p:cBhvr additive="base">
                                        <p:cTn id="39" dur="1000" fill="hold"/>
                                        <p:tgtEl>
                                          <p:spTgt spid="13"/>
                                        </p:tgtEl>
                                        <p:attrNameLst>
                                          <p:attrName>ppt_x</p:attrName>
                                        </p:attrNameLst>
                                      </p:cBhvr>
                                      <p:tavLst>
                                        <p:tav tm="0">
                                          <p:val>
                                            <p:strVal val="0-#ppt_w/2"/>
                                          </p:val>
                                        </p:tav>
                                        <p:tav tm="100000">
                                          <p:val>
                                            <p:strVal val="#ppt_x"/>
                                          </p:val>
                                        </p:tav>
                                      </p:tavLst>
                                    </p:anim>
                                    <p:anim calcmode="lin" valueType="num">
                                      <p:cBhvr additive="base">
                                        <p:cTn id="40" dur="1000" fill="hold"/>
                                        <p:tgtEl>
                                          <p:spTgt spid="13"/>
                                        </p:tgtEl>
                                        <p:attrNameLst>
                                          <p:attrName>ppt_y</p:attrName>
                                        </p:attrNameLst>
                                      </p:cBhvr>
                                      <p:tavLst>
                                        <p:tav tm="0">
                                          <p:val>
                                            <p:strVal val="#ppt_y"/>
                                          </p:val>
                                        </p:tav>
                                        <p:tav tm="100000">
                                          <p:val>
                                            <p:strVal val="#ppt_y"/>
                                          </p:val>
                                        </p:tav>
                                      </p:tavLst>
                                    </p:anim>
                                  </p:childTnLst>
                                </p:cTn>
                              </p:par>
                              <p:par>
                                <p:cTn id="41" presetID="2" presetClass="entr" presetSubtype="8" dur="1000" decel="100000" fill="hold" grpId="0" nodeType="withEffect">
                                  <p:stCondLst>
                                    <p:cond delay="750"/>
                                  </p:stCondLst>
                                  <p:childTnLst>
                                    <p:set>
                                      <p:cBhvr>
                                        <p:cTn id="42" dur="1" fill="hold">
                                          <p:stCondLst>
                                            <p:cond delay="0"/>
                                          </p:stCondLst>
                                        </p:cTn>
                                        <p:tgtEl>
                                          <p:spTgt spid="12"/>
                                        </p:tgtEl>
                                        <p:attrNameLst>
                                          <p:attrName>style.visibility</p:attrName>
                                        </p:attrNameLst>
                                      </p:cBhvr>
                                      <p:to>
                                        <p:strVal val="visible"/>
                                      </p:to>
                                    </p:set>
                                    <p:anim calcmode="lin" valueType="num">
                                      <p:cBhvr additive="base">
                                        <p:cTn id="43" dur="1000" fill="hold"/>
                                        <p:tgtEl>
                                          <p:spTgt spid="12"/>
                                        </p:tgtEl>
                                        <p:attrNameLst>
                                          <p:attrName>ppt_x</p:attrName>
                                        </p:attrNameLst>
                                      </p:cBhvr>
                                      <p:tavLst>
                                        <p:tav tm="0">
                                          <p:val>
                                            <p:strVal val="0-#ppt_w/2"/>
                                          </p:val>
                                        </p:tav>
                                        <p:tav tm="100000">
                                          <p:val>
                                            <p:strVal val="#ppt_x"/>
                                          </p:val>
                                        </p:tav>
                                      </p:tavLst>
                                    </p:anim>
                                    <p:anim calcmode="lin" valueType="num">
                                      <p:cBhvr additive="base">
                                        <p:cTn id="44" dur="100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2" grpId="0">
        <p:tmplLst>
          <p:tmpl>
            <p:tnLst>
              <p:par>
                <p:cTn presetID="2" presetClass="entr" presetSubtype="8" decel="100000" fill="hold" nodeType="withEffect">
                  <p:stCondLst>
                    <p:cond delay="750"/>
                  </p:stCondLst>
                  <p:childTnLst>
                    <p:set>
                      <p:cBhvr>
                        <p:cTn dur="1" fill="hold">
                          <p:stCondLst>
                            <p:cond delay="0"/>
                          </p:stCondLst>
                        </p:cTn>
                        <p:tgtEl>
                          <p:spTgt spid="12"/>
                        </p:tgtEl>
                        <p:attrNameLst>
                          <p:attrName>style.visibility</p:attrName>
                        </p:attrNameLst>
                      </p:cBhvr>
                      <p:to>
                        <p:strVal val="visible"/>
                      </p:to>
                    </p:set>
                    <p:anim calcmode="lin" valueType="num">
                      <p:cBhvr additive="base">
                        <p:cTn dur="1000" fill="hold"/>
                        <p:tgtEl>
                          <p:spTgt spid="12"/>
                        </p:tgtEl>
                        <p:attrNameLst>
                          <p:attrName>ppt_x</p:attrName>
                        </p:attrNameLst>
                      </p:cBhvr>
                      <p:tavLst>
                        <p:tav tm="0">
                          <p:val>
                            <p:strVal val="0-#ppt_w/2"/>
                          </p:val>
                        </p:tav>
                        <p:tav tm="100000">
                          <p:val>
                            <p:strVal val="#ppt_x"/>
                          </p:val>
                        </p:tav>
                      </p:tavLst>
                    </p:anim>
                    <p:anim calcmode="lin" valueType="num">
                      <p:cBhvr additive="base">
                        <p:cTn dur="1000" fill="hold"/>
                        <p:tgtEl>
                          <p:spTgt spid="12"/>
                        </p:tgtEl>
                        <p:attrNameLst>
                          <p:attrName>ppt_y</p:attrName>
                        </p:attrNameLst>
                      </p:cBhvr>
                      <p:tavLst>
                        <p:tav tm="0">
                          <p:val>
                            <p:strVal val="#ppt_y"/>
                          </p:val>
                        </p:tav>
                        <p:tav tm="100000">
                          <p:val>
                            <p:strVal val="#ppt_y"/>
                          </p:val>
                        </p:tav>
                      </p:tavLst>
                    </p:anim>
                  </p:childTnLst>
                </p:cTn>
              </p:par>
            </p:tnLst>
          </p:tmpl>
        </p:tmplLst>
      </p:bldP>
      <p:bldP spid="13" grpId="0">
        <p:tmplLst>
          <p:tmpl>
            <p:tnLst>
              <p:par>
                <p:cTn presetID="2" presetClass="entr" presetSubtype="8" decel="100000" fill="hold" nodeType="withEffect">
                  <p:stCondLst>
                    <p:cond delay="750"/>
                  </p:stCondLst>
                  <p:childTnLst>
                    <p:set>
                      <p:cBhvr>
                        <p:cTn dur="1" fill="hold">
                          <p:stCondLst>
                            <p:cond delay="0"/>
                          </p:stCondLst>
                        </p:cTn>
                        <p:tgtEl>
                          <p:spTgt spid="13"/>
                        </p:tgtEl>
                        <p:attrNameLst>
                          <p:attrName>style.visibility</p:attrName>
                        </p:attrNameLst>
                      </p:cBhvr>
                      <p:to>
                        <p:strVal val="visible"/>
                      </p:to>
                    </p:set>
                    <p:anim calcmode="lin" valueType="num">
                      <p:cBhvr additive="base">
                        <p:cTn dur="1000" fill="hold"/>
                        <p:tgtEl>
                          <p:spTgt spid="13"/>
                        </p:tgtEl>
                        <p:attrNameLst>
                          <p:attrName>ppt_x</p:attrName>
                        </p:attrNameLst>
                      </p:cBhvr>
                      <p:tavLst>
                        <p:tav tm="0">
                          <p:val>
                            <p:strVal val="0-#ppt_w/2"/>
                          </p:val>
                        </p:tav>
                        <p:tav tm="100000">
                          <p:val>
                            <p:strVal val="#ppt_x"/>
                          </p:val>
                        </p:tav>
                      </p:tavLst>
                    </p:anim>
                    <p:anim calcmode="lin" valueType="num">
                      <p:cBhvr additive="base">
                        <p:cTn dur="1000" fill="hold"/>
                        <p:tgtEl>
                          <p:spTgt spid="13"/>
                        </p:tgtEl>
                        <p:attrNameLst>
                          <p:attrName>ppt_y</p:attrName>
                        </p:attrNameLst>
                      </p:cBhvr>
                      <p:tavLst>
                        <p:tav tm="0">
                          <p:val>
                            <p:strVal val="#ppt_y"/>
                          </p:val>
                        </p:tav>
                        <p:tav tm="100000">
                          <p:val>
                            <p:strVal val="#ppt_y"/>
                          </p:val>
                        </p:tav>
                      </p:tavLst>
                    </p:anim>
                  </p:childTnLst>
                </p:cTn>
              </p:par>
            </p:tnLst>
          </p:tmpl>
        </p:tmplLst>
      </p:bldP>
      <p:bldP spid="15" grpId="0">
        <p:tmplLst>
          <p:tmpl>
            <p:tnLst>
              <p:par>
                <p:cTn presetID="2" presetClass="entr" presetSubtype="8" decel="100000" fill="hold" nodeType="withEffect">
                  <p:stCondLst>
                    <p:cond delay="500"/>
                  </p:stCondLst>
                  <p:childTnLst>
                    <p:set>
                      <p:cBhvr>
                        <p:cTn dur="1" fill="hold">
                          <p:stCondLst>
                            <p:cond delay="0"/>
                          </p:stCondLst>
                        </p:cTn>
                        <p:tgtEl>
                          <p:spTgt spid="15"/>
                        </p:tgtEl>
                        <p:attrNameLst>
                          <p:attrName>style.visibility</p:attrName>
                        </p:attrNameLst>
                      </p:cBhvr>
                      <p:to>
                        <p:strVal val="visible"/>
                      </p:to>
                    </p:set>
                    <p:anim calcmode="lin" valueType="num">
                      <p:cBhvr additive="base">
                        <p:cTn dur="1000" fill="hold"/>
                        <p:tgtEl>
                          <p:spTgt spid="15"/>
                        </p:tgtEl>
                        <p:attrNameLst>
                          <p:attrName>ppt_x</p:attrName>
                        </p:attrNameLst>
                      </p:cBhvr>
                      <p:tavLst>
                        <p:tav tm="0">
                          <p:val>
                            <p:strVal val="0-#ppt_w/2"/>
                          </p:val>
                        </p:tav>
                        <p:tav tm="100000">
                          <p:val>
                            <p:strVal val="#ppt_x"/>
                          </p:val>
                        </p:tav>
                      </p:tavLst>
                    </p:anim>
                    <p:anim calcmode="lin" valueType="num">
                      <p:cBhvr additive="base">
                        <p:cTn dur="1000" fill="hold"/>
                        <p:tgtEl>
                          <p:spTgt spid="15"/>
                        </p:tgtEl>
                        <p:attrNameLst>
                          <p:attrName>ppt_y</p:attrName>
                        </p:attrNameLst>
                      </p:cBhvr>
                      <p:tavLst>
                        <p:tav tm="0">
                          <p:val>
                            <p:strVal val="#ppt_y"/>
                          </p:val>
                        </p:tav>
                        <p:tav tm="100000">
                          <p:val>
                            <p:strVal val="#ppt_y"/>
                          </p:val>
                        </p:tav>
                      </p:tavLst>
                    </p:anim>
                  </p:childTnLst>
                </p:cTn>
              </p:par>
            </p:tnLst>
          </p:tmpl>
        </p:tmplLst>
      </p:bldP>
      <p:bldP spid="16" grpId="0">
        <p:tmplLst>
          <p:tmpl>
            <p:tnLst>
              <p:par>
                <p:cTn presetID="2" presetClass="entr" presetSubtype="8" decel="100000" fill="hold" nodeType="withEffect">
                  <p:stCondLst>
                    <p:cond delay="500"/>
                  </p:stCondLst>
                  <p:childTnLst>
                    <p:set>
                      <p:cBhvr>
                        <p:cTn dur="1" fill="hold">
                          <p:stCondLst>
                            <p:cond delay="0"/>
                          </p:stCondLst>
                        </p:cTn>
                        <p:tgtEl>
                          <p:spTgt spid="16"/>
                        </p:tgtEl>
                        <p:attrNameLst>
                          <p:attrName>style.visibility</p:attrName>
                        </p:attrNameLst>
                      </p:cBhvr>
                      <p:to>
                        <p:strVal val="visible"/>
                      </p:to>
                    </p:set>
                    <p:anim calcmode="lin" valueType="num">
                      <p:cBhvr additive="base">
                        <p:cTn dur="1000" fill="hold"/>
                        <p:tgtEl>
                          <p:spTgt spid="16"/>
                        </p:tgtEl>
                        <p:attrNameLst>
                          <p:attrName>ppt_x</p:attrName>
                        </p:attrNameLst>
                      </p:cBhvr>
                      <p:tavLst>
                        <p:tav tm="0">
                          <p:val>
                            <p:strVal val="0-#ppt_w/2"/>
                          </p:val>
                        </p:tav>
                        <p:tav tm="100000">
                          <p:val>
                            <p:strVal val="#ppt_x"/>
                          </p:val>
                        </p:tav>
                      </p:tavLst>
                    </p:anim>
                    <p:anim calcmode="lin" valueType="num">
                      <p:cBhvr additive="base">
                        <p:cTn dur="1000" fill="hold"/>
                        <p:tgtEl>
                          <p:spTgt spid="16"/>
                        </p:tgtEl>
                        <p:attrNameLst>
                          <p:attrName>ppt_y</p:attrName>
                        </p:attrNameLst>
                      </p:cBhvr>
                      <p:tavLst>
                        <p:tav tm="0">
                          <p:val>
                            <p:strVal val="#ppt_y"/>
                          </p:val>
                        </p:tav>
                        <p:tav tm="100000">
                          <p:val>
                            <p:strVal val="#ppt_y"/>
                          </p:val>
                        </p:tav>
                      </p:tavLst>
                    </p:anim>
                  </p:childTnLst>
                </p:cTn>
              </p:par>
            </p:tnLst>
          </p:tmpl>
        </p:tmplLst>
      </p:bldP>
      <p:bldP spid="18" grpId="0">
        <p:tmplLst>
          <p:tmpl>
            <p:tnLst>
              <p:par>
                <p:cTn presetID="2" presetClass="entr" presetSubtype="8" decel="100000" fill="hold" nodeType="withEffect">
                  <p:stCondLst>
                    <p:cond delay="250"/>
                  </p:stCondLst>
                  <p:childTnLst>
                    <p:set>
                      <p:cBhvr>
                        <p:cTn dur="1" fill="hold">
                          <p:stCondLst>
                            <p:cond delay="0"/>
                          </p:stCondLst>
                        </p:cTn>
                        <p:tgtEl>
                          <p:spTgt spid="18"/>
                        </p:tgtEl>
                        <p:attrNameLst>
                          <p:attrName>style.visibility</p:attrName>
                        </p:attrNameLst>
                      </p:cBhvr>
                      <p:to>
                        <p:strVal val="visible"/>
                      </p:to>
                    </p:set>
                    <p:anim calcmode="lin" valueType="num">
                      <p:cBhvr additive="base">
                        <p:cTn dur="1000" fill="hold"/>
                        <p:tgtEl>
                          <p:spTgt spid="18"/>
                        </p:tgtEl>
                        <p:attrNameLst>
                          <p:attrName>ppt_x</p:attrName>
                        </p:attrNameLst>
                      </p:cBhvr>
                      <p:tavLst>
                        <p:tav tm="0">
                          <p:val>
                            <p:strVal val="0-#ppt_w/2"/>
                          </p:val>
                        </p:tav>
                        <p:tav tm="100000">
                          <p:val>
                            <p:strVal val="#ppt_x"/>
                          </p:val>
                        </p:tav>
                      </p:tavLst>
                    </p:anim>
                    <p:anim calcmode="lin" valueType="num">
                      <p:cBhvr additive="base">
                        <p:cTn dur="1000" fill="hold"/>
                        <p:tgtEl>
                          <p:spTgt spid="18"/>
                        </p:tgtEl>
                        <p:attrNameLst>
                          <p:attrName>ppt_y</p:attrName>
                        </p:attrNameLst>
                      </p:cBhvr>
                      <p:tavLst>
                        <p:tav tm="0">
                          <p:val>
                            <p:strVal val="#ppt_y"/>
                          </p:val>
                        </p:tav>
                        <p:tav tm="100000">
                          <p:val>
                            <p:strVal val="#ppt_y"/>
                          </p:val>
                        </p:tav>
                      </p:tavLst>
                    </p:anim>
                  </p:childTnLst>
                </p:cTn>
              </p:par>
            </p:tnLst>
          </p:tmpl>
        </p:tmplLst>
      </p:bldP>
      <p:bldP spid="19" grpId="0">
        <p:tmplLst>
          <p:tmpl>
            <p:tnLst>
              <p:par>
                <p:cTn presetID="2" presetClass="entr" presetSubtype="8" decel="100000" fill="hold" nodeType="withEffect">
                  <p:stCondLst>
                    <p:cond delay="250"/>
                  </p:stCondLst>
                  <p:childTnLst>
                    <p:set>
                      <p:cBhvr>
                        <p:cTn dur="1" fill="hold">
                          <p:stCondLst>
                            <p:cond delay="0"/>
                          </p:stCondLst>
                        </p:cTn>
                        <p:tgtEl>
                          <p:spTgt spid="19"/>
                        </p:tgtEl>
                        <p:attrNameLst>
                          <p:attrName>style.visibility</p:attrName>
                        </p:attrNameLst>
                      </p:cBhvr>
                      <p:to>
                        <p:strVal val="visible"/>
                      </p:to>
                    </p:set>
                    <p:anim calcmode="lin" valueType="num">
                      <p:cBhvr additive="base">
                        <p:cTn dur="1000" fill="hold"/>
                        <p:tgtEl>
                          <p:spTgt spid="19"/>
                        </p:tgtEl>
                        <p:attrNameLst>
                          <p:attrName>ppt_x</p:attrName>
                        </p:attrNameLst>
                      </p:cBhvr>
                      <p:tavLst>
                        <p:tav tm="0">
                          <p:val>
                            <p:strVal val="0-#ppt_w/2"/>
                          </p:val>
                        </p:tav>
                        <p:tav tm="100000">
                          <p:val>
                            <p:strVal val="#ppt_x"/>
                          </p:val>
                        </p:tav>
                      </p:tavLst>
                    </p:anim>
                    <p:anim calcmode="lin" valueType="num">
                      <p:cBhvr additive="base">
                        <p:cTn dur="1000" fill="hold"/>
                        <p:tgtEl>
                          <p:spTgt spid="19"/>
                        </p:tgtEl>
                        <p:attrNameLst>
                          <p:attrName>ppt_y</p:attrName>
                        </p:attrNameLst>
                      </p:cBhvr>
                      <p:tavLst>
                        <p:tav tm="0">
                          <p:val>
                            <p:strVal val="#ppt_y"/>
                          </p:val>
                        </p:tav>
                        <p:tav tm="100000">
                          <p:val>
                            <p:strVal val="#ppt_y"/>
                          </p:val>
                        </p:tav>
                      </p:tavLst>
                    </p:anim>
                  </p:childTnLst>
                </p:cTn>
              </p:par>
            </p:tnLst>
          </p:tmpl>
        </p:tmplLst>
      </p:bldP>
    </p:bldLst>
  </p:timing>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6 TEXT PLACEHOLDER with arrow">
    <p:spTree>
      <p:nvGrpSpPr>
        <p:cNvPr id="1" name=""/>
        <p:cNvGrpSpPr/>
        <p:nvPr/>
      </p:nvGrpSpPr>
      <p:grpSpPr>
        <a:xfrm>
          <a:off x="0" y="0"/>
          <a:ext cx="0" cy="0"/>
          <a:chOff x="0" y="0"/>
          <a:chExt cx="0" cy="0"/>
        </a:xfrm>
      </p:grpSpPr>
      <p:sp>
        <p:nvSpPr>
          <p:cNvPr id="44" name="Freihandform: Form 43">
            <a:extLst>
              <a:ext uri="{FF2B5EF4-FFF2-40B4-BE49-F238E27FC236}">
                <a16:creationId xmlns:a16="http://schemas.microsoft.com/office/drawing/2014/main" id="{5AB03B7D-630C-475D-827B-A5F0693756DD}"/>
              </a:ext>
            </a:extLst>
          </p:cNvPr>
          <p:cNvSpPr/>
          <p:nvPr userDrawn="1"/>
        </p:nvSpPr>
        <p:spPr>
          <a:xfrm>
            <a:off x="2362200" y="1975611"/>
            <a:ext cx="9829800" cy="4882390"/>
          </a:xfrm>
          <a:custGeom>
            <a:avLst/>
            <a:gdLst>
              <a:gd name="connsiteX0" fmla="*/ 910059 w 9829800"/>
              <a:gd name="connsiteY0" fmla="*/ 0 h 4882390"/>
              <a:gd name="connsiteX1" fmla="*/ 3015085 w 9829800"/>
              <a:gd name="connsiteY1" fmla="*/ 0 h 4882390"/>
              <a:gd name="connsiteX2" fmla="*/ 7981950 w 9829800"/>
              <a:gd name="connsiteY2" fmla="*/ 0 h 4882390"/>
              <a:gd name="connsiteX3" fmla="*/ 9829800 w 9829800"/>
              <a:gd name="connsiteY3" fmla="*/ 0 h 4882390"/>
              <a:gd name="connsiteX4" fmla="*/ 9829800 w 9829800"/>
              <a:gd name="connsiteY4" fmla="*/ 4882390 h 4882390"/>
              <a:gd name="connsiteX5" fmla="*/ 7981950 w 9829800"/>
              <a:gd name="connsiteY5" fmla="*/ 4882390 h 4882390"/>
              <a:gd name="connsiteX6" fmla="*/ 2183098 w 9829800"/>
              <a:gd name="connsiteY6" fmla="*/ 4882390 h 4882390"/>
              <a:gd name="connsiteX7" fmla="*/ 78072 w 9829800"/>
              <a:gd name="connsiteY7" fmla="*/ 4882390 h 4882390"/>
              <a:gd name="connsiteX8" fmla="*/ 0 w 9829800"/>
              <a:gd name="connsiteY8" fmla="*/ 4804318 h 4882390"/>
              <a:gd name="connsiteX9" fmla="*/ 831987 w 9829800"/>
              <a:gd name="connsiteY9" fmla="*/ 78072 h 4882390"/>
              <a:gd name="connsiteX10" fmla="*/ 910059 w 9829800"/>
              <a:gd name="connsiteY10" fmla="*/ 0 h 4882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829800" h="4882390">
                <a:moveTo>
                  <a:pt x="910059" y="0"/>
                </a:moveTo>
                <a:lnTo>
                  <a:pt x="3015085" y="0"/>
                </a:lnTo>
                <a:lnTo>
                  <a:pt x="7981950" y="0"/>
                </a:lnTo>
                <a:lnTo>
                  <a:pt x="9829800" y="0"/>
                </a:lnTo>
                <a:lnTo>
                  <a:pt x="9829800" y="4882390"/>
                </a:lnTo>
                <a:lnTo>
                  <a:pt x="7981950" y="4882390"/>
                </a:lnTo>
                <a:lnTo>
                  <a:pt x="2183098" y="4882390"/>
                </a:lnTo>
                <a:lnTo>
                  <a:pt x="78072" y="4882390"/>
                </a:lnTo>
                <a:cubicBezTo>
                  <a:pt x="34957" y="4882390"/>
                  <a:pt x="0" y="4847433"/>
                  <a:pt x="0" y="4804318"/>
                </a:cubicBezTo>
                <a:lnTo>
                  <a:pt x="831987" y="78072"/>
                </a:lnTo>
                <a:cubicBezTo>
                  <a:pt x="831987" y="34957"/>
                  <a:pt x="866945" y="0"/>
                  <a:pt x="910059" y="0"/>
                </a:cubicBezTo>
                <a:close/>
              </a:path>
            </a:pathLst>
          </a:custGeom>
          <a:gradFill>
            <a:gsLst>
              <a:gs pos="0">
                <a:schemeClr val="bg1"/>
              </a:gs>
              <a:gs pos="95000">
                <a:srgbClr val="ECF0F4"/>
              </a:gs>
            </a:gsLst>
            <a:lin ang="5400000" scaled="1"/>
          </a:gradFill>
          <a:ln w="11652" cap="flat">
            <a:noFill/>
            <a:prstDash val="solid"/>
            <a:miter/>
          </a:ln>
        </p:spPr>
        <p:txBody>
          <a:bodyPr rtlCol="0" anchor="ctr"/>
          <a:lstStyle/>
          <a:p>
            <a:endParaRPr lang="de-DE"/>
          </a:p>
        </p:txBody>
      </p:sp>
      <p:sp>
        <p:nvSpPr>
          <p:cNvPr id="2" name="Titel 1">
            <a:extLst>
              <a:ext uri="{FF2B5EF4-FFF2-40B4-BE49-F238E27FC236}">
                <a16:creationId xmlns:a16="http://schemas.microsoft.com/office/drawing/2014/main" id="{0526DC72-FA1D-422D-8055-3374742D122B}"/>
              </a:ext>
            </a:extLst>
          </p:cNvPr>
          <p:cNvSpPr>
            <a:spLocks noGrp="1"/>
          </p:cNvSpPr>
          <p:nvPr>
            <p:ph type="title"/>
          </p:nvPr>
        </p:nvSpPr>
        <p:spPr/>
        <p:txBody>
          <a:bodyPr/>
          <a:lstStyle>
            <a:lvl1pPr>
              <a:lnSpc>
                <a:spcPct val="100000"/>
              </a:lnSpc>
              <a:defRPr/>
            </a:lvl1pPr>
          </a:lstStyle>
          <a:p>
            <a:r>
              <a:rPr lang="de-DE"/>
              <a:t>Mastertitelformat bearbeiten</a:t>
            </a:r>
          </a:p>
        </p:txBody>
      </p:sp>
      <p:sp>
        <p:nvSpPr>
          <p:cNvPr id="3" name="Foliennummernplatzhalter 2">
            <a:extLst>
              <a:ext uri="{FF2B5EF4-FFF2-40B4-BE49-F238E27FC236}">
                <a16:creationId xmlns:a16="http://schemas.microsoft.com/office/drawing/2014/main" id="{5B327254-466C-4606-8589-BCC72CBDADDF}"/>
              </a:ext>
            </a:extLst>
          </p:cNvPr>
          <p:cNvSpPr>
            <a:spLocks noGrp="1"/>
          </p:cNvSpPr>
          <p:nvPr>
            <p:ph type="sldNum" sz="quarter" idx="10"/>
          </p:nvPr>
        </p:nvSpPr>
        <p:spPr/>
        <p:txBody>
          <a:bodyPr/>
          <a:lstStyle/>
          <a:p>
            <a:fld id="{A04BEB4F-8CE1-4F18-986F-6CE0A0BE9470}" type="slidenum">
              <a:rPr lang="de-DE" smtClean="0"/>
              <a:t>‹#›</a:t>
            </a:fld>
            <a:endParaRPr lang="de-DE"/>
          </a:p>
        </p:txBody>
      </p:sp>
      <p:sp>
        <p:nvSpPr>
          <p:cNvPr id="12" name="Textplatzhalter 16">
            <a:extLst>
              <a:ext uri="{FF2B5EF4-FFF2-40B4-BE49-F238E27FC236}">
                <a16:creationId xmlns:a16="http://schemas.microsoft.com/office/drawing/2014/main" id="{E8979402-175E-4E4E-8B33-074C7D26C256}"/>
              </a:ext>
            </a:extLst>
          </p:cNvPr>
          <p:cNvSpPr>
            <a:spLocks noGrp="1"/>
          </p:cNvSpPr>
          <p:nvPr>
            <p:ph type="body" sz="quarter" idx="11" hasCustomPrompt="1"/>
          </p:nvPr>
        </p:nvSpPr>
        <p:spPr>
          <a:xfrm>
            <a:off x="815951" y="2766184"/>
            <a:ext cx="2880000" cy="1080000"/>
          </a:xfrm>
        </p:spPr>
        <p:txBody>
          <a:bodyPr>
            <a:normAutofit/>
          </a:bodyPr>
          <a:lstStyle>
            <a:lvl1pPr marL="0" indent="0" algn="l">
              <a:buNone/>
              <a:defRPr sz="1200" b="0">
                <a:latin typeface="+mn-lt"/>
                <a:ea typeface="Roboto Medium" panose="02000000000000000000" pitchFamily="2" charset="0"/>
              </a:defRPr>
            </a:lvl1pPr>
          </a:lstStyle>
          <a:p>
            <a:pPr lvl="0"/>
            <a:r>
              <a:rPr lang="de-DE" err="1"/>
              <a:t>Lorem ipsum dolor sit amet, consectetuer adipiscing elit. Aenean commodo ligula eget dolor. </a:t>
            </a:r>
          </a:p>
        </p:txBody>
      </p:sp>
      <p:sp>
        <p:nvSpPr>
          <p:cNvPr id="13" name="Textplatzhalter 16">
            <a:extLst>
              <a:ext uri="{FF2B5EF4-FFF2-40B4-BE49-F238E27FC236}">
                <a16:creationId xmlns:a16="http://schemas.microsoft.com/office/drawing/2014/main" id="{2F1C55BF-A002-4A7B-A64B-2F8E118CDF09}"/>
              </a:ext>
            </a:extLst>
          </p:cNvPr>
          <p:cNvSpPr>
            <a:spLocks noGrp="1"/>
          </p:cNvSpPr>
          <p:nvPr>
            <p:ph type="body" sz="quarter" idx="12" hasCustomPrompt="1"/>
          </p:nvPr>
        </p:nvSpPr>
        <p:spPr>
          <a:xfrm>
            <a:off x="815951" y="2473708"/>
            <a:ext cx="2880000" cy="282952"/>
          </a:xfrm>
        </p:spPr>
        <p:txBody>
          <a:bodyPr>
            <a:normAutofit/>
          </a:bodyPr>
          <a:lstStyle>
            <a:lvl1pPr marL="0" indent="0">
              <a:buNone/>
              <a:defRPr sz="1200">
                <a:solidFill>
                  <a:schemeClr val="accent1"/>
                </a:solidFill>
                <a:latin typeface="Roboto Medium" panose="02000000000000000000" pitchFamily="2" charset="0"/>
                <a:ea typeface="Roboto Medium" panose="02000000000000000000" pitchFamily="2" charset="0"/>
              </a:defRPr>
            </a:lvl1pPr>
          </a:lstStyle>
          <a:p>
            <a:pPr lvl="0"/>
            <a:r>
              <a:rPr lang="de-DE"/>
              <a:t>HEADLINE</a:t>
            </a:r>
          </a:p>
        </p:txBody>
      </p:sp>
      <p:sp>
        <p:nvSpPr>
          <p:cNvPr id="15" name="Textplatzhalter 16">
            <a:extLst>
              <a:ext uri="{FF2B5EF4-FFF2-40B4-BE49-F238E27FC236}">
                <a16:creationId xmlns:a16="http://schemas.microsoft.com/office/drawing/2014/main" id="{D50E8765-C7B5-4312-9582-BF3EFB62EDE8}"/>
              </a:ext>
            </a:extLst>
          </p:cNvPr>
          <p:cNvSpPr>
            <a:spLocks noGrp="1"/>
          </p:cNvSpPr>
          <p:nvPr>
            <p:ph type="body" sz="quarter" idx="14" hasCustomPrompt="1"/>
          </p:nvPr>
        </p:nvSpPr>
        <p:spPr>
          <a:xfrm>
            <a:off x="4659767" y="2766184"/>
            <a:ext cx="2880000" cy="1080000"/>
          </a:xfrm>
        </p:spPr>
        <p:txBody>
          <a:bodyPr>
            <a:normAutofit/>
          </a:bodyPr>
          <a:lstStyle>
            <a:lvl1pPr marL="0" indent="0" algn="l">
              <a:buNone/>
              <a:defRPr sz="1200" b="0">
                <a:latin typeface="+mn-lt"/>
                <a:ea typeface="Roboto Medium" panose="02000000000000000000" pitchFamily="2" charset="0"/>
              </a:defRPr>
            </a:lvl1pPr>
          </a:lstStyle>
          <a:p>
            <a:pPr lvl="0"/>
            <a:r>
              <a:rPr lang="de-DE" err="1"/>
              <a:t>Lorem ipsum dolor sit amet, consectetuer adipiscing elit. Aenean commodo ligula eget dolor. </a:t>
            </a:r>
          </a:p>
        </p:txBody>
      </p:sp>
      <p:sp>
        <p:nvSpPr>
          <p:cNvPr id="16" name="Textplatzhalter 16">
            <a:extLst>
              <a:ext uri="{FF2B5EF4-FFF2-40B4-BE49-F238E27FC236}">
                <a16:creationId xmlns:a16="http://schemas.microsoft.com/office/drawing/2014/main" id="{2E7BA4E0-DFA3-4185-9996-FD734574643B}"/>
              </a:ext>
            </a:extLst>
          </p:cNvPr>
          <p:cNvSpPr>
            <a:spLocks noGrp="1"/>
          </p:cNvSpPr>
          <p:nvPr>
            <p:ph type="body" sz="quarter" idx="15" hasCustomPrompt="1"/>
          </p:nvPr>
        </p:nvSpPr>
        <p:spPr>
          <a:xfrm>
            <a:off x="4656000" y="2473708"/>
            <a:ext cx="2880000" cy="282952"/>
          </a:xfrm>
        </p:spPr>
        <p:txBody>
          <a:bodyPr>
            <a:normAutofit/>
          </a:bodyPr>
          <a:lstStyle>
            <a:lvl1pPr marL="0" indent="0">
              <a:buNone/>
              <a:defRPr sz="1200">
                <a:solidFill>
                  <a:schemeClr val="accent1"/>
                </a:solidFill>
                <a:latin typeface="Roboto Medium" panose="02000000000000000000" pitchFamily="2" charset="0"/>
                <a:ea typeface="Roboto Medium" panose="02000000000000000000" pitchFamily="2" charset="0"/>
              </a:defRPr>
            </a:lvl1pPr>
          </a:lstStyle>
          <a:p>
            <a:pPr lvl="0"/>
            <a:r>
              <a:rPr lang="de-DE"/>
              <a:t>HEADLINE</a:t>
            </a:r>
          </a:p>
        </p:txBody>
      </p:sp>
      <p:sp>
        <p:nvSpPr>
          <p:cNvPr id="18" name="Textplatzhalter 16">
            <a:extLst>
              <a:ext uri="{FF2B5EF4-FFF2-40B4-BE49-F238E27FC236}">
                <a16:creationId xmlns:a16="http://schemas.microsoft.com/office/drawing/2014/main" id="{010051D9-4832-4D4D-81B8-9E95F61D8D46}"/>
              </a:ext>
            </a:extLst>
          </p:cNvPr>
          <p:cNvSpPr>
            <a:spLocks noGrp="1"/>
          </p:cNvSpPr>
          <p:nvPr>
            <p:ph type="body" sz="quarter" idx="17" hasCustomPrompt="1"/>
          </p:nvPr>
        </p:nvSpPr>
        <p:spPr>
          <a:xfrm>
            <a:off x="8496047" y="2766184"/>
            <a:ext cx="2880000" cy="1080000"/>
          </a:xfrm>
        </p:spPr>
        <p:txBody>
          <a:bodyPr>
            <a:normAutofit/>
          </a:bodyPr>
          <a:lstStyle>
            <a:lvl1pPr marL="0" indent="0" algn="l">
              <a:buNone/>
              <a:defRPr sz="1200" b="0">
                <a:latin typeface="+mn-lt"/>
                <a:ea typeface="Roboto Medium" panose="02000000000000000000" pitchFamily="2" charset="0"/>
              </a:defRPr>
            </a:lvl1pPr>
          </a:lstStyle>
          <a:p>
            <a:pPr lvl="0"/>
            <a:r>
              <a:rPr lang="de-DE" err="1"/>
              <a:t>Lorem ipsum dolor sit amet, consectetuer adipiscing elit. Aenean commodo ligula eget dolor. </a:t>
            </a:r>
          </a:p>
        </p:txBody>
      </p:sp>
      <p:sp>
        <p:nvSpPr>
          <p:cNvPr id="19" name="Textplatzhalter 16">
            <a:extLst>
              <a:ext uri="{FF2B5EF4-FFF2-40B4-BE49-F238E27FC236}">
                <a16:creationId xmlns:a16="http://schemas.microsoft.com/office/drawing/2014/main" id="{9477F715-7F5E-4584-9759-A9B39215FA53}"/>
              </a:ext>
            </a:extLst>
          </p:cNvPr>
          <p:cNvSpPr>
            <a:spLocks noGrp="1"/>
          </p:cNvSpPr>
          <p:nvPr>
            <p:ph type="body" sz="quarter" idx="18" hasCustomPrompt="1"/>
          </p:nvPr>
        </p:nvSpPr>
        <p:spPr>
          <a:xfrm>
            <a:off x="8496047" y="2473708"/>
            <a:ext cx="2880000" cy="282952"/>
          </a:xfrm>
        </p:spPr>
        <p:txBody>
          <a:bodyPr>
            <a:normAutofit/>
          </a:bodyPr>
          <a:lstStyle>
            <a:lvl1pPr marL="0" indent="0">
              <a:buNone/>
              <a:defRPr sz="1200">
                <a:solidFill>
                  <a:schemeClr val="accent1"/>
                </a:solidFill>
                <a:latin typeface="Roboto Medium" panose="02000000000000000000" pitchFamily="2" charset="0"/>
                <a:ea typeface="Roboto Medium" panose="02000000000000000000" pitchFamily="2" charset="0"/>
              </a:defRPr>
            </a:lvl1pPr>
          </a:lstStyle>
          <a:p>
            <a:pPr lvl="0"/>
            <a:r>
              <a:rPr lang="de-DE"/>
              <a:t>HEADLINE</a:t>
            </a:r>
          </a:p>
        </p:txBody>
      </p:sp>
      <p:sp>
        <p:nvSpPr>
          <p:cNvPr id="21" name="Textplatzhalter 16">
            <a:extLst>
              <a:ext uri="{FF2B5EF4-FFF2-40B4-BE49-F238E27FC236}">
                <a16:creationId xmlns:a16="http://schemas.microsoft.com/office/drawing/2014/main" id="{6467E117-2D7F-4A70-8772-B9E04E2D3E9C}"/>
              </a:ext>
            </a:extLst>
          </p:cNvPr>
          <p:cNvSpPr>
            <a:spLocks noGrp="1"/>
          </p:cNvSpPr>
          <p:nvPr>
            <p:ph type="body" sz="quarter" idx="23" hasCustomPrompt="1"/>
          </p:nvPr>
        </p:nvSpPr>
        <p:spPr>
          <a:xfrm>
            <a:off x="815951" y="5111230"/>
            <a:ext cx="2880000" cy="1080000"/>
          </a:xfrm>
        </p:spPr>
        <p:txBody>
          <a:bodyPr>
            <a:normAutofit/>
          </a:bodyPr>
          <a:lstStyle>
            <a:lvl1pPr marL="0" indent="0" algn="l">
              <a:buNone/>
              <a:defRPr sz="1200" b="0">
                <a:latin typeface="+mn-lt"/>
                <a:ea typeface="Roboto Medium" panose="02000000000000000000" pitchFamily="2" charset="0"/>
              </a:defRPr>
            </a:lvl1pPr>
          </a:lstStyle>
          <a:p>
            <a:pPr lvl="0"/>
            <a:r>
              <a:rPr lang="de-DE" err="1"/>
              <a:t>Lorem ipsum dolor sit amet, consectetuer adipiscing elit. Aenean commodo ligula eget dolor. </a:t>
            </a:r>
          </a:p>
        </p:txBody>
      </p:sp>
      <p:sp>
        <p:nvSpPr>
          <p:cNvPr id="22" name="Textplatzhalter 16">
            <a:extLst>
              <a:ext uri="{FF2B5EF4-FFF2-40B4-BE49-F238E27FC236}">
                <a16:creationId xmlns:a16="http://schemas.microsoft.com/office/drawing/2014/main" id="{5C64CE7E-43EA-4388-9962-60839F9A0B2E}"/>
              </a:ext>
            </a:extLst>
          </p:cNvPr>
          <p:cNvSpPr>
            <a:spLocks noGrp="1"/>
          </p:cNvSpPr>
          <p:nvPr>
            <p:ph type="body" sz="quarter" idx="24" hasCustomPrompt="1"/>
          </p:nvPr>
        </p:nvSpPr>
        <p:spPr>
          <a:xfrm>
            <a:off x="815951" y="4818754"/>
            <a:ext cx="2880000" cy="282952"/>
          </a:xfrm>
        </p:spPr>
        <p:txBody>
          <a:bodyPr>
            <a:normAutofit/>
          </a:bodyPr>
          <a:lstStyle>
            <a:lvl1pPr marL="0" indent="0">
              <a:buNone/>
              <a:defRPr sz="1200">
                <a:solidFill>
                  <a:schemeClr val="accent1"/>
                </a:solidFill>
                <a:latin typeface="Roboto Medium" panose="02000000000000000000" pitchFamily="2" charset="0"/>
                <a:ea typeface="Roboto Medium" panose="02000000000000000000" pitchFamily="2" charset="0"/>
              </a:defRPr>
            </a:lvl1pPr>
          </a:lstStyle>
          <a:p>
            <a:pPr lvl="0"/>
            <a:r>
              <a:rPr lang="de-DE"/>
              <a:t>HEADLINE</a:t>
            </a:r>
          </a:p>
        </p:txBody>
      </p:sp>
      <p:sp>
        <p:nvSpPr>
          <p:cNvPr id="24" name="Textplatzhalter 16">
            <a:extLst>
              <a:ext uri="{FF2B5EF4-FFF2-40B4-BE49-F238E27FC236}">
                <a16:creationId xmlns:a16="http://schemas.microsoft.com/office/drawing/2014/main" id="{05B61C16-1C63-4F01-A156-7E17C1C9782E}"/>
              </a:ext>
            </a:extLst>
          </p:cNvPr>
          <p:cNvSpPr>
            <a:spLocks noGrp="1"/>
          </p:cNvSpPr>
          <p:nvPr>
            <p:ph type="body" sz="quarter" idx="26" hasCustomPrompt="1"/>
          </p:nvPr>
        </p:nvSpPr>
        <p:spPr>
          <a:xfrm>
            <a:off x="4659767" y="5111230"/>
            <a:ext cx="2880000" cy="1080000"/>
          </a:xfrm>
        </p:spPr>
        <p:txBody>
          <a:bodyPr>
            <a:normAutofit/>
          </a:bodyPr>
          <a:lstStyle>
            <a:lvl1pPr marL="0" indent="0" algn="l">
              <a:buNone/>
              <a:defRPr sz="1200" b="0">
                <a:latin typeface="+mn-lt"/>
                <a:ea typeface="Roboto Medium" panose="02000000000000000000" pitchFamily="2" charset="0"/>
              </a:defRPr>
            </a:lvl1pPr>
          </a:lstStyle>
          <a:p>
            <a:pPr lvl="0"/>
            <a:r>
              <a:rPr lang="de-DE" err="1"/>
              <a:t>Lorem ipsum dolor sit amet, consectetuer adipiscing elit. Aenean commodo ligula eget dolor. </a:t>
            </a:r>
          </a:p>
        </p:txBody>
      </p:sp>
      <p:sp>
        <p:nvSpPr>
          <p:cNvPr id="25" name="Textplatzhalter 16">
            <a:extLst>
              <a:ext uri="{FF2B5EF4-FFF2-40B4-BE49-F238E27FC236}">
                <a16:creationId xmlns:a16="http://schemas.microsoft.com/office/drawing/2014/main" id="{DD5D1B52-6E0F-402B-830E-753B199F7C41}"/>
              </a:ext>
            </a:extLst>
          </p:cNvPr>
          <p:cNvSpPr>
            <a:spLocks noGrp="1"/>
          </p:cNvSpPr>
          <p:nvPr>
            <p:ph type="body" sz="quarter" idx="27" hasCustomPrompt="1"/>
          </p:nvPr>
        </p:nvSpPr>
        <p:spPr>
          <a:xfrm>
            <a:off x="4656000" y="4818754"/>
            <a:ext cx="2880000" cy="282952"/>
          </a:xfrm>
        </p:spPr>
        <p:txBody>
          <a:bodyPr>
            <a:normAutofit/>
          </a:bodyPr>
          <a:lstStyle>
            <a:lvl1pPr marL="0" indent="0">
              <a:buNone/>
              <a:defRPr sz="1200">
                <a:solidFill>
                  <a:schemeClr val="accent1"/>
                </a:solidFill>
                <a:latin typeface="Roboto Medium" panose="02000000000000000000" pitchFamily="2" charset="0"/>
                <a:ea typeface="Roboto Medium" panose="02000000000000000000" pitchFamily="2" charset="0"/>
              </a:defRPr>
            </a:lvl1pPr>
          </a:lstStyle>
          <a:p>
            <a:pPr lvl="0"/>
            <a:r>
              <a:rPr lang="de-DE"/>
              <a:t>HEADLINE</a:t>
            </a:r>
          </a:p>
        </p:txBody>
      </p:sp>
      <p:sp>
        <p:nvSpPr>
          <p:cNvPr id="27" name="Textplatzhalter 16">
            <a:extLst>
              <a:ext uri="{FF2B5EF4-FFF2-40B4-BE49-F238E27FC236}">
                <a16:creationId xmlns:a16="http://schemas.microsoft.com/office/drawing/2014/main" id="{3336DA16-BDD1-4995-BF44-D576856E997F}"/>
              </a:ext>
            </a:extLst>
          </p:cNvPr>
          <p:cNvSpPr>
            <a:spLocks noGrp="1"/>
          </p:cNvSpPr>
          <p:nvPr>
            <p:ph type="body" sz="quarter" idx="29" hasCustomPrompt="1"/>
          </p:nvPr>
        </p:nvSpPr>
        <p:spPr>
          <a:xfrm>
            <a:off x="8496047" y="5111230"/>
            <a:ext cx="2880000" cy="1080000"/>
          </a:xfrm>
        </p:spPr>
        <p:txBody>
          <a:bodyPr>
            <a:normAutofit/>
          </a:bodyPr>
          <a:lstStyle>
            <a:lvl1pPr marL="0" indent="0" algn="l">
              <a:buNone/>
              <a:defRPr sz="1200" b="0">
                <a:latin typeface="+mn-lt"/>
                <a:ea typeface="Roboto Medium" panose="02000000000000000000" pitchFamily="2" charset="0"/>
              </a:defRPr>
            </a:lvl1pPr>
          </a:lstStyle>
          <a:p>
            <a:pPr lvl="0"/>
            <a:r>
              <a:rPr lang="de-DE" err="1"/>
              <a:t>Lorem ipsum dolor sit amet, consectetuer adipiscing elit. Aenean commodo ligula eget dolor. </a:t>
            </a:r>
          </a:p>
        </p:txBody>
      </p:sp>
      <p:sp>
        <p:nvSpPr>
          <p:cNvPr id="28" name="Textplatzhalter 16">
            <a:extLst>
              <a:ext uri="{FF2B5EF4-FFF2-40B4-BE49-F238E27FC236}">
                <a16:creationId xmlns:a16="http://schemas.microsoft.com/office/drawing/2014/main" id="{339E5653-9E33-41E2-89D8-2FFAA88AD51F}"/>
              </a:ext>
            </a:extLst>
          </p:cNvPr>
          <p:cNvSpPr>
            <a:spLocks noGrp="1"/>
          </p:cNvSpPr>
          <p:nvPr>
            <p:ph type="body" sz="quarter" idx="30" hasCustomPrompt="1"/>
          </p:nvPr>
        </p:nvSpPr>
        <p:spPr>
          <a:xfrm>
            <a:off x="8496047" y="4818754"/>
            <a:ext cx="2880000" cy="282952"/>
          </a:xfrm>
        </p:spPr>
        <p:txBody>
          <a:bodyPr>
            <a:normAutofit/>
          </a:bodyPr>
          <a:lstStyle>
            <a:lvl1pPr marL="0" indent="0">
              <a:buNone/>
              <a:defRPr sz="1200">
                <a:solidFill>
                  <a:schemeClr val="accent1"/>
                </a:solidFill>
                <a:latin typeface="Roboto Medium" panose="02000000000000000000" pitchFamily="2" charset="0"/>
                <a:ea typeface="Roboto Medium" panose="02000000000000000000" pitchFamily="2" charset="0"/>
              </a:defRPr>
            </a:lvl1pPr>
          </a:lstStyle>
          <a:p>
            <a:pPr lvl="0"/>
            <a:r>
              <a:rPr lang="de-DE"/>
              <a:t>HEADLINE</a:t>
            </a:r>
          </a:p>
        </p:txBody>
      </p:sp>
      <p:pic>
        <p:nvPicPr>
          <p:cNvPr id="5" name="Grafik 4">
            <a:extLst>
              <a:ext uri="{FF2B5EF4-FFF2-40B4-BE49-F238E27FC236}">
                <a16:creationId xmlns:a16="http://schemas.microsoft.com/office/drawing/2014/main" id="{CC0F1D66-EEDF-4A66-A10E-A1FC51DC01D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15951" y="1975610"/>
            <a:ext cx="407987" cy="407987"/>
          </a:xfrm>
          <a:prstGeom prst="rect">
            <a:avLst/>
          </a:prstGeom>
        </p:spPr>
      </p:pic>
      <p:pic>
        <p:nvPicPr>
          <p:cNvPr id="29" name="Grafik 28">
            <a:extLst>
              <a:ext uri="{FF2B5EF4-FFF2-40B4-BE49-F238E27FC236}">
                <a16:creationId xmlns:a16="http://schemas.microsoft.com/office/drawing/2014/main" id="{0BC42B07-976F-445E-A7C5-F5BE3204239F}"/>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655999" y="1975610"/>
            <a:ext cx="407987" cy="407987"/>
          </a:xfrm>
          <a:prstGeom prst="rect">
            <a:avLst/>
          </a:prstGeom>
        </p:spPr>
      </p:pic>
      <p:pic>
        <p:nvPicPr>
          <p:cNvPr id="30" name="Grafik 29">
            <a:extLst>
              <a:ext uri="{FF2B5EF4-FFF2-40B4-BE49-F238E27FC236}">
                <a16:creationId xmlns:a16="http://schemas.microsoft.com/office/drawing/2014/main" id="{FE225B2C-86E4-40BA-BE45-8A5095EAFD2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496047" y="1975610"/>
            <a:ext cx="407987" cy="407987"/>
          </a:xfrm>
          <a:prstGeom prst="rect">
            <a:avLst/>
          </a:prstGeom>
        </p:spPr>
      </p:pic>
      <p:pic>
        <p:nvPicPr>
          <p:cNvPr id="31" name="Grafik 30">
            <a:extLst>
              <a:ext uri="{FF2B5EF4-FFF2-40B4-BE49-F238E27FC236}">
                <a16:creationId xmlns:a16="http://schemas.microsoft.com/office/drawing/2014/main" id="{2AA9F8CC-CF55-49A1-BA2A-7DD3C6188747}"/>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15950" y="4320656"/>
            <a:ext cx="407987" cy="407987"/>
          </a:xfrm>
          <a:prstGeom prst="rect">
            <a:avLst/>
          </a:prstGeom>
        </p:spPr>
      </p:pic>
      <p:pic>
        <p:nvPicPr>
          <p:cNvPr id="32" name="Grafik 31">
            <a:extLst>
              <a:ext uri="{FF2B5EF4-FFF2-40B4-BE49-F238E27FC236}">
                <a16:creationId xmlns:a16="http://schemas.microsoft.com/office/drawing/2014/main" id="{AC42B563-7BF7-42A9-9BDE-5BBF579F9E3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655998" y="4320656"/>
            <a:ext cx="407987" cy="407987"/>
          </a:xfrm>
          <a:prstGeom prst="rect">
            <a:avLst/>
          </a:prstGeom>
        </p:spPr>
      </p:pic>
      <p:pic>
        <p:nvPicPr>
          <p:cNvPr id="33" name="Grafik 32">
            <a:extLst>
              <a:ext uri="{FF2B5EF4-FFF2-40B4-BE49-F238E27FC236}">
                <a16:creationId xmlns:a16="http://schemas.microsoft.com/office/drawing/2014/main" id="{099F64E5-296B-49BF-8F9B-9CD2F299BD65}"/>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496046" y="4320656"/>
            <a:ext cx="407987" cy="407987"/>
          </a:xfrm>
          <a:prstGeom prst="rect">
            <a:avLst/>
          </a:prstGeom>
        </p:spPr>
      </p:pic>
    </p:spTree>
    <p:extLst>
      <p:ext uri="{BB962C8B-B14F-4D97-AF65-F5344CB8AC3E}">
        <p14:creationId xmlns:p14="http://schemas.microsoft.com/office/powerpoint/2010/main" val="3724180267"/>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8" dur="1000" decel="10000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0-#ppt_w/2"/>
                                          </p:val>
                                        </p:tav>
                                        <p:tav tm="100000">
                                          <p:val>
                                            <p:strVal val="#ppt_x"/>
                                          </p:val>
                                        </p:tav>
                                      </p:tavLst>
                                    </p:anim>
                                    <p:anim calcmode="lin" valueType="num">
                                      <p:cBhvr additive="base">
                                        <p:cTn id="8" dur="1000" fill="hold"/>
                                        <p:tgtEl>
                                          <p:spTgt spid="2"/>
                                        </p:tgtEl>
                                        <p:attrNameLst>
                                          <p:attrName>ppt_y</p:attrName>
                                        </p:attrNameLst>
                                      </p:cBhvr>
                                      <p:tavLst>
                                        <p:tav tm="0">
                                          <p:val>
                                            <p:strVal val="#ppt_y"/>
                                          </p:val>
                                        </p:tav>
                                        <p:tav tm="100000">
                                          <p:val>
                                            <p:strVal val="#ppt_y"/>
                                          </p:val>
                                        </p:tav>
                                      </p:tavLst>
                                    </p:anim>
                                  </p:childTnLst>
                                </p:cTn>
                              </p:par>
                              <p:par>
                                <p:cTn id="9" presetID="2" presetClass="entr" presetSubtype="8" dur="1000" decel="100000" fill="hold" nodeType="withEffect">
                                  <p:stCondLst>
                                    <p:cond delay="250"/>
                                  </p:stCondLst>
                                  <p:childTnLst>
                                    <p:set>
                                      <p:cBhvr>
                                        <p:cTn id="10" dur="1" fill="hold">
                                          <p:stCondLst>
                                            <p:cond delay="0"/>
                                          </p:stCondLst>
                                        </p:cTn>
                                        <p:tgtEl>
                                          <p:spTgt spid="30"/>
                                        </p:tgtEl>
                                        <p:attrNameLst>
                                          <p:attrName>style.visibility</p:attrName>
                                        </p:attrNameLst>
                                      </p:cBhvr>
                                      <p:to>
                                        <p:strVal val="visible"/>
                                      </p:to>
                                    </p:set>
                                    <p:anim calcmode="lin" valueType="num">
                                      <p:cBhvr additive="base">
                                        <p:cTn id="11" dur="1000" fill="hold"/>
                                        <p:tgtEl>
                                          <p:spTgt spid="30"/>
                                        </p:tgtEl>
                                        <p:attrNameLst>
                                          <p:attrName>ppt_x</p:attrName>
                                        </p:attrNameLst>
                                      </p:cBhvr>
                                      <p:tavLst>
                                        <p:tav tm="0">
                                          <p:val>
                                            <p:strVal val="0-#ppt_w/2"/>
                                          </p:val>
                                        </p:tav>
                                        <p:tav tm="100000">
                                          <p:val>
                                            <p:strVal val="#ppt_x"/>
                                          </p:val>
                                        </p:tav>
                                      </p:tavLst>
                                    </p:anim>
                                    <p:anim calcmode="lin" valueType="num">
                                      <p:cBhvr additive="base">
                                        <p:cTn id="12" dur="1000" fill="hold"/>
                                        <p:tgtEl>
                                          <p:spTgt spid="30"/>
                                        </p:tgtEl>
                                        <p:attrNameLst>
                                          <p:attrName>ppt_y</p:attrName>
                                        </p:attrNameLst>
                                      </p:cBhvr>
                                      <p:tavLst>
                                        <p:tav tm="0">
                                          <p:val>
                                            <p:strVal val="#ppt_y"/>
                                          </p:val>
                                        </p:tav>
                                        <p:tav tm="100000">
                                          <p:val>
                                            <p:strVal val="#ppt_y"/>
                                          </p:val>
                                        </p:tav>
                                      </p:tavLst>
                                    </p:anim>
                                  </p:childTnLst>
                                </p:cTn>
                              </p:par>
                              <p:par>
                                <p:cTn id="13" presetID="2" presetClass="entr" presetSubtype="8" dur="1000" decel="100000" fill="hold" grpId="0" nodeType="withEffect">
                                  <p:stCondLst>
                                    <p:cond delay="250"/>
                                  </p:stCondLst>
                                  <p:childTnLst>
                                    <p:set>
                                      <p:cBhvr>
                                        <p:cTn id="14" dur="1" fill="hold">
                                          <p:stCondLst>
                                            <p:cond delay="0"/>
                                          </p:stCondLst>
                                        </p:cTn>
                                        <p:tgtEl>
                                          <p:spTgt spid="19"/>
                                        </p:tgtEl>
                                        <p:attrNameLst>
                                          <p:attrName>style.visibility</p:attrName>
                                        </p:attrNameLst>
                                      </p:cBhvr>
                                      <p:to>
                                        <p:strVal val="visible"/>
                                      </p:to>
                                    </p:set>
                                    <p:anim calcmode="lin" valueType="num">
                                      <p:cBhvr additive="base">
                                        <p:cTn id="15" dur="1000" fill="hold"/>
                                        <p:tgtEl>
                                          <p:spTgt spid="19"/>
                                        </p:tgtEl>
                                        <p:attrNameLst>
                                          <p:attrName>ppt_x</p:attrName>
                                        </p:attrNameLst>
                                      </p:cBhvr>
                                      <p:tavLst>
                                        <p:tav tm="0">
                                          <p:val>
                                            <p:strVal val="0-#ppt_w/2"/>
                                          </p:val>
                                        </p:tav>
                                        <p:tav tm="100000">
                                          <p:val>
                                            <p:strVal val="#ppt_x"/>
                                          </p:val>
                                        </p:tav>
                                      </p:tavLst>
                                    </p:anim>
                                    <p:anim calcmode="lin" valueType="num">
                                      <p:cBhvr additive="base">
                                        <p:cTn id="16" dur="1000" fill="hold"/>
                                        <p:tgtEl>
                                          <p:spTgt spid="19"/>
                                        </p:tgtEl>
                                        <p:attrNameLst>
                                          <p:attrName>ppt_y</p:attrName>
                                        </p:attrNameLst>
                                      </p:cBhvr>
                                      <p:tavLst>
                                        <p:tav tm="0">
                                          <p:val>
                                            <p:strVal val="#ppt_y"/>
                                          </p:val>
                                        </p:tav>
                                        <p:tav tm="100000">
                                          <p:val>
                                            <p:strVal val="#ppt_y"/>
                                          </p:val>
                                        </p:tav>
                                      </p:tavLst>
                                    </p:anim>
                                  </p:childTnLst>
                                </p:cTn>
                              </p:par>
                              <p:par>
                                <p:cTn id="17" presetID="2" presetClass="entr" presetSubtype="8" dur="1000" decel="100000" fill="hold" grpId="0" nodeType="withEffect">
                                  <p:stCondLst>
                                    <p:cond delay="250"/>
                                  </p:stCondLst>
                                  <p:childTnLst>
                                    <p:set>
                                      <p:cBhvr>
                                        <p:cTn id="18" dur="1" fill="hold">
                                          <p:stCondLst>
                                            <p:cond delay="0"/>
                                          </p:stCondLst>
                                        </p:cTn>
                                        <p:tgtEl>
                                          <p:spTgt spid="18"/>
                                        </p:tgtEl>
                                        <p:attrNameLst>
                                          <p:attrName>style.visibility</p:attrName>
                                        </p:attrNameLst>
                                      </p:cBhvr>
                                      <p:to>
                                        <p:strVal val="visible"/>
                                      </p:to>
                                    </p:set>
                                    <p:anim calcmode="lin" valueType="num">
                                      <p:cBhvr additive="base">
                                        <p:cTn id="19" dur="1000" fill="hold"/>
                                        <p:tgtEl>
                                          <p:spTgt spid="18"/>
                                        </p:tgtEl>
                                        <p:attrNameLst>
                                          <p:attrName>ppt_x</p:attrName>
                                        </p:attrNameLst>
                                      </p:cBhvr>
                                      <p:tavLst>
                                        <p:tav tm="0">
                                          <p:val>
                                            <p:strVal val="0-#ppt_w/2"/>
                                          </p:val>
                                        </p:tav>
                                        <p:tav tm="100000">
                                          <p:val>
                                            <p:strVal val="#ppt_x"/>
                                          </p:val>
                                        </p:tav>
                                      </p:tavLst>
                                    </p:anim>
                                    <p:anim calcmode="lin" valueType="num">
                                      <p:cBhvr additive="base">
                                        <p:cTn id="20" dur="1000" fill="hold"/>
                                        <p:tgtEl>
                                          <p:spTgt spid="18"/>
                                        </p:tgtEl>
                                        <p:attrNameLst>
                                          <p:attrName>ppt_y</p:attrName>
                                        </p:attrNameLst>
                                      </p:cBhvr>
                                      <p:tavLst>
                                        <p:tav tm="0">
                                          <p:val>
                                            <p:strVal val="#ppt_y"/>
                                          </p:val>
                                        </p:tav>
                                        <p:tav tm="100000">
                                          <p:val>
                                            <p:strVal val="#ppt_y"/>
                                          </p:val>
                                        </p:tav>
                                      </p:tavLst>
                                    </p:anim>
                                  </p:childTnLst>
                                </p:cTn>
                              </p:par>
                              <p:par>
                                <p:cTn id="21" presetID="2" presetClass="entr" presetSubtype="8" dur="1000" decel="100000" fill="hold" nodeType="withEffect">
                                  <p:stCondLst>
                                    <p:cond delay="250"/>
                                  </p:stCondLst>
                                  <p:childTnLst>
                                    <p:set>
                                      <p:cBhvr>
                                        <p:cTn id="22" dur="1" fill="hold">
                                          <p:stCondLst>
                                            <p:cond delay="0"/>
                                          </p:stCondLst>
                                        </p:cTn>
                                        <p:tgtEl>
                                          <p:spTgt spid="33"/>
                                        </p:tgtEl>
                                        <p:attrNameLst>
                                          <p:attrName>style.visibility</p:attrName>
                                        </p:attrNameLst>
                                      </p:cBhvr>
                                      <p:to>
                                        <p:strVal val="visible"/>
                                      </p:to>
                                    </p:set>
                                    <p:anim calcmode="lin" valueType="num">
                                      <p:cBhvr additive="base">
                                        <p:cTn id="23" dur="1000" fill="hold"/>
                                        <p:tgtEl>
                                          <p:spTgt spid="33"/>
                                        </p:tgtEl>
                                        <p:attrNameLst>
                                          <p:attrName>ppt_x</p:attrName>
                                        </p:attrNameLst>
                                      </p:cBhvr>
                                      <p:tavLst>
                                        <p:tav tm="0">
                                          <p:val>
                                            <p:strVal val="0-#ppt_w/2"/>
                                          </p:val>
                                        </p:tav>
                                        <p:tav tm="100000">
                                          <p:val>
                                            <p:strVal val="#ppt_x"/>
                                          </p:val>
                                        </p:tav>
                                      </p:tavLst>
                                    </p:anim>
                                    <p:anim calcmode="lin" valueType="num">
                                      <p:cBhvr additive="base">
                                        <p:cTn id="24" dur="1000" fill="hold"/>
                                        <p:tgtEl>
                                          <p:spTgt spid="33"/>
                                        </p:tgtEl>
                                        <p:attrNameLst>
                                          <p:attrName>ppt_y</p:attrName>
                                        </p:attrNameLst>
                                      </p:cBhvr>
                                      <p:tavLst>
                                        <p:tav tm="0">
                                          <p:val>
                                            <p:strVal val="#ppt_y"/>
                                          </p:val>
                                        </p:tav>
                                        <p:tav tm="100000">
                                          <p:val>
                                            <p:strVal val="#ppt_y"/>
                                          </p:val>
                                        </p:tav>
                                      </p:tavLst>
                                    </p:anim>
                                  </p:childTnLst>
                                </p:cTn>
                              </p:par>
                              <p:par>
                                <p:cTn id="25" presetID="2" presetClass="entr" presetSubtype="8" dur="1000" decel="100000" fill="hold" grpId="0" nodeType="withEffect">
                                  <p:stCondLst>
                                    <p:cond delay="250"/>
                                  </p:stCondLst>
                                  <p:childTnLst>
                                    <p:set>
                                      <p:cBhvr>
                                        <p:cTn id="26" dur="1" fill="hold">
                                          <p:stCondLst>
                                            <p:cond delay="0"/>
                                          </p:stCondLst>
                                        </p:cTn>
                                        <p:tgtEl>
                                          <p:spTgt spid="28"/>
                                        </p:tgtEl>
                                        <p:attrNameLst>
                                          <p:attrName>style.visibility</p:attrName>
                                        </p:attrNameLst>
                                      </p:cBhvr>
                                      <p:to>
                                        <p:strVal val="visible"/>
                                      </p:to>
                                    </p:set>
                                    <p:anim calcmode="lin" valueType="num">
                                      <p:cBhvr additive="base">
                                        <p:cTn id="27" dur="1000" fill="hold"/>
                                        <p:tgtEl>
                                          <p:spTgt spid="28"/>
                                        </p:tgtEl>
                                        <p:attrNameLst>
                                          <p:attrName>ppt_x</p:attrName>
                                        </p:attrNameLst>
                                      </p:cBhvr>
                                      <p:tavLst>
                                        <p:tav tm="0">
                                          <p:val>
                                            <p:strVal val="0-#ppt_w/2"/>
                                          </p:val>
                                        </p:tav>
                                        <p:tav tm="100000">
                                          <p:val>
                                            <p:strVal val="#ppt_x"/>
                                          </p:val>
                                        </p:tav>
                                      </p:tavLst>
                                    </p:anim>
                                    <p:anim calcmode="lin" valueType="num">
                                      <p:cBhvr additive="base">
                                        <p:cTn id="28" dur="1000" fill="hold"/>
                                        <p:tgtEl>
                                          <p:spTgt spid="28"/>
                                        </p:tgtEl>
                                        <p:attrNameLst>
                                          <p:attrName>ppt_y</p:attrName>
                                        </p:attrNameLst>
                                      </p:cBhvr>
                                      <p:tavLst>
                                        <p:tav tm="0">
                                          <p:val>
                                            <p:strVal val="#ppt_y"/>
                                          </p:val>
                                        </p:tav>
                                        <p:tav tm="100000">
                                          <p:val>
                                            <p:strVal val="#ppt_y"/>
                                          </p:val>
                                        </p:tav>
                                      </p:tavLst>
                                    </p:anim>
                                  </p:childTnLst>
                                </p:cTn>
                              </p:par>
                              <p:par>
                                <p:cTn id="29" presetID="2" presetClass="entr" presetSubtype="8" dur="1000" decel="100000" fill="hold" grpId="0" nodeType="withEffect">
                                  <p:stCondLst>
                                    <p:cond delay="250"/>
                                  </p:stCondLst>
                                  <p:childTnLst>
                                    <p:set>
                                      <p:cBhvr>
                                        <p:cTn id="30" dur="1" fill="hold">
                                          <p:stCondLst>
                                            <p:cond delay="0"/>
                                          </p:stCondLst>
                                        </p:cTn>
                                        <p:tgtEl>
                                          <p:spTgt spid="27"/>
                                        </p:tgtEl>
                                        <p:attrNameLst>
                                          <p:attrName>style.visibility</p:attrName>
                                        </p:attrNameLst>
                                      </p:cBhvr>
                                      <p:to>
                                        <p:strVal val="visible"/>
                                      </p:to>
                                    </p:set>
                                    <p:anim calcmode="lin" valueType="num">
                                      <p:cBhvr additive="base">
                                        <p:cTn id="31" dur="1000" fill="hold"/>
                                        <p:tgtEl>
                                          <p:spTgt spid="27"/>
                                        </p:tgtEl>
                                        <p:attrNameLst>
                                          <p:attrName>ppt_x</p:attrName>
                                        </p:attrNameLst>
                                      </p:cBhvr>
                                      <p:tavLst>
                                        <p:tav tm="0">
                                          <p:val>
                                            <p:strVal val="0-#ppt_w/2"/>
                                          </p:val>
                                        </p:tav>
                                        <p:tav tm="100000">
                                          <p:val>
                                            <p:strVal val="#ppt_x"/>
                                          </p:val>
                                        </p:tav>
                                      </p:tavLst>
                                    </p:anim>
                                    <p:anim calcmode="lin" valueType="num">
                                      <p:cBhvr additive="base">
                                        <p:cTn id="32" dur="1000" fill="hold"/>
                                        <p:tgtEl>
                                          <p:spTgt spid="27"/>
                                        </p:tgtEl>
                                        <p:attrNameLst>
                                          <p:attrName>ppt_y</p:attrName>
                                        </p:attrNameLst>
                                      </p:cBhvr>
                                      <p:tavLst>
                                        <p:tav tm="0">
                                          <p:val>
                                            <p:strVal val="#ppt_y"/>
                                          </p:val>
                                        </p:tav>
                                        <p:tav tm="100000">
                                          <p:val>
                                            <p:strVal val="#ppt_y"/>
                                          </p:val>
                                        </p:tav>
                                      </p:tavLst>
                                    </p:anim>
                                  </p:childTnLst>
                                </p:cTn>
                              </p:par>
                              <p:par>
                                <p:cTn id="33" presetID="2" presetClass="entr" presetSubtype="8" dur="1000" decel="100000" fill="hold" nodeType="withEffect">
                                  <p:stCondLst>
                                    <p:cond delay="500"/>
                                  </p:stCondLst>
                                  <p:childTnLst>
                                    <p:set>
                                      <p:cBhvr>
                                        <p:cTn id="34" dur="1" fill="hold">
                                          <p:stCondLst>
                                            <p:cond delay="0"/>
                                          </p:stCondLst>
                                        </p:cTn>
                                        <p:tgtEl>
                                          <p:spTgt spid="29"/>
                                        </p:tgtEl>
                                        <p:attrNameLst>
                                          <p:attrName>style.visibility</p:attrName>
                                        </p:attrNameLst>
                                      </p:cBhvr>
                                      <p:to>
                                        <p:strVal val="visible"/>
                                      </p:to>
                                    </p:set>
                                    <p:anim calcmode="lin" valueType="num">
                                      <p:cBhvr additive="base">
                                        <p:cTn id="35" dur="1000" fill="hold"/>
                                        <p:tgtEl>
                                          <p:spTgt spid="29"/>
                                        </p:tgtEl>
                                        <p:attrNameLst>
                                          <p:attrName>ppt_x</p:attrName>
                                        </p:attrNameLst>
                                      </p:cBhvr>
                                      <p:tavLst>
                                        <p:tav tm="0">
                                          <p:val>
                                            <p:strVal val="0-#ppt_w/2"/>
                                          </p:val>
                                        </p:tav>
                                        <p:tav tm="100000">
                                          <p:val>
                                            <p:strVal val="#ppt_x"/>
                                          </p:val>
                                        </p:tav>
                                      </p:tavLst>
                                    </p:anim>
                                    <p:anim calcmode="lin" valueType="num">
                                      <p:cBhvr additive="base">
                                        <p:cTn id="36" dur="1000" fill="hold"/>
                                        <p:tgtEl>
                                          <p:spTgt spid="29"/>
                                        </p:tgtEl>
                                        <p:attrNameLst>
                                          <p:attrName>ppt_y</p:attrName>
                                        </p:attrNameLst>
                                      </p:cBhvr>
                                      <p:tavLst>
                                        <p:tav tm="0">
                                          <p:val>
                                            <p:strVal val="#ppt_y"/>
                                          </p:val>
                                        </p:tav>
                                        <p:tav tm="100000">
                                          <p:val>
                                            <p:strVal val="#ppt_y"/>
                                          </p:val>
                                        </p:tav>
                                      </p:tavLst>
                                    </p:anim>
                                  </p:childTnLst>
                                </p:cTn>
                              </p:par>
                              <p:par>
                                <p:cTn id="37" presetID="2" presetClass="entr" presetSubtype="8" dur="1000" decel="100000" fill="hold" grpId="0" nodeType="withEffect">
                                  <p:stCondLst>
                                    <p:cond delay="500"/>
                                  </p:stCondLst>
                                  <p:childTnLst>
                                    <p:set>
                                      <p:cBhvr>
                                        <p:cTn id="38" dur="1" fill="hold">
                                          <p:stCondLst>
                                            <p:cond delay="0"/>
                                          </p:stCondLst>
                                        </p:cTn>
                                        <p:tgtEl>
                                          <p:spTgt spid="16"/>
                                        </p:tgtEl>
                                        <p:attrNameLst>
                                          <p:attrName>style.visibility</p:attrName>
                                        </p:attrNameLst>
                                      </p:cBhvr>
                                      <p:to>
                                        <p:strVal val="visible"/>
                                      </p:to>
                                    </p:set>
                                    <p:anim calcmode="lin" valueType="num">
                                      <p:cBhvr additive="base">
                                        <p:cTn id="39" dur="1000" fill="hold"/>
                                        <p:tgtEl>
                                          <p:spTgt spid="16"/>
                                        </p:tgtEl>
                                        <p:attrNameLst>
                                          <p:attrName>ppt_x</p:attrName>
                                        </p:attrNameLst>
                                      </p:cBhvr>
                                      <p:tavLst>
                                        <p:tav tm="0">
                                          <p:val>
                                            <p:strVal val="0-#ppt_w/2"/>
                                          </p:val>
                                        </p:tav>
                                        <p:tav tm="100000">
                                          <p:val>
                                            <p:strVal val="#ppt_x"/>
                                          </p:val>
                                        </p:tav>
                                      </p:tavLst>
                                    </p:anim>
                                    <p:anim calcmode="lin" valueType="num">
                                      <p:cBhvr additive="base">
                                        <p:cTn id="40" dur="1000" fill="hold"/>
                                        <p:tgtEl>
                                          <p:spTgt spid="16"/>
                                        </p:tgtEl>
                                        <p:attrNameLst>
                                          <p:attrName>ppt_y</p:attrName>
                                        </p:attrNameLst>
                                      </p:cBhvr>
                                      <p:tavLst>
                                        <p:tav tm="0">
                                          <p:val>
                                            <p:strVal val="#ppt_y"/>
                                          </p:val>
                                        </p:tav>
                                        <p:tav tm="100000">
                                          <p:val>
                                            <p:strVal val="#ppt_y"/>
                                          </p:val>
                                        </p:tav>
                                      </p:tavLst>
                                    </p:anim>
                                  </p:childTnLst>
                                </p:cTn>
                              </p:par>
                              <p:par>
                                <p:cTn id="41" presetID="2" presetClass="entr" presetSubtype="8" dur="1000" decel="100000" fill="hold" grpId="0" nodeType="withEffect">
                                  <p:stCondLst>
                                    <p:cond delay="500"/>
                                  </p:stCondLst>
                                  <p:childTnLst>
                                    <p:set>
                                      <p:cBhvr>
                                        <p:cTn id="42" dur="1" fill="hold">
                                          <p:stCondLst>
                                            <p:cond delay="0"/>
                                          </p:stCondLst>
                                        </p:cTn>
                                        <p:tgtEl>
                                          <p:spTgt spid="15"/>
                                        </p:tgtEl>
                                        <p:attrNameLst>
                                          <p:attrName>style.visibility</p:attrName>
                                        </p:attrNameLst>
                                      </p:cBhvr>
                                      <p:to>
                                        <p:strVal val="visible"/>
                                      </p:to>
                                    </p:set>
                                    <p:anim calcmode="lin" valueType="num">
                                      <p:cBhvr additive="base">
                                        <p:cTn id="43" dur="1000" fill="hold"/>
                                        <p:tgtEl>
                                          <p:spTgt spid="15"/>
                                        </p:tgtEl>
                                        <p:attrNameLst>
                                          <p:attrName>ppt_x</p:attrName>
                                        </p:attrNameLst>
                                      </p:cBhvr>
                                      <p:tavLst>
                                        <p:tav tm="0">
                                          <p:val>
                                            <p:strVal val="0-#ppt_w/2"/>
                                          </p:val>
                                        </p:tav>
                                        <p:tav tm="100000">
                                          <p:val>
                                            <p:strVal val="#ppt_x"/>
                                          </p:val>
                                        </p:tav>
                                      </p:tavLst>
                                    </p:anim>
                                    <p:anim calcmode="lin" valueType="num">
                                      <p:cBhvr additive="base">
                                        <p:cTn id="44" dur="1000" fill="hold"/>
                                        <p:tgtEl>
                                          <p:spTgt spid="15"/>
                                        </p:tgtEl>
                                        <p:attrNameLst>
                                          <p:attrName>ppt_y</p:attrName>
                                        </p:attrNameLst>
                                      </p:cBhvr>
                                      <p:tavLst>
                                        <p:tav tm="0">
                                          <p:val>
                                            <p:strVal val="#ppt_y"/>
                                          </p:val>
                                        </p:tav>
                                        <p:tav tm="100000">
                                          <p:val>
                                            <p:strVal val="#ppt_y"/>
                                          </p:val>
                                        </p:tav>
                                      </p:tavLst>
                                    </p:anim>
                                  </p:childTnLst>
                                </p:cTn>
                              </p:par>
                              <p:par>
                                <p:cTn id="45" presetID="2" presetClass="entr" presetSubtype="8" dur="1000" decel="100000" fill="hold" nodeType="withEffect">
                                  <p:stCondLst>
                                    <p:cond delay="500"/>
                                  </p:stCondLst>
                                  <p:childTnLst>
                                    <p:set>
                                      <p:cBhvr>
                                        <p:cTn id="46" dur="1" fill="hold">
                                          <p:stCondLst>
                                            <p:cond delay="0"/>
                                          </p:stCondLst>
                                        </p:cTn>
                                        <p:tgtEl>
                                          <p:spTgt spid="32"/>
                                        </p:tgtEl>
                                        <p:attrNameLst>
                                          <p:attrName>style.visibility</p:attrName>
                                        </p:attrNameLst>
                                      </p:cBhvr>
                                      <p:to>
                                        <p:strVal val="visible"/>
                                      </p:to>
                                    </p:set>
                                    <p:anim calcmode="lin" valueType="num">
                                      <p:cBhvr additive="base">
                                        <p:cTn id="47" dur="1000" fill="hold"/>
                                        <p:tgtEl>
                                          <p:spTgt spid="32"/>
                                        </p:tgtEl>
                                        <p:attrNameLst>
                                          <p:attrName>ppt_x</p:attrName>
                                        </p:attrNameLst>
                                      </p:cBhvr>
                                      <p:tavLst>
                                        <p:tav tm="0">
                                          <p:val>
                                            <p:strVal val="0-#ppt_w/2"/>
                                          </p:val>
                                        </p:tav>
                                        <p:tav tm="100000">
                                          <p:val>
                                            <p:strVal val="#ppt_x"/>
                                          </p:val>
                                        </p:tav>
                                      </p:tavLst>
                                    </p:anim>
                                    <p:anim calcmode="lin" valueType="num">
                                      <p:cBhvr additive="base">
                                        <p:cTn id="48" dur="1000" fill="hold"/>
                                        <p:tgtEl>
                                          <p:spTgt spid="32"/>
                                        </p:tgtEl>
                                        <p:attrNameLst>
                                          <p:attrName>ppt_y</p:attrName>
                                        </p:attrNameLst>
                                      </p:cBhvr>
                                      <p:tavLst>
                                        <p:tav tm="0">
                                          <p:val>
                                            <p:strVal val="#ppt_y"/>
                                          </p:val>
                                        </p:tav>
                                        <p:tav tm="100000">
                                          <p:val>
                                            <p:strVal val="#ppt_y"/>
                                          </p:val>
                                        </p:tav>
                                      </p:tavLst>
                                    </p:anim>
                                  </p:childTnLst>
                                </p:cTn>
                              </p:par>
                              <p:par>
                                <p:cTn id="49" presetID="2" presetClass="entr" presetSubtype="8" dur="1000" decel="100000" fill="hold" grpId="0" nodeType="withEffect">
                                  <p:stCondLst>
                                    <p:cond delay="500"/>
                                  </p:stCondLst>
                                  <p:childTnLst>
                                    <p:set>
                                      <p:cBhvr>
                                        <p:cTn id="50" dur="1" fill="hold">
                                          <p:stCondLst>
                                            <p:cond delay="0"/>
                                          </p:stCondLst>
                                        </p:cTn>
                                        <p:tgtEl>
                                          <p:spTgt spid="25"/>
                                        </p:tgtEl>
                                        <p:attrNameLst>
                                          <p:attrName>style.visibility</p:attrName>
                                        </p:attrNameLst>
                                      </p:cBhvr>
                                      <p:to>
                                        <p:strVal val="visible"/>
                                      </p:to>
                                    </p:set>
                                    <p:anim calcmode="lin" valueType="num">
                                      <p:cBhvr additive="base">
                                        <p:cTn id="51" dur="1000" fill="hold"/>
                                        <p:tgtEl>
                                          <p:spTgt spid="25"/>
                                        </p:tgtEl>
                                        <p:attrNameLst>
                                          <p:attrName>ppt_x</p:attrName>
                                        </p:attrNameLst>
                                      </p:cBhvr>
                                      <p:tavLst>
                                        <p:tav tm="0">
                                          <p:val>
                                            <p:strVal val="0-#ppt_w/2"/>
                                          </p:val>
                                        </p:tav>
                                        <p:tav tm="100000">
                                          <p:val>
                                            <p:strVal val="#ppt_x"/>
                                          </p:val>
                                        </p:tav>
                                      </p:tavLst>
                                    </p:anim>
                                    <p:anim calcmode="lin" valueType="num">
                                      <p:cBhvr additive="base">
                                        <p:cTn id="52" dur="1000" fill="hold"/>
                                        <p:tgtEl>
                                          <p:spTgt spid="25"/>
                                        </p:tgtEl>
                                        <p:attrNameLst>
                                          <p:attrName>ppt_y</p:attrName>
                                        </p:attrNameLst>
                                      </p:cBhvr>
                                      <p:tavLst>
                                        <p:tav tm="0">
                                          <p:val>
                                            <p:strVal val="#ppt_y"/>
                                          </p:val>
                                        </p:tav>
                                        <p:tav tm="100000">
                                          <p:val>
                                            <p:strVal val="#ppt_y"/>
                                          </p:val>
                                        </p:tav>
                                      </p:tavLst>
                                    </p:anim>
                                  </p:childTnLst>
                                </p:cTn>
                              </p:par>
                              <p:par>
                                <p:cTn id="53" presetID="2" presetClass="entr" presetSubtype="8" dur="1000" decel="100000" fill="hold" grpId="0" nodeType="withEffect">
                                  <p:stCondLst>
                                    <p:cond delay="500"/>
                                  </p:stCondLst>
                                  <p:childTnLst>
                                    <p:set>
                                      <p:cBhvr>
                                        <p:cTn id="54" dur="1" fill="hold">
                                          <p:stCondLst>
                                            <p:cond delay="0"/>
                                          </p:stCondLst>
                                        </p:cTn>
                                        <p:tgtEl>
                                          <p:spTgt spid="24"/>
                                        </p:tgtEl>
                                        <p:attrNameLst>
                                          <p:attrName>style.visibility</p:attrName>
                                        </p:attrNameLst>
                                      </p:cBhvr>
                                      <p:to>
                                        <p:strVal val="visible"/>
                                      </p:to>
                                    </p:set>
                                    <p:anim calcmode="lin" valueType="num">
                                      <p:cBhvr additive="base">
                                        <p:cTn id="55" dur="1000" fill="hold"/>
                                        <p:tgtEl>
                                          <p:spTgt spid="24"/>
                                        </p:tgtEl>
                                        <p:attrNameLst>
                                          <p:attrName>ppt_x</p:attrName>
                                        </p:attrNameLst>
                                      </p:cBhvr>
                                      <p:tavLst>
                                        <p:tav tm="0">
                                          <p:val>
                                            <p:strVal val="0-#ppt_w/2"/>
                                          </p:val>
                                        </p:tav>
                                        <p:tav tm="100000">
                                          <p:val>
                                            <p:strVal val="#ppt_x"/>
                                          </p:val>
                                        </p:tav>
                                      </p:tavLst>
                                    </p:anim>
                                    <p:anim calcmode="lin" valueType="num">
                                      <p:cBhvr additive="base">
                                        <p:cTn id="56" dur="1000" fill="hold"/>
                                        <p:tgtEl>
                                          <p:spTgt spid="24"/>
                                        </p:tgtEl>
                                        <p:attrNameLst>
                                          <p:attrName>ppt_y</p:attrName>
                                        </p:attrNameLst>
                                      </p:cBhvr>
                                      <p:tavLst>
                                        <p:tav tm="0">
                                          <p:val>
                                            <p:strVal val="#ppt_y"/>
                                          </p:val>
                                        </p:tav>
                                        <p:tav tm="100000">
                                          <p:val>
                                            <p:strVal val="#ppt_y"/>
                                          </p:val>
                                        </p:tav>
                                      </p:tavLst>
                                    </p:anim>
                                  </p:childTnLst>
                                </p:cTn>
                              </p:par>
                              <p:par>
                                <p:cTn id="57" presetID="2" presetClass="entr" presetSubtype="8" dur="1000" decel="100000" fill="hold" nodeType="withEffect">
                                  <p:stCondLst>
                                    <p:cond delay="750"/>
                                  </p:stCondLst>
                                  <p:childTnLst>
                                    <p:set>
                                      <p:cBhvr>
                                        <p:cTn id="58" dur="1" fill="hold">
                                          <p:stCondLst>
                                            <p:cond delay="0"/>
                                          </p:stCondLst>
                                        </p:cTn>
                                        <p:tgtEl>
                                          <p:spTgt spid="5"/>
                                        </p:tgtEl>
                                        <p:attrNameLst>
                                          <p:attrName>style.visibility</p:attrName>
                                        </p:attrNameLst>
                                      </p:cBhvr>
                                      <p:to>
                                        <p:strVal val="visible"/>
                                      </p:to>
                                    </p:set>
                                    <p:anim calcmode="lin" valueType="num">
                                      <p:cBhvr additive="base">
                                        <p:cTn id="59" dur="1000" fill="hold"/>
                                        <p:tgtEl>
                                          <p:spTgt spid="5"/>
                                        </p:tgtEl>
                                        <p:attrNameLst>
                                          <p:attrName>ppt_x</p:attrName>
                                        </p:attrNameLst>
                                      </p:cBhvr>
                                      <p:tavLst>
                                        <p:tav tm="0">
                                          <p:val>
                                            <p:strVal val="0-#ppt_w/2"/>
                                          </p:val>
                                        </p:tav>
                                        <p:tav tm="100000">
                                          <p:val>
                                            <p:strVal val="#ppt_x"/>
                                          </p:val>
                                        </p:tav>
                                      </p:tavLst>
                                    </p:anim>
                                    <p:anim calcmode="lin" valueType="num">
                                      <p:cBhvr additive="base">
                                        <p:cTn id="60" dur="1000" fill="hold"/>
                                        <p:tgtEl>
                                          <p:spTgt spid="5"/>
                                        </p:tgtEl>
                                        <p:attrNameLst>
                                          <p:attrName>ppt_y</p:attrName>
                                        </p:attrNameLst>
                                      </p:cBhvr>
                                      <p:tavLst>
                                        <p:tav tm="0">
                                          <p:val>
                                            <p:strVal val="#ppt_y"/>
                                          </p:val>
                                        </p:tav>
                                        <p:tav tm="100000">
                                          <p:val>
                                            <p:strVal val="#ppt_y"/>
                                          </p:val>
                                        </p:tav>
                                      </p:tavLst>
                                    </p:anim>
                                  </p:childTnLst>
                                </p:cTn>
                              </p:par>
                              <p:par>
                                <p:cTn id="61" presetID="2" presetClass="entr" presetSubtype="8" dur="1000" decel="100000" fill="hold" grpId="0" nodeType="withEffect">
                                  <p:stCondLst>
                                    <p:cond delay="750"/>
                                  </p:stCondLst>
                                  <p:childTnLst>
                                    <p:set>
                                      <p:cBhvr>
                                        <p:cTn id="62" dur="1" fill="hold">
                                          <p:stCondLst>
                                            <p:cond delay="0"/>
                                          </p:stCondLst>
                                        </p:cTn>
                                        <p:tgtEl>
                                          <p:spTgt spid="13"/>
                                        </p:tgtEl>
                                        <p:attrNameLst>
                                          <p:attrName>style.visibility</p:attrName>
                                        </p:attrNameLst>
                                      </p:cBhvr>
                                      <p:to>
                                        <p:strVal val="visible"/>
                                      </p:to>
                                    </p:set>
                                    <p:anim calcmode="lin" valueType="num">
                                      <p:cBhvr additive="base">
                                        <p:cTn id="63" dur="1000" fill="hold"/>
                                        <p:tgtEl>
                                          <p:spTgt spid="13"/>
                                        </p:tgtEl>
                                        <p:attrNameLst>
                                          <p:attrName>ppt_x</p:attrName>
                                        </p:attrNameLst>
                                      </p:cBhvr>
                                      <p:tavLst>
                                        <p:tav tm="0">
                                          <p:val>
                                            <p:strVal val="0-#ppt_w/2"/>
                                          </p:val>
                                        </p:tav>
                                        <p:tav tm="100000">
                                          <p:val>
                                            <p:strVal val="#ppt_x"/>
                                          </p:val>
                                        </p:tav>
                                      </p:tavLst>
                                    </p:anim>
                                    <p:anim calcmode="lin" valueType="num">
                                      <p:cBhvr additive="base">
                                        <p:cTn id="64" dur="1000" fill="hold"/>
                                        <p:tgtEl>
                                          <p:spTgt spid="13"/>
                                        </p:tgtEl>
                                        <p:attrNameLst>
                                          <p:attrName>ppt_y</p:attrName>
                                        </p:attrNameLst>
                                      </p:cBhvr>
                                      <p:tavLst>
                                        <p:tav tm="0">
                                          <p:val>
                                            <p:strVal val="#ppt_y"/>
                                          </p:val>
                                        </p:tav>
                                        <p:tav tm="100000">
                                          <p:val>
                                            <p:strVal val="#ppt_y"/>
                                          </p:val>
                                        </p:tav>
                                      </p:tavLst>
                                    </p:anim>
                                  </p:childTnLst>
                                </p:cTn>
                              </p:par>
                              <p:par>
                                <p:cTn id="65" presetID="2" presetClass="entr" presetSubtype="8" dur="1000" decel="100000" fill="hold" grpId="0" nodeType="withEffect">
                                  <p:stCondLst>
                                    <p:cond delay="750"/>
                                  </p:stCondLst>
                                  <p:childTnLst>
                                    <p:set>
                                      <p:cBhvr>
                                        <p:cTn id="66" dur="1" fill="hold">
                                          <p:stCondLst>
                                            <p:cond delay="0"/>
                                          </p:stCondLst>
                                        </p:cTn>
                                        <p:tgtEl>
                                          <p:spTgt spid="12"/>
                                        </p:tgtEl>
                                        <p:attrNameLst>
                                          <p:attrName>style.visibility</p:attrName>
                                        </p:attrNameLst>
                                      </p:cBhvr>
                                      <p:to>
                                        <p:strVal val="visible"/>
                                      </p:to>
                                    </p:set>
                                    <p:anim calcmode="lin" valueType="num">
                                      <p:cBhvr additive="base">
                                        <p:cTn id="67" dur="1000" fill="hold"/>
                                        <p:tgtEl>
                                          <p:spTgt spid="12"/>
                                        </p:tgtEl>
                                        <p:attrNameLst>
                                          <p:attrName>ppt_x</p:attrName>
                                        </p:attrNameLst>
                                      </p:cBhvr>
                                      <p:tavLst>
                                        <p:tav tm="0">
                                          <p:val>
                                            <p:strVal val="0-#ppt_w/2"/>
                                          </p:val>
                                        </p:tav>
                                        <p:tav tm="100000">
                                          <p:val>
                                            <p:strVal val="#ppt_x"/>
                                          </p:val>
                                        </p:tav>
                                      </p:tavLst>
                                    </p:anim>
                                    <p:anim calcmode="lin" valueType="num">
                                      <p:cBhvr additive="base">
                                        <p:cTn id="68" dur="1000" fill="hold"/>
                                        <p:tgtEl>
                                          <p:spTgt spid="12"/>
                                        </p:tgtEl>
                                        <p:attrNameLst>
                                          <p:attrName>ppt_y</p:attrName>
                                        </p:attrNameLst>
                                      </p:cBhvr>
                                      <p:tavLst>
                                        <p:tav tm="0">
                                          <p:val>
                                            <p:strVal val="#ppt_y"/>
                                          </p:val>
                                        </p:tav>
                                        <p:tav tm="100000">
                                          <p:val>
                                            <p:strVal val="#ppt_y"/>
                                          </p:val>
                                        </p:tav>
                                      </p:tavLst>
                                    </p:anim>
                                  </p:childTnLst>
                                </p:cTn>
                              </p:par>
                              <p:par>
                                <p:cTn id="69" presetID="2" presetClass="entr" presetSubtype="8" dur="1000" decel="100000" fill="hold" nodeType="withEffect">
                                  <p:stCondLst>
                                    <p:cond delay="750"/>
                                  </p:stCondLst>
                                  <p:childTnLst>
                                    <p:set>
                                      <p:cBhvr>
                                        <p:cTn id="70" dur="1" fill="hold">
                                          <p:stCondLst>
                                            <p:cond delay="0"/>
                                          </p:stCondLst>
                                        </p:cTn>
                                        <p:tgtEl>
                                          <p:spTgt spid="31"/>
                                        </p:tgtEl>
                                        <p:attrNameLst>
                                          <p:attrName>style.visibility</p:attrName>
                                        </p:attrNameLst>
                                      </p:cBhvr>
                                      <p:to>
                                        <p:strVal val="visible"/>
                                      </p:to>
                                    </p:set>
                                    <p:anim calcmode="lin" valueType="num">
                                      <p:cBhvr additive="base">
                                        <p:cTn id="71" dur="1000" fill="hold"/>
                                        <p:tgtEl>
                                          <p:spTgt spid="31"/>
                                        </p:tgtEl>
                                        <p:attrNameLst>
                                          <p:attrName>ppt_x</p:attrName>
                                        </p:attrNameLst>
                                      </p:cBhvr>
                                      <p:tavLst>
                                        <p:tav tm="0">
                                          <p:val>
                                            <p:strVal val="0-#ppt_w/2"/>
                                          </p:val>
                                        </p:tav>
                                        <p:tav tm="100000">
                                          <p:val>
                                            <p:strVal val="#ppt_x"/>
                                          </p:val>
                                        </p:tav>
                                      </p:tavLst>
                                    </p:anim>
                                    <p:anim calcmode="lin" valueType="num">
                                      <p:cBhvr additive="base">
                                        <p:cTn id="72" dur="1000" fill="hold"/>
                                        <p:tgtEl>
                                          <p:spTgt spid="31"/>
                                        </p:tgtEl>
                                        <p:attrNameLst>
                                          <p:attrName>ppt_y</p:attrName>
                                        </p:attrNameLst>
                                      </p:cBhvr>
                                      <p:tavLst>
                                        <p:tav tm="0">
                                          <p:val>
                                            <p:strVal val="#ppt_y"/>
                                          </p:val>
                                        </p:tav>
                                        <p:tav tm="100000">
                                          <p:val>
                                            <p:strVal val="#ppt_y"/>
                                          </p:val>
                                        </p:tav>
                                      </p:tavLst>
                                    </p:anim>
                                  </p:childTnLst>
                                </p:cTn>
                              </p:par>
                              <p:par>
                                <p:cTn id="73" presetID="2" presetClass="entr" presetSubtype="8" dur="1000" decel="100000" fill="hold" grpId="0" nodeType="withEffect">
                                  <p:stCondLst>
                                    <p:cond delay="750"/>
                                  </p:stCondLst>
                                  <p:childTnLst>
                                    <p:set>
                                      <p:cBhvr>
                                        <p:cTn id="74" dur="1" fill="hold">
                                          <p:stCondLst>
                                            <p:cond delay="0"/>
                                          </p:stCondLst>
                                        </p:cTn>
                                        <p:tgtEl>
                                          <p:spTgt spid="22"/>
                                        </p:tgtEl>
                                        <p:attrNameLst>
                                          <p:attrName>style.visibility</p:attrName>
                                        </p:attrNameLst>
                                      </p:cBhvr>
                                      <p:to>
                                        <p:strVal val="visible"/>
                                      </p:to>
                                    </p:set>
                                    <p:anim calcmode="lin" valueType="num">
                                      <p:cBhvr additive="base">
                                        <p:cTn id="75" dur="1000" fill="hold"/>
                                        <p:tgtEl>
                                          <p:spTgt spid="22"/>
                                        </p:tgtEl>
                                        <p:attrNameLst>
                                          <p:attrName>ppt_x</p:attrName>
                                        </p:attrNameLst>
                                      </p:cBhvr>
                                      <p:tavLst>
                                        <p:tav tm="0">
                                          <p:val>
                                            <p:strVal val="0-#ppt_w/2"/>
                                          </p:val>
                                        </p:tav>
                                        <p:tav tm="100000">
                                          <p:val>
                                            <p:strVal val="#ppt_x"/>
                                          </p:val>
                                        </p:tav>
                                      </p:tavLst>
                                    </p:anim>
                                    <p:anim calcmode="lin" valueType="num">
                                      <p:cBhvr additive="base">
                                        <p:cTn id="76" dur="1000" fill="hold"/>
                                        <p:tgtEl>
                                          <p:spTgt spid="22"/>
                                        </p:tgtEl>
                                        <p:attrNameLst>
                                          <p:attrName>ppt_y</p:attrName>
                                        </p:attrNameLst>
                                      </p:cBhvr>
                                      <p:tavLst>
                                        <p:tav tm="0">
                                          <p:val>
                                            <p:strVal val="#ppt_y"/>
                                          </p:val>
                                        </p:tav>
                                        <p:tav tm="100000">
                                          <p:val>
                                            <p:strVal val="#ppt_y"/>
                                          </p:val>
                                        </p:tav>
                                      </p:tavLst>
                                    </p:anim>
                                  </p:childTnLst>
                                </p:cTn>
                              </p:par>
                              <p:par>
                                <p:cTn id="77" presetID="2" presetClass="entr" presetSubtype="8" dur="1000" decel="100000" fill="hold" grpId="0" nodeType="withEffect">
                                  <p:stCondLst>
                                    <p:cond delay="750"/>
                                  </p:stCondLst>
                                  <p:childTnLst>
                                    <p:set>
                                      <p:cBhvr>
                                        <p:cTn id="78" dur="1" fill="hold">
                                          <p:stCondLst>
                                            <p:cond delay="0"/>
                                          </p:stCondLst>
                                        </p:cTn>
                                        <p:tgtEl>
                                          <p:spTgt spid="21"/>
                                        </p:tgtEl>
                                        <p:attrNameLst>
                                          <p:attrName>style.visibility</p:attrName>
                                        </p:attrNameLst>
                                      </p:cBhvr>
                                      <p:to>
                                        <p:strVal val="visible"/>
                                      </p:to>
                                    </p:set>
                                    <p:anim calcmode="lin" valueType="num">
                                      <p:cBhvr additive="base">
                                        <p:cTn id="79" dur="1000" fill="hold"/>
                                        <p:tgtEl>
                                          <p:spTgt spid="21"/>
                                        </p:tgtEl>
                                        <p:attrNameLst>
                                          <p:attrName>ppt_x</p:attrName>
                                        </p:attrNameLst>
                                      </p:cBhvr>
                                      <p:tavLst>
                                        <p:tav tm="0">
                                          <p:val>
                                            <p:strVal val="0-#ppt_w/2"/>
                                          </p:val>
                                        </p:tav>
                                        <p:tav tm="100000">
                                          <p:val>
                                            <p:strVal val="#ppt_x"/>
                                          </p:val>
                                        </p:tav>
                                      </p:tavLst>
                                    </p:anim>
                                    <p:anim calcmode="lin" valueType="num">
                                      <p:cBhvr additive="base">
                                        <p:cTn id="80" dur="1000" fill="hold"/>
                                        <p:tgtEl>
                                          <p:spTgt spid="2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2" grpId="0">
        <p:tmplLst>
          <p:tmpl>
            <p:tnLst>
              <p:par>
                <p:cTn presetID="2" presetClass="entr" presetSubtype="8" decel="100000" fill="hold" nodeType="withEffect">
                  <p:stCondLst>
                    <p:cond delay="750"/>
                  </p:stCondLst>
                  <p:childTnLst>
                    <p:set>
                      <p:cBhvr>
                        <p:cTn dur="1" fill="hold">
                          <p:stCondLst>
                            <p:cond delay="0"/>
                          </p:stCondLst>
                        </p:cTn>
                        <p:tgtEl>
                          <p:spTgt spid="12"/>
                        </p:tgtEl>
                        <p:attrNameLst>
                          <p:attrName>style.visibility</p:attrName>
                        </p:attrNameLst>
                      </p:cBhvr>
                      <p:to>
                        <p:strVal val="visible"/>
                      </p:to>
                    </p:set>
                    <p:anim calcmode="lin" valueType="num">
                      <p:cBhvr additive="base">
                        <p:cTn dur="1000" fill="hold"/>
                        <p:tgtEl>
                          <p:spTgt spid="12"/>
                        </p:tgtEl>
                        <p:attrNameLst>
                          <p:attrName>ppt_x</p:attrName>
                        </p:attrNameLst>
                      </p:cBhvr>
                      <p:tavLst>
                        <p:tav tm="0">
                          <p:val>
                            <p:strVal val="0-#ppt_w/2"/>
                          </p:val>
                        </p:tav>
                        <p:tav tm="100000">
                          <p:val>
                            <p:strVal val="#ppt_x"/>
                          </p:val>
                        </p:tav>
                      </p:tavLst>
                    </p:anim>
                    <p:anim calcmode="lin" valueType="num">
                      <p:cBhvr additive="base">
                        <p:cTn dur="1000" fill="hold"/>
                        <p:tgtEl>
                          <p:spTgt spid="12"/>
                        </p:tgtEl>
                        <p:attrNameLst>
                          <p:attrName>ppt_y</p:attrName>
                        </p:attrNameLst>
                      </p:cBhvr>
                      <p:tavLst>
                        <p:tav tm="0">
                          <p:val>
                            <p:strVal val="#ppt_y"/>
                          </p:val>
                        </p:tav>
                        <p:tav tm="100000">
                          <p:val>
                            <p:strVal val="#ppt_y"/>
                          </p:val>
                        </p:tav>
                      </p:tavLst>
                    </p:anim>
                  </p:childTnLst>
                </p:cTn>
              </p:par>
            </p:tnLst>
          </p:tmpl>
        </p:tmplLst>
      </p:bldP>
      <p:bldP spid="13" grpId="0">
        <p:tmplLst>
          <p:tmpl>
            <p:tnLst>
              <p:par>
                <p:cTn presetID="2" presetClass="entr" presetSubtype="8" decel="100000" fill="hold" nodeType="withEffect">
                  <p:stCondLst>
                    <p:cond delay="750"/>
                  </p:stCondLst>
                  <p:childTnLst>
                    <p:set>
                      <p:cBhvr>
                        <p:cTn dur="1" fill="hold">
                          <p:stCondLst>
                            <p:cond delay="0"/>
                          </p:stCondLst>
                        </p:cTn>
                        <p:tgtEl>
                          <p:spTgt spid="13"/>
                        </p:tgtEl>
                        <p:attrNameLst>
                          <p:attrName>style.visibility</p:attrName>
                        </p:attrNameLst>
                      </p:cBhvr>
                      <p:to>
                        <p:strVal val="visible"/>
                      </p:to>
                    </p:set>
                    <p:anim calcmode="lin" valueType="num">
                      <p:cBhvr additive="base">
                        <p:cTn dur="1000" fill="hold"/>
                        <p:tgtEl>
                          <p:spTgt spid="13"/>
                        </p:tgtEl>
                        <p:attrNameLst>
                          <p:attrName>ppt_x</p:attrName>
                        </p:attrNameLst>
                      </p:cBhvr>
                      <p:tavLst>
                        <p:tav tm="0">
                          <p:val>
                            <p:strVal val="0-#ppt_w/2"/>
                          </p:val>
                        </p:tav>
                        <p:tav tm="100000">
                          <p:val>
                            <p:strVal val="#ppt_x"/>
                          </p:val>
                        </p:tav>
                      </p:tavLst>
                    </p:anim>
                    <p:anim calcmode="lin" valueType="num">
                      <p:cBhvr additive="base">
                        <p:cTn dur="1000" fill="hold"/>
                        <p:tgtEl>
                          <p:spTgt spid="13"/>
                        </p:tgtEl>
                        <p:attrNameLst>
                          <p:attrName>ppt_y</p:attrName>
                        </p:attrNameLst>
                      </p:cBhvr>
                      <p:tavLst>
                        <p:tav tm="0">
                          <p:val>
                            <p:strVal val="#ppt_y"/>
                          </p:val>
                        </p:tav>
                        <p:tav tm="100000">
                          <p:val>
                            <p:strVal val="#ppt_y"/>
                          </p:val>
                        </p:tav>
                      </p:tavLst>
                    </p:anim>
                  </p:childTnLst>
                </p:cTn>
              </p:par>
            </p:tnLst>
          </p:tmpl>
        </p:tmplLst>
      </p:bldP>
      <p:bldP spid="15" grpId="0">
        <p:tmplLst>
          <p:tmpl>
            <p:tnLst>
              <p:par>
                <p:cTn presetID="2" presetClass="entr" presetSubtype="8" decel="100000" fill="hold" nodeType="withEffect">
                  <p:stCondLst>
                    <p:cond delay="500"/>
                  </p:stCondLst>
                  <p:childTnLst>
                    <p:set>
                      <p:cBhvr>
                        <p:cTn dur="1" fill="hold">
                          <p:stCondLst>
                            <p:cond delay="0"/>
                          </p:stCondLst>
                        </p:cTn>
                        <p:tgtEl>
                          <p:spTgt spid="15"/>
                        </p:tgtEl>
                        <p:attrNameLst>
                          <p:attrName>style.visibility</p:attrName>
                        </p:attrNameLst>
                      </p:cBhvr>
                      <p:to>
                        <p:strVal val="visible"/>
                      </p:to>
                    </p:set>
                    <p:anim calcmode="lin" valueType="num">
                      <p:cBhvr additive="base">
                        <p:cTn dur="1000" fill="hold"/>
                        <p:tgtEl>
                          <p:spTgt spid="15"/>
                        </p:tgtEl>
                        <p:attrNameLst>
                          <p:attrName>ppt_x</p:attrName>
                        </p:attrNameLst>
                      </p:cBhvr>
                      <p:tavLst>
                        <p:tav tm="0">
                          <p:val>
                            <p:strVal val="0-#ppt_w/2"/>
                          </p:val>
                        </p:tav>
                        <p:tav tm="100000">
                          <p:val>
                            <p:strVal val="#ppt_x"/>
                          </p:val>
                        </p:tav>
                      </p:tavLst>
                    </p:anim>
                    <p:anim calcmode="lin" valueType="num">
                      <p:cBhvr additive="base">
                        <p:cTn dur="1000" fill="hold"/>
                        <p:tgtEl>
                          <p:spTgt spid="15"/>
                        </p:tgtEl>
                        <p:attrNameLst>
                          <p:attrName>ppt_y</p:attrName>
                        </p:attrNameLst>
                      </p:cBhvr>
                      <p:tavLst>
                        <p:tav tm="0">
                          <p:val>
                            <p:strVal val="#ppt_y"/>
                          </p:val>
                        </p:tav>
                        <p:tav tm="100000">
                          <p:val>
                            <p:strVal val="#ppt_y"/>
                          </p:val>
                        </p:tav>
                      </p:tavLst>
                    </p:anim>
                  </p:childTnLst>
                </p:cTn>
              </p:par>
            </p:tnLst>
          </p:tmpl>
        </p:tmplLst>
      </p:bldP>
      <p:bldP spid="16" grpId="0">
        <p:tmplLst>
          <p:tmpl>
            <p:tnLst>
              <p:par>
                <p:cTn presetID="2" presetClass="entr" presetSubtype="8" decel="100000" fill="hold" nodeType="withEffect">
                  <p:stCondLst>
                    <p:cond delay="500"/>
                  </p:stCondLst>
                  <p:childTnLst>
                    <p:set>
                      <p:cBhvr>
                        <p:cTn dur="1" fill="hold">
                          <p:stCondLst>
                            <p:cond delay="0"/>
                          </p:stCondLst>
                        </p:cTn>
                        <p:tgtEl>
                          <p:spTgt spid="16"/>
                        </p:tgtEl>
                        <p:attrNameLst>
                          <p:attrName>style.visibility</p:attrName>
                        </p:attrNameLst>
                      </p:cBhvr>
                      <p:to>
                        <p:strVal val="visible"/>
                      </p:to>
                    </p:set>
                    <p:anim calcmode="lin" valueType="num">
                      <p:cBhvr additive="base">
                        <p:cTn dur="1000" fill="hold"/>
                        <p:tgtEl>
                          <p:spTgt spid="16"/>
                        </p:tgtEl>
                        <p:attrNameLst>
                          <p:attrName>ppt_x</p:attrName>
                        </p:attrNameLst>
                      </p:cBhvr>
                      <p:tavLst>
                        <p:tav tm="0">
                          <p:val>
                            <p:strVal val="0-#ppt_w/2"/>
                          </p:val>
                        </p:tav>
                        <p:tav tm="100000">
                          <p:val>
                            <p:strVal val="#ppt_x"/>
                          </p:val>
                        </p:tav>
                      </p:tavLst>
                    </p:anim>
                    <p:anim calcmode="lin" valueType="num">
                      <p:cBhvr additive="base">
                        <p:cTn dur="1000" fill="hold"/>
                        <p:tgtEl>
                          <p:spTgt spid="16"/>
                        </p:tgtEl>
                        <p:attrNameLst>
                          <p:attrName>ppt_y</p:attrName>
                        </p:attrNameLst>
                      </p:cBhvr>
                      <p:tavLst>
                        <p:tav tm="0">
                          <p:val>
                            <p:strVal val="#ppt_y"/>
                          </p:val>
                        </p:tav>
                        <p:tav tm="100000">
                          <p:val>
                            <p:strVal val="#ppt_y"/>
                          </p:val>
                        </p:tav>
                      </p:tavLst>
                    </p:anim>
                  </p:childTnLst>
                </p:cTn>
              </p:par>
            </p:tnLst>
          </p:tmpl>
        </p:tmplLst>
      </p:bldP>
      <p:bldP spid="18" grpId="0">
        <p:tmplLst>
          <p:tmpl>
            <p:tnLst>
              <p:par>
                <p:cTn presetID="2" presetClass="entr" presetSubtype="8" decel="100000" fill="hold" nodeType="withEffect">
                  <p:stCondLst>
                    <p:cond delay="250"/>
                  </p:stCondLst>
                  <p:childTnLst>
                    <p:set>
                      <p:cBhvr>
                        <p:cTn dur="1" fill="hold">
                          <p:stCondLst>
                            <p:cond delay="0"/>
                          </p:stCondLst>
                        </p:cTn>
                        <p:tgtEl>
                          <p:spTgt spid="18"/>
                        </p:tgtEl>
                        <p:attrNameLst>
                          <p:attrName>style.visibility</p:attrName>
                        </p:attrNameLst>
                      </p:cBhvr>
                      <p:to>
                        <p:strVal val="visible"/>
                      </p:to>
                    </p:set>
                    <p:anim calcmode="lin" valueType="num">
                      <p:cBhvr additive="base">
                        <p:cTn dur="1000" fill="hold"/>
                        <p:tgtEl>
                          <p:spTgt spid="18"/>
                        </p:tgtEl>
                        <p:attrNameLst>
                          <p:attrName>ppt_x</p:attrName>
                        </p:attrNameLst>
                      </p:cBhvr>
                      <p:tavLst>
                        <p:tav tm="0">
                          <p:val>
                            <p:strVal val="0-#ppt_w/2"/>
                          </p:val>
                        </p:tav>
                        <p:tav tm="100000">
                          <p:val>
                            <p:strVal val="#ppt_x"/>
                          </p:val>
                        </p:tav>
                      </p:tavLst>
                    </p:anim>
                    <p:anim calcmode="lin" valueType="num">
                      <p:cBhvr additive="base">
                        <p:cTn dur="1000" fill="hold"/>
                        <p:tgtEl>
                          <p:spTgt spid="18"/>
                        </p:tgtEl>
                        <p:attrNameLst>
                          <p:attrName>ppt_y</p:attrName>
                        </p:attrNameLst>
                      </p:cBhvr>
                      <p:tavLst>
                        <p:tav tm="0">
                          <p:val>
                            <p:strVal val="#ppt_y"/>
                          </p:val>
                        </p:tav>
                        <p:tav tm="100000">
                          <p:val>
                            <p:strVal val="#ppt_y"/>
                          </p:val>
                        </p:tav>
                      </p:tavLst>
                    </p:anim>
                  </p:childTnLst>
                </p:cTn>
              </p:par>
            </p:tnLst>
          </p:tmpl>
        </p:tmplLst>
      </p:bldP>
      <p:bldP spid="19" grpId="0">
        <p:tmplLst>
          <p:tmpl>
            <p:tnLst>
              <p:par>
                <p:cTn presetID="2" presetClass="entr" presetSubtype="8" decel="100000" fill="hold" nodeType="withEffect">
                  <p:stCondLst>
                    <p:cond delay="250"/>
                  </p:stCondLst>
                  <p:childTnLst>
                    <p:set>
                      <p:cBhvr>
                        <p:cTn dur="1" fill="hold">
                          <p:stCondLst>
                            <p:cond delay="0"/>
                          </p:stCondLst>
                        </p:cTn>
                        <p:tgtEl>
                          <p:spTgt spid="19"/>
                        </p:tgtEl>
                        <p:attrNameLst>
                          <p:attrName>style.visibility</p:attrName>
                        </p:attrNameLst>
                      </p:cBhvr>
                      <p:to>
                        <p:strVal val="visible"/>
                      </p:to>
                    </p:set>
                    <p:anim calcmode="lin" valueType="num">
                      <p:cBhvr additive="base">
                        <p:cTn dur="1000" fill="hold"/>
                        <p:tgtEl>
                          <p:spTgt spid="19"/>
                        </p:tgtEl>
                        <p:attrNameLst>
                          <p:attrName>ppt_x</p:attrName>
                        </p:attrNameLst>
                      </p:cBhvr>
                      <p:tavLst>
                        <p:tav tm="0">
                          <p:val>
                            <p:strVal val="0-#ppt_w/2"/>
                          </p:val>
                        </p:tav>
                        <p:tav tm="100000">
                          <p:val>
                            <p:strVal val="#ppt_x"/>
                          </p:val>
                        </p:tav>
                      </p:tavLst>
                    </p:anim>
                    <p:anim calcmode="lin" valueType="num">
                      <p:cBhvr additive="base">
                        <p:cTn dur="1000" fill="hold"/>
                        <p:tgtEl>
                          <p:spTgt spid="19"/>
                        </p:tgtEl>
                        <p:attrNameLst>
                          <p:attrName>ppt_y</p:attrName>
                        </p:attrNameLst>
                      </p:cBhvr>
                      <p:tavLst>
                        <p:tav tm="0">
                          <p:val>
                            <p:strVal val="#ppt_y"/>
                          </p:val>
                        </p:tav>
                        <p:tav tm="100000">
                          <p:val>
                            <p:strVal val="#ppt_y"/>
                          </p:val>
                        </p:tav>
                      </p:tavLst>
                    </p:anim>
                  </p:childTnLst>
                </p:cTn>
              </p:par>
            </p:tnLst>
          </p:tmpl>
        </p:tmplLst>
      </p:bldP>
      <p:bldP spid="21" grpId="0">
        <p:tmplLst>
          <p:tmpl>
            <p:tnLst>
              <p:par>
                <p:cTn presetID="2" presetClass="entr" presetSubtype="8" decel="100000" fill="hold" nodeType="withEffect">
                  <p:stCondLst>
                    <p:cond delay="750"/>
                  </p:stCondLst>
                  <p:childTnLst>
                    <p:set>
                      <p:cBhvr>
                        <p:cTn dur="1" fill="hold">
                          <p:stCondLst>
                            <p:cond delay="0"/>
                          </p:stCondLst>
                        </p:cTn>
                        <p:tgtEl>
                          <p:spTgt spid="21"/>
                        </p:tgtEl>
                        <p:attrNameLst>
                          <p:attrName>style.visibility</p:attrName>
                        </p:attrNameLst>
                      </p:cBhvr>
                      <p:to>
                        <p:strVal val="visible"/>
                      </p:to>
                    </p:set>
                    <p:anim calcmode="lin" valueType="num">
                      <p:cBhvr additive="base">
                        <p:cTn dur="1000" fill="hold"/>
                        <p:tgtEl>
                          <p:spTgt spid="21"/>
                        </p:tgtEl>
                        <p:attrNameLst>
                          <p:attrName>ppt_x</p:attrName>
                        </p:attrNameLst>
                      </p:cBhvr>
                      <p:tavLst>
                        <p:tav tm="0">
                          <p:val>
                            <p:strVal val="0-#ppt_w/2"/>
                          </p:val>
                        </p:tav>
                        <p:tav tm="100000">
                          <p:val>
                            <p:strVal val="#ppt_x"/>
                          </p:val>
                        </p:tav>
                      </p:tavLst>
                    </p:anim>
                    <p:anim calcmode="lin" valueType="num">
                      <p:cBhvr additive="base">
                        <p:cTn dur="1000" fill="hold"/>
                        <p:tgtEl>
                          <p:spTgt spid="21"/>
                        </p:tgtEl>
                        <p:attrNameLst>
                          <p:attrName>ppt_y</p:attrName>
                        </p:attrNameLst>
                      </p:cBhvr>
                      <p:tavLst>
                        <p:tav tm="0">
                          <p:val>
                            <p:strVal val="#ppt_y"/>
                          </p:val>
                        </p:tav>
                        <p:tav tm="100000">
                          <p:val>
                            <p:strVal val="#ppt_y"/>
                          </p:val>
                        </p:tav>
                      </p:tavLst>
                    </p:anim>
                  </p:childTnLst>
                </p:cTn>
              </p:par>
            </p:tnLst>
          </p:tmpl>
        </p:tmplLst>
      </p:bldP>
      <p:bldP spid="22" grpId="0">
        <p:tmplLst>
          <p:tmpl>
            <p:tnLst>
              <p:par>
                <p:cTn presetID="2" presetClass="entr" presetSubtype="8" decel="100000" fill="hold" nodeType="withEffect">
                  <p:stCondLst>
                    <p:cond delay="750"/>
                  </p:stCondLst>
                  <p:childTnLst>
                    <p:set>
                      <p:cBhvr>
                        <p:cTn dur="1" fill="hold">
                          <p:stCondLst>
                            <p:cond delay="0"/>
                          </p:stCondLst>
                        </p:cTn>
                        <p:tgtEl>
                          <p:spTgt spid="22"/>
                        </p:tgtEl>
                        <p:attrNameLst>
                          <p:attrName>style.visibility</p:attrName>
                        </p:attrNameLst>
                      </p:cBhvr>
                      <p:to>
                        <p:strVal val="visible"/>
                      </p:to>
                    </p:set>
                    <p:anim calcmode="lin" valueType="num">
                      <p:cBhvr additive="base">
                        <p:cTn dur="1000" fill="hold"/>
                        <p:tgtEl>
                          <p:spTgt spid="22"/>
                        </p:tgtEl>
                        <p:attrNameLst>
                          <p:attrName>ppt_x</p:attrName>
                        </p:attrNameLst>
                      </p:cBhvr>
                      <p:tavLst>
                        <p:tav tm="0">
                          <p:val>
                            <p:strVal val="0-#ppt_w/2"/>
                          </p:val>
                        </p:tav>
                        <p:tav tm="100000">
                          <p:val>
                            <p:strVal val="#ppt_x"/>
                          </p:val>
                        </p:tav>
                      </p:tavLst>
                    </p:anim>
                    <p:anim calcmode="lin" valueType="num">
                      <p:cBhvr additive="base">
                        <p:cTn dur="1000" fill="hold"/>
                        <p:tgtEl>
                          <p:spTgt spid="22"/>
                        </p:tgtEl>
                        <p:attrNameLst>
                          <p:attrName>ppt_y</p:attrName>
                        </p:attrNameLst>
                      </p:cBhvr>
                      <p:tavLst>
                        <p:tav tm="0">
                          <p:val>
                            <p:strVal val="#ppt_y"/>
                          </p:val>
                        </p:tav>
                        <p:tav tm="100000">
                          <p:val>
                            <p:strVal val="#ppt_y"/>
                          </p:val>
                        </p:tav>
                      </p:tavLst>
                    </p:anim>
                  </p:childTnLst>
                </p:cTn>
              </p:par>
            </p:tnLst>
          </p:tmpl>
        </p:tmplLst>
      </p:bldP>
      <p:bldP spid="24" grpId="0">
        <p:tmplLst>
          <p:tmpl>
            <p:tnLst>
              <p:par>
                <p:cTn presetID="2" presetClass="entr" presetSubtype="8" decel="100000" fill="hold" nodeType="withEffect">
                  <p:stCondLst>
                    <p:cond delay="500"/>
                  </p:stCondLst>
                  <p:childTnLst>
                    <p:set>
                      <p:cBhvr>
                        <p:cTn dur="1" fill="hold">
                          <p:stCondLst>
                            <p:cond delay="0"/>
                          </p:stCondLst>
                        </p:cTn>
                        <p:tgtEl>
                          <p:spTgt spid="24"/>
                        </p:tgtEl>
                        <p:attrNameLst>
                          <p:attrName>style.visibility</p:attrName>
                        </p:attrNameLst>
                      </p:cBhvr>
                      <p:to>
                        <p:strVal val="visible"/>
                      </p:to>
                    </p:set>
                    <p:anim calcmode="lin" valueType="num">
                      <p:cBhvr additive="base">
                        <p:cTn dur="1000" fill="hold"/>
                        <p:tgtEl>
                          <p:spTgt spid="24"/>
                        </p:tgtEl>
                        <p:attrNameLst>
                          <p:attrName>ppt_x</p:attrName>
                        </p:attrNameLst>
                      </p:cBhvr>
                      <p:tavLst>
                        <p:tav tm="0">
                          <p:val>
                            <p:strVal val="0-#ppt_w/2"/>
                          </p:val>
                        </p:tav>
                        <p:tav tm="100000">
                          <p:val>
                            <p:strVal val="#ppt_x"/>
                          </p:val>
                        </p:tav>
                      </p:tavLst>
                    </p:anim>
                    <p:anim calcmode="lin" valueType="num">
                      <p:cBhvr additive="base">
                        <p:cTn dur="1000" fill="hold"/>
                        <p:tgtEl>
                          <p:spTgt spid="24"/>
                        </p:tgtEl>
                        <p:attrNameLst>
                          <p:attrName>ppt_y</p:attrName>
                        </p:attrNameLst>
                      </p:cBhvr>
                      <p:tavLst>
                        <p:tav tm="0">
                          <p:val>
                            <p:strVal val="#ppt_y"/>
                          </p:val>
                        </p:tav>
                        <p:tav tm="100000">
                          <p:val>
                            <p:strVal val="#ppt_y"/>
                          </p:val>
                        </p:tav>
                      </p:tavLst>
                    </p:anim>
                  </p:childTnLst>
                </p:cTn>
              </p:par>
            </p:tnLst>
          </p:tmpl>
        </p:tmplLst>
      </p:bldP>
      <p:bldP spid="25" grpId="0">
        <p:tmplLst>
          <p:tmpl>
            <p:tnLst>
              <p:par>
                <p:cTn presetID="2" presetClass="entr" presetSubtype="8" decel="100000" fill="hold" nodeType="withEffect">
                  <p:stCondLst>
                    <p:cond delay="500"/>
                  </p:stCondLst>
                  <p:childTnLst>
                    <p:set>
                      <p:cBhvr>
                        <p:cTn dur="1" fill="hold">
                          <p:stCondLst>
                            <p:cond delay="0"/>
                          </p:stCondLst>
                        </p:cTn>
                        <p:tgtEl>
                          <p:spTgt spid="25"/>
                        </p:tgtEl>
                        <p:attrNameLst>
                          <p:attrName>style.visibility</p:attrName>
                        </p:attrNameLst>
                      </p:cBhvr>
                      <p:to>
                        <p:strVal val="visible"/>
                      </p:to>
                    </p:set>
                    <p:anim calcmode="lin" valueType="num">
                      <p:cBhvr additive="base">
                        <p:cTn dur="1000" fill="hold"/>
                        <p:tgtEl>
                          <p:spTgt spid="25"/>
                        </p:tgtEl>
                        <p:attrNameLst>
                          <p:attrName>ppt_x</p:attrName>
                        </p:attrNameLst>
                      </p:cBhvr>
                      <p:tavLst>
                        <p:tav tm="0">
                          <p:val>
                            <p:strVal val="0-#ppt_w/2"/>
                          </p:val>
                        </p:tav>
                        <p:tav tm="100000">
                          <p:val>
                            <p:strVal val="#ppt_x"/>
                          </p:val>
                        </p:tav>
                      </p:tavLst>
                    </p:anim>
                    <p:anim calcmode="lin" valueType="num">
                      <p:cBhvr additive="base">
                        <p:cTn dur="1000" fill="hold"/>
                        <p:tgtEl>
                          <p:spTgt spid="25"/>
                        </p:tgtEl>
                        <p:attrNameLst>
                          <p:attrName>ppt_y</p:attrName>
                        </p:attrNameLst>
                      </p:cBhvr>
                      <p:tavLst>
                        <p:tav tm="0">
                          <p:val>
                            <p:strVal val="#ppt_y"/>
                          </p:val>
                        </p:tav>
                        <p:tav tm="100000">
                          <p:val>
                            <p:strVal val="#ppt_y"/>
                          </p:val>
                        </p:tav>
                      </p:tavLst>
                    </p:anim>
                  </p:childTnLst>
                </p:cTn>
              </p:par>
            </p:tnLst>
          </p:tmpl>
        </p:tmplLst>
      </p:bldP>
      <p:bldP spid="27" grpId="0">
        <p:tmplLst>
          <p:tmpl>
            <p:tnLst>
              <p:par>
                <p:cTn presetID="2" presetClass="entr" presetSubtype="8" decel="100000" fill="hold" nodeType="withEffect">
                  <p:stCondLst>
                    <p:cond delay="250"/>
                  </p:stCondLst>
                  <p:childTnLst>
                    <p:set>
                      <p:cBhvr>
                        <p:cTn dur="1" fill="hold">
                          <p:stCondLst>
                            <p:cond delay="0"/>
                          </p:stCondLst>
                        </p:cTn>
                        <p:tgtEl>
                          <p:spTgt spid="27"/>
                        </p:tgtEl>
                        <p:attrNameLst>
                          <p:attrName>style.visibility</p:attrName>
                        </p:attrNameLst>
                      </p:cBhvr>
                      <p:to>
                        <p:strVal val="visible"/>
                      </p:to>
                    </p:set>
                    <p:anim calcmode="lin" valueType="num">
                      <p:cBhvr additive="base">
                        <p:cTn dur="1000" fill="hold"/>
                        <p:tgtEl>
                          <p:spTgt spid="27"/>
                        </p:tgtEl>
                        <p:attrNameLst>
                          <p:attrName>ppt_x</p:attrName>
                        </p:attrNameLst>
                      </p:cBhvr>
                      <p:tavLst>
                        <p:tav tm="0">
                          <p:val>
                            <p:strVal val="0-#ppt_w/2"/>
                          </p:val>
                        </p:tav>
                        <p:tav tm="100000">
                          <p:val>
                            <p:strVal val="#ppt_x"/>
                          </p:val>
                        </p:tav>
                      </p:tavLst>
                    </p:anim>
                    <p:anim calcmode="lin" valueType="num">
                      <p:cBhvr additive="base">
                        <p:cTn dur="1000" fill="hold"/>
                        <p:tgtEl>
                          <p:spTgt spid="27"/>
                        </p:tgtEl>
                        <p:attrNameLst>
                          <p:attrName>ppt_y</p:attrName>
                        </p:attrNameLst>
                      </p:cBhvr>
                      <p:tavLst>
                        <p:tav tm="0">
                          <p:val>
                            <p:strVal val="#ppt_y"/>
                          </p:val>
                        </p:tav>
                        <p:tav tm="100000">
                          <p:val>
                            <p:strVal val="#ppt_y"/>
                          </p:val>
                        </p:tav>
                      </p:tavLst>
                    </p:anim>
                  </p:childTnLst>
                </p:cTn>
              </p:par>
            </p:tnLst>
          </p:tmpl>
        </p:tmplLst>
      </p:bldP>
      <p:bldP spid="28" grpId="0">
        <p:tmplLst>
          <p:tmpl>
            <p:tnLst>
              <p:par>
                <p:cTn presetID="2" presetClass="entr" presetSubtype="8" decel="100000" fill="hold" nodeType="withEffect">
                  <p:stCondLst>
                    <p:cond delay="250"/>
                  </p:stCondLst>
                  <p:childTnLst>
                    <p:set>
                      <p:cBhvr>
                        <p:cTn dur="1" fill="hold">
                          <p:stCondLst>
                            <p:cond delay="0"/>
                          </p:stCondLst>
                        </p:cTn>
                        <p:tgtEl>
                          <p:spTgt spid="28"/>
                        </p:tgtEl>
                        <p:attrNameLst>
                          <p:attrName>style.visibility</p:attrName>
                        </p:attrNameLst>
                      </p:cBhvr>
                      <p:to>
                        <p:strVal val="visible"/>
                      </p:to>
                    </p:set>
                    <p:anim calcmode="lin" valueType="num">
                      <p:cBhvr additive="base">
                        <p:cTn dur="1000" fill="hold"/>
                        <p:tgtEl>
                          <p:spTgt spid="28"/>
                        </p:tgtEl>
                        <p:attrNameLst>
                          <p:attrName>ppt_x</p:attrName>
                        </p:attrNameLst>
                      </p:cBhvr>
                      <p:tavLst>
                        <p:tav tm="0">
                          <p:val>
                            <p:strVal val="0-#ppt_w/2"/>
                          </p:val>
                        </p:tav>
                        <p:tav tm="100000">
                          <p:val>
                            <p:strVal val="#ppt_x"/>
                          </p:val>
                        </p:tav>
                      </p:tavLst>
                    </p:anim>
                    <p:anim calcmode="lin" valueType="num">
                      <p:cBhvr additive="base">
                        <p:cTn dur="1000" fill="hold"/>
                        <p:tgtEl>
                          <p:spTgt spid="28"/>
                        </p:tgtEl>
                        <p:attrNameLst>
                          <p:attrName>ppt_y</p:attrName>
                        </p:attrNameLst>
                      </p:cBhvr>
                      <p:tavLst>
                        <p:tav tm="0">
                          <p:val>
                            <p:strVal val="#ppt_y"/>
                          </p:val>
                        </p:tav>
                        <p:tav tm="100000">
                          <p:val>
                            <p:strVal val="#ppt_y"/>
                          </p:val>
                        </p:tav>
                      </p:tavLst>
                    </p:anim>
                  </p:childTnLst>
                </p:cTn>
              </p:par>
            </p:tnLst>
          </p:tmpl>
        </p:tmplLst>
      </p:bldP>
    </p:bld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HEADLINE ONLY">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D580604-CA90-4824-BA71-7DD12488F4E8}"/>
              </a:ext>
            </a:extLst>
          </p:cNvPr>
          <p:cNvSpPr>
            <a:spLocks noGrp="1"/>
          </p:cNvSpPr>
          <p:nvPr>
            <p:ph type="title"/>
          </p:nvPr>
        </p:nvSpPr>
        <p:spPr/>
        <p:txBody>
          <a:bodyPr/>
          <a:lstStyle/>
          <a:p>
            <a:r>
              <a:rPr lang="de-DE"/>
              <a:t>Mastertitelformat bearbeiten</a:t>
            </a:r>
          </a:p>
        </p:txBody>
      </p:sp>
      <p:sp>
        <p:nvSpPr>
          <p:cNvPr id="3" name="Foliennummernplatzhalter 2">
            <a:extLst>
              <a:ext uri="{FF2B5EF4-FFF2-40B4-BE49-F238E27FC236}">
                <a16:creationId xmlns:a16="http://schemas.microsoft.com/office/drawing/2014/main" id="{648331E1-D418-47BC-B8D2-89EAF4B26D40}"/>
              </a:ext>
            </a:extLst>
          </p:cNvPr>
          <p:cNvSpPr>
            <a:spLocks noGrp="1"/>
          </p:cNvSpPr>
          <p:nvPr>
            <p:ph type="sldNum" sz="quarter" idx="10"/>
          </p:nvPr>
        </p:nvSpPr>
        <p:spPr/>
        <p:txBody>
          <a:bodyPr/>
          <a:lstStyle/>
          <a:p>
            <a:fld id="{A04BEB4F-8CE1-4F18-986F-6CE0A0BE9470}" type="slidenum">
              <a:rPr lang="de-DE" smtClean="0"/>
              <a:t>‹#›</a:t>
            </a:fld>
            <a:endParaRPr lang="de-DE"/>
          </a:p>
        </p:txBody>
      </p:sp>
    </p:spTree>
    <p:extLst>
      <p:ext uri="{BB962C8B-B14F-4D97-AF65-F5344CB8AC3E}">
        <p14:creationId xmlns:p14="http://schemas.microsoft.com/office/powerpoint/2010/main" val="3729736839"/>
      </p:ext>
    </p:extLst>
  </p:cSld>
  <p:clrMapOvr>
    <a:masterClrMapping/>
  </p:clrMapOvr>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IMAGE ARROW ANIMATION with text">
    <p:spTree>
      <p:nvGrpSpPr>
        <p:cNvPr id="1" name=""/>
        <p:cNvGrpSpPr/>
        <p:nvPr/>
      </p:nvGrpSpPr>
      <p:grpSpPr>
        <a:xfrm>
          <a:off x="0" y="0"/>
          <a:ext cx="0" cy="0"/>
          <a:chOff x="0" y="0"/>
          <a:chExt cx="0" cy="0"/>
        </a:xfrm>
      </p:grpSpPr>
      <p:sp>
        <p:nvSpPr>
          <p:cNvPr id="29" name="Freihandform: Form 28">
            <a:extLst>
              <a:ext uri="{FF2B5EF4-FFF2-40B4-BE49-F238E27FC236}">
                <a16:creationId xmlns:a16="http://schemas.microsoft.com/office/drawing/2014/main" id="{32807CC7-1259-45C5-858E-D208A6E00CC7}"/>
              </a:ext>
            </a:extLst>
          </p:cNvPr>
          <p:cNvSpPr/>
          <p:nvPr userDrawn="1"/>
        </p:nvSpPr>
        <p:spPr>
          <a:xfrm rot="10800000">
            <a:off x="0" y="1975611"/>
            <a:ext cx="9829800" cy="4882390"/>
          </a:xfrm>
          <a:custGeom>
            <a:avLst/>
            <a:gdLst>
              <a:gd name="connsiteX0" fmla="*/ 910059 w 9829800"/>
              <a:gd name="connsiteY0" fmla="*/ 0 h 4882390"/>
              <a:gd name="connsiteX1" fmla="*/ 3015085 w 9829800"/>
              <a:gd name="connsiteY1" fmla="*/ 0 h 4882390"/>
              <a:gd name="connsiteX2" fmla="*/ 7981950 w 9829800"/>
              <a:gd name="connsiteY2" fmla="*/ 0 h 4882390"/>
              <a:gd name="connsiteX3" fmla="*/ 9829800 w 9829800"/>
              <a:gd name="connsiteY3" fmla="*/ 0 h 4882390"/>
              <a:gd name="connsiteX4" fmla="*/ 9829800 w 9829800"/>
              <a:gd name="connsiteY4" fmla="*/ 4882390 h 4882390"/>
              <a:gd name="connsiteX5" fmla="*/ 7981950 w 9829800"/>
              <a:gd name="connsiteY5" fmla="*/ 4882390 h 4882390"/>
              <a:gd name="connsiteX6" fmla="*/ 2183098 w 9829800"/>
              <a:gd name="connsiteY6" fmla="*/ 4882390 h 4882390"/>
              <a:gd name="connsiteX7" fmla="*/ 78072 w 9829800"/>
              <a:gd name="connsiteY7" fmla="*/ 4882390 h 4882390"/>
              <a:gd name="connsiteX8" fmla="*/ 0 w 9829800"/>
              <a:gd name="connsiteY8" fmla="*/ 4804318 h 4882390"/>
              <a:gd name="connsiteX9" fmla="*/ 831987 w 9829800"/>
              <a:gd name="connsiteY9" fmla="*/ 78072 h 4882390"/>
              <a:gd name="connsiteX10" fmla="*/ 910059 w 9829800"/>
              <a:gd name="connsiteY10" fmla="*/ 0 h 4882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829800" h="4882390">
                <a:moveTo>
                  <a:pt x="910059" y="0"/>
                </a:moveTo>
                <a:lnTo>
                  <a:pt x="3015085" y="0"/>
                </a:lnTo>
                <a:lnTo>
                  <a:pt x="7981950" y="0"/>
                </a:lnTo>
                <a:lnTo>
                  <a:pt x="9829800" y="0"/>
                </a:lnTo>
                <a:lnTo>
                  <a:pt x="9829800" y="4882390"/>
                </a:lnTo>
                <a:lnTo>
                  <a:pt x="7981950" y="4882390"/>
                </a:lnTo>
                <a:lnTo>
                  <a:pt x="2183098" y="4882390"/>
                </a:lnTo>
                <a:lnTo>
                  <a:pt x="78072" y="4882390"/>
                </a:lnTo>
                <a:cubicBezTo>
                  <a:pt x="34957" y="4882390"/>
                  <a:pt x="0" y="4847433"/>
                  <a:pt x="0" y="4804318"/>
                </a:cubicBezTo>
                <a:lnTo>
                  <a:pt x="831987" y="78072"/>
                </a:lnTo>
                <a:cubicBezTo>
                  <a:pt x="831987" y="34957"/>
                  <a:pt x="866945" y="0"/>
                  <a:pt x="910059" y="0"/>
                </a:cubicBezTo>
                <a:close/>
              </a:path>
            </a:pathLst>
          </a:custGeom>
          <a:gradFill>
            <a:gsLst>
              <a:gs pos="100000">
                <a:schemeClr val="bg1"/>
              </a:gs>
              <a:gs pos="5000">
                <a:srgbClr val="ECF0F4"/>
              </a:gs>
            </a:gsLst>
            <a:lin ang="5400000" scaled="1"/>
          </a:gradFill>
          <a:ln w="11652" cap="flat">
            <a:noFill/>
            <a:prstDash val="solid"/>
            <a:miter/>
          </a:ln>
        </p:spPr>
        <p:txBody>
          <a:bodyPr rtlCol="0" anchor="ctr"/>
          <a:lstStyle/>
          <a:p>
            <a:endParaRPr lang="de-DE"/>
          </a:p>
        </p:txBody>
      </p:sp>
      <p:sp>
        <p:nvSpPr>
          <p:cNvPr id="4" name="Rechteck 3">
            <a:extLst>
              <a:ext uri="{FF2B5EF4-FFF2-40B4-BE49-F238E27FC236}">
                <a16:creationId xmlns:a16="http://schemas.microsoft.com/office/drawing/2014/main" id="{B3171165-2B54-4ABD-BE50-77A96338C37F}"/>
              </a:ext>
            </a:extLst>
          </p:cNvPr>
          <p:cNvSpPr/>
          <p:nvPr userDrawn="1"/>
        </p:nvSpPr>
        <p:spPr>
          <a:xfrm>
            <a:off x="0" y="0"/>
            <a:ext cx="5167631" cy="9779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Bildplatzhalter 14">
            <a:extLst>
              <a:ext uri="{FF2B5EF4-FFF2-40B4-BE49-F238E27FC236}">
                <a16:creationId xmlns:a16="http://schemas.microsoft.com/office/drawing/2014/main" id="{2F9A3541-7274-463D-936F-EAAE93178753}"/>
              </a:ext>
            </a:extLst>
          </p:cNvPr>
          <p:cNvSpPr>
            <a:spLocks noGrp="1"/>
          </p:cNvSpPr>
          <p:nvPr>
            <p:ph type="pic" sz="quarter" idx="11" hasCustomPrompt="1"/>
          </p:nvPr>
        </p:nvSpPr>
        <p:spPr>
          <a:xfrm>
            <a:off x="-8254" y="1935480"/>
            <a:ext cx="1205865" cy="3000375"/>
          </a:xfrm>
          <a:custGeom>
            <a:avLst/>
            <a:gdLst>
              <a:gd name="connsiteX0" fmla="*/ 0 w 1205865"/>
              <a:gd name="connsiteY0" fmla="*/ 0 h 3000375"/>
              <a:gd name="connsiteX1" fmla="*/ 1205865 w 1205865"/>
              <a:gd name="connsiteY1" fmla="*/ 1492885 h 3000375"/>
              <a:gd name="connsiteX2" fmla="*/ 0 w 1205865"/>
              <a:gd name="connsiteY2" fmla="*/ 3000375 h 3000375"/>
            </a:gdLst>
            <a:ahLst/>
            <a:cxnLst>
              <a:cxn ang="0">
                <a:pos x="connsiteX0" y="connsiteY0"/>
              </a:cxn>
              <a:cxn ang="0">
                <a:pos x="connsiteX1" y="connsiteY1"/>
              </a:cxn>
              <a:cxn ang="0">
                <a:pos x="connsiteX2" y="connsiteY2"/>
              </a:cxn>
            </a:cxnLst>
            <a:rect l="l" t="t" r="r" b="b"/>
            <a:pathLst>
              <a:path w="1205865" h="3000375">
                <a:moveTo>
                  <a:pt x="0" y="0"/>
                </a:moveTo>
                <a:lnTo>
                  <a:pt x="1205865" y="1492885"/>
                </a:lnTo>
                <a:lnTo>
                  <a:pt x="0" y="3000375"/>
                </a:lnTo>
                <a:close/>
              </a:path>
            </a:pathLst>
          </a:custGeom>
        </p:spPr>
        <p:txBody>
          <a:bodyPr wrap="square">
            <a:noAutofit/>
          </a:bodyPr>
          <a:lstStyle>
            <a:lvl1pPr>
              <a:defRPr/>
            </a:lvl1pPr>
          </a:lstStyle>
          <a:p>
            <a:r>
              <a:rPr lang="de-DE"/>
              <a:t>Image</a:t>
            </a:r>
          </a:p>
        </p:txBody>
      </p:sp>
      <p:sp>
        <p:nvSpPr>
          <p:cNvPr id="10" name="Bildplatzhalter 9">
            <a:extLst>
              <a:ext uri="{FF2B5EF4-FFF2-40B4-BE49-F238E27FC236}">
                <a16:creationId xmlns:a16="http://schemas.microsoft.com/office/drawing/2014/main" id="{36441136-6B09-454A-917E-480B2661FDD6}"/>
              </a:ext>
            </a:extLst>
          </p:cNvPr>
          <p:cNvSpPr>
            <a:spLocks noGrp="1"/>
          </p:cNvSpPr>
          <p:nvPr>
            <p:ph type="pic" sz="quarter" idx="12" hasCustomPrompt="1"/>
          </p:nvPr>
        </p:nvSpPr>
        <p:spPr>
          <a:xfrm>
            <a:off x="-8254" y="301625"/>
            <a:ext cx="2526665" cy="6283960"/>
          </a:xfrm>
          <a:custGeom>
            <a:avLst/>
            <a:gdLst>
              <a:gd name="connsiteX0" fmla="*/ 0 w 2526665"/>
              <a:gd name="connsiteY0" fmla="*/ 0 h 6283960"/>
              <a:gd name="connsiteX1" fmla="*/ 2526665 w 2526665"/>
              <a:gd name="connsiteY1" fmla="*/ 3126740 h 6283960"/>
              <a:gd name="connsiteX2" fmla="*/ 0 w 2526665"/>
              <a:gd name="connsiteY2" fmla="*/ 6283960 h 6283960"/>
              <a:gd name="connsiteX3" fmla="*/ 0 w 2526665"/>
              <a:gd name="connsiteY3" fmla="*/ 4763135 h 6283960"/>
              <a:gd name="connsiteX4" fmla="*/ 1319530 w 2526665"/>
              <a:gd name="connsiteY4" fmla="*/ 3128010 h 6283960"/>
              <a:gd name="connsiteX5" fmla="*/ 1315085 w 2526665"/>
              <a:gd name="connsiteY5" fmla="*/ 3128010 h 6283960"/>
              <a:gd name="connsiteX6" fmla="*/ 0 w 2526665"/>
              <a:gd name="connsiteY6" fmla="*/ 1497330 h 6283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26665" h="6283960">
                <a:moveTo>
                  <a:pt x="0" y="0"/>
                </a:moveTo>
                <a:lnTo>
                  <a:pt x="2526665" y="3126740"/>
                </a:lnTo>
                <a:lnTo>
                  <a:pt x="0" y="6283960"/>
                </a:lnTo>
                <a:lnTo>
                  <a:pt x="0" y="4763135"/>
                </a:lnTo>
                <a:lnTo>
                  <a:pt x="1319530" y="3128010"/>
                </a:lnTo>
                <a:lnTo>
                  <a:pt x="1315085" y="3128010"/>
                </a:lnTo>
                <a:lnTo>
                  <a:pt x="0" y="1497330"/>
                </a:lnTo>
                <a:close/>
              </a:path>
            </a:pathLst>
          </a:custGeom>
        </p:spPr>
        <p:txBody>
          <a:bodyPr wrap="square">
            <a:noAutofit/>
          </a:bodyPr>
          <a:lstStyle>
            <a:lvl1pPr>
              <a:defRPr/>
            </a:lvl1pPr>
          </a:lstStyle>
          <a:p>
            <a:r>
              <a:rPr lang="de-DE"/>
              <a:t>Image</a:t>
            </a:r>
          </a:p>
        </p:txBody>
      </p:sp>
      <p:sp>
        <p:nvSpPr>
          <p:cNvPr id="12" name="Bildplatzhalter 11">
            <a:extLst>
              <a:ext uri="{FF2B5EF4-FFF2-40B4-BE49-F238E27FC236}">
                <a16:creationId xmlns:a16="http://schemas.microsoft.com/office/drawing/2014/main" id="{02D4F830-46D4-440B-BAF7-F6C48BC1A683}"/>
              </a:ext>
            </a:extLst>
          </p:cNvPr>
          <p:cNvSpPr>
            <a:spLocks noGrp="1"/>
          </p:cNvSpPr>
          <p:nvPr>
            <p:ph type="pic" sz="quarter" idx="13" hasCustomPrompt="1"/>
          </p:nvPr>
        </p:nvSpPr>
        <p:spPr>
          <a:xfrm>
            <a:off x="0" y="0"/>
            <a:ext cx="3846830" cy="6858000"/>
          </a:xfrm>
          <a:custGeom>
            <a:avLst/>
            <a:gdLst>
              <a:gd name="connsiteX0" fmla="*/ 0 w 3846830"/>
              <a:gd name="connsiteY0" fmla="*/ 0 h 6858000"/>
              <a:gd name="connsiteX1" fmla="*/ 1076960 w 3846830"/>
              <a:gd name="connsiteY1" fmla="*/ 0 h 6858000"/>
              <a:gd name="connsiteX2" fmla="*/ 3846830 w 3846830"/>
              <a:gd name="connsiteY2" fmla="*/ 3428365 h 6858000"/>
              <a:gd name="connsiteX3" fmla="*/ 1102360 w 3846830"/>
              <a:gd name="connsiteY3" fmla="*/ 6858000 h 6858000"/>
              <a:gd name="connsiteX4" fmla="*/ 0 w 3846830"/>
              <a:gd name="connsiteY4" fmla="*/ 6858000 h 6858000"/>
              <a:gd name="connsiteX5" fmla="*/ 0 w 3846830"/>
              <a:gd name="connsiteY5" fmla="*/ 6701156 h 6858000"/>
              <a:gd name="connsiteX6" fmla="*/ 2639695 w 3846830"/>
              <a:gd name="connsiteY6" fmla="*/ 3429635 h 6858000"/>
              <a:gd name="connsiteX7" fmla="*/ 2635885 w 3846830"/>
              <a:gd name="connsiteY7" fmla="*/ 3429635 h 6858000"/>
              <a:gd name="connsiteX8" fmla="*/ 0 w 3846830"/>
              <a:gd name="connsiteY8" fmla="*/ 16192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46829" h="6858000">
                <a:moveTo>
                  <a:pt x="0" y="0"/>
                </a:moveTo>
                <a:lnTo>
                  <a:pt x="1076960" y="0"/>
                </a:lnTo>
                <a:lnTo>
                  <a:pt x="3846830" y="3428365"/>
                </a:lnTo>
                <a:lnTo>
                  <a:pt x="1102360" y="6858000"/>
                </a:lnTo>
                <a:lnTo>
                  <a:pt x="0" y="6858000"/>
                </a:lnTo>
                <a:lnTo>
                  <a:pt x="0" y="6701156"/>
                </a:lnTo>
                <a:lnTo>
                  <a:pt x="2639695" y="3429635"/>
                </a:lnTo>
                <a:lnTo>
                  <a:pt x="2635885" y="3429635"/>
                </a:lnTo>
                <a:lnTo>
                  <a:pt x="0" y="161925"/>
                </a:lnTo>
                <a:close/>
              </a:path>
            </a:pathLst>
          </a:custGeom>
        </p:spPr>
        <p:txBody>
          <a:bodyPr wrap="square">
            <a:noAutofit/>
          </a:bodyPr>
          <a:lstStyle>
            <a:lvl1pPr marL="285750" marR="0" indent="-285750" algn="l" defTabSz="1644650" rtl="0" eaLnBrk="0" fontAlgn="base" latinLnBrk="0" hangingPunct="0">
              <a:lnSpc>
                <a:spcPct val="130000"/>
              </a:lnSpc>
              <a:spcBef>
                <a:spcPct val="0"/>
              </a:spcBef>
              <a:spcAft>
                <a:spcPts val="1200"/>
              </a:spcAft>
              <a:buClr>
                <a:srgbClr val="004C99"/>
              </a:buClr>
              <a:buSzPct val="120000"/>
              <a:defRPr/>
            </a:lvl1pPr>
          </a:lstStyle>
          <a:p>
            <a:pPr marL="285750" marR="0" lvl="0" indent="-285750" algn="l" defTabSz="1644650" rtl="0" eaLnBrk="0" fontAlgn="base" latinLnBrk="0" hangingPunct="0">
              <a:lnSpc>
                <a:spcPct val="130000"/>
              </a:lnSpc>
              <a:spcBef>
                <a:spcPct val="0"/>
              </a:spcBef>
              <a:spcAft>
                <a:spcPts val="1200"/>
              </a:spcAft>
              <a:buClr>
                <a:srgbClr val="004C99"/>
              </a:buClr>
              <a:buSzPct val="120000"/>
              <a:defRPr/>
            </a:pPr>
            <a:r>
              <a:rPr lang="de-DE"/>
              <a:t>Image</a:t>
            </a:r>
          </a:p>
        </p:txBody>
      </p:sp>
      <p:sp>
        <p:nvSpPr>
          <p:cNvPr id="14" name="Bildplatzhalter 13">
            <a:extLst>
              <a:ext uri="{FF2B5EF4-FFF2-40B4-BE49-F238E27FC236}">
                <a16:creationId xmlns:a16="http://schemas.microsoft.com/office/drawing/2014/main" id="{E7C8B3D1-9E70-4D62-BD00-F4F3C26B64F6}"/>
              </a:ext>
            </a:extLst>
          </p:cNvPr>
          <p:cNvSpPr>
            <a:spLocks noGrp="1"/>
          </p:cNvSpPr>
          <p:nvPr>
            <p:ph type="pic" sz="quarter" idx="14" hasCustomPrompt="1"/>
          </p:nvPr>
        </p:nvSpPr>
        <p:spPr>
          <a:xfrm>
            <a:off x="1189356" y="0"/>
            <a:ext cx="3978275" cy="6858000"/>
          </a:xfrm>
          <a:custGeom>
            <a:avLst/>
            <a:gdLst>
              <a:gd name="connsiteX0" fmla="*/ 0 w 3978275"/>
              <a:gd name="connsiteY0" fmla="*/ 0 h 6858000"/>
              <a:gd name="connsiteX1" fmla="*/ 1208405 w 3978275"/>
              <a:gd name="connsiteY1" fmla="*/ 0 h 6858000"/>
              <a:gd name="connsiteX2" fmla="*/ 3978275 w 3978275"/>
              <a:gd name="connsiteY2" fmla="*/ 3428365 h 6858000"/>
              <a:gd name="connsiteX3" fmla="*/ 1233805 w 3978275"/>
              <a:gd name="connsiteY3" fmla="*/ 6858000 h 6858000"/>
              <a:gd name="connsiteX4" fmla="*/ 4445 w 3978275"/>
              <a:gd name="connsiteY4" fmla="*/ 6858000 h 6858000"/>
              <a:gd name="connsiteX5" fmla="*/ 2771140 w 3978275"/>
              <a:gd name="connsiteY5" fmla="*/ 3429635 h 6858000"/>
              <a:gd name="connsiteX6" fmla="*/ 2766695 w 3978275"/>
              <a:gd name="connsiteY6" fmla="*/ 34296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78275" h="6858000">
                <a:moveTo>
                  <a:pt x="0" y="0"/>
                </a:moveTo>
                <a:lnTo>
                  <a:pt x="1208405" y="0"/>
                </a:lnTo>
                <a:lnTo>
                  <a:pt x="3978275" y="3428365"/>
                </a:lnTo>
                <a:lnTo>
                  <a:pt x="1233805" y="6858000"/>
                </a:lnTo>
                <a:lnTo>
                  <a:pt x="4445" y="6858000"/>
                </a:lnTo>
                <a:lnTo>
                  <a:pt x="2771140" y="3429635"/>
                </a:lnTo>
                <a:lnTo>
                  <a:pt x="2766695" y="3429635"/>
                </a:lnTo>
                <a:close/>
              </a:path>
            </a:pathLst>
          </a:custGeom>
        </p:spPr>
        <p:txBody>
          <a:bodyPr wrap="square">
            <a:noAutofit/>
          </a:bodyPr>
          <a:lstStyle>
            <a:lvl1pPr>
              <a:defRPr/>
            </a:lvl1pPr>
          </a:lstStyle>
          <a:p>
            <a:r>
              <a:rPr lang="de-DE"/>
              <a:t>Image</a:t>
            </a:r>
          </a:p>
        </p:txBody>
      </p:sp>
      <p:sp>
        <p:nvSpPr>
          <p:cNvPr id="19" name="Bildplatzhalter 18">
            <a:extLst>
              <a:ext uri="{FF2B5EF4-FFF2-40B4-BE49-F238E27FC236}">
                <a16:creationId xmlns:a16="http://schemas.microsoft.com/office/drawing/2014/main" id="{430D398F-0A3E-4783-A126-25B68C9E4541}"/>
              </a:ext>
            </a:extLst>
          </p:cNvPr>
          <p:cNvSpPr>
            <a:spLocks noGrp="1"/>
          </p:cNvSpPr>
          <p:nvPr>
            <p:ph type="pic" sz="quarter" idx="15" hasCustomPrompt="1"/>
          </p:nvPr>
        </p:nvSpPr>
        <p:spPr>
          <a:xfrm>
            <a:off x="2510154" y="0"/>
            <a:ext cx="3977640" cy="6858000"/>
          </a:xfrm>
          <a:custGeom>
            <a:avLst/>
            <a:gdLst>
              <a:gd name="connsiteX0" fmla="*/ 0 w 3977640"/>
              <a:gd name="connsiteY0" fmla="*/ 0 h 6858000"/>
              <a:gd name="connsiteX1" fmla="*/ 1207770 w 3977640"/>
              <a:gd name="connsiteY1" fmla="*/ 0 h 6858000"/>
              <a:gd name="connsiteX2" fmla="*/ 3977640 w 3977640"/>
              <a:gd name="connsiteY2" fmla="*/ 3428365 h 6858000"/>
              <a:gd name="connsiteX3" fmla="*/ 1233170 w 3977640"/>
              <a:gd name="connsiteY3" fmla="*/ 6858000 h 6858000"/>
              <a:gd name="connsiteX4" fmla="*/ 3810 w 3977640"/>
              <a:gd name="connsiteY4" fmla="*/ 6858000 h 6858000"/>
              <a:gd name="connsiteX5" fmla="*/ 2770505 w 3977640"/>
              <a:gd name="connsiteY5" fmla="*/ 3429635 h 6858000"/>
              <a:gd name="connsiteX6" fmla="*/ 2766695 w 3977640"/>
              <a:gd name="connsiteY6" fmla="*/ 34296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77640" h="6858000">
                <a:moveTo>
                  <a:pt x="0" y="0"/>
                </a:moveTo>
                <a:lnTo>
                  <a:pt x="1207770" y="0"/>
                </a:lnTo>
                <a:lnTo>
                  <a:pt x="3977640" y="3428365"/>
                </a:lnTo>
                <a:lnTo>
                  <a:pt x="1233170" y="6858000"/>
                </a:lnTo>
                <a:lnTo>
                  <a:pt x="3810" y="6858000"/>
                </a:lnTo>
                <a:lnTo>
                  <a:pt x="2770505" y="3429635"/>
                </a:lnTo>
                <a:lnTo>
                  <a:pt x="2766695" y="3429635"/>
                </a:lnTo>
                <a:close/>
              </a:path>
            </a:pathLst>
          </a:custGeom>
        </p:spPr>
        <p:txBody>
          <a:bodyPr wrap="square">
            <a:noAutofit/>
          </a:bodyPr>
          <a:lstStyle>
            <a:lvl1pPr marL="0" marR="0" indent="0" algn="l" defTabSz="1644650" rtl="0" eaLnBrk="0" fontAlgn="base" latinLnBrk="0" hangingPunct="0">
              <a:lnSpc>
                <a:spcPct val="130000"/>
              </a:lnSpc>
              <a:spcBef>
                <a:spcPct val="0"/>
              </a:spcBef>
              <a:spcAft>
                <a:spcPts val="1200"/>
              </a:spcAft>
              <a:buClr>
                <a:srgbClr val="004C99"/>
              </a:buClr>
              <a:buSzPct val="120000"/>
              <a:buFontTx/>
              <a:buNone/>
              <a:defRPr/>
            </a:lvl1pPr>
          </a:lstStyle>
          <a:p>
            <a:pPr marL="266700" marR="0" lvl="0" indent="-266700" algn="l" defTabSz="1644650" rtl="0" eaLnBrk="0" fontAlgn="base" latinLnBrk="0" hangingPunct="0">
              <a:lnSpc>
                <a:spcPct val="130000"/>
              </a:lnSpc>
              <a:spcBef>
                <a:spcPct val="0"/>
              </a:spcBef>
              <a:spcAft>
                <a:spcPts val="1200"/>
              </a:spcAft>
              <a:buClr>
                <a:srgbClr val="004C99"/>
              </a:buClr>
              <a:buSzPct val="120000"/>
              <a:buFontTx/>
              <a:buBlip>
                <a:blip r:embed="rId2"/>
              </a:buBlip>
              <a:defRPr/>
            </a:pPr>
            <a:r>
              <a:rPr lang="de-DE"/>
              <a:t>Image</a:t>
            </a:r>
          </a:p>
        </p:txBody>
      </p:sp>
      <p:sp>
        <p:nvSpPr>
          <p:cNvPr id="3" name="Foliennummernplatzhalter 2">
            <a:extLst>
              <a:ext uri="{FF2B5EF4-FFF2-40B4-BE49-F238E27FC236}">
                <a16:creationId xmlns:a16="http://schemas.microsoft.com/office/drawing/2014/main" id="{DC053103-C4EF-4D36-8E61-94E049911A6E}"/>
              </a:ext>
            </a:extLst>
          </p:cNvPr>
          <p:cNvSpPr>
            <a:spLocks noGrp="1"/>
          </p:cNvSpPr>
          <p:nvPr>
            <p:ph type="sldNum" sz="quarter" idx="10"/>
          </p:nvPr>
        </p:nvSpPr>
        <p:spPr/>
        <p:txBody>
          <a:bodyPr/>
          <a:lstStyle/>
          <a:p>
            <a:fld id="{A04BEB4F-8CE1-4F18-986F-6CE0A0BE9470}" type="slidenum">
              <a:rPr lang="de-DE" smtClean="0"/>
              <a:t>‹#›</a:t>
            </a:fld>
            <a:endParaRPr lang="de-DE"/>
          </a:p>
        </p:txBody>
      </p:sp>
      <p:sp>
        <p:nvSpPr>
          <p:cNvPr id="22" name="Titel 1">
            <a:extLst>
              <a:ext uri="{FF2B5EF4-FFF2-40B4-BE49-F238E27FC236}">
                <a16:creationId xmlns:a16="http://schemas.microsoft.com/office/drawing/2014/main" id="{926315ED-A266-4C63-B408-A343268356A9}"/>
              </a:ext>
            </a:extLst>
          </p:cNvPr>
          <p:cNvSpPr>
            <a:spLocks noGrp="1"/>
          </p:cNvSpPr>
          <p:nvPr>
            <p:ph type="title" hasCustomPrompt="1"/>
          </p:nvPr>
        </p:nvSpPr>
        <p:spPr>
          <a:xfrm>
            <a:off x="6768176" y="1668702"/>
            <a:ext cx="4607869" cy="767737"/>
          </a:xfrm>
        </p:spPr>
        <p:txBody>
          <a:bodyPr/>
          <a:lstStyle>
            <a:lvl1pPr algn="r">
              <a:lnSpc>
                <a:spcPct val="100000"/>
              </a:lnSpc>
              <a:defRPr/>
            </a:lvl1pPr>
          </a:lstStyle>
          <a:p>
            <a:r>
              <a:rPr lang="de-DE"/>
              <a:t>Headline</a:t>
            </a:r>
          </a:p>
        </p:txBody>
      </p:sp>
      <p:sp>
        <p:nvSpPr>
          <p:cNvPr id="23" name="Textplatzhalter 9">
            <a:extLst>
              <a:ext uri="{FF2B5EF4-FFF2-40B4-BE49-F238E27FC236}">
                <a16:creationId xmlns:a16="http://schemas.microsoft.com/office/drawing/2014/main" id="{AD0BB041-2E80-4C5A-ADD2-9F3B2CA6980F}"/>
              </a:ext>
            </a:extLst>
          </p:cNvPr>
          <p:cNvSpPr>
            <a:spLocks noGrp="1"/>
          </p:cNvSpPr>
          <p:nvPr>
            <p:ph type="body" sz="quarter" idx="16"/>
          </p:nvPr>
        </p:nvSpPr>
        <p:spPr>
          <a:xfrm>
            <a:off x="6768177" y="2736694"/>
            <a:ext cx="4607869" cy="3581555"/>
          </a:xfrm>
          <a:prstGeom prst="rect">
            <a:avLst/>
          </a:prstGeom>
        </p:spPr>
        <p:txBody>
          <a:bodyPr lIns="0" tIns="0" rIns="0" bIns="0">
            <a:normAutofit/>
          </a:bodyPr>
          <a:lstStyle>
            <a:lvl1pPr algn="r">
              <a:defRPr sz="1800"/>
            </a:lvl1pPr>
            <a:lvl2pPr algn="r">
              <a:defRPr sz="1800"/>
            </a:lvl2pPr>
            <a:lvl3pPr algn="r">
              <a:defRPr sz="1800"/>
            </a:lvl3pPr>
            <a:lvl4pPr algn="r">
              <a:defRPr sz="1800"/>
            </a:lvl4pPr>
            <a:lvl5pPr algn="r">
              <a:defRPr sz="18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2561640272"/>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2" dur="1000" decel="100000" fill="hold" grpId="0" nodeType="withEffect">
                                  <p:stCondLst>
                                    <p:cond delay="0"/>
                                  </p:stCondLst>
                                  <p:childTnLst>
                                    <p:set>
                                      <p:cBhvr>
                                        <p:cTn id="6" dur="1" fill="hold">
                                          <p:stCondLst>
                                            <p:cond delay="0"/>
                                          </p:stCondLst>
                                        </p:cTn>
                                        <p:tgtEl>
                                          <p:spTgt spid="22"/>
                                        </p:tgtEl>
                                        <p:attrNameLst>
                                          <p:attrName>style.visibility</p:attrName>
                                        </p:attrNameLst>
                                      </p:cBhvr>
                                      <p:to>
                                        <p:strVal val="visible"/>
                                      </p:to>
                                    </p:set>
                                    <p:anim calcmode="lin" valueType="num">
                                      <p:cBhvr additive="base">
                                        <p:cTn id="7" dur="1000" fill="hold"/>
                                        <p:tgtEl>
                                          <p:spTgt spid="22"/>
                                        </p:tgtEl>
                                        <p:attrNameLst>
                                          <p:attrName>ppt_x</p:attrName>
                                        </p:attrNameLst>
                                      </p:cBhvr>
                                      <p:tavLst>
                                        <p:tav tm="0">
                                          <p:val>
                                            <p:strVal val="1+#ppt_w/2"/>
                                          </p:val>
                                        </p:tav>
                                        <p:tav tm="100000">
                                          <p:val>
                                            <p:strVal val="#ppt_x"/>
                                          </p:val>
                                        </p:tav>
                                      </p:tavLst>
                                    </p:anim>
                                    <p:anim calcmode="lin" valueType="num">
                                      <p:cBhvr additive="base">
                                        <p:cTn id="8" dur="1000" fill="hold"/>
                                        <p:tgtEl>
                                          <p:spTgt spid="22"/>
                                        </p:tgtEl>
                                        <p:attrNameLst>
                                          <p:attrName>ppt_y</p:attrName>
                                        </p:attrNameLst>
                                      </p:cBhvr>
                                      <p:tavLst>
                                        <p:tav tm="0">
                                          <p:val>
                                            <p:strVal val="#ppt_y"/>
                                          </p:val>
                                        </p:tav>
                                        <p:tav tm="100000">
                                          <p:val>
                                            <p:strVal val="#ppt_y"/>
                                          </p:val>
                                        </p:tav>
                                      </p:tavLst>
                                    </p:anim>
                                  </p:childTnLst>
                                </p:cTn>
                              </p:par>
                              <p:par>
                                <p:cTn id="9" presetID="2" presetClass="entr" presetSubtype="2" dur="1000" decel="100000" fill="hold" grpId="0" nodeType="withEffect">
                                  <p:stCondLst>
                                    <p:cond delay="250"/>
                                  </p:stCondLst>
                                  <p:childTnLst>
                                    <p:set>
                                      <p:cBhvr>
                                        <p:cTn id="10" dur="1" fill="hold">
                                          <p:stCondLst>
                                            <p:cond delay="0"/>
                                          </p:stCondLst>
                                        </p:cTn>
                                        <p:tgtEl>
                                          <p:spTgt spid="23"/>
                                        </p:tgtEl>
                                        <p:attrNameLst>
                                          <p:attrName>style.visibility</p:attrName>
                                        </p:attrNameLst>
                                      </p:cBhvr>
                                      <p:to>
                                        <p:strVal val="visible"/>
                                      </p:to>
                                    </p:set>
                                    <p:anim calcmode="lin" valueType="num">
                                      <p:cBhvr additive="base">
                                        <p:cTn id="11" dur="1000" fill="hold"/>
                                        <p:tgtEl>
                                          <p:spTgt spid="23"/>
                                        </p:tgtEl>
                                        <p:attrNameLst>
                                          <p:attrName>ppt_x</p:attrName>
                                        </p:attrNameLst>
                                      </p:cBhvr>
                                      <p:tavLst>
                                        <p:tav tm="0">
                                          <p:val>
                                            <p:strVal val="1+#ppt_w/2"/>
                                          </p:val>
                                        </p:tav>
                                        <p:tav tm="100000">
                                          <p:val>
                                            <p:strVal val="#ppt_x"/>
                                          </p:val>
                                        </p:tav>
                                      </p:tavLst>
                                    </p:anim>
                                    <p:anim calcmode="lin" valueType="num">
                                      <p:cBhvr additive="base">
                                        <p:cTn id="12" dur="1000" fill="hold"/>
                                        <p:tgtEl>
                                          <p:spTgt spid="23"/>
                                        </p:tgtEl>
                                        <p:attrNameLst>
                                          <p:attrName>ppt_y</p:attrName>
                                        </p:attrNameLst>
                                      </p:cBhvr>
                                      <p:tavLst>
                                        <p:tav tm="0">
                                          <p:val>
                                            <p:strVal val="#ppt_y"/>
                                          </p:val>
                                        </p:tav>
                                        <p:tav tm="100000">
                                          <p:val>
                                            <p:strVal val="#ppt_y"/>
                                          </p:val>
                                        </p:tav>
                                      </p:tavLst>
                                    </p:anim>
                                  </p:childTnLst>
                                </p:cTn>
                              </p:par>
                              <p:par>
                                <p:cTn id="13" presetID="2" presetClass="entr" presetSubtype="8" dur="1000" decel="100000" fill="hold" grpId="1" nodeType="withEffect">
                                  <p:stCondLst>
                                    <p:cond delay="500"/>
                                  </p:stCondLst>
                                  <p:childTnLst>
                                    <p:set>
                                      <p:cBhvr>
                                        <p:cTn id="14" dur="1" fill="hold">
                                          <p:stCondLst>
                                            <p:cond delay="0"/>
                                          </p:stCondLst>
                                        </p:cTn>
                                        <p:tgtEl>
                                          <p:spTgt spid="19"/>
                                        </p:tgtEl>
                                        <p:attrNameLst>
                                          <p:attrName>style.visibility</p:attrName>
                                        </p:attrNameLst>
                                      </p:cBhvr>
                                      <p:to>
                                        <p:strVal val="visible"/>
                                      </p:to>
                                    </p:set>
                                    <p:anim calcmode="lin" valueType="num">
                                      <p:cBhvr additive="base">
                                        <p:cTn id="15" dur="1000" fill="hold"/>
                                        <p:tgtEl>
                                          <p:spTgt spid="19"/>
                                        </p:tgtEl>
                                        <p:attrNameLst>
                                          <p:attrName>ppt_x</p:attrName>
                                        </p:attrNameLst>
                                      </p:cBhvr>
                                      <p:tavLst>
                                        <p:tav tm="0">
                                          <p:val>
                                            <p:strVal val="0-#ppt_w/2"/>
                                          </p:val>
                                        </p:tav>
                                        <p:tav tm="100000">
                                          <p:val>
                                            <p:strVal val="#ppt_x"/>
                                          </p:val>
                                        </p:tav>
                                      </p:tavLst>
                                    </p:anim>
                                    <p:anim calcmode="lin" valueType="num">
                                      <p:cBhvr additive="base">
                                        <p:cTn id="16" dur="1000" fill="hold"/>
                                        <p:tgtEl>
                                          <p:spTgt spid="19"/>
                                        </p:tgtEl>
                                        <p:attrNameLst>
                                          <p:attrName>ppt_y</p:attrName>
                                        </p:attrNameLst>
                                      </p:cBhvr>
                                      <p:tavLst>
                                        <p:tav tm="0">
                                          <p:val>
                                            <p:strVal val="#ppt_y"/>
                                          </p:val>
                                        </p:tav>
                                        <p:tav tm="100000">
                                          <p:val>
                                            <p:strVal val="#ppt_y"/>
                                          </p:val>
                                        </p:tav>
                                      </p:tavLst>
                                    </p:anim>
                                  </p:childTnLst>
                                </p:cTn>
                              </p:par>
                              <p:par>
                                <p:cTn id="17" presetID="2" presetClass="entr" presetSubtype="8" dur="1000" decel="100000" fill="hold" grpId="1" nodeType="withEffect">
                                  <p:stCondLst>
                                    <p:cond delay="750"/>
                                  </p:stCondLst>
                                  <p:childTnLst>
                                    <p:set>
                                      <p:cBhvr>
                                        <p:cTn id="18" dur="1" fill="hold">
                                          <p:stCondLst>
                                            <p:cond delay="0"/>
                                          </p:stCondLst>
                                        </p:cTn>
                                        <p:tgtEl>
                                          <p:spTgt spid="14"/>
                                        </p:tgtEl>
                                        <p:attrNameLst>
                                          <p:attrName>style.visibility</p:attrName>
                                        </p:attrNameLst>
                                      </p:cBhvr>
                                      <p:to>
                                        <p:strVal val="visible"/>
                                      </p:to>
                                    </p:set>
                                    <p:anim calcmode="lin" valueType="num">
                                      <p:cBhvr additive="base">
                                        <p:cTn id="19" dur="1000" fill="hold"/>
                                        <p:tgtEl>
                                          <p:spTgt spid="14"/>
                                        </p:tgtEl>
                                        <p:attrNameLst>
                                          <p:attrName>ppt_x</p:attrName>
                                        </p:attrNameLst>
                                      </p:cBhvr>
                                      <p:tavLst>
                                        <p:tav tm="0">
                                          <p:val>
                                            <p:strVal val="0-#ppt_w/2"/>
                                          </p:val>
                                        </p:tav>
                                        <p:tav tm="100000">
                                          <p:val>
                                            <p:strVal val="#ppt_x"/>
                                          </p:val>
                                        </p:tav>
                                      </p:tavLst>
                                    </p:anim>
                                    <p:anim calcmode="lin" valueType="num">
                                      <p:cBhvr additive="base">
                                        <p:cTn id="20" dur="1000" fill="hold"/>
                                        <p:tgtEl>
                                          <p:spTgt spid="14"/>
                                        </p:tgtEl>
                                        <p:attrNameLst>
                                          <p:attrName>ppt_y</p:attrName>
                                        </p:attrNameLst>
                                      </p:cBhvr>
                                      <p:tavLst>
                                        <p:tav tm="0">
                                          <p:val>
                                            <p:strVal val="#ppt_y"/>
                                          </p:val>
                                        </p:tav>
                                        <p:tav tm="100000">
                                          <p:val>
                                            <p:strVal val="#ppt_y"/>
                                          </p:val>
                                        </p:tav>
                                      </p:tavLst>
                                    </p:anim>
                                  </p:childTnLst>
                                </p:cTn>
                              </p:par>
                              <p:par>
                                <p:cTn id="21" presetID="2" presetClass="entr" presetSubtype="8" dur="1000" decel="100000" fill="hold" grpId="1" nodeType="withEffect">
                                  <p:stCondLst>
                                    <p:cond delay="1000"/>
                                  </p:stCondLst>
                                  <p:childTnLst>
                                    <p:set>
                                      <p:cBhvr>
                                        <p:cTn id="22" dur="1" fill="hold">
                                          <p:stCondLst>
                                            <p:cond delay="0"/>
                                          </p:stCondLst>
                                        </p:cTn>
                                        <p:tgtEl>
                                          <p:spTgt spid="12"/>
                                        </p:tgtEl>
                                        <p:attrNameLst>
                                          <p:attrName>style.visibility</p:attrName>
                                        </p:attrNameLst>
                                      </p:cBhvr>
                                      <p:to>
                                        <p:strVal val="visible"/>
                                      </p:to>
                                    </p:set>
                                    <p:anim calcmode="lin" valueType="num">
                                      <p:cBhvr additive="base">
                                        <p:cTn id="23" dur="1000" fill="hold"/>
                                        <p:tgtEl>
                                          <p:spTgt spid="12"/>
                                        </p:tgtEl>
                                        <p:attrNameLst>
                                          <p:attrName>ppt_x</p:attrName>
                                        </p:attrNameLst>
                                      </p:cBhvr>
                                      <p:tavLst>
                                        <p:tav tm="0">
                                          <p:val>
                                            <p:strVal val="0-#ppt_w/2"/>
                                          </p:val>
                                        </p:tav>
                                        <p:tav tm="100000">
                                          <p:val>
                                            <p:strVal val="#ppt_x"/>
                                          </p:val>
                                        </p:tav>
                                      </p:tavLst>
                                    </p:anim>
                                    <p:anim calcmode="lin" valueType="num">
                                      <p:cBhvr additive="base">
                                        <p:cTn id="24" dur="1000" fill="hold"/>
                                        <p:tgtEl>
                                          <p:spTgt spid="12"/>
                                        </p:tgtEl>
                                        <p:attrNameLst>
                                          <p:attrName>ppt_y</p:attrName>
                                        </p:attrNameLst>
                                      </p:cBhvr>
                                      <p:tavLst>
                                        <p:tav tm="0">
                                          <p:val>
                                            <p:strVal val="#ppt_y"/>
                                          </p:val>
                                        </p:tav>
                                        <p:tav tm="100000">
                                          <p:val>
                                            <p:strVal val="#ppt_y"/>
                                          </p:val>
                                        </p:tav>
                                      </p:tavLst>
                                    </p:anim>
                                  </p:childTnLst>
                                </p:cTn>
                              </p:par>
                              <p:par>
                                <p:cTn id="25" presetID="2" presetClass="entr" presetSubtype="8" dur="1000" decel="100000" fill="hold" grpId="1" nodeType="withEffect">
                                  <p:stCondLst>
                                    <p:cond delay="1250"/>
                                  </p:stCondLst>
                                  <p:childTnLst>
                                    <p:set>
                                      <p:cBhvr>
                                        <p:cTn id="26" dur="1" fill="hold">
                                          <p:stCondLst>
                                            <p:cond delay="0"/>
                                          </p:stCondLst>
                                        </p:cTn>
                                        <p:tgtEl>
                                          <p:spTgt spid="10"/>
                                        </p:tgtEl>
                                        <p:attrNameLst>
                                          <p:attrName>style.visibility</p:attrName>
                                        </p:attrNameLst>
                                      </p:cBhvr>
                                      <p:to>
                                        <p:strVal val="visible"/>
                                      </p:to>
                                    </p:set>
                                    <p:anim calcmode="lin" valueType="num">
                                      <p:cBhvr additive="base">
                                        <p:cTn id="27" dur="1000" fill="hold"/>
                                        <p:tgtEl>
                                          <p:spTgt spid="10"/>
                                        </p:tgtEl>
                                        <p:attrNameLst>
                                          <p:attrName>ppt_x</p:attrName>
                                        </p:attrNameLst>
                                      </p:cBhvr>
                                      <p:tavLst>
                                        <p:tav tm="0">
                                          <p:val>
                                            <p:strVal val="0-#ppt_w/2"/>
                                          </p:val>
                                        </p:tav>
                                        <p:tav tm="100000">
                                          <p:val>
                                            <p:strVal val="#ppt_x"/>
                                          </p:val>
                                        </p:tav>
                                      </p:tavLst>
                                    </p:anim>
                                    <p:anim calcmode="lin" valueType="num">
                                      <p:cBhvr additive="base">
                                        <p:cTn id="28" dur="1000" fill="hold"/>
                                        <p:tgtEl>
                                          <p:spTgt spid="10"/>
                                        </p:tgtEl>
                                        <p:attrNameLst>
                                          <p:attrName>ppt_y</p:attrName>
                                        </p:attrNameLst>
                                      </p:cBhvr>
                                      <p:tavLst>
                                        <p:tav tm="0">
                                          <p:val>
                                            <p:strVal val="#ppt_y"/>
                                          </p:val>
                                        </p:tav>
                                        <p:tav tm="100000">
                                          <p:val>
                                            <p:strVal val="#ppt_y"/>
                                          </p:val>
                                        </p:tav>
                                      </p:tavLst>
                                    </p:anim>
                                  </p:childTnLst>
                                </p:cTn>
                              </p:par>
                              <p:par>
                                <p:cTn id="29" presetID="2" presetClass="entr" presetSubtype="8" dur="1000" decel="100000" fill="hold" grpId="1" nodeType="withEffect">
                                  <p:stCondLst>
                                    <p:cond delay="1500"/>
                                  </p:stCondLst>
                                  <p:childTnLst>
                                    <p:set>
                                      <p:cBhvr>
                                        <p:cTn id="30" dur="1" fill="hold">
                                          <p:stCondLst>
                                            <p:cond delay="0"/>
                                          </p:stCondLst>
                                        </p:cTn>
                                        <p:tgtEl>
                                          <p:spTgt spid="15"/>
                                        </p:tgtEl>
                                        <p:attrNameLst>
                                          <p:attrName>style.visibility</p:attrName>
                                        </p:attrNameLst>
                                      </p:cBhvr>
                                      <p:to>
                                        <p:strVal val="visible"/>
                                      </p:to>
                                    </p:set>
                                    <p:anim calcmode="lin" valueType="num">
                                      <p:cBhvr additive="base">
                                        <p:cTn id="31" dur="1000" fill="hold"/>
                                        <p:tgtEl>
                                          <p:spTgt spid="15"/>
                                        </p:tgtEl>
                                        <p:attrNameLst>
                                          <p:attrName>ppt_x</p:attrName>
                                        </p:attrNameLst>
                                      </p:cBhvr>
                                      <p:tavLst>
                                        <p:tav tm="0">
                                          <p:val>
                                            <p:strVal val="0-#ppt_w/2"/>
                                          </p:val>
                                        </p:tav>
                                        <p:tav tm="100000">
                                          <p:val>
                                            <p:strVal val="#ppt_x"/>
                                          </p:val>
                                        </p:tav>
                                      </p:tavLst>
                                    </p:anim>
                                    <p:anim calcmode="lin" valueType="num">
                                      <p:cBhvr additive="base">
                                        <p:cTn id="32" dur="1000" fill="hold"/>
                                        <p:tgtEl>
                                          <p:spTgt spid="15"/>
                                        </p:tgtEl>
                                        <p:attrNameLst>
                                          <p:attrName>ppt_y</p:attrName>
                                        </p:attrNameLst>
                                      </p:cBhvr>
                                      <p:tavLst>
                                        <p:tav tm="0">
                                          <p:val>
                                            <p:strVal val="#ppt_y"/>
                                          </p:val>
                                        </p:tav>
                                        <p:tav tm="100000">
                                          <p:val>
                                            <p:strVal val="#ppt_y"/>
                                          </p:val>
                                        </p:tav>
                                      </p:tavLst>
                                    </p:anim>
                                  </p:childTnLst>
                                </p:cTn>
                              </p:par>
                              <p:par>
                                <p:cTn id="33" presetID="6" presetClass="emph" presetSubtype="0" dur="10000" repeatCount="indefinite" accel="50000" decel="50000" autoRev="1" fill="hold" grpId="0" nodeType="withEffect">
                                  <p:stCondLst>
                                    <p:cond delay="0"/>
                                  </p:stCondLst>
                                  <p:childTnLst>
                                    <p:animScale>
                                      <p:cBhvr>
                                        <p:cTn id="34" dur="10000" fill="hold"/>
                                        <p:tgtEl>
                                          <p:spTgt spid="19"/>
                                        </p:tgtEl>
                                      </p:cBhvr>
                                      <p:by x="110000" y="110000"/>
                                    </p:animScale>
                                  </p:childTnLst>
                                </p:cTn>
                              </p:par>
                              <p:par>
                                <p:cTn id="35" presetID="6" presetClass="emph" presetSubtype="0" dur="10000" repeatCount="indefinite" accel="50000" decel="50000" autoRev="1" fill="hold" grpId="0" nodeType="withEffect">
                                  <p:stCondLst>
                                    <p:cond delay="0"/>
                                  </p:stCondLst>
                                  <p:childTnLst>
                                    <p:animScale>
                                      <p:cBhvr>
                                        <p:cTn id="36" dur="10000" fill="hold"/>
                                        <p:tgtEl>
                                          <p:spTgt spid="14"/>
                                        </p:tgtEl>
                                      </p:cBhvr>
                                      <p:by x="120000" y="120000"/>
                                    </p:animScale>
                                  </p:childTnLst>
                                </p:cTn>
                              </p:par>
                              <p:par>
                                <p:cTn id="37" presetID="6" presetClass="emph" presetSubtype="0" dur="10000" repeatCount="indefinite" accel="50000" decel="50000" autoRev="1" fill="hold" grpId="0" nodeType="withEffect">
                                  <p:stCondLst>
                                    <p:cond delay="0"/>
                                  </p:stCondLst>
                                  <p:childTnLst>
                                    <p:animScale>
                                      <p:cBhvr>
                                        <p:cTn id="38" dur="10000" fill="hold"/>
                                        <p:tgtEl>
                                          <p:spTgt spid="12"/>
                                        </p:tgtEl>
                                      </p:cBhvr>
                                      <p:by x="130000" y="130000"/>
                                    </p:animScale>
                                  </p:childTnLst>
                                </p:cTn>
                              </p:par>
                              <p:par>
                                <p:cTn id="39" presetID="6" presetClass="emph" presetSubtype="0" dur="10000" repeatCount="indefinite" accel="50000" decel="50000" autoRev="1" fill="hold" grpId="0" nodeType="withEffect">
                                  <p:stCondLst>
                                    <p:cond delay="0"/>
                                  </p:stCondLst>
                                  <p:childTnLst>
                                    <p:animScale>
                                      <p:cBhvr>
                                        <p:cTn id="40" dur="10000" fill="hold"/>
                                        <p:tgtEl>
                                          <p:spTgt spid="10"/>
                                        </p:tgtEl>
                                      </p:cBhvr>
                                      <p:by x="140000" y="140000"/>
                                    </p:animScale>
                                  </p:childTnLst>
                                </p:cTn>
                              </p:par>
                              <p:par>
                                <p:cTn id="41" presetID="6" presetClass="emph" presetSubtype="0" dur="10000" repeatCount="indefinite" accel="50000" decel="50000" autoRev="1" fill="hold" grpId="0" nodeType="withEffect">
                                  <p:stCondLst>
                                    <p:cond delay="0"/>
                                  </p:stCondLst>
                                  <p:childTnLst>
                                    <p:animScale>
                                      <p:cBhvr>
                                        <p:cTn id="42" dur="10000" fill="hold"/>
                                        <p:tgtEl>
                                          <p:spTgt spid="15"/>
                                        </p:tgtEl>
                                      </p:cBhvr>
                                      <p:by x="150000" y="1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5" grpId="1"/>
      <p:bldP spid="10" grpId="0"/>
      <p:bldP spid="10" grpId="1"/>
      <p:bldP spid="12" grpId="0"/>
      <p:bldP spid="12" grpId="1"/>
      <p:bldP spid="14" grpId="0"/>
      <p:bldP spid="14" grpId="1"/>
      <p:bldP spid="19" grpId="0"/>
      <p:bldP spid="19" grpId="1"/>
      <p:bldP spid="22" grpId="0"/>
      <p:bldP spid="23" grpId="0" uiExpand="1">
        <p:tmplLst>
          <p:tmpl>
            <p:tnLst>
              <p:par>
                <p:cTn presetID="2" presetClass="entr" presetSubtype="2" decel="100000" fill="hold" nodeType="withEffect">
                  <p:stCondLst>
                    <p:cond delay="250"/>
                  </p:stCondLst>
                  <p:childTnLst>
                    <p:set>
                      <p:cBhvr>
                        <p:cTn dur="1" fill="hold">
                          <p:stCondLst>
                            <p:cond delay="0"/>
                          </p:stCondLst>
                        </p:cTn>
                        <p:tgtEl>
                          <p:spTgt spid="23"/>
                        </p:tgtEl>
                        <p:attrNameLst>
                          <p:attrName>style.visibility</p:attrName>
                        </p:attrNameLst>
                      </p:cBhvr>
                      <p:to>
                        <p:strVal val="visible"/>
                      </p:to>
                    </p:set>
                    <p:anim calcmode="lin" valueType="num">
                      <p:cBhvr additive="base">
                        <p:cTn dur="1000" fill="hold"/>
                        <p:tgtEl>
                          <p:spTgt spid="23"/>
                        </p:tgtEl>
                        <p:attrNameLst>
                          <p:attrName>ppt_x</p:attrName>
                        </p:attrNameLst>
                      </p:cBhvr>
                      <p:tavLst>
                        <p:tav tm="0">
                          <p:val>
                            <p:strVal val="1+#ppt_w/2"/>
                          </p:val>
                        </p:tav>
                        <p:tav tm="100000">
                          <p:val>
                            <p:strVal val="#ppt_x"/>
                          </p:val>
                        </p:tav>
                      </p:tavLst>
                    </p:anim>
                    <p:anim calcmode="lin" valueType="num">
                      <p:cBhvr additive="base">
                        <p:cTn dur="1000" fill="hold"/>
                        <p:tgtEl>
                          <p:spTgt spid="23"/>
                        </p:tgtEl>
                        <p:attrNameLst>
                          <p:attrName>ppt_y</p:attrName>
                        </p:attrNameLst>
                      </p:cBhvr>
                      <p:tavLst>
                        <p:tav tm="0">
                          <p:val>
                            <p:strVal val="#ppt_y"/>
                          </p:val>
                        </p:tav>
                        <p:tav tm="100000">
                          <p:val>
                            <p:strVal val="#ppt_y"/>
                          </p:val>
                        </p:tav>
                      </p:tavLst>
                    </p:anim>
                  </p:childTnLst>
                </p:cTn>
              </p:par>
            </p:tnLst>
          </p:tmpl>
        </p:tmplLst>
      </p:bldP>
    </p:bldLst>
  </p:timing>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2 IMAGE ARROWS with text">
    <p:spTree>
      <p:nvGrpSpPr>
        <p:cNvPr id="1" name=""/>
        <p:cNvGrpSpPr/>
        <p:nvPr/>
      </p:nvGrpSpPr>
      <p:grpSpPr>
        <a:xfrm>
          <a:off x="0" y="0"/>
          <a:ext cx="0" cy="0"/>
          <a:chOff x="0" y="0"/>
          <a:chExt cx="0" cy="0"/>
        </a:xfrm>
      </p:grpSpPr>
      <p:sp>
        <p:nvSpPr>
          <p:cNvPr id="17" name="Freihandform: Form 16">
            <a:extLst>
              <a:ext uri="{FF2B5EF4-FFF2-40B4-BE49-F238E27FC236}">
                <a16:creationId xmlns:a16="http://schemas.microsoft.com/office/drawing/2014/main" id="{6FDE6448-E9E7-4FE4-933A-30416F4EFEFB}"/>
              </a:ext>
            </a:extLst>
          </p:cNvPr>
          <p:cNvSpPr/>
          <p:nvPr userDrawn="1"/>
        </p:nvSpPr>
        <p:spPr>
          <a:xfrm>
            <a:off x="2362200" y="1975611"/>
            <a:ext cx="9829800" cy="4882390"/>
          </a:xfrm>
          <a:custGeom>
            <a:avLst/>
            <a:gdLst>
              <a:gd name="connsiteX0" fmla="*/ 910059 w 9829800"/>
              <a:gd name="connsiteY0" fmla="*/ 0 h 4882390"/>
              <a:gd name="connsiteX1" fmla="*/ 3015085 w 9829800"/>
              <a:gd name="connsiteY1" fmla="*/ 0 h 4882390"/>
              <a:gd name="connsiteX2" fmla="*/ 7981950 w 9829800"/>
              <a:gd name="connsiteY2" fmla="*/ 0 h 4882390"/>
              <a:gd name="connsiteX3" fmla="*/ 9829800 w 9829800"/>
              <a:gd name="connsiteY3" fmla="*/ 0 h 4882390"/>
              <a:gd name="connsiteX4" fmla="*/ 9829800 w 9829800"/>
              <a:gd name="connsiteY4" fmla="*/ 4882390 h 4882390"/>
              <a:gd name="connsiteX5" fmla="*/ 7981950 w 9829800"/>
              <a:gd name="connsiteY5" fmla="*/ 4882390 h 4882390"/>
              <a:gd name="connsiteX6" fmla="*/ 2183098 w 9829800"/>
              <a:gd name="connsiteY6" fmla="*/ 4882390 h 4882390"/>
              <a:gd name="connsiteX7" fmla="*/ 78072 w 9829800"/>
              <a:gd name="connsiteY7" fmla="*/ 4882390 h 4882390"/>
              <a:gd name="connsiteX8" fmla="*/ 0 w 9829800"/>
              <a:gd name="connsiteY8" fmla="*/ 4804318 h 4882390"/>
              <a:gd name="connsiteX9" fmla="*/ 831987 w 9829800"/>
              <a:gd name="connsiteY9" fmla="*/ 78072 h 4882390"/>
              <a:gd name="connsiteX10" fmla="*/ 910059 w 9829800"/>
              <a:gd name="connsiteY10" fmla="*/ 0 h 4882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829800" h="4882390">
                <a:moveTo>
                  <a:pt x="910059" y="0"/>
                </a:moveTo>
                <a:lnTo>
                  <a:pt x="3015085" y="0"/>
                </a:lnTo>
                <a:lnTo>
                  <a:pt x="7981950" y="0"/>
                </a:lnTo>
                <a:lnTo>
                  <a:pt x="9829800" y="0"/>
                </a:lnTo>
                <a:lnTo>
                  <a:pt x="9829800" y="4882390"/>
                </a:lnTo>
                <a:lnTo>
                  <a:pt x="7981950" y="4882390"/>
                </a:lnTo>
                <a:lnTo>
                  <a:pt x="2183098" y="4882390"/>
                </a:lnTo>
                <a:lnTo>
                  <a:pt x="78072" y="4882390"/>
                </a:lnTo>
                <a:cubicBezTo>
                  <a:pt x="34957" y="4882390"/>
                  <a:pt x="0" y="4847433"/>
                  <a:pt x="0" y="4804318"/>
                </a:cubicBezTo>
                <a:lnTo>
                  <a:pt x="831987" y="78072"/>
                </a:lnTo>
                <a:cubicBezTo>
                  <a:pt x="831987" y="34957"/>
                  <a:pt x="866945" y="0"/>
                  <a:pt x="910059" y="0"/>
                </a:cubicBezTo>
                <a:close/>
              </a:path>
            </a:pathLst>
          </a:custGeom>
          <a:gradFill>
            <a:gsLst>
              <a:gs pos="0">
                <a:schemeClr val="bg1"/>
              </a:gs>
              <a:gs pos="95000">
                <a:srgbClr val="ECF0F4"/>
              </a:gs>
            </a:gsLst>
            <a:lin ang="5400000" scaled="1"/>
          </a:gradFill>
          <a:ln w="11652" cap="flat">
            <a:noFill/>
            <a:prstDash val="solid"/>
            <a:miter/>
          </a:ln>
        </p:spPr>
        <p:txBody>
          <a:bodyPr rtlCol="0" anchor="ctr"/>
          <a:lstStyle/>
          <a:p>
            <a:endParaRPr lang="de-DE"/>
          </a:p>
        </p:txBody>
      </p:sp>
      <p:sp>
        <p:nvSpPr>
          <p:cNvPr id="12" name="Bildplatzhalter 11">
            <a:extLst>
              <a:ext uri="{FF2B5EF4-FFF2-40B4-BE49-F238E27FC236}">
                <a16:creationId xmlns:a16="http://schemas.microsoft.com/office/drawing/2014/main" id="{78C24256-4A8A-40F5-8E10-A33976777F0F}"/>
              </a:ext>
            </a:extLst>
          </p:cNvPr>
          <p:cNvSpPr>
            <a:spLocks noGrp="1"/>
          </p:cNvSpPr>
          <p:nvPr>
            <p:ph type="pic" sz="quarter" idx="12" hasCustomPrompt="1"/>
          </p:nvPr>
        </p:nvSpPr>
        <p:spPr>
          <a:xfrm>
            <a:off x="4909958" y="1"/>
            <a:ext cx="4853841" cy="6854831"/>
          </a:xfrm>
          <a:custGeom>
            <a:avLst/>
            <a:gdLst>
              <a:gd name="connsiteX0" fmla="*/ 0 w 4853841"/>
              <a:gd name="connsiteY0" fmla="*/ 0 h 6854831"/>
              <a:gd name="connsiteX1" fmla="*/ 1204270 w 4853841"/>
              <a:gd name="connsiteY1" fmla="*/ 0 h 6854831"/>
              <a:gd name="connsiteX2" fmla="*/ 4853841 w 4853841"/>
              <a:gd name="connsiteY2" fmla="*/ 4517280 h 6854831"/>
              <a:gd name="connsiteX3" fmla="*/ 2983420 w 4853841"/>
              <a:gd name="connsiteY3" fmla="*/ 6854831 h 6854831"/>
              <a:gd name="connsiteX4" fmla="*/ 1763305 w 4853841"/>
              <a:gd name="connsiteY4" fmla="*/ 6854831 h 6854831"/>
              <a:gd name="connsiteX5" fmla="*/ 3648938 w 4853841"/>
              <a:gd name="connsiteY5" fmla="*/ 4517914 h 6854831"/>
              <a:gd name="connsiteX6" fmla="*/ 3644501 w 4853841"/>
              <a:gd name="connsiteY6" fmla="*/ 4517914 h 6854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53841" h="6854831">
                <a:moveTo>
                  <a:pt x="0" y="0"/>
                </a:moveTo>
                <a:lnTo>
                  <a:pt x="1204270" y="0"/>
                </a:lnTo>
                <a:lnTo>
                  <a:pt x="4853841" y="4517280"/>
                </a:lnTo>
                <a:lnTo>
                  <a:pt x="2983420" y="6854831"/>
                </a:lnTo>
                <a:lnTo>
                  <a:pt x="1763305" y="6854831"/>
                </a:lnTo>
                <a:lnTo>
                  <a:pt x="3648938" y="4517914"/>
                </a:lnTo>
                <a:lnTo>
                  <a:pt x="3644501" y="4517914"/>
                </a:lnTo>
                <a:close/>
              </a:path>
            </a:pathLst>
          </a:custGeom>
        </p:spPr>
        <p:txBody>
          <a:bodyPr wrap="square">
            <a:noAutofit/>
          </a:bodyPr>
          <a:lstStyle>
            <a:lvl1pPr marL="285750" marR="0" indent="-285750" algn="l" defTabSz="1644650" rtl="0" eaLnBrk="0" fontAlgn="base" latinLnBrk="0" hangingPunct="0">
              <a:lnSpc>
                <a:spcPct val="130000"/>
              </a:lnSpc>
              <a:spcBef>
                <a:spcPct val="0"/>
              </a:spcBef>
              <a:spcAft>
                <a:spcPts val="1200"/>
              </a:spcAft>
              <a:buClr>
                <a:srgbClr val="004C99"/>
              </a:buClr>
              <a:buSzPct val="120000"/>
              <a:defRPr/>
            </a:lvl1pPr>
          </a:lstStyle>
          <a:p>
            <a:pPr marL="285750" marR="0" lvl="0" indent="-285750" algn="l" defTabSz="1644650" rtl="0" eaLnBrk="0" fontAlgn="base" latinLnBrk="0" hangingPunct="0">
              <a:lnSpc>
                <a:spcPct val="130000"/>
              </a:lnSpc>
              <a:spcBef>
                <a:spcPct val="0"/>
              </a:spcBef>
              <a:spcAft>
                <a:spcPts val="1200"/>
              </a:spcAft>
              <a:buClr>
                <a:srgbClr val="004C99"/>
              </a:buClr>
              <a:buSzPct val="120000"/>
              <a:defRPr/>
            </a:pPr>
            <a:r>
              <a:rPr lang="de-DE"/>
              <a:t>Please insert image</a:t>
            </a:r>
          </a:p>
        </p:txBody>
      </p:sp>
      <p:sp>
        <p:nvSpPr>
          <p:cNvPr id="10" name="Bildplatzhalter 9">
            <a:extLst>
              <a:ext uri="{FF2B5EF4-FFF2-40B4-BE49-F238E27FC236}">
                <a16:creationId xmlns:a16="http://schemas.microsoft.com/office/drawing/2014/main" id="{4CAB7184-43A9-4A3A-A3D5-576BB27A7447}"/>
              </a:ext>
            </a:extLst>
          </p:cNvPr>
          <p:cNvSpPr>
            <a:spLocks noGrp="1"/>
          </p:cNvSpPr>
          <p:nvPr>
            <p:ph type="pic" sz="quarter" idx="11" hasCustomPrompt="1"/>
          </p:nvPr>
        </p:nvSpPr>
        <p:spPr>
          <a:xfrm>
            <a:off x="6227682" y="1"/>
            <a:ext cx="8346858" cy="6854831"/>
          </a:xfrm>
          <a:custGeom>
            <a:avLst/>
            <a:gdLst>
              <a:gd name="connsiteX0" fmla="*/ 0 w 8346858"/>
              <a:gd name="connsiteY0" fmla="*/ 0 h 6854831"/>
              <a:gd name="connsiteX1" fmla="*/ 1188424 w 8346858"/>
              <a:gd name="connsiteY1" fmla="*/ 0 h 6854831"/>
              <a:gd name="connsiteX2" fmla="*/ 1204270 w 8346858"/>
              <a:gd name="connsiteY2" fmla="*/ 0 h 6854831"/>
              <a:gd name="connsiteX3" fmla="*/ 2391427 w 8346858"/>
              <a:gd name="connsiteY3" fmla="*/ 0 h 6854831"/>
              <a:gd name="connsiteX4" fmla="*/ 2392694 w 8346858"/>
              <a:gd name="connsiteY4" fmla="*/ 0 h 6854831"/>
              <a:gd name="connsiteX5" fmla="*/ 3493017 w 8346858"/>
              <a:gd name="connsiteY5" fmla="*/ 0 h 6854831"/>
              <a:gd name="connsiteX6" fmla="*/ 3595696 w 8346858"/>
              <a:gd name="connsiteY6" fmla="*/ 0 h 6854831"/>
              <a:gd name="connsiteX7" fmla="*/ 4697286 w 8346858"/>
              <a:gd name="connsiteY7" fmla="*/ 0 h 6854831"/>
              <a:gd name="connsiteX8" fmla="*/ 8346858 w 8346858"/>
              <a:gd name="connsiteY8" fmla="*/ 4517280 h 6854831"/>
              <a:gd name="connsiteX9" fmla="*/ 6476436 w 8346858"/>
              <a:gd name="connsiteY9" fmla="*/ 6854831 h 6854831"/>
              <a:gd name="connsiteX10" fmla="*/ 1763939 w 8346858"/>
              <a:gd name="connsiteY10" fmla="*/ 6854831 h 6854831"/>
              <a:gd name="connsiteX11" fmla="*/ 3648938 w 8346858"/>
              <a:gd name="connsiteY11" fmla="*/ 4517914 h 6854831"/>
              <a:gd name="connsiteX12" fmla="*/ 3645135 w 8346858"/>
              <a:gd name="connsiteY12" fmla="*/ 4517914 h 6854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346858" h="6854831">
                <a:moveTo>
                  <a:pt x="0" y="0"/>
                </a:moveTo>
                <a:lnTo>
                  <a:pt x="1188424" y="0"/>
                </a:lnTo>
                <a:lnTo>
                  <a:pt x="1204270" y="0"/>
                </a:lnTo>
                <a:lnTo>
                  <a:pt x="2391427" y="0"/>
                </a:lnTo>
                <a:lnTo>
                  <a:pt x="2392694" y="0"/>
                </a:lnTo>
                <a:lnTo>
                  <a:pt x="3493017" y="0"/>
                </a:lnTo>
                <a:lnTo>
                  <a:pt x="3595696" y="0"/>
                </a:lnTo>
                <a:lnTo>
                  <a:pt x="4697286" y="0"/>
                </a:lnTo>
                <a:lnTo>
                  <a:pt x="8346858" y="4517280"/>
                </a:lnTo>
                <a:lnTo>
                  <a:pt x="6476436" y="6854831"/>
                </a:lnTo>
                <a:lnTo>
                  <a:pt x="1763939" y="6854831"/>
                </a:lnTo>
                <a:lnTo>
                  <a:pt x="3648938" y="4517914"/>
                </a:lnTo>
                <a:lnTo>
                  <a:pt x="3645135" y="4517914"/>
                </a:lnTo>
                <a:close/>
              </a:path>
            </a:pathLst>
          </a:custGeom>
        </p:spPr>
        <p:txBody>
          <a:bodyPr wrap="square">
            <a:noAutofit/>
          </a:bodyPr>
          <a:lstStyle>
            <a:lvl1pPr marL="285750" marR="0" indent="-285750" algn="l" defTabSz="1644650" rtl="0" eaLnBrk="0" fontAlgn="base" latinLnBrk="0" hangingPunct="0">
              <a:lnSpc>
                <a:spcPct val="130000"/>
              </a:lnSpc>
              <a:spcBef>
                <a:spcPct val="0"/>
              </a:spcBef>
              <a:spcAft>
                <a:spcPts val="1200"/>
              </a:spcAft>
              <a:buClr>
                <a:srgbClr val="004C99"/>
              </a:buClr>
              <a:buSzPct val="120000"/>
              <a:defRPr/>
            </a:lvl1pPr>
          </a:lstStyle>
          <a:p>
            <a:pPr marL="1343025" marR="0" lvl="3" indent="-285750" algn="l" defTabSz="1644650" rtl="0" eaLnBrk="0" fontAlgn="base" latinLnBrk="0" hangingPunct="0">
              <a:lnSpc>
                <a:spcPct val="130000"/>
              </a:lnSpc>
              <a:spcBef>
                <a:spcPct val="0"/>
              </a:spcBef>
              <a:spcAft>
                <a:spcPts val="1200"/>
              </a:spcAft>
              <a:buClr>
                <a:srgbClr val="004C99"/>
              </a:buClr>
              <a:buSzPct val="120000"/>
              <a:defRPr/>
            </a:pPr>
            <a:r>
              <a:rPr lang="de-DE"/>
              <a:t>Please insert image</a:t>
            </a:r>
          </a:p>
        </p:txBody>
      </p:sp>
      <p:sp>
        <p:nvSpPr>
          <p:cNvPr id="15" name="Titel 1">
            <a:extLst>
              <a:ext uri="{FF2B5EF4-FFF2-40B4-BE49-F238E27FC236}">
                <a16:creationId xmlns:a16="http://schemas.microsoft.com/office/drawing/2014/main" id="{B03B26CB-CD59-4407-88DE-49998A21597E}"/>
              </a:ext>
            </a:extLst>
          </p:cNvPr>
          <p:cNvSpPr>
            <a:spLocks noGrp="1"/>
          </p:cNvSpPr>
          <p:nvPr>
            <p:ph type="title"/>
          </p:nvPr>
        </p:nvSpPr>
        <p:spPr>
          <a:xfrm>
            <a:off x="815952" y="1668702"/>
            <a:ext cx="4931999" cy="767737"/>
          </a:xfrm>
        </p:spPr>
        <p:txBody>
          <a:bodyPr/>
          <a:lstStyle>
            <a:lvl1pPr>
              <a:lnSpc>
                <a:spcPct val="100000"/>
              </a:lnSpc>
              <a:defRPr/>
            </a:lvl1pPr>
          </a:lstStyle>
          <a:p>
            <a:r>
              <a:rPr lang="de-DE"/>
              <a:t>Mastertitelformat bearbeiten</a:t>
            </a:r>
          </a:p>
        </p:txBody>
      </p:sp>
      <p:sp>
        <p:nvSpPr>
          <p:cNvPr id="16" name="Textplatzhalter 9">
            <a:extLst>
              <a:ext uri="{FF2B5EF4-FFF2-40B4-BE49-F238E27FC236}">
                <a16:creationId xmlns:a16="http://schemas.microsoft.com/office/drawing/2014/main" id="{5363DC66-DB4B-478C-9BC4-58E1E2A1EFB3}"/>
              </a:ext>
            </a:extLst>
          </p:cNvPr>
          <p:cNvSpPr>
            <a:spLocks noGrp="1"/>
          </p:cNvSpPr>
          <p:nvPr>
            <p:ph type="body" sz="quarter" idx="13"/>
          </p:nvPr>
        </p:nvSpPr>
        <p:spPr>
          <a:xfrm>
            <a:off x="815951" y="2736694"/>
            <a:ext cx="4932000" cy="3581556"/>
          </a:xfrm>
          <a:prstGeom prst="rect">
            <a:avLst/>
          </a:prstGeom>
        </p:spPr>
        <p:txBody>
          <a:bodyPr lIns="0" tIns="0" rIns="0" bIns="0">
            <a:normAutofit/>
          </a:bodyPr>
          <a:lstStyle>
            <a:lvl1pPr>
              <a:defRPr sz="1800"/>
            </a:lvl1pPr>
            <a:lvl2pPr>
              <a:defRPr sz="1800"/>
            </a:lvl2pPr>
            <a:lvl3pPr>
              <a:defRPr sz="1800"/>
            </a:lvl3pPr>
            <a:lvl4pPr>
              <a:defRPr sz="1800"/>
            </a:lvl4pPr>
            <a:lvl5pPr>
              <a:defRPr sz="18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763851723"/>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8" dur="1000" decel="10000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1000" fill="hold"/>
                                        <p:tgtEl>
                                          <p:spTgt spid="10"/>
                                        </p:tgtEl>
                                        <p:attrNameLst>
                                          <p:attrName>ppt_x</p:attrName>
                                        </p:attrNameLst>
                                      </p:cBhvr>
                                      <p:tavLst>
                                        <p:tav tm="0">
                                          <p:val>
                                            <p:strVal val="0-#ppt_w/2"/>
                                          </p:val>
                                        </p:tav>
                                        <p:tav tm="100000">
                                          <p:val>
                                            <p:strVal val="#ppt_x"/>
                                          </p:val>
                                        </p:tav>
                                      </p:tavLst>
                                    </p:anim>
                                    <p:anim calcmode="lin" valueType="num">
                                      <p:cBhvr additive="base">
                                        <p:cTn id="8" dur="1000" fill="hold"/>
                                        <p:tgtEl>
                                          <p:spTgt spid="10"/>
                                        </p:tgtEl>
                                        <p:attrNameLst>
                                          <p:attrName>ppt_y</p:attrName>
                                        </p:attrNameLst>
                                      </p:cBhvr>
                                      <p:tavLst>
                                        <p:tav tm="0">
                                          <p:val>
                                            <p:strVal val="#ppt_y"/>
                                          </p:val>
                                        </p:tav>
                                        <p:tav tm="100000">
                                          <p:val>
                                            <p:strVal val="#ppt_y"/>
                                          </p:val>
                                        </p:tav>
                                      </p:tavLst>
                                    </p:anim>
                                  </p:childTnLst>
                                </p:cTn>
                              </p:par>
                              <p:par>
                                <p:cTn id="9" presetID="2" presetClass="entr" presetSubtype="8" dur="1000" decel="100000" fill="hold" grpId="0" nodeType="withEffect">
                                  <p:stCondLst>
                                    <p:cond delay="250"/>
                                  </p:stCondLst>
                                  <p:childTnLst>
                                    <p:set>
                                      <p:cBhvr>
                                        <p:cTn id="10" dur="1" fill="hold">
                                          <p:stCondLst>
                                            <p:cond delay="0"/>
                                          </p:stCondLst>
                                        </p:cTn>
                                        <p:tgtEl>
                                          <p:spTgt spid="12"/>
                                        </p:tgtEl>
                                        <p:attrNameLst>
                                          <p:attrName>style.visibility</p:attrName>
                                        </p:attrNameLst>
                                      </p:cBhvr>
                                      <p:to>
                                        <p:strVal val="visible"/>
                                      </p:to>
                                    </p:set>
                                    <p:anim calcmode="lin" valueType="num">
                                      <p:cBhvr additive="base">
                                        <p:cTn id="11" dur="1000" fill="hold"/>
                                        <p:tgtEl>
                                          <p:spTgt spid="12"/>
                                        </p:tgtEl>
                                        <p:attrNameLst>
                                          <p:attrName>ppt_x</p:attrName>
                                        </p:attrNameLst>
                                      </p:cBhvr>
                                      <p:tavLst>
                                        <p:tav tm="0">
                                          <p:val>
                                            <p:strVal val="0-#ppt_w/2"/>
                                          </p:val>
                                        </p:tav>
                                        <p:tav tm="100000">
                                          <p:val>
                                            <p:strVal val="#ppt_x"/>
                                          </p:val>
                                        </p:tav>
                                      </p:tavLst>
                                    </p:anim>
                                    <p:anim calcmode="lin" valueType="num">
                                      <p:cBhvr additive="base">
                                        <p:cTn id="12" dur="1000" fill="hold"/>
                                        <p:tgtEl>
                                          <p:spTgt spid="12"/>
                                        </p:tgtEl>
                                        <p:attrNameLst>
                                          <p:attrName>ppt_y</p:attrName>
                                        </p:attrNameLst>
                                      </p:cBhvr>
                                      <p:tavLst>
                                        <p:tav tm="0">
                                          <p:val>
                                            <p:strVal val="#ppt_y"/>
                                          </p:val>
                                        </p:tav>
                                        <p:tav tm="100000">
                                          <p:val>
                                            <p:strVal val="#ppt_y"/>
                                          </p:val>
                                        </p:tav>
                                      </p:tavLst>
                                    </p:anim>
                                  </p:childTnLst>
                                </p:cTn>
                              </p:par>
                              <p:par>
                                <p:cTn id="13" presetID="2" presetClass="entr" presetSubtype="8" dur="1000" decel="100000" fill="hold" grpId="0" nodeType="withEffect">
                                  <p:stCondLst>
                                    <p:cond delay="500"/>
                                  </p:stCondLst>
                                  <p:childTnLst>
                                    <p:set>
                                      <p:cBhvr>
                                        <p:cTn id="14" dur="1" fill="hold">
                                          <p:stCondLst>
                                            <p:cond delay="0"/>
                                          </p:stCondLst>
                                        </p:cTn>
                                        <p:tgtEl>
                                          <p:spTgt spid="15"/>
                                        </p:tgtEl>
                                        <p:attrNameLst>
                                          <p:attrName>style.visibility</p:attrName>
                                        </p:attrNameLst>
                                      </p:cBhvr>
                                      <p:to>
                                        <p:strVal val="visible"/>
                                      </p:to>
                                    </p:set>
                                    <p:anim calcmode="lin" valueType="num">
                                      <p:cBhvr additive="base">
                                        <p:cTn id="15" dur="1000" fill="hold"/>
                                        <p:tgtEl>
                                          <p:spTgt spid="15"/>
                                        </p:tgtEl>
                                        <p:attrNameLst>
                                          <p:attrName>ppt_x</p:attrName>
                                        </p:attrNameLst>
                                      </p:cBhvr>
                                      <p:tavLst>
                                        <p:tav tm="0">
                                          <p:val>
                                            <p:strVal val="0-#ppt_w/2"/>
                                          </p:val>
                                        </p:tav>
                                        <p:tav tm="100000">
                                          <p:val>
                                            <p:strVal val="#ppt_x"/>
                                          </p:val>
                                        </p:tav>
                                      </p:tavLst>
                                    </p:anim>
                                    <p:anim calcmode="lin" valueType="num">
                                      <p:cBhvr additive="base">
                                        <p:cTn id="16" dur="1000" fill="hold"/>
                                        <p:tgtEl>
                                          <p:spTgt spid="15"/>
                                        </p:tgtEl>
                                        <p:attrNameLst>
                                          <p:attrName>ppt_y</p:attrName>
                                        </p:attrNameLst>
                                      </p:cBhvr>
                                      <p:tavLst>
                                        <p:tav tm="0">
                                          <p:val>
                                            <p:strVal val="#ppt_y"/>
                                          </p:val>
                                        </p:tav>
                                        <p:tav tm="100000">
                                          <p:val>
                                            <p:strVal val="#ppt_y"/>
                                          </p:val>
                                        </p:tav>
                                      </p:tavLst>
                                    </p:anim>
                                  </p:childTnLst>
                                </p:cTn>
                              </p:par>
                              <p:par>
                                <p:cTn id="17" presetID="2" presetClass="entr" presetSubtype="8" dur="1000" decel="100000" fill="hold" grpId="0" nodeType="withEffect">
                                  <p:stCondLst>
                                    <p:cond delay="750"/>
                                  </p:stCondLst>
                                  <p:childTnLst>
                                    <p:set>
                                      <p:cBhvr>
                                        <p:cTn id="18" dur="1" fill="hold">
                                          <p:stCondLst>
                                            <p:cond delay="0"/>
                                          </p:stCondLst>
                                        </p:cTn>
                                        <p:tgtEl>
                                          <p:spTgt spid="16"/>
                                        </p:tgtEl>
                                        <p:attrNameLst>
                                          <p:attrName>style.visibility</p:attrName>
                                        </p:attrNameLst>
                                      </p:cBhvr>
                                      <p:to>
                                        <p:strVal val="visible"/>
                                      </p:to>
                                    </p:set>
                                    <p:anim calcmode="lin" valueType="num">
                                      <p:cBhvr additive="base">
                                        <p:cTn id="19" dur="1000" fill="hold"/>
                                        <p:tgtEl>
                                          <p:spTgt spid="16"/>
                                        </p:tgtEl>
                                        <p:attrNameLst>
                                          <p:attrName>ppt_x</p:attrName>
                                        </p:attrNameLst>
                                      </p:cBhvr>
                                      <p:tavLst>
                                        <p:tav tm="0">
                                          <p:val>
                                            <p:strVal val="0-#ppt_w/2"/>
                                          </p:val>
                                        </p:tav>
                                        <p:tav tm="100000">
                                          <p:val>
                                            <p:strVal val="#ppt_x"/>
                                          </p:val>
                                        </p:tav>
                                      </p:tavLst>
                                    </p:anim>
                                    <p:anim calcmode="lin" valueType="num">
                                      <p:cBhvr additive="base">
                                        <p:cTn id="20" dur="1000" fill="hold"/>
                                        <p:tgtEl>
                                          <p:spTgt spid="1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0" grpId="0"/>
      <p:bldP spid="15" grpId="0"/>
      <p:bldP spid="16" grpId="0">
        <p:tmplLst>
          <p:tmpl>
            <p:tnLst>
              <p:par>
                <p:cTn presetID="2" presetClass="entr" presetSubtype="8" decel="100000" fill="hold" nodeType="withEffect">
                  <p:stCondLst>
                    <p:cond delay="750"/>
                  </p:stCondLst>
                  <p:childTnLst>
                    <p:set>
                      <p:cBhvr>
                        <p:cTn dur="1" fill="hold">
                          <p:stCondLst>
                            <p:cond delay="0"/>
                          </p:stCondLst>
                        </p:cTn>
                        <p:tgtEl>
                          <p:spTgt spid="16"/>
                        </p:tgtEl>
                        <p:attrNameLst>
                          <p:attrName>style.visibility</p:attrName>
                        </p:attrNameLst>
                      </p:cBhvr>
                      <p:to>
                        <p:strVal val="visible"/>
                      </p:to>
                    </p:set>
                    <p:anim calcmode="lin" valueType="num">
                      <p:cBhvr additive="base">
                        <p:cTn dur="1000" fill="hold"/>
                        <p:tgtEl>
                          <p:spTgt spid="16"/>
                        </p:tgtEl>
                        <p:attrNameLst>
                          <p:attrName>ppt_x</p:attrName>
                        </p:attrNameLst>
                      </p:cBhvr>
                      <p:tavLst>
                        <p:tav tm="0">
                          <p:val>
                            <p:strVal val="0-#ppt_w/2"/>
                          </p:val>
                        </p:tav>
                        <p:tav tm="100000">
                          <p:val>
                            <p:strVal val="#ppt_x"/>
                          </p:val>
                        </p:tav>
                      </p:tavLst>
                    </p:anim>
                    <p:anim calcmode="lin" valueType="num">
                      <p:cBhvr additive="base">
                        <p:cTn dur="1000" fill="hold"/>
                        <p:tgtEl>
                          <p:spTgt spid="16"/>
                        </p:tgtEl>
                        <p:attrNameLst>
                          <p:attrName>ppt_y</p:attrName>
                        </p:attrNameLst>
                      </p:cBhvr>
                      <p:tavLst>
                        <p:tav tm="0">
                          <p:val>
                            <p:strVal val="#ppt_y"/>
                          </p:val>
                        </p:tav>
                        <p:tav tm="100000">
                          <p:val>
                            <p:strVal val="#ppt_y"/>
                          </p:val>
                        </p:tav>
                      </p:tavLst>
                    </p:anim>
                  </p:childTnLst>
                </p:cTn>
              </p:par>
            </p:tnLst>
          </p:tmpl>
        </p:tmplLst>
      </p:bldP>
    </p:bldLst>
  </p:timing>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IMAGE ARROW with text &amp; bulletpoints">
    <p:spTree>
      <p:nvGrpSpPr>
        <p:cNvPr id="1" name=""/>
        <p:cNvGrpSpPr/>
        <p:nvPr/>
      </p:nvGrpSpPr>
      <p:grpSpPr>
        <a:xfrm>
          <a:off x="0" y="0"/>
          <a:ext cx="0" cy="0"/>
          <a:chOff x="0" y="0"/>
          <a:chExt cx="0" cy="0"/>
        </a:xfrm>
      </p:grpSpPr>
      <p:sp>
        <p:nvSpPr>
          <p:cNvPr id="17" name="Freihandform: Form 16">
            <a:extLst>
              <a:ext uri="{FF2B5EF4-FFF2-40B4-BE49-F238E27FC236}">
                <a16:creationId xmlns:a16="http://schemas.microsoft.com/office/drawing/2014/main" id="{6FDE6448-E9E7-4FE4-933A-30416F4EFEFB}"/>
              </a:ext>
            </a:extLst>
          </p:cNvPr>
          <p:cNvSpPr/>
          <p:nvPr userDrawn="1"/>
        </p:nvSpPr>
        <p:spPr>
          <a:xfrm>
            <a:off x="2362200" y="1975611"/>
            <a:ext cx="9829800" cy="4882390"/>
          </a:xfrm>
          <a:custGeom>
            <a:avLst/>
            <a:gdLst>
              <a:gd name="connsiteX0" fmla="*/ 910059 w 9829800"/>
              <a:gd name="connsiteY0" fmla="*/ 0 h 4882390"/>
              <a:gd name="connsiteX1" fmla="*/ 3015085 w 9829800"/>
              <a:gd name="connsiteY1" fmla="*/ 0 h 4882390"/>
              <a:gd name="connsiteX2" fmla="*/ 7981950 w 9829800"/>
              <a:gd name="connsiteY2" fmla="*/ 0 h 4882390"/>
              <a:gd name="connsiteX3" fmla="*/ 9829800 w 9829800"/>
              <a:gd name="connsiteY3" fmla="*/ 0 h 4882390"/>
              <a:gd name="connsiteX4" fmla="*/ 9829800 w 9829800"/>
              <a:gd name="connsiteY4" fmla="*/ 4882390 h 4882390"/>
              <a:gd name="connsiteX5" fmla="*/ 7981950 w 9829800"/>
              <a:gd name="connsiteY5" fmla="*/ 4882390 h 4882390"/>
              <a:gd name="connsiteX6" fmla="*/ 2183098 w 9829800"/>
              <a:gd name="connsiteY6" fmla="*/ 4882390 h 4882390"/>
              <a:gd name="connsiteX7" fmla="*/ 78072 w 9829800"/>
              <a:gd name="connsiteY7" fmla="*/ 4882390 h 4882390"/>
              <a:gd name="connsiteX8" fmla="*/ 0 w 9829800"/>
              <a:gd name="connsiteY8" fmla="*/ 4804318 h 4882390"/>
              <a:gd name="connsiteX9" fmla="*/ 831987 w 9829800"/>
              <a:gd name="connsiteY9" fmla="*/ 78072 h 4882390"/>
              <a:gd name="connsiteX10" fmla="*/ 910059 w 9829800"/>
              <a:gd name="connsiteY10" fmla="*/ 0 h 4882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829800" h="4882390">
                <a:moveTo>
                  <a:pt x="910059" y="0"/>
                </a:moveTo>
                <a:lnTo>
                  <a:pt x="3015085" y="0"/>
                </a:lnTo>
                <a:lnTo>
                  <a:pt x="7981950" y="0"/>
                </a:lnTo>
                <a:lnTo>
                  <a:pt x="9829800" y="0"/>
                </a:lnTo>
                <a:lnTo>
                  <a:pt x="9829800" y="4882390"/>
                </a:lnTo>
                <a:lnTo>
                  <a:pt x="7981950" y="4882390"/>
                </a:lnTo>
                <a:lnTo>
                  <a:pt x="2183098" y="4882390"/>
                </a:lnTo>
                <a:lnTo>
                  <a:pt x="78072" y="4882390"/>
                </a:lnTo>
                <a:cubicBezTo>
                  <a:pt x="34957" y="4882390"/>
                  <a:pt x="0" y="4847433"/>
                  <a:pt x="0" y="4804318"/>
                </a:cubicBezTo>
                <a:lnTo>
                  <a:pt x="831987" y="78072"/>
                </a:lnTo>
                <a:cubicBezTo>
                  <a:pt x="831987" y="34957"/>
                  <a:pt x="866945" y="0"/>
                  <a:pt x="910059" y="0"/>
                </a:cubicBezTo>
                <a:close/>
              </a:path>
            </a:pathLst>
          </a:custGeom>
          <a:gradFill>
            <a:gsLst>
              <a:gs pos="0">
                <a:schemeClr val="bg1"/>
              </a:gs>
              <a:gs pos="95000">
                <a:srgbClr val="ECF0F4"/>
              </a:gs>
            </a:gsLst>
            <a:lin ang="5400000" scaled="1"/>
          </a:gradFill>
          <a:ln w="11652" cap="flat">
            <a:noFill/>
            <a:prstDash val="solid"/>
            <a:miter/>
          </a:ln>
        </p:spPr>
        <p:txBody>
          <a:bodyPr rtlCol="0" anchor="ctr"/>
          <a:lstStyle/>
          <a:p>
            <a:endParaRPr lang="de-DE"/>
          </a:p>
        </p:txBody>
      </p:sp>
      <p:sp>
        <p:nvSpPr>
          <p:cNvPr id="20" name="Titel 1">
            <a:extLst>
              <a:ext uri="{FF2B5EF4-FFF2-40B4-BE49-F238E27FC236}">
                <a16:creationId xmlns:a16="http://schemas.microsoft.com/office/drawing/2014/main" id="{1FF62431-741B-4A69-A4E5-A9A9B02C6C92}"/>
              </a:ext>
            </a:extLst>
          </p:cNvPr>
          <p:cNvSpPr>
            <a:spLocks noGrp="1"/>
          </p:cNvSpPr>
          <p:nvPr>
            <p:ph type="title"/>
          </p:nvPr>
        </p:nvSpPr>
        <p:spPr>
          <a:xfrm>
            <a:off x="815952" y="733402"/>
            <a:ext cx="4931999" cy="767737"/>
          </a:xfrm>
        </p:spPr>
        <p:txBody>
          <a:bodyPr/>
          <a:lstStyle>
            <a:lvl1pPr>
              <a:lnSpc>
                <a:spcPct val="100000"/>
              </a:lnSpc>
              <a:defRPr/>
            </a:lvl1pPr>
          </a:lstStyle>
          <a:p>
            <a:r>
              <a:rPr lang="de-DE"/>
              <a:t>Mastertitelformat bearbeiten</a:t>
            </a:r>
          </a:p>
        </p:txBody>
      </p:sp>
      <p:sp>
        <p:nvSpPr>
          <p:cNvPr id="21" name="Textplatzhalter 9">
            <a:extLst>
              <a:ext uri="{FF2B5EF4-FFF2-40B4-BE49-F238E27FC236}">
                <a16:creationId xmlns:a16="http://schemas.microsoft.com/office/drawing/2014/main" id="{62E88497-1731-4440-9E53-38507D2933B7}"/>
              </a:ext>
            </a:extLst>
          </p:cNvPr>
          <p:cNvSpPr>
            <a:spLocks noGrp="1"/>
          </p:cNvSpPr>
          <p:nvPr>
            <p:ph type="body" sz="quarter" idx="11"/>
          </p:nvPr>
        </p:nvSpPr>
        <p:spPr>
          <a:xfrm>
            <a:off x="815951" y="1979612"/>
            <a:ext cx="4932000" cy="1111931"/>
          </a:xfrm>
          <a:prstGeom prst="rect">
            <a:avLst/>
          </a:prstGeom>
        </p:spPr>
        <p:txBody>
          <a:bodyPr lIns="0" tIns="0" rIns="0" bIns="0">
            <a:normAutofit/>
          </a:bodyPr>
          <a:lstStyle>
            <a:lvl1pPr>
              <a:defRPr sz="1800"/>
            </a:lvl1pPr>
            <a:lvl2pPr>
              <a:defRPr sz="1800"/>
            </a:lvl2pPr>
            <a:lvl3pPr>
              <a:defRPr sz="1800"/>
            </a:lvl3pPr>
            <a:lvl4pPr>
              <a:defRPr sz="1800"/>
            </a:lvl4pPr>
            <a:lvl5pPr>
              <a:defRPr sz="18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3" name="Textplatzhalter 16">
            <a:extLst>
              <a:ext uri="{FF2B5EF4-FFF2-40B4-BE49-F238E27FC236}">
                <a16:creationId xmlns:a16="http://schemas.microsoft.com/office/drawing/2014/main" id="{6A223216-A5EC-4E20-BDF1-33A77C9AE1CF}"/>
              </a:ext>
            </a:extLst>
          </p:cNvPr>
          <p:cNvSpPr>
            <a:spLocks noGrp="1"/>
          </p:cNvSpPr>
          <p:nvPr>
            <p:ph type="body" sz="quarter" idx="42" hasCustomPrompt="1"/>
          </p:nvPr>
        </p:nvSpPr>
        <p:spPr>
          <a:xfrm>
            <a:off x="1499237" y="3272971"/>
            <a:ext cx="3624305" cy="720044"/>
          </a:xfrm>
        </p:spPr>
        <p:txBody>
          <a:bodyPr anchor="ctr">
            <a:normAutofit/>
          </a:bodyPr>
          <a:lstStyle>
            <a:lvl1pPr marL="0" indent="0" algn="l">
              <a:buNone/>
              <a:defRPr sz="1800" b="0">
                <a:latin typeface="+mn-lt"/>
                <a:ea typeface="Roboto Medium" panose="02000000000000000000" pitchFamily="2" charset="0"/>
              </a:defRPr>
            </a:lvl1pPr>
          </a:lstStyle>
          <a:p>
            <a:pPr lvl="0"/>
            <a:r>
              <a:rPr lang="de-DE" err="1"/>
              <a:t>Lorem ipsum dolor sit amet</a:t>
            </a:r>
            <a:endParaRPr lang="de-DE"/>
          </a:p>
        </p:txBody>
      </p:sp>
      <p:sp>
        <p:nvSpPr>
          <p:cNvPr id="26" name="Textplatzhalter 16">
            <a:extLst>
              <a:ext uri="{FF2B5EF4-FFF2-40B4-BE49-F238E27FC236}">
                <a16:creationId xmlns:a16="http://schemas.microsoft.com/office/drawing/2014/main" id="{343F88BC-73E2-4DEE-9A59-0269CCF7F368}"/>
              </a:ext>
            </a:extLst>
          </p:cNvPr>
          <p:cNvSpPr>
            <a:spLocks noGrp="1"/>
          </p:cNvSpPr>
          <p:nvPr>
            <p:ph type="body" sz="quarter" idx="45" hasCustomPrompt="1"/>
          </p:nvPr>
        </p:nvSpPr>
        <p:spPr>
          <a:xfrm>
            <a:off x="1499237" y="4197009"/>
            <a:ext cx="3624305" cy="720044"/>
          </a:xfrm>
        </p:spPr>
        <p:txBody>
          <a:bodyPr anchor="ctr">
            <a:normAutofit/>
          </a:bodyPr>
          <a:lstStyle>
            <a:lvl1pPr marL="0" indent="0" algn="l">
              <a:buNone/>
              <a:defRPr sz="1800" b="0">
                <a:latin typeface="+mn-lt"/>
                <a:ea typeface="Roboto Medium" panose="02000000000000000000" pitchFamily="2" charset="0"/>
              </a:defRPr>
            </a:lvl1pPr>
          </a:lstStyle>
          <a:p>
            <a:pPr lvl="0"/>
            <a:r>
              <a:rPr lang="de-DE" err="1"/>
              <a:t>Lorem ipsum dolor sit amet</a:t>
            </a:r>
            <a:endParaRPr lang="de-DE"/>
          </a:p>
        </p:txBody>
      </p:sp>
      <p:sp>
        <p:nvSpPr>
          <p:cNvPr id="27" name="Textplatzhalter 16">
            <a:extLst>
              <a:ext uri="{FF2B5EF4-FFF2-40B4-BE49-F238E27FC236}">
                <a16:creationId xmlns:a16="http://schemas.microsoft.com/office/drawing/2014/main" id="{E547A9BF-148C-43DE-8022-1C0A7A2A099C}"/>
              </a:ext>
            </a:extLst>
          </p:cNvPr>
          <p:cNvSpPr>
            <a:spLocks noGrp="1"/>
          </p:cNvSpPr>
          <p:nvPr>
            <p:ph type="body" sz="quarter" idx="46" hasCustomPrompt="1"/>
          </p:nvPr>
        </p:nvSpPr>
        <p:spPr>
          <a:xfrm>
            <a:off x="1499237" y="5116510"/>
            <a:ext cx="3624305" cy="720044"/>
          </a:xfrm>
        </p:spPr>
        <p:txBody>
          <a:bodyPr anchor="ctr">
            <a:normAutofit/>
          </a:bodyPr>
          <a:lstStyle>
            <a:lvl1pPr marL="0" indent="0" algn="l">
              <a:buNone/>
              <a:defRPr sz="1800" b="0">
                <a:latin typeface="+mn-lt"/>
                <a:ea typeface="Roboto Medium" panose="02000000000000000000" pitchFamily="2" charset="0"/>
              </a:defRPr>
            </a:lvl1pPr>
          </a:lstStyle>
          <a:p>
            <a:pPr lvl="0"/>
            <a:r>
              <a:rPr lang="de-DE" err="1"/>
              <a:t>Lorem ipsum dolor sit amet</a:t>
            </a:r>
            <a:endParaRPr lang="de-DE"/>
          </a:p>
        </p:txBody>
      </p:sp>
      <p:sp>
        <p:nvSpPr>
          <p:cNvPr id="13" name="Bildplatzhalter 9">
            <a:extLst>
              <a:ext uri="{FF2B5EF4-FFF2-40B4-BE49-F238E27FC236}">
                <a16:creationId xmlns:a16="http://schemas.microsoft.com/office/drawing/2014/main" id="{697E791C-5083-40E2-AC37-0CB3989119AA}"/>
              </a:ext>
            </a:extLst>
          </p:cNvPr>
          <p:cNvSpPr>
            <a:spLocks noGrp="1"/>
          </p:cNvSpPr>
          <p:nvPr>
            <p:ph type="pic" sz="quarter" idx="47" hasCustomPrompt="1"/>
          </p:nvPr>
        </p:nvSpPr>
        <p:spPr>
          <a:xfrm>
            <a:off x="6227682" y="1"/>
            <a:ext cx="8346858" cy="6854831"/>
          </a:xfrm>
          <a:custGeom>
            <a:avLst/>
            <a:gdLst>
              <a:gd name="connsiteX0" fmla="*/ 0 w 8346858"/>
              <a:gd name="connsiteY0" fmla="*/ 0 h 6854831"/>
              <a:gd name="connsiteX1" fmla="*/ 1188424 w 8346858"/>
              <a:gd name="connsiteY1" fmla="*/ 0 h 6854831"/>
              <a:gd name="connsiteX2" fmla="*/ 1204270 w 8346858"/>
              <a:gd name="connsiteY2" fmla="*/ 0 h 6854831"/>
              <a:gd name="connsiteX3" fmla="*/ 2391427 w 8346858"/>
              <a:gd name="connsiteY3" fmla="*/ 0 h 6854831"/>
              <a:gd name="connsiteX4" fmla="*/ 2392694 w 8346858"/>
              <a:gd name="connsiteY4" fmla="*/ 0 h 6854831"/>
              <a:gd name="connsiteX5" fmla="*/ 3493017 w 8346858"/>
              <a:gd name="connsiteY5" fmla="*/ 0 h 6854831"/>
              <a:gd name="connsiteX6" fmla="*/ 3595696 w 8346858"/>
              <a:gd name="connsiteY6" fmla="*/ 0 h 6854831"/>
              <a:gd name="connsiteX7" fmla="*/ 4697286 w 8346858"/>
              <a:gd name="connsiteY7" fmla="*/ 0 h 6854831"/>
              <a:gd name="connsiteX8" fmla="*/ 8346858 w 8346858"/>
              <a:gd name="connsiteY8" fmla="*/ 4517280 h 6854831"/>
              <a:gd name="connsiteX9" fmla="*/ 6476436 w 8346858"/>
              <a:gd name="connsiteY9" fmla="*/ 6854831 h 6854831"/>
              <a:gd name="connsiteX10" fmla="*/ 1763939 w 8346858"/>
              <a:gd name="connsiteY10" fmla="*/ 6854831 h 6854831"/>
              <a:gd name="connsiteX11" fmla="*/ 3648938 w 8346858"/>
              <a:gd name="connsiteY11" fmla="*/ 4517914 h 6854831"/>
              <a:gd name="connsiteX12" fmla="*/ 3645135 w 8346858"/>
              <a:gd name="connsiteY12" fmla="*/ 4517914 h 6854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346858" h="6854831">
                <a:moveTo>
                  <a:pt x="0" y="0"/>
                </a:moveTo>
                <a:lnTo>
                  <a:pt x="1188424" y="0"/>
                </a:lnTo>
                <a:lnTo>
                  <a:pt x="1204270" y="0"/>
                </a:lnTo>
                <a:lnTo>
                  <a:pt x="2391427" y="0"/>
                </a:lnTo>
                <a:lnTo>
                  <a:pt x="2392694" y="0"/>
                </a:lnTo>
                <a:lnTo>
                  <a:pt x="3493017" y="0"/>
                </a:lnTo>
                <a:lnTo>
                  <a:pt x="3595696" y="0"/>
                </a:lnTo>
                <a:lnTo>
                  <a:pt x="4697286" y="0"/>
                </a:lnTo>
                <a:lnTo>
                  <a:pt x="8346858" y="4517280"/>
                </a:lnTo>
                <a:lnTo>
                  <a:pt x="6476436" y="6854831"/>
                </a:lnTo>
                <a:lnTo>
                  <a:pt x="1763939" y="6854831"/>
                </a:lnTo>
                <a:lnTo>
                  <a:pt x="3648938" y="4517914"/>
                </a:lnTo>
                <a:lnTo>
                  <a:pt x="3645135" y="4517914"/>
                </a:lnTo>
                <a:close/>
              </a:path>
            </a:pathLst>
          </a:custGeom>
        </p:spPr>
        <p:txBody>
          <a:bodyPr wrap="square">
            <a:noAutofit/>
          </a:bodyPr>
          <a:lstStyle>
            <a:lvl1pPr marL="285750" marR="0" indent="-285750" algn="l" defTabSz="1644650" rtl="0" eaLnBrk="0" fontAlgn="base" latinLnBrk="0" hangingPunct="0">
              <a:lnSpc>
                <a:spcPct val="130000"/>
              </a:lnSpc>
              <a:spcBef>
                <a:spcPct val="0"/>
              </a:spcBef>
              <a:spcAft>
                <a:spcPts val="1200"/>
              </a:spcAft>
              <a:buClr>
                <a:srgbClr val="004C99"/>
              </a:buClr>
              <a:buSzPct val="120000"/>
              <a:defRPr/>
            </a:lvl1pPr>
          </a:lstStyle>
          <a:p>
            <a:pPr marL="285750" marR="0" lvl="0" indent="-285750" algn="l" defTabSz="1644650" rtl="0" eaLnBrk="0" fontAlgn="base" latinLnBrk="0" hangingPunct="0">
              <a:lnSpc>
                <a:spcPct val="130000"/>
              </a:lnSpc>
              <a:spcBef>
                <a:spcPct val="0"/>
              </a:spcBef>
              <a:spcAft>
                <a:spcPts val="1200"/>
              </a:spcAft>
              <a:buClr>
                <a:srgbClr val="004C99"/>
              </a:buClr>
              <a:buSzPct val="120000"/>
              <a:defRPr/>
            </a:pPr>
            <a:r>
              <a:rPr lang="de-DE"/>
              <a:t>Please insert image</a:t>
            </a:r>
          </a:p>
        </p:txBody>
      </p:sp>
      <p:pic>
        <p:nvPicPr>
          <p:cNvPr id="2" name="Grafik 1">
            <a:extLst>
              <a:ext uri="{FF2B5EF4-FFF2-40B4-BE49-F238E27FC236}">
                <a16:creationId xmlns:a16="http://schemas.microsoft.com/office/drawing/2014/main" id="{C1CFB4A0-491D-4A2A-9A20-A469955A0C1A}"/>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5899514" y="0"/>
            <a:ext cx="3821972" cy="6858000"/>
          </a:xfrm>
          <a:prstGeom prst="rect">
            <a:avLst/>
          </a:prstGeom>
        </p:spPr>
      </p:pic>
      <p:pic>
        <p:nvPicPr>
          <p:cNvPr id="4" name="Grafik 3">
            <a:extLst>
              <a:ext uri="{FF2B5EF4-FFF2-40B4-BE49-F238E27FC236}">
                <a16:creationId xmlns:a16="http://schemas.microsoft.com/office/drawing/2014/main" id="{FC158665-3FDF-41D7-8F03-82BC36E97766}"/>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11474" y="3428999"/>
            <a:ext cx="407988" cy="407988"/>
          </a:xfrm>
          <a:prstGeom prst="rect">
            <a:avLst/>
          </a:prstGeom>
        </p:spPr>
      </p:pic>
      <p:pic>
        <p:nvPicPr>
          <p:cNvPr id="15" name="Grafik 14">
            <a:extLst>
              <a:ext uri="{FF2B5EF4-FFF2-40B4-BE49-F238E27FC236}">
                <a16:creationId xmlns:a16="http://schemas.microsoft.com/office/drawing/2014/main" id="{19BD15BB-A215-4A49-BB34-CED30AFC3C2E}"/>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11474" y="4353037"/>
            <a:ext cx="407988" cy="407988"/>
          </a:xfrm>
          <a:prstGeom prst="rect">
            <a:avLst/>
          </a:prstGeom>
        </p:spPr>
      </p:pic>
      <p:pic>
        <p:nvPicPr>
          <p:cNvPr id="16" name="Grafik 15">
            <a:extLst>
              <a:ext uri="{FF2B5EF4-FFF2-40B4-BE49-F238E27FC236}">
                <a16:creationId xmlns:a16="http://schemas.microsoft.com/office/drawing/2014/main" id="{54B8E4B4-64C8-42A5-A992-9D90EE568B39}"/>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11474" y="5277076"/>
            <a:ext cx="407988" cy="407988"/>
          </a:xfrm>
          <a:prstGeom prst="rect">
            <a:avLst/>
          </a:prstGeom>
        </p:spPr>
      </p:pic>
    </p:spTree>
    <p:extLst>
      <p:ext uri="{BB962C8B-B14F-4D97-AF65-F5344CB8AC3E}">
        <p14:creationId xmlns:p14="http://schemas.microsoft.com/office/powerpoint/2010/main" val="206548047"/>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8" dur="1000" decel="10000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 calcmode="lin" valueType="num">
                                      <p:cBhvr additive="base">
                                        <p:cTn id="7" dur="1000" fill="hold"/>
                                        <p:tgtEl>
                                          <p:spTgt spid="20"/>
                                        </p:tgtEl>
                                        <p:attrNameLst>
                                          <p:attrName>ppt_x</p:attrName>
                                        </p:attrNameLst>
                                      </p:cBhvr>
                                      <p:tavLst>
                                        <p:tav tm="0">
                                          <p:val>
                                            <p:strVal val="0-#ppt_w/2"/>
                                          </p:val>
                                        </p:tav>
                                        <p:tav tm="100000">
                                          <p:val>
                                            <p:strVal val="#ppt_x"/>
                                          </p:val>
                                        </p:tav>
                                      </p:tavLst>
                                    </p:anim>
                                    <p:anim calcmode="lin" valueType="num">
                                      <p:cBhvr additive="base">
                                        <p:cTn id="8" dur="1000" fill="hold"/>
                                        <p:tgtEl>
                                          <p:spTgt spid="20"/>
                                        </p:tgtEl>
                                        <p:attrNameLst>
                                          <p:attrName>ppt_y</p:attrName>
                                        </p:attrNameLst>
                                      </p:cBhvr>
                                      <p:tavLst>
                                        <p:tav tm="0">
                                          <p:val>
                                            <p:strVal val="#ppt_y"/>
                                          </p:val>
                                        </p:tav>
                                        <p:tav tm="100000">
                                          <p:val>
                                            <p:strVal val="#ppt_y"/>
                                          </p:val>
                                        </p:tav>
                                      </p:tavLst>
                                    </p:anim>
                                  </p:childTnLst>
                                </p:cTn>
                              </p:par>
                              <p:par>
                                <p:cTn id="9" presetID="2" presetClass="entr" presetSubtype="8" dur="1000" decel="100000" fill="hold" grpId="0" nodeType="withEffect">
                                  <p:stCondLst>
                                    <p:cond delay="250"/>
                                  </p:stCondLst>
                                  <p:childTnLst>
                                    <p:set>
                                      <p:cBhvr>
                                        <p:cTn id="10" dur="1" fill="hold">
                                          <p:stCondLst>
                                            <p:cond delay="0"/>
                                          </p:stCondLst>
                                        </p:cTn>
                                        <p:tgtEl>
                                          <p:spTgt spid="21"/>
                                        </p:tgtEl>
                                        <p:attrNameLst>
                                          <p:attrName>style.visibility</p:attrName>
                                        </p:attrNameLst>
                                      </p:cBhvr>
                                      <p:to>
                                        <p:strVal val="visible"/>
                                      </p:to>
                                    </p:set>
                                    <p:anim calcmode="lin" valueType="num">
                                      <p:cBhvr additive="base">
                                        <p:cTn id="11" dur="1000" fill="hold"/>
                                        <p:tgtEl>
                                          <p:spTgt spid="21"/>
                                        </p:tgtEl>
                                        <p:attrNameLst>
                                          <p:attrName>ppt_x</p:attrName>
                                        </p:attrNameLst>
                                      </p:cBhvr>
                                      <p:tavLst>
                                        <p:tav tm="0">
                                          <p:val>
                                            <p:strVal val="0-#ppt_w/2"/>
                                          </p:val>
                                        </p:tav>
                                        <p:tav tm="100000">
                                          <p:val>
                                            <p:strVal val="#ppt_x"/>
                                          </p:val>
                                        </p:tav>
                                      </p:tavLst>
                                    </p:anim>
                                    <p:anim calcmode="lin" valueType="num">
                                      <p:cBhvr additive="base">
                                        <p:cTn id="12" dur="1000" fill="hold"/>
                                        <p:tgtEl>
                                          <p:spTgt spid="21"/>
                                        </p:tgtEl>
                                        <p:attrNameLst>
                                          <p:attrName>ppt_y</p:attrName>
                                        </p:attrNameLst>
                                      </p:cBhvr>
                                      <p:tavLst>
                                        <p:tav tm="0">
                                          <p:val>
                                            <p:strVal val="#ppt_y"/>
                                          </p:val>
                                        </p:tav>
                                        <p:tav tm="100000">
                                          <p:val>
                                            <p:strVal val="#ppt_y"/>
                                          </p:val>
                                        </p:tav>
                                      </p:tavLst>
                                    </p:anim>
                                  </p:childTnLst>
                                </p:cTn>
                              </p:par>
                              <p:par>
                                <p:cTn id="13" presetID="2" presetClass="entr" presetSubtype="8" dur="1000" decel="100000" fill="hold" nodeType="withEffect">
                                  <p:stCondLst>
                                    <p:cond delay="1000"/>
                                  </p:stCondLst>
                                  <p:childTnLst>
                                    <p:set>
                                      <p:cBhvr>
                                        <p:cTn id="14" dur="1" fill="hold">
                                          <p:stCondLst>
                                            <p:cond delay="0"/>
                                          </p:stCondLst>
                                        </p:cTn>
                                        <p:tgtEl>
                                          <p:spTgt spid="4"/>
                                        </p:tgtEl>
                                        <p:attrNameLst>
                                          <p:attrName>style.visibility</p:attrName>
                                        </p:attrNameLst>
                                      </p:cBhvr>
                                      <p:to>
                                        <p:strVal val="visible"/>
                                      </p:to>
                                    </p:set>
                                    <p:anim calcmode="lin" valueType="num">
                                      <p:cBhvr additive="base">
                                        <p:cTn id="15" dur="1000" fill="hold"/>
                                        <p:tgtEl>
                                          <p:spTgt spid="4"/>
                                        </p:tgtEl>
                                        <p:attrNameLst>
                                          <p:attrName>ppt_x</p:attrName>
                                        </p:attrNameLst>
                                      </p:cBhvr>
                                      <p:tavLst>
                                        <p:tav tm="0">
                                          <p:val>
                                            <p:strVal val="0-#ppt_w/2"/>
                                          </p:val>
                                        </p:tav>
                                        <p:tav tm="100000">
                                          <p:val>
                                            <p:strVal val="#ppt_x"/>
                                          </p:val>
                                        </p:tav>
                                      </p:tavLst>
                                    </p:anim>
                                    <p:anim calcmode="lin" valueType="num">
                                      <p:cBhvr additive="base">
                                        <p:cTn id="16" dur="1000" fill="hold"/>
                                        <p:tgtEl>
                                          <p:spTgt spid="4"/>
                                        </p:tgtEl>
                                        <p:attrNameLst>
                                          <p:attrName>ppt_y</p:attrName>
                                        </p:attrNameLst>
                                      </p:cBhvr>
                                      <p:tavLst>
                                        <p:tav tm="0">
                                          <p:val>
                                            <p:strVal val="#ppt_y"/>
                                          </p:val>
                                        </p:tav>
                                        <p:tav tm="100000">
                                          <p:val>
                                            <p:strVal val="#ppt_y"/>
                                          </p:val>
                                        </p:tav>
                                      </p:tavLst>
                                    </p:anim>
                                  </p:childTnLst>
                                </p:cTn>
                              </p:par>
                              <p:par>
                                <p:cTn id="17" presetID="2" presetClass="entr" presetSubtype="8" dur="1000" decel="100000" fill="hold" grpId="0" nodeType="withEffect">
                                  <p:stCondLst>
                                    <p:cond delay="750"/>
                                  </p:stCondLst>
                                  <p:childTnLst>
                                    <p:set>
                                      <p:cBhvr>
                                        <p:cTn id="18" dur="1" fill="hold">
                                          <p:stCondLst>
                                            <p:cond delay="0"/>
                                          </p:stCondLst>
                                        </p:cTn>
                                        <p:tgtEl>
                                          <p:spTgt spid="23"/>
                                        </p:tgtEl>
                                        <p:attrNameLst>
                                          <p:attrName>style.visibility</p:attrName>
                                        </p:attrNameLst>
                                      </p:cBhvr>
                                      <p:to>
                                        <p:strVal val="visible"/>
                                      </p:to>
                                    </p:set>
                                    <p:anim calcmode="lin" valueType="num">
                                      <p:cBhvr additive="base">
                                        <p:cTn id="19" dur="1000" fill="hold"/>
                                        <p:tgtEl>
                                          <p:spTgt spid="23"/>
                                        </p:tgtEl>
                                        <p:attrNameLst>
                                          <p:attrName>ppt_x</p:attrName>
                                        </p:attrNameLst>
                                      </p:cBhvr>
                                      <p:tavLst>
                                        <p:tav tm="0">
                                          <p:val>
                                            <p:strVal val="0-#ppt_w/2"/>
                                          </p:val>
                                        </p:tav>
                                        <p:tav tm="100000">
                                          <p:val>
                                            <p:strVal val="#ppt_x"/>
                                          </p:val>
                                        </p:tav>
                                      </p:tavLst>
                                    </p:anim>
                                    <p:anim calcmode="lin" valueType="num">
                                      <p:cBhvr additive="base">
                                        <p:cTn id="20" dur="1000" fill="hold"/>
                                        <p:tgtEl>
                                          <p:spTgt spid="23"/>
                                        </p:tgtEl>
                                        <p:attrNameLst>
                                          <p:attrName>ppt_y</p:attrName>
                                        </p:attrNameLst>
                                      </p:cBhvr>
                                      <p:tavLst>
                                        <p:tav tm="0">
                                          <p:val>
                                            <p:strVal val="#ppt_y"/>
                                          </p:val>
                                        </p:tav>
                                        <p:tav tm="100000">
                                          <p:val>
                                            <p:strVal val="#ppt_y"/>
                                          </p:val>
                                        </p:tav>
                                      </p:tavLst>
                                    </p:anim>
                                  </p:childTnLst>
                                </p:cTn>
                              </p:par>
                              <p:par>
                                <p:cTn id="21" presetID="2" presetClass="entr" presetSubtype="8" dur="1000" decel="100000" fill="hold" nodeType="withEffect">
                                  <p:stCondLst>
                                    <p:cond delay="1000"/>
                                  </p:stCondLst>
                                  <p:childTnLst>
                                    <p:set>
                                      <p:cBhvr>
                                        <p:cTn id="22" dur="1" fill="hold">
                                          <p:stCondLst>
                                            <p:cond delay="0"/>
                                          </p:stCondLst>
                                        </p:cTn>
                                        <p:tgtEl>
                                          <p:spTgt spid="15"/>
                                        </p:tgtEl>
                                        <p:attrNameLst>
                                          <p:attrName>style.visibility</p:attrName>
                                        </p:attrNameLst>
                                      </p:cBhvr>
                                      <p:to>
                                        <p:strVal val="visible"/>
                                      </p:to>
                                    </p:set>
                                    <p:anim calcmode="lin" valueType="num">
                                      <p:cBhvr additive="base">
                                        <p:cTn id="23" dur="1000" fill="hold"/>
                                        <p:tgtEl>
                                          <p:spTgt spid="15"/>
                                        </p:tgtEl>
                                        <p:attrNameLst>
                                          <p:attrName>ppt_x</p:attrName>
                                        </p:attrNameLst>
                                      </p:cBhvr>
                                      <p:tavLst>
                                        <p:tav tm="0">
                                          <p:val>
                                            <p:strVal val="0-#ppt_w/2"/>
                                          </p:val>
                                        </p:tav>
                                        <p:tav tm="100000">
                                          <p:val>
                                            <p:strVal val="#ppt_x"/>
                                          </p:val>
                                        </p:tav>
                                      </p:tavLst>
                                    </p:anim>
                                    <p:anim calcmode="lin" valueType="num">
                                      <p:cBhvr additive="base">
                                        <p:cTn id="24" dur="1000" fill="hold"/>
                                        <p:tgtEl>
                                          <p:spTgt spid="15"/>
                                        </p:tgtEl>
                                        <p:attrNameLst>
                                          <p:attrName>ppt_y</p:attrName>
                                        </p:attrNameLst>
                                      </p:cBhvr>
                                      <p:tavLst>
                                        <p:tav tm="0">
                                          <p:val>
                                            <p:strVal val="#ppt_y"/>
                                          </p:val>
                                        </p:tav>
                                        <p:tav tm="100000">
                                          <p:val>
                                            <p:strVal val="#ppt_y"/>
                                          </p:val>
                                        </p:tav>
                                      </p:tavLst>
                                    </p:anim>
                                  </p:childTnLst>
                                </p:cTn>
                              </p:par>
                              <p:par>
                                <p:cTn id="25" presetID="2" presetClass="entr" presetSubtype="8" dur="1000" decel="100000" fill="hold" nodeType="withEffect">
                                  <p:stCondLst>
                                    <p:cond delay="1000"/>
                                  </p:stCondLst>
                                  <p:childTnLst>
                                    <p:set>
                                      <p:cBhvr>
                                        <p:cTn id="26" dur="1" fill="hold">
                                          <p:stCondLst>
                                            <p:cond delay="0"/>
                                          </p:stCondLst>
                                        </p:cTn>
                                        <p:tgtEl>
                                          <p:spTgt spid="16"/>
                                        </p:tgtEl>
                                        <p:attrNameLst>
                                          <p:attrName>style.visibility</p:attrName>
                                        </p:attrNameLst>
                                      </p:cBhvr>
                                      <p:to>
                                        <p:strVal val="visible"/>
                                      </p:to>
                                    </p:set>
                                    <p:anim calcmode="lin" valueType="num">
                                      <p:cBhvr additive="base">
                                        <p:cTn id="27" dur="1000" fill="hold"/>
                                        <p:tgtEl>
                                          <p:spTgt spid="16"/>
                                        </p:tgtEl>
                                        <p:attrNameLst>
                                          <p:attrName>ppt_x</p:attrName>
                                        </p:attrNameLst>
                                      </p:cBhvr>
                                      <p:tavLst>
                                        <p:tav tm="0">
                                          <p:val>
                                            <p:strVal val="0-#ppt_w/2"/>
                                          </p:val>
                                        </p:tav>
                                        <p:tav tm="100000">
                                          <p:val>
                                            <p:strVal val="#ppt_x"/>
                                          </p:val>
                                        </p:tav>
                                      </p:tavLst>
                                    </p:anim>
                                    <p:anim calcmode="lin" valueType="num">
                                      <p:cBhvr additive="base">
                                        <p:cTn id="28" dur="1000" fill="hold"/>
                                        <p:tgtEl>
                                          <p:spTgt spid="16"/>
                                        </p:tgtEl>
                                        <p:attrNameLst>
                                          <p:attrName>ppt_y</p:attrName>
                                        </p:attrNameLst>
                                      </p:cBhvr>
                                      <p:tavLst>
                                        <p:tav tm="0">
                                          <p:val>
                                            <p:strVal val="#ppt_y"/>
                                          </p:val>
                                        </p:tav>
                                        <p:tav tm="100000">
                                          <p:val>
                                            <p:strVal val="#ppt_y"/>
                                          </p:val>
                                        </p:tav>
                                      </p:tavLst>
                                    </p:anim>
                                  </p:childTnLst>
                                </p:cTn>
                              </p:par>
                              <p:par>
                                <p:cTn id="29" presetID="2" presetClass="entr" presetSubtype="8" dur="1000" decel="100000" fill="hold" grpId="0" nodeType="withEffect">
                                  <p:stCondLst>
                                    <p:cond delay="750"/>
                                  </p:stCondLst>
                                  <p:childTnLst>
                                    <p:set>
                                      <p:cBhvr>
                                        <p:cTn id="30" dur="1" fill="hold">
                                          <p:stCondLst>
                                            <p:cond delay="0"/>
                                          </p:stCondLst>
                                        </p:cTn>
                                        <p:tgtEl>
                                          <p:spTgt spid="26"/>
                                        </p:tgtEl>
                                        <p:attrNameLst>
                                          <p:attrName>style.visibility</p:attrName>
                                        </p:attrNameLst>
                                      </p:cBhvr>
                                      <p:to>
                                        <p:strVal val="visible"/>
                                      </p:to>
                                    </p:set>
                                    <p:anim calcmode="lin" valueType="num">
                                      <p:cBhvr additive="base">
                                        <p:cTn id="31" dur="1000" fill="hold"/>
                                        <p:tgtEl>
                                          <p:spTgt spid="26"/>
                                        </p:tgtEl>
                                        <p:attrNameLst>
                                          <p:attrName>ppt_x</p:attrName>
                                        </p:attrNameLst>
                                      </p:cBhvr>
                                      <p:tavLst>
                                        <p:tav tm="0">
                                          <p:val>
                                            <p:strVal val="0-#ppt_w/2"/>
                                          </p:val>
                                        </p:tav>
                                        <p:tav tm="100000">
                                          <p:val>
                                            <p:strVal val="#ppt_x"/>
                                          </p:val>
                                        </p:tav>
                                      </p:tavLst>
                                    </p:anim>
                                    <p:anim calcmode="lin" valueType="num">
                                      <p:cBhvr additive="base">
                                        <p:cTn id="32" dur="1000" fill="hold"/>
                                        <p:tgtEl>
                                          <p:spTgt spid="26"/>
                                        </p:tgtEl>
                                        <p:attrNameLst>
                                          <p:attrName>ppt_y</p:attrName>
                                        </p:attrNameLst>
                                      </p:cBhvr>
                                      <p:tavLst>
                                        <p:tav tm="0">
                                          <p:val>
                                            <p:strVal val="#ppt_y"/>
                                          </p:val>
                                        </p:tav>
                                        <p:tav tm="100000">
                                          <p:val>
                                            <p:strVal val="#ppt_y"/>
                                          </p:val>
                                        </p:tav>
                                      </p:tavLst>
                                    </p:anim>
                                  </p:childTnLst>
                                </p:cTn>
                              </p:par>
                              <p:par>
                                <p:cTn id="33" presetID="2" presetClass="entr" presetSubtype="8" dur="1000" decel="100000" fill="hold" grpId="0" nodeType="withEffect">
                                  <p:stCondLst>
                                    <p:cond delay="750"/>
                                  </p:stCondLst>
                                  <p:childTnLst>
                                    <p:set>
                                      <p:cBhvr>
                                        <p:cTn id="34" dur="1" fill="hold">
                                          <p:stCondLst>
                                            <p:cond delay="0"/>
                                          </p:stCondLst>
                                        </p:cTn>
                                        <p:tgtEl>
                                          <p:spTgt spid="27"/>
                                        </p:tgtEl>
                                        <p:attrNameLst>
                                          <p:attrName>style.visibility</p:attrName>
                                        </p:attrNameLst>
                                      </p:cBhvr>
                                      <p:to>
                                        <p:strVal val="visible"/>
                                      </p:to>
                                    </p:set>
                                    <p:anim calcmode="lin" valueType="num">
                                      <p:cBhvr additive="base">
                                        <p:cTn id="35" dur="1000" fill="hold"/>
                                        <p:tgtEl>
                                          <p:spTgt spid="27"/>
                                        </p:tgtEl>
                                        <p:attrNameLst>
                                          <p:attrName>ppt_x</p:attrName>
                                        </p:attrNameLst>
                                      </p:cBhvr>
                                      <p:tavLst>
                                        <p:tav tm="0">
                                          <p:val>
                                            <p:strVal val="0-#ppt_w/2"/>
                                          </p:val>
                                        </p:tav>
                                        <p:tav tm="100000">
                                          <p:val>
                                            <p:strVal val="#ppt_x"/>
                                          </p:val>
                                        </p:tav>
                                      </p:tavLst>
                                    </p:anim>
                                    <p:anim calcmode="lin" valueType="num">
                                      <p:cBhvr additive="base">
                                        <p:cTn id="36" dur="1000" fill="hold"/>
                                        <p:tgtEl>
                                          <p:spTgt spid="27"/>
                                        </p:tgtEl>
                                        <p:attrNameLst>
                                          <p:attrName>ppt_y</p:attrName>
                                        </p:attrNameLst>
                                      </p:cBhvr>
                                      <p:tavLst>
                                        <p:tav tm="0">
                                          <p:val>
                                            <p:strVal val="#ppt_y"/>
                                          </p:val>
                                        </p:tav>
                                        <p:tav tm="100000">
                                          <p:val>
                                            <p:strVal val="#ppt_y"/>
                                          </p:val>
                                        </p:tav>
                                      </p:tavLst>
                                    </p:anim>
                                  </p:childTnLst>
                                </p:cTn>
                              </p:par>
                              <p:par>
                                <p:cTn id="37" presetID="2" presetClass="entr" presetSubtype="8" dur="1000" decel="100000" fill="hold" grpId="0" nodeType="withEffect">
                                  <p:stCondLst>
                                    <p:cond delay="0"/>
                                  </p:stCondLst>
                                  <p:childTnLst>
                                    <p:set>
                                      <p:cBhvr>
                                        <p:cTn id="38" dur="1" fill="hold">
                                          <p:stCondLst>
                                            <p:cond delay="0"/>
                                          </p:stCondLst>
                                        </p:cTn>
                                        <p:tgtEl>
                                          <p:spTgt spid="13"/>
                                        </p:tgtEl>
                                        <p:attrNameLst>
                                          <p:attrName>style.visibility</p:attrName>
                                        </p:attrNameLst>
                                      </p:cBhvr>
                                      <p:to>
                                        <p:strVal val="visible"/>
                                      </p:to>
                                    </p:set>
                                    <p:anim calcmode="lin" valueType="num">
                                      <p:cBhvr additive="base">
                                        <p:cTn id="39" dur="1000" fill="hold"/>
                                        <p:tgtEl>
                                          <p:spTgt spid="13"/>
                                        </p:tgtEl>
                                        <p:attrNameLst>
                                          <p:attrName>ppt_x</p:attrName>
                                        </p:attrNameLst>
                                      </p:cBhvr>
                                      <p:tavLst>
                                        <p:tav tm="0">
                                          <p:val>
                                            <p:strVal val="0-#ppt_w/2"/>
                                          </p:val>
                                        </p:tav>
                                        <p:tav tm="100000">
                                          <p:val>
                                            <p:strVal val="#ppt_x"/>
                                          </p:val>
                                        </p:tav>
                                      </p:tavLst>
                                    </p:anim>
                                    <p:anim calcmode="lin" valueType="num">
                                      <p:cBhvr additive="base">
                                        <p:cTn id="40" dur="1000" fill="hold"/>
                                        <p:tgtEl>
                                          <p:spTgt spid="13"/>
                                        </p:tgtEl>
                                        <p:attrNameLst>
                                          <p:attrName>ppt_y</p:attrName>
                                        </p:attrNameLst>
                                      </p:cBhvr>
                                      <p:tavLst>
                                        <p:tav tm="0">
                                          <p:val>
                                            <p:strVal val="#ppt_y"/>
                                          </p:val>
                                        </p:tav>
                                        <p:tav tm="100000">
                                          <p:val>
                                            <p:strVal val="#ppt_y"/>
                                          </p:val>
                                        </p:tav>
                                      </p:tavLst>
                                    </p:anim>
                                  </p:childTnLst>
                                </p:cTn>
                              </p:par>
                              <p:par>
                                <p:cTn id="41" presetID="2" presetClass="entr" presetSubtype="8" dur="1000" decel="100000" fill="hold" nodeType="withEffect">
                                  <p:stCondLst>
                                    <p:cond delay="250"/>
                                  </p:stCondLst>
                                  <p:childTnLst>
                                    <p:set>
                                      <p:cBhvr>
                                        <p:cTn id="42" dur="1" fill="hold">
                                          <p:stCondLst>
                                            <p:cond delay="0"/>
                                          </p:stCondLst>
                                        </p:cTn>
                                        <p:tgtEl>
                                          <p:spTgt spid="2"/>
                                        </p:tgtEl>
                                        <p:attrNameLst>
                                          <p:attrName>style.visibility</p:attrName>
                                        </p:attrNameLst>
                                      </p:cBhvr>
                                      <p:to>
                                        <p:strVal val="visible"/>
                                      </p:to>
                                    </p:set>
                                    <p:anim calcmode="lin" valueType="num">
                                      <p:cBhvr additive="base">
                                        <p:cTn id="43" dur="1000" fill="hold"/>
                                        <p:tgtEl>
                                          <p:spTgt spid="2"/>
                                        </p:tgtEl>
                                        <p:attrNameLst>
                                          <p:attrName>ppt_x</p:attrName>
                                        </p:attrNameLst>
                                      </p:cBhvr>
                                      <p:tavLst>
                                        <p:tav tm="0">
                                          <p:val>
                                            <p:strVal val="0-#ppt_w/2"/>
                                          </p:val>
                                        </p:tav>
                                        <p:tav tm="100000">
                                          <p:val>
                                            <p:strVal val="#ppt_x"/>
                                          </p:val>
                                        </p:tav>
                                      </p:tavLst>
                                    </p:anim>
                                    <p:anim calcmode="lin" valueType="num">
                                      <p:cBhvr additive="base">
                                        <p:cTn id="44" dur="100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1" grpId="0">
        <p:tmplLst>
          <p:tmpl>
            <p:tnLst>
              <p:par>
                <p:cTn presetID="2" presetClass="entr" presetSubtype="8" decel="100000" fill="hold" nodeType="withEffect">
                  <p:stCondLst>
                    <p:cond delay="250"/>
                  </p:stCondLst>
                  <p:childTnLst>
                    <p:set>
                      <p:cBhvr>
                        <p:cTn dur="1" fill="hold">
                          <p:stCondLst>
                            <p:cond delay="0"/>
                          </p:stCondLst>
                        </p:cTn>
                        <p:tgtEl>
                          <p:spTgt spid="21"/>
                        </p:tgtEl>
                        <p:attrNameLst>
                          <p:attrName>style.visibility</p:attrName>
                        </p:attrNameLst>
                      </p:cBhvr>
                      <p:to>
                        <p:strVal val="visible"/>
                      </p:to>
                    </p:set>
                    <p:anim calcmode="lin" valueType="num">
                      <p:cBhvr additive="base">
                        <p:cTn dur="1000" fill="hold"/>
                        <p:tgtEl>
                          <p:spTgt spid="21"/>
                        </p:tgtEl>
                        <p:attrNameLst>
                          <p:attrName>ppt_x</p:attrName>
                        </p:attrNameLst>
                      </p:cBhvr>
                      <p:tavLst>
                        <p:tav tm="0">
                          <p:val>
                            <p:strVal val="0-#ppt_w/2"/>
                          </p:val>
                        </p:tav>
                        <p:tav tm="100000">
                          <p:val>
                            <p:strVal val="#ppt_x"/>
                          </p:val>
                        </p:tav>
                      </p:tavLst>
                    </p:anim>
                    <p:anim calcmode="lin" valueType="num">
                      <p:cBhvr additive="base">
                        <p:cTn dur="1000" fill="hold"/>
                        <p:tgtEl>
                          <p:spTgt spid="21"/>
                        </p:tgtEl>
                        <p:attrNameLst>
                          <p:attrName>ppt_y</p:attrName>
                        </p:attrNameLst>
                      </p:cBhvr>
                      <p:tavLst>
                        <p:tav tm="0">
                          <p:val>
                            <p:strVal val="#ppt_y"/>
                          </p:val>
                        </p:tav>
                        <p:tav tm="100000">
                          <p:val>
                            <p:strVal val="#ppt_y"/>
                          </p:val>
                        </p:tav>
                      </p:tavLst>
                    </p:anim>
                  </p:childTnLst>
                </p:cTn>
              </p:par>
            </p:tnLst>
          </p:tmpl>
        </p:tmplLst>
      </p:bldP>
      <p:bldP spid="23" grpId="0">
        <p:tmplLst>
          <p:tmpl>
            <p:tnLst>
              <p:par>
                <p:cTn presetID="2" presetClass="entr" presetSubtype="8" decel="100000" fill="hold" nodeType="withEffect">
                  <p:stCondLst>
                    <p:cond delay="750"/>
                  </p:stCondLst>
                  <p:childTnLst>
                    <p:set>
                      <p:cBhvr>
                        <p:cTn dur="1" fill="hold">
                          <p:stCondLst>
                            <p:cond delay="0"/>
                          </p:stCondLst>
                        </p:cTn>
                        <p:tgtEl>
                          <p:spTgt spid="23"/>
                        </p:tgtEl>
                        <p:attrNameLst>
                          <p:attrName>style.visibility</p:attrName>
                        </p:attrNameLst>
                      </p:cBhvr>
                      <p:to>
                        <p:strVal val="visible"/>
                      </p:to>
                    </p:set>
                    <p:anim calcmode="lin" valueType="num">
                      <p:cBhvr additive="base">
                        <p:cTn dur="1000" fill="hold"/>
                        <p:tgtEl>
                          <p:spTgt spid="23"/>
                        </p:tgtEl>
                        <p:attrNameLst>
                          <p:attrName>ppt_x</p:attrName>
                        </p:attrNameLst>
                      </p:cBhvr>
                      <p:tavLst>
                        <p:tav tm="0">
                          <p:val>
                            <p:strVal val="0-#ppt_w/2"/>
                          </p:val>
                        </p:tav>
                        <p:tav tm="100000">
                          <p:val>
                            <p:strVal val="#ppt_x"/>
                          </p:val>
                        </p:tav>
                      </p:tavLst>
                    </p:anim>
                    <p:anim calcmode="lin" valueType="num">
                      <p:cBhvr additive="base">
                        <p:cTn dur="1000" fill="hold"/>
                        <p:tgtEl>
                          <p:spTgt spid="23"/>
                        </p:tgtEl>
                        <p:attrNameLst>
                          <p:attrName>ppt_y</p:attrName>
                        </p:attrNameLst>
                      </p:cBhvr>
                      <p:tavLst>
                        <p:tav tm="0">
                          <p:val>
                            <p:strVal val="#ppt_y"/>
                          </p:val>
                        </p:tav>
                        <p:tav tm="100000">
                          <p:val>
                            <p:strVal val="#ppt_y"/>
                          </p:val>
                        </p:tav>
                      </p:tavLst>
                    </p:anim>
                  </p:childTnLst>
                </p:cTn>
              </p:par>
            </p:tnLst>
          </p:tmpl>
        </p:tmplLst>
      </p:bldP>
      <p:bldP spid="26" grpId="0">
        <p:tmplLst>
          <p:tmpl>
            <p:tnLst>
              <p:par>
                <p:cTn presetID="2" presetClass="entr" presetSubtype="8" decel="100000" fill="hold" nodeType="withEffect">
                  <p:stCondLst>
                    <p:cond delay="750"/>
                  </p:stCondLst>
                  <p:childTnLst>
                    <p:set>
                      <p:cBhvr>
                        <p:cTn dur="1" fill="hold">
                          <p:stCondLst>
                            <p:cond delay="0"/>
                          </p:stCondLst>
                        </p:cTn>
                        <p:tgtEl>
                          <p:spTgt spid="26"/>
                        </p:tgtEl>
                        <p:attrNameLst>
                          <p:attrName>style.visibility</p:attrName>
                        </p:attrNameLst>
                      </p:cBhvr>
                      <p:to>
                        <p:strVal val="visible"/>
                      </p:to>
                    </p:set>
                    <p:anim calcmode="lin" valueType="num">
                      <p:cBhvr additive="base">
                        <p:cTn dur="1000" fill="hold"/>
                        <p:tgtEl>
                          <p:spTgt spid="26"/>
                        </p:tgtEl>
                        <p:attrNameLst>
                          <p:attrName>ppt_x</p:attrName>
                        </p:attrNameLst>
                      </p:cBhvr>
                      <p:tavLst>
                        <p:tav tm="0">
                          <p:val>
                            <p:strVal val="0-#ppt_w/2"/>
                          </p:val>
                        </p:tav>
                        <p:tav tm="100000">
                          <p:val>
                            <p:strVal val="#ppt_x"/>
                          </p:val>
                        </p:tav>
                      </p:tavLst>
                    </p:anim>
                    <p:anim calcmode="lin" valueType="num">
                      <p:cBhvr additive="base">
                        <p:cTn dur="1000" fill="hold"/>
                        <p:tgtEl>
                          <p:spTgt spid="26"/>
                        </p:tgtEl>
                        <p:attrNameLst>
                          <p:attrName>ppt_y</p:attrName>
                        </p:attrNameLst>
                      </p:cBhvr>
                      <p:tavLst>
                        <p:tav tm="0">
                          <p:val>
                            <p:strVal val="#ppt_y"/>
                          </p:val>
                        </p:tav>
                        <p:tav tm="100000">
                          <p:val>
                            <p:strVal val="#ppt_y"/>
                          </p:val>
                        </p:tav>
                      </p:tavLst>
                    </p:anim>
                  </p:childTnLst>
                </p:cTn>
              </p:par>
            </p:tnLst>
          </p:tmpl>
        </p:tmplLst>
      </p:bldP>
      <p:bldP spid="27" grpId="0">
        <p:tmplLst>
          <p:tmpl>
            <p:tnLst>
              <p:par>
                <p:cTn presetID="2" presetClass="entr" presetSubtype="8" decel="100000" fill="hold" nodeType="withEffect">
                  <p:stCondLst>
                    <p:cond delay="750"/>
                  </p:stCondLst>
                  <p:childTnLst>
                    <p:set>
                      <p:cBhvr>
                        <p:cTn dur="1" fill="hold">
                          <p:stCondLst>
                            <p:cond delay="0"/>
                          </p:stCondLst>
                        </p:cTn>
                        <p:tgtEl>
                          <p:spTgt spid="27"/>
                        </p:tgtEl>
                        <p:attrNameLst>
                          <p:attrName>style.visibility</p:attrName>
                        </p:attrNameLst>
                      </p:cBhvr>
                      <p:to>
                        <p:strVal val="visible"/>
                      </p:to>
                    </p:set>
                    <p:anim calcmode="lin" valueType="num">
                      <p:cBhvr additive="base">
                        <p:cTn dur="1000" fill="hold"/>
                        <p:tgtEl>
                          <p:spTgt spid="27"/>
                        </p:tgtEl>
                        <p:attrNameLst>
                          <p:attrName>ppt_x</p:attrName>
                        </p:attrNameLst>
                      </p:cBhvr>
                      <p:tavLst>
                        <p:tav tm="0">
                          <p:val>
                            <p:strVal val="0-#ppt_w/2"/>
                          </p:val>
                        </p:tav>
                        <p:tav tm="100000">
                          <p:val>
                            <p:strVal val="#ppt_x"/>
                          </p:val>
                        </p:tav>
                      </p:tavLst>
                    </p:anim>
                    <p:anim calcmode="lin" valueType="num">
                      <p:cBhvr additive="base">
                        <p:cTn dur="1000" fill="hold"/>
                        <p:tgtEl>
                          <p:spTgt spid="27"/>
                        </p:tgtEl>
                        <p:attrNameLst>
                          <p:attrName>ppt_y</p:attrName>
                        </p:attrNameLst>
                      </p:cBhvr>
                      <p:tavLst>
                        <p:tav tm="0">
                          <p:val>
                            <p:strVal val="#ppt_y"/>
                          </p:val>
                        </p:tav>
                        <p:tav tm="100000">
                          <p:val>
                            <p:strVal val="#ppt_y"/>
                          </p:val>
                        </p:tav>
                      </p:tavLst>
                    </p:anim>
                  </p:childTnLst>
                </p:cTn>
              </p:par>
            </p:tnLst>
          </p:tmpl>
        </p:tmplLst>
      </p:bldP>
      <p:bldP spid="13" grpId="0"/>
    </p:bld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ARROW with bulletpoints">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6D8C95A1-EE86-43F1-8E95-25374DC930B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5638179" y="1221976"/>
            <a:ext cx="683285" cy="683285"/>
          </a:xfrm>
          <a:prstGeom prst="rect">
            <a:avLst/>
          </a:prstGeom>
        </p:spPr>
      </p:pic>
      <p:sp>
        <p:nvSpPr>
          <p:cNvPr id="12" name="Freihandform: Form 11">
            <a:extLst>
              <a:ext uri="{FF2B5EF4-FFF2-40B4-BE49-F238E27FC236}">
                <a16:creationId xmlns:a16="http://schemas.microsoft.com/office/drawing/2014/main" id="{951D2C10-A6B8-4360-8143-3C834B435F8F}"/>
              </a:ext>
            </a:extLst>
          </p:cNvPr>
          <p:cNvSpPr/>
          <p:nvPr userDrawn="1"/>
        </p:nvSpPr>
        <p:spPr>
          <a:xfrm>
            <a:off x="2362200" y="1975610"/>
            <a:ext cx="9829800" cy="4882390"/>
          </a:xfrm>
          <a:custGeom>
            <a:avLst/>
            <a:gdLst>
              <a:gd name="connsiteX0" fmla="*/ 910059 w 9829800"/>
              <a:gd name="connsiteY0" fmla="*/ 0 h 4882390"/>
              <a:gd name="connsiteX1" fmla="*/ 3015085 w 9829800"/>
              <a:gd name="connsiteY1" fmla="*/ 0 h 4882390"/>
              <a:gd name="connsiteX2" fmla="*/ 7981950 w 9829800"/>
              <a:gd name="connsiteY2" fmla="*/ 0 h 4882390"/>
              <a:gd name="connsiteX3" fmla="*/ 9829800 w 9829800"/>
              <a:gd name="connsiteY3" fmla="*/ 0 h 4882390"/>
              <a:gd name="connsiteX4" fmla="*/ 9829800 w 9829800"/>
              <a:gd name="connsiteY4" fmla="*/ 4882390 h 4882390"/>
              <a:gd name="connsiteX5" fmla="*/ 7981950 w 9829800"/>
              <a:gd name="connsiteY5" fmla="*/ 4882390 h 4882390"/>
              <a:gd name="connsiteX6" fmla="*/ 2183098 w 9829800"/>
              <a:gd name="connsiteY6" fmla="*/ 4882390 h 4882390"/>
              <a:gd name="connsiteX7" fmla="*/ 78072 w 9829800"/>
              <a:gd name="connsiteY7" fmla="*/ 4882390 h 4882390"/>
              <a:gd name="connsiteX8" fmla="*/ 0 w 9829800"/>
              <a:gd name="connsiteY8" fmla="*/ 4804318 h 4882390"/>
              <a:gd name="connsiteX9" fmla="*/ 831987 w 9829800"/>
              <a:gd name="connsiteY9" fmla="*/ 78072 h 4882390"/>
              <a:gd name="connsiteX10" fmla="*/ 910059 w 9829800"/>
              <a:gd name="connsiteY10" fmla="*/ 0 h 4882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829800" h="4882390">
                <a:moveTo>
                  <a:pt x="910059" y="0"/>
                </a:moveTo>
                <a:lnTo>
                  <a:pt x="3015085" y="0"/>
                </a:lnTo>
                <a:lnTo>
                  <a:pt x="7981950" y="0"/>
                </a:lnTo>
                <a:lnTo>
                  <a:pt x="9829800" y="0"/>
                </a:lnTo>
                <a:lnTo>
                  <a:pt x="9829800" y="4882390"/>
                </a:lnTo>
                <a:lnTo>
                  <a:pt x="7981950" y="4882390"/>
                </a:lnTo>
                <a:lnTo>
                  <a:pt x="2183098" y="4882390"/>
                </a:lnTo>
                <a:lnTo>
                  <a:pt x="78072" y="4882390"/>
                </a:lnTo>
                <a:cubicBezTo>
                  <a:pt x="34957" y="4882390"/>
                  <a:pt x="0" y="4847433"/>
                  <a:pt x="0" y="4804318"/>
                </a:cubicBezTo>
                <a:lnTo>
                  <a:pt x="831987" y="78072"/>
                </a:lnTo>
                <a:cubicBezTo>
                  <a:pt x="831987" y="34957"/>
                  <a:pt x="866945" y="0"/>
                  <a:pt x="910059" y="0"/>
                </a:cubicBezTo>
                <a:close/>
              </a:path>
            </a:pathLst>
          </a:custGeom>
          <a:gradFill>
            <a:gsLst>
              <a:gs pos="0">
                <a:schemeClr val="bg1"/>
              </a:gs>
              <a:gs pos="95000">
                <a:srgbClr val="ECF0F4"/>
              </a:gs>
            </a:gsLst>
            <a:lin ang="5400000" scaled="1"/>
          </a:gradFill>
          <a:ln w="11652" cap="flat">
            <a:noFill/>
            <a:prstDash val="solid"/>
            <a:miter/>
          </a:ln>
        </p:spPr>
        <p:txBody>
          <a:bodyPr rtlCol="0" anchor="ctr"/>
          <a:lstStyle/>
          <a:p>
            <a:endParaRPr lang="de-DE"/>
          </a:p>
        </p:txBody>
      </p:sp>
      <p:sp>
        <p:nvSpPr>
          <p:cNvPr id="2" name="Titel 1">
            <a:extLst>
              <a:ext uri="{FF2B5EF4-FFF2-40B4-BE49-F238E27FC236}">
                <a16:creationId xmlns:a16="http://schemas.microsoft.com/office/drawing/2014/main" id="{BF2A19C2-AB31-4813-840C-9C9B29185721}"/>
              </a:ext>
            </a:extLst>
          </p:cNvPr>
          <p:cNvSpPr>
            <a:spLocks noGrp="1"/>
          </p:cNvSpPr>
          <p:nvPr>
            <p:ph type="title"/>
          </p:nvPr>
        </p:nvSpPr>
        <p:spPr>
          <a:xfrm>
            <a:off x="815952" y="3045131"/>
            <a:ext cx="3201571" cy="767737"/>
          </a:xfrm>
        </p:spPr>
        <p:txBody>
          <a:bodyPr anchor="ctr"/>
          <a:lstStyle>
            <a:lvl1pPr algn="r">
              <a:defRPr/>
            </a:lvl1pPr>
          </a:lstStyle>
          <a:p>
            <a:r>
              <a:rPr lang="de-DE"/>
              <a:t>Mastertitelformat bearbeiten</a:t>
            </a:r>
          </a:p>
        </p:txBody>
      </p:sp>
      <p:sp>
        <p:nvSpPr>
          <p:cNvPr id="3" name="Foliennummernplatzhalter 2">
            <a:extLst>
              <a:ext uri="{FF2B5EF4-FFF2-40B4-BE49-F238E27FC236}">
                <a16:creationId xmlns:a16="http://schemas.microsoft.com/office/drawing/2014/main" id="{11474579-873C-455A-BEAB-F19D0808356A}"/>
              </a:ext>
            </a:extLst>
          </p:cNvPr>
          <p:cNvSpPr>
            <a:spLocks noGrp="1"/>
          </p:cNvSpPr>
          <p:nvPr>
            <p:ph type="sldNum" sz="quarter" idx="10"/>
          </p:nvPr>
        </p:nvSpPr>
        <p:spPr/>
        <p:txBody>
          <a:bodyPr/>
          <a:lstStyle/>
          <a:p>
            <a:fld id="{A04BEB4F-8CE1-4F18-986F-6CE0A0BE9470}" type="slidenum">
              <a:rPr lang="de-DE" smtClean="0"/>
              <a:t>‹#›</a:t>
            </a:fld>
            <a:endParaRPr lang="de-DE"/>
          </a:p>
        </p:txBody>
      </p:sp>
      <p:sp>
        <p:nvSpPr>
          <p:cNvPr id="5" name="Grafik 3">
            <a:extLst>
              <a:ext uri="{FF2B5EF4-FFF2-40B4-BE49-F238E27FC236}">
                <a16:creationId xmlns:a16="http://schemas.microsoft.com/office/drawing/2014/main" id="{992B197F-0803-4DC5-BD4E-C13711B39E5D}"/>
              </a:ext>
            </a:extLst>
          </p:cNvPr>
          <p:cNvSpPr/>
          <p:nvPr/>
        </p:nvSpPr>
        <p:spPr>
          <a:xfrm>
            <a:off x="3855262" y="770095"/>
            <a:ext cx="2240738" cy="5317811"/>
          </a:xfrm>
          <a:custGeom>
            <a:avLst/>
            <a:gdLst>
              <a:gd name="connsiteX0" fmla="*/ 161162 w 2891105"/>
              <a:gd name="connsiteY0" fmla="*/ 6836621 h 6861289"/>
              <a:gd name="connsiteX1" fmla="*/ 2882161 w 2891105"/>
              <a:gd name="connsiteY1" fmla="*/ 3437223 h 6861289"/>
              <a:gd name="connsiteX2" fmla="*/ 2882161 w 2891105"/>
              <a:gd name="connsiteY2" fmla="*/ 3386240 h 6861289"/>
              <a:gd name="connsiteX3" fmla="*/ 165274 w 2891105"/>
              <a:gd name="connsiteY3" fmla="*/ 24669 h 6861289"/>
              <a:gd name="connsiteX4" fmla="*/ 114291 w 2891105"/>
              <a:gd name="connsiteY4" fmla="*/ 0 h 6861289"/>
              <a:gd name="connsiteX5" fmla="*/ 46040 w 2891105"/>
              <a:gd name="connsiteY5" fmla="*/ 0 h 6861289"/>
              <a:gd name="connsiteX6" fmla="*/ 13970 w 2891105"/>
              <a:gd name="connsiteY6" fmla="*/ 66606 h 6861289"/>
              <a:gd name="connsiteX7" fmla="*/ 2716878 w 2891105"/>
              <a:gd name="connsiteY7" fmla="*/ 3411732 h 6861289"/>
              <a:gd name="connsiteX8" fmla="*/ 9036 w 2891105"/>
              <a:gd name="connsiteY8" fmla="*/ 6794683 h 6861289"/>
              <a:gd name="connsiteX9" fmla="*/ 41106 w 2891105"/>
              <a:gd name="connsiteY9" fmla="*/ 6861290 h 6861289"/>
              <a:gd name="connsiteX10" fmla="*/ 110180 w 2891105"/>
              <a:gd name="connsiteY10" fmla="*/ 6861290 h 6861289"/>
              <a:gd name="connsiteX11" fmla="*/ 161162 w 2891105"/>
              <a:gd name="connsiteY11" fmla="*/ 6836621 h 686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91105" h="6861289">
                <a:moveTo>
                  <a:pt x="161162" y="6836621"/>
                </a:moveTo>
                <a:lnTo>
                  <a:pt x="2882161" y="3437223"/>
                </a:lnTo>
                <a:cubicBezTo>
                  <a:pt x="2894495" y="3422422"/>
                  <a:pt x="2893673" y="3401042"/>
                  <a:pt x="2882161" y="3386240"/>
                </a:cubicBezTo>
                <a:lnTo>
                  <a:pt x="165274" y="24669"/>
                </a:lnTo>
                <a:cubicBezTo>
                  <a:pt x="152939" y="9045"/>
                  <a:pt x="134026" y="0"/>
                  <a:pt x="114291" y="0"/>
                </a:cubicBezTo>
                <a:lnTo>
                  <a:pt x="46040" y="0"/>
                </a:lnTo>
                <a:cubicBezTo>
                  <a:pt x="11503" y="0"/>
                  <a:pt x="-8232" y="40293"/>
                  <a:pt x="13970" y="66606"/>
                </a:cubicBezTo>
                <a:lnTo>
                  <a:pt x="2716878" y="3411732"/>
                </a:lnTo>
                <a:lnTo>
                  <a:pt x="9036" y="6794683"/>
                </a:lnTo>
                <a:cubicBezTo>
                  <a:pt x="-12343" y="6821819"/>
                  <a:pt x="6570" y="6861290"/>
                  <a:pt x="41106" y="6861290"/>
                </a:cubicBezTo>
                <a:lnTo>
                  <a:pt x="110180" y="6861290"/>
                </a:lnTo>
                <a:cubicBezTo>
                  <a:pt x="129915" y="6861290"/>
                  <a:pt x="148828" y="6852244"/>
                  <a:pt x="161162" y="6836621"/>
                </a:cubicBezTo>
                <a:close/>
              </a:path>
            </a:pathLst>
          </a:custGeom>
          <a:solidFill>
            <a:schemeClr val="accent1"/>
          </a:solidFill>
          <a:ln w="8199" cap="flat">
            <a:noFill/>
            <a:prstDash val="solid"/>
            <a:miter/>
          </a:ln>
        </p:spPr>
        <p:txBody>
          <a:bodyPr rtlCol="0" anchor="ctr"/>
          <a:lstStyle/>
          <a:p>
            <a:endParaRPr lang="de-DE"/>
          </a:p>
        </p:txBody>
      </p:sp>
      <p:sp>
        <p:nvSpPr>
          <p:cNvPr id="10" name="Textplatzhalter 16">
            <a:extLst>
              <a:ext uri="{FF2B5EF4-FFF2-40B4-BE49-F238E27FC236}">
                <a16:creationId xmlns:a16="http://schemas.microsoft.com/office/drawing/2014/main" id="{0BDBCE10-7EAB-4313-AE7B-42671391752E}"/>
              </a:ext>
            </a:extLst>
          </p:cNvPr>
          <p:cNvSpPr>
            <a:spLocks noGrp="1"/>
          </p:cNvSpPr>
          <p:nvPr>
            <p:ph type="body" sz="quarter" idx="45" hasCustomPrompt="1"/>
          </p:nvPr>
        </p:nvSpPr>
        <p:spPr>
          <a:xfrm>
            <a:off x="7751742" y="2882105"/>
            <a:ext cx="3624305" cy="1093787"/>
          </a:xfrm>
        </p:spPr>
        <p:txBody>
          <a:bodyPr anchor="ctr">
            <a:normAutofit/>
          </a:bodyPr>
          <a:lstStyle>
            <a:lvl1pPr marL="0" indent="0" algn="l">
              <a:buNone/>
              <a:defRPr sz="1800" b="0">
                <a:latin typeface="+mn-lt"/>
                <a:ea typeface="Roboto Medium" panose="02000000000000000000" pitchFamily="2" charset="0"/>
              </a:defRPr>
            </a:lvl1pPr>
          </a:lstStyle>
          <a:p>
            <a:pPr lvl="0"/>
            <a:r>
              <a:rPr lang="de-DE" err="1"/>
              <a:t>Lorem ipsum dolor sit amet</a:t>
            </a:r>
            <a:endParaRPr lang="de-DE"/>
          </a:p>
        </p:txBody>
      </p:sp>
      <p:sp>
        <p:nvSpPr>
          <p:cNvPr id="14" name="Textplatzhalter 16">
            <a:extLst>
              <a:ext uri="{FF2B5EF4-FFF2-40B4-BE49-F238E27FC236}">
                <a16:creationId xmlns:a16="http://schemas.microsoft.com/office/drawing/2014/main" id="{1078C22F-C79E-4D3B-AA7B-4FFAC38A0671}"/>
              </a:ext>
            </a:extLst>
          </p:cNvPr>
          <p:cNvSpPr>
            <a:spLocks noGrp="1"/>
          </p:cNvSpPr>
          <p:nvPr>
            <p:ph type="body" sz="quarter" idx="47" hasCustomPrompt="1"/>
          </p:nvPr>
        </p:nvSpPr>
        <p:spPr>
          <a:xfrm>
            <a:off x="6720610" y="1014395"/>
            <a:ext cx="3624305" cy="1093787"/>
          </a:xfrm>
        </p:spPr>
        <p:txBody>
          <a:bodyPr anchor="ctr">
            <a:normAutofit/>
          </a:bodyPr>
          <a:lstStyle>
            <a:lvl1pPr marL="0" indent="0" algn="l">
              <a:buNone/>
              <a:defRPr sz="1800" b="0">
                <a:latin typeface="+mn-lt"/>
                <a:ea typeface="Roboto Medium" panose="02000000000000000000" pitchFamily="2" charset="0"/>
              </a:defRPr>
            </a:lvl1pPr>
          </a:lstStyle>
          <a:p>
            <a:pPr lvl="0"/>
            <a:r>
              <a:rPr lang="de-DE" err="1"/>
              <a:t>Lorem ipsum dolor sit amet</a:t>
            </a:r>
            <a:endParaRPr lang="de-DE"/>
          </a:p>
        </p:txBody>
      </p:sp>
      <p:sp>
        <p:nvSpPr>
          <p:cNvPr id="16" name="Textplatzhalter 16">
            <a:extLst>
              <a:ext uri="{FF2B5EF4-FFF2-40B4-BE49-F238E27FC236}">
                <a16:creationId xmlns:a16="http://schemas.microsoft.com/office/drawing/2014/main" id="{AD21A4CE-98BA-4961-AF65-6B5A7B8187CD}"/>
              </a:ext>
            </a:extLst>
          </p:cNvPr>
          <p:cNvSpPr>
            <a:spLocks noGrp="1"/>
          </p:cNvSpPr>
          <p:nvPr>
            <p:ph type="body" sz="quarter" idx="49" hasCustomPrompt="1"/>
          </p:nvPr>
        </p:nvSpPr>
        <p:spPr>
          <a:xfrm>
            <a:off x="6720610" y="4768592"/>
            <a:ext cx="3624305" cy="1093787"/>
          </a:xfrm>
        </p:spPr>
        <p:txBody>
          <a:bodyPr anchor="ctr">
            <a:normAutofit/>
          </a:bodyPr>
          <a:lstStyle>
            <a:lvl1pPr marL="0" indent="0" algn="l">
              <a:buNone/>
              <a:defRPr sz="1800" b="0">
                <a:latin typeface="+mn-lt"/>
                <a:ea typeface="Roboto Medium" panose="02000000000000000000" pitchFamily="2" charset="0"/>
              </a:defRPr>
            </a:lvl1pPr>
          </a:lstStyle>
          <a:p>
            <a:pPr lvl="0"/>
            <a:r>
              <a:rPr lang="de-DE" err="1"/>
              <a:t>Lorem ipsum dolor sit amet</a:t>
            </a:r>
            <a:endParaRPr lang="de-DE"/>
          </a:p>
        </p:txBody>
      </p:sp>
      <p:pic>
        <p:nvPicPr>
          <p:cNvPr id="17" name="Grafik 16">
            <a:extLst>
              <a:ext uri="{FF2B5EF4-FFF2-40B4-BE49-F238E27FC236}">
                <a16:creationId xmlns:a16="http://schemas.microsoft.com/office/drawing/2014/main" id="{BF63A876-461D-40BB-A018-D28288B3FE2B}"/>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669311" y="3089686"/>
            <a:ext cx="683285" cy="683285"/>
          </a:xfrm>
          <a:prstGeom prst="rect">
            <a:avLst/>
          </a:prstGeom>
        </p:spPr>
      </p:pic>
      <p:pic>
        <p:nvPicPr>
          <p:cNvPr id="18" name="Grafik 17">
            <a:extLst>
              <a:ext uri="{FF2B5EF4-FFF2-40B4-BE49-F238E27FC236}">
                <a16:creationId xmlns:a16="http://schemas.microsoft.com/office/drawing/2014/main" id="{74B555FB-B333-4233-A42A-6B7BA8B8AB4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5638179" y="4976173"/>
            <a:ext cx="683285" cy="683285"/>
          </a:xfrm>
          <a:prstGeom prst="rect">
            <a:avLst/>
          </a:prstGeom>
        </p:spPr>
      </p:pic>
    </p:spTree>
    <p:extLst>
      <p:ext uri="{BB962C8B-B14F-4D97-AF65-F5344CB8AC3E}">
        <p14:creationId xmlns:p14="http://schemas.microsoft.com/office/powerpoint/2010/main" val="3943928113"/>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8" dur="1000" decel="100000" fill="hold" nodeType="withEffect">
                                  <p:stCondLst>
                                    <p:cond delay="250"/>
                                  </p:stCondLst>
                                  <p:childTnLst>
                                    <p:set>
                                      <p:cBhvr>
                                        <p:cTn id="6" dur="1" fill="hold">
                                          <p:stCondLst>
                                            <p:cond delay="0"/>
                                          </p:stCondLst>
                                        </p:cTn>
                                        <p:tgtEl>
                                          <p:spTgt spid="17"/>
                                        </p:tgtEl>
                                        <p:attrNameLst>
                                          <p:attrName>style.visibility</p:attrName>
                                        </p:attrNameLst>
                                      </p:cBhvr>
                                      <p:to>
                                        <p:strVal val="visible"/>
                                      </p:to>
                                    </p:set>
                                    <p:anim calcmode="lin" valueType="num">
                                      <p:cBhvr additive="base">
                                        <p:cTn id="7" dur="1000" fill="hold"/>
                                        <p:tgtEl>
                                          <p:spTgt spid="17"/>
                                        </p:tgtEl>
                                        <p:attrNameLst>
                                          <p:attrName>ppt_x</p:attrName>
                                        </p:attrNameLst>
                                      </p:cBhvr>
                                      <p:tavLst>
                                        <p:tav tm="0">
                                          <p:val>
                                            <p:strVal val="0-#ppt_w/2"/>
                                          </p:val>
                                        </p:tav>
                                        <p:tav tm="100000">
                                          <p:val>
                                            <p:strVal val="#ppt_x"/>
                                          </p:val>
                                        </p:tav>
                                      </p:tavLst>
                                    </p:anim>
                                    <p:anim calcmode="lin" valueType="num">
                                      <p:cBhvr additive="base">
                                        <p:cTn id="8" dur="1000" fill="hold"/>
                                        <p:tgtEl>
                                          <p:spTgt spid="17"/>
                                        </p:tgtEl>
                                        <p:attrNameLst>
                                          <p:attrName>ppt_y</p:attrName>
                                        </p:attrNameLst>
                                      </p:cBhvr>
                                      <p:tavLst>
                                        <p:tav tm="0">
                                          <p:val>
                                            <p:strVal val="#ppt_y"/>
                                          </p:val>
                                        </p:tav>
                                        <p:tav tm="100000">
                                          <p:val>
                                            <p:strVal val="#ppt_y"/>
                                          </p:val>
                                        </p:tav>
                                      </p:tavLst>
                                    </p:anim>
                                  </p:childTnLst>
                                </p:cTn>
                              </p:par>
                              <p:par>
                                <p:cTn id="9" presetID="2" presetClass="entr" presetSubtype="8" dur="1000" decel="100000" fill="hold" grpId="0" nodeType="withEffect">
                                  <p:stCondLst>
                                    <p:cond delay="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1000" fill="hold"/>
                                        <p:tgtEl>
                                          <p:spTgt spid="10"/>
                                        </p:tgtEl>
                                        <p:attrNameLst>
                                          <p:attrName>ppt_x</p:attrName>
                                        </p:attrNameLst>
                                      </p:cBhvr>
                                      <p:tavLst>
                                        <p:tav tm="0">
                                          <p:val>
                                            <p:strVal val="0-#ppt_w/2"/>
                                          </p:val>
                                        </p:tav>
                                        <p:tav tm="100000">
                                          <p:val>
                                            <p:strVal val="#ppt_x"/>
                                          </p:val>
                                        </p:tav>
                                      </p:tavLst>
                                    </p:anim>
                                    <p:anim calcmode="lin" valueType="num">
                                      <p:cBhvr additive="base">
                                        <p:cTn id="12" dur="1000" fill="hold"/>
                                        <p:tgtEl>
                                          <p:spTgt spid="10"/>
                                        </p:tgtEl>
                                        <p:attrNameLst>
                                          <p:attrName>ppt_y</p:attrName>
                                        </p:attrNameLst>
                                      </p:cBhvr>
                                      <p:tavLst>
                                        <p:tav tm="0">
                                          <p:val>
                                            <p:strVal val="#ppt_y"/>
                                          </p:val>
                                        </p:tav>
                                        <p:tav tm="100000">
                                          <p:val>
                                            <p:strVal val="#ppt_y"/>
                                          </p:val>
                                        </p:tav>
                                      </p:tavLst>
                                    </p:anim>
                                  </p:childTnLst>
                                </p:cTn>
                              </p:par>
                              <p:par>
                                <p:cTn id="13" presetID="2" presetClass="entr" presetSubtype="8" dur="1000" decel="100000" fill="hold" nodeType="withEffect">
                                  <p:stCondLst>
                                    <p:cond delay="500"/>
                                  </p:stCondLst>
                                  <p:childTnLst>
                                    <p:set>
                                      <p:cBhvr>
                                        <p:cTn id="14" dur="1" fill="hold">
                                          <p:stCondLst>
                                            <p:cond delay="0"/>
                                          </p:stCondLst>
                                        </p:cTn>
                                        <p:tgtEl>
                                          <p:spTgt spid="6"/>
                                        </p:tgtEl>
                                        <p:attrNameLst>
                                          <p:attrName>style.visibility</p:attrName>
                                        </p:attrNameLst>
                                      </p:cBhvr>
                                      <p:to>
                                        <p:strVal val="visible"/>
                                      </p:to>
                                    </p:set>
                                    <p:anim calcmode="lin" valueType="num">
                                      <p:cBhvr additive="base">
                                        <p:cTn id="15" dur="1000" fill="hold"/>
                                        <p:tgtEl>
                                          <p:spTgt spid="6"/>
                                        </p:tgtEl>
                                        <p:attrNameLst>
                                          <p:attrName>ppt_x</p:attrName>
                                        </p:attrNameLst>
                                      </p:cBhvr>
                                      <p:tavLst>
                                        <p:tav tm="0">
                                          <p:val>
                                            <p:strVal val="0-#ppt_w/2"/>
                                          </p:val>
                                        </p:tav>
                                        <p:tav tm="100000">
                                          <p:val>
                                            <p:strVal val="#ppt_x"/>
                                          </p:val>
                                        </p:tav>
                                      </p:tavLst>
                                    </p:anim>
                                    <p:anim calcmode="lin" valueType="num">
                                      <p:cBhvr additive="base">
                                        <p:cTn id="16" dur="1000" fill="hold"/>
                                        <p:tgtEl>
                                          <p:spTgt spid="6"/>
                                        </p:tgtEl>
                                        <p:attrNameLst>
                                          <p:attrName>ppt_y</p:attrName>
                                        </p:attrNameLst>
                                      </p:cBhvr>
                                      <p:tavLst>
                                        <p:tav tm="0">
                                          <p:val>
                                            <p:strVal val="#ppt_y"/>
                                          </p:val>
                                        </p:tav>
                                        <p:tav tm="100000">
                                          <p:val>
                                            <p:strVal val="#ppt_y"/>
                                          </p:val>
                                        </p:tav>
                                      </p:tavLst>
                                    </p:anim>
                                  </p:childTnLst>
                                </p:cTn>
                              </p:par>
                              <p:par>
                                <p:cTn id="17" presetID="2" presetClass="entr" presetSubtype="8" dur="1000" decel="100000" fill="hold" grpId="0" nodeType="withEffect">
                                  <p:stCondLst>
                                    <p:cond delay="250"/>
                                  </p:stCondLst>
                                  <p:childTnLst>
                                    <p:set>
                                      <p:cBhvr>
                                        <p:cTn id="18" dur="1" fill="hold">
                                          <p:stCondLst>
                                            <p:cond delay="0"/>
                                          </p:stCondLst>
                                        </p:cTn>
                                        <p:tgtEl>
                                          <p:spTgt spid="14"/>
                                        </p:tgtEl>
                                        <p:attrNameLst>
                                          <p:attrName>style.visibility</p:attrName>
                                        </p:attrNameLst>
                                      </p:cBhvr>
                                      <p:to>
                                        <p:strVal val="visible"/>
                                      </p:to>
                                    </p:set>
                                    <p:anim calcmode="lin" valueType="num">
                                      <p:cBhvr additive="base">
                                        <p:cTn id="19" dur="1000" fill="hold"/>
                                        <p:tgtEl>
                                          <p:spTgt spid="14"/>
                                        </p:tgtEl>
                                        <p:attrNameLst>
                                          <p:attrName>ppt_x</p:attrName>
                                        </p:attrNameLst>
                                      </p:cBhvr>
                                      <p:tavLst>
                                        <p:tav tm="0">
                                          <p:val>
                                            <p:strVal val="0-#ppt_w/2"/>
                                          </p:val>
                                        </p:tav>
                                        <p:tav tm="100000">
                                          <p:val>
                                            <p:strVal val="#ppt_x"/>
                                          </p:val>
                                        </p:tav>
                                      </p:tavLst>
                                    </p:anim>
                                    <p:anim calcmode="lin" valueType="num">
                                      <p:cBhvr additive="base">
                                        <p:cTn id="20" dur="1000" fill="hold"/>
                                        <p:tgtEl>
                                          <p:spTgt spid="14"/>
                                        </p:tgtEl>
                                        <p:attrNameLst>
                                          <p:attrName>ppt_y</p:attrName>
                                        </p:attrNameLst>
                                      </p:cBhvr>
                                      <p:tavLst>
                                        <p:tav tm="0">
                                          <p:val>
                                            <p:strVal val="#ppt_y"/>
                                          </p:val>
                                        </p:tav>
                                        <p:tav tm="100000">
                                          <p:val>
                                            <p:strVal val="#ppt_y"/>
                                          </p:val>
                                        </p:tav>
                                      </p:tavLst>
                                    </p:anim>
                                  </p:childTnLst>
                                </p:cTn>
                              </p:par>
                              <p:par>
                                <p:cTn id="21" presetID="2" presetClass="entr" presetSubtype="8" dur="1000" decel="100000" fill="hold" nodeType="withEffect">
                                  <p:stCondLst>
                                    <p:cond delay="500"/>
                                  </p:stCondLst>
                                  <p:childTnLst>
                                    <p:set>
                                      <p:cBhvr>
                                        <p:cTn id="22" dur="1" fill="hold">
                                          <p:stCondLst>
                                            <p:cond delay="0"/>
                                          </p:stCondLst>
                                        </p:cTn>
                                        <p:tgtEl>
                                          <p:spTgt spid="18"/>
                                        </p:tgtEl>
                                        <p:attrNameLst>
                                          <p:attrName>style.visibility</p:attrName>
                                        </p:attrNameLst>
                                      </p:cBhvr>
                                      <p:to>
                                        <p:strVal val="visible"/>
                                      </p:to>
                                    </p:set>
                                    <p:anim calcmode="lin" valueType="num">
                                      <p:cBhvr additive="base">
                                        <p:cTn id="23" dur="1000" fill="hold"/>
                                        <p:tgtEl>
                                          <p:spTgt spid="18"/>
                                        </p:tgtEl>
                                        <p:attrNameLst>
                                          <p:attrName>ppt_x</p:attrName>
                                        </p:attrNameLst>
                                      </p:cBhvr>
                                      <p:tavLst>
                                        <p:tav tm="0">
                                          <p:val>
                                            <p:strVal val="0-#ppt_w/2"/>
                                          </p:val>
                                        </p:tav>
                                        <p:tav tm="100000">
                                          <p:val>
                                            <p:strVal val="#ppt_x"/>
                                          </p:val>
                                        </p:tav>
                                      </p:tavLst>
                                    </p:anim>
                                    <p:anim calcmode="lin" valueType="num">
                                      <p:cBhvr additive="base">
                                        <p:cTn id="24" dur="1000" fill="hold"/>
                                        <p:tgtEl>
                                          <p:spTgt spid="18"/>
                                        </p:tgtEl>
                                        <p:attrNameLst>
                                          <p:attrName>ppt_y</p:attrName>
                                        </p:attrNameLst>
                                      </p:cBhvr>
                                      <p:tavLst>
                                        <p:tav tm="0">
                                          <p:val>
                                            <p:strVal val="#ppt_y"/>
                                          </p:val>
                                        </p:tav>
                                        <p:tav tm="100000">
                                          <p:val>
                                            <p:strVal val="#ppt_y"/>
                                          </p:val>
                                        </p:tav>
                                      </p:tavLst>
                                    </p:anim>
                                  </p:childTnLst>
                                </p:cTn>
                              </p:par>
                              <p:par>
                                <p:cTn id="25" presetID="2" presetClass="entr" presetSubtype="8" dur="1000" decel="100000" fill="hold" grpId="0" nodeType="withEffect">
                                  <p:stCondLst>
                                    <p:cond delay="250"/>
                                  </p:stCondLst>
                                  <p:childTnLst>
                                    <p:set>
                                      <p:cBhvr>
                                        <p:cTn id="26" dur="1" fill="hold">
                                          <p:stCondLst>
                                            <p:cond delay="0"/>
                                          </p:stCondLst>
                                        </p:cTn>
                                        <p:tgtEl>
                                          <p:spTgt spid="16"/>
                                        </p:tgtEl>
                                        <p:attrNameLst>
                                          <p:attrName>style.visibility</p:attrName>
                                        </p:attrNameLst>
                                      </p:cBhvr>
                                      <p:to>
                                        <p:strVal val="visible"/>
                                      </p:to>
                                    </p:set>
                                    <p:anim calcmode="lin" valueType="num">
                                      <p:cBhvr additive="base">
                                        <p:cTn id="27" dur="1000" fill="hold"/>
                                        <p:tgtEl>
                                          <p:spTgt spid="16"/>
                                        </p:tgtEl>
                                        <p:attrNameLst>
                                          <p:attrName>ppt_x</p:attrName>
                                        </p:attrNameLst>
                                      </p:cBhvr>
                                      <p:tavLst>
                                        <p:tav tm="0">
                                          <p:val>
                                            <p:strVal val="0-#ppt_w/2"/>
                                          </p:val>
                                        </p:tav>
                                        <p:tav tm="100000">
                                          <p:val>
                                            <p:strVal val="#ppt_x"/>
                                          </p:val>
                                        </p:tav>
                                      </p:tavLst>
                                    </p:anim>
                                    <p:anim calcmode="lin" valueType="num">
                                      <p:cBhvr additive="base">
                                        <p:cTn id="28" dur="1000" fill="hold"/>
                                        <p:tgtEl>
                                          <p:spTgt spid="16"/>
                                        </p:tgtEl>
                                        <p:attrNameLst>
                                          <p:attrName>ppt_y</p:attrName>
                                        </p:attrNameLst>
                                      </p:cBhvr>
                                      <p:tavLst>
                                        <p:tav tm="0">
                                          <p:val>
                                            <p:strVal val="#ppt_y"/>
                                          </p:val>
                                        </p:tav>
                                        <p:tav tm="100000">
                                          <p:val>
                                            <p:strVal val="#ppt_y"/>
                                          </p:val>
                                        </p:tav>
                                      </p:tavLst>
                                    </p:anim>
                                  </p:childTnLst>
                                </p:cTn>
                              </p:par>
                              <p:par>
                                <p:cTn id="29" presetID="2" presetClass="entr" presetSubtype="8" dur="1000" accel="50000" decel="50000" fill="hold" grpId="1" nodeType="withEffect">
                                  <p:stCondLst>
                                    <p:cond delay="500"/>
                                  </p:stCondLst>
                                  <p:childTnLst>
                                    <p:set>
                                      <p:cBhvr>
                                        <p:cTn id="30" dur="1" fill="hold">
                                          <p:stCondLst>
                                            <p:cond delay="0"/>
                                          </p:stCondLst>
                                        </p:cTn>
                                        <p:tgtEl>
                                          <p:spTgt spid="5"/>
                                        </p:tgtEl>
                                        <p:attrNameLst>
                                          <p:attrName>style.visibility</p:attrName>
                                        </p:attrNameLst>
                                      </p:cBhvr>
                                      <p:to>
                                        <p:strVal val="visible"/>
                                      </p:to>
                                    </p:set>
                                    <p:anim calcmode="lin" valueType="num">
                                      <p:cBhvr additive="base">
                                        <p:cTn id="31" dur="1000" fill="hold"/>
                                        <p:tgtEl>
                                          <p:spTgt spid="5"/>
                                        </p:tgtEl>
                                        <p:attrNameLst>
                                          <p:attrName>ppt_x</p:attrName>
                                        </p:attrNameLst>
                                      </p:cBhvr>
                                      <p:tavLst>
                                        <p:tav tm="0">
                                          <p:val>
                                            <p:strVal val="0-#ppt_w/2"/>
                                          </p:val>
                                        </p:tav>
                                        <p:tav tm="100000">
                                          <p:val>
                                            <p:strVal val="#ppt_x"/>
                                          </p:val>
                                        </p:tav>
                                      </p:tavLst>
                                    </p:anim>
                                    <p:anim calcmode="lin" valueType="num">
                                      <p:cBhvr additive="base">
                                        <p:cTn id="32" dur="1000" fill="hold"/>
                                        <p:tgtEl>
                                          <p:spTgt spid="5"/>
                                        </p:tgtEl>
                                        <p:attrNameLst>
                                          <p:attrName>ppt_y</p:attrName>
                                        </p:attrNameLst>
                                      </p:cBhvr>
                                      <p:tavLst>
                                        <p:tav tm="0">
                                          <p:val>
                                            <p:strVal val="#ppt_y"/>
                                          </p:val>
                                        </p:tav>
                                        <p:tav tm="100000">
                                          <p:val>
                                            <p:strVal val="#ppt_y"/>
                                          </p:val>
                                        </p:tav>
                                      </p:tavLst>
                                    </p:anim>
                                  </p:childTnLst>
                                </p:cTn>
                              </p:par>
                              <p:par>
                                <p:cTn id="33" presetID="42" presetClass="path" presetSubtype="0" dur="3000" repeatCount="indefinite" accel="50000" decel="50000" autoRev="1" fill="hold" grpId="0" nodeType="withEffect">
                                  <p:stCondLst>
                                    <p:cond delay="1500"/>
                                  </p:stCondLst>
                                  <p:childTnLst>
                                    <p:animMotion origin="layout" path="M -2.91667E-06 0 L 0.02995 0" pathEditMode="relative" rAng="0" ptsTypes="AA">
                                      <p:cBhvr>
                                        <p:cTn id="34" dur="3000" fill="hold"/>
                                        <p:tgtEl>
                                          <p:spTgt spid="5"/>
                                        </p:tgtEl>
                                        <p:attrNameLst>
                                          <p:attrName>ppt_x</p:attrName>
                                          <p:attrName>ppt_y</p:attrName>
                                        </p:attrNameLst>
                                      </p:cBhvr>
                                      <p:rCtr x="1497" y="0"/>
                                    </p:animMotion>
                                  </p:childTnLst>
                                </p:cTn>
                              </p:par>
                              <p:par>
                                <p:cTn id="35" presetID="2" presetClass="entr" presetSubtype="8" dur="1000" decel="100000" fill="hold" grpId="0" nodeType="withEffect">
                                  <p:stCondLst>
                                    <p:cond delay="750"/>
                                  </p:stCondLst>
                                  <p:childTnLst>
                                    <p:set>
                                      <p:cBhvr>
                                        <p:cTn id="36" dur="1" fill="hold">
                                          <p:stCondLst>
                                            <p:cond delay="0"/>
                                          </p:stCondLst>
                                        </p:cTn>
                                        <p:tgtEl>
                                          <p:spTgt spid="2"/>
                                        </p:tgtEl>
                                        <p:attrNameLst>
                                          <p:attrName>style.visibility</p:attrName>
                                        </p:attrNameLst>
                                      </p:cBhvr>
                                      <p:to>
                                        <p:strVal val="visible"/>
                                      </p:to>
                                    </p:set>
                                    <p:anim calcmode="lin" valueType="num">
                                      <p:cBhvr additive="base">
                                        <p:cTn id="37" dur="1000" fill="hold"/>
                                        <p:tgtEl>
                                          <p:spTgt spid="2"/>
                                        </p:tgtEl>
                                        <p:attrNameLst>
                                          <p:attrName>ppt_x</p:attrName>
                                        </p:attrNameLst>
                                      </p:cBhvr>
                                      <p:tavLst>
                                        <p:tav tm="0">
                                          <p:val>
                                            <p:strVal val="0-#ppt_w/2"/>
                                          </p:val>
                                        </p:tav>
                                        <p:tav tm="100000">
                                          <p:val>
                                            <p:strVal val="#ppt_x"/>
                                          </p:val>
                                        </p:tav>
                                      </p:tavLst>
                                    </p:anim>
                                    <p:anim calcmode="lin" valueType="num">
                                      <p:cBhvr additive="base">
                                        <p:cTn id="38" dur="100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animBg="1"/>
      <p:bldP spid="5" grpId="1" animBg="1"/>
      <p:bldP spid="10" grpId="0">
        <p:tmplLst>
          <p:tmpl>
            <p:tnLst>
              <p:par>
                <p:cTn presetID="2" presetClass="entr" presetSubtype="8" decel="100000" fill="hold" nodeType="withEffect">
                  <p:stCondLst>
                    <p:cond delay="0"/>
                  </p:stCondLst>
                  <p:childTnLst>
                    <p:set>
                      <p:cBhvr>
                        <p:cTn dur="1" fill="hold">
                          <p:stCondLst>
                            <p:cond delay="0"/>
                          </p:stCondLst>
                        </p:cTn>
                        <p:tgtEl>
                          <p:spTgt spid="10"/>
                        </p:tgtEl>
                        <p:attrNameLst>
                          <p:attrName>style.visibility</p:attrName>
                        </p:attrNameLst>
                      </p:cBhvr>
                      <p:to>
                        <p:strVal val="visible"/>
                      </p:to>
                    </p:set>
                    <p:anim calcmode="lin" valueType="num">
                      <p:cBhvr additive="base">
                        <p:cTn dur="1000" fill="hold"/>
                        <p:tgtEl>
                          <p:spTgt spid="10"/>
                        </p:tgtEl>
                        <p:attrNameLst>
                          <p:attrName>ppt_x</p:attrName>
                        </p:attrNameLst>
                      </p:cBhvr>
                      <p:tavLst>
                        <p:tav tm="0">
                          <p:val>
                            <p:strVal val="0-#ppt_w/2"/>
                          </p:val>
                        </p:tav>
                        <p:tav tm="100000">
                          <p:val>
                            <p:strVal val="#ppt_x"/>
                          </p:val>
                        </p:tav>
                      </p:tavLst>
                    </p:anim>
                    <p:anim calcmode="lin" valueType="num">
                      <p:cBhvr additive="base">
                        <p:cTn dur="1000" fill="hold"/>
                        <p:tgtEl>
                          <p:spTgt spid="10"/>
                        </p:tgtEl>
                        <p:attrNameLst>
                          <p:attrName>ppt_y</p:attrName>
                        </p:attrNameLst>
                      </p:cBhvr>
                      <p:tavLst>
                        <p:tav tm="0">
                          <p:val>
                            <p:strVal val="#ppt_y"/>
                          </p:val>
                        </p:tav>
                        <p:tav tm="100000">
                          <p:val>
                            <p:strVal val="#ppt_y"/>
                          </p:val>
                        </p:tav>
                      </p:tavLst>
                    </p:anim>
                  </p:childTnLst>
                </p:cTn>
              </p:par>
            </p:tnLst>
          </p:tmpl>
        </p:tmplLst>
      </p:bldP>
      <p:bldP spid="14" grpId="0">
        <p:tmplLst>
          <p:tmpl>
            <p:tnLst>
              <p:par>
                <p:cTn presetID="2" presetClass="entr" presetSubtype="8" decel="100000" fill="hold" nodeType="withEffect">
                  <p:stCondLst>
                    <p:cond delay="250"/>
                  </p:stCondLst>
                  <p:childTnLst>
                    <p:set>
                      <p:cBhvr>
                        <p:cTn dur="1" fill="hold">
                          <p:stCondLst>
                            <p:cond delay="0"/>
                          </p:stCondLst>
                        </p:cTn>
                        <p:tgtEl>
                          <p:spTgt spid="14"/>
                        </p:tgtEl>
                        <p:attrNameLst>
                          <p:attrName>style.visibility</p:attrName>
                        </p:attrNameLst>
                      </p:cBhvr>
                      <p:to>
                        <p:strVal val="visible"/>
                      </p:to>
                    </p:set>
                    <p:anim calcmode="lin" valueType="num">
                      <p:cBhvr additive="base">
                        <p:cTn dur="1000" fill="hold"/>
                        <p:tgtEl>
                          <p:spTgt spid="14"/>
                        </p:tgtEl>
                        <p:attrNameLst>
                          <p:attrName>ppt_x</p:attrName>
                        </p:attrNameLst>
                      </p:cBhvr>
                      <p:tavLst>
                        <p:tav tm="0">
                          <p:val>
                            <p:strVal val="0-#ppt_w/2"/>
                          </p:val>
                        </p:tav>
                        <p:tav tm="100000">
                          <p:val>
                            <p:strVal val="#ppt_x"/>
                          </p:val>
                        </p:tav>
                      </p:tavLst>
                    </p:anim>
                    <p:anim calcmode="lin" valueType="num">
                      <p:cBhvr additive="base">
                        <p:cTn dur="1000" fill="hold"/>
                        <p:tgtEl>
                          <p:spTgt spid="14"/>
                        </p:tgtEl>
                        <p:attrNameLst>
                          <p:attrName>ppt_y</p:attrName>
                        </p:attrNameLst>
                      </p:cBhvr>
                      <p:tavLst>
                        <p:tav tm="0">
                          <p:val>
                            <p:strVal val="#ppt_y"/>
                          </p:val>
                        </p:tav>
                        <p:tav tm="100000">
                          <p:val>
                            <p:strVal val="#ppt_y"/>
                          </p:val>
                        </p:tav>
                      </p:tavLst>
                    </p:anim>
                  </p:childTnLst>
                </p:cTn>
              </p:par>
            </p:tnLst>
          </p:tmpl>
        </p:tmplLst>
      </p:bldP>
      <p:bldP spid="16" grpId="0">
        <p:tmplLst>
          <p:tmpl>
            <p:tnLst>
              <p:par>
                <p:cTn presetID="2" presetClass="entr" presetSubtype="8" decel="100000" fill="hold" nodeType="withEffect">
                  <p:stCondLst>
                    <p:cond delay="250"/>
                  </p:stCondLst>
                  <p:childTnLst>
                    <p:set>
                      <p:cBhvr>
                        <p:cTn dur="1" fill="hold">
                          <p:stCondLst>
                            <p:cond delay="0"/>
                          </p:stCondLst>
                        </p:cTn>
                        <p:tgtEl>
                          <p:spTgt spid="16"/>
                        </p:tgtEl>
                        <p:attrNameLst>
                          <p:attrName>style.visibility</p:attrName>
                        </p:attrNameLst>
                      </p:cBhvr>
                      <p:to>
                        <p:strVal val="visible"/>
                      </p:to>
                    </p:set>
                    <p:anim calcmode="lin" valueType="num">
                      <p:cBhvr additive="base">
                        <p:cTn dur="1000" fill="hold"/>
                        <p:tgtEl>
                          <p:spTgt spid="16"/>
                        </p:tgtEl>
                        <p:attrNameLst>
                          <p:attrName>ppt_x</p:attrName>
                        </p:attrNameLst>
                      </p:cBhvr>
                      <p:tavLst>
                        <p:tav tm="0">
                          <p:val>
                            <p:strVal val="0-#ppt_w/2"/>
                          </p:val>
                        </p:tav>
                        <p:tav tm="100000">
                          <p:val>
                            <p:strVal val="#ppt_x"/>
                          </p:val>
                        </p:tav>
                      </p:tavLst>
                    </p:anim>
                    <p:anim calcmode="lin" valueType="num">
                      <p:cBhvr additive="base">
                        <p:cTn dur="1000" fill="hold"/>
                        <p:tgtEl>
                          <p:spTgt spid="16"/>
                        </p:tgtEl>
                        <p:attrNameLst>
                          <p:attrName>ppt_y</p:attrName>
                        </p:attrNameLst>
                      </p:cBhvr>
                      <p:tavLst>
                        <p:tav tm="0">
                          <p:val>
                            <p:strVal val="#ppt_y"/>
                          </p:val>
                        </p:tav>
                        <p:tav tm="100000">
                          <p:val>
                            <p:strVal val="#ppt_y"/>
                          </p:val>
                        </p:tav>
                      </p:tavLst>
                    </p:anim>
                  </p:childTnLst>
                </p:cTn>
              </p:par>
            </p:tnLst>
          </p:tmpl>
        </p:tmplLst>
      </p:bldP>
    </p:bld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IMAGE VERTICAL with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528AD12-5DA8-46A8-879E-960AD781E975}"/>
              </a:ext>
            </a:extLst>
          </p:cNvPr>
          <p:cNvSpPr>
            <a:spLocks noGrp="1"/>
          </p:cNvSpPr>
          <p:nvPr>
            <p:ph type="title"/>
          </p:nvPr>
        </p:nvSpPr>
        <p:spPr>
          <a:xfrm>
            <a:off x="815952" y="1979612"/>
            <a:ext cx="3851299" cy="767737"/>
          </a:xfrm>
        </p:spPr>
        <p:txBody>
          <a:bodyPr/>
          <a:lstStyle/>
          <a:p>
            <a:r>
              <a:rPr lang="de-DE"/>
              <a:t>Mastertitelformat bearbeiten</a:t>
            </a:r>
          </a:p>
        </p:txBody>
      </p:sp>
      <p:sp>
        <p:nvSpPr>
          <p:cNvPr id="3" name="Foliennummernplatzhalter 2">
            <a:extLst>
              <a:ext uri="{FF2B5EF4-FFF2-40B4-BE49-F238E27FC236}">
                <a16:creationId xmlns:a16="http://schemas.microsoft.com/office/drawing/2014/main" id="{3FE2976F-DEA9-4F8B-A0FA-C929202EACDC}"/>
              </a:ext>
            </a:extLst>
          </p:cNvPr>
          <p:cNvSpPr>
            <a:spLocks noGrp="1"/>
          </p:cNvSpPr>
          <p:nvPr>
            <p:ph type="sldNum" sz="quarter" idx="10"/>
          </p:nvPr>
        </p:nvSpPr>
        <p:spPr/>
        <p:txBody>
          <a:bodyPr/>
          <a:lstStyle/>
          <a:p>
            <a:fld id="{A04BEB4F-8CE1-4F18-986F-6CE0A0BE9470}" type="slidenum">
              <a:rPr lang="de-DE" smtClean="0"/>
              <a:t>‹#›</a:t>
            </a:fld>
            <a:endParaRPr lang="de-DE"/>
          </a:p>
        </p:txBody>
      </p:sp>
      <p:sp>
        <p:nvSpPr>
          <p:cNvPr id="5" name="Bildplatzhalter 4">
            <a:extLst>
              <a:ext uri="{FF2B5EF4-FFF2-40B4-BE49-F238E27FC236}">
                <a16:creationId xmlns:a16="http://schemas.microsoft.com/office/drawing/2014/main" id="{F63E5998-1FBC-40DB-912E-E00E784B843E}"/>
              </a:ext>
            </a:extLst>
          </p:cNvPr>
          <p:cNvSpPr>
            <a:spLocks noGrp="1"/>
          </p:cNvSpPr>
          <p:nvPr>
            <p:ph type="pic" sz="quarter" idx="11" hasCustomPrompt="1"/>
          </p:nvPr>
        </p:nvSpPr>
        <p:spPr>
          <a:xfrm>
            <a:off x="5124450" y="0"/>
            <a:ext cx="1943100" cy="6858000"/>
          </a:xfrm>
        </p:spPr>
        <p:txBody>
          <a:bodyPr/>
          <a:lstStyle>
            <a:lvl1pPr marL="285750" marR="0" indent="-285750" algn="l" defTabSz="1644650" rtl="0" eaLnBrk="0" fontAlgn="base" latinLnBrk="0" hangingPunct="0">
              <a:lnSpc>
                <a:spcPct val="130000"/>
              </a:lnSpc>
              <a:spcBef>
                <a:spcPct val="0"/>
              </a:spcBef>
              <a:spcAft>
                <a:spcPts val="1200"/>
              </a:spcAft>
              <a:buClr>
                <a:srgbClr val="004C99"/>
              </a:buClr>
              <a:buSzPct val="120000"/>
              <a:defRPr/>
            </a:lvl1pPr>
          </a:lstStyle>
          <a:p>
            <a:pPr marL="285750" marR="0" lvl="0" indent="-285750" algn="l" defTabSz="1644650" rtl="0" eaLnBrk="0" fontAlgn="base" latinLnBrk="0" hangingPunct="0">
              <a:lnSpc>
                <a:spcPct val="130000"/>
              </a:lnSpc>
              <a:spcBef>
                <a:spcPct val="0"/>
              </a:spcBef>
              <a:spcAft>
                <a:spcPts val="1200"/>
              </a:spcAft>
              <a:buClr>
                <a:srgbClr val="004C99"/>
              </a:buClr>
              <a:buSzPct val="120000"/>
              <a:defRPr/>
            </a:pPr>
            <a:r>
              <a:rPr lang="de-DE"/>
              <a:t>Please insert image</a:t>
            </a:r>
          </a:p>
        </p:txBody>
      </p:sp>
      <p:sp>
        <p:nvSpPr>
          <p:cNvPr id="6" name="Textplatzhalter 9">
            <a:extLst>
              <a:ext uri="{FF2B5EF4-FFF2-40B4-BE49-F238E27FC236}">
                <a16:creationId xmlns:a16="http://schemas.microsoft.com/office/drawing/2014/main" id="{4E813D1A-45EA-4F17-9B1F-69450733CCE1}"/>
              </a:ext>
            </a:extLst>
          </p:cNvPr>
          <p:cNvSpPr>
            <a:spLocks noGrp="1"/>
          </p:cNvSpPr>
          <p:nvPr>
            <p:ph type="body" sz="quarter" idx="12"/>
          </p:nvPr>
        </p:nvSpPr>
        <p:spPr>
          <a:xfrm>
            <a:off x="7524749" y="1979612"/>
            <a:ext cx="3851297" cy="4338638"/>
          </a:xfrm>
          <a:prstGeom prst="rect">
            <a:avLst/>
          </a:prstGeom>
        </p:spPr>
        <p:txBody>
          <a:bodyPr lIns="0" tIns="0" rIns="0" bIns="0">
            <a:normAutofit/>
          </a:bodyPr>
          <a:lstStyle>
            <a:lvl1pPr>
              <a:defRPr sz="1800"/>
            </a:lvl1pPr>
            <a:lvl2pPr>
              <a:defRPr sz="1800"/>
            </a:lvl2pPr>
            <a:lvl3pPr>
              <a:defRPr sz="1800"/>
            </a:lvl3pPr>
            <a:lvl4pPr>
              <a:defRPr sz="1800"/>
            </a:lvl4pPr>
            <a:lvl5pPr>
              <a:defRPr sz="18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2735111756"/>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8" dur="1000" decel="10000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0-#ppt_w/2"/>
                                          </p:val>
                                        </p:tav>
                                        <p:tav tm="100000">
                                          <p:val>
                                            <p:strVal val="#ppt_x"/>
                                          </p:val>
                                        </p:tav>
                                      </p:tavLst>
                                    </p:anim>
                                    <p:anim calcmode="lin" valueType="num">
                                      <p:cBhvr additive="base">
                                        <p:cTn id="8" dur="1000" fill="hold"/>
                                        <p:tgtEl>
                                          <p:spTgt spid="2"/>
                                        </p:tgtEl>
                                        <p:attrNameLst>
                                          <p:attrName>ppt_y</p:attrName>
                                        </p:attrNameLst>
                                      </p:cBhvr>
                                      <p:tavLst>
                                        <p:tav tm="0">
                                          <p:val>
                                            <p:strVal val="#ppt_y"/>
                                          </p:val>
                                        </p:tav>
                                        <p:tav tm="100000">
                                          <p:val>
                                            <p:strVal val="#ppt_y"/>
                                          </p:val>
                                        </p:tav>
                                      </p:tavLst>
                                    </p:anim>
                                  </p:childTnLst>
                                </p:cTn>
                              </p:par>
                              <p:par>
                                <p:cTn id="9" presetID="2" presetClass="entr" presetSubtype="2" dur="1000" decel="100000" fill="hold" grpId="0" nodeType="withEffect">
                                  <p:stCondLst>
                                    <p:cond delay="250"/>
                                  </p:stCondLst>
                                  <p:childTnLst>
                                    <p:set>
                                      <p:cBhvr>
                                        <p:cTn id="10" dur="1" fill="hold">
                                          <p:stCondLst>
                                            <p:cond delay="0"/>
                                          </p:stCondLst>
                                        </p:cTn>
                                        <p:tgtEl>
                                          <p:spTgt spid="6"/>
                                        </p:tgtEl>
                                        <p:attrNameLst>
                                          <p:attrName>style.visibility</p:attrName>
                                        </p:attrNameLst>
                                      </p:cBhvr>
                                      <p:to>
                                        <p:strVal val="visible"/>
                                      </p:to>
                                    </p:set>
                                    <p:anim calcmode="lin" valueType="num">
                                      <p:cBhvr additive="base">
                                        <p:cTn id="11" dur="1000" fill="hold"/>
                                        <p:tgtEl>
                                          <p:spTgt spid="6"/>
                                        </p:tgtEl>
                                        <p:attrNameLst>
                                          <p:attrName>ppt_x</p:attrName>
                                        </p:attrNameLst>
                                      </p:cBhvr>
                                      <p:tavLst>
                                        <p:tav tm="0">
                                          <p:val>
                                            <p:strVal val="1+#ppt_w/2"/>
                                          </p:val>
                                        </p:tav>
                                        <p:tav tm="100000">
                                          <p:val>
                                            <p:strVal val="#ppt_x"/>
                                          </p:val>
                                        </p:tav>
                                      </p:tavLst>
                                    </p:anim>
                                    <p:anim calcmode="lin" valueType="num">
                                      <p:cBhvr additive="base">
                                        <p:cTn id="12" dur="1000" fill="hold"/>
                                        <p:tgtEl>
                                          <p:spTgt spid="6"/>
                                        </p:tgtEl>
                                        <p:attrNameLst>
                                          <p:attrName>ppt_y</p:attrName>
                                        </p:attrNameLst>
                                      </p:cBhvr>
                                      <p:tavLst>
                                        <p:tav tm="0">
                                          <p:val>
                                            <p:strVal val="#ppt_y"/>
                                          </p:val>
                                        </p:tav>
                                        <p:tav tm="100000">
                                          <p:val>
                                            <p:strVal val="#ppt_y"/>
                                          </p:val>
                                        </p:tav>
                                      </p:tavLst>
                                    </p:anim>
                                  </p:childTnLst>
                                </p:cTn>
                              </p:par>
                              <p:par>
                                <p:cTn id="13" presetID="2" presetClass="entr" presetSubtype="4" dur="1000" decel="100000" fill="hold" grpId="0" nodeType="withEffect">
                                  <p:stCondLst>
                                    <p:cond delay="250"/>
                                  </p:stCondLst>
                                  <p:childTnLst>
                                    <p:set>
                                      <p:cBhvr>
                                        <p:cTn id="14" dur="1" fill="hold">
                                          <p:stCondLst>
                                            <p:cond delay="0"/>
                                          </p:stCondLst>
                                        </p:cTn>
                                        <p:tgtEl>
                                          <p:spTgt spid="5"/>
                                        </p:tgtEl>
                                        <p:attrNameLst>
                                          <p:attrName>style.visibility</p:attrName>
                                        </p:attrNameLst>
                                      </p:cBhvr>
                                      <p:to>
                                        <p:strVal val="visible"/>
                                      </p:to>
                                    </p:set>
                                    <p:anim calcmode="lin" valueType="num">
                                      <p:cBhvr additive="base">
                                        <p:cTn id="15" dur="1000" fill="hold"/>
                                        <p:tgtEl>
                                          <p:spTgt spid="5"/>
                                        </p:tgtEl>
                                        <p:attrNameLst>
                                          <p:attrName>ppt_x</p:attrName>
                                        </p:attrNameLst>
                                      </p:cBhvr>
                                      <p:tavLst>
                                        <p:tav tm="0">
                                          <p:val>
                                            <p:strVal val="#ppt_x"/>
                                          </p:val>
                                        </p:tav>
                                        <p:tav tm="100000">
                                          <p:val>
                                            <p:strVal val="#ppt_x"/>
                                          </p:val>
                                        </p:tav>
                                      </p:tavLst>
                                    </p:anim>
                                    <p:anim calcmode="lin" valueType="num">
                                      <p:cBhvr additive="base">
                                        <p:cTn id="16" dur="10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bldP spid="6" grpId="0">
        <p:tmplLst>
          <p:tmpl>
            <p:tnLst>
              <p:par>
                <p:cTn presetID="2" presetClass="entr" presetSubtype="2" decel="100000" fill="hold" nodeType="withEffect">
                  <p:stCondLst>
                    <p:cond delay="250"/>
                  </p:stCondLst>
                  <p:childTnLst>
                    <p:set>
                      <p:cBhvr>
                        <p:cTn dur="1" fill="hold">
                          <p:stCondLst>
                            <p:cond delay="0"/>
                          </p:stCondLst>
                        </p:cTn>
                        <p:tgtEl>
                          <p:spTgt spid="6"/>
                        </p:tgtEl>
                        <p:attrNameLst>
                          <p:attrName>style.visibility</p:attrName>
                        </p:attrNameLst>
                      </p:cBhvr>
                      <p:to>
                        <p:strVal val="visible"/>
                      </p:to>
                    </p:set>
                    <p:anim calcmode="lin" valueType="num">
                      <p:cBhvr additive="base">
                        <p:cTn dur="1000" fill="hold"/>
                        <p:tgtEl>
                          <p:spTgt spid="6"/>
                        </p:tgtEl>
                        <p:attrNameLst>
                          <p:attrName>ppt_x</p:attrName>
                        </p:attrNameLst>
                      </p:cBhvr>
                      <p:tavLst>
                        <p:tav tm="0">
                          <p:val>
                            <p:strVal val="1+#ppt_w/2"/>
                          </p:val>
                        </p:tav>
                        <p:tav tm="100000">
                          <p:val>
                            <p:strVal val="#ppt_x"/>
                          </p:val>
                        </p:tav>
                      </p:tavLst>
                    </p:anim>
                    <p:anim calcmode="lin" valueType="num">
                      <p:cBhvr additive="base">
                        <p:cTn dur="1000" fill="hold"/>
                        <p:tgtEl>
                          <p:spTgt spid="6"/>
                        </p:tgtEl>
                        <p:attrNameLst>
                          <p:attrName>ppt_y</p:attrName>
                        </p:attrNameLst>
                      </p:cBhvr>
                      <p:tavLst>
                        <p:tav tm="0">
                          <p:val>
                            <p:strVal val="#ppt_y"/>
                          </p:val>
                        </p:tav>
                        <p:tav tm="100000">
                          <p:val>
                            <p:strVal val="#ppt_y"/>
                          </p:val>
                        </p:tav>
                      </p:tavLst>
                    </p:anim>
                  </p:childTnLst>
                </p:cTn>
              </p:par>
            </p:tnLst>
          </p:tmpl>
        </p:tmplLst>
      </p:bldP>
    </p:bldLst>
  </p:timing>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IMAGE HORIZONTAL with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2D5B149-1ACD-4321-86D2-A573D6D2C276}"/>
              </a:ext>
            </a:extLst>
          </p:cNvPr>
          <p:cNvSpPr>
            <a:spLocks noGrp="1"/>
          </p:cNvSpPr>
          <p:nvPr>
            <p:ph type="title"/>
          </p:nvPr>
        </p:nvSpPr>
        <p:spPr>
          <a:xfrm>
            <a:off x="815952" y="1448413"/>
            <a:ext cx="10560096" cy="767737"/>
          </a:xfrm>
        </p:spPr>
        <p:txBody>
          <a:bodyPr/>
          <a:lstStyle/>
          <a:p>
            <a:r>
              <a:rPr lang="de-DE"/>
              <a:t>Mastertitelformat bearbeiten</a:t>
            </a:r>
          </a:p>
        </p:txBody>
      </p:sp>
      <p:sp>
        <p:nvSpPr>
          <p:cNvPr id="3" name="Foliennummernplatzhalter 2">
            <a:extLst>
              <a:ext uri="{FF2B5EF4-FFF2-40B4-BE49-F238E27FC236}">
                <a16:creationId xmlns:a16="http://schemas.microsoft.com/office/drawing/2014/main" id="{3C2D9707-9E44-47C2-8BCE-B35D3298333D}"/>
              </a:ext>
            </a:extLst>
          </p:cNvPr>
          <p:cNvSpPr>
            <a:spLocks noGrp="1"/>
          </p:cNvSpPr>
          <p:nvPr>
            <p:ph type="sldNum" sz="quarter" idx="10"/>
          </p:nvPr>
        </p:nvSpPr>
        <p:spPr/>
        <p:txBody>
          <a:bodyPr/>
          <a:lstStyle/>
          <a:p>
            <a:fld id="{A04BEB4F-8CE1-4F18-986F-6CE0A0BE9470}" type="slidenum">
              <a:rPr lang="de-DE" smtClean="0"/>
              <a:t>‹#›</a:t>
            </a:fld>
            <a:endParaRPr lang="de-DE"/>
          </a:p>
        </p:txBody>
      </p:sp>
      <p:sp>
        <p:nvSpPr>
          <p:cNvPr id="5" name="Bildplatzhalter 4">
            <a:extLst>
              <a:ext uri="{FF2B5EF4-FFF2-40B4-BE49-F238E27FC236}">
                <a16:creationId xmlns:a16="http://schemas.microsoft.com/office/drawing/2014/main" id="{CF8C4DAE-CCBB-4B47-86BA-6EA4DE24B2AB}"/>
              </a:ext>
            </a:extLst>
          </p:cNvPr>
          <p:cNvSpPr>
            <a:spLocks noGrp="1"/>
          </p:cNvSpPr>
          <p:nvPr>
            <p:ph type="pic" sz="quarter" idx="11" hasCustomPrompt="1"/>
          </p:nvPr>
        </p:nvSpPr>
        <p:spPr>
          <a:xfrm>
            <a:off x="0" y="2590800"/>
            <a:ext cx="12192000" cy="1676400"/>
          </a:xfrm>
        </p:spPr>
        <p:txBody>
          <a:bodyPr/>
          <a:lstStyle>
            <a:lvl1pPr marL="285750" marR="0" indent="-285750" algn="l" defTabSz="1644650" rtl="0" eaLnBrk="0" fontAlgn="base" latinLnBrk="0" hangingPunct="0">
              <a:lnSpc>
                <a:spcPct val="130000"/>
              </a:lnSpc>
              <a:spcBef>
                <a:spcPct val="0"/>
              </a:spcBef>
              <a:spcAft>
                <a:spcPts val="1200"/>
              </a:spcAft>
              <a:buClr>
                <a:srgbClr val="004C99"/>
              </a:buClr>
              <a:buSzPct val="120000"/>
              <a:defRPr/>
            </a:lvl1pPr>
          </a:lstStyle>
          <a:p>
            <a:pPr marL="285750" marR="0" lvl="0" indent="-285750" algn="l" defTabSz="1644650" rtl="0" eaLnBrk="0" fontAlgn="base" latinLnBrk="0" hangingPunct="0">
              <a:lnSpc>
                <a:spcPct val="130000"/>
              </a:lnSpc>
              <a:spcBef>
                <a:spcPct val="0"/>
              </a:spcBef>
              <a:spcAft>
                <a:spcPts val="1200"/>
              </a:spcAft>
              <a:buClr>
                <a:srgbClr val="004C99"/>
              </a:buClr>
              <a:buSzPct val="120000"/>
              <a:defRPr/>
            </a:pPr>
            <a:r>
              <a:rPr lang="de-DE"/>
              <a:t>Please insert image</a:t>
            </a:r>
          </a:p>
        </p:txBody>
      </p:sp>
      <p:sp>
        <p:nvSpPr>
          <p:cNvPr id="6" name="Textplatzhalter 9">
            <a:extLst>
              <a:ext uri="{FF2B5EF4-FFF2-40B4-BE49-F238E27FC236}">
                <a16:creationId xmlns:a16="http://schemas.microsoft.com/office/drawing/2014/main" id="{EB4A6873-918D-46BC-8842-402FCC0B8033}"/>
              </a:ext>
            </a:extLst>
          </p:cNvPr>
          <p:cNvSpPr>
            <a:spLocks noGrp="1"/>
          </p:cNvSpPr>
          <p:nvPr>
            <p:ph type="body" sz="quarter" idx="12"/>
          </p:nvPr>
        </p:nvSpPr>
        <p:spPr>
          <a:xfrm>
            <a:off x="815952" y="4641850"/>
            <a:ext cx="10560095" cy="1676400"/>
          </a:xfrm>
          <a:prstGeom prst="rect">
            <a:avLst/>
          </a:prstGeom>
        </p:spPr>
        <p:txBody>
          <a:bodyPr lIns="0" tIns="0" rIns="0" bIns="0">
            <a:normAutofit/>
          </a:bodyPr>
          <a:lstStyle>
            <a:lvl1pPr>
              <a:defRPr sz="1800"/>
            </a:lvl1pPr>
            <a:lvl2pPr>
              <a:defRPr sz="1800"/>
            </a:lvl2pPr>
            <a:lvl3pPr>
              <a:defRPr sz="1800"/>
            </a:lvl3pPr>
            <a:lvl4pPr>
              <a:defRPr sz="1800"/>
            </a:lvl4pPr>
            <a:lvl5pPr>
              <a:defRPr sz="18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280703239"/>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8" dur="1000" decel="10000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000" fill="hold"/>
                                        <p:tgtEl>
                                          <p:spTgt spid="5"/>
                                        </p:tgtEl>
                                        <p:attrNameLst>
                                          <p:attrName>ppt_x</p:attrName>
                                        </p:attrNameLst>
                                      </p:cBhvr>
                                      <p:tavLst>
                                        <p:tav tm="0">
                                          <p:val>
                                            <p:strVal val="0-#ppt_w/2"/>
                                          </p:val>
                                        </p:tav>
                                        <p:tav tm="100000">
                                          <p:val>
                                            <p:strVal val="#ppt_x"/>
                                          </p:val>
                                        </p:tav>
                                      </p:tavLst>
                                    </p:anim>
                                    <p:anim calcmode="lin" valueType="num">
                                      <p:cBhvr additive="base">
                                        <p:cTn id="8" dur="1000" fill="hold"/>
                                        <p:tgtEl>
                                          <p:spTgt spid="5"/>
                                        </p:tgtEl>
                                        <p:attrNameLst>
                                          <p:attrName>ppt_y</p:attrName>
                                        </p:attrNameLst>
                                      </p:cBhvr>
                                      <p:tavLst>
                                        <p:tav tm="0">
                                          <p:val>
                                            <p:strVal val="#ppt_y"/>
                                          </p:val>
                                        </p:tav>
                                        <p:tav tm="100000">
                                          <p:val>
                                            <p:strVal val="#ppt_y"/>
                                          </p:val>
                                        </p:tav>
                                      </p:tavLst>
                                    </p:anim>
                                  </p:childTnLst>
                                </p:cTn>
                              </p:par>
                              <p:par>
                                <p:cTn id="9" presetID="2" presetClass="entr" presetSubtype="8" dur="1000" decel="100000" fill="hold" grpId="0" nodeType="withEffect">
                                  <p:stCondLst>
                                    <p:cond delay="250"/>
                                  </p:stCondLst>
                                  <p:childTnLst>
                                    <p:set>
                                      <p:cBhvr>
                                        <p:cTn id="10" dur="1" fill="hold">
                                          <p:stCondLst>
                                            <p:cond delay="0"/>
                                          </p:stCondLst>
                                        </p:cTn>
                                        <p:tgtEl>
                                          <p:spTgt spid="2"/>
                                        </p:tgtEl>
                                        <p:attrNameLst>
                                          <p:attrName>style.visibility</p:attrName>
                                        </p:attrNameLst>
                                      </p:cBhvr>
                                      <p:to>
                                        <p:strVal val="visible"/>
                                      </p:to>
                                    </p:set>
                                    <p:anim calcmode="lin" valueType="num">
                                      <p:cBhvr additive="base">
                                        <p:cTn id="11" dur="1000" fill="hold"/>
                                        <p:tgtEl>
                                          <p:spTgt spid="2"/>
                                        </p:tgtEl>
                                        <p:attrNameLst>
                                          <p:attrName>ppt_x</p:attrName>
                                        </p:attrNameLst>
                                      </p:cBhvr>
                                      <p:tavLst>
                                        <p:tav tm="0">
                                          <p:val>
                                            <p:strVal val="0-#ppt_w/2"/>
                                          </p:val>
                                        </p:tav>
                                        <p:tav tm="100000">
                                          <p:val>
                                            <p:strVal val="#ppt_x"/>
                                          </p:val>
                                        </p:tav>
                                      </p:tavLst>
                                    </p:anim>
                                    <p:anim calcmode="lin" valueType="num">
                                      <p:cBhvr additive="base">
                                        <p:cTn id="12" dur="1000" fill="hold"/>
                                        <p:tgtEl>
                                          <p:spTgt spid="2"/>
                                        </p:tgtEl>
                                        <p:attrNameLst>
                                          <p:attrName>ppt_y</p:attrName>
                                        </p:attrNameLst>
                                      </p:cBhvr>
                                      <p:tavLst>
                                        <p:tav tm="0">
                                          <p:val>
                                            <p:strVal val="#ppt_y"/>
                                          </p:val>
                                        </p:tav>
                                        <p:tav tm="100000">
                                          <p:val>
                                            <p:strVal val="#ppt_y"/>
                                          </p:val>
                                        </p:tav>
                                      </p:tavLst>
                                    </p:anim>
                                  </p:childTnLst>
                                </p:cTn>
                              </p:par>
                              <p:par>
                                <p:cTn id="13" presetID="2" presetClass="entr" presetSubtype="8" dur="1000" decel="100000" fill="hold" grpId="0" nodeType="withEffect">
                                  <p:stCondLst>
                                    <p:cond delay="500"/>
                                  </p:stCondLst>
                                  <p:childTnLst>
                                    <p:set>
                                      <p:cBhvr>
                                        <p:cTn id="14" dur="1" fill="hold">
                                          <p:stCondLst>
                                            <p:cond delay="0"/>
                                          </p:stCondLst>
                                        </p:cTn>
                                        <p:tgtEl>
                                          <p:spTgt spid="6"/>
                                        </p:tgtEl>
                                        <p:attrNameLst>
                                          <p:attrName>style.visibility</p:attrName>
                                        </p:attrNameLst>
                                      </p:cBhvr>
                                      <p:to>
                                        <p:strVal val="visible"/>
                                      </p:to>
                                    </p:set>
                                    <p:anim calcmode="lin" valueType="num">
                                      <p:cBhvr additive="base">
                                        <p:cTn id="15" dur="1000" fill="hold"/>
                                        <p:tgtEl>
                                          <p:spTgt spid="6"/>
                                        </p:tgtEl>
                                        <p:attrNameLst>
                                          <p:attrName>ppt_x</p:attrName>
                                        </p:attrNameLst>
                                      </p:cBhvr>
                                      <p:tavLst>
                                        <p:tav tm="0">
                                          <p:val>
                                            <p:strVal val="0-#ppt_w/2"/>
                                          </p:val>
                                        </p:tav>
                                        <p:tav tm="100000">
                                          <p:val>
                                            <p:strVal val="#ppt_x"/>
                                          </p:val>
                                        </p:tav>
                                      </p:tavLst>
                                    </p:anim>
                                    <p:anim calcmode="lin" valueType="num">
                                      <p:cBhvr additive="base">
                                        <p:cTn id="16" dur="10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bldP spid="6" grpId="0">
        <p:tmplLst>
          <p:tmpl>
            <p:tnLst>
              <p:par>
                <p:cTn presetID="2" presetClass="entr" presetSubtype="8" decel="100000" fill="hold" nodeType="withEffect">
                  <p:stCondLst>
                    <p:cond delay="500"/>
                  </p:stCondLst>
                  <p:childTnLst>
                    <p:set>
                      <p:cBhvr>
                        <p:cTn dur="1" fill="hold">
                          <p:stCondLst>
                            <p:cond delay="0"/>
                          </p:stCondLst>
                        </p:cTn>
                        <p:tgtEl>
                          <p:spTgt spid="6"/>
                        </p:tgtEl>
                        <p:attrNameLst>
                          <p:attrName>style.visibility</p:attrName>
                        </p:attrNameLst>
                      </p:cBhvr>
                      <p:to>
                        <p:strVal val="visible"/>
                      </p:to>
                    </p:set>
                    <p:anim calcmode="lin" valueType="num">
                      <p:cBhvr additive="base">
                        <p:cTn dur="1000" fill="hold"/>
                        <p:tgtEl>
                          <p:spTgt spid="6"/>
                        </p:tgtEl>
                        <p:attrNameLst>
                          <p:attrName>ppt_x</p:attrName>
                        </p:attrNameLst>
                      </p:cBhvr>
                      <p:tavLst>
                        <p:tav tm="0">
                          <p:val>
                            <p:strVal val="0-#ppt_w/2"/>
                          </p:val>
                        </p:tav>
                        <p:tav tm="100000">
                          <p:val>
                            <p:strVal val="#ppt_x"/>
                          </p:val>
                        </p:tav>
                      </p:tavLst>
                    </p:anim>
                    <p:anim calcmode="lin" valueType="num">
                      <p:cBhvr additive="base">
                        <p:cTn dur="1000" fill="hold"/>
                        <p:tgtEl>
                          <p:spTgt spid="6"/>
                        </p:tgtEl>
                        <p:attrNameLst>
                          <p:attrName>ppt_y</p:attrName>
                        </p:attrNameLst>
                      </p:cBhvr>
                      <p:tavLst>
                        <p:tav tm="0">
                          <p:val>
                            <p:strVal val="#ppt_y"/>
                          </p:val>
                        </p:tav>
                        <p:tav tm="100000">
                          <p:val>
                            <p:strVal val="#ppt_y"/>
                          </p:val>
                        </p:tav>
                      </p:tavLst>
                    </p:anim>
                  </p:childTnLst>
                </p:cTn>
              </p:par>
            </p:tnLst>
          </p:tmpl>
        </p:tmplLst>
      </p:bldP>
    </p:bldLst>
  </p:timing>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CONFIDENTIAL with headlin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BB973BE-E0DA-45F8-BC82-0F611BE84BD1}"/>
              </a:ext>
            </a:extLst>
          </p:cNvPr>
          <p:cNvSpPr>
            <a:spLocks noGrp="1"/>
          </p:cNvSpPr>
          <p:nvPr>
            <p:ph type="sldNum" sz="quarter" idx="10"/>
          </p:nvPr>
        </p:nvSpPr>
        <p:spPr/>
        <p:txBody>
          <a:bodyPr/>
          <a:lstStyle/>
          <a:p>
            <a:fld id="{A04BEB4F-8CE1-4F18-986F-6CE0A0BE9470}" type="slidenum">
              <a:rPr lang="de-DE" smtClean="0"/>
              <a:t>‹#›</a:t>
            </a:fld>
            <a:endParaRPr lang="de-DE"/>
          </a:p>
        </p:txBody>
      </p:sp>
      <p:sp>
        <p:nvSpPr>
          <p:cNvPr id="4" name="TextBox 32">
            <a:extLst>
              <a:ext uri="{FF2B5EF4-FFF2-40B4-BE49-F238E27FC236}">
                <a16:creationId xmlns:a16="http://schemas.microsoft.com/office/drawing/2014/main" id="{3E84B393-626E-4D99-ACD8-BED1AA75251B}"/>
              </a:ext>
            </a:extLst>
          </p:cNvPr>
          <p:cNvSpPr txBox="1"/>
          <p:nvPr userDrawn="1"/>
        </p:nvSpPr>
        <p:spPr>
          <a:xfrm rot="16200000">
            <a:off x="-347151" y="3510426"/>
            <a:ext cx="1243930" cy="180049"/>
          </a:xfrm>
          <a:prstGeom prst="rect">
            <a:avLst/>
          </a:prstGeom>
          <a:noFill/>
          <a:ln w="9525">
            <a:noFill/>
          </a:ln>
        </p:spPr>
        <p:txBody>
          <a:bodyPr vert="horz" wrap="none" lIns="0" tIns="0" rIns="0" bIns="0" rtlCol="0">
            <a:spAutoFit/>
          </a:bodyPr>
          <a:lstStyle/>
          <a:p>
            <a:pPr algn="ctr">
              <a:lnSpc>
                <a:spcPct val="90000"/>
              </a:lnSpc>
              <a:spcBef>
                <a:spcPts val="400"/>
              </a:spcBef>
              <a:buClr>
                <a:srgbClr val="000000"/>
              </a:buClr>
              <a:buSzTx/>
            </a:pPr>
            <a:r>
              <a:rPr lang="de-DE" sz="1300" b="1" noProof="0">
                <a:solidFill>
                  <a:srgbClr val="E32119"/>
                </a:solidFill>
                <a:latin typeface="+mj-lt"/>
                <a:cs typeface="Arial Narrow" pitchFamily="34" charset="0"/>
              </a:rPr>
              <a:t>CONFIDENTIAL</a:t>
            </a:r>
          </a:p>
        </p:txBody>
      </p:sp>
      <p:sp>
        <p:nvSpPr>
          <p:cNvPr id="5" name="Titel 1">
            <a:extLst>
              <a:ext uri="{FF2B5EF4-FFF2-40B4-BE49-F238E27FC236}">
                <a16:creationId xmlns:a16="http://schemas.microsoft.com/office/drawing/2014/main" id="{530BC872-9263-40C4-84A9-F328C15EFF1E}"/>
              </a:ext>
            </a:extLst>
          </p:cNvPr>
          <p:cNvSpPr>
            <a:spLocks noGrp="1"/>
          </p:cNvSpPr>
          <p:nvPr>
            <p:ph type="title"/>
          </p:nvPr>
        </p:nvSpPr>
        <p:spPr>
          <a:xfrm>
            <a:off x="815952" y="733402"/>
            <a:ext cx="10560096" cy="767737"/>
          </a:xfrm>
        </p:spPr>
        <p:txBody>
          <a:bodyPr/>
          <a:lstStyle>
            <a:lvl1pPr>
              <a:lnSpc>
                <a:spcPct val="100000"/>
              </a:lnSpc>
              <a:defRPr/>
            </a:lvl1pPr>
          </a:lstStyle>
          <a:p>
            <a:r>
              <a:rPr lang="de-DE"/>
              <a:t>Mastertitelformat bearbeiten</a:t>
            </a:r>
          </a:p>
        </p:txBody>
      </p:sp>
      <p:sp>
        <p:nvSpPr>
          <p:cNvPr id="6" name="Inhaltsplatzhalter 5">
            <a:extLst>
              <a:ext uri="{FF2B5EF4-FFF2-40B4-BE49-F238E27FC236}">
                <a16:creationId xmlns:a16="http://schemas.microsoft.com/office/drawing/2014/main" id="{7F103B78-7FB8-46CE-8228-331AE73E56D6}"/>
              </a:ext>
            </a:extLst>
          </p:cNvPr>
          <p:cNvSpPr>
            <a:spLocks noGrp="1"/>
          </p:cNvSpPr>
          <p:nvPr>
            <p:ph sz="quarter" idx="12"/>
          </p:nvPr>
        </p:nvSpPr>
        <p:spPr>
          <a:xfrm>
            <a:off x="815951" y="1975612"/>
            <a:ext cx="10560096" cy="434664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Textplatzhalter 8">
            <a:extLst>
              <a:ext uri="{FF2B5EF4-FFF2-40B4-BE49-F238E27FC236}">
                <a16:creationId xmlns:a16="http://schemas.microsoft.com/office/drawing/2014/main" id="{7CBCD10E-31A5-4685-96A9-6140F4781DC8}"/>
              </a:ext>
            </a:extLst>
          </p:cNvPr>
          <p:cNvSpPr>
            <a:spLocks noGrp="1"/>
          </p:cNvSpPr>
          <p:nvPr>
            <p:ph type="body" sz="quarter" idx="14" hasCustomPrompt="1"/>
          </p:nvPr>
        </p:nvSpPr>
        <p:spPr>
          <a:xfrm>
            <a:off x="6462713" y="172148"/>
            <a:ext cx="4305111" cy="363600"/>
          </a:xfrm>
        </p:spPr>
        <p:txBody>
          <a:bodyPr anchor="ctr">
            <a:normAutofit/>
          </a:bodyPr>
          <a:lstStyle>
            <a:lvl1pPr marL="0" indent="0" algn="r">
              <a:buFont typeface="Arial" panose="020B0604020202020204" pitchFamily="34" charset="0"/>
              <a:buNone/>
              <a:defRPr sz="1000" cap="all" spc="200" baseline="0">
                <a:solidFill>
                  <a:schemeClr val="accent3"/>
                </a:solidFill>
                <a:latin typeface="Roboto Bold" panose="02000000000000000000" pitchFamily="2" charset="0"/>
                <a:ea typeface="Roboto Bold" panose="02000000000000000000" pitchFamily="2" charset="0"/>
              </a:defRPr>
            </a:lvl1pPr>
          </a:lstStyle>
          <a:p>
            <a:pPr lvl="0"/>
            <a:r>
              <a:rPr lang="de-DE"/>
              <a:t>Index</a:t>
            </a:r>
          </a:p>
        </p:txBody>
      </p:sp>
    </p:spTree>
    <p:extLst>
      <p:ext uri="{BB962C8B-B14F-4D97-AF65-F5344CB8AC3E}">
        <p14:creationId xmlns:p14="http://schemas.microsoft.com/office/powerpoint/2010/main" val="3958039426"/>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8" dur="1000" decel="10000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000" fill="hold"/>
                                        <p:tgtEl>
                                          <p:spTgt spid="5"/>
                                        </p:tgtEl>
                                        <p:attrNameLst>
                                          <p:attrName>ppt_x</p:attrName>
                                        </p:attrNameLst>
                                      </p:cBhvr>
                                      <p:tavLst>
                                        <p:tav tm="0">
                                          <p:val>
                                            <p:strVal val="0-#ppt_w/2"/>
                                          </p:val>
                                        </p:tav>
                                        <p:tav tm="100000">
                                          <p:val>
                                            <p:strVal val="#ppt_x"/>
                                          </p:val>
                                        </p:tav>
                                      </p:tavLst>
                                    </p:anim>
                                    <p:anim calcmode="lin" valueType="num">
                                      <p:cBhvr additive="base">
                                        <p:cTn id="8" dur="1000" fill="hold"/>
                                        <p:tgtEl>
                                          <p:spTgt spid="5"/>
                                        </p:tgtEl>
                                        <p:attrNameLst>
                                          <p:attrName>ppt_y</p:attrName>
                                        </p:attrNameLst>
                                      </p:cBhvr>
                                      <p:tavLst>
                                        <p:tav tm="0">
                                          <p:val>
                                            <p:strVal val="#ppt_y"/>
                                          </p:val>
                                        </p:tav>
                                        <p:tav tm="100000">
                                          <p:val>
                                            <p:strVal val="#ppt_y"/>
                                          </p:val>
                                        </p:tav>
                                      </p:tavLst>
                                    </p:anim>
                                  </p:childTnLst>
                                </p:cTn>
                              </p:par>
                              <p:par>
                                <p:cTn id="9" presetID="2" presetClass="entr" presetSubtype="8" dur="1000" decel="100000" fill="hold" grpId="0" nodeType="withEffect">
                                  <p:stCondLst>
                                    <p:cond delay="250"/>
                                  </p:stCondLst>
                                  <p:childTnLst>
                                    <p:set>
                                      <p:cBhvr>
                                        <p:cTn id="10" dur="1" fill="hold">
                                          <p:stCondLst>
                                            <p:cond delay="0"/>
                                          </p:stCondLst>
                                        </p:cTn>
                                        <p:tgtEl>
                                          <p:spTgt spid="6"/>
                                        </p:tgtEl>
                                        <p:attrNameLst>
                                          <p:attrName>style.visibility</p:attrName>
                                        </p:attrNameLst>
                                      </p:cBhvr>
                                      <p:to>
                                        <p:strVal val="visible"/>
                                      </p:to>
                                    </p:set>
                                    <p:anim calcmode="lin" valueType="num">
                                      <p:cBhvr additive="base">
                                        <p:cTn id="11" dur="1000" fill="hold"/>
                                        <p:tgtEl>
                                          <p:spTgt spid="6"/>
                                        </p:tgtEl>
                                        <p:attrNameLst>
                                          <p:attrName>ppt_x</p:attrName>
                                        </p:attrNameLst>
                                      </p:cBhvr>
                                      <p:tavLst>
                                        <p:tav tm="0">
                                          <p:val>
                                            <p:strVal val="0-#ppt_w/2"/>
                                          </p:val>
                                        </p:tav>
                                        <p:tav tm="100000">
                                          <p:val>
                                            <p:strVal val="#ppt_x"/>
                                          </p:val>
                                        </p:tav>
                                      </p:tavLst>
                                    </p:anim>
                                    <p:anim calcmode="lin" valueType="num">
                                      <p:cBhvr additive="base">
                                        <p:cTn id="12" dur="10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tmplLst>
          <p:tmpl>
            <p:tnLst>
              <p:par>
                <p:cTn presetID="2" presetClass="entr" presetSubtype="8" decel="100000" fill="hold" nodeType="withEffect">
                  <p:stCondLst>
                    <p:cond delay="250"/>
                  </p:stCondLst>
                  <p:childTnLst>
                    <p:set>
                      <p:cBhvr>
                        <p:cTn dur="1" fill="hold">
                          <p:stCondLst>
                            <p:cond delay="0"/>
                          </p:stCondLst>
                        </p:cTn>
                        <p:tgtEl>
                          <p:spTgt spid="6"/>
                        </p:tgtEl>
                        <p:attrNameLst>
                          <p:attrName>style.visibility</p:attrName>
                        </p:attrNameLst>
                      </p:cBhvr>
                      <p:to>
                        <p:strVal val="visible"/>
                      </p:to>
                    </p:set>
                    <p:anim calcmode="lin" valueType="num">
                      <p:cBhvr additive="base">
                        <p:cTn dur="1000" fill="hold"/>
                        <p:tgtEl>
                          <p:spTgt spid="6"/>
                        </p:tgtEl>
                        <p:attrNameLst>
                          <p:attrName>ppt_x</p:attrName>
                        </p:attrNameLst>
                      </p:cBhvr>
                      <p:tavLst>
                        <p:tav tm="0">
                          <p:val>
                            <p:strVal val="0-#ppt_w/2"/>
                          </p:val>
                        </p:tav>
                        <p:tav tm="100000">
                          <p:val>
                            <p:strVal val="#ppt_x"/>
                          </p:val>
                        </p:tav>
                      </p:tavLst>
                    </p:anim>
                    <p:anim calcmode="lin" valueType="num">
                      <p:cBhvr additive="base">
                        <p:cTn dur="1000" fill="hold"/>
                        <p:tgtEl>
                          <p:spTgt spid="6"/>
                        </p:tgtEl>
                        <p:attrNameLst>
                          <p:attrName>ppt_y</p:attrName>
                        </p:attrNameLst>
                      </p:cBhvr>
                      <p:tavLst>
                        <p:tav tm="0">
                          <p:val>
                            <p:strVal val="#ppt_y"/>
                          </p:val>
                        </p:tav>
                        <p:tav tm="100000">
                          <p:val>
                            <p:strVal val="#ppt_y"/>
                          </p:val>
                        </p:tav>
                      </p:tavLst>
                    </p:anim>
                  </p:childTnLst>
                </p:cTn>
              </p:par>
            </p:tnLst>
          </p:tmpl>
        </p:tmplLst>
      </p:bldP>
    </p:bldLst>
  </p:timing>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CONFIDENTIAL">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BB973BE-E0DA-45F8-BC82-0F611BE84BD1}"/>
              </a:ext>
            </a:extLst>
          </p:cNvPr>
          <p:cNvSpPr>
            <a:spLocks noGrp="1"/>
          </p:cNvSpPr>
          <p:nvPr>
            <p:ph type="sldNum" sz="quarter" idx="10"/>
          </p:nvPr>
        </p:nvSpPr>
        <p:spPr/>
        <p:txBody>
          <a:bodyPr/>
          <a:lstStyle/>
          <a:p>
            <a:fld id="{A04BEB4F-8CE1-4F18-986F-6CE0A0BE9470}" type="slidenum">
              <a:rPr lang="de-DE" smtClean="0"/>
              <a:t>‹#›</a:t>
            </a:fld>
            <a:endParaRPr lang="de-DE"/>
          </a:p>
        </p:txBody>
      </p:sp>
      <p:sp>
        <p:nvSpPr>
          <p:cNvPr id="4" name="TextBox 32">
            <a:extLst>
              <a:ext uri="{FF2B5EF4-FFF2-40B4-BE49-F238E27FC236}">
                <a16:creationId xmlns:a16="http://schemas.microsoft.com/office/drawing/2014/main" id="{3E84B393-626E-4D99-ACD8-BED1AA75251B}"/>
              </a:ext>
            </a:extLst>
          </p:cNvPr>
          <p:cNvSpPr txBox="1"/>
          <p:nvPr userDrawn="1"/>
        </p:nvSpPr>
        <p:spPr>
          <a:xfrm rot="16200000">
            <a:off x="-347151" y="3510426"/>
            <a:ext cx="1243930" cy="180049"/>
          </a:xfrm>
          <a:prstGeom prst="rect">
            <a:avLst/>
          </a:prstGeom>
          <a:noFill/>
          <a:ln w="9525">
            <a:noFill/>
          </a:ln>
        </p:spPr>
        <p:txBody>
          <a:bodyPr vert="horz" wrap="none" lIns="0" tIns="0" rIns="0" bIns="0" rtlCol="0">
            <a:spAutoFit/>
          </a:bodyPr>
          <a:lstStyle/>
          <a:p>
            <a:pPr algn="ctr">
              <a:lnSpc>
                <a:spcPct val="90000"/>
              </a:lnSpc>
              <a:spcBef>
                <a:spcPts val="400"/>
              </a:spcBef>
              <a:buClr>
                <a:srgbClr val="000000"/>
              </a:buClr>
              <a:buSzTx/>
            </a:pPr>
            <a:r>
              <a:rPr lang="de-DE" sz="1300" b="1" noProof="0">
                <a:solidFill>
                  <a:srgbClr val="E32119"/>
                </a:solidFill>
                <a:latin typeface="+mj-lt"/>
                <a:cs typeface="Arial Narrow" pitchFamily="34" charset="0"/>
              </a:rPr>
              <a:t>CONFIDENTIAL</a:t>
            </a:r>
          </a:p>
        </p:txBody>
      </p:sp>
      <p:sp>
        <p:nvSpPr>
          <p:cNvPr id="6" name="Inhaltsplatzhalter 5">
            <a:extLst>
              <a:ext uri="{FF2B5EF4-FFF2-40B4-BE49-F238E27FC236}">
                <a16:creationId xmlns:a16="http://schemas.microsoft.com/office/drawing/2014/main" id="{7F103B78-7FB8-46CE-8228-331AE73E56D6}"/>
              </a:ext>
            </a:extLst>
          </p:cNvPr>
          <p:cNvSpPr>
            <a:spLocks noGrp="1"/>
          </p:cNvSpPr>
          <p:nvPr>
            <p:ph sz="quarter" idx="12"/>
          </p:nvPr>
        </p:nvSpPr>
        <p:spPr>
          <a:xfrm>
            <a:off x="815951" y="730250"/>
            <a:ext cx="10560096" cy="559200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Textplatzhalter 8">
            <a:extLst>
              <a:ext uri="{FF2B5EF4-FFF2-40B4-BE49-F238E27FC236}">
                <a16:creationId xmlns:a16="http://schemas.microsoft.com/office/drawing/2014/main" id="{6D6406EB-9EC5-4ACA-9546-6559B4EE2FEE}"/>
              </a:ext>
            </a:extLst>
          </p:cNvPr>
          <p:cNvSpPr>
            <a:spLocks noGrp="1"/>
          </p:cNvSpPr>
          <p:nvPr>
            <p:ph type="body" sz="quarter" idx="14" hasCustomPrompt="1"/>
          </p:nvPr>
        </p:nvSpPr>
        <p:spPr>
          <a:xfrm>
            <a:off x="6462713" y="172148"/>
            <a:ext cx="4305111" cy="363600"/>
          </a:xfrm>
        </p:spPr>
        <p:txBody>
          <a:bodyPr anchor="ctr">
            <a:normAutofit/>
          </a:bodyPr>
          <a:lstStyle>
            <a:lvl1pPr marL="0" indent="0" algn="r">
              <a:buFont typeface="Arial" panose="020B0604020202020204" pitchFamily="34" charset="0"/>
              <a:buNone/>
              <a:defRPr sz="1000" cap="all" spc="200" baseline="0">
                <a:solidFill>
                  <a:schemeClr val="accent3"/>
                </a:solidFill>
                <a:latin typeface="Roboto Bold" panose="02000000000000000000" pitchFamily="2" charset="0"/>
                <a:ea typeface="Roboto Bold" panose="02000000000000000000" pitchFamily="2" charset="0"/>
              </a:defRPr>
            </a:lvl1pPr>
          </a:lstStyle>
          <a:p>
            <a:pPr lvl="0"/>
            <a:r>
              <a:rPr lang="de-DE"/>
              <a:t>Index</a:t>
            </a:r>
          </a:p>
        </p:txBody>
      </p:sp>
    </p:spTree>
    <p:extLst>
      <p:ext uri="{BB962C8B-B14F-4D97-AF65-F5344CB8AC3E}">
        <p14:creationId xmlns:p14="http://schemas.microsoft.com/office/powerpoint/2010/main" val="2023067293"/>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8" dur="1000" decel="100000" fill="hold" grpId="0" nodeType="withEffect">
                                  <p:stCondLst>
                                    <p:cond delay="25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1000" fill="hold"/>
                                        <p:tgtEl>
                                          <p:spTgt spid="6"/>
                                        </p:tgtEl>
                                        <p:attrNameLst>
                                          <p:attrName>ppt_x</p:attrName>
                                        </p:attrNameLst>
                                      </p:cBhvr>
                                      <p:tavLst>
                                        <p:tav tm="0">
                                          <p:val>
                                            <p:strVal val="0-#ppt_w/2"/>
                                          </p:val>
                                        </p:tav>
                                        <p:tav tm="100000">
                                          <p:val>
                                            <p:strVal val="#ppt_x"/>
                                          </p:val>
                                        </p:tav>
                                      </p:tavLst>
                                    </p:anim>
                                    <p:anim calcmode="lin" valueType="num">
                                      <p:cBhvr additive="base">
                                        <p:cTn id="8" dur="10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tmplLst>
          <p:tmpl>
            <p:tnLst>
              <p:par>
                <p:cTn presetID="2" presetClass="entr" presetSubtype="8" decel="100000" fill="hold" nodeType="withEffect">
                  <p:stCondLst>
                    <p:cond delay="250"/>
                  </p:stCondLst>
                  <p:childTnLst>
                    <p:set>
                      <p:cBhvr>
                        <p:cTn dur="1" fill="hold">
                          <p:stCondLst>
                            <p:cond delay="0"/>
                          </p:stCondLst>
                        </p:cTn>
                        <p:tgtEl>
                          <p:spTgt spid="6"/>
                        </p:tgtEl>
                        <p:attrNameLst>
                          <p:attrName>style.visibility</p:attrName>
                        </p:attrNameLst>
                      </p:cBhvr>
                      <p:to>
                        <p:strVal val="visible"/>
                      </p:to>
                    </p:set>
                    <p:anim calcmode="lin" valueType="num">
                      <p:cBhvr additive="base">
                        <p:cTn dur="1000" fill="hold"/>
                        <p:tgtEl>
                          <p:spTgt spid="6"/>
                        </p:tgtEl>
                        <p:attrNameLst>
                          <p:attrName>ppt_x</p:attrName>
                        </p:attrNameLst>
                      </p:cBhvr>
                      <p:tavLst>
                        <p:tav tm="0">
                          <p:val>
                            <p:strVal val="0-#ppt_w/2"/>
                          </p:val>
                        </p:tav>
                        <p:tav tm="100000">
                          <p:val>
                            <p:strVal val="#ppt_x"/>
                          </p:val>
                        </p:tav>
                      </p:tavLst>
                    </p:anim>
                    <p:anim calcmode="lin" valueType="num">
                      <p:cBhvr additive="base">
                        <p:cTn dur="1000" fill="hold"/>
                        <p:tgtEl>
                          <p:spTgt spid="6"/>
                        </p:tgtEl>
                        <p:attrNameLst>
                          <p:attrName>ppt_y</p:attrName>
                        </p:attrNameLst>
                      </p:cBhvr>
                      <p:tavLst>
                        <p:tav tm="0">
                          <p:val>
                            <p:strVal val="#ppt_y"/>
                          </p:val>
                        </p:tav>
                        <p:tav tm="100000">
                          <p:val>
                            <p:strVal val="#ppt_y"/>
                          </p:val>
                        </p:tav>
                      </p:tavLst>
                    </p:anim>
                  </p:childTnLst>
                </p:cTn>
              </p:par>
            </p:tnLst>
          </p:tmpl>
        </p:tmplLst>
      </p:bldP>
    </p:bldLst>
  </p:timing>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STRICTLY CONFIDENTIAL with headlin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BB973BE-E0DA-45F8-BC82-0F611BE84BD1}"/>
              </a:ext>
            </a:extLst>
          </p:cNvPr>
          <p:cNvSpPr>
            <a:spLocks noGrp="1"/>
          </p:cNvSpPr>
          <p:nvPr>
            <p:ph type="sldNum" sz="quarter" idx="10"/>
          </p:nvPr>
        </p:nvSpPr>
        <p:spPr/>
        <p:txBody>
          <a:bodyPr/>
          <a:lstStyle/>
          <a:p>
            <a:fld id="{A04BEB4F-8CE1-4F18-986F-6CE0A0BE9470}" type="slidenum">
              <a:rPr lang="de-DE" smtClean="0"/>
              <a:t>‹#›</a:t>
            </a:fld>
            <a:endParaRPr lang="de-DE"/>
          </a:p>
        </p:txBody>
      </p:sp>
      <p:sp>
        <p:nvSpPr>
          <p:cNvPr id="4" name="TextBox 32">
            <a:extLst>
              <a:ext uri="{FF2B5EF4-FFF2-40B4-BE49-F238E27FC236}">
                <a16:creationId xmlns:a16="http://schemas.microsoft.com/office/drawing/2014/main" id="{B5E247E6-9C02-45E3-A547-02C506DDBE07}"/>
              </a:ext>
            </a:extLst>
          </p:cNvPr>
          <p:cNvSpPr txBox="1"/>
          <p:nvPr userDrawn="1"/>
        </p:nvSpPr>
        <p:spPr>
          <a:xfrm rot="16200000">
            <a:off x="-764733" y="3510426"/>
            <a:ext cx="2079095" cy="180049"/>
          </a:xfrm>
          <a:prstGeom prst="rect">
            <a:avLst/>
          </a:prstGeom>
          <a:noFill/>
          <a:ln w="9525">
            <a:noFill/>
          </a:ln>
        </p:spPr>
        <p:txBody>
          <a:bodyPr vert="horz" wrap="none" lIns="0" tIns="0" rIns="0" bIns="0" rtlCol="0">
            <a:spAutoFit/>
          </a:bodyPr>
          <a:lstStyle/>
          <a:p>
            <a:pPr algn="ctr">
              <a:lnSpc>
                <a:spcPct val="90000"/>
              </a:lnSpc>
              <a:spcBef>
                <a:spcPts val="400"/>
              </a:spcBef>
              <a:buClr>
                <a:srgbClr val="000000"/>
              </a:buClr>
              <a:buSzTx/>
            </a:pPr>
            <a:r>
              <a:rPr lang="de-DE" sz="1300" b="1" noProof="0">
                <a:solidFill>
                  <a:srgbClr val="E32119"/>
                </a:solidFill>
                <a:latin typeface="+mj-lt"/>
                <a:cs typeface="Arial Narrow" pitchFamily="34" charset="0"/>
              </a:rPr>
              <a:t>STRICTLY CONFIDENTIAL</a:t>
            </a:r>
          </a:p>
        </p:txBody>
      </p:sp>
      <p:sp>
        <p:nvSpPr>
          <p:cNvPr id="5" name="Titel 1">
            <a:extLst>
              <a:ext uri="{FF2B5EF4-FFF2-40B4-BE49-F238E27FC236}">
                <a16:creationId xmlns:a16="http://schemas.microsoft.com/office/drawing/2014/main" id="{E36E7917-7CCB-4CB7-879F-E2A834E3F22D}"/>
              </a:ext>
            </a:extLst>
          </p:cNvPr>
          <p:cNvSpPr>
            <a:spLocks noGrp="1"/>
          </p:cNvSpPr>
          <p:nvPr>
            <p:ph type="title"/>
          </p:nvPr>
        </p:nvSpPr>
        <p:spPr>
          <a:xfrm>
            <a:off x="815952" y="733402"/>
            <a:ext cx="10560096" cy="767737"/>
          </a:xfrm>
        </p:spPr>
        <p:txBody>
          <a:bodyPr/>
          <a:lstStyle>
            <a:lvl1pPr>
              <a:lnSpc>
                <a:spcPct val="100000"/>
              </a:lnSpc>
              <a:defRPr/>
            </a:lvl1pPr>
          </a:lstStyle>
          <a:p>
            <a:r>
              <a:rPr lang="de-DE"/>
              <a:t>Mastertitelformat bearbeiten</a:t>
            </a:r>
          </a:p>
        </p:txBody>
      </p:sp>
      <p:sp>
        <p:nvSpPr>
          <p:cNvPr id="6" name="Inhaltsplatzhalter 5">
            <a:extLst>
              <a:ext uri="{FF2B5EF4-FFF2-40B4-BE49-F238E27FC236}">
                <a16:creationId xmlns:a16="http://schemas.microsoft.com/office/drawing/2014/main" id="{58965A59-EA23-4443-A22E-9428FB3359A3}"/>
              </a:ext>
            </a:extLst>
          </p:cNvPr>
          <p:cNvSpPr>
            <a:spLocks noGrp="1"/>
          </p:cNvSpPr>
          <p:nvPr>
            <p:ph sz="quarter" idx="12"/>
          </p:nvPr>
        </p:nvSpPr>
        <p:spPr>
          <a:xfrm>
            <a:off x="815951" y="1975612"/>
            <a:ext cx="10560096" cy="434664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Textplatzhalter 8">
            <a:extLst>
              <a:ext uri="{FF2B5EF4-FFF2-40B4-BE49-F238E27FC236}">
                <a16:creationId xmlns:a16="http://schemas.microsoft.com/office/drawing/2014/main" id="{0F722F24-B3A6-4F94-AD68-C01BDFF1F2F5}"/>
              </a:ext>
            </a:extLst>
          </p:cNvPr>
          <p:cNvSpPr>
            <a:spLocks noGrp="1"/>
          </p:cNvSpPr>
          <p:nvPr>
            <p:ph type="body" sz="quarter" idx="14" hasCustomPrompt="1"/>
          </p:nvPr>
        </p:nvSpPr>
        <p:spPr>
          <a:xfrm>
            <a:off x="6462713" y="172148"/>
            <a:ext cx="4305111" cy="363600"/>
          </a:xfrm>
        </p:spPr>
        <p:txBody>
          <a:bodyPr anchor="ctr">
            <a:normAutofit/>
          </a:bodyPr>
          <a:lstStyle>
            <a:lvl1pPr marL="0" indent="0" algn="r">
              <a:buFont typeface="Arial" panose="020B0604020202020204" pitchFamily="34" charset="0"/>
              <a:buNone/>
              <a:defRPr sz="1000" cap="all" spc="200" baseline="0">
                <a:solidFill>
                  <a:schemeClr val="accent3"/>
                </a:solidFill>
                <a:latin typeface="Roboto Bold" panose="02000000000000000000" pitchFamily="2" charset="0"/>
                <a:ea typeface="Roboto Bold" panose="02000000000000000000" pitchFamily="2" charset="0"/>
              </a:defRPr>
            </a:lvl1pPr>
          </a:lstStyle>
          <a:p>
            <a:pPr lvl="0"/>
            <a:r>
              <a:rPr lang="de-DE"/>
              <a:t>Index</a:t>
            </a:r>
          </a:p>
        </p:txBody>
      </p:sp>
    </p:spTree>
    <p:extLst>
      <p:ext uri="{BB962C8B-B14F-4D97-AF65-F5344CB8AC3E}">
        <p14:creationId xmlns:p14="http://schemas.microsoft.com/office/powerpoint/2010/main" val="2450180204"/>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8" dur="1000" decel="10000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000" fill="hold"/>
                                        <p:tgtEl>
                                          <p:spTgt spid="5"/>
                                        </p:tgtEl>
                                        <p:attrNameLst>
                                          <p:attrName>ppt_x</p:attrName>
                                        </p:attrNameLst>
                                      </p:cBhvr>
                                      <p:tavLst>
                                        <p:tav tm="0">
                                          <p:val>
                                            <p:strVal val="0-#ppt_w/2"/>
                                          </p:val>
                                        </p:tav>
                                        <p:tav tm="100000">
                                          <p:val>
                                            <p:strVal val="#ppt_x"/>
                                          </p:val>
                                        </p:tav>
                                      </p:tavLst>
                                    </p:anim>
                                    <p:anim calcmode="lin" valueType="num">
                                      <p:cBhvr additive="base">
                                        <p:cTn id="8" dur="1000" fill="hold"/>
                                        <p:tgtEl>
                                          <p:spTgt spid="5"/>
                                        </p:tgtEl>
                                        <p:attrNameLst>
                                          <p:attrName>ppt_y</p:attrName>
                                        </p:attrNameLst>
                                      </p:cBhvr>
                                      <p:tavLst>
                                        <p:tav tm="0">
                                          <p:val>
                                            <p:strVal val="#ppt_y"/>
                                          </p:val>
                                        </p:tav>
                                        <p:tav tm="100000">
                                          <p:val>
                                            <p:strVal val="#ppt_y"/>
                                          </p:val>
                                        </p:tav>
                                      </p:tavLst>
                                    </p:anim>
                                  </p:childTnLst>
                                </p:cTn>
                              </p:par>
                              <p:par>
                                <p:cTn id="9" presetID="2" presetClass="entr" presetSubtype="8" dur="1000" decel="100000" fill="hold" grpId="0" nodeType="withEffect">
                                  <p:stCondLst>
                                    <p:cond delay="250"/>
                                  </p:stCondLst>
                                  <p:childTnLst>
                                    <p:set>
                                      <p:cBhvr>
                                        <p:cTn id="10" dur="1" fill="hold">
                                          <p:stCondLst>
                                            <p:cond delay="0"/>
                                          </p:stCondLst>
                                        </p:cTn>
                                        <p:tgtEl>
                                          <p:spTgt spid="6"/>
                                        </p:tgtEl>
                                        <p:attrNameLst>
                                          <p:attrName>style.visibility</p:attrName>
                                        </p:attrNameLst>
                                      </p:cBhvr>
                                      <p:to>
                                        <p:strVal val="visible"/>
                                      </p:to>
                                    </p:set>
                                    <p:anim calcmode="lin" valueType="num">
                                      <p:cBhvr additive="base">
                                        <p:cTn id="11" dur="1000" fill="hold"/>
                                        <p:tgtEl>
                                          <p:spTgt spid="6"/>
                                        </p:tgtEl>
                                        <p:attrNameLst>
                                          <p:attrName>ppt_x</p:attrName>
                                        </p:attrNameLst>
                                      </p:cBhvr>
                                      <p:tavLst>
                                        <p:tav tm="0">
                                          <p:val>
                                            <p:strVal val="0-#ppt_w/2"/>
                                          </p:val>
                                        </p:tav>
                                        <p:tav tm="100000">
                                          <p:val>
                                            <p:strVal val="#ppt_x"/>
                                          </p:val>
                                        </p:tav>
                                      </p:tavLst>
                                    </p:anim>
                                    <p:anim calcmode="lin" valueType="num">
                                      <p:cBhvr additive="base">
                                        <p:cTn id="12" dur="10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tmplLst>
          <p:tmpl>
            <p:tnLst>
              <p:par>
                <p:cTn presetID="2" presetClass="entr" presetSubtype="8" decel="100000" fill="hold" nodeType="withEffect">
                  <p:stCondLst>
                    <p:cond delay="250"/>
                  </p:stCondLst>
                  <p:childTnLst>
                    <p:set>
                      <p:cBhvr>
                        <p:cTn dur="1" fill="hold">
                          <p:stCondLst>
                            <p:cond delay="0"/>
                          </p:stCondLst>
                        </p:cTn>
                        <p:tgtEl>
                          <p:spTgt spid="6"/>
                        </p:tgtEl>
                        <p:attrNameLst>
                          <p:attrName>style.visibility</p:attrName>
                        </p:attrNameLst>
                      </p:cBhvr>
                      <p:to>
                        <p:strVal val="visible"/>
                      </p:to>
                    </p:set>
                    <p:anim calcmode="lin" valueType="num">
                      <p:cBhvr additive="base">
                        <p:cTn dur="1000" fill="hold"/>
                        <p:tgtEl>
                          <p:spTgt spid="6"/>
                        </p:tgtEl>
                        <p:attrNameLst>
                          <p:attrName>ppt_x</p:attrName>
                        </p:attrNameLst>
                      </p:cBhvr>
                      <p:tavLst>
                        <p:tav tm="0">
                          <p:val>
                            <p:strVal val="0-#ppt_w/2"/>
                          </p:val>
                        </p:tav>
                        <p:tav tm="100000">
                          <p:val>
                            <p:strVal val="#ppt_x"/>
                          </p:val>
                        </p:tav>
                      </p:tavLst>
                    </p:anim>
                    <p:anim calcmode="lin" valueType="num">
                      <p:cBhvr additive="base">
                        <p:cTn dur="1000" fill="hold"/>
                        <p:tgtEl>
                          <p:spTgt spid="6"/>
                        </p:tgtEl>
                        <p:attrNameLst>
                          <p:attrName>ppt_y</p:attrName>
                        </p:attrNameLst>
                      </p:cBhvr>
                      <p:tavLst>
                        <p:tav tm="0">
                          <p:val>
                            <p:strVal val="#ppt_y"/>
                          </p:val>
                        </p:tav>
                        <p:tav tm="100000">
                          <p:val>
                            <p:strVal val="#ppt_y"/>
                          </p:val>
                        </p:tav>
                      </p:tavLst>
                    </p:anim>
                  </p:childTnLst>
                </p:cTn>
              </p:par>
            </p:tnLst>
          </p:tmpl>
        </p:tmplLst>
      </p:bldP>
    </p:bldLst>
  </p:timing>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STRICTLY CONFIDENTIAL">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BB973BE-E0DA-45F8-BC82-0F611BE84BD1}"/>
              </a:ext>
            </a:extLst>
          </p:cNvPr>
          <p:cNvSpPr>
            <a:spLocks noGrp="1"/>
          </p:cNvSpPr>
          <p:nvPr>
            <p:ph type="sldNum" sz="quarter" idx="10"/>
          </p:nvPr>
        </p:nvSpPr>
        <p:spPr/>
        <p:txBody>
          <a:bodyPr/>
          <a:lstStyle/>
          <a:p>
            <a:fld id="{A04BEB4F-8CE1-4F18-986F-6CE0A0BE9470}" type="slidenum">
              <a:rPr lang="de-DE" smtClean="0"/>
              <a:t>‹#›</a:t>
            </a:fld>
            <a:endParaRPr lang="de-DE"/>
          </a:p>
        </p:txBody>
      </p:sp>
      <p:sp>
        <p:nvSpPr>
          <p:cNvPr id="4" name="TextBox 32">
            <a:extLst>
              <a:ext uri="{FF2B5EF4-FFF2-40B4-BE49-F238E27FC236}">
                <a16:creationId xmlns:a16="http://schemas.microsoft.com/office/drawing/2014/main" id="{B5E247E6-9C02-45E3-A547-02C506DDBE07}"/>
              </a:ext>
            </a:extLst>
          </p:cNvPr>
          <p:cNvSpPr txBox="1"/>
          <p:nvPr userDrawn="1"/>
        </p:nvSpPr>
        <p:spPr>
          <a:xfrm rot="16200000">
            <a:off x="-764733" y="3510426"/>
            <a:ext cx="2079095" cy="180049"/>
          </a:xfrm>
          <a:prstGeom prst="rect">
            <a:avLst/>
          </a:prstGeom>
          <a:noFill/>
          <a:ln w="9525">
            <a:noFill/>
          </a:ln>
        </p:spPr>
        <p:txBody>
          <a:bodyPr vert="horz" wrap="none" lIns="0" tIns="0" rIns="0" bIns="0" rtlCol="0">
            <a:spAutoFit/>
          </a:bodyPr>
          <a:lstStyle/>
          <a:p>
            <a:pPr algn="ctr">
              <a:lnSpc>
                <a:spcPct val="90000"/>
              </a:lnSpc>
              <a:spcBef>
                <a:spcPts val="400"/>
              </a:spcBef>
              <a:buClr>
                <a:srgbClr val="000000"/>
              </a:buClr>
              <a:buSzTx/>
            </a:pPr>
            <a:r>
              <a:rPr lang="de-DE" sz="1300" b="1" noProof="0">
                <a:solidFill>
                  <a:srgbClr val="E32119"/>
                </a:solidFill>
                <a:latin typeface="+mj-lt"/>
                <a:cs typeface="Arial Narrow" pitchFamily="34" charset="0"/>
              </a:rPr>
              <a:t>STRICTLY CONFIDENTIAL</a:t>
            </a:r>
          </a:p>
        </p:txBody>
      </p:sp>
      <p:sp>
        <p:nvSpPr>
          <p:cNvPr id="6" name="Inhaltsplatzhalter 5">
            <a:extLst>
              <a:ext uri="{FF2B5EF4-FFF2-40B4-BE49-F238E27FC236}">
                <a16:creationId xmlns:a16="http://schemas.microsoft.com/office/drawing/2014/main" id="{58965A59-EA23-4443-A22E-9428FB3359A3}"/>
              </a:ext>
            </a:extLst>
          </p:cNvPr>
          <p:cNvSpPr>
            <a:spLocks noGrp="1"/>
          </p:cNvSpPr>
          <p:nvPr>
            <p:ph sz="quarter" idx="12"/>
          </p:nvPr>
        </p:nvSpPr>
        <p:spPr>
          <a:xfrm>
            <a:off x="815951" y="730250"/>
            <a:ext cx="10560096" cy="559200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Textplatzhalter 8">
            <a:extLst>
              <a:ext uri="{FF2B5EF4-FFF2-40B4-BE49-F238E27FC236}">
                <a16:creationId xmlns:a16="http://schemas.microsoft.com/office/drawing/2014/main" id="{8F5F2F1C-68B2-4CD7-802A-1994D4523A6B}"/>
              </a:ext>
            </a:extLst>
          </p:cNvPr>
          <p:cNvSpPr>
            <a:spLocks noGrp="1"/>
          </p:cNvSpPr>
          <p:nvPr>
            <p:ph type="body" sz="quarter" idx="14" hasCustomPrompt="1"/>
          </p:nvPr>
        </p:nvSpPr>
        <p:spPr>
          <a:xfrm>
            <a:off x="6462713" y="172148"/>
            <a:ext cx="4305111" cy="363600"/>
          </a:xfrm>
        </p:spPr>
        <p:txBody>
          <a:bodyPr anchor="ctr">
            <a:normAutofit/>
          </a:bodyPr>
          <a:lstStyle>
            <a:lvl1pPr marL="0" indent="0" algn="r">
              <a:buFont typeface="Arial" panose="020B0604020202020204" pitchFamily="34" charset="0"/>
              <a:buNone/>
              <a:defRPr sz="1000" cap="all" spc="200" baseline="0">
                <a:solidFill>
                  <a:schemeClr val="accent3"/>
                </a:solidFill>
                <a:latin typeface="Roboto Bold" panose="02000000000000000000" pitchFamily="2" charset="0"/>
                <a:ea typeface="Roboto Bold" panose="02000000000000000000" pitchFamily="2" charset="0"/>
              </a:defRPr>
            </a:lvl1pPr>
          </a:lstStyle>
          <a:p>
            <a:pPr lvl="0"/>
            <a:r>
              <a:rPr lang="de-DE"/>
              <a:t>Index</a:t>
            </a:r>
          </a:p>
        </p:txBody>
      </p:sp>
    </p:spTree>
    <p:extLst>
      <p:ext uri="{BB962C8B-B14F-4D97-AF65-F5344CB8AC3E}">
        <p14:creationId xmlns:p14="http://schemas.microsoft.com/office/powerpoint/2010/main" val="4236320640"/>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8" dur="1000" decel="100000" fill="hold" grpId="0" nodeType="withEffect">
                                  <p:stCondLst>
                                    <p:cond delay="25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1000" fill="hold"/>
                                        <p:tgtEl>
                                          <p:spTgt spid="6"/>
                                        </p:tgtEl>
                                        <p:attrNameLst>
                                          <p:attrName>ppt_x</p:attrName>
                                        </p:attrNameLst>
                                      </p:cBhvr>
                                      <p:tavLst>
                                        <p:tav tm="0">
                                          <p:val>
                                            <p:strVal val="0-#ppt_w/2"/>
                                          </p:val>
                                        </p:tav>
                                        <p:tav tm="100000">
                                          <p:val>
                                            <p:strVal val="#ppt_x"/>
                                          </p:val>
                                        </p:tav>
                                      </p:tavLst>
                                    </p:anim>
                                    <p:anim calcmode="lin" valueType="num">
                                      <p:cBhvr additive="base">
                                        <p:cTn id="8" dur="10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tmplLst>
          <p:tmpl>
            <p:tnLst>
              <p:par>
                <p:cTn presetID="2" presetClass="entr" presetSubtype="8" decel="100000" fill="hold" nodeType="withEffect">
                  <p:stCondLst>
                    <p:cond delay="250"/>
                  </p:stCondLst>
                  <p:childTnLst>
                    <p:set>
                      <p:cBhvr>
                        <p:cTn dur="1" fill="hold">
                          <p:stCondLst>
                            <p:cond delay="0"/>
                          </p:stCondLst>
                        </p:cTn>
                        <p:tgtEl>
                          <p:spTgt spid="6"/>
                        </p:tgtEl>
                        <p:attrNameLst>
                          <p:attrName>style.visibility</p:attrName>
                        </p:attrNameLst>
                      </p:cBhvr>
                      <p:to>
                        <p:strVal val="visible"/>
                      </p:to>
                    </p:set>
                    <p:anim calcmode="lin" valueType="num">
                      <p:cBhvr additive="base">
                        <p:cTn dur="1000" fill="hold"/>
                        <p:tgtEl>
                          <p:spTgt spid="6"/>
                        </p:tgtEl>
                        <p:attrNameLst>
                          <p:attrName>ppt_x</p:attrName>
                        </p:attrNameLst>
                      </p:cBhvr>
                      <p:tavLst>
                        <p:tav tm="0">
                          <p:val>
                            <p:strVal val="0-#ppt_w/2"/>
                          </p:val>
                        </p:tav>
                        <p:tav tm="100000">
                          <p:val>
                            <p:strVal val="#ppt_x"/>
                          </p:val>
                        </p:tav>
                      </p:tavLst>
                    </p:anim>
                    <p:anim calcmode="lin" valueType="num">
                      <p:cBhvr additive="base">
                        <p:cTn dur="1000" fill="hold"/>
                        <p:tgtEl>
                          <p:spTgt spid="6"/>
                        </p:tgtEl>
                        <p:attrNameLst>
                          <p:attrName>ppt_y</p:attrName>
                        </p:attrNameLst>
                      </p:cBhvr>
                      <p:tavLst>
                        <p:tav tm="0">
                          <p:val>
                            <p:strVal val="#ppt_y"/>
                          </p:val>
                        </p:tav>
                        <p:tav tm="100000">
                          <p:val>
                            <p:strVal val="#ppt_y"/>
                          </p:val>
                        </p:tav>
                      </p:tavLst>
                    </p:anim>
                  </p:childTnLst>
                </p:cTn>
              </p:par>
            </p:tnLst>
          </p:tmpl>
        </p:tmplLst>
      </p:bldP>
    </p:bld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2" name="Picture Placeholder 4">
            <a:extLst>
              <a:ext uri="{FF2B5EF4-FFF2-40B4-BE49-F238E27FC236}">
                <a16:creationId xmlns:a16="http://schemas.microsoft.com/office/drawing/2014/main" id="{CDD5BDAE-070D-466F-9878-EB1BC2848ED8}"/>
              </a:ext>
            </a:extLst>
          </p:cNvPr>
          <p:cNvSpPr>
            <a:spLocks noGrp="1"/>
          </p:cNvSpPr>
          <p:nvPr>
            <p:ph type="pic" sz="quarter" idx="11"/>
          </p:nvPr>
        </p:nvSpPr>
        <p:spPr>
          <a:xfrm>
            <a:off x="812800" y="728662"/>
            <a:ext cx="10566400" cy="5589588"/>
          </a:xfrm>
          <a:custGeom>
            <a:avLst/>
            <a:gdLst>
              <a:gd name="connsiteX0" fmla="*/ 0 w 7829549"/>
              <a:gd name="connsiteY0" fmla="*/ 0 h 7543801"/>
              <a:gd name="connsiteX1" fmla="*/ 7829549 w 7829549"/>
              <a:gd name="connsiteY1" fmla="*/ 0 h 7543801"/>
              <a:gd name="connsiteX2" fmla="*/ 7829549 w 7829549"/>
              <a:gd name="connsiteY2" fmla="*/ 7543801 h 7543801"/>
              <a:gd name="connsiteX3" fmla="*/ 0 w 7829549"/>
              <a:gd name="connsiteY3" fmla="*/ 7543801 h 7543801"/>
            </a:gdLst>
            <a:ahLst/>
            <a:cxnLst>
              <a:cxn ang="0">
                <a:pos x="connsiteX0" y="connsiteY0"/>
              </a:cxn>
              <a:cxn ang="0">
                <a:pos x="connsiteX1" y="connsiteY1"/>
              </a:cxn>
              <a:cxn ang="0">
                <a:pos x="connsiteX2" y="connsiteY2"/>
              </a:cxn>
              <a:cxn ang="0">
                <a:pos x="connsiteX3" y="connsiteY3"/>
              </a:cxn>
            </a:cxnLst>
            <a:rect l="l" t="t" r="r" b="b"/>
            <a:pathLst>
              <a:path w="7829549" h="7543801">
                <a:moveTo>
                  <a:pt x="0" y="0"/>
                </a:moveTo>
                <a:lnTo>
                  <a:pt x="7829549" y="0"/>
                </a:lnTo>
                <a:lnTo>
                  <a:pt x="7829549" y="7543801"/>
                </a:lnTo>
                <a:lnTo>
                  <a:pt x="0" y="7543801"/>
                </a:ln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Tree>
    <p:extLst>
      <p:ext uri="{BB962C8B-B14F-4D97-AF65-F5344CB8AC3E}">
        <p14:creationId xmlns:p14="http://schemas.microsoft.com/office/powerpoint/2010/main" val="1614791196"/>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4" dur="2200" decel="10000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2200" fill="hold"/>
                                        <p:tgtEl>
                                          <p:spTgt spid="2"/>
                                        </p:tgtEl>
                                        <p:attrNameLst>
                                          <p:attrName>ppt_x</p:attrName>
                                        </p:attrNameLst>
                                      </p:cBhvr>
                                      <p:tavLst>
                                        <p:tav tm="0">
                                          <p:val>
                                            <p:strVal val="#ppt_x"/>
                                          </p:val>
                                        </p:tav>
                                        <p:tav tm="100000">
                                          <p:val>
                                            <p:strVal val="#ppt_x"/>
                                          </p:val>
                                        </p:tav>
                                      </p:tavLst>
                                    </p:anim>
                                    <p:anim calcmode="lin" valueType="num">
                                      <p:cBhvr additive="base">
                                        <p:cTn id="8" dur="2200" fill="hold"/>
                                        <p:tgtEl>
                                          <p:spTgt spid="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extLst>
    <p:ext uri="{DCECCB84-F9BA-43D5-87BE-67443E8EF086}">
      <p15:sldGuideLst xmlns:p15="http://schemas.microsoft.com/office/powerpoint/2012/main">
        <p15:guide id="1" orient="horz" pos="4320">
          <p15:clr>
            <a:srgbClr val="FBAE40"/>
          </p15:clr>
        </p15:guide>
        <p15:guide id="2" pos="7681">
          <p15:clr>
            <a:srgbClr val="FBAE40"/>
          </p15:clr>
        </p15:guide>
        <p15:guide id="3" pos="985">
          <p15:clr>
            <a:srgbClr val="FBAE40"/>
          </p15:clr>
        </p15:guide>
        <p15:guide id="4" pos="14377">
          <p15:clr>
            <a:srgbClr val="FBAE4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WELCOME SLIDE">
    <p:spTree>
      <p:nvGrpSpPr>
        <p:cNvPr id="1" name=""/>
        <p:cNvGrpSpPr/>
        <p:nvPr/>
      </p:nvGrpSpPr>
      <p:grpSpPr>
        <a:xfrm>
          <a:off x="0" y="0"/>
          <a:ext cx="0" cy="0"/>
          <a:chOff x="0" y="0"/>
          <a:chExt cx="0" cy="0"/>
        </a:xfrm>
      </p:grpSpPr>
      <p:sp>
        <p:nvSpPr>
          <p:cNvPr id="33" name="Rechteck 32">
            <a:extLst>
              <a:ext uri="{FF2B5EF4-FFF2-40B4-BE49-F238E27FC236}">
                <a16:creationId xmlns:a16="http://schemas.microsoft.com/office/drawing/2014/main" id="{95791B20-6611-4BC3-9643-F8853AFBD8B7}"/>
              </a:ext>
            </a:extLst>
          </p:cNvPr>
          <p:cNvSpPr/>
          <p:nvPr userDrawn="1"/>
        </p:nvSpPr>
        <p:spPr>
          <a:xfrm>
            <a:off x="0" y="0"/>
            <a:ext cx="5772243" cy="990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5" name="Titel 1">
            <a:extLst>
              <a:ext uri="{FF2B5EF4-FFF2-40B4-BE49-F238E27FC236}">
                <a16:creationId xmlns:a16="http://schemas.microsoft.com/office/drawing/2014/main" id="{E49B6C10-9696-4A20-A390-BBF8A02CA45E}"/>
              </a:ext>
            </a:extLst>
          </p:cNvPr>
          <p:cNvSpPr>
            <a:spLocks noGrp="1"/>
          </p:cNvSpPr>
          <p:nvPr>
            <p:ph type="title" hasCustomPrompt="1"/>
          </p:nvPr>
        </p:nvSpPr>
        <p:spPr>
          <a:xfrm>
            <a:off x="815952" y="3728788"/>
            <a:ext cx="10560096" cy="1148012"/>
          </a:xfrm>
        </p:spPr>
        <p:txBody>
          <a:bodyPr anchor="t">
            <a:normAutofit/>
          </a:bodyPr>
          <a:lstStyle>
            <a:lvl1pPr algn="ctr">
              <a:lnSpc>
                <a:spcPct val="100000"/>
              </a:lnSpc>
              <a:defRPr sz="3600">
                <a:solidFill>
                  <a:schemeClr val="bg1"/>
                </a:solidFill>
              </a:defRPr>
            </a:lvl1pPr>
          </a:lstStyle>
          <a:p>
            <a:r>
              <a:rPr lang="de-DE"/>
              <a:t>Headline</a:t>
            </a:r>
          </a:p>
        </p:txBody>
      </p:sp>
    </p:spTree>
    <p:extLst>
      <p:ext uri="{BB962C8B-B14F-4D97-AF65-F5344CB8AC3E}">
        <p14:creationId xmlns:p14="http://schemas.microsoft.com/office/powerpoint/2010/main" val="1178201810"/>
      </p:ext>
    </p:extLst>
  </p:cSld>
  <p:clrMapOvr>
    <a:masterClrMapping/>
  </p:clrMapOvr>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5B327254-466C-4606-8589-BCC72CBDADDF}"/>
              </a:ext>
            </a:extLst>
          </p:cNvPr>
          <p:cNvSpPr>
            <a:spLocks noGrp="1"/>
          </p:cNvSpPr>
          <p:nvPr>
            <p:ph type="sldNum" sz="quarter" idx="10"/>
          </p:nvPr>
        </p:nvSpPr>
        <p:spPr/>
        <p:txBody>
          <a:bodyPr/>
          <a:lstStyle/>
          <a:p>
            <a:fld id="{A04BEB4F-8CE1-4F18-986F-6CE0A0BE9470}" type="slidenum">
              <a:rPr lang="de-DE" smtClean="0"/>
              <a:t>‹#›</a:t>
            </a:fld>
            <a:endParaRPr lang="de-DE"/>
          </a:p>
        </p:txBody>
      </p:sp>
      <p:sp>
        <p:nvSpPr>
          <p:cNvPr id="4" name="Textfeld 3">
            <a:extLst>
              <a:ext uri="{FF2B5EF4-FFF2-40B4-BE49-F238E27FC236}">
                <a16:creationId xmlns:a16="http://schemas.microsoft.com/office/drawing/2014/main" id="{1F1512C8-A5D3-4625-93D0-A51172C5F58F}"/>
              </a:ext>
            </a:extLst>
          </p:cNvPr>
          <p:cNvSpPr txBox="1"/>
          <p:nvPr userDrawn="1"/>
        </p:nvSpPr>
        <p:spPr>
          <a:xfrm>
            <a:off x="815951" y="1076602"/>
            <a:ext cx="2303253" cy="430887"/>
          </a:xfrm>
          <a:prstGeom prst="rect">
            <a:avLst/>
          </a:prstGeom>
          <a:noFill/>
        </p:spPr>
        <p:txBody>
          <a:bodyPr wrap="square" lIns="0" tIns="0" rIns="0" bIns="0" rtlCol="0">
            <a:spAutoFit/>
          </a:bodyPr>
          <a:lstStyle/>
          <a:p>
            <a:pPr algn="l"/>
            <a:r>
              <a:rPr lang="de-DE" sz="2800" kern="1200">
                <a:solidFill>
                  <a:schemeClr val="tx2"/>
                </a:solidFill>
                <a:latin typeface="+mj-lt"/>
                <a:ea typeface="+mj-ea"/>
                <a:cs typeface="+mj-cs"/>
              </a:rPr>
              <a:t>Agenda</a:t>
            </a:r>
          </a:p>
        </p:txBody>
      </p:sp>
      <p:sp>
        <p:nvSpPr>
          <p:cNvPr id="122" name="Freihandform: Form 121">
            <a:extLst>
              <a:ext uri="{FF2B5EF4-FFF2-40B4-BE49-F238E27FC236}">
                <a16:creationId xmlns:a16="http://schemas.microsoft.com/office/drawing/2014/main" id="{BC43029A-5265-4954-A3A5-CD3CB5C7478D}"/>
              </a:ext>
            </a:extLst>
          </p:cNvPr>
          <p:cNvSpPr/>
          <p:nvPr/>
        </p:nvSpPr>
        <p:spPr>
          <a:xfrm>
            <a:off x="11841261" y="4050916"/>
            <a:ext cx="347243" cy="376374"/>
          </a:xfrm>
          <a:custGeom>
            <a:avLst/>
            <a:gdLst>
              <a:gd name="connsiteX0" fmla="*/ 158473 w 347243"/>
              <a:gd name="connsiteY0" fmla="*/ 376375 h 376374"/>
              <a:gd name="connsiteX1" fmla="*/ 0 w 347243"/>
              <a:gd name="connsiteY1" fmla="*/ 376375 h 376374"/>
              <a:gd name="connsiteX2" fmla="*/ 185274 w 347243"/>
              <a:gd name="connsiteY2" fmla="*/ 189935 h 376374"/>
              <a:gd name="connsiteX3" fmla="*/ 0 w 347243"/>
              <a:gd name="connsiteY3" fmla="*/ 0 h 376374"/>
              <a:gd name="connsiteX4" fmla="*/ 161969 w 347243"/>
              <a:gd name="connsiteY4" fmla="*/ 0 h 376374"/>
              <a:gd name="connsiteX5" fmla="*/ 347244 w 347243"/>
              <a:gd name="connsiteY5" fmla="*/ 185274 h 376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7243" h="376374">
                <a:moveTo>
                  <a:pt x="158473" y="376375"/>
                </a:moveTo>
                <a:lnTo>
                  <a:pt x="0" y="376375"/>
                </a:lnTo>
                <a:lnTo>
                  <a:pt x="185274" y="189935"/>
                </a:lnTo>
                <a:lnTo>
                  <a:pt x="0" y="0"/>
                </a:lnTo>
                <a:lnTo>
                  <a:pt x="161969" y="0"/>
                </a:lnTo>
                <a:lnTo>
                  <a:pt x="347244" y="185274"/>
                </a:lnTo>
                <a:close/>
              </a:path>
            </a:pathLst>
          </a:custGeom>
          <a:solidFill>
            <a:srgbClr val="EEF2F5"/>
          </a:solidFill>
          <a:ln w="11643" cap="flat">
            <a:noFill/>
            <a:prstDash val="solid"/>
            <a:miter/>
          </a:ln>
        </p:spPr>
        <p:txBody>
          <a:bodyPr rtlCol="0" anchor="ctr"/>
          <a:lstStyle/>
          <a:p>
            <a:endParaRPr lang="de-DE"/>
          </a:p>
        </p:txBody>
      </p:sp>
      <p:sp>
        <p:nvSpPr>
          <p:cNvPr id="138" name="Freihandform: Form 137">
            <a:extLst>
              <a:ext uri="{FF2B5EF4-FFF2-40B4-BE49-F238E27FC236}">
                <a16:creationId xmlns:a16="http://schemas.microsoft.com/office/drawing/2014/main" id="{5B458F82-191F-4A0B-9761-26D447FE3BDA}"/>
              </a:ext>
            </a:extLst>
          </p:cNvPr>
          <p:cNvSpPr/>
          <p:nvPr/>
        </p:nvSpPr>
        <p:spPr>
          <a:xfrm>
            <a:off x="11841261" y="4405152"/>
            <a:ext cx="347243" cy="377540"/>
          </a:xfrm>
          <a:custGeom>
            <a:avLst/>
            <a:gdLst>
              <a:gd name="connsiteX0" fmla="*/ 158473 w 347243"/>
              <a:gd name="connsiteY0" fmla="*/ 377540 h 377540"/>
              <a:gd name="connsiteX1" fmla="*/ 0 w 347243"/>
              <a:gd name="connsiteY1" fmla="*/ 377540 h 377540"/>
              <a:gd name="connsiteX2" fmla="*/ 185274 w 347243"/>
              <a:gd name="connsiteY2" fmla="*/ 189935 h 377540"/>
              <a:gd name="connsiteX3" fmla="*/ 0 w 347243"/>
              <a:gd name="connsiteY3" fmla="*/ 0 h 377540"/>
              <a:gd name="connsiteX4" fmla="*/ 161969 w 347243"/>
              <a:gd name="connsiteY4" fmla="*/ 0 h 377540"/>
              <a:gd name="connsiteX5" fmla="*/ 347244 w 347243"/>
              <a:gd name="connsiteY5" fmla="*/ 185274 h 377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7243" h="377540">
                <a:moveTo>
                  <a:pt x="158473" y="377540"/>
                </a:moveTo>
                <a:lnTo>
                  <a:pt x="0" y="377540"/>
                </a:lnTo>
                <a:lnTo>
                  <a:pt x="185274" y="189935"/>
                </a:lnTo>
                <a:lnTo>
                  <a:pt x="0" y="0"/>
                </a:lnTo>
                <a:lnTo>
                  <a:pt x="161969" y="0"/>
                </a:lnTo>
                <a:lnTo>
                  <a:pt x="347244" y="185274"/>
                </a:lnTo>
                <a:close/>
              </a:path>
            </a:pathLst>
          </a:custGeom>
          <a:solidFill>
            <a:srgbClr val="EEF2F5"/>
          </a:solidFill>
          <a:ln w="11643" cap="flat">
            <a:noFill/>
            <a:prstDash val="solid"/>
            <a:miter/>
          </a:ln>
        </p:spPr>
        <p:txBody>
          <a:bodyPr rtlCol="0" anchor="ctr"/>
          <a:lstStyle/>
          <a:p>
            <a:endParaRPr lang="de-DE"/>
          </a:p>
        </p:txBody>
      </p:sp>
      <p:sp>
        <p:nvSpPr>
          <p:cNvPr id="105" name="Freihandform: Form 104">
            <a:extLst>
              <a:ext uri="{FF2B5EF4-FFF2-40B4-BE49-F238E27FC236}">
                <a16:creationId xmlns:a16="http://schemas.microsoft.com/office/drawing/2014/main" id="{5C4533A5-54AE-4D76-A4AF-E6486B2E759F}"/>
              </a:ext>
            </a:extLst>
          </p:cNvPr>
          <p:cNvSpPr/>
          <p:nvPr/>
        </p:nvSpPr>
        <p:spPr>
          <a:xfrm>
            <a:off x="11494017" y="3704837"/>
            <a:ext cx="330930" cy="358896"/>
          </a:xfrm>
          <a:custGeom>
            <a:avLst/>
            <a:gdLst>
              <a:gd name="connsiteX0" fmla="*/ 151482 w 330930"/>
              <a:gd name="connsiteY0" fmla="*/ 358896 h 358896"/>
              <a:gd name="connsiteX1" fmla="*/ 0 w 330930"/>
              <a:gd name="connsiteY1" fmla="*/ 358896 h 358896"/>
              <a:gd name="connsiteX2" fmla="*/ 177118 w 330930"/>
              <a:gd name="connsiteY2" fmla="*/ 180613 h 358896"/>
              <a:gd name="connsiteX3" fmla="*/ 0 w 330930"/>
              <a:gd name="connsiteY3" fmla="*/ 0 h 358896"/>
              <a:gd name="connsiteX4" fmla="*/ 154979 w 330930"/>
              <a:gd name="connsiteY4" fmla="*/ 0 h 358896"/>
              <a:gd name="connsiteX5" fmla="*/ 330931 w 330930"/>
              <a:gd name="connsiteY5" fmla="*/ 175953 h 358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930" h="358896">
                <a:moveTo>
                  <a:pt x="151482" y="358896"/>
                </a:moveTo>
                <a:lnTo>
                  <a:pt x="0" y="358896"/>
                </a:lnTo>
                <a:lnTo>
                  <a:pt x="177118" y="180613"/>
                </a:lnTo>
                <a:lnTo>
                  <a:pt x="0" y="0"/>
                </a:lnTo>
                <a:lnTo>
                  <a:pt x="154979" y="0"/>
                </a:lnTo>
                <a:lnTo>
                  <a:pt x="330931" y="175953"/>
                </a:lnTo>
                <a:close/>
              </a:path>
            </a:pathLst>
          </a:custGeom>
          <a:solidFill>
            <a:srgbClr val="EEF2F5"/>
          </a:solidFill>
          <a:ln w="11643" cap="flat">
            <a:noFill/>
            <a:prstDash val="solid"/>
            <a:miter/>
          </a:ln>
        </p:spPr>
        <p:txBody>
          <a:bodyPr rtlCol="0" anchor="ctr"/>
          <a:lstStyle/>
          <a:p>
            <a:endParaRPr lang="de-DE"/>
          </a:p>
        </p:txBody>
      </p:sp>
      <p:sp>
        <p:nvSpPr>
          <p:cNvPr id="121" name="Freihandform: Form 120">
            <a:extLst>
              <a:ext uri="{FF2B5EF4-FFF2-40B4-BE49-F238E27FC236}">
                <a16:creationId xmlns:a16="http://schemas.microsoft.com/office/drawing/2014/main" id="{2C765BDB-0971-4930-98E2-992157EFF29E}"/>
              </a:ext>
            </a:extLst>
          </p:cNvPr>
          <p:cNvSpPr/>
          <p:nvPr/>
        </p:nvSpPr>
        <p:spPr>
          <a:xfrm>
            <a:off x="11494017" y="4059073"/>
            <a:ext cx="330930" cy="360061"/>
          </a:xfrm>
          <a:custGeom>
            <a:avLst/>
            <a:gdLst>
              <a:gd name="connsiteX0" fmla="*/ 151482 w 330930"/>
              <a:gd name="connsiteY0" fmla="*/ 360062 h 360061"/>
              <a:gd name="connsiteX1" fmla="*/ 0 w 330930"/>
              <a:gd name="connsiteY1" fmla="*/ 360062 h 360061"/>
              <a:gd name="connsiteX2" fmla="*/ 177118 w 330930"/>
              <a:gd name="connsiteY2" fmla="*/ 181779 h 360061"/>
              <a:gd name="connsiteX3" fmla="*/ 0 w 330930"/>
              <a:gd name="connsiteY3" fmla="*/ 0 h 360061"/>
              <a:gd name="connsiteX4" fmla="*/ 154979 w 330930"/>
              <a:gd name="connsiteY4" fmla="*/ 0 h 360061"/>
              <a:gd name="connsiteX5" fmla="*/ 330931 w 330930"/>
              <a:gd name="connsiteY5" fmla="*/ 177118 h 360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930" h="360061">
                <a:moveTo>
                  <a:pt x="151482" y="360062"/>
                </a:moveTo>
                <a:lnTo>
                  <a:pt x="0" y="360062"/>
                </a:lnTo>
                <a:lnTo>
                  <a:pt x="177118" y="181779"/>
                </a:lnTo>
                <a:lnTo>
                  <a:pt x="0" y="0"/>
                </a:lnTo>
                <a:lnTo>
                  <a:pt x="154979" y="0"/>
                </a:lnTo>
                <a:lnTo>
                  <a:pt x="330931" y="177118"/>
                </a:lnTo>
                <a:close/>
              </a:path>
            </a:pathLst>
          </a:custGeom>
          <a:solidFill>
            <a:srgbClr val="EEF2F5"/>
          </a:solidFill>
          <a:ln w="11643" cap="flat">
            <a:noFill/>
            <a:prstDash val="solid"/>
            <a:miter/>
          </a:ln>
        </p:spPr>
        <p:txBody>
          <a:bodyPr rtlCol="0" anchor="ctr"/>
          <a:lstStyle/>
          <a:p>
            <a:endParaRPr lang="de-DE"/>
          </a:p>
        </p:txBody>
      </p:sp>
      <p:sp>
        <p:nvSpPr>
          <p:cNvPr id="137" name="Freihandform: Form 136">
            <a:extLst>
              <a:ext uri="{FF2B5EF4-FFF2-40B4-BE49-F238E27FC236}">
                <a16:creationId xmlns:a16="http://schemas.microsoft.com/office/drawing/2014/main" id="{FFF7FEBD-DC05-4243-8288-65567FB9B1FC}"/>
              </a:ext>
            </a:extLst>
          </p:cNvPr>
          <p:cNvSpPr/>
          <p:nvPr/>
        </p:nvSpPr>
        <p:spPr>
          <a:xfrm>
            <a:off x="11494017" y="4414474"/>
            <a:ext cx="330930" cy="358896"/>
          </a:xfrm>
          <a:custGeom>
            <a:avLst/>
            <a:gdLst>
              <a:gd name="connsiteX0" fmla="*/ 151482 w 330930"/>
              <a:gd name="connsiteY0" fmla="*/ 358896 h 358896"/>
              <a:gd name="connsiteX1" fmla="*/ 0 w 330930"/>
              <a:gd name="connsiteY1" fmla="*/ 358896 h 358896"/>
              <a:gd name="connsiteX2" fmla="*/ 177118 w 330930"/>
              <a:gd name="connsiteY2" fmla="*/ 180613 h 358896"/>
              <a:gd name="connsiteX3" fmla="*/ 0 w 330930"/>
              <a:gd name="connsiteY3" fmla="*/ 0 h 358896"/>
              <a:gd name="connsiteX4" fmla="*/ 154979 w 330930"/>
              <a:gd name="connsiteY4" fmla="*/ 0 h 358896"/>
              <a:gd name="connsiteX5" fmla="*/ 330931 w 330930"/>
              <a:gd name="connsiteY5" fmla="*/ 175952 h 358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930" h="358896">
                <a:moveTo>
                  <a:pt x="151482" y="358896"/>
                </a:moveTo>
                <a:lnTo>
                  <a:pt x="0" y="358896"/>
                </a:lnTo>
                <a:lnTo>
                  <a:pt x="177118" y="180613"/>
                </a:lnTo>
                <a:lnTo>
                  <a:pt x="0" y="0"/>
                </a:lnTo>
                <a:lnTo>
                  <a:pt x="154979" y="0"/>
                </a:lnTo>
                <a:lnTo>
                  <a:pt x="330931" y="175952"/>
                </a:lnTo>
                <a:close/>
              </a:path>
            </a:pathLst>
          </a:custGeom>
          <a:solidFill>
            <a:srgbClr val="EEF2F5"/>
          </a:solidFill>
          <a:ln w="11643" cap="flat">
            <a:noFill/>
            <a:prstDash val="solid"/>
            <a:miter/>
          </a:ln>
        </p:spPr>
        <p:txBody>
          <a:bodyPr rtlCol="0" anchor="ctr"/>
          <a:lstStyle/>
          <a:p>
            <a:endParaRPr lang="de-DE"/>
          </a:p>
        </p:txBody>
      </p:sp>
      <p:sp>
        <p:nvSpPr>
          <p:cNvPr id="154" name="Freihandform: Form 153">
            <a:extLst>
              <a:ext uri="{FF2B5EF4-FFF2-40B4-BE49-F238E27FC236}">
                <a16:creationId xmlns:a16="http://schemas.microsoft.com/office/drawing/2014/main" id="{46119847-314D-4401-B853-7CDAC232D928}"/>
              </a:ext>
            </a:extLst>
          </p:cNvPr>
          <p:cNvSpPr/>
          <p:nvPr/>
        </p:nvSpPr>
        <p:spPr>
          <a:xfrm>
            <a:off x="11494017" y="4768709"/>
            <a:ext cx="330930" cy="360061"/>
          </a:xfrm>
          <a:custGeom>
            <a:avLst/>
            <a:gdLst>
              <a:gd name="connsiteX0" fmla="*/ 151482 w 330930"/>
              <a:gd name="connsiteY0" fmla="*/ 360062 h 360061"/>
              <a:gd name="connsiteX1" fmla="*/ 0 w 330930"/>
              <a:gd name="connsiteY1" fmla="*/ 360062 h 360061"/>
              <a:gd name="connsiteX2" fmla="*/ 177118 w 330930"/>
              <a:gd name="connsiteY2" fmla="*/ 181779 h 360061"/>
              <a:gd name="connsiteX3" fmla="*/ 0 w 330930"/>
              <a:gd name="connsiteY3" fmla="*/ 0 h 360061"/>
              <a:gd name="connsiteX4" fmla="*/ 154979 w 330930"/>
              <a:gd name="connsiteY4" fmla="*/ 0 h 360061"/>
              <a:gd name="connsiteX5" fmla="*/ 330931 w 330930"/>
              <a:gd name="connsiteY5" fmla="*/ 177118 h 360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930" h="360061">
                <a:moveTo>
                  <a:pt x="151482" y="360062"/>
                </a:moveTo>
                <a:lnTo>
                  <a:pt x="0" y="360062"/>
                </a:lnTo>
                <a:lnTo>
                  <a:pt x="177118" y="181779"/>
                </a:lnTo>
                <a:lnTo>
                  <a:pt x="0" y="0"/>
                </a:lnTo>
                <a:lnTo>
                  <a:pt x="154979" y="0"/>
                </a:lnTo>
                <a:lnTo>
                  <a:pt x="330931" y="177118"/>
                </a:lnTo>
                <a:close/>
              </a:path>
            </a:pathLst>
          </a:custGeom>
          <a:solidFill>
            <a:srgbClr val="EEF2F5"/>
          </a:solidFill>
          <a:ln w="11643" cap="flat">
            <a:noFill/>
            <a:prstDash val="solid"/>
            <a:miter/>
          </a:ln>
        </p:spPr>
        <p:txBody>
          <a:bodyPr rtlCol="0" anchor="ctr"/>
          <a:lstStyle/>
          <a:p>
            <a:endParaRPr lang="de-DE"/>
          </a:p>
        </p:txBody>
      </p:sp>
      <p:sp>
        <p:nvSpPr>
          <p:cNvPr id="88" name="Freihandform: Form 87">
            <a:extLst>
              <a:ext uri="{FF2B5EF4-FFF2-40B4-BE49-F238E27FC236}">
                <a16:creationId xmlns:a16="http://schemas.microsoft.com/office/drawing/2014/main" id="{021EABD8-89C7-4331-9946-CAAC34E3DC2D}"/>
              </a:ext>
            </a:extLst>
          </p:cNvPr>
          <p:cNvSpPr/>
          <p:nvPr/>
        </p:nvSpPr>
        <p:spPr>
          <a:xfrm>
            <a:off x="11147939" y="3358759"/>
            <a:ext cx="314616" cy="341417"/>
          </a:xfrm>
          <a:custGeom>
            <a:avLst/>
            <a:gdLst>
              <a:gd name="connsiteX0" fmla="*/ 143325 w 314616"/>
              <a:gd name="connsiteY0" fmla="*/ 341418 h 341417"/>
              <a:gd name="connsiteX1" fmla="*/ 0 w 314616"/>
              <a:gd name="connsiteY1" fmla="*/ 341418 h 341417"/>
              <a:gd name="connsiteX2" fmla="*/ 167795 w 314616"/>
              <a:gd name="connsiteY2" fmla="*/ 172457 h 341417"/>
              <a:gd name="connsiteX3" fmla="*/ 0 w 314616"/>
              <a:gd name="connsiteY3" fmla="*/ 0 h 341417"/>
              <a:gd name="connsiteX4" fmla="*/ 146821 w 314616"/>
              <a:gd name="connsiteY4" fmla="*/ 0 h 341417"/>
              <a:gd name="connsiteX5" fmla="*/ 314617 w 314616"/>
              <a:gd name="connsiteY5" fmla="*/ 167796 h 341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4616" h="341417">
                <a:moveTo>
                  <a:pt x="143325" y="341418"/>
                </a:moveTo>
                <a:lnTo>
                  <a:pt x="0" y="341418"/>
                </a:lnTo>
                <a:lnTo>
                  <a:pt x="167795" y="172457"/>
                </a:lnTo>
                <a:lnTo>
                  <a:pt x="0" y="0"/>
                </a:lnTo>
                <a:lnTo>
                  <a:pt x="146821" y="0"/>
                </a:lnTo>
                <a:lnTo>
                  <a:pt x="314617" y="167796"/>
                </a:lnTo>
                <a:close/>
              </a:path>
            </a:pathLst>
          </a:custGeom>
          <a:solidFill>
            <a:srgbClr val="EEF2F5"/>
          </a:solidFill>
          <a:ln w="11643" cap="flat">
            <a:noFill/>
            <a:prstDash val="solid"/>
            <a:miter/>
          </a:ln>
        </p:spPr>
        <p:txBody>
          <a:bodyPr rtlCol="0" anchor="ctr"/>
          <a:lstStyle/>
          <a:p>
            <a:endParaRPr lang="de-DE"/>
          </a:p>
        </p:txBody>
      </p:sp>
      <p:sp>
        <p:nvSpPr>
          <p:cNvPr id="104" name="Freihandform: Form 103">
            <a:extLst>
              <a:ext uri="{FF2B5EF4-FFF2-40B4-BE49-F238E27FC236}">
                <a16:creationId xmlns:a16="http://schemas.microsoft.com/office/drawing/2014/main" id="{2DAD8994-DFB7-4D8A-B3A1-95AEBE830246}"/>
              </a:ext>
            </a:extLst>
          </p:cNvPr>
          <p:cNvSpPr/>
          <p:nvPr/>
        </p:nvSpPr>
        <p:spPr>
          <a:xfrm>
            <a:off x="11147939" y="3714159"/>
            <a:ext cx="314616" cy="340252"/>
          </a:xfrm>
          <a:custGeom>
            <a:avLst/>
            <a:gdLst>
              <a:gd name="connsiteX0" fmla="*/ 143325 w 314616"/>
              <a:gd name="connsiteY0" fmla="*/ 340252 h 340252"/>
              <a:gd name="connsiteX1" fmla="*/ 0 w 314616"/>
              <a:gd name="connsiteY1" fmla="*/ 340252 h 340252"/>
              <a:gd name="connsiteX2" fmla="*/ 167795 w 314616"/>
              <a:gd name="connsiteY2" fmla="*/ 171291 h 340252"/>
              <a:gd name="connsiteX3" fmla="*/ 0 w 314616"/>
              <a:gd name="connsiteY3" fmla="*/ 0 h 340252"/>
              <a:gd name="connsiteX4" fmla="*/ 146821 w 314616"/>
              <a:gd name="connsiteY4" fmla="*/ 0 h 340252"/>
              <a:gd name="connsiteX5" fmla="*/ 314617 w 314616"/>
              <a:gd name="connsiteY5" fmla="*/ 166631 h 340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4616" h="340252">
                <a:moveTo>
                  <a:pt x="143325" y="340252"/>
                </a:moveTo>
                <a:lnTo>
                  <a:pt x="0" y="340252"/>
                </a:lnTo>
                <a:lnTo>
                  <a:pt x="167795" y="171291"/>
                </a:lnTo>
                <a:lnTo>
                  <a:pt x="0" y="0"/>
                </a:lnTo>
                <a:lnTo>
                  <a:pt x="146821" y="0"/>
                </a:lnTo>
                <a:lnTo>
                  <a:pt x="314617" y="166631"/>
                </a:lnTo>
                <a:close/>
              </a:path>
            </a:pathLst>
          </a:custGeom>
          <a:solidFill>
            <a:srgbClr val="EEF2F5"/>
          </a:solidFill>
          <a:ln w="11643" cap="flat">
            <a:noFill/>
            <a:prstDash val="solid"/>
            <a:miter/>
          </a:ln>
        </p:spPr>
        <p:txBody>
          <a:bodyPr rtlCol="0" anchor="ctr"/>
          <a:lstStyle/>
          <a:p>
            <a:endParaRPr lang="de-DE"/>
          </a:p>
        </p:txBody>
      </p:sp>
      <p:sp>
        <p:nvSpPr>
          <p:cNvPr id="120" name="Freihandform: Form 119">
            <a:extLst>
              <a:ext uri="{FF2B5EF4-FFF2-40B4-BE49-F238E27FC236}">
                <a16:creationId xmlns:a16="http://schemas.microsoft.com/office/drawing/2014/main" id="{9CAC8A30-61AB-4046-B8E4-22F4EC6F7681}"/>
              </a:ext>
            </a:extLst>
          </p:cNvPr>
          <p:cNvSpPr/>
          <p:nvPr/>
        </p:nvSpPr>
        <p:spPr>
          <a:xfrm>
            <a:off x="11147939" y="4068395"/>
            <a:ext cx="314616" cy="341417"/>
          </a:xfrm>
          <a:custGeom>
            <a:avLst/>
            <a:gdLst>
              <a:gd name="connsiteX0" fmla="*/ 143325 w 314616"/>
              <a:gd name="connsiteY0" fmla="*/ 341418 h 341417"/>
              <a:gd name="connsiteX1" fmla="*/ 0 w 314616"/>
              <a:gd name="connsiteY1" fmla="*/ 341418 h 341417"/>
              <a:gd name="connsiteX2" fmla="*/ 167795 w 314616"/>
              <a:gd name="connsiteY2" fmla="*/ 172457 h 341417"/>
              <a:gd name="connsiteX3" fmla="*/ 0 w 314616"/>
              <a:gd name="connsiteY3" fmla="*/ 0 h 341417"/>
              <a:gd name="connsiteX4" fmla="*/ 146821 w 314616"/>
              <a:gd name="connsiteY4" fmla="*/ 0 h 341417"/>
              <a:gd name="connsiteX5" fmla="*/ 314617 w 314616"/>
              <a:gd name="connsiteY5" fmla="*/ 167796 h 341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4616" h="341417">
                <a:moveTo>
                  <a:pt x="143325" y="341418"/>
                </a:moveTo>
                <a:lnTo>
                  <a:pt x="0" y="341418"/>
                </a:lnTo>
                <a:lnTo>
                  <a:pt x="167795" y="172457"/>
                </a:lnTo>
                <a:lnTo>
                  <a:pt x="0" y="0"/>
                </a:lnTo>
                <a:lnTo>
                  <a:pt x="146821" y="0"/>
                </a:lnTo>
                <a:lnTo>
                  <a:pt x="314617" y="167796"/>
                </a:lnTo>
                <a:close/>
              </a:path>
            </a:pathLst>
          </a:custGeom>
          <a:solidFill>
            <a:srgbClr val="EEF2F5"/>
          </a:solidFill>
          <a:ln w="11643" cap="flat">
            <a:noFill/>
            <a:prstDash val="solid"/>
            <a:miter/>
          </a:ln>
        </p:spPr>
        <p:txBody>
          <a:bodyPr rtlCol="0" anchor="ctr"/>
          <a:lstStyle/>
          <a:p>
            <a:endParaRPr lang="de-DE"/>
          </a:p>
        </p:txBody>
      </p:sp>
      <p:sp>
        <p:nvSpPr>
          <p:cNvPr id="136" name="Freihandform: Form 135">
            <a:extLst>
              <a:ext uri="{FF2B5EF4-FFF2-40B4-BE49-F238E27FC236}">
                <a16:creationId xmlns:a16="http://schemas.microsoft.com/office/drawing/2014/main" id="{514370C7-4CF6-451C-90DF-3B79CA5A0A59}"/>
              </a:ext>
            </a:extLst>
          </p:cNvPr>
          <p:cNvSpPr/>
          <p:nvPr/>
        </p:nvSpPr>
        <p:spPr>
          <a:xfrm>
            <a:off x="11147939" y="4423796"/>
            <a:ext cx="314616" cy="340252"/>
          </a:xfrm>
          <a:custGeom>
            <a:avLst/>
            <a:gdLst>
              <a:gd name="connsiteX0" fmla="*/ 143325 w 314616"/>
              <a:gd name="connsiteY0" fmla="*/ 340252 h 340252"/>
              <a:gd name="connsiteX1" fmla="*/ 0 w 314616"/>
              <a:gd name="connsiteY1" fmla="*/ 340252 h 340252"/>
              <a:gd name="connsiteX2" fmla="*/ 167795 w 314616"/>
              <a:gd name="connsiteY2" fmla="*/ 171291 h 340252"/>
              <a:gd name="connsiteX3" fmla="*/ 0 w 314616"/>
              <a:gd name="connsiteY3" fmla="*/ 0 h 340252"/>
              <a:gd name="connsiteX4" fmla="*/ 146821 w 314616"/>
              <a:gd name="connsiteY4" fmla="*/ 0 h 340252"/>
              <a:gd name="connsiteX5" fmla="*/ 314617 w 314616"/>
              <a:gd name="connsiteY5" fmla="*/ 167796 h 340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4616" h="340252">
                <a:moveTo>
                  <a:pt x="143325" y="340252"/>
                </a:moveTo>
                <a:lnTo>
                  <a:pt x="0" y="340252"/>
                </a:lnTo>
                <a:lnTo>
                  <a:pt x="167795" y="171291"/>
                </a:lnTo>
                <a:lnTo>
                  <a:pt x="0" y="0"/>
                </a:lnTo>
                <a:lnTo>
                  <a:pt x="146821" y="0"/>
                </a:lnTo>
                <a:lnTo>
                  <a:pt x="314617" y="167796"/>
                </a:lnTo>
                <a:close/>
              </a:path>
            </a:pathLst>
          </a:custGeom>
          <a:solidFill>
            <a:srgbClr val="EEF2F5"/>
          </a:solidFill>
          <a:ln w="11643" cap="flat">
            <a:noFill/>
            <a:prstDash val="solid"/>
            <a:miter/>
          </a:ln>
        </p:spPr>
        <p:txBody>
          <a:bodyPr rtlCol="0" anchor="ctr"/>
          <a:lstStyle/>
          <a:p>
            <a:endParaRPr lang="de-DE"/>
          </a:p>
        </p:txBody>
      </p:sp>
      <p:sp>
        <p:nvSpPr>
          <p:cNvPr id="153" name="Freihandform: Form 152">
            <a:extLst>
              <a:ext uri="{FF2B5EF4-FFF2-40B4-BE49-F238E27FC236}">
                <a16:creationId xmlns:a16="http://schemas.microsoft.com/office/drawing/2014/main" id="{6D62BA37-26ED-4588-AD4A-3F0CC1E972FD}"/>
              </a:ext>
            </a:extLst>
          </p:cNvPr>
          <p:cNvSpPr/>
          <p:nvPr/>
        </p:nvSpPr>
        <p:spPr>
          <a:xfrm>
            <a:off x="11147939" y="4778031"/>
            <a:ext cx="314616" cy="341417"/>
          </a:xfrm>
          <a:custGeom>
            <a:avLst/>
            <a:gdLst>
              <a:gd name="connsiteX0" fmla="*/ 143325 w 314616"/>
              <a:gd name="connsiteY0" fmla="*/ 341418 h 341417"/>
              <a:gd name="connsiteX1" fmla="*/ 0 w 314616"/>
              <a:gd name="connsiteY1" fmla="*/ 341418 h 341417"/>
              <a:gd name="connsiteX2" fmla="*/ 167795 w 314616"/>
              <a:gd name="connsiteY2" fmla="*/ 172457 h 341417"/>
              <a:gd name="connsiteX3" fmla="*/ 0 w 314616"/>
              <a:gd name="connsiteY3" fmla="*/ 0 h 341417"/>
              <a:gd name="connsiteX4" fmla="*/ 146821 w 314616"/>
              <a:gd name="connsiteY4" fmla="*/ 0 h 341417"/>
              <a:gd name="connsiteX5" fmla="*/ 314617 w 314616"/>
              <a:gd name="connsiteY5" fmla="*/ 167796 h 341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4616" h="341417">
                <a:moveTo>
                  <a:pt x="143325" y="341418"/>
                </a:moveTo>
                <a:lnTo>
                  <a:pt x="0" y="341418"/>
                </a:lnTo>
                <a:lnTo>
                  <a:pt x="167795" y="172457"/>
                </a:lnTo>
                <a:lnTo>
                  <a:pt x="0" y="0"/>
                </a:lnTo>
                <a:lnTo>
                  <a:pt x="146821" y="0"/>
                </a:lnTo>
                <a:lnTo>
                  <a:pt x="314617" y="167796"/>
                </a:lnTo>
                <a:close/>
              </a:path>
            </a:pathLst>
          </a:custGeom>
          <a:solidFill>
            <a:srgbClr val="EEF2F5"/>
          </a:solidFill>
          <a:ln w="11643" cap="flat">
            <a:noFill/>
            <a:prstDash val="solid"/>
            <a:miter/>
          </a:ln>
        </p:spPr>
        <p:txBody>
          <a:bodyPr rtlCol="0" anchor="ctr"/>
          <a:lstStyle/>
          <a:p>
            <a:endParaRPr lang="de-DE"/>
          </a:p>
        </p:txBody>
      </p:sp>
      <p:sp>
        <p:nvSpPr>
          <p:cNvPr id="170" name="Freihandform: Form 169">
            <a:extLst>
              <a:ext uri="{FF2B5EF4-FFF2-40B4-BE49-F238E27FC236}">
                <a16:creationId xmlns:a16="http://schemas.microsoft.com/office/drawing/2014/main" id="{6E70AB4A-6E36-4A08-8730-471DDB749A6F}"/>
              </a:ext>
            </a:extLst>
          </p:cNvPr>
          <p:cNvSpPr/>
          <p:nvPr/>
        </p:nvSpPr>
        <p:spPr>
          <a:xfrm>
            <a:off x="11147939" y="5133432"/>
            <a:ext cx="314616" cy="341417"/>
          </a:xfrm>
          <a:custGeom>
            <a:avLst/>
            <a:gdLst>
              <a:gd name="connsiteX0" fmla="*/ 143325 w 314616"/>
              <a:gd name="connsiteY0" fmla="*/ 341418 h 341417"/>
              <a:gd name="connsiteX1" fmla="*/ 0 w 314616"/>
              <a:gd name="connsiteY1" fmla="*/ 341418 h 341417"/>
              <a:gd name="connsiteX2" fmla="*/ 167795 w 314616"/>
              <a:gd name="connsiteY2" fmla="*/ 171292 h 341417"/>
              <a:gd name="connsiteX3" fmla="*/ 0 w 314616"/>
              <a:gd name="connsiteY3" fmla="*/ 0 h 341417"/>
              <a:gd name="connsiteX4" fmla="*/ 146821 w 314616"/>
              <a:gd name="connsiteY4" fmla="*/ 0 h 341417"/>
              <a:gd name="connsiteX5" fmla="*/ 314617 w 314616"/>
              <a:gd name="connsiteY5" fmla="*/ 167796 h 341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4616" h="341417">
                <a:moveTo>
                  <a:pt x="143325" y="341418"/>
                </a:moveTo>
                <a:lnTo>
                  <a:pt x="0" y="341418"/>
                </a:lnTo>
                <a:lnTo>
                  <a:pt x="167795" y="171292"/>
                </a:lnTo>
                <a:lnTo>
                  <a:pt x="0" y="0"/>
                </a:lnTo>
                <a:lnTo>
                  <a:pt x="146821" y="0"/>
                </a:lnTo>
                <a:lnTo>
                  <a:pt x="314617" y="167796"/>
                </a:lnTo>
                <a:close/>
              </a:path>
            </a:pathLst>
          </a:custGeom>
          <a:solidFill>
            <a:srgbClr val="EEF2F5"/>
          </a:solidFill>
          <a:ln w="11643" cap="flat">
            <a:noFill/>
            <a:prstDash val="solid"/>
            <a:miter/>
          </a:ln>
        </p:spPr>
        <p:txBody>
          <a:bodyPr rtlCol="0" anchor="ctr"/>
          <a:lstStyle/>
          <a:p>
            <a:endParaRPr lang="de-DE"/>
          </a:p>
        </p:txBody>
      </p:sp>
      <p:sp>
        <p:nvSpPr>
          <p:cNvPr id="71" name="Freihandform: Form 70">
            <a:extLst>
              <a:ext uri="{FF2B5EF4-FFF2-40B4-BE49-F238E27FC236}">
                <a16:creationId xmlns:a16="http://schemas.microsoft.com/office/drawing/2014/main" id="{EC37F69B-71A5-4B22-89E2-2B86538897C6}"/>
              </a:ext>
            </a:extLst>
          </p:cNvPr>
          <p:cNvSpPr/>
          <p:nvPr/>
        </p:nvSpPr>
        <p:spPr>
          <a:xfrm>
            <a:off x="10801860" y="3012680"/>
            <a:ext cx="297138" cy="323938"/>
          </a:xfrm>
          <a:custGeom>
            <a:avLst/>
            <a:gdLst>
              <a:gd name="connsiteX0" fmla="*/ 135168 w 297138"/>
              <a:gd name="connsiteY0" fmla="*/ 323939 h 323938"/>
              <a:gd name="connsiteX1" fmla="*/ 0 w 297138"/>
              <a:gd name="connsiteY1" fmla="*/ 323939 h 323938"/>
              <a:gd name="connsiteX2" fmla="*/ 158473 w 297138"/>
              <a:gd name="connsiteY2" fmla="*/ 163135 h 323938"/>
              <a:gd name="connsiteX3" fmla="*/ 0 w 297138"/>
              <a:gd name="connsiteY3" fmla="*/ 0 h 323938"/>
              <a:gd name="connsiteX4" fmla="*/ 138664 w 297138"/>
              <a:gd name="connsiteY4" fmla="*/ 0 h 323938"/>
              <a:gd name="connsiteX5" fmla="*/ 297138 w 297138"/>
              <a:gd name="connsiteY5" fmla="*/ 159639 h 323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3938">
                <a:moveTo>
                  <a:pt x="135168" y="323939"/>
                </a:moveTo>
                <a:lnTo>
                  <a:pt x="0" y="323939"/>
                </a:lnTo>
                <a:lnTo>
                  <a:pt x="158473" y="163135"/>
                </a:lnTo>
                <a:lnTo>
                  <a:pt x="0" y="0"/>
                </a:lnTo>
                <a:lnTo>
                  <a:pt x="138664" y="0"/>
                </a:lnTo>
                <a:lnTo>
                  <a:pt x="297138" y="159639"/>
                </a:lnTo>
                <a:close/>
              </a:path>
            </a:pathLst>
          </a:custGeom>
          <a:solidFill>
            <a:srgbClr val="EEF2F5"/>
          </a:solidFill>
          <a:ln w="11643" cap="flat">
            <a:noFill/>
            <a:prstDash val="solid"/>
            <a:miter/>
          </a:ln>
        </p:spPr>
        <p:txBody>
          <a:bodyPr rtlCol="0" anchor="ctr"/>
          <a:lstStyle/>
          <a:p>
            <a:endParaRPr lang="de-DE"/>
          </a:p>
        </p:txBody>
      </p:sp>
      <p:sp>
        <p:nvSpPr>
          <p:cNvPr id="87" name="Freihandform: Form 86">
            <a:extLst>
              <a:ext uri="{FF2B5EF4-FFF2-40B4-BE49-F238E27FC236}">
                <a16:creationId xmlns:a16="http://schemas.microsoft.com/office/drawing/2014/main" id="{6027B9E1-4632-4B82-9FA3-1E60661DE0B8}"/>
              </a:ext>
            </a:extLst>
          </p:cNvPr>
          <p:cNvSpPr/>
          <p:nvPr/>
        </p:nvSpPr>
        <p:spPr>
          <a:xfrm>
            <a:off x="10801860" y="3368081"/>
            <a:ext cx="297138" cy="322773"/>
          </a:xfrm>
          <a:custGeom>
            <a:avLst/>
            <a:gdLst>
              <a:gd name="connsiteX0" fmla="*/ 135168 w 297138"/>
              <a:gd name="connsiteY0" fmla="*/ 322774 h 322773"/>
              <a:gd name="connsiteX1" fmla="*/ 0 w 297138"/>
              <a:gd name="connsiteY1" fmla="*/ 322774 h 322773"/>
              <a:gd name="connsiteX2" fmla="*/ 158473 w 297138"/>
              <a:gd name="connsiteY2" fmla="*/ 163135 h 322773"/>
              <a:gd name="connsiteX3" fmla="*/ 0 w 297138"/>
              <a:gd name="connsiteY3" fmla="*/ 0 h 322773"/>
              <a:gd name="connsiteX4" fmla="*/ 138664 w 297138"/>
              <a:gd name="connsiteY4" fmla="*/ 0 h 322773"/>
              <a:gd name="connsiteX5" fmla="*/ 297138 w 297138"/>
              <a:gd name="connsiteY5" fmla="*/ 158474 h 322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2773">
                <a:moveTo>
                  <a:pt x="135168" y="322774"/>
                </a:moveTo>
                <a:lnTo>
                  <a:pt x="0" y="322774"/>
                </a:lnTo>
                <a:lnTo>
                  <a:pt x="158473" y="163135"/>
                </a:lnTo>
                <a:lnTo>
                  <a:pt x="0" y="0"/>
                </a:lnTo>
                <a:lnTo>
                  <a:pt x="138664" y="0"/>
                </a:lnTo>
                <a:lnTo>
                  <a:pt x="297138" y="158474"/>
                </a:lnTo>
                <a:close/>
              </a:path>
            </a:pathLst>
          </a:custGeom>
          <a:solidFill>
            <a:srgbClr val="EEF2F5"/>
          </a:solidFill>
          <a:ln w="11643" cap="flat">
            <a:noFill/>
            <a:prstDash val="solid"/>
            <a:miter/>
          </a:ln>
        </p:spPr>
        <p:txBody>
          <a:bodyPr rtlCol="0" anchor="ctr"/>
          <a:lstStyle/>
          <a:p>
            <a:endParaRPr lang="de-DE"/>
          </a:p>
        </p:txBody>
      </p:sp>
      <p:sp>
        <p:nvSpPr>
          <p:cNvPr id="103" name="Freihandform: Form 102">
            <a:extLst>
              <a:ext uri="{FF2B5EF4-FFF2-40B4-BE49-F238E27FC236}">
                <a16:creationId xmlns:a16="http://schemas.microsoft.com/office/drawing/2014/main" id="{A133033E-1247-4F36-9A54-C51B13CBD1CE}"/>
              </a:ext>
            </a:extLst>
          </p:cNvPr>
          <p:cNvSpPr/>
          <p:nvPr/>
        </p:nvSpPr>
        <p:spPr>
          <a:xfrm>
            <a:off x="10801860" y="3722316"/>
            <a:ext cx="297138" cy="323938"/>
          </a:xfrm>
          <a:custGeom>
            <a:avLst/>
            <a:gdLst>
              <a:gd name="connsiteX0" fmla="*/ 135168 w 297138"/>
              <a:gd name="connsiteY0" fmla="*/ 323939 h 323938"/>
              <a:gd name="connsiteX1" fmla="*/ 0 w 297138"/>
              <a:gd name="connsiteY1" fmla="*/ 323939 h 323938"/>
              <a:gd name="connsiteX2" fmla="*/ 158473 w 297138"/>
              <a:gd name="connsiteY2" fmla="*/ 163135 h 323938"/>
              <a:gd name="connsiteX3" fmla="*/ 0 w 297138"/>
              <a:gd name="connsiteY3" fmla="*/ 0 h 323938"/>
              <a:gd name="connsiteX4" fmla="*/ 138664 w 297138"/>
              <a:gd name="connsiteY4" fmla="*/ 0 h 323938"/>
              <a:gd name="connsiteX5" fmla="*/ 297138 w 297138"/>
              <a:gd name="connsiteY5" fmla="*/ 159639 h 323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3938">
                <a:moveTo>
                  <a:pt x="135168" y="323939"/>
                </a:moveTo>
                <a:lnTo>
                  <a:pt x="0" y="323939"/>
                </a:lnTo>
                <a:lnTo>
                  <a:pt x="158473" y="163135"/>
                </a:lnTo>
                <a:lnTo>
                  <a:pt x="0" y="0"/>
                </a:lnTo>
                <a:lnTo>
                  <a:pt x="138664" y="0"/>
                </a:lnTo>
                <a:lnTo>
                  <a:pt x="297138" y="159639"/>
                </a:lnTo>
                <a:close/>
              </a:path>
            </a:pathLst>
          </a:custGeom>
          <a:solidFill>
            <a:srgbClr val="EEF2F5"/>
          </a:solidFill>
          <a:ln w="11643" cap="flat">
            <a:noFill/>
            <a:prstDash val="solid"/>
            <a:miter/>
          </a:ln>
        </p:spPr>
        <p:txBody>
          <a:bodyPr rtlCol="0" anchor="ctr"/>
          <a:lstStyle/>
          <a:p>
            <a:endParaRPr lang="de-DE"/>
          </a:p>
        </p:txBody>
      </p:sp>
      <p:sp>
        <p:nvSpPr>
          <p:cNvPr id="119" name="Freihandform: Form 118">
            <a:extLst>
              <a:ext uri="{FF2B5EF4-FFF2-40B4-BE49-F238E27FC236}">
                <a16:creationId xmlns:a16="http://schemas.microsoft.com/office/drawing/2014/main" id="{48E055C3-701A-4F5A-8DFA-C4FA735748CE}"/>
              </a:ext>
            </a:extLst>
          </p:cNvPr>
          <p:cNvSpPr/>
          <p:nvPr/>
        </p:nvSpPr>
        <p:spPr>
          <a:xfrm>
            <a:off x="10801860" y="4077717"/>
            <a:ext cx="297138" cy="322773"/>
          </a:xfrm>
          <a:custGeom>
            <a:avLst/>
            <a:gdLst>
              <a:gd name="connsiteX0" fmla="*/ 135168 w 297138"/>
              <a:gd name="connsiteY0" fmla="*/ 322774 h 322773"/>
              <a:gd name="connsiteX1" fmla="*/ 0 w 297138"/>
              <a:gd name="connsiteY1" fmla="*/ 322774 h 322773"/>
              <a:gd name="connsiteX2" fmla="*/ 158473 w 297138"/>
              <a:gd name="connsiteY2" fmla="*/ 163135 h 322773"/>
              <a:gd name="connsiteX3" fmla="*/ 0 w 297138"/>
              <a:gd name="connsiteY3" fmla="*/ 0 h 322773"/>
              <a:gd name="connsiteX4" fmla="*/ 138664 w 297138"/>
              <a:gd name="connsiteY4" fmla="*/ 0 h 322773"/>
              <a:gd name="connsiteX5" fmla="*/ 297138 w 297138"/>
              <a:gd name="connsiteY5" fmla="*/ 158474 h 322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2773">
                <a:moveTo>
                  <a:pt x="135168" y="322774"/>
                </a:moveTo>
                <a:lnTo>
                  <a:pt x="0" y="322774"/>
                </a:lnTo>
                <a:lnTo>
                  <a:pt x="158473" y="163135"/>
                </a:lnTo>
                <a:lnTo>
                  <a:pt x="0" y="0"/>
                </a:lnTo>
                <a:lnTo>
                  <a:pt x="138664" y="0"/>
                </a:lnTo>
                <a:lnTo>
                  <a:pt x="297138" y="158474"/>
                </a:lnTo>
                <a:close/>
              </a:path>
            </a:pathLst>
          </a:custGeom>
          <a:solidFill>
            <a:srgbClr val="EEF2F5"/>
          </a:solidFill>
          <a:ln w="11643" cap="flat">
            <a:noFill/>
            <a:prstDash val="solid"/>
            <a:miter/>
          </a:ln>
        </p:spPr>
        <p:txBody>
          <a:bodyPr rtlCol="0" anchor="ctr"/>
          <a:lstStyle/>
          <a:p>
            <a:endParaRPr lang="de-DE"/>
          </a:p>
        </p:txBody>
      </p:sp>
      <p:sp>
        <p:nvSpPr>
          <p:cNvPr id="135" name="Freihandform: Form 134">
            <a:extLst>
              <a:ext uri="{FF2B5EF4-FFF2-40B4-BE49-F238E27FC236}">
                <a16:creationId xmlns:a16="http://schemas.microsoft.com/office/drawing/2014/main" id="{BCADBC01-33BC-4B7C-9DB7-FA73F490E349}"/>
              </a:ext>
            </a:extLst>
          </p:cNvPr>
          <p:cNvSpPr/>
          <p:nvPr/>
        </p:nvSpPr>
        <p:spPr>
          <a:xfrm>
            <a:off x="10801860" y="4431952"/>
            <a:ext cx="297138" cy="323938"/>
          </a:xfrm>
          <a:custGeom>
            <a:avLst/>
            <a:gdLst>
              <a:gd name="connsiteX0" fmla="*/ 135168 w 297138"/>
              <a:gd name="connsiteY0" fmla="*/ 323939 h 323938"/>
              <a:gd name="connsiteX1" fmla="*/ 0 w 297138"/>
              <a:gd name="connsiteY1" fmla="*/ 323939 h 323938"/>
              <a:gd name="connsiteX2" fmla="*/ 158473 w 297138"/>
              <a:gd name="connsiteY2" fmla="*/ 163135 h 323938"/>
              <a:gd name="connsiteX3" fmla="*/ 0 w 297138"/>
              <a:gd name="connsiteY3" fmla="*/ 0 h 323938"/>
              <a:gd name="connsiteX4" fmla="*/ 138664 w 297138"/>
              <a:gd name="connsiteY4" fmla="*/ 0 h 323938"/>
              <a:gd name="connsiteX5" fmla="*/ 297138 w 297138"/>
              <a:gd name="connsiteY5" fmla="*/ 159639 h 323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3938">
                <a:moveTo>
                  <a:pt x="135168" y="323939"/>
                </a:moveTo>
                <a:lnTo>
                  <a:pt x="0" y="323939"/>
                </a:lnTo>
                <a:lnTo>
                  <a:pt x="158473" y="163135"/>
                </a:lnTo>
                <a:lnTo>
                  <a:pt x="0" y="0"/>
                </a:lnTo>
                <a:lnTo>
                  <a:pt x="138664" y="0"/>
                </a:lnTo>
                <a:lnTo>
                  <a:pt x="297138" y="159639"/>
                </a:lnTo>
                <a:close/>
              </a:path>
            </a:pathLst>
          </a:custGeom>
          <a:solidFill>
            <a:srgbClr val="EEF2F5"/>
          </a:solidFill>
          <a:ln w="11643" cap="flat">
            <a:noFill/>
            <a:prstDash val="solid"/>
            <a:miter/>
          </a:ln>
        </p:spPr>
        <p:txBody>
          <a:bodyPr rtlCol="0" anchor="ctr"/>
          <a:lstStyle/>
          <a:p>
            <a:endParaRPr lang="de-DE"/>
          </a:p>
        </p:txBody>
      </p:sp>
      <p:sp>
        <p:nvSpPr>
          <p:cNvPr id="152" name="Freihandform: Form 151">
            <a:extLst>
              <a:ext uri="{FF2B5EF4-FFF2-40B4-BE49-F238E27FC236}">
                <a16:creationId xmlns:a16="http://schemas.microsoft.com/office/drawing/2014/main" id="{5F12261A-EADD-41CA-AC37-DF4EAA94F5DA}"/>
              </a:ext>
            </a:extLst>
          </p:cNvPr>
          <p:cNvSpPr/>
          <p:nvPr/>
        </p:nvSpPr>
        <p:spPr>
          <a:xfrm>
            <a:off x="10801860" y="4787353"/>
            <a:ext cx="297138" cy="322773"/>
          </a:xfrm>
          <a:custGeom>
            <a:avLst/>
            <a:gdLst>
              <a:gd name="connsiteX0" fmla="*/ 135168 w 297138"/>
              <a:gd name="connsiteY0" fmla="*/ 322774 h 322773"/>
              <a:gd name="connsiteX1" fmla="*/ 0 w 297138"/>
              <a:gd name="connsiteY1" fmla="*/ 322774 h 322773"/>
              <a:gd name="connsiteX2" fmla="*/ 158473 w 297138"/>
              <a:gd name="connsiteY2" fmla="*/ 163135 h 322773"/>
              <a:gd name="connsiteX3" fmla="*/ 0 w 297138"/>
              <a:gd name="connsiteY3" fmla="*/ 0 h 322773"/>
              <a:gd name="connsiteX4" fmla="*/ 138664 w 297138"/>
              <a:gd name="connsiteY4" fmla="*/ 0 h 322773"/>
              <a:gd name="connsiteX5" fmla="*/ 297138 w 297138"/>
              <a:gd name="connsiteY5" fmla="*/ 158474 h 322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2773">
                <a:moveTo>
                  <a:pt x="135168" y="322774"/>
                </a:moveTo>
                <a:lnTo>
                  <a:pt x="0" y="322774"/>
                </a:lnTo>
                <a:lnTo>
                  <a:pt x="158473" y="163135"/>
                </a:lnTo>
                <a:lnTo>
                  <a:pt x="0" y="0"/>
                </a:lnTo>
                <a:lnTo>
                  <a:pt x="138664" y="0"/>
                </a:lnTo>
                <a:lnTo>
                  <a:pt x="297138" y="158474"/>
                </a:lnTo>
                <a:close/>
              </a:path>
            </a:pathLst>
          </a:custGeom>
          <a:solidFill>
            <a:srgbClr val="EEF2F5"/>
          </a:solidFill>
          <a:ln w="11643" cap="flat">
            <a:noFill/>
            <a:prstDash val="solid"/>
            <a:miter/>
          </a:ln>
        </p:spPr>
        <p:txBody>
          <a:bodyPr rtlCol="0" anchor="ctr"/>
          <a:lstStyle/>
          <a:p>
            <a:endParaRPr lang="de-DE"/>
          </a:p>
        </p:txBody>
      </p:sp>
      <p:sp>
        <p:nvSpPr>
          <p:cNvPr id="169" name="Freihandform: Form 168">
            <a:extLst>
              <a:ext uri="{FF2B5EF4-FFF2-40B4-BE49-F238E27FC236}">
                <a16:creationId xmlns:a16="http://schemas.microsoft.com/office/drawing/2014/main" id="{2684278A-133A-44B1-BD42-3154900841C6}"/>
              </a:ext>
            </a:extLst>
          </p:cNvPr>
          <p:cNvSpPr/>
          <p:nvPr/>
        </p:nvSpPr>
        <p:spPr>
          <a:xfrm>
            <a:off x="10801860" y="5141588"/>
            <a:ext cx="297138" cy="323938"/>
          </a:xfrm>
          <a:custGeom>
            <a:avLst/>
            <a:gdLst>
              <a:gd name="connsiteX0" fmla="*/ 135168 w 297138"/>
              <a:gd name="connsiteY0" fmla="*/ 323939 h 323938"/>
              <a:gd name="connsiteX1" fmla="*/ 0 w 297138"/>
              <a:gd name="connsiteY1" fmla="*/ 323939 h 323938"/>
              <a:gd name="connsiteX2" fmla="*/ 158473 w 297138"/>
              <a:gd name="connsiteY2" fmla="*/ 163135 h 323938"/>
              <a:gd name="connsiteX3" fmla="*/ 0 w 297138"/>
              <a:gd name="connsiteY3" fmla="*/ 0 h 323938"/>
              <a:gd name="connsiteX4" fmla="*/ 138664 w 297138"/>
              <a:gd name="connsiteY4" fmla="*/ 0 h 323938"/>
              <a:gd name="connsiteX5" fmla="*/ 297138 w 297138"/>
              <a:gd name="connsiteY5" fmla="*/ 159639 h 323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3938">
                <a:moveTo>
                  <a:pt x="135168" y="323939"/>
                </a:moveTo>
                <a:lnTo>
                  <a:pt x="0" y="323939"/>
                </a:lnTo>
                <a:lnTo>
                  <a:pt x="158473" y="163135"/>
                </a:lnTo>
                <a:lnTo>
                  <a:pt x="0" y="0"/>
                </a:lnTo>
                <a:lnTo>
                  <a:pt x="138664" y="0"/>
                </a:lnTo>
                <a:lnTo>
                  <a:pt x="297138" y="159639"/>
                </a:lnTo>
                <a:close/>
              </a:path>
            </a:pathLst>
          </a:custGeom>
          <a:solidFill>
            <a:srgbClr val="EEF2F5"/>
          </a:solidFill>
          <a:ln w="11643" cap="flat">
            <a:noFill/>
            <a:prstDash val="solid"/>
            <a:miter/>
          </a:ln>
        </p:spPr>
        <p:txBody>
          <a:bodyPr rtlCol="0" anchor="ctr"/>
          <a:lstStyle/>
          <a:p>
            <a:endParaRPr lang="de-DE"/>
          </a:p>
        </p:txBody>
      </p:sp>
      <p:sp>
        <p:nvSpPr>
          <p:cNvPr id="186" name="Freihandform: Form 185">
            <a:extLst>
              <a:ext uri="{FF2B5EF4-FFF2-40B4-BE49-F238E27FC236}">
                <a16:creationId xmlns:a16="http://schemas.microsoft.com/office/drawing/2014/main" id="{51341657-6CDA-48E4-A038-7E086040DA70}"/>
              </a:ext>
            </a:extLst>
          </p:cNvPr>
          <p:cNvSpPr/>
          <p:nvPr/>
        </p:nvSpPr>
        <p:spPr>
          <a:xfrm>
            <a:off x="10801860" y="5496989"/>
            <a:ext cx="297138" cy="322773"/>
          </a:xfrm>
          <a:custGeom>
            <a:avLst/>
            <a:gdLst>
              <a:gd name="connsiteX0" fmla="*/ 135168 w 297138"/>
              <a:gd name="connsiteY0" fmla="*/ 322773 h 322773"/>
              <a:gd name="connsiteX1" fmla="*/ 0 w 297138"/>
              <a:gd name="connsiteY1" fmla="*/ 322773 h 322773"/>
              <a:gd name="connsiteX2" fmla="*/ 158473 w 297138"/>
              <a:gd name="connsiteY2" fmla="*/ 163135 h 322773"/>
              <a:gd name="connsiteX3" fmla="*/ 0 w 297138"/>
              <a:gd name="connsiteY3" fmla="*/ 0 h 322773"/>
              <a:gd name="connsiteX4" fmla="*/ 138664 w 297138"/>
              <a:gd name="connsiteY4" fmla="*/ 0 h 322773"/>
              <a:gd name="connsiteX5" fmla="*/ 297138 w 297138"/>
              <a:gd name="connsiteY5" fmla="*/ 158473 h 322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2773">
                <a:moveTo>
                  <a:pt x="135168" y="322773"/>
                </a:moveTo>
                <a:lnTo>
                  <a:pt x="0" y="322773"/>
                </a:lnTo>
                <a:lnTo>
                  <a:pt x="158473" y="163135"/>
                </a:lnTo>
                <a:lnTo>
                  <a:pt x="0" y="0"/>
                </a:lnTo>
                <a:lnTo>
                  <a:pt x="138664" y="0"/>
                </a:lnTo>
                <a:lnTo>
                  <a:pt x="297138" y="158473"/>
                </a:lnTo>
                <a:close/>
              </a:path>
            </a:pathLst>
          </a:custGeom>
          <a:solidFill>
            <a:srgbClr val="EEF2F5"/>
          </a:solidFill>
          <a:ln w="11643" cap="flat">
            <a:noFill/>
            <a:prstDash val="solid"/>
            <a:miter/>
          </a:ln>
        </p:spPr>
        <p:txBody>
          <a:bodyPr rtlCol="0" anchor="ctr"/>
          <a:lstStyle/>
          <a:p>
            <a:endParaRPr lang="de-DE"/>
          </a:p>
        </p:txBody>
      </p:sp>
      <p:sp>
        <p:nvSpPr>
          <p:cNvPr id="54" name="Freihandform: Form 53">
            <a:extLst>
              <a:ext uri="{FF2B5EF4-FFF2-40B4-BE49-F238E27FC236}">
                <a16:creationId xmlns:a16="http://schemas.microsoft.com/office/drawing/2014/main" id="{7C58B8B7-C0D0-45C0-A524-368D9D8EC1A1}"/>
              </a:ext>
            </a:extLst>
          </p:cNvPr>
          <p:cNvSpPr/>
          <p:nvPr/>
        </p:nvSpPr>
        <p:spPr>
          <a:xfrm>
            <a:off x="10454616" y="2667767"/>
            <a:ext cx="280824" cy="304129"/>
          </a:xfrm>
          <a:custGeom>
            <a:avLst/>
            <a:gdLst>
              <a:gd name="connsiteX0" fmla="*/ 129343 w 280824"/>
              <a:gd name="connsiteY0" fmla="*/ 304130 h 304129"/>
              <a:gd name="connsiteX1" fmla="*/ 0 w 280824"/>
              <a:gd name="connsiteY1" fmla="*/ 304130 h 304129"/>
              <a:gd name="connsiteX2" fmla="*/ 150317 w 280824"/>
              <a:gd name="connsiteY2" fmla="*/ 153813 h 304129"/>
              <a:gd name="connsiteX3" fmla="*/ 0 w 280824"/>
              <a:gd name="connsiteY3" fmla="*/ 0 h 304129"/>
              <a:gd name="connsiteX4" fmla="*/ 131673 w 280824"/>
              <a:gd name="connsiteY4" fmla="*/ 0 h 304129"/>
              <a:gd name="connsiteX5" fmla="*/ 280825 w 280824"/>
              <a:gd name="connsiteY5" fmla="*/ 149152 h 304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4129">
                <a:moveTo>
                  <a:pt x="129343" y="304130"/>
                </a:moveTo>
                <a:lnTo>
                  <a:pt x="0" y="304130"/>
                </a:lnTo>
                <a:lnTo>
                  <a:pt x="150317" y="153813"/>
                </a:lnTo>
                <a:lnTo>
                  <a:pt x="0" y="0"/>
                </a:lnTo>
                <a:lnTo>
                  <a:pt x="131673" y="0"/>
                </a:lnTo>
                <a:lnTo>
                  <a:pt x="280825" y="149152"/>
                </a:lnTo>
                <a:close/>
              </a:path>
            </a:pathLst>
          </a:custGeom>
          <a:solidFill>
            <a:srgbClr val="EEF2F5"/>
          </a:solidFill>
          <a:ln w="11643" cap="flat">
            <a:noFill/>
            <a:prstDash val="solid"/>
            <a:miter/>
          </a:ln>
        </p:spPr>
        <p:txBody>
          <a:bodyPr rtlCol="0" anchor="ctr"/>
          <a:lstStyle/>
          <a:p>
            <a:endParaRPr lang="de-DE"/>
          </a:p>
        </p:txBody>
      </p:sp>
      <p:sp>
        <p:nvSpPr>
          <p:cNvPr id="70" name="Freihandform: Form 69">
            <a:extLst>
              <a:ext uri="{FF2B5EF4-FFF2-40B4-BE49-F238E27FC236}">
                <a16:creationId xmlns:a16="http://schemas.microsoft.com/office/drawing/2014/main" id="{B108D00B-F584-45AE-88D7-637B206C908C}"/>
              </a:ext>
            </a:extLst>
          </p:cNvPr>
          <p:cNvSpPr/>
          <p:nvPr/>
        </p:nvSpPr>
        <p:spPr>
          <a:xfrm>
            <a:off x="10454616" y="3022002"/>
            <a:ext cx="280824" cy="305294"/>
          </a:xfrm>
          <a:custGeom>
            <a:avLst/>
            <a:gdLst>
              <a:gd name="connsiteX0" fmla="*/ 129343 w 280824"/>
              <a:gd name="connsiteY0" fmla="*/ 305295 h 305294"/>
              <a:gd name="connsiteX1" fmla="*/ 0 w 280824"/>
              <a:gd name="connsiteY1" fmla="*/ 305295 h 305294"/>
              <a:gd name="connsiteX2" fmla="*/ 150317 w 280824"/>
              <a:gd name="connsiteY2" fmla="*/ 153813 h 305294"/>
              <a:gd name="connsiteX3" fmla="*/ 0 w 280824"/>
              <a:gd name="connsiteY3" fmla="*/ 0 h 305294"/>
              <a:gd name="connsiteX4" fmla="*/ 131673 w 280824"/>
              <a:gd name="connsiteY4" fmla="*/ 0 h 305294"/>
              <a:gd name="connsiteX5" fmla="*/ 280825 w 280824"/>
              <a:gd name="connsiteY5" fmla="*/ 150317 h 305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5294">
                <a:moveTo>
                  <a:pt x="129343" y="305295"/>
                </a:moveTo>
                <a:lnTo>
                  <a:pt x="0" y="305295"/>
                </a:lnTo>
                <a:lnTo>
                  <a:pt x="150317" y="153813"/>
                </a:lnTo>
                <a:lnTo>
                  <a:pt x="0" y="0"/>
                </a:lnTo>
                <a:lnTo>
                  <a:pt x="131673" y="0"/>
                </a:lnTo>
                <a:lnTo>
                  <a:pt x="280825" y="150317"/>
                </a:lnTo>
                <a:close/>
              </a:path>
            </a:pathLst>
          </a:custGeom>
          <a:solidFill>
            <a:srgbClr val="EEF2F5"/>
          </a:solidFill>
          <a:ln w="11643" cap="flat">
            <a:noFill/>
            <a:prstDash val="solid"/>
            <a:miter/>
          </a:ln>
        </p:spPr>
        <p:txBody>
          <a:bodyPr rtlCol="0" anchor="ctr"/>
          <a:lstStyle/>
          <a:p>
            <a:endParaRPr lang="de-DE"/>
          </a:p>
        </p:txBody>
      </p:sp>
      <p:sp>
        <p:nvSpPr>
          <p:cNvPr id="86" name="Freihandform: Form 85">
            <a:extLst>
              <a:ext uri="{FF2B5EF4-FFF2-40B4-BE49-F238E27FC236}">
                <a16:creationId xmlns:a16="http://schemas.microsoft.com/office/drawing/2014/main" id="{63D6ECD9-E964-4D15-AC74-F1865C75FC49}"/>
              </a:ext>
            </a:extLst>
          </p:cNvPr>
          <p:cNvSpPr/>
          <p:nvPr/>
        </p:nvSpPr>
        <p:spPr>
          <a:xfrm>
            <a:off x="10454616" y="3377403"/>
            <a:ext cx="280824" cy="304129"/>
          </a:xfrm>
          <a:custGeom>
            <a:avLst/>
            <a:gdLst>
              <a:gd name="connsiteX0" fmla="*/ 129343 w 280824"/>
              <a:gd name="connsiteY0" fmla="*/ 304130 h 304129"/>
              <a:gd name="connsiteX1" fmla="*/ 0 w 280824"/>
              <a:gd name="connsiteY1" fmla="*/ 304130 h 304129"/>
              <a:gd name="connsiteX2" fmla="*/ 150317 w 280824"/>
              <a:gd name="connsiteY2" fmla="*/ 153813 h 304129"/>
              <a:gd name="connsiteX3" fmla="*/ 0 w 280824"/>
              <a:gd name="connsiteY3" fmla="*/ 0 h 304129"/>
              <a:gd name="connsiteX4" fmla="*/ 131673 w 280824"/>
              <a:gd name="connsiteY4" fmla="*/ 0 h 304129"/>
              <a:gd name="connsiteX5" fmla="*/ 280825 w 280824"/>
              <a:gd name="connsiteY5" fmla="*/ 149152 h 304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4129">
                <a:moveTo>
                  <a:pt x="129343" y="304130"/>
                </a:moveTo>
                <a:lnTo>
                  <a:pt x="0" y="304130"/>
                </a:lnTo>
                <a:lnTo>
                  <a:pt x="150317" y="153813"/>
                </a:lnTo>
                <a:lnTo>
                  <a:pt x="0" y="0"/>
                </a:lnTo>
                <a:lnTo>
                  <a:pt x="131673" y="0"/>
                </a:lnTo>
                <a:lnTo>
                  <a:pt x="280825" y="149152"/>
                </a:lnTo>
                <a:close/>
              </a:path>
            </a:pathLst>
          </a:custGeom>
          <a:solidFill>
            <a:srgbClr val="EEF2F5"/>
          </a:solidFill>
          <a:ln w="11643" cap="flat">
            <a:noFill/>
            <a:prstDash val="solid"/>
            <a:miter/>
          </a:ln>
        </p:spPr>
        <p:txBody>
          <a:bodyPr rtlCol="0" anchor="ctr"/>
          <a:lstStyle/>
          <a:p>
            <a:endParaRPr lang="de-DE"/>
          </a:p>
        </p:txBody>
      </p:sp>
      <p:sp>
        <p:nvSpPr>
          <p:cNvPr id="102" name="Freihandform: Form 101">
            <a:extLst>
              <a:ext uri="{FF2B5EF4-FFF2-40B4-BE49-F238E27FC236}">
                <a16:creationId xmlns:a16="http://schemas.microsoft.com/office/drawing/2014/main" id="{1A517635-BE85-4E6F-8720-FFD3AE9C8A9E}"/>
              </a:ext>
            </a:extLst>
          </p:cNvPr>
          <p:cNvSpPr/>
          <p:nvPr/>
        </p:nvSpPr>
        <p:spPr>
          <a:xfrm>
            <a:off x="10454616" y="3731638"/>
            <a:ext cx="280824" cy="305294"/>
          </a:xfrm>
          <a:custGeom>
            <a:avLst/>
            <a:gdLst>
              <a:gd name="connsiteX0" fmla="*/ 129343 w 280824"/>
              <a:gd name="connsiteY0" fmla="*/ 305295 h 305294"/>
              <a:gd name="connsiteX1" fmla="*/ 0 w 280824"/>
              <a:gd name="connsiteY1" fmla="*/ 305295 h 305294"/>
              <a:gd name="connsiteX2" fmla="*/ 150317 w 280824"/>
              <a:gd name="connsiteY2" fmla="*/ 153813 h 305294"/>
              <a:gd name="connsiteX3" fmla="*/ 0 w 280824"/>
              <a:gd name="connsiteY3" fmla="*/ 0 h 305294"/>
              <a:gd name="connsiteX4" fmla="*/ 131673 w 280824"/>
              <a:gd name="connsiteY4" fmla="*/ 0 h 305294"/>
              <a:gd name="connsiteX5" fmla="*/ 280825 w 280824"/>
              <a:gd name="connsiteY5" fmla="*/ 150317 h 305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5294">
                <a:moveTo>
                  <a:pt x="129343" y="305295"/>
                </a:moveTo>
                <a:lnTo>
                  <a:pt x="0" y="305295"/>
                </a:lnTo>
                <a:lnTo>
                  <a:pt x="150317" y="153813"/>
                </a:lnTo>
                <a:lnTo>
                  <a:pt x="0" y="0"/>
                </a:lnTo>
                <a:lnTo>
                  <a:pt x="131673" y="0"/>
                </a:lnTo>
                <a:lnTo>
                  <a:pt x="280825" y="150317"/>
                </a:lnTo>
                <a:close/>
              </a:path>
            </a:pathLst>
          </a:custGeom>
          <a:solidFill>
            <a:srgbClr val="EEF2F5"/>
          </a:solidFill>
          <a:ln w="11643" cap="flat">
            <a:noFill/>
            <a:prstDash val="solid"/>
            <a:miter/>
          </a:ln>
        </p:spPr>
        <p:txBody>
          <a:bodyPr rtlCol="0" anchor="ctr"/>
          <a:lstStyle/>
          <a:p>
            <a:endParaRPr lang="de-DE"/>
          </a:p>
        </p:txBody>
      </p:sp>
      <p:sp>
        <p:nvSpPr>
          <p:cNvPr id="118" name="Freihandform: Form 117">
            <a:extLst>
              <a:ext uri="{FF2B5EF4-FFF2-40B4-BE49-F238E27FC236}">
                <a16:creationId xmlns:a16="http://schemas.microsoft.com/office/drawing/2014/main" id="{107FD09D-7EF2-4E43-8333-1BB41EE81E8C}"/>
              </a:ext>
            </a:extLst>
          </p:cNvPr>
          <p:cNvSpPr/>
          <p:nvPr/>
        </p:nvSpPr>
        <p:spPr>
          <a:xfrm>
            <a:off x="10454616" y="4087039"/>
            <a:ext cx="280824" cy="304129"/>
          </a:xfrm>
          <a:custGeom>
            <a:avLst/>
            <a:gdLst>
              <a:gd name="connsiteX0" fmla="*/ 129343 w 280824"/>
              <a:gd name="connsiteY0" fmla="*/ 304130 h 304129"/>
              <a:gd name="connsiteX1" fmla="*/ 0 w 280824"/>
              <a:gd name="connsiteY1" fmla="*/ 304130 h 304129"/>
              <a:gd name="connsiteX2" fmla="*/ 150317 w 280824"/>
              <a:gd name="connsiteY2" fmla="*/ 153813 h 304129"/>
              <a:gd name="connsiteX3" fmla="*/ 0 w 280824"/>
              <a:gd name="connsiteY3" fmla="*/ 0 h 304129"/>
              <a:gd name="connsiteX4" fmla="*/ 131673 w 280824"/>
              <a:gd name="connsiteY4" fmla="*/ 0 h 304129"/>
              <a:gd name="connsiteX5" fmla="*/ 280825 w 280824"/>
              <a:gd name="connsiteY5" fmla="*/ 149152 h 304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4129">
                <a:moveTo>
                  <a:pt x="129343" y="304130"/>
                </a:moveTo>
                <a:lnTo>
                  <a:pt x="0" y="304130"/>
                </a:lnTo>
                <a:lnTo>
                  <a:pt x="150317" y="153813"/>
                </a:lnTo>
                <a:lnTo>
                  <a:pt x="0" y="0"/>
                </a:lnTo>
                <a:lnTo>
                  <a:pt x="131673" y="0"/>
                </a:lnTo>
                <a:lnTo>
                  <a:pt x="280825" y="149152"/>
                </a:lnTo>
                <a:close/>
              </a:path>
            </a:pathLst>
          </a:custGeom>
          <a:solidFill>
            <a:srgbClr val="EEF2F5"/>
          </a:solidFill>
          <a:ln w="11643" cap="flat">
            <a:noFill/>
            <a:prstDash val="solid"/>
            <a:miter/>
          </a:ln>
        </p:spPr>
        <p:txBody>
          <a:bodyPr rtlCol="0" anchor="ctr"/>
          <a:lstStyle/>
          <a:p>
            <a:endParaRPr lang="de-DE"/>
          </a:p>
        </p:txBody>
      </p:sp>
      <p:sp>
        <p:nvSpPr>
          <p:cNvPr id="134" name="Freihandform: Form 133">
            <a:extLst>
              <a:ext uri="{FF2B5EF4-FFF2-40B4-BE49-F238E27FC236}">
                <a16:creationId xmlns:a16="http://schemas.microsoft.com/office/drawing/2014/main" id="{D630C772-EA61-4CD9-88F3-B5A40C068A2C}"/>
              </a:ext>
            </a:extLst>
          </p:cNvPr>
          <p:cNvSpPr/>
          <p:nvPr/>
        </p:nvSpPr>
        <p:spPr>
          <a:xfrm>
            <a:off x="10454616" y="4441274"/>
            <a:ext cx="280824" cy="305294"/>
          </a:xfrm>
          <a:custGeom>
            <a:avLst/>
            <a:gdLst>
              <a:gd name="connsiteX0" fmla="*/ 129343 w 280824"/>
              <a:gd name="connsiteY0" fmla="*/ 305295 h 305294"/>
              <a:gd name="connsiteX1" fmla="*/ 0 w 280824"/>
              <a:gd name="connsiteY1" fmla="*/ 305295 h 305294"/>
              <a:gd name="connsiteX2" fmla="*/ 150317 w 280824"/>
              <a:gd name="connsiteY2" fmla="*/ 153813 h 305294"/>
              <a:gd name="connsiteX3" fmla="*/ 0 w 280824"/>
              <a:gd name="connsiteY3" fmla="*/ 0 h 305294"/>
              <a:gd name="connsiteX4" fmla="*/ 131673 w 280824"/>
              <a:gd name="connsiteY4" fmla="*/ 0 h 305294"/>
              <a:gd name="connsiteX5" fmla="*/ 280825 w 280824"/>
              <a:gd name="connsiteY5" fmla="*/ 150317 h 305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5294">
                <a:moveTo>
                  <a:pt x="129343" y="305295"/>
                </a:moveTo>
                <a:lnTo>
                  <a:pt x="0" y="305295"/>
                </a:lnTo>
                <a:lnTo>
                  <a:pt x="150317" y="153813"/>
                </a:lnTo>
                <a:lnTo>
                  <a:pt x="0" y="0"/>
                </a:lnTo>
                <a:lnTo>
                  <a:pt x="131673" y="0"/>
                </a:lnTo>
                <a:lnTo>
                  <a:pt x="280825" y="150317"/>
                </a:lnTo>
                <a:close/>
              </a:path>
            </a:pathLst>
          </a:custGeom>
          <a:solidFill>
            <a:srgbClr val="EEF2F5"/>
          </a:solidFill>
          <a:ln w="11643" cap="flat">
            <a:noFill/>
            <a:prstDash val="solid"/>
            <a:miter/>
          </a:ln>
        </p:spPr>
        <p:txBody>
          <a:bodyPr rtlCol="0" anchor="ctr"/>
          <a:lstStyle/>
          <a:p>
            <a:endParaRPr lang="de-DE"/>
          </a:p>
        </p:txBody>
      </p:sp>
      <p:sp>
        <p:nvSpPr>
          <p:cNvPr id="151" name="Freihandform: Form 150">
            <a:extLst>
              <a:ext uri="{FF2B5EF4-FFF2-40B4-BE49-F238E27FC236}">
                <a16:creationId xmlns:a16="http://schemas.microsoft.com/office/drawing/2014/main" id="{B58FDE5A-4CC1-4494-B722-D4785E2E9E92}"/>
              </a:ext>
            </a:extLst>
          </p:cNvPr>
          <p:cNvSpPr/>
          <p:nvPr/>
        </p:nvSpPr>
        <p:spPr>
          <a:xfrm>
            <a:off x="10454616" y="4796675"/>
            <a:ext cx="280824" cy="304129"/>
          </a:xfrm>
          <a:custGeom>
            <a:avLst/>
            <a:gdLst>
              <a:gd name="connsiteX0" fmla="*/ 129343 w 280824"/>
              <a:gd name="connsiteY0" fmla="*/ 304130 h 304129"/>
              <a:gd name="connsiteX1" fmla="*/ 0 w 280824"/>
              <a:gd name="connsiteY1" fmla="*/ 304130 h 304129"/>
              <a:gd name="connsiteX2" fmla="*/ 150317 w 280824"/>
              <a:gd name="connsiteY2" fmla="*/ 153813 h 304129"/>
              <a:gd name="connsiteX3" fmla="*/ 0 w 280824"/>
              <a:gd name="connsiteY3" fmla="*/ 0 h 304129"/>
              <a:gd name="connsiteX4" fmla="*/ 131673 w 280824"/>
              <a:gd name="connsiteY4" fmla="*/ 0 h 304129"/>
              <a:gd name="connsiteX5" fmla="*/ 280825 w 280824"/>
              <a:gd name="connsiteY5" fmla="*/ 149152 h 304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4129">
                <a:moveTo>
                  <a:pt x="129343" y="304130"/>
                </a:moveTo>
                <a:lnTo>
                  <a:pt x="0" y="304130"/>
                </a:lnTo>
                <a:lnTo>
                  <a:pt x="150317" y="153813"/>
                </a:lnTo>
                <a:lnTo>
                  <a:pt x="0" y="0"/>
                </a:lnTo>
                <a:lnTo>
                  <a:pt x="131673" y="0"/>
                </a:lnTo>
                <a:lnTo>
                  <a:pt x="280825" y="149152"/>
                </a:lnTo>
                <a:close/>
              </a:path>
            </a:pathLst>
          </a:custGeom>
          <a:solidFill>
            <a:srgbClr val="EEF2F5"/>
          </a:solidFill>
          <a:ln w="11643" cap="flat">
            <a:noFill/>
            <a:prstDash val="solid"/>
            <a:miter/>
          </a:ln>
        </p:spPr>
        <p:txBody>
          <a:bodyPr rtlCol="0" anchor="ctr"/>
          <a:lstStyle/>
          <a:p>
            <a:endParaRPr lang="de-DE"/>
          </a:p>
        </p:txBody>
      </p:sp>
      <p:sp>
        <p:nvSpPr>
          <p:cNvPr id="168" name="Freihandform: Form 167">
            <a:extLst>
              <a:ext uri="{FF2B5EF4-FFF2-40B4-BE49-F238E27FC236}">
                <a16:creationId xmlns:a16="http://schemas.microsoft.com/office/drawing/2014/main" id="{0AC8C872-76B8-4053-8B0A-1A7AAE0AA7A1}"/>
              </a:ext>
            </a:extLst>
          </p:cNvPr>
          <p:cNvSpPr/>
          <p:nvPr/>
        </p:nvSpPr>
        <p:spPr>
          <a:xfrm>
            <a:off x="10454616" y="5150910"/>
            <a:ext cx="280824" cy="305295"/>
          </a:xfrm>
          <a:custGeom>
            <a:avLst/>
            <a:gdLst>
              <a:gd name="connsiteX0" fmla="*/ 129343 w 280824"/>
              <a:gd name="connsiteY0" fmla="*/ 305295 h 305295"/>
              <a:gd name="connsiteX1" fmla="*/ 0 w 280824"/>
              <a:gd name="connsiteY1" fmla="*/ 305295 h 305295"/>
              <a:gd name="connsiteX2" fmla="*/ 150317 w 280824"/>
              <a:gd name="connsiteY2" fmla="*/ 153813 h 305295"/>
              <a:gd name="connsiteX3" fmla="*/ 0 w 280824"/>
              <a:gd name="connsiteY3" fmla="*/ 0 h 305295"/>
              <a:gd name="connsiteX4" fmla="*/ 131673 w 280824"/>
              <a:gd name="connsiteY4" fmla="*/ 0 h 305295"/>
              <a:gd name="connsiteX5" fmla="*/ 280825 w 280824"/>
              <a:gd name="connsiteY5" fmla="*/ 150317 h 305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5295">
                <a:moveTo>
                  <a:pt x="129343" y="305295"/>
                </a:moveTo>
                <a:lnTo>
                  <a:pt x="0" y="305295"/>
                </a:lnTo>
                <a:lnTo>
                  <a:pt x="150317" y="153813"/>
                </a:lnTo>
                <a:lnTo>
                  <a:pt x="0" y="0"/>
                </a:lnTo>
                <a:lnTo>
                  <a:pt x="131673" y="0"/>
                </a:lnTo>
                <a:lnTo>
                  <a:pt x="280825" y="150317"/>
                </a:lnTo>
                <a:close/>
              </a:path>
            </a:pathLst>
          </a:custGeom>
          <a:solidFill>
            <a:srgbClr val="EEF2F5"/>
          </a:solidFill>
          <a:ln w="11643" cap="flat">
            <a:noFill/>
            <a:prstDash val="solid"/>
            <a:miter/>
          </a:ln>
        </p:spPr>
        <p:txBody>
          <a:bodyPr rtlCol="0" anchor="ctr"/>
          <a:lstStyle/>
          <a:p>
            <a:endParaRPr lang="de-DE"/>
          </a:p>
        </p:txBody>
      </p:sp>
      <p:sp>
        <p:nvSpPr>
          <p:cNvPr id="185" name="Freihandform: Form 184">
            <a:extLst>
              <a:ext uri="{FF2B5EF4-FFF2-40B4-BE49-F238E27FC236}">
                <a16:creationId xmlns:a16="http://schemas.microsoft.com/office/drawing/2014/main" id="{0A1E16EF-F3A1-4575-8F8F-D7FE734A79FD}"/>
              </a:ext>
            </a:extLst>
          </p:cNvPr>
          <p:cNvSpPr/>
          <p:nvPr/>
        </p:nvSpPr>
        <p:spPr>
          <a:xfrm>
            <a:off x="10454616" y="5506311"/>
            <a:ext cx="280824" cy="305295"/>
          </a:xfrm>
          <a:custGeom>
            <a:avLst/>
            <a:gdLst>
              <a:gd name="connsiteX0" fmla="*/ 129343 w 280824"/>
              <a:gd name="connsiteY0" fmla="*/ 305295 h 305295"/>
              <a:gd name="connsiteX1" fmla="*/ 0 w 280824"/>
              <a:gd name="connsiteY1" fmla="*/ 305295 h 305295"/>
              <a:gd name="connsiteX2" fmla="*/ 150317 w 280824"/>
              <a:gd name="connsiteY2" fmla="*/ 153813 h 305295"/>
              <a:gd name="connsiteX3" fmla="*/ 0 w 280824"/>
              <a:gd name="connsiteY3" fmla="*/ 0 h 305295"/>
              <a:gd name="connsiteX4" fmla="*/ 131673 w 280824"/>
              <a:gd name="connsiteY4" fmla="*/ 0 h 305295"/>
              <a:gd name="connsiteX5" fmla="*/ 280825 w 280824"/>
              <a:gd name="connsiteY5" fmla="*/ 149152 h 305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5295">
                <a:moveTo>
                  <a:pt x="129343" y="305295"/>
                </a:moveTo>
                <a:lnTo>
                  <a:pt x="0" y="305295"/>
                </a:lnTo>
                <a:lnTo>
                  <a:pt x="150317" y="153813"/>
                </a:lnTo>
                <a:lnTo>
                  <a:pt x="0" y="0"/>
                </a:lnTo>
                <a:lnTo>
                  <a:pt x="131673" y="0"/>
                </a:lnTo>
                <a:lnTo>
                  <a:pt x="280825" y="149152"/>
                </a:lnTo>
                <a:close/>
              </a:path>
            </a:pathLst>
          </a:custGeom>
          <a:solidFill>
            <a:srgbClr val="EEF2F5"/>
          </a:solidFill>
          <a:ln w="11643" cap="flat">
            <a:noFill/>
            <a:prstDash val="solid"/>
            <a:miter/>
          </a:ln>
        </p:spPr>
        <p:txBody>
          <a:bodyPr rtlCol="0" anchor="ctr"/>
          <a:lstStyle/>
          <a:p>
            <a:endParaRPr lang="de-DE"/>
          </a:p>
        </p:txBody>
      </p:sp>
      <p:sp>
        <p:nvSpPr>
          <p:cNvPr id="202" name="Freihandform: Form 201">
            <a:extLst>
              <a:ext uri="{FF2B5EF4-FFF2-40B4-BE49-F238E27FC236}">
                <a16:creationId xmlns:a16="http://schemas.microsoft.com/office/drawing/2014/main" id="{C2091647-BDE3-4497-8513-4EEAA0FFCE88}"/>
              </a:ext>
            </a:extLst>
          </p:cNvPr>
          <p:cNvSpPr/>
          <p:nvPr/>
        </p:nvSpPr>
        <p:spPr>
          <a:xfrm>
            <a:off x="10454616" y="5860546"/>
            <a:ext cx="280824" cy="305295"/>
          </a:xfrm>
          <a:custGeom>
            <a:avLst/>
            <a:gdLst>
              <a:gd name="connsiteX0" fmla="*/ 129343 w 280824"/>
              <a:gd name="connsiteY0" fmla="*/ 305295 h 305295"/>
              <a:gd name="connsiteX1" fmla="*/ 0 w 280824"/>
              <a:gd name="connsiteY1" fmla="*/ 305295 h 305295"/>
              <a:gd name="connsiteX2" fmla="*/ 150317 w 280824"/>
              <a:gd name="connsiteY2" fmla="*/ 153813 h 305295"/>
              <a:gd name="connsiteX3" fmla="*/ 0 w 280824"/>
              <a:gd name="connsiteY3" fmla="*/ 0 h 305295"/>
              <a:gd name="connsiteX4" fmla="*/ 131673 w 280824"/>
              <a:gd name="connsiteY4" fmla="*/ 0 h 305295"/>
              <a:gd name="connsiteX5" fmla="*/ 280825 w 280824"/>
              <a:gd name="connsiteY5" fmla="*/ 150317 h 305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5295">
                <a:moveTo>
                  <a:pt x="129343" y="305295"/>
                </a:moveTo>
                <a:lnTo>
                  <a:pt x="0" y="305295"/>
                </a:lnTo>
                <a:lnTo>
                  <a:pt x="150317" y="153813"/>
                </a:lnTo>
                <a:lnTo>
                  <a:pt x="0" y="0"/>
                </a:lnTo>
                <a:lnTo>
                  <a:pt x="131673" y="0"/>
                </a:lnTo>
                <a:lnTo>
                  <a:pt x="280825" y="150317"/>
                </a:lnTo>
                <a:close/>
              </a:path>
            </a:pathLst>
          </a:custGeom>
          <a:solidFill>
            <a:srgbClr val="EEF2F5"/>
          </a:solidFill>
          <a:ln w="11643" cap="flat">
            <a:noFill/>
            <a:prstDash val="solid"/>
            <a:miter/>
          </a:ln>
        </p:spPr>
        <p:txBody>
          <a:bodyPr rtlCol="0" anchor="ctr"/>
          <a:lstStyle/>
          <a:p>
            <a:endParaRPr lang="de-DE"/>
          </a:p>
        </p:txBody>
      </p:sp>
      <p:sp>
        <p:nvSpPr>
          <p:cNvPr id="37" name="Freihandform: Form 36">
            <a:extLst>
              <a:ext uri="{FF2B5EF4-FFF2-40B4-BE49-F238E27FC236}">
                <a16:creationId xmlns:a16="http://schemas.microsoft.com/office/drawing/2014/main" id="{0197700D-5496-490A-8DC7-CB8C17414912}"/>
              </a:ext>
            </a:extLst>
          </p:cNvPr>
          <p:cNvSpPr/>
          <p:nvPr/>
        </p:nvSpPr>
        <p:spPr>
          <a:xfrm>
            <a:off x="10108537" y="2321688"/>
            <a:ext cx="264511" cy="286650"/>
          </a:xfrm>
          <a:custGeom>
            <a:avLst/>
            <a:gdLst>
              <a:gd name="connsiteX0" fmla="*/ 121186 w 264511"/>
              <a:gd name="connsiteY0" fmla="*/ 286651 h 286650"/>
              <a:gd name="connsiteX1" fmla="*/ 0 w 264511"/>
              <a:gd name="connsiteY1" fmla="*/ 286651 h 286650"/>
              <a:gd name="connsiteX2" fmla="*/ 140995 w 264511"/>
              <a:gd name="connsiteY2" fmla="*/ 144491 h 286650"/>
              <a:gd name="connsiteX3" fmla="*/ 0 w 264511"/>
              <a:gd name="connsiteY3" fmla="*/ 0 h 286650"/>
              <a:gd name="connsiteX4" fmla="*/ 123516 w 264511"/>
              <a:gd name="connsiteY4" fmla="*/ 0 h 286650"/>
              <a:gd name="connsiteX5" fmla="*/ 264511 w 264511"/>
              <a:gd name="connsiteY5" fmla="*/ 140995 h 28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0">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53" name="Freihandform: Form 52">
            <a:extLst>
              <a:ext uri="{FF2B5EF4-FFF2-40B4-BE49-F238E27FC236}">
                <a16:creationId xmlns:a16="http://schemas.microsoft.com/office/drawing/2014/main" id="{76A9C547-A085-4B5D-B3A0-6461D8694E0B}"/>
              </a:ext>
            </a:extLst>
          </p:cNvPr>
          <p:cNvSpPr/>
          <p:nvPr/>
        </p:nvSpPr>
        <p:spPr>
          <a:xfrm>
            <a:off x="10108537" y="2675924"/>
            <a:ext cx="264511" cy="286650"/>
          </a:xfrm>
          <a:custGeom>
            <a:avLst/>
            <a:gdLst>
              <a:gd name="connsiteX0" fmla="*/ 121186 w 264511"/>
              <a:gd name="connsiteY0" fmla="*/ 286651 h 286650"/>
              <a:gd name="connsiteX1" fmla="*/ 0 w 264511"/>
              <a:gd name="connsiteY1" fmla="*/ 286651 h 286650"/>
              <a:gd name="connsiteX2" fmla="*/ 140995 w 264511"/>
              <a:gd name="connsiteY2" fmla="*/ 144491 h 286650"/>
              <a:gd name="connsiteX3" fmla="*/ 0 w 264511"/>
              <a:gd name="connsiteY3" fmla="*/ 0 h 286650"/>
              <a:gd name="connsiteX4" fmla="*/ 123516 w 264511"/>
              <a:gd name="connsiteY4" fmla="*/ 0 h 286650"/>
              <a:gd name="connsiteX5" fmla="*/ 264511 w 264511"/>
              <a:gd name="connsiteY5" fmla="*/ 140995 h 28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0">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69" name="Freihandform: Form 68">
            <a:extLst>
              <a:ext uri="{FF2B5EF4-FFF2-40B4-BE49-F238E27FC236}">
                <a16:creationId xmlns:a16="http://schemas.microsoft.com/office/drawing/2014/main" id="{60D25080-D9B9-4692-9129-2C6183DC021A}"/>
              </a:ext>
            </a:extLst>
          </p:cNvPr>
          <p:cNvSpPr/>
          <p:nvPr/>
        </p:nvSpPr>
        <p:spPr>
          <a:xfrm>
            <a:off x="10108537" y="3031324"/>
            <a:ext cx="264511" cy="286650"/>
          </a:xfrm>
          <a:custGeom>
            <a:avLst/>
            <a:gdLst>
              <a:gd name="connsiteX0" fmla="*/ 121186 w 264511"/>
              <a:gd name="connsiteY0" fmla="*/ 286651 h 286650"/>
              <a:gd name="connsiteX1" fmla="*/ 0 w 264511"/>
              <a:gd name="connsiteY1" fmla="*/ 286651 h 286650"/>
              <a:gd name="connsiteX2" fmla="*/ 140995 w 264511"/>
              <a:gd name="connsiteY2" fmla="*/ 144491 h 286650"/>
              <a:gd name="connsiteX3" fmla="*/ 0 w 264511"/>
              <a:gd name="connsiteY3" fmla="*/ 0 h 286650"/>
              <a:gd name="connsiteX4" fmla="*/ 123516 w 264511"/>
              <a:gd name="connsiteY4" fmla="*/ 0 h 286650"/>
              <a:gd name="connsiteX5" fmla="*/ 264511 w 264511"/>
              <a:gd name="connsiteY5" fmla="*/ 140995 h 28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0">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85" name="Freihandform: Form 84">
            <a:extLst>
              <a:ext uri="{FF2B5EF4-FFF2-40B4-BE49-F238E27FC236}">
                <a16:creationId xmlns:a16="http://schemas.microsoft.com/office/drawing/2014/main" id="{2A48DA5F-5A65-4484-99B7-06DB28D0E54D}"/>
              </a:ext>
            </a:extLst>
          </p:cNvPr>
          <p:cNvSpPr/>
          <p:nvPr/>
        </p:nvSpPr>
        <p:spPr>
          <a:xfrm>
            <a:off x="10108537" y="3385560"/>
            <a:ext cx="264511" cy="287816"/>
          </a:xfrm>
          <a:custGeom>
            <a:avLst/>
            <a:gdLst>
              <a:gd name="connsiteX0" fmla="*/ 121186 w 264511"/>
              <a:gd name="connsiteY0" fmla="*/ 287816 h 287816"/>
              <a:gd name="connsiteX1" fmla="*/ 0 w 264511"/>
              <a:gd name="connsiteY1" fmla="*/ 287816 h 287816"/>
              <a:gd name="connsiteX2" fmla="*/ 140995 w 264511"/>
              <a:gd name="connsiteY2" fmla="*/ 145656 h 287816"/>
              <a:gd name="connsiteX3" fmla="*/ 0 w 264511"/>
              <a:gd name="connsiteY3" fmla="*/ 0 h 287816"/>
              <a:gd name="connsiteX4" fmla="*/ 123516 w 264511"/>
              <a:gd name="connsiteY4" fmla="*/ 0 h 287816"/>
              <a:gd name="connsiteX5" fmla="*/ 264511 w 264511"/>
              <a:gd name="connsiteY5" fmla="*/ 140995 h 287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7816">
                <a:moveTo>
                  <a:pt x="121186" y="287816"/>
                </a:moveTo>
                <a:lnTo>
                  <a:pt x="0" y="287816"/>
                </a:lnTo>
                <a:lnTo>
                  <a:pt x="140995" y="145656"/>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101" name="Freihandform: Form 100">
            <a:extLst>
              <a:ext uri="{FF2B5EF4-FFF2-40B4-BE49-F238E27FC236}">
                <a16:creationId xmlns:a16="http://schemas.microsoft.com/office/drawing/2014/main" id="{44A6A546-5137-4093-9C59-F32093CD42C4}"/>
              </a:ext>
            </a:extLst>
          </p:cNvPr>
          <p:cNvSpPr/>
          <p:nvPr/>
        </p:nvSpPr>
        <p:spPr>
          <a:xfrm>
            <a:off x="10108537" y="3740960"/>
            <a:ext cx="264511" cy="286651"/>
          </a:xfrm>
          <a:custGeom>
            <a:avLst/>
            <a:gdLst>
              <a:gd name="connsiteX0" fmla="*/ 121186 w 264511"/>
              <a:gd name="connsiteY0" fmla="*/ 286651 h 286651"/>
              <a:gd name="connsiteX1" fmla="*/ 0 w 264511"/>
              <a:gd name="connsiteY1" fmla="*/ 286651 h 286651"/>
              <a:gd name="connsiteX2" fmla="*/ 140995 w 264511"/>
              <a:gd name="connsiteY2" fmla="*/ 144491 h 286651"/>
              <a:gd name="connsiteX3" fmla="*/ 0 w 264511"/>
              <a:gd name="connsiteY3" fmla="*/ 0 h 286651"/>
              <a:gd name="connsiteX4" fmla="*/ 123516 w 264511"/>
              <a:gd name="connsiteY4" fmla="*/ 0 h 286651"/>
              <a:gd name="connsiteX5" fmla="*/ 264511 w 264511"/>
              <a:gd name="connsiteY5" fmla="*/ 140995 h 286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1">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117" name="Freihandform: Form 116">
            <a:extLst>
              <a:ext uri="{FF2B5EF4-FFF2-40B4-BE49-F238E27FC236}">
                <a16:creationId xmlns:a16="http://schemas.microsoft.com/office/drawing/2014/main" id="{AB7F8976-AA8B-4089-A252-6E621A6336A0}"/>
              </a:ext>
            </a:extLst>
          </p:cNvPr>
          <p:cNvSpPr/>
          <p:nvPr/>
        </p:nvSpPr>
        <p:spPr>
          <a:xfrm>
            <a:off x="10108537" y="4095195"/>
            <a:ext cx="264511" cy="287816"/>
          </a:xfrm>
          <a:custGeom>
            <a:avLst/>
            <a:gdLst>
              <a:gd name="connsiteX0" fmla="*/ 121186 w 264511"/>
              <a:gd name="connsiteY0" fmla="*/ 287816 h 287816"/>
              <a:gd name="connsiteX1" fmla="*/ 0 w 264511"/>
              <a:gd name="connsiteY1" fmla="*/ 287816 h 287816"/>
              <a:gd name="connsiteX2" fmla="*/ 140995 w 264511"/>
              <a:gd name="connsiteY2" fmla="*/ 145656 h 287816"/>
              <a:gd name="connsiteX3" fmla="*/ 0 w 264511"/>
              <a:gd name="connsiteY3" fmla="*/ 0 h 287816"/>
              <a:gd name="connsiteX4" fmla="*/ 123516 w 264511"/>
              <a:gd name="connsiteY4" fmla="*/ 0 h 287816"/>
              <a:gd name="connsiteX5" fmla="*/ 264511 w 264511"/>
              <a:gd name="connsiteY5" fmla="*/ 140995 h 287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7816">
                <a:moveTo>
                  <a:pt x="121186" y="287816"/>
                </a:moveTo>
                <a:lnTo>
                  <a:pt x="0" y="287816"/>
                </a:lnTo>
                <a:lnTo>
                  <a:pt x="140995" y="145656"/>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133" name="Freihandform: Form 132">
            <a:extLst>
              <a:ext uri="{FF2B5EF4-FFF2-40B4-BE49-F238E27FC236}">
                <a16:creationId xmlns:a16="http://schemas.microsoft.com/office/drawing/2014/main" id="{83F4FE5F-E30B-4C91-B22F-C67DA72E3DB6}"/>
              </a:ext>
            </a:extLst>
          </p:cNvPr>
          <p:cNvSpPr/>
          <p:nvPr/>
        </p:nvSpPr>
        <p:spPr>
          <a:xfrm>
            <a:off x="10108537" y="4450596"/>
            <a:ext cx="264511" cy="286651"/>
          </a:xfrm>
          <a:custGeom>
            <a:avLst/>
            <a:gdLst>
              <a:gd name="connsiteX0" fmla="*/ 121186 w 264511"/>
              <a:gd name="connsiteY0" fmla="*/ 286651 h 286651"/>
              <a:gd name="connsiteX1" fmla="*/ 0 w 264511"/>
              <a:gd name="connsiteY1" fmla="*/ 286651 h 286651"/>
              <a:gd name="connsiteX2" fmla="*/ 140995 w 264511"/>
              <a:gd name="connsiteY2" fmla="*/ 144491 h 286651"/>
              <a:gd name="connsiteX3" fmla="*/ 0 w 264511"/>
              <a:gd name="connsiteY3" fmla="*/ 0 h 286651"/>
              <a:gd name="connsiteX4" fmla="*/ 123516 w 264511"/>
              <a:gd name="connsiteY4" fmla="*/ 0 h 286651"/>
              <a:gd name="connsiteX5" fmla="*/ 264511 w 264511"/>
              <a:gd name="connsiteY5" fmla="*/ 140995 h 286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1">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150" name="Freihandform: Form 149">
            <a:extLst>
              <a:ext uri="{FF2B5EF4-FFF2-40B4-BE49-F238E27FC236}">
                <a16:creationId xmlns:a16="http://schemas.microsoft.com/office/drawing/2014/main" id="{A0F76902-2111-4900-A1DA-A0A919DABDFD}"/>
              </a:ext>
            </a:extLst>
          </p:cNvPr>
          <p:cNvSpPr/>
          <p:nvPr/>
        </p:nvSpPr>
        <p:spPr>
          <a:xfrm>
            <a:off x="10108537" y="4805997"/>
            <a:ext cx="264511" cy="286651"/>
          </a:xfrm>
          <a:custGeom>
            <a:avLst/>
            <a:gdLst>
              <a:gd name="connsiteX0" fmla="*/ 121186 w 264511"/>
              <a:gd name="connsiteY0" fmla="*/ 286651 h 286651"/>
              <a:gd name="connsiteX1" fmla="*/ 0 w 264511"/>
              <a:gd name="connsiteY1" fmla="*/ 286651 h 286651"/>
              <a:gd name="connsiteX2" fmla="*/ 140995 w 264511"/>
              <a:gd name="connsiteY2" fmla="*/ 144491 h 286651"/>
              <a:gd name="connsiteX3" fmla="*/ 0 w 264511"/>
              <a:gd name="connsiteY3" fmla="*/ 0 h 286651"/>
              <a:gd name="connsiteX4" fmla="*/ 123516 w 264511"/>
              <a:gd name="connsiteY4" fmla="*/ 0 h 286651"/>
              <a:gd name="connsiteX5" fmla="*/ 264511 w 264511"/>
              <a:gd name="connsiteY5" fmla="*/ 139830 h 286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1">
                <a:moveTo>
                  <a:pt x="121186" y="286651"/>
                </a:moveTo>
                <a:lnTo>
                  <a:pt x="0" y="286651"/>
                </a:lnTo>
                <a:lnTo>
                  <a:pt x="140995" y="144491"/>
                </a:lnTo>
                <a:lnTo>
                  <a:pt x="0" y="0"/>
                </a:lnTo>
                <a:lnTo>
                  <a:pt x="123516" y="0"/>
                </a:lnTo>
                <a:lnTo>
                  <a:pt x="264511" y="139830"/>
                </a:lnTo>
                <a:close/>
              </a:path>
            </a:pathLst>
          </a:custGeom>
          <a:solidFill>
            <a:srgbClr val="EEF2F5"/>
          </a:solidFill>
          <a:ln w="11643" cap="flat">
            <a:noFill/>
            <a:prstDash val="solid"/>
            <a:miter/>
          </a:ln>
        </p:spPr>
        <p:txBody>
          <a:bodyPr rtlCol="0" anchor="ctr"/>
          <a:lstStyle/>
          <a:p>
            <a:endParaRPr lang="de-DE"/>
          </a:p>
        </p:txBody>
      </p:sp>
      <p:sp>
        <p:nvSpPr>
          <p:cNvPr id="167" name="Freihandform: Form 166">
            <a:extLst>
              <a:ext uri="{FF2B5EF4-FFF2-40B4-BE49-F238E27FC236}">
                <a16:creationId xmlns:a16="http://schemas.microsoft.com/office/drawing/2014/main" id="{9C3904EA-5E6B-4F77-8FB0-BFFAE9C65946}"/>
              </a:ext>
            </a:extLst>
          </p:cNvPr>
          <p:cNvSpPr/>
          <p:nvPr/>
        </p:nvSpPr>
        <p:spPr>
          <a:xfrm>
            <a:off x="10108537" y="5160232"/>
            <a:ext cx="264511" cy="286651"/>
          </a:xfrm>
          <a:custGeom>
            <a:avLst/>
            <a:gdLst>
              <a:gd name="connsiteX0" fmla="*/ 121186 w 264511"/>
              <a:gd name="connsiteY0" fmla="*/ 286651 h 286651"/>
              <a:gd name="connsiteX1" fmla="*/ 0 w 264511"/>
              <a:gd name="connsiteY1" fmla="*/ 286651 h 286651"/>
              <a:gd name="connsiteX2" fmla="*/ 140995 w 264511"/>
              <a:gd name="connsiteY2" fmla="*/ 144491 h 286651"/>
              <a:gd name="connsiteX3" fmla="*/ 0 w 264511"/>
              <a:gd name="connsiteY3" fmla="*/ 0 h 286651"/>
              <a:gd name="connsiteX4" fmla="*/ 123516 w 264511"/>
              <a:gd name="connsiteY4" fmla="*/ 0 h 286651"/>
              <a:gd name="connsiteX5" fmla="*/ 264511 w 264511"/>
              <a:gd name="connsiteY5" fmla="*/ 140995 h 286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1">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184" name="Freihandform: Form 183">
            <a:extLst>
              <a:ext uri="{FF2B5EF4-FFF2-40B4-BE49-F238E27FC236}">
                <a16:creationId xmlns:a16="http://schemas.microsoft.com/office/drawing/2014/main" id="{99280CAD-3553-4542-850A-90F0AD935DFE}"/>
              </a:ext>
            </a:extLst>
          </p:cNvPr>
          <p:cNvSpPr/>
          <p:nvPr/>
        </p:nvSpPr>
        <p:spPr>
          <a:xfrm>
            <a:off x="10108537" y="5515633"/>
            <a:ext cx="264511" cy="286651"/>
          </a:xfrm>
          <a:custGeom>
            <a:avLst/>
            <a:gdLst>
              <a:gd name="connsiteX0" fmla="*/ 121186 w 264511"/>
              <a:gd name="connsiteY0" fmla="*/ 286651 h 286651"/>
              <a:gd name="connsiteX1" fmla="*/ 0 w 264511"/>
              <a:gd name="connsiteY1" fmla="*/ 286651 h 286651"/>
              <a:gd name="connsiteX2" fmla="*/ 140995 w 264511"/>
              <a:gd name="connsiteY2" fmla="*/ 144491 h 286651"/>
              <a:gd name="connsiteX3" fmla="*/ 0 w 264511"/>
              <a:gd name="connsiteY3" fmla="*/ 0 h 286651"/>
              <a:gd name="connsiteX4" fmla="*/ 123516 w 264511"/>
              <a:gd name="connsiteY4" fmla="*/ 0 h 286651"/>
              <a:gd name="connsiteX5" fmla="*/ 264511 w 264511"/>
              <a:gd name="connsiteY5" fmla="*/ 140995 h 286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1">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201" name="Freihandform: Form 200">
            <a:extLst>
              <a:ext uri="{FF2B5EF4-FFF2-40B4-BE49-F238E27FC236}">
                <a16:creationId xmlns:a16="http://schemas.microsoft.com/office/drawing/2014/main" id="{E8A013AF-F105-4965-95B7-AC96F227E824}"/>
              </a:ext>
            </a:extLst>
          </p:cNvPr>
          <p:cNvSpPr/>
          <p:nvPr/>
        </p:nvSpPr>
        <p:spPr>
          <a:xfrm>
            <a:off x="10108537" y="5869868"/>
            <a:ext cx="264511" cy="286650"/>
          </a:xfrm>
          <a:custGeom>
            <a:avLst/>
            <a:gdLst>
              <a:gd name="connsiteX0" fmla="*/ 121186 w 264511"/>
              <a:gd name="connsiteY0" fmla="*/ 286651 h 286650"/>
              <a:gd name="connsiteX1" fmla="*/ 0 w 264511"/>
              <a:gd name="connsiteY1" fmla="*/ 286651 h 286650"/>
              <a:gd name="connsiteX2" fmla="*/ 140995 w 264511"/>
              <a:gd name="connsiteY2" fmla="*/ 144491 h 286650"/>
              <a:gd name="connsiteX3" fmla="*/ 0 w 264511"/>
              <a:gd name="connsiteY3" fmla="*/ 0 h 286650"/>
              <a:gd name="connsiteX4" fmla="*/ 123516 w 264511"/>
              <a:gd name="connsiteY4" fmla="*/ 0 h 286650"/>
              <a:gd name="connsiteX5" fmla="*/ 264511 w 264511"/>
              <a:gd name="connsiteY5" fmla="*/ 140995 h 28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0">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218" name="Freihandform: Form 217">
            <a:extLst>
              <a:ext uri="{FF2B5EF4-FFF2-40B4-BE49-F238E27FC236}">
                <a16:creationId xmlns:a16="http://schemas.microsoft.com/office/drawing/2014/main" id="{7F42F650-844E-4C84-9059-2EC117988F05}"/>
              </a:ext>
            </a:extLst>
          </p:cNvPr>
          <p:cNvSpPr/>
          <p:nvPr/>
        </p:nvSpPr>
        <p:spPr>
          <a:xfrm>
            <a:off x="10108537" y="6225269"/>
            <a:ext cx="264511" cy="286650"/>
          </a:xfrm>
          <a:custGeom>
            <a:avLst/>
            <a:gdLst>
              <a:gd name="connsiteX0" fmla="*/ 121186 w 264511"/>
              <a:gd name="connsiteY0" fmla="*/ 286651 h 286650"/>
              <a:gd name="connsiteX1" fmla="*/ 0 w 264511"/>
              <a:gd name="connsiteY1" fmla="*/ 286651 h 286650"/>
              <a:gd name="connsiteX2" fmla="*/ 140995 w 264511"/>
              <a:gd name="connsiteY2" fmla="*/ 144491 h 286650"/>
              <a:gd name="connsiteX3" fmla="*/ 0 w 264511"/>
              <a:gd name="connsiteY3" fmla="*/ 0 h 286650"/>
              <a:gd name="connsiteX4" fmla="*/ 123516 w 264511"/>
              <a:gd name="connsiteY4" fmla="*/ 0 h 286650"/>
              <a:gd name="connsiteX5" fmla="*/ 264511 w 264511"/>
              <a:gd name="connsiteY5" fmla="*/ 140995 h 28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0">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5" name="Freihandform: Form 4">
            <a:extLst>
              <a:ext uri="{FF2B5EF4-FFF2-40B4-BE49-F238E27FC236}">
                <a16:creationId xmlns:a16="http://schemas.microsoft.com/office/drawing/2014/main" id="{37FF9268-487B-457F-B2C7-1E1C142BF17B}"/>
              </a:ext>
            </a:extLst>
          </p:cNvPr>
          <p:cNvSpPr/>
          <p:nvPr/>
        </p:nvSpPr>
        <p:spPr>
          <a:xfrm>
            <a:off x="4909201" y="2101456"/>
            <a:ext cx="16313" cy="17478"/>
          </a:xfrm>
          <a:custGeom>
            <a:avLst/>
            <a:gdLst>
              <a:gd name="connsiteX0" fmla="*/ 8157 w 16313"/>
              <a:gd name="connsiteY0" fmla="*/ 17479 h 17478"/>
              <a:gd name="connsiteX1" fmla="*/ 0 w 16313"/>
              <a:gd name="connsiteY1" fmla="*/ 17479 h 17478"/>
              <a:gd name="connsiteX2" fmla="*/ 9322 w 16313"/>
              <a:gd name="connsiteY2" fmla="*/ 8157 h 17478"/>
              <a:gd name="connsiteX3" fmla="*/ 0 w 16313"/>
              <a:gd name="connsiteY3" fmla="*/ 0 h 17478"/>
              <a:gd name="connsiteX4" fmla="*/ 8157 w 16313"/>
              <a:gd name="connsiteY4" fmla="*/ 0 h 17478"/>
              <a:gd name="connsiteX5" fmla="*/ 16313 w 16313"/>
              <a:gd name="connsiteY5" fmla="*/ 8157 h 17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13" h="17478">
                <a:moveTo>
                  <a:pt x="8157" y="17479"/>
                </a:moveTo>
                <a:lnTo>
                  <a:pt x="0" y="17479"/>
                </a:lnTo>
                <a:lnTo>
                  <a:pt x="9322" y="8157"/>
                </a:lnTo>
                <a:lnTo>
                  <a:pt x="0" y="0"/>
                </a:lnTo>
                <a:lnTo>
                  <a:pt x="8157" y="0"/>
                </a:lnTo>
                <a:lnTo>
                  <a:pt x="16313" y="8157"/>
                </a:lnTo>
                <a:close/>
              </a:path>
            </a:pathLst>
          </a:custGeom>
          <a:solidFill>
            <a:srgbClr val="EEF2F5"/>
          </a:solidFill>
          <a:ln w="11643" cap="flat">
            <a:noFill/>
            <a:prstDash val="solid"/>
            <a:miter/>
          </a:ln>
        </p:spPr>
        <p:txBody>
          <a:bodyPr rtlCol="0" anchor="ctr"/>
          <a:lstStyle/>
          <a:p>
            <a:endParaRPr lang="de-DE"/>
          </a:p>
        </p:txBody>
      </p:sp>
      <p:sp>
        <p:nvSpPr>
          <p:cNvPr id="22" name="Freihandform: Form 21">
            <a:extLst>
              <a:ext uri="{FF2B5EF4-FFF2-40B4-BE49-F238E27FC236}">
                <a16:creationId xmlns:a16="http://schemas.microsoft.com/office/drawing/2014/main" id="{67427BC4-9149-4C28-A507-8AD1464E8243}"/>
              </a:ext>
            </a:extLst>
          </p:cNvPr>
          <p:cNvSpPr/>
          <p:nvPr/>
        </p:nvSpPr>
        <p:spPr>
          <a:xfrm>
            <a:off x="4909201" y="2455692"/>
            <a:ext cx="16313" cy="18643"/>
          </a:xfrm>
          <a:custGeom>
            <a:avLst/>
            <a:gdLst>
              <a:gd name="connsiteX0" fmla="*/ 8157 w 16313"/>
              <a:gd name="connsiteY0" fmla="*/ 18644 h 18643"/>
              <a:gd name="connsiteX1" fmla="*/ 0 w 16313"/>
              <a:gd name="connsiteY1" fmla="*/ 18644 h 18643"/>
              <a:gd name="connsiteX2" fmla="*/ 9322 w 16313"/>
              <a:gd name="connsiteY2" fmla="*/ 9322 h 18643"/>
              <a:gd name="connsiteX3" fmla="*/ 0 w 16313"/>
              <a:gd name="connsiteY3" fmla="*/ 0 h 18643"/>
              <a:gd name="connsiteX4" fmla="*/ 8157 w 16313"/>
              <a:gd name="connsiteY4" fmla="*/ 0 h 18643"/>
              <a:gd name="connsiteX5" fmla="*/ 16313 w 16313"/>
              <a:gd name="connsiteY5" fmla="*/ 9322 h 18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13" h="18643">
                <a:moveTo>
                  <a:pt x="8157" y="18644"/>
                </a:moveTo>
                <a:lnTo>
                  <a:pt x="0" y="18644"/>
                </a:lnTo>
                <a:lnTo>
                  <a:pt x="9322" y="9322"/>
                </a:lnTo>
                <a:lnTo>
                  <a:pt x="0" y="0"/>
                </a:lnTo>
                <a:lnTo>
                  <a:pt x="8157" y="0"/>
                </a:lnTo>
                <a:lnTo>
                  <a:pt x="16313" y="9322"/>
                </a:lnTo>
                <a:close/>
              </a:path>
            </a:pathLst>
          </a:custGeom>
          <a:solidFill>
            <a:srgbClr val="EEF2F5"/>
          </a:solidFill>
          <a:ln w="11643" cap="flat">
            <a:noFill/>
            <a:prstDash val="solid"/>
            <a:miter/>
          </a:ln>
        </p:spPr>
        <p:txBody>
          <a:bodyPr rtlCol="0" anchor="ctr"/>
          <a:lstStyle/>
          <a:p>
            <a:endParaRPr lang="de-DE"/>
          </a:p>
        </p:txBody>
      </p:sp>
      <p:sp>
        <p:nvSpPr>
          <p:cNvPr id="38" name="Freihandform: Form 37">
            <a:extLst>
              <a:ext uri="{FF2B5EF4-FFF2-40B4-BE49-F238E27FC236}">
                <a16:creationId xmlns:a16="http://schemas.microsoft.com/office/drawing/2014/main" id="{86AC6BBB-1E60-4206-8581-A22FBBC2FD4E}"/>
              </a:ext>
            </a:extLst>
          </p:cNvPr>
          <p:cNvSpPr/>
          <p:nvPr/>
        </p:nvSpPr>
        <p:spPr>
          <a:xfrm>
            <a:off x="4909201" y="2811092"/>
            <a:ext cx="16313" cy="17478"/>
          </a:xfrm>
          <a:custGeom>
            <a:avLst/>
            <a:gdLst>
              <a:gd name="connsiteX0" fmla="*/ 8157 w 16313"/>
              <a:gd name="connsiteY0" fmla="*/ 17479 h 17478"/>
              <a:gd name="connsiteX1" fmla="*/ 0 w 16313"/>
              <a:gd name="connsiteY1" fmla="*/ 17479 h 17478"/>
              <a:gd name="connsiteX2" fmla="*/ 9322 w 16313"/>
              <a:gd name="connsiteY2" fmla="*/ 8157 h 17478"/>
              <a:gd name="connsiteX3" fmla="*/ 0 w 16313"/>
              <a:gd name="connsiteY3" fmla="*/ 0 h 17478"/>
              <a:gd name="connsiteX4" fmla="*/ 8157 w 16313"/>
              <a:gd name="connsiteY4" fmla="*/ 0 h 17478"/>
              <a:gd name="connsiteX5" fmla="*/ 16313 w 16313"/>
              <a:gd name="connsiteY5" fmla="*/ 8157 h 17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13" h="17478">
                <a:moveTo>
                  <a:pt x="8157" y="17479"/>
                </a:moveTo>
                <a:lnTo>
                  <a:pt x="0" y="17479"/>
                </a:lnTo>
                <a:lnTo>
                  <a:pt x="9322" y="8157"/>
                </a:lnTo>
                <a:lnTo>
                  <a:pt x="0" y="0"/>
                </a:lnTo>
                <a:lnTo>
                  <a:pt x="8157" y="0"/>
                </a:lnTo>
                <a:lnTo>
                  <a:pt x="16313" y="8157"/>
                </a:lnTo>
                <a:close/>
              </a:path>
            </a:pathLst>
          </a:custGeom>
          <a:solidFill>
            <a:srgbClr val="EEF2F5"/>
          </a:solidFill>
          <a:ln w="11643" cap="flat">
            <a:noFill/>
            <a:prstDash val="solid"/>
            <a:miter/>
          </a:ln>
        </p:spPr>
        <p:txBody>
          <a:bodyPr rtlCol="0" anchor="ctr"/>
          <a:lstStyle/>
          <a:p>
            <a:endParaRPr lang="de-DE"/>
          </a:p>
        </p:txBody>
      </p:sp>
      <p:sp>
        <p:nvSpPr>
          <p:cNvPr id="203" name="Freihandform: Form 202">
            <a:extLst>
              <a:ext uri="{FF2B5EF4-FFF2-40B4-BE49-F238E27FC236}">
                <a16:creationId xmlns:a16="http://schemas.microsoft.com/office/drawing/2014/main" id="{A954D734-5BDB-4F7E-8A7B-09593EE1C30A}"/>
              </a:ext>
            </a:extLst>
          </p:cNvPr>
          <p:cNvSpPr/>
          <p:nvPr/>
        </p:nvSpPr>
        <p:spPr>
          <a:xfrm>
            <a:off x="4909201" y="6359273"/>
            <a:ext cx="16313" cy="18643"/>
          </a:xfrm>
          <a:custGeom>
            <a:avLst/>
            <a:gdLst>
              <a:gd name="connsiteX0" fmla="*/ 8157 w 16313"/>
              <a:gd name="connsiteY0" fmla="*/ 18644 h 18643"/>
              <a:gd name="connsiteX1" fmla="*/ 0 w 16313"/>
              <a:gd name="connsiteY1" fmla="*/ 18644 h 18643"/>
              <a:gd name="connsiteX2" fmla="*/ 9322 w 16313"/>
              <a:gd name="connsiteY2" fmla="*/ 9322 h 18643"/>
              <a:gd name="connsiteX3" fmla="*/ 0 w 16313"/>
              <a:gd name="connsiteY3" fmla="*/ 0 h 18643"/>
              <a:gd name="connsiteX4" fmla="*/ 8157 w 16313"/>
              <a:gd name="connsiteY4" fmla="*/ 0 h 18643"/>
              <a:gd name="connsiteX5" fmla="*/ 16313 w 16313"/>
              <a:gd name="connsiteY5" fmla="*/ 9322 h 18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13" h="18643">
                <a:moveTo>
                  <a:pt x="8157" y="18644"/>
                </a:moveTo>
                <a:lnTo>
                  <a:pt x="0" y="18644"/>
                </a:lnTo>
                <a:lnTo>
                  <a:pt x="9322" y="9322"/>
                </a:lnTo>
                <a:lnTo>
                  <a:pt x="0" y="0"/>
                </a:lnTo>
                <a:lnTo>
                  <a:pt x="8157" y="0"/>
                </a:lnTo>
                <a:lnTo>
                  <a:pt x="16313" y="9322"/>
                </a:lnTo>
                <a:close/>
              </a:path>
            </a:pathLst>
          </a:custGeom>
          <a:solidFill>
            <a:srgbClr val="EEF2F5"/>
          </a:solidFill>
          <a:ln w="11643" cap="flat">
            <a:noFill/>
            <a:prstDash val="solid"/>
            <a:miter/>
          </a:ln>
        </p:spPr>
        <p:txBody>
          <a:bodyPr rtlCol="0" anchor="ctr"/>
          <a:lstStyle/>
          <a:p>
            <a:endParaRPr lang="de-DE"/>
          </a:p>
        </p:txBody>
      </p:sp>
      <p:sp>
        <p:nvSpPr>
          <p:cNvPr id="219" name="Freihandform: Form 218">
            <a:extLst>
              <a:ext uri="{FF2B5EF4-FFF2-40B4-BE49-F238E27FC236}">
                <a16:creationId xmlns:a16="http://schemas.microsoft.com/office/drawing/2014/main" id="{11ACA275-0A27-41DD-8AD0-A37EF069B3DC}"/>
              </a:ext>
            </a:extLst>
          </p:cNvPr>
          <p:cNvSpPr/>
          <p:nvPr/>
        </p:nvSpPr>
        <p:spPr>
          <a:xfrm>
            <a:off x="4909201" y="6714673"/>
            <a:ext cx="16313" cy="17478"/>
          </a:xfrm>
          <a:custGeom>
            <a:avLst/>
            <a:gdLst>
              <a:gd name="connsiteX0" fmla="*/ 8157 w 16313"/>
              <a:gd name="connsiteY0" fmla="*/ 17479 h 17478"/>
              <a:gd name="connsiteX1" fmla="*/ 0 w 16313"/>
              <a:gd name="connsiteY1" fmla="*/ 17479 h 17478"/>
              <a:gd name="connsiteX2" fmla="*/ 9322 w 16313"/>
              <a:gd name="connsiteY2" fmla="*/ 8157 h 17478"/>
              <a:gd name="connsiteX3" fmla="*/ 0 w 16313"/>
              <a:gd name="connsiteY3" fmla="*/ 0 h 17478"/>
              <a:gd name="connsiteX4" fmla="*/ 8157 w 16313"/>
              <a:gd name="connsiteY4" fmla="*/ 0 h 17478"/>
              <a:gd name="connsiteX5" fmla="*/ 16313 w 16313"/>
              <a:gd name="connsiteY5" fmla="*/ 8157 h 17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13" h="17478">
                <a:moveTo>
                  <a:pt x="8157" y="17479"/>
                </a:moveTo>
                <a:lnTo>
                  <a:pt x="0" y="17479"/>
                </a:lnTo>
                <a:lnTo>
                  <a:pt x="9322" y="8157"/>
                </a:lnTo>
                <a:lnTo>
                  <a:pt x="0" y="0"/>
                </a:lnTo>
                <a:lnTo>
                  <a:pt x="8157" y="0"/>
                </a:lnTo>
                <a:lnTo>
                  <a:pt x="16313" y="8157"/>
                </a:lnTo>
                <a:close/>
              </a:path>
            </a:pathLst>
          </a:custGeom>
          <a:solidFill>
            <a:srgbClr val="EEF2F5"/>
          </a:solidFill>
          <a:ln w="11643" cap="flat">
            <a:noFill/>
            <a:prstDash val="solid"/>
            <a:miter/>
          </a:ln>
        </p:spPr>
        <p:txBody>
          <a:bodyPr rtlCol="0" anchor="ctr"/>
          <a:lstStyle/>
          <a:p>
            <a:endParaRPr lang="de-DE"/>
          </a:p>
        </p:txBody>
      </p:sp>
      <p:sp>
        <p:nvSpPr>
          <p:cNvPr id="6" name="Freihandform: Form 5">
            <a:extLst>
              <a:ext uri="{FF2B5EF4-FFF2-40B4-BE49-F238E27FC236}">
                <a16:creationId xmlns:a16="http://schemas.microsoft.com/office/drawing/2014/main" id="{8A4E51D5-9A40-4C2C-A7AF-1757E2BA77A0}"/>
              </a:ext>
            </a:extLst>
          </p:cNvPr>
          <p:cNvSpPr/>
          <p:nvPr/>
        </p:nvSpPr>
        <p:spPr>
          <a:xfrm>
            <a:off x="5255279" y="2092134"/>
            <a:ext cx="33792" cy="36122"/>
          </a:xfrm>
          <a:custGeom>
            <a:avLst/>
            <a:gdLst>
              <a:gd name="connsiteX0" fmla="*/ 15148 w 33792"/>
              <a:gd name="connsiteY0" fmla="*/ 36123 h 36122"/>
              <a:gd name="connsiteX1" fmla="*/ 0 w 33792"/>
              <a:gd name="connsiteY1" fmla="*/ 36123 h 36122"/>
              <a:gd name="connsiteX2" fmla="*/ 18644 w 33792"/>
              <a:gd name="connsiteY2" fmla="*/ 17479 h 36122"/>
              <a:gd name="connsiteX3" fmla="*/ 0 w 33792"/>
              <a:gd name="connsiteY3" fmla="*/ 0 h 36122"/>
              <a:gd name="connsiteX4" fmla="*/ 16313 w 33792"/>
              <a:gd name="connsiteY4" fmla="*/ 0 h 36122"/>
              <a:gd name="connsiteX5" fmla="*/ 33792 w 33792"/>
              <a:gd name="connsiteY5" fmla="*/ 17479 h 3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92" h="36122">
                <a:moveTo>
                  <a:pt x="15148" y="36123"/>
                </a:moveTo>
                <a:lnTo>
                  <a:pt x="0" y="36123"/>
                </a:lnTo>
                <a:lnTo>
                  <a:pt x="18644" y="17479"/>
                </a:lnTo>
                <a:lnTo>
                  <a:pt x="0" y="0"/>
                </a:lnTo>
                <a:lnTo>
                  <a:pt x="16313" y="0"/>
                </a:lnTo>
                <a:lnTo>
                  <a:pt x="33792" y="17479"/>
                </a:lnTo>
                <a:close/>
              </a:path>
            </a:pathLst>
          </a:custGeom>
          <a:solidFill>
            <a:srgbClr val="EEF2F5"/>
          </a:solidFill>
          <a:ln w="11643" cap="flat">
            <a:noFill/>
            <a:prstDash val="solid"/>
            <a:miter/>
          </a:ln>
        </p:spPr>
        <p:txBody>
          <a:bodyPr rtlCol="0" anchor="ctr"/>
          <a:lstStyle/>
          <a:p>
            <a:endParaRPr lang="de-DE"/>
          </a:p>
        </p:txBody>
      </p:sp>
      <p:sp>
        <p:nvSpPr>
          <p:cNvPr id="23" name="Freihandform: Form 22">
            <a:extLst>
              <a:ext uri="{FF2B5EF4-FFF2-40B4-BE49-F238E27FC236}">
                <a16:creationId xmlns:a16="http://schemas.microsoft.com/office/drawing/2014/main" id="{EFF8D231-0526-443F-B572-FBC0C0A7C2F2}"/>
              </a:ext>
            </a:extLst>
          </p:cNvPr>
          <p:cNvSpPr/>
          <p:nvPr/>
        </p:nvSpPr>
        <p:spPr>
          <a:xfrm>
            <a:off x="5255279" y="2446370"/>
            <a:ext cx="33792" cy="36122"/>
          </a:xfrm>
          <a:custGeom>
            <a:avLst/>
            <a:gdLst>
              <a:gd name="connsiteX0" fmla="*/ 15148 w 33792"/>
              <a:gd name="connsiteY0" fmla="*/ 36123 h 36122"/>
              <a:gd name="connsiteX1" fmla="*/ 0 w 33792"/>
              <a:gd name="connsiteY1" fmla="*/ 36123 h 36122"/>
              <a:gd name="connsiteX2" fmla="*/ 18644 w 33792"/>
              <a:gd name="connsiteY2" fmla="*/ 18644 h 36122"/>
              <a:gd name="connsiteX3" fmla="*/ 0 w 33792"/>
              <a:gd name="connsiteY3" fmla="*/ 0 h 36122"/>
              <a:gd name="connsiteX4" fmla="*/ 16313 w 33792"/>
              <a:gd name="connsiteY4" fmla="*/ 0 h 36122"/>
              <a:gd name="connsiteX5" fmla="*/ 33792 w 33792"/>
              <a:gd name="connsiteY5" fmla="*/ 18644 h 3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92" h="36122">
                <a:moveTo>
                  <a:pt x="15148" y="36123"/>
                </a:moveTo>
                <a:lnTo>
                  <a:pt x="0" y="36123"/>
                </a:lnTo>
                <a:lnTo>
                  <a:pt x="18644" y="18644"/>
                </a:lnTo>
                <a:lnTo>
                  <a:pt x="0" y="0"/>
                </a:lnTo>
                <a:lnTo>
                  <a:pt x="16313" y="0"/>
                </a:lnTo>
                <a:lnTo>
                  <a:pt x="33792" y="18644"/>
                </a:lnTo>
                <a:close/>
              </a:path>
            </a:pathLst>
          </a:custGeom>
          <a:solidFill>
            <a:srgbClr val="EEF2F5"/>
          </a:solidFill>
          <a:ln w="11643" cap="flat">
            <a:noFill/>
            <a:prstDash val="solid"/>
            <a:miter/>
          </a:ln>
        </p:spPr>
        <p:txBody>
          <a:bodyPr rtlCol="0" anchor="ctr"/>
          <a:lstStyle/>
          <a:p>
            <a:endParaRPr lang="de-DE"/>
          </a:p>
        </p:txBody>
      </p:sp>
      <p:sp>
        <p:nvSpPr>
          <p:cNvPr id="39" name="Freihandform: Form 38">
            <a:extLst>
              <a:ext uri="{FF2B5EF4-FFF2-40B4-BE49-F238E27FC236}">
                <a16:creationId xmlns:a16="http://schemas.microsoft.com/office/drawing/2014/main" id="{4663B524-8E70-411B-AF82-46000FF0D969}"/>
              </a:ext>
            </a:extLst>
          </p:cNvPr>
          <p:cNvSpPr/>
          <p:nvPr/>
        </p:nvSpPr>
        <p:spPr>
          <a:xfrm>
            <a:off x="5255279" y="2801770"/>
            <a:ext cx="33792" cy="36122"/>
          </a:xfrm>
          <a:custGeom>
            <a:avLst/>
            <a:gdLst>
              <a:gd name="connsiteX0" fmla="*/ 15148 w 33792"/>
              <a:gd name="connsiteY0" fmla="*/ 36123 h 36122"/>
              <a:gd name="connsiteX1" fmla="*/ 0 w 33792"/>
              <a:gd name="connsiteY1" fmla="*/ 36123 h 36122"/>
              <a:gd name="connsiteX2" fmla="*/ 18644 w 33792"/>
              <a:gd name="connsiteY2" fmla="*/ 17479 h 36122"/>
              <a:gd name="connsiteX3" fmla="*/ 0 w 33792"/>
              <a:gd name="connsiteY3" fmla="*/ 0 h 36122"/>
              <a:gd name="connsiteX4" fmla="*/ 16313 w 33792"/>
              <a:gd name="connsiteY4" fmla="*/ 0 h 36122"/>
              <a:gd name="connsiteX5" fmla="*/ 33792 w 33792"/>
              <a:gd name="connsiteY5" fmla="*/ 17479 h 3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92" h="36122">
                <a:moveTo>
                  <a:pt x="15148" y="36123"/>
                </a:moveTo>
                <a:lnTo>
                  <a:pt x="0" y="36123"/>
                </a:lnTo>
                <a:lnTo>
                  <a:pt x="18644" y="17479"/>
                </a:lnTo>
                <a:lnTo>
                  <a:pt x="0" y="0"/>
                </a:lnTo>
                <a:lnTo>
                  <a:pt x="16313" y="0"/>
                </a:lnTo>
                <a:lnTo>
                  <a:pt x="33792" y="17479"/>
                </a:lnTo>
                <a:close/>
              </a:path>
            </a:pathLst>
          </a:custGeom>
          <a:solidFill>
            <a:srgbClr val="EEF2F5"/>
          </a:solidFill>
          <a:ln w="11643" cap="flat">
            <a:noFill/>
            <a:prstDash val="solid"/>
            <a:miter/>
          </a:ln>
        </p:spPr>
        <p:txBody>
          <a:bodyPr rtlCol="0" anchor="ctr"/>
          <a:lstStyle/>
          <a:p>
            <a:endParaRPr lang="de-DE"/>
          </a:p>
        </p:txBody>
      </p:sp>
      <p:sp>
        <p:nvSpPr>
          <p:cNvPr id="55" name="Freihandform: Form 54">
            <a:extLst>
              <a:ext uri="{FF2B5EF4-FFF2-40B4-BE49-F238E27FC236}">
                <a16:creationId xmlns:a16="http://schemas.microsoft.com/office/drawing/2014/main" id="{F4D09A89-D99B-46C8-9144-5A77F64C551B}"/>
              </a:ext>
            </a:extLst>
          </p:cNvPr>
          <p:cNvSpPr/>
          <p:nvPr/>
        </p:nvSpPr>
        <p:spPr>
          <a:xfrm>
            <a:off x="5255279" y="3156006"/>
            <a:ext cx="33792" cy="36122"/>
          </a:xfrm>
          <a:custGeom>
            <a:avLst/>
            <a:gdLst>
              <a:gd name="connsiteX0" fmla="*/ 15148 w 33792"/>
              <a:gd name="connsiteY0" fmla="*/ 36123 h 36122"/>
              <a:gd name="connsiteX1" fmla="*/ 0 w 33792"/>
              <a:gd name="connsiteY1" fmla="*/ 36123 h 36122"/>
              <a:gd name="connsiteX2" fmla="*/ 18644 w 33792"/>
              <a:gd name="connsiteY2" fmla="*/ 18644 h 36122"/>
              <a:gd name="connsiteX3" fmla="*/ 0 w 33792"/>
              <a:gd name="connsiteY3" fmla="*/ 0 h 36122"/>
              <a:gd name="connsiteX4" fmla="*/ 16313 w 33792"/>
              <a:gd name="connsiteY4" fmla="*/ 0 h 36122"/>
              <a:gd name="connsiteX5" fmla="*/ 33792 w 33792"/>
              <a:gd name="connsiteY5" fmla="*/ 18644 h 3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92" h="36122">
                <a:moveTo>
                  <a:pt x="15148" y="36123"/>
                </a:moveTo>
                <a:lnTo>
                  <a:pt x="0" y="36123"/>
                </a:lnTo>
                <a:lnTo>
                  <a:pt x="18644" y="18644"/>
                </a:lnTo>
                <a:lnTo>
                  <a:pt x="0" y="0"/>
                </a:lnTo>
                <a:lnTo>
                  <a:pt x="16313" y="0"/>
                </a:lnTo>
                <a:lnTo>
                  <a:pt x="33792" y="18644"/>
                </a:lnTo>
                <a:close/>
              </a:path>
            </a:pathLst>
          </a:custGeom>
          <a:solidFill>
            <a:srgbClr val="EEF2F5"/>
          </a:solidFill>
          <a:ln w="11643" cap="flat">
            <a:noFill/>
            <a:prstDash val="solid"/>
            <a:miter/>
          </a:ln>
        </p:spPr>
        <p:txBody>
          <a:bodyPr rtlCol="0" anchor="ctr"/>
          <a:lstStyle/>
          <a:p>
            <a:endParaRPr lang="de-DE"/>
          </a:p>
        </p:txBody>
      </p:sp>
      <p:sp>
        <p:nvSpPr>
          <p:cNvPr id="187" name="Freihandform: Form 186">
            <a:extLst>
              <a:ext uri="{FF2B5EF4-FFF2-40B4-BE49-F238E27FC236}">
                <a16:creationId xmlns:a16="http://schemas.microsoft.com/office/drawing/2014/main" id="{9405F1EC-B6AA-4E71-9517-3317B5730FD9}"/>
              </a:ext>
            </a:extLst>
          </p:cNvPr>
          <p:cNvSpPr/>
          <p:nvPr/>
        </p:nvSpPr>
        <p:spPr>
          <a:xfrm>
            <a:off x="5255279" y="5995715"/>
            <a:ext cx="33792" cy="36122"/>
          </a:xfrm>
          <a:custGeom>
            <a:avLst/>
            <a:gdLst>
              <a:gd name="connsiteX0" fmla="*/ 15148 w 33792"/>
              <a:gd name="connsiteY0" fmla="*/ 36123 h 36122"/>
              <a:gd name="connsiteX1" fmla="*/ 0 w 33792"/>
              <a:gd name="connsiteY1" fmla="*/ 36123 h 36122"/>
              <a:gd name="connsiteX2" fmla="*/ 18644 w 33792"/>
              <a:gd name="connsiteY2" fmla="*/ 17479 h 36122"/>
              <a:gd name="connsiteX3" fmla="*/ 0 w 33792"/>
              <a:gd name="connsiteY3" fmla="*/ 0 h 36122"/>
              <a:gd name="connsiteX4" fmla="*/ 16313 w 33792"/>
              <a:gd name="connsiteY4" fmla="*/ 0 h 36122"/>
              <a:gd name="connsiteX5" fmla="*/ 33792 w 33792"/>
              <a:gd name="connsiteY5" fmla="*/ 17479 h 3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92" h="36122">
                <a:moveTo>
                  <a:pt x="15148" y="36123"/>
                </a:moveTo>
                <a:lnTo>
                  <a:pt x="0" y="36123"/>
                </a:lnTo>
                <a:lnTo>
                  <a:pt x="18644" y="17479"/>
                </a:lnTo>
                <a:lnTo>
                  <a:pt x="0" y="0"/>
                </a:lnTo>
                <a:lnTo>
                  <a:pt x="16313" y="0"/>
                </a:lnTo>
                <a:lnTo>
                  <a:pt x="33792" y="17479"/>
                </a:lnTo>
                <a:close/>
              </a:path>
            </a:pathLst>
          </a:custGeom>
          <a:solidFill>
            <a:srgbClr val="EEF2F5"/>
          </a:solidFill>
          <a:ln w="11643" cap="flat">
            <a:noFill/>
            <a:prstDash val="solid"/>
            <a:miter/>
          </a:ln>
        </p:spPr>
        <p:txBody>
          <a:bodyPr rtlCol="0" anchor="ctr"/>
          <a:lstStyle/>
          <a:p>
            <a:endParaRPr lang="de-DE"/>
          </a:p>
        </p:txBody>
      </p:sp>
      <p:sp>
        <p:nvSpPr>
          <p:cNvPr id="204" name="Freihandform: Form 203">
            <a:extLst>
              <a:ext uri="{FF2B5EF4-FFF2-40B4-BE49-F238E27FC236}">
                <a16:creationId xmlns:a16="http://schemas.microsoft.com/office/drawing/2014/main" id="{455ED072-A29F-4FE5-8724-C330B2893FE8}"/>
              </a:ext>
            </a:extLst>
          </p:cNvPr>
          <p:cNvSpPr/>
          <p:nvPr/>
        </p:nvSpPr>
        <p:spPr>
          <a:xfrm>
            <a:off x="5255279" y="6349950"/>
            <a:ext cx="33792" cy="36122"/>
          </a:xfrm>
          <a:custGeom>
            <a:avLst/>
            <a:gdLst>
              <a:gd name="connsiteX0" fmla="*/ 15148 w 33792"/>
              <a:gd name="connsiteY0" fmla="*/ 36123 h 36122"/>
              <a:gd name="connsiteX1" fmla="*/ 0 w 33792"/>
              <a:gd name="connsiteY1" fmla="*/ 36123 h 36122"/>
              <a:gd name="connsiteX2" fmla="*/ 18644 w 33792"/>
              <a:gd name="connsiteY2" fmla="*/ 18644 h 36122"/>
              <a:gd name="connsiteX3" fmla="*/ 0 w 33792"/>
              <a:gd name="connsiteY3" fmla="*/ 0 h 36122"/>
              <a:gd name="connsiteX4" fmla="*/ 16313 w 33792"/>
              <a:gd name="connsiteY4" fmla="*/ 0 h 36122"/>
              <a:gd name="connsiteX5" fmla="*/ 33792 w 33792"/>
              <a:gd name="connsiteY5" fmla="*/ 17479 h 3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92" h="36122">
                <a:moveTo>
                  <a:pt x="15148" y="36123"/>
                </a:moveTo>
                <a:lnTo>
                  <a:pt x="0" y="36123"/>
                </a:lnTo>
                <a:lnTo>
                  <a:pt x="18644" y="18644"/>
                </a:lnTo>
                <a:lnTo>
                  <a:pt x="0" y="0"/>
                </a:lnTo>
                <a:lnTo>
                  <a:pt x="16313" y="0"/>
                </a:lnTo>
                <a:lnTo>
                  <a:pt x="33792" y="17479"/>
                </a:lnTo>
                <a:close/>
              </a:path>
            </a:pathLst>
          </a:custGeom>
          <a:solidFill>
            <a:srgbClr val="EEF2F5"/>
          </a:solidFill>
          <a:ln w="11643" cap="flat">
            <a:noFill/>
            <a:prstDash val="solid"/>
            <a:miter/>
          </a:ln>
        </p:spPr>
        <p:txBody>
          <a:bodyPr rtlCol="0" anchor="ctr"/>
          <a:lstStyle/>
          <a:p>
            <a:endParaRPr lang="de-DE"/>
          </a:p>
        </p:txBody>
      </p:sp>
      <p:sp>
        <p:nvSpPr>
          <p:cNvPr id="220" name="Freihandform: Form 219">
            <a:extLst>
              <a:ext uri="{FF2B5EF4-FFF2-40B4-BE49-F238E27FC236}">
                <a16:creationId xmlns:a16="http://schemas.microsoft.com/office/drawing/2014/main" id="{99942471-7679-49B5-9D52-AEDAA896BBEA}"/>
              </a:ext>
            </a:extLst>
          </p:cNvPr>
          <p:cNvSpPr/>
          <p:nvPr/>
        </p:nvSpPr>
        <p:spPr>
          <a:xfrm>
            <a:off x="5255279" y="6705351"/>
            <a:ext cx="33792" cy="36122"/>
          </a:xfrm>
          <a:custGeom>
            <a:avLst/>
            <a:gdLst>
              <a:gd name="connsiteX0" fmla="*/ 15148 w 33792"/>
              <a:gd name="connsiteY0" fmla="*/ 36123 h 36122"/>
              <a:gd name="connsiteX1" fmla="*/ 0 w 33792"/>
              <a:gd name="connsiteY1" fmla="*/ 36123 h 36122"/>
              <a:gd name="connsiteX2" fmla="*/ 18644 w 33792"/>
              <a:gd name="connsiteY2" fmla="*/ 17479 h 36122"/>
              <a:gd name="connsiteX3" fmla="*/ 0 w 33792"/>
              <a:gd name="connsiteY3" fmla="*/ 0 h 36122"/>
              <a:gd name="connsiteX4" fmla="*/ 16313 w 33792"/>
              <a:gd name="connsiteY4" fmla="*/ 0 h 36122"/>
              <a:gd name="connsiteX5" fmla="*/ 33792 w 33792"/>
              <a:gd name="connsiteY5" fmla="*/ 17479 h 3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92" h="36122">
                <a:moveTo>
                  <a:pt x="15148" y="36123"/>
                </a:moveTo>
                <a:lnTo>
                  <a:pt x="0" y="36123"/>
                </a:lnTo>
                <a:lnTo>
                  <a:pt x="18644" y="17479"/>
                </a:lnTo>
                <a:lnTo>
                  <a:pt x="0" y="0"/>
                </a:lnTo>
                <a:lnTo>
                  <a:pt x="16313" y="0"/>
                </a:lnTo>
                <a:lnTo>
                  <a:pt x="33792" y="17479"/>
                </a:lnTo>
                <a:close/>
              </a:path>
            </a:pathLst>
          </a:custGeom>
          <a:solidFill>
            <a:srgbClr val="EEF2F5"/>
          </a:solidFill>
          <a:ln w="11643" cap="flat">
            <a:noFill/>
            <a:prstDash val="solid"/>
            <a:miter/>
          </a:ln>
        </p:spPr>
        <p:txBody>
          <a:bodyPr rtlCol="0" anchor="ctr"/>
          <a:lstStyle/>
          <a:p>
            <a:endParaRPr lang="de-DE"/>
          </a:p>
        </p:txBody>
      </p:sp>
      <p:sp>
        <p:nvSpPr>
          <p:cNvPr id="7" name="Freihandform: Form 6">
            <a:extLst>
              <a:ext uri="{FF2B5EF4-FFF2-40B4-BE49-F238E27FC236}">
                <a16:creationId xmlns:a16="http://schemas.microsoft.com/office/drawing/2014/main" id="{4036A95C-4698-466B-86BD-E5C4BEBC8F14}"/>
              </a:ext>
            </a:extLst>
          </p:cNvPr>
          <p:cNvSpPr/>
          <p:nvPr/>
        </p:nvSpPr>
        <p:spPr>
          <a:xfrm>
            <a:off x="5602523" y="2082812"/>
            <a:ext cx="50105" cy="54766"/>
          </a:xfrm>
          <a:custGeom>
            <a:avLst/>
            <a:gdLst>
              <a:gd name="connsiteX0" fmla="*/ 22140 w 50105"/>
              <a:gd name="connsiteY0" fmla="*/ 54767 h 54766"/>
              <a:gd name="connsiteX1" fmla="*/ 0 w 50105"/>
              <a:gd name="connsiteY1" fmla="*/ 54767 h 54766"/>
              <a:gd name="connsiteX2" fmla="*/ 26801 w 50105"/>
              <a:gd name="connsiteY2" fmla="*/ 27966 h 54766"/>
              <a:gd name="connsiteX3" fmla="*/ 0 w 50105"/>
              <a:gd name="connsiteY3" fmla="*/ 0 h 54766"/>
              <a:gd name="connsiteX4" fmla="*/ 23305 w 50105"/>
              <a:gd name="connsiteY4" fmla="*/ 0 h 54766"/>
              <a:gd name="connsiteX5" fmla="*/ 50106 w 50105"/>
              <a:gd name="connsiteY5" fmla="*/ 26801 h 5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4765">
                <a:moveTo>
                  <a:pt x="22140" y="54767"/>
                </a:moveTo>
                <a:lnTo>
                  <a:pt x="0" y="54767"/>
                </a:lnTo>
                <a:lnTo>
                  <a:pt x="26801" y="27966"/>
                </a:lnTo>
                <a:lnTo>
                  <a:pt x="0" y="0"/>
                </a:lnTo>
                <a:lnTo>
                  <a:pt x="23305" y="0"/>
                </a:lnTo>
                <a:lnTo>
                  <a:pt x="50106" y="26801"/>
                </a:lnTo>
                <a:close/>
              </a:path>
            </a:pathLst>
          </a:custGeom>
          <a:solidFill>
            <a:srgbClr val="EEF2F5"/>
          </a:solidFill>
          <a:ln w="11643" cap="flat">
            <a:noFill/>
            <a:prstDash val="solid"/>
            <a:miter/>
          </a:ln>
        </p:spPr>
        <p:txBody>
          <a:bodyPr rtlCol="0" anchor="ctr"/>
          <a:lstStyle/>
          <a:p>
            <a:endParaRPr lang="de-DE"/>
          </a:p>
        </p:txBody>
      </p:sp>
      <p:sp>
        <p:nvSpPr>
          <p:cNvPr id="24" name="Freihandform: Form 23">
            <a:extLst>
              <a:ext uri="{FF2B5EF4-FFF2-40B4-BE49-F238E27FC236}">
                <a16:creationId xmlns:a16="http://schemas.microsoft.com/office/drawing/2014/main" id="{BF542F85-6793-447F-ABC7-4DD68400D714}"/>
              </a:ext>
            </a:extLst>
          </p:cNvPr>
          <p:cNvSpPr/>
          <p:nvPr/>
        </p:nvSpPr>
        <p:spPr>
          <a:xfrm>
            <a:off x="5602523" y="2438213"/>
            <a:ext cx="50105" cy="53601"/>
          </a:xfrm>
          <a:custGeom>
            <a:avLst/>
            <a:gdLst>
              <a:gd name="connsiteX0" fmla="*/ 22140 w 50105"/>
              <a:gd name="connsiteY0" fmla="*/ 53601 h 53601"/>
              <a:gd name="connsiteX1" fmla="*/ 0 w 50105"/>
              <a:gd name="connsiteY1" fmla="*/ 53601 h 53601"/>
              <a:gd name="connsiteX2" fmla="*/ 26801 w 50105"/>
              <a:gd name="connsiteY2" fmla="*/ 26801 h 53601"/>
              <a:gd name="connsiteX3" fmla="*/ 0 w 50105"/>
              <a:gd name="connsiteY3" fmla="*/ 0 h 53601"/>
              <a:gd name="connsiteX4" fmla="*/ 23305 w 50105"/>
              <a:gd name="connsiteY4" fmla="*/ 0 h 53601"/>
              <a:gd name="connsiteX5" fmla="*/ 50106 w 50105"/>
              <a:gd name="connsiteY5" fmla="*/ 25635 h 53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3601">
                <a:moveTo>
                  <a:pt x="22140" y="53601"/>
                </a:moveTo>
                <a:lnTo>
                  <a:pt x="0" y="53601"/>
                </a:lnTo>
                <a:lnTo>
                  <a:pt x="26801" y="26801"/>
                </a:lnTo>
                <a:lnTo>
                  <a:pt x="0" y="0"/>
                </a:lnTo>
                <a:lnTo>
                  <a:pt x="23305" y="0"/>
                </a:lnTo>
                <a:lnTo>
                  <a:pt x="50106" y="25635"/>
                </a:lnTo>
                <a:close/>
              </a:path>
            </a:pathLst>
          </a:custGeom>
          <a:solidFill>
            <a:srgbClr val="EEF2F5"/>
          </a:solidFill>
          <a:ln w="11643" cap="flat">
            <a:noFill/>
            <a:prstDash val="solid"/>
            <a:miter/>
          </a:ln>
        </p:spPr>
        <p:txBody>
          <a:bodyPr rtlCol="0" anchor="ctr"/>
          <a:lstStyle/>
          <a:p>
            <a:endParaRPr lang="de-DE"/>
          </a:p>
        </p:txBody>
      </p:sp>
      <p:sp>
        <p:nvSpPr>
          <p:cNvPr id="40" name="Freihandform: Form 39">
            <a:extLst>
              <a:ext uri="{FF2B5EF4-FFF2-40B4-BE49-F238E27FC236}">
                <a16:creationId xmlns:a16="http://schemas.microsoft.com/office/drawing/2014/main" id="{740F153C-C05E-494B-8276-37D3E8653A98}"/>
              </a:ext>
            </a:extLst>
          </p:cNvPr>
          <p:cNvSpPr/>
          <p:nvPr/>
        </p:nvSpPr>
        <p:spPr>
          <a:xfrm>
            <a:off x="5602523" y="2792448"/>
            <a:ext cx="50105" cy="54766"/>
          </a:xfrm>
          <a:custGeom>
            <a:avLst/>
            <a:gdLst>
              <a:gd name="connsiteX0" fmla="*/ 22140 w 50105"/>
              <a:gd name="connsiteY0" fmla="*/ 54767 h 54766"/>
              <a:gd name="connsiteX1" fmla="*/ 0 w 50105"/>
              <a:gd name="connsiteY1" fmla="*/ 54767 h 54766"/>
              <a:gd name="connsiteX2" fmla="*/ 26801 w 50105"/>
              <a:gd name="connsiteY2" fmla="*/ 27966 h 54766"/>
              <a:gd name="connsiteX3" fmla="*/ 0 w 50105"/>
              <a:gd name="connsiteY3" fmla="*/ 0 h 54766"/>
              <a:gd name="connsiteX4" fmla="*/ 23305 w 50105"/>
              <a:gd name="connsiteY4" fmla="*/ 0 h 54766"/>
              <a:gd name="connsiteX5" fmla="*/ 50106 w 50105"/>
              <a:gd name="connsiteY5" fmla="*/ 26801 h 5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4765">
                <a:moveTo>
                  <a:pt x="22140" y="54767"/>
                </a:moveTo>
                <a:lnTo>
                  <a:pt x="0" y="54767"/>
                </a:lnTo>
                <a:lnTo>
                  <a:pt x="26801" y="27966"/>
                </a:lnTo>
                <a:lnTo>
                  <a:pt x="0" y="0"/>
                </a:lnTo>
                <a:lnTo>
                  <a:pt x="23305" y="0"/>
                </a:lnTo>
                <a:lnTo>
                  <a:pt x="50106" y="26801"/>
                </a:lnTo>
                <a:close/>
              </a:path>
            </a:pathLst>
          </a:custGeom>
          <a:solidFill>
            <a:srgbClr val="EEF2F5"/>
          </a:solidFill>
          <a:ln w="11643" cap="flat">
            <a:noFill/>
            <a:prstDash val="solid"/>
            <a:miter/>
          </a:ln>
        </p:spPr>
        <p:txBody>
          <a:bodyPr rtlCol="0" anchor="ctr"/>
          <a:lstStyle/>
          <a:p>
            <a:endParaRPr lang="de-DE"/>
          </a:p>
        </p:txBody>
      </p:sp>
      <p:sp>
        <p:nvSpPr>
          <p:cNvPr id="56" name="Freihandform: Form 55">
            <a:extLst>
              <a:ext uri="{FF2B5EF4-FFF2-40B4-BE49-F238E27FC236}">
                <a16:creationId xmlns:a16="http://schemas.microsoft.com/office/drawing/2014/main" id="{6DC9BB73-A50E-4E7E-85F9-1EC71DEC332C}"/>
              </a:ext>
            </a:extLst>
          </p:cNvPr>
          <p:cNvSpPr/>
          <p:nvPr/>
        </p:nvSpPr>
        <p:spPr>
          <a:xfrm>
            <a:off x="5602523" y="3147849"/>
            <a:ext cx="50105" cy="53601"/>
          </a:xfrm>
          <a:custGeom>
            <a:avLst/>
            <a:gdLst>
              <a:gd name="connsiteX0" fmla="*/ 22140 w 50105"/>
              <a:gd name="connsiteY0" fmla="*/ 53601 h 53601"/>
              <a:gd name="connsiteX1" fmla="*/ 0 w 50105"/>
              <a:gd name="connsiteY1" fmla="*/ 53601 h 53601"/>
              <a:gd name="connsiteX2" fmla="*/ 26801 w 50105"/>
              <a:gd name="connsiteY2" fmla="*/ 26801 h 53601"/>
              <a:gd name="connsiteX3" fmla="*/ 0 w 50105"/>
              <a:gd name="connsiteY3" fmla="*/ 0 h 53601"/>
              <a:gd name="connsiteX4" fmla="*/ 23305 w 50105"/>
              <a:gd name="connsiteY4" fmla="*/ 0 h 53601"/>
              <a:gd name="connsiteX5" fmla="*/ 50106 w 50105"/>
              <a:gd name="connsiteY5" fmla="*/ 26801 h 53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3601">
                <a:moveTo>
                  <a:pt x="22140" y="53601"/>
                </a:moveTo>
                <a:lnTo>
                  <a:pt x="0" y="53601"/>
                </a:lnTo>
                <a:lnTo>
                  <a:pt x="26801" y="26801"/>
                </a:lnTo>
                <a:lnTo>
                  <a:pt x="0" y="0"/>
                </a:lnTo>
                <a:lnTo>
                  <a:pt x="23305" y="0"/>
                </a:lnTo>
                <a:lnTo>
                  <a:pt x="50106" y="26801"/>
                </a:lnTo>
                <a:close/>
              </a:path>
            </a:pathLst>
          </a:custGeom>
          <a:solidFill>
            <a:srgbClr val="EEF2F5"/>
          </a:solidFill>
          <a:ln w="11643" cap="flat">
            <a:noFill/>
            <a:prstDash val="solid"/>
            <a:miter/>
          </a:ln>
        </p:spPr>
        <p:txBody>
          <a:bodyPr rtlCol="0" anchor="ctr"/>
          <a:lstStyle/>
          <a:p>
            <a:endParaRPr lang="de-DE"/>
          </a:p>
        </p:txBody>
      </p:sp>
      <p:sp>
        <p:nvSpPr>
          <p:cNvPr id="72" name="Freihandform: Form 71">
            <a:extLst>
              <a:ext uri="{FF2B5EF4-FFF2-40B4-BE49-F238E27FC236}">
                <a16:creationId xmlns:a16="http://schemas.microsoft.com/office/drawing/2014/main" id="{15AE0A81-8164-4015-8158-36F576D4E31D}"/>
              </a:ext>
            </a:extLst>
          </p:cNvPr>
          <p:cNvSpPr/>
          <p:nvPr/>
        </p:nvSpPr>
        <p:spPr>
          <a:xfrm>
            <a:off x="5602523" y="3502084"/>
            <a:ext cx="50105" cy="54766"/>
          </a:xfrm>
          <a:custGeom>
            <a:avLst/>
            <a:gdLst>
              <a:gd name="connsiteX0" fmla="*/ 22140 w 50105"/>
              <a:gd name="connsiteY0" fmla="*/ 54767 h 54766"/>
              <a:gd name="connsiteX1" fmla="*/ 0 w 50105"/>
              <a:gd name="connsiteY1" fmla="*/ 54767 h 54766"/>
              <a:gd name="connsiteX2" fmla="*/ 26801 w 50105"/>
              <a:gd name="connsiteY2" fmla="*/ 27966 h 54766"/>
              <a:gd name="connsiteX3" fmla="*/ 0 w 50105"/>
              <a:gd name="connsiteY3" fmla="*/ 0 h 54766"/>
              <a:gd name="connsiteX4" fmla="*/ 23305 w 50105"/>
              <a:gd name="connsiteY4" fmla="*/ 0 h 54766"/>
              <a:gd name="connsiteX5" fmla="*/ 50106 w 50105"/>
              <a:gd name="connsiteY5" fmla="*/ 26801 h 5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4765">
                <a:moveTo>
                  <a:pt x="22140" y="54767"/>
                </a:moveTo>
                <a:lnTo>
                  <a:pt x="0" y="54767"/>
                </a:lnTo>
                <a:lnTo>
                  <a:pt x="26801" y="27966"/>
                </a:lnTo>
                <a:lnTo>
                  <a:pt x="0" y="0"/>
                </a:lnTo>
                <a:lnTo>
                  <a:pt x="23305" y="0"/>
                </a:lnTo>
                <a:lnTo>
                  <a:pt x="50106" y="26801"/>
                </a:lnTo>
                <a:close/>
              </a:path>
            </a:pathLst>
          </a:custGeom>
          <a:solidFill>
            <a:srgbClr val="EEF2F5"/>
          </a:solidFill>
          <a:ln w="11643" cap="flat">
            <a:noFill/>
            <a:prstDash val="solid"/>
            <a:miter/>
          </a:ln>
        </p:spPr>
        <p:txBody>
          <a:bodyPr rtlCol="0" anchor="ctr"/>
          <a:lstStyle/>
          <a:p>
            <a:endParaRPr lang="de-DE"/>
          </a:p>
        </p:txBody>
      </p:sp>
      <p:sp>
        <p:nvSpPr>
          <p:cNvPr id="171" name="Freihandform: Form 170">
            <a:extLst>
              <a:ext uri="{FF2B5EF4-FFF2-40B4-BE49-F238E27FC236}">
                <a16:creationId xmlns:a16="http://schemas.microsoft.com/office/drawing/2014/main" id="{F7E7E68A-1C17-4FA5-88E2-BA53C7F9EC18}"/>
              </a:ext>
            </a:extLst>
          </p:cNvPr>
          <p:cNvSpPr/>
          <p:nvPr/>
        </p:nvSpPr>
        <p:spPr>
          <a:xfrm>
            <a:off x="5602523" y="5630993"/>
            <a:ext cx="50105" cy="54766"/>
          </a:xfrm>
          <a:custGeom>
            <a:avLst/>
            <a:gdLst>
              <a:gd name="connsiteX0" fmla="*/ 22140 w 50105"/>
              <a:gd name="connsiteY0" fmla="*/ 54766 h 54766"/>
              <a:gd name="connsiteX1" fmla="*/ 0 w 50105"/>
              <a:gd name="connsiteY1" fmla="*/ 54766 h 54766"/>
              <a:gd name="connsiteX2" fmla="*/ 26801 w 50105"/>
              <a:gd name="connsiteY2" fmla="*/ 27966 h 54766"/>
              <a:gd name="connsiteX3" fmla="*/ 0 w 50105"/>
              <a:gd name="connsiteY3" fmla="*/ 0 h 54766"/>
              <a:gd name="connsiteX4" fmla="*/ 23305 w 50105"/>
              <a:gd name="connsiteY4" fmla="*/ 0 h 54766"/>
              <a:gd name="connsiteX5" fmla="*/ 50106 w 50105"/>
              <a:gd name="connsiteY5" fmla="*/ 26801 h 5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4765">
                <a:moveTo>
                  <a:pt x="22140" y="54766"/>
                </a:moveTo>
                <a:lnTo>
                  <a:pt x="0" y="54766"/>
                </a:lnTo>
                <a:lnTo>
                  <a:pt x="26801" y="27966"/>
                </a:lnTo>
                <a:lnTo>
                  <a:pt x="0" y="0"/>
                </a:lnTo>
                <a:lnTo>
                  <a:pt x="23305" y="0"/>
                </a:lnTo>
                <a:lnTo>
                  <a:pt x="50106" y="26801"/>
                </a:lnTo>
                <a:close/>
              </a:path>
            </a:pathLst>
          </a:custGeom>
          <a:solidFill>
            <a:srgbClr val="EEF2F5"/>
          </a:solidFill>
          <a:ln w="11643" cap="flat">
            <a:noFill/>
            <a:prstDash val="solid"/>
            <a:miter/>
          </a:ln>
        </p:spPr>
        <p:txBody>
          <a:bodyPr rtlCol="0" anchor="ctr"/>
          <a:lstStyle/>
          <a:p>
            <a:endParaRPr lang="de-DE"/>
          </a:p>
        </p:txBody>
      </p:sp>
      <p:sp>
        <p:nvSpPr>
          <p:cNvPr id="188" name="Freihandform: Form 187">
            <a:extLst>
              <a:ext uri="{FF2B5EF4-FFF2-40B4-BE49-F238E27FC236}">
                <a16:creationId xmlns:a16="http://schemas.microsoft.com/office/drawing/2014/main" id="{D858DCE1-2FBD-4D17-8C06-66D6048D5493}"/>
              </a:ext>
            </a:extLst>
          </p:cNvPr>
          <p:cNvSpPr/>
          <p:nvPr/>
        </p:nvSpPr>
        <p:spPr>
          <a:xfrm>
            <a:off x="5602523" y="5986393"/>
            <a:ext cx="50105" cy="54766"/>
          </a:xfrm>
          <a:custGeom>
            <a:avLst/>
            <a:gdLst>
              <a:gd name="connsiteX0" fmla="*/ 22140 w 50105"/>
              <a:gd name="connsiteY0" fmla="*/ 54766 h 54766"/>
              <a:gd name="connsiteX1" fmla="*/ 0 w 50105"/>
              <a:gd name="connsiteY1" fmla="*/ 54766 h 54766"/>
              <a:gd name="connsiteX2" fmla="*/ 26801 w 50105"/>
              <a:gd name="connsiteY2" fmla="*/ 26801 h 54766"/>
              <a:gd name="connsiteX3" fmla="*/ 0 w 50105"/>
              <a:gd name="connsiteY3" fmla="*/ 0 h 54766"/>
              <a:gd name="connsiteX4" fmla="*/ 23305 w 50105"/>
              <a:gd name="connsiteY4" fmla="*/ 0 h 54766"/>
              <a:gd name="connsiteX5" fmla="*/ 50106 w 50105"/>
              <a:gd name="connsiteY5" fmla="*/ 26801 h 5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4765">
                <a:moveTo>
                  <a:pt x="22140" y="54766"/>
                </a:moveTo>
                <a:lnTo>
                  <a:pt x="0" y="54766"/>
                </a:lnTo>
                <a:lnTo>
                  <a:pt x="26801" y="26801"/>
                </a:lnTo>
                <a:lnTo>
                  <a:pt x="0" y="0"/>
                </a:lnTo>
                <a:lnTo>
                  <a:pt x="23305" y="0"/>
                </a:lnTo>
                <a:lnTo>
                  <a:pt x="50106" y="26801"/>
                </a:lnTo>
                <a:close/>
              </a:path>
            </a:pathLst>
          </a:custGeom>
          <a:solidFill>
            <a:srgbClr val="EEF2F5"/>
          </a:solidFill>
          <a:ln w="11643" cap="flat">
            <a:noFill/>
            <a:prstDash val="solid"/>
            <a:miter/>
          </a:ln>
        </p:spPr>
        <p:txBody>
          <a:bodyPr rtlCol="0" anchor="ctr"/>
          <a:lstStyle/>
          <a:p>
            <a:endParaRPr lang="de-DE"/>
          </a:p>
        </p:txBody>
      </p:sp>
      <p:sp>
        <p:nvSpPr>
          <p:cNvPr id="205" name="Freihandform: Form 204">
            <a:extLst>
              <a:ext uri="{FF2B5EF4-FFF2-40B4-BE49-F238E27FC236}">
                <a16:creationId xmlns:a16="http://schemas.microsoft.com/office/drawing/2014/main" id="{A776D8C8-F6BD-495D-AE14-B62B445F9D30}"/>
              </a:ext>
            </a:extLst>
          </p:cNvPr>
          <p:cNvSpPr/>
          <p:nvPr/>
        </p:nvSpPr>
        <p:spPr>
          <a:xfrm>
            <a:off x="5602523" y="6340628"/>
            <a:ext cx="50105" cy="54766"/>
          </a:xfrm>
          <a:custGeom>
            <a:avLst/>
            <a:gdLst>
              <a:gd name="connsiteX0" fmla="*/ 22140 w 50105"/>
              <a:gd name="connsiteY0" fmla="*/ 54766 h 54766"/>
              <a:gd name="connsiteX1" fmla="*/ 0 w 50105"/>
              <a:gd name="connsiteY1" fmla="*/ 54766 h 54766"/>
              <a:gd name="connsiteX2" fmla="*/ 26801 w 50105"/>
              <a:gd name="connsiteY2" fmla="*/ 27966 h 54766"/>
              <a:gd name="connsiteX3" fmla="*/ 0 w 50105"/>
              <a:gd name="connsiteY3" fmla="*/ 0 h 54766"/>
              <a:gd name="connsiteX4" fmla="*/ 23305 w 50105"/>
              <a:gd name="connsiteY4" fmla="*/ 0 h 54766"/>
              <a:gd name="connsiteX5" fmla="*/ 50106 w 50105"/>
              <a:gd name="connsiteY5" fmla="*/ 26801 h 5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4765">
                <a:moveTo>
                  <a:pt x="22140" y="54766"/>
                </a:moveTo>
                <a:lnTo>
                  <a:pt x="0" y="54766"/>
                </a:lnTo>
                <a:lnTo>
                  <a:pt x="26801" y="27966"/>
                </a:lnTo>
                <a:lnTo>
                  <a:pt x="0" y="0"/>
                </a:lnTo>
                <a:lnTo>
                  <a:pt x="23305" y="0"/>
                </a:lnTo>
                <a:lnTo>
                  <a:pt x="50106" y="26801"/>
                </a:lnTo>
                <a:close/>
              </a:path>
            </a:pathLst>
          </a:custGeom>
          <a:solidFill>
            <a:srgbClr val="EEF2F5"/>
          </a:solidFill>
          <a:ln w="11643" cap="flat">
            <a:noFill/>
            <a:prstDash val="solid"/>
            <a:miter/>
          </a:ln>
        </p:spPr>
        <p:txBody>
          <a:bodyPr rtlCol="0" anchor="ctr"/>
          <a:lstStyle/>
          <a:p>
            <a:endParaRPr lang="de-DE"/>
          </a:p>
        </p:txBody>
      </p:sp>
      <p:sp>
        <p:nvSpPr>
          <p:cNvPr id="221" name="Freihandform: Form 220">
            <a:extLst>
              <a:ext uri="{FF2B5EF4-FFF2-40B4-BE49-F238E27FC236}">
                <a16:creationId xmlns:a16="http://schemas.microsoft.com/office/drawing/2014/main" id="{335AC205-F15B-44A8-85C9-E62E3F81F25D}"/>
              </a:ext>
            </a:extLst>
          </p:cNvPr>
          <p:cNvSpPr/>
          <p:nvPr/>
        </p:nvSpPr>
        <p:spPr>
          <a:xfrm>
            <a:off x="5602523" y="6696029"/>
            <a:ext cx="50105" cy="54766"/>
          </a:xfrm>
          <a:custGeom>
            <a:avLst/>
            <a:gdLst>
              <a:gd name="connsiteX0" fmla="*/ 22140 w 50105"/>
              <a:gd name="connsiteY0" fmla="*/ 54766 h 54766"/>
              <a:gd name="connsiteX1" fmla="*/ 0 w 50105"/>
              <a:gd name="connsiteY1" fmla="*/ 54766 h 54766"/>
              <a:gd name="connsiteX2" fmla="*/ 26801 w 50105"/>
              <a:gd name="connsiteY2" fmla="*/ 27966 h 54766"/>
              <a:gd name="connsiteX3" fmla="*/ 0 w 50105"/>
              <a:gd name="connsiteY3" fmla="*/ 0 h 54766"/>
              <a:gd name="connsiteX4" fmla="*/ 23305 w 50105"/>
              <a:gd name="connsiteY4" fmla="*/ 0 h 54766"/>
              <a:gd name="connsiteX5" fmla="*/ 50106 w 50105"/>
              <a:gd name="connsiteY5" fmla="*/ 26801 h 5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4765">
                <a:moveTo>
                  <a:pt x="22140" y="54766"/>
                </a:moveTo>
                <a:lnTo>
                  <a:pt x="0" y="54766"/>
                </a:lnTo>
                <a:lnTo>
                  <a:pt x="26801" y="27966"/>
                </a:lnTo>
                <a:lnTo>
                  <a:pt x="0" y="0"/>
                </a:lnTo>
                <a:lnTo>
                  <a:pt x="23305" y="0"/>
                </a:lnTo>
                <a:lnTo>
                  <a:pt x="50106" y="26801"/>
                </a:lnTo>
                <a:close/>
              </a:path>
            </a:pathLst>
          </a:custGeom>
          <a:solidFill>
            <a:srgbClr val="EEF2F5"/>
          </a:solidFill>
          <a:ln w="11643" cap="flat">
            <a:noFill/>
            <a:prstDash val="solid"/>
            <a:miter/>
          </a:ln>
        </p:spPr>
        <p:txBody>
          <a:bodyPr rtlCol="0" anchor="ctr"/>
          <a:lstStyle/>
          <a:p>
            <a:endParaRPr lang="de-DE"/>
          </a:p>
        </p:txBody>
      </p:sp>
      <p:sp>
        <p:nvSpPr>
          <p:cNvPr id="8" name="Freihandform: Form 7">
            <a:extLst>
              <a:ext uri="{FF2B5EF4-FFF2-40B4-BE49-F238E27FC236}">
                <a16:creationId xmlns:a16="http://schemas.microsoft.com/office/drawing/2014/main" id="{D0D01710-DC2E-4828-86F6-D324528021A5}"/>
              </a:ext>
            </a:extLst>
          </p:cNvPr>
          <p:cNvSpPr/>
          <p:nvPr/>
        </p:nvSpPr>
        <p:spPr>
          <a:xfrm>
            <a:off x="5948602" y="2073490"/>
            <a:ext cx="66419" cy="72245"/>
          </a:xfrm>
          <a:custGeom>
            <a:avLst/>
            <a:gdLst>
              <a:gd name="connsiteX0" fmla="*/ 30297 w 66419"/>
              <a:gd name="connsiteY0" fmla="*/ 72245 h 72245"/>
              <a:gd name="connsiteX1" fmla="*/ 0 w 66419"/>
              <a:gd name="connsiteY1" fmla="*/ 72245 h 72245"/>
              <a:gd name="connsiteX2" fmla="*/ 36123 w 66419"/>
              <a:gd name="connsiteY2" fmla="*/ 37288 h 72245"/>
              <a:gd name="connsiteX3" fmla="*/ 0 w 66419"/>
              <a:gd name="connsiteY3" fmla="*/ 0 h 72245"/>
              <a:gd name="connsiteX4" fmla="*/ 31462 w 66419"/>
              <a:gd name="connsiteY4" fmla="*/ 0 h 72245"/>
              <a:gd name="connsiteX5" fmla="*/ 66419 w 66419"/>
              <a:gd name="connsiteY5" fmla="*/ 36123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5"/>
                </a:moveTo>
                <a:lnTo>
                  <a:pt x="0" y="72245"/>
                </a:lnTo>
                <a:lnTo>
                  <a:pt x="36123" y="37288"/>
                </a:lnTo>
                <a:lnTo>
                  <a:pt x="0" y="0"/>
                </a:lnTo>
                <a:lnTo>
                  <a:pt x="31462" y="0"/>
                </a:lnTo>
                <a:lnTo>
                  <a:pt x="66419" y="36123"/>
                </a:lnTo>
                <a:close/>
              </a:path>
            </a:pathLst>
          </a:custGeom>
          <a:solidFill>
            <a:srgbClr val="EEF2F5"/>
          </a:solidFill>
          <a:ln w="11643" cap="flat">
            <a:noFill/>
            <a:prstDash val="solid"/>
            <a:miter/>
          </a:ln>
        </p:spPr>
        <p:txBody>
          <a:bodyPr rtlCol="0" anchor="ctr"/>
          <a:lstStyle/>
          <a:p>
            <a:endParaRPr lang="de-DE"/>
          </a:p>
        </p:txBody>
      </p:sp>
      <p:sp>
        <p:nvSpPr>
          <p:cNvPr id="25" name="Freihandform: Form 24">
            <a:extLst>
              <a:ext uri="{FF2B5EF4-FFF2-40B4-BE49-F238E27FC236}">
                <a16:creationId xmlns:a16="http://schemas.microsoft.com/office/drawing/2014/main" id="{31123F88-1002-4B81-B9C6-413FE13BBA3A}"/>
              </a:ext>
            </a:extLst>
          </p:cNvPr>
          <p:cNvSpPr/>
          <p:nvPr/>
        </p:nvSpPr>
        <p:spPr>
          <a:xfrm>
            <a:off x="5948602" y="2428891"/>
            <a:ext cx="66419" cy="72245"/>
          </a:xfrm>
          <a:custGeom>
            <a:avLst/>
            <a:gdLst>
              <a:gd name="connsiteX0" fmla="*/ 30297 w 66419"/>
              <a:gd name="connsiteY0" fmla="*/ 72245 h 72245"/>
              <a:gd name="connsiteX1" fmla="*/ 0 w 66419"/>
              <a:gd name="connsiteY1" fmla="*/ 72245 h 72245"/>
              <a:gd name="connsiteX2" fmla="*/ 36123 w 66419"/>
              <a:gd name="connsiteY2" fmla="*/ 36123 h 72245"/>
              <a:gd name="connsiteX3" fmla="*/ 0 w 66419"/>
              <a:gd name="connsiteY3" fmla="*/ 0 h 72245"/>
              <a:gd name="connsiteX4" fmla="*/ 31462 w 66419"/>
              <a:gd name="connsiteY4" fmla="*/ 0 h 72245"/>
              <a:gd name="connsiteX5" fmla="*/ 66419 w 66419"/>
              <a:gd name="connsiteY5" fmla="*/ 34957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5"/>
                </a:moveTo>
                <a:lnTo>
                  <a:pt x="0" y="72245"/>
                </a:lnTo>
                <a:lnTo>
                  <a:pt x="36123" y="36123"/>
                </a:lnTo>
                <a:lnTo>
                  <a:pt x="0" y="0"/>
                </a:lnTo>
                <a:lnTo>
                  <a:pt x="31462" y="0"/>
                </a:lnTo>
                <a:lnTo>
                  <a:pt x="66419" y="34957"/>
                </a:lnTo>
                <a:close/>
              </a:path>
            </a:pathLst>
          </a:custGeom>
          <a:solidFill>
            <a:srgbClr val="EEF2F5"/>
          </a:solidFill>
          <a:ln w="11643" cap="flat">
            <a:noFill/>
            <a:prstDash val="solid"/>
            <a:miter/>
          </a:ln>
        </p:spPr>
        <p:txBody>
          <a:bodyPr rtlCol="0" anchor="ctr"/>
          <a:lstStyle/>
          <a:p>
            <a:endParaRPr lang="de-DE"/>
          </a:p>
        </p:txBody>
      </p:sp>
      <p:sp>
        <p:nvSpPr>
          <p:cNvPr id="41" name="Freihandform: Form 40">
            <a:extLst>
              <a:ext uri="{FF2B5EF4-FFF2-40B4-BE49-F238E27FC236}">
                <a16:creationId xmlns:a16="http://schemas.microsoft.com/office/drawing/2014/main" id="{BA5C8D95-A4B2-4EE7-814A-A5E3649F4137}"/>
              </a:ext>
            </a:extLst>
          </p:cNvPr>
          <p:cNvSpPr/>
          <p:nvPr/>
        </p:nvSpPr>
        <p:spPr>
          <a:xfrm>
            <a:off x="5948602" y="2783126"/>
            <a:ext cx="66419" cy="72245"/>
          </a:xfrm>
          <a:custGeom>
            <a:avLst/>
            <a:gdLst>
              <a:gd name="connsiteX0" fmla="*/ 30297 w 66419"/>
              <a:gd name="connsiteY0" fmla="*/ 72245 h 72245"/>
              <a:gd name="connsiteX1" fmla="*/ 0 w 66419"/>
              <a:gd name="connsiteY1" fmla="*/ 72245 h 72245"/>
              <a:gd name="connsiteX2" fmla="*/ 36123 w 66419"/>
              <a:gd name="connsiteY2" fmla="*/ 37288 h 72245"/>
              <a:gd name="connsiteX3" fmla="*/ 0 w 66419"/>
              <a:gd name="connsiteY3" fmla="*/ 0 h 72245"/>
              <a:gd name="connsiteX4" fmla="*/ 31462 w 66419"/>
              <a:gd name="connsiteY4" fmla="*/ 0 h 72245"/>
              <a:gd name="connsiteX5" fmla="*/ 66419 w 66419"/>
              <a:gd name="connsiteY5" fmla="*/ 36123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5"/>
                </a:moveTo>
                <a:lnTo>
                  <a:pt x="0" y="72245"/>
                </a:lnTo>
                <a:lnTo>
                  <a:pt x="36123" y="37288"/>
                </a:lnTo>
                <a:lnTo>
                  <a:pt x="0" y="0"/>
                </a:lnTo>
                <a:lnTo>
                  <a:pt x="31462" y="0"/>
                </a:lnTo>
                <a:lnTo>
                  <a:pt x="66419" y="36123"/>
                </a:lnTo>
                <a:close/>
              </a:path>
            </a:pathLst>
          </a:custGeom>
          <a:solidFill>
            <a:srgbClr val="EEF2F5"/>
          </a:solidFill>
          <a:ln w="11643" cap="flat">
            <a:noFill/>
            <a:prstDash val="solid"/>
            <a:miter/>
          </a:ln>
        </p:spPr>
        <p:txBody>
          <a:bodyPr rtlCol="0" anchor="ctr"/>
          <a:lstStyle/>
          <a:p>
            <a:endParaRPr lang="de-DE"/>
          </a:p>
        </p:txBody>
      </p:sp>
      <p:sp>
        <p:nvSpPr>
          <p:cNvPr id="57" name="Freihandform: Form 56">
            <a:extLst>
              <a:ext uri="{FF2B5EF4-FFF2-40B4-BE49-F238E27FC236}">
                <a16:creationId xmlns:a16="http://schemas.microsoft.com/office/drawing/2014/main" id="{636D7BF9-1E35-425E-994B-CE960B642C82}"/>
              </a:ext>
            </a:extLst>
          </p:cNvPr>
          <p:cNvSpPr/>
          <p:nvPr/>
        </p:nvSpPr>
        <p:spPr>
          <a:xfrm>
            <a:off x="5948602" y="3138527"/>
            <a:ext cx="66419" cy="72245"/>
          </a:xfrm>
          <a:custGeom>
            <a:avLst/>
            <a:gdLst>
              <a:gd name="connsiteX0" fmla="*/ 30297 w 66419"/>
              <a:gd name="connsiteY0" fmla="*/ 72245 h 72245"/>
              <a:gd name="connsiteX1" fmla="*/ 0 w 66419"/>
              <a:gd name="connsiteY1" fmla="*/ 72245 h 72245"/>
              <a:gd name="connsiteX2" fmla="*/ 36123 w 66419"/>
              <a:gd name="connsiteY2" fmla="*/ 36123 h 72245"/>
              <a:gd name="connsiteX3" fmla="*/ 0 w 66419"/>
              <a:gd name="connsiteY3" fmla="*/ 0 h 72245"/>
              <a:gd name="connsiteX4" fmla="*/ 31462 w 66419"/>
              <a:gd name="connsiteY4" fmla="*/ 0 h 72245"/>
              <a:gd name="connsiteX5" fmla="*/ 66419 w 66419"/>
              <a:gd name="connsiteY5" fmla="*/ 34957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5"/>
                </a:moveTo>
                <a:lnTo>
                  <a:pt x="0" y="72245"/>
                </a:lnTo>
                <a:lnTo>
                  <a:pt x="36123" y="36123"/>
                </a:lnTo>
                <a:lnTo>
                  <a:pt x="0" y="0"/>
                </a:lnTo>
                <a:lnTo>
                  <a:pt x="31462" y="0"/>
                </a:lnTo>
                <a:lnTo>
                  <a:pt x="66419" y="34957"/>
                </a:lnTo>
                <a:close/>
              </a:path>
            </a:pathLst>
          </a:custGeom>
          <a:solidFill>
            <a:srgbClr val="EEF2F5"/>
          </a:solidFill>
          <a:ln w="11643" cap="flat">
            <a:noFill/>
            <a:prstDash val="solid"/>
            <a:miter/>
          </a:ln>
        </p:spPr>
        <p:txBody>
          <a:bodyPr rtlCol="0" anchor="ctr"/>
          <a:lstStyle/>
          <a:p>
            <a:endParaRPr lang="de-DE"/>
          </a:p>
        </p:txBody>
      </p:sp>
      <p:sp>
        <p:nvSpPr>
          <p:cNvPr id="73" name="Freihandform: Form 72">
            <a:extLst>
              <a:ext uri="{FF2B5EF4-FFF2-40B4-BE49-F238E27FC236}">
                <a16:creationId xmlns:a16="http://schemas.microsoft.com/office/drawing/2014/main" id="{DFBDD53B-EB0E-4F44-B437-1C679A10EA5C}"/>
              </a:ext>
            </a:extLst>
          </p:cNvPr>
          <p:cNvSpPr/>
          <p:nvPr/>
        </p:nvSpPr>
        <p:spPr>
          <a:xfrm>
            <a:off x="5948602" y="3492762"/>
            <a:ext cx="66419" cy="73410"/>
          </a:xfrm>
          <a:custGeom>
            <a:avLst/>
            <a:gdLst>
              <a:gd name="connsiteX0" fmla="*/ 30297 w 66419"/>
              <a:gd name="connsiteY0" fmla="*/ 73411 h 73410"/>
              <a:gd name="connsiteX1" fmla="*/ 0 w 66419"/>
              <a:gd name="connsiteY1" fmla="*/ 73411 h 73410"/>
              <a:gd name="connsiteX2" fmla="*/ 36123 w 66419"/>
              <a:gd name="connsiteY2" fmla="*/ 37288 h 73410"/>
              <a:gd name="connsiteX3" fmla="*/ 0 w 66419"/>
              <a:gd name="connsiteY3" fmla="*/ 0 h 73410"/>
              <a:gd name="connsiteX4" fmla="*/ 31462 w 66419"/>
              <a:gd name="connsiteY4" fmla="*/ 0 h 73410"/>
              <a:gd name="connsiteX5" fmla="*/ 66419 w 66419"/>
              <a:gd name="connsiteY5" fmla="*/ 36123 h 73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3410">
                <a:moveTo>
                  <a:pt x="30297" y="73411"/>
                </a:moveTo>
                <a:lnTo>
                  <a:pt x="0" y="73411"/>
                </a:lnTo>
                <a:lnTo>
                  <a:pt x="36123" y="37288"/>
                </a:lnTo>
                <a:lnTo>
                  <a:pt x="0" y="0"/>
                </a:lnTo>
                <a:lnTo>
                  <a:pt x="31462" y="0"/>
                </a:lnTo>
                <a:lnTo>
                  <a:pt x="66419" y="36123"/>
                </a:lnTo>
                <a:close/>
              </a:path>
            </a:pathLst>
          </a:custGeom>
          <a:solidFill>
            <a:srgbClr val="EEF2F5"/>
          </a:solidFill>
          <a:ln w="11643" cap="flat">
            <a:noFill/>
            <a:prstDash val="solid"/>
            <a:miter/>
          </a:ln>
        </p:spPr>
        <p:txBody>
          <a:bodyPr rtlCol="0" anchor="ctr"/>
          <a:lstStyle/>
          <a:p>
            <a:endParaRPr lang="de-DE"/>
          </a:p>
        </p:txBody>
      </p:sp>
      <p:sp>
        <p:nvSpPr>
          <p:cNvPr id="89" name="Freihandform: Form 88">
            <a:extLst>
              <a:ext uri="{FF2B5EF4-FFF2-40B4-BE49-F238E27FC236}">
                <a16:creationId xmlns:a16="http://schemas.microsoft.com/office/drawing/2014/main" id="{3107BFD1-BB04-45D5-9901-72F67CE0736C}"/>
              </a:ext>
            </a:extLst>
          </p:cNvPr>
          <p:cNvSpPr/>
          <p:nvPr/>
        </p:nvSpPr>
        <p:spPr>
          <a:xfrm>
            <a:off x="5948602" y="3848163"/>
            <a:ext cx="66419" cy="72245"/>
          </a:xfrm>
          <a:custGeom>
            <a:avLst/>
            <a:gdLst>
              <a:gd name="connsiteX0" fmla="*/ 30297 w 66419"/>
              <a:gd name="connsiteY0" fmla="*/ 72245 h 72245"/>
              <a:gd name="connsiteX1" fmla="*/ 0 w 66419"/>
              <a:gd name="connsiteY1" fmla="*/ 72245 h 72245"/>
              <a:gd name="connsiteX2" fmla="*/ 36123 w 66419"/>
              <a:gd name="connsiteY2" fmla="*/ 36123 h 72245"/>
              <a:gd name="connsiteX3" fmla="*/ 0 w 66419"/>
              <a:gd name="connsiteY3" fmla="*/ 0 h 72245"/>
              <a:gd name="connsiteX4" fmla="*/ 31462 w 66419"/>
              <a:gd name="connsiteY4" fmla="*/ 0 h 72245"/>
              <a:gd name="connsiteX5" fmla="*/ 66419 w 66419"/>
              <a:gd name="connsiteY5" fmla="*/ 34957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5"/>
                </a:moveTo>
                <a:lnTo>
                  <a:pt x="0" y="72245"/>
                </a:lnTo>
                <a:lnTo>
                  <a:pt x="36123" y="36123"/>
                </a:lnTo>
                <a:lnTo>
                  <a:pt x="0" y="0"/>
                </a:lnTo>
                <a:lnTo>
                  <a:pt x="31462" y="0"/>
                </a:lnTo>
                <a:lnTo>
                  <a:pt x="66419" y="34957"/>
                </a:lnTo>
                <a:close/>
              </a:path>
            </a:pathLst>
          </a:custGeom>
          <a:solidFill>
            <a:srgbClr val="EEF2F5"/>
          </a:solidFill>
          <a:ln w="11643" cap="flat">
            <a:noFill/>
            <a:prstDash val="solid"/>
            <a:miter/>
          </a:ln>
        </p:spPr>
        <p:txBody>
          <a:bodyPr rtlCol="0" anchor="ctr"/>
          <a:lstStyle/>
          <a:p>
            <a:endParaRPr lang="de-DE"/>
          </a:p>
        </p:txBody>
      </p:sp>
      <p:sp>
        <p:nvSpPr>
          <p:cNvPr id="155" name="Freihandform: Form 154">
            <a:extLst>
              <a:ext uri="{FF2B5EF4-FFF2-40B4-BE49-F238E27FC236}">
                <a16:creationId xmlns:a16="http://schemas.microsoft.com/office/drawing/2014/main" id="{0476C6FA-89C7-4150-9910-3BE37EF8061B}"/>
              </a:ext>
            </a:extLst>
          </p:cNvPr>
          <p:cNvSpPr/>
          <p:nvPr/>
        </p:nvSpPr>
        <p:spPr>
          <a:xfrm>
            <a:off x="5948602" y="5267435"/>
            <a:ext cx="66419" cy="72245"/>
          </a:xfrm>
          <a:custGeom>
            <a:avLst/>
            <a:gdLst>
              <a:gd name="connsiteX0" fmla="*/ 30297 w 66419"/>
              <a:gd name="connsiteY0" fmla="*/ 72246 h 72245"/>
              <a:gd name="connsiteX1" fmla="*/ 0 w 66419"/>
              <a:gd name="connsiteY1" fmla="*/ 72246 h 72245"/>
              <a:gd name="connsiteX2" fmla="*/ 36123 w 66419"/>
              <a:gd name="connsiteY2" fmla="*/ 36123 h 72245"/>
              <a:gd name="connsiteX3" fmla="*/ 0 w 66419"/>
              <a:gd name="connsiteY3" fmla="*/ 0 h 72245"/>
              <a:gd name="connsiteX4" fmla="*/ 31462 w 66419"/>
              <a:gd name="connsiteY4" fmla="*/ 0 h 72245"/>
              <a:gd name="connsiteX5" fmla="*/ 66419 w 66419"/>
              <a:gd name="connsiteY5" fmla="*/ 36123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6"/>
                </a:moveTo>
                <a:lnTo>
                  <a:pt x="0" y="72246"/>
                </a:lnTo>
                <a:lnTo>
                  <a:pt x="36123" y="36123"/>
                </a:lnTo>
                <a:lnTo>
                  <a:pt x="0" y="0"/>
                </a:lnTo>
                <a:lnTo>
                  <a:pt x="31462" y="0"/>
                </a:lnTo>
                <a:lnTo>
                  <a:pt x="66419" y="36123"/>
                </a:lnTo>
                <a:close/>
              </a:path>
            </a:pathLst>
          </a:custGeom>
          <a:solidFill>
            <a:srgbClr val="EEF2F5"/>
          </a:solidFill>
          <a:ln w="11643" cap="flat">
            <a:noFill/>
            <a:prstDash val="solid"/>
            <a:miter/>
          </a:ln>
        </p:spPr>
        <p:txBody>
          <a:bodyPr rtlCol="0" anchor="ctr"/>
          <a:lstStyle/>
          <a:p>
            <a:endParaRPr lang="de-DE"/>
          </a:p>
        </p:txBody>
      </p:sp>
      <p:sp>
        <p:nvSpPr>
          <p:cNvPr id="172" name="Freihandform: Form 171">
            <a:extLst>
              <a:ext uri="{FF2B5EF4-FFF2-40B4-BE49-F238E27FC236}">
                <a16:creationId xmlns:a16="http://schemas.microsoft.com/office/drawing/2014/main" id="{B7EA1921-A21C-4EEA-AF29-44E0ABBF486B}"/>
              </a:ext>
            </a:extLst>
          </p:cNvPr>
          <p:cNvSpPr/>
          <p:nvPr/>
        </p:nvSpPr>
        <p:spPr>
          <a:xfrm>
            <a:off x="5948602" y="5622836"/>
            <a:ext cx="66419" cy="72245"/>
          </a:xfrm>
          <a:custGeom>
            <a:avLst/>
            <a:gdLst>
              <a:gd name="connsiteX0" fmla="*/ 30297 w 66419"/>
              <a:gd name="connsiteY0" fmla="*/ 72246 h 72245"/>
              <a:gd name="connsiteX1" fmla="*/ 0 w 66419"/>
              <a:gd name="connsiteY1" fmla="*/ 72246 h 72245"/>
              <a:gd name="connsiteX2" fmla="*/ 36123 w 66419"/>
              <a:gd name="connsiteY2" fmla="*/ 36123 h 72245"/>
              <a:gd name="connsiteX3" fmla="*/ 0 w 66419"/>
              <a:gd name="connsiteY3" fmla="*/ 0 h 72245"/>
              <a:gd name="connsiteX4" fmla="*/ 31462 w 66419"/>
              <a:gd name="connsiteY4" fmla="*/ 0 h 72245"/>
              <a:gd name="connsiteX5" fmla="*/ 66419 w 66419"/>
              <a:gd name="connsiteY5" fmla="*/ 34957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6"/>
                </a:moveTo>
                <a:lnTo>
                  <a:pt x="0" y="72246"/>
                </a:lnTo>
                <a:lnTo>
                  <a:pt x="36123" y="36123"/>
                </a:lnTo>
                <a:lnTo>
                  <a:pt x="0" y="0"/>
                </a:lnTo>
                <a:lnTo>
                  <a:pt x="31462" y="0"/>
                </a:lnTo>
                <a:lnTo>
                  <a:pt x="66419" y="34957"/>
                </a:lnTo>
                <a:close/>
              </a:path>
            </a:pathLst>
          </a:custGeom>
          <a:solidFill>
            <a:srgbClr val="EEF2F5"/>
          </a:solidFill>
          <a:ln w="11643" cap="flat">
            <a:noFill/>
            <a:prstDash val="solid"/>
            <a:miter/>
          </a:ln>
        </p:spPr>
        <p:txBody>
          <a:bodyPr rtlCol="0" anchor="ctr"/>
          <a:lstStyle/>
          <a:p>
            <a:endParaRPr lang="de-DE"/>
          </a:p>
        </p:txBody>
      </p:sp>
      <p:sp>
        <p:nvSpPr>
          <p:cNvPr id="189" name="Freihandform: Form 188">
            <a:extLst>
              <a:ext uri="{FF2B5EF4-FFF2-40B4-BE49-F238E27FC236}">
                <a16:creationId xmlns:a16="http://schemas.microsoft.com/office/drawing/2014/main" id="{4B73D56C-9773-4937-82D9-0C129B27FB09}"/>
              </a:ext>
            </a:extLst>
          </p:cNvPr>
          <p:cNvSpPr/>
          <p:nvPr/>
        </p:nvSpPr>
        <p:spPr>
          <a:xfrm>
            <a:off x="5948602" y="5977071"/>
            <a:ext cx="66419" cy="72245"/>
          </a:xfrm>
          <a:custGeom>
            <a:avLst/>
            <a:gdLst>
              <a:gd name="connsiteX0" fmla="*/ 30297 w 66419"/>
              <a:gd name="connsiteY0" fmla="*/ 72246 h 72245"/>
              <a:gd name="connsiteX1" fmla="*/ 0 w 66419"/>
              <a:gd name="connsiteY1" fmla="*/ 72246 h 72245"/>
              <a:gd name="connsiteX2" fmla="*/ 36123 w 66419"/>
              <a:gd name="connsiteY2" fmla="*/ 36123 h 72245"/>
              <a:gd name="connsiteX3" fmla="*/ 0 w 66419"/>
              <a:gd name="connsiteY3" fmla="*/ 0 h 72245"/>
              <a:gd name="connsiteX4" fmla="*/ 31462 w 66419"/>
              <a:gd name="connsiteY4" fmla="*/ 0 h 72245"/>
              <a:gd name="connsiteX5" fmla="*/ 66419 w 66419"/>
              <a:gd name="connsiteY5" fmla="*/ 36123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6"/>
                </a:moveTo>
                <a:lnTo>
                  <a:pt x="0" y="72246"/>
                </a:lnTo>
                <a:lnTo>
                  <a:pt x="36123" y="36123"/>
                </a:lnTo>
                <a:lnTo>
                  <a:pt x="0" y="0"/>
                </a:lnTo>
                <a:lnTo>
                  <a:pt x="31462" y="0"/>
                </a:lnTo>
                <a:lnTo>
                  <a:pt x="66419" y="36123"/>
                </a:lnTo>
                <a:close/>
              </a:path>
            </a:pathLst>
          </a:custGeom>
          <a:solidFill>
            <a:srgbClr val="EEF2F5"/>
          </a:solidFill>
          <a:ln w="11643" cap="flat">
            <a:noFill/>
            <a:prstDash val="solid"/>
            <a:miter/>
          </a:ln>
        </p:spPr>
        <p:txBody>
          <a:bodyPr rtlCol="0" anchor="ctr"/>
          <a:lstStyle/>
          <a:p>
            <a:endParaRPr lang="de-DE"/>
          </a:p>
        </p:txBody>
      </p:sp>
      <p:sp>
        <p:nvSpPr>
          <p:cNvPr id="206" name="Freihandform: Form 205">
            <a:extLst>
              <a:ext uri="{FF2B5EF4-FFF2-40B4-BE49-F238E27FC236}">
                <a16:creationId xmlns:a16="http://schemas.microsoft.com/office/drawing/2014/main" id="{A2EEDBB3-F918-4A6E-A412-B8C8B911DDD3}"/>
              </a:ext>
            </a:extLst>
          </p:cNvPr>
          <p:cNvSpPr/>
          <p:nvPr/>
        </p:nvSpPr>
        <p:spPr>
          <a:xfrm>
            <a:off x="5948602" y="6332472"/>
            <a:ext cx="66419" cy="72245"/>
          </a:xfrm>
          <a:custGeom>
            <a:avLst/>
            <a:gdLst>
              <a:gd name="connsiteX0" fmla="*/ 30297 w 66419"/>
              <a:gd name="connsiteY0" fmla="*/ 72246 h 72245"/>
              <a:gd name="connsiteX1" fmla="*/ 0 w 66419"/>
              <a:gd name="connsiteY1" fmla="*/ 72246 h 72245"/>
              <a:gd name="connsiteX2" fmla="*/ 36123 w 66419"/>
              <a:gd name="connsiteY2" fmla="*/ 36123 h 72245"/>
              <a:gd name="connsiteX3" fmla="*/ 0 w 66419"/>
              <a:gd name="connsiteY3" fmla="*/ 0 h 72245"/>
              <a:gd name="connsiteX4" fmla="*/ 31462 w 66419"/>
              <a:gd name="connsiteY4" fmla="*/ 0 h 72245"/>
              <a:gd name="connsiteX5" fmla="*/ 66419 w 66419"/>
              <a:gd name="connsiteY5" fmla="*/ 34957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6"/>
                </a:moveTo>
                <a:lnTo>
                  <a:pt x="0" y="72246"/>
                </a:lnTo>
                <a:lnTo>
                  <a:pt x="36123" y="36123"/>
                </a:lnTo>
                <a:lnTo>
                  <a:pt x="0" y="0"/>
                </a:lnTo>
                <a:lnTo>
                  <a:pt x="31462" y="0"/>
                </a:lnTo>
                <a:lnTo>
                  <a:pt x="66419" y="34957"/>
                </a:lnTo>
                <a:close/>
              </a:path>
            </a:pathLst>
          </a:custGeom>
          <a:solidFill>
            <a:srgbClr val="EEF2F5"/>
          </a:solidFill>
          <a:ln w="11643" cap="flat">
            <a:noFill/>
            <a:prstDash val="solid"/>
            <a:miter/>
          </a:ln>
        </p:spPr>
        <p:txBody>
          <a:bodyPr rtlCol="0" anchor="ctr"/>
          <a:lstStyle/>
          <a:p>
            <a:endParaRPr lang="de-DE"/>
          </a:p>
        </p:txBody>
      </p:sp>
      <p:sp>
        <p:nvSpPr>
          <p:cNvPr id="222" name="Freihandform: Form 221">
            <a:extLst>
              <a:ext uri="{FF2B5EF4-FFF2-40B4-BE49-F238E27FC236}">
                <a16:creationId xmlns:a16="http://schemas.microsoft.com/office/drawing/2014/main" id="{E783B07A-D7A5-49D0-8D6F-D0064E121D70}"/>
              </a:ext>
            </a:extLst>
          </p:cNvPr>
          <p:cNvSpPr/>
          <p:nvPr/>
        </p:nvSpPr>
        <p:spPr>
          <a:xfrm>
            <a:off x="5948602" y="6686707"/>
            <a:ext cx="66419" cy="72245"/>
          </a:xfrm>
          <a:custGeom>
            <a:avLst/>
            <a:gdLst>
              <a:gd name="connsiteX0" fmla="*/ 30297 w 66419"/>
              <a:gd name="connsiteY0" fmla="*/ 72246 h 72245"/>
              <a:gd name="connsiteX1" fmla="*/ 0 w 66419"/>
              <a:gd name="connsiteY1" fmla="*/ 72246 h 72245"/>
              <a:gd name="connsiteX2" fmla="*/ 36123 w 66419"/>
              <a:gd name="connsiteY2" fmla="*/ 37288 h 72245"/>
              <a:gd name="connsiteX3" fmla="*/ 0 w 66419"/>
              <a:gd name="connsiteY3" fmla="*/ 0 h 72245"/>
              <a:gd name="connsiteX4" fmla="*/ 31462 w 66419"/>
              <a:gd name="connsiteY4" fmla="*/ 0 h 72245"/>
              <a:gd name="connsiteX5" fmla="*/ 66419 w 66419"/>
              <a:gd name="connsiteY5" fmla="*/ 36123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6"/>
                </a:moveTo>
                <a:lnTo>
                  <a:pt x="0" y="72246"/>
                </a:lnTo>
                <a:lnTo>
                  <a:pt x="36123" y="37288"/>
                </a:lnTo>
                <a:lnTo>
                  <a:pt x="0" y="0"/>
                </a:lnTo>
                <a:lnTo>
                  <a:pt x="31462" y="0"/>
                </a:lnTo>
                <a:lnTo>
                  <a:pt x="66419" y="36123"/>
                </a:lnTo>
                <a:close/>
              </a:path>
            </a:pathLst>
          </a:custGeom>
          <a:solidFill>
            <a:srgbClr val="EEF2F5"/>
          </a:solidFill>
          <a:ln w="11643" cap="flat">
            <a:noFill/>
            <a:prstDash val="solid"/>
            <a:miter/>
          </a:ln>
        </p:spPr>
        <p:txBody>
          <a:bodyPr rtlCol="0" anchor="ctr"/>
          <a:lstStyle/>
          <a:p>
            <a:endParaRPr lang="de-DE"/>
          </a:p>
        </p:txBody>
      </p:sp>
      <p:sp>
        <p:nvSpPr>
          <p:cNvPr id="11" name="Freihandform: Form 10">
            <a:extLst>
              <a:ext uri="{FF2B5EF4-FFF2-40B4-BE49-F238E27FC236}">
                <a16:creationId xmlns:a16="http://schemas.microsoft.com/office/drawing/2014/main" id="{75FBD411-81D5-40D9-85F5-17F8ADC51855}"/>
              </a:ext>
            </a:extLst>
          </p:cNvPr>
          <p:cNvSpPr/>
          <p:nvPr/>
        </p:nvSpPr>
        <p:spPr>
          <a:xfrm>
            <a:off x="6294680" y="2064168"/>
            <a:ext cx="83897" cy="90889"/>
          </a:xfrm>
          <a:custGeom>
            <a:avLst/>
            <a:gdLst>
              <a:gd name="connsiteX0" fmla="*/ 38453 w 83897"/>
              <a:gd name="connsiteY0" fmla="*/ 90889 h 90889"/>
              <a:gd name="connsiteX1" fmla="*/ 0 w 83897"/>
              <a:gd name="connsiteY1" fmla="*/ 90889 h 90889"/>
              <a:gd name="connsiteX2" fmla="*/ 45445 w 83897"/>
              <a:gd name="connsiteY2" fmla="*/ 46610 h 90889"/>
              <a:gd name="connsiteX3" fmla="*/ 0 w 83897"/>
              <a:gd name="connsiteY3" fmla="*/ 0 h 90889"/>
              <a:gd name="connsiteX4" fmla="*/ 39618 w 83897"/>
              <a:gd name="connsiteY4" fmla="*/ 0 h 90889"/>
              <a:gd name="connsiteX5" fmla="*/ 83898 w 83897"/>
              <a:gd name="connsiteY5" fmla="*/ 45445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6610"/>
                </a:lnTo>
                <a:lnTo>
                  <a:pt x="0" y="0"/>
                </a:lnTo>
                <a:lnTo>
                  <a:pt x="39618" y="0"/>
                </a:lnTo>
                <a:lnTo>
                  <a:pt x="83898" y="45445"/>
                </a:lnTo>
                <a:close/>
              </a:path>
            </a:pathLst>
          </a:custGeom>
          <a:solidFill>
            <a:srgbClr val="EEF2F5"/>
          </a:solidFill>
          <a:ln w="11643" cap="flat">
            <a:noFill/>
            <a:prstDash val="solid"/>
            <a:miter/>
          </a:ln>
        </p:spPr>
        <p:txBody>
          <a:bodyPr rtlCol="0" anchor="ctr"/>
          <a:lstStyle/>
          <a:p>
            <a:endParaRPr lang="de-DE"/>
          </a:p>
        </p:txBody>
      </p:sp>
      <p:sp>
        <p:nvSpPr>
          <p:cNvPr id="26" name="Freihandform: Form 25">
            <a:extLst>
              <a:ext uri="{FF2B5EF4-FFF2-40B4-BE49-F238E27FC236}">
                <a16:creationId xmlns:a16="http://schemas.microsoft.com/office/drawing/2014/main" id="{1BE891D4-79E8-4F6F-87F1-0D4367D86BBB}"/>
              </a:ext>
            </a:extLst>
          </p:cNvPr>
          <p:cNvSpPr/>
          <p:nvPr/>
        </p:nvSpPr>
        <p:spPr>
          <a:xfrm>
            <a:off x="6294680" y="2419569"/>
            <a:ext cx="83897" cy="90889"/>
          </a:xfrm>
          <a:custGeom>
            <a:avLst/>
            <a:gdLst>
              <a:gd name="connsiteX0" fmla="*/ 38453 w 83897"/>
              <a:gd name="connsiteY0" fmla="*/ 90889 h 90889"/>
              <a:gd name="connsiteX1" fmla="*/ 0 w 83897"/>
              <a:gd name="connsiteY1" fmla="*/ 90889 h 90889"/>
              <a:gd name="connsiteX2" fmla="*/ 45445 w 83897"/>
              <a:gd name="connsiteY2" fmla="*/ 45445 h 90889"/>
              <a:gd name="connsiteX3" fmla="*/ 0 w 83897"/>
              <a:gd name="connsiteY3" fmla="*/ 0 h 90889"/>
              <a:gd name="connsiteX4" fmla="*/ 39618 w 83897"/>
              <a:gd name="connsiteY4" fmla="*/ 0 h 90889"/>
              <a:gd name="connsiteX5" fmla="*/ 83898 w 83897"/>
              <a:gd name="connsiteY5" fmla="*/ 44279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endParaRPr lang="de-DE"/>
          </a:p>
        </p:txBody>
      </p:sp>
      <p:sp>
        <p:nvSpPr>
          <p:cNvPr id="42" name="Freihandform: Form 41">
            <a:extLst>
              <a:ext uri="{FF2B5EF4-FFF2-40B4-BE49-F238E27FC236}">
                <a16:creationId xmlns:a16="http://schemas.microsoft.com/office/drawing/2014/main" id="{3840402F-0CB7-4700-AB86-312936B9375A}"/>
              </a:ext>
            </a:extLst>
          </p:cNvPr>
          <p:cNvSpPr/>
          <p:nvPr/>
        </p:nvSpPr>
        <p:spPr>
          <a:xfrm>
            <a:off x="6294680" y="2773804"/>
            <a:ext cx="83897" cy="90889"/>
          </a:xfrm>
          <a:custGeom>
            <a:avLst/>
            <a:gdLst>
              <a:gd name="connsiteX0" fmla="*/ 38453 w 83897"/>
              <a:gd name="connsiteY0" fmla="*/ 90889 h 90889"/>
              <a:gd name="connsiteX1" fmla="*/ 0 w 83897"/>
              <a:gd name="connsiteY1" fmla="*/ 90889 h 90889"/>
              <a:gd name="connsiteX2" fmla="*/ 45445 w 83897"/>
              <a:gd name="connsiteY2" fmla="*/ 46610 h 90889"/>
              <a:gd name="connsiteX3" fmla="*/ 0 w 83897"/>
              <a:gd name="connsiteY3" fmla="*/ 0 h 90889"/>
              <a:gd name="connsiteX4" fmla="*/ 39618 w 83897"/>
              <a:gd name="connsiteY4" fmla="*/ 0 h 90889"/>
              <a:gd name="connsiteX5" fmla="*/ 83898 w 83897"/>
              <a:gd name="connsiteY5" fmla="*/ 45445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6610"/>
                </a:lnTo>
                <a:lnTo>
                  <a:pt x="0" y="0"/>
                </a:lnTo>
                <a:lnTo>
                  <a:pt x="39618" y="0"/>
                </a:lnTo>
                <a:lnTo>
                  <a:pt x="83898" y="45445"/>
                </a:lnTo>
                <a:close/>
              </a:path>
            </a:pathLst>
          </a:custGeom>
          <a:solidFill>
            <a:srgbClr val="EEF2F5"/>
          </a:solidFill>
          <a:ln w="11643" cap="flat">
            <a:noFill/>
            <a:prstDash val="solid"/>
            <a:miter/>
          </a:ln>
        </p:spPr>
        <p:txBody>
          <a:bodyPr rtlCol="0" anchor="ctr"/>
          <a:lstStyle/>
          <a:p>
            <a:endParaRPr lang="de-DE"/>
          </a:p>
        </p:txBody>
      </p:sp>
      <p:sp>
        <p:nvSpPr>
          <p:cNvPr id="58" name="Freihandform: Form 57">
            <a:extLst>
              <a:ext uri="{FF2B5EF4-FFF2-40B4-BE49-F238E27FC236}">
                <a16:creationId xmlns:a16="http://schemas.microsoft.com/office/drawing/2014/main" id="{C92817E7-21F5-4822-9D42-BC3A22B20F43}"/>
              </a:ext>
            </a:extLst>
          </p:cNvPr>
          <p:cNvSpPr/>
          <p:nvPr/>
        </p:nvSpPr>
        <p:spPr>
          <a:xfrm>
            <a:off x="6294680" y="3129205"/>
            <a:ext cx="83897" cy="90889"/>
          </a:xfrm>
          <a:custGeom>
            <a:avLst/>
            <a:gdLst>
              <a:gd name="connsiteX0" fmla="*/ 38453 w 83897"/>
              <a:gd name="connsiteY0" fmla="*/ 90889 h 90889"/>
              <a:gd name="connsiteX1" fmla="*/ 0 w 83897"/>
              <a:gd name="connsiteY1" fmla="*/ 90889 h 90889"/>
              <a:gd name="connsiteX2" fmla="*/ 45445 w 83897"/>
              <a:gd name="connsiteY2" fmla="*/ 45445 h 90889"/>
              <a:gd name="connsiteX3" fmla="*/ 0 w 83897"/>
              <a:gd name="connsiteY3" fmla="*/ 0 h 90889"/>
              <a:gd name="connsiteX4" fmla="*/ 39618 w 83897"/>
              <a:gd name="connsiteY4" fmla="*/ 0 h 90889"/>
              <a:gd name="connsiteX5" fmla="*/ 83898 w 83897"/>
              <a:gd name="connsiteY5" fmla="*/ 44279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endParaRPr lang="de-DE"/>
          </a:p>
        </p:txBody>
      </p:sp>
      <p:sp>
        <p:nvSpPr>
          <p:cNvPr id="74" name="Freihandform: Form 73">
            <a:extLst>
              <a:ext uri="{FF2B5EF4-FFF2-40B4-BE49-F238E27FC236}">
                <a16:creationId xmlns:a16="http://schemas.microsoft.com/office/drawing/2014/main" id="{B9D0716B-8D9A-4338-AEA4-79A7EEDD478B}"/>
              </a:ext>
            </a:extLst>
          </p:cNvPr>
          <p:cNvSpPr/>
          <p:nvPr/>
        </p:nvSpPr>
        <p:spPr>
          <a:xfrm>
            <a:off x="6294680" y="3484606"/>
            <a:ext cx="83897" cy="89724"/>
          </a:xfrm>
          <a:custGeom>
            <a:avLst/>
            <a:gdLst>
              <a:gd name="connsiteX0" fmla="*/ 38453 w 83897"/>
              <a:gd name="connsiteY0" fmla="*/ 89724 h 89724"/>
              <a:gd name="connsiteX1" fmla="*/ 0 w 83897"/>
              <a:gd name="connsiteY1" fmla="*/ 89724 h 89724"/>
              <a:gd name="connsiteX2" fmla="*/ 45445 w 83897"/>
              <a:gd name="connsiteY2" fmla="*/ 45445 h 89724"/>
              <a:gd name="connsiteX3" fmla="*/ 0 w 83897"/>
              <a:gd name="connsiteY3" fmla="*/ 0 h 89724"/>
              <a:gd name="connsiteX4" fmla="*/ 39618 w 83897"/>
              <a:gd name="connsiteY4" fmla="*/ 0 h 89724"/>
              <a:gd name="connsiteX5" fmla="*/ 83898 w 83897"/>
              <a:gd name="connsiteY5" fmla="*/ 44279 h 89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89724">
                <a:moveTo>
                  <a:pt x="38453" y="89724"/>
                </a:moveTo>
                <a:lnTo>
                  <a:pt x="0" y="89724"/>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endParaRPr lang="de-DE"/>
          </a:p>
        </p:txBody>
      </p:sp>
      <p:sp>
        <p:nvSpPr>
          <p:cNvPr id="90" name="Freihandform: Form 89">
            <a:extLst>
              <a:ext uri="{FF2B5EF4-FFF2-40B4-BE49-F238E27FC236}">
                <a16:creationId xmlns:a16="http://schemas.microsoft.com/office/drawing/2014/main" id="{9161924B-A7F2-4DF3-B909-33BF43FA25EF}"/>
              </a:ext>
            </a:extLst>
          </p:cNvPr>
          <p:cNvSpPr/>
          <p:nvPr/>
        </p:nvSpPr>
        <p:spPr>
          <a:xfrm>
            <a:off x="6294680" y="3838841"/>
            <a:ext cx="83897" cy="90889"/>
          </a:xfrm>
          <a:custGeom>
            <a:avLst/>
            <a:gdLst>
              <a:gd name="connsiteX0" fmla="*/ 38453 w 83897"/>
              <a:gd name="connsiteY0" fmla="*/ 90889 h 90889"/>
              <a:gd name="connsiteX1" fmla="*/ 0 w 83897"/>
              <a:gd name="connsiteY1" fmla="*/ 90889 h 90889"/>
              <a:gd name="connsiteX2" fmla="*/ 45445 w 83897"/>
              <a:gd name="connsiteY2" fmla="*/ 45445 h 90889"/>
              <a:gd name="connsiteX3" fmla="*/ 0 w 83897"/>
              <a:gd name="connsiteY3" fmla="*/ 0 h 90889"/>
              <a:gd name="connsiteX4" fmla="*/ 39618 w 83897"/>
              <a:gd name="connsiteY4" fmla="*/ 0 h 90889"/>
              <a:gd name="connsiteX5" fmla="*/ 83898 w 83897"/>
              <a:gd name="connsiteY5" fmla="*/ 44279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endParaRPr lang="de-DE"/>
          </a:p>
        </p:txBody>
      </p:sp>
      <p:sp>
        <p:nvSpPr>
          <p:cNvPr id="106" name="Freihandform: Form 105">
            <a:extLst>
              <a:ext uri="{FF2B5EF4-FFF2-40B4-BE49-F238E27FC236}">
                <a16:creationId xmlns:a16="http://schemas.microsoft.com/office/drawing/2014/main" id="{9F04DFFC-EA40-46F4-8195-B5F7E353EE2A}"/>
              </a:ext>
            </a:extLst>
          </p:cNvPr>
          <p:cNvSpPr/>
          <p:nvPr/>
        </p:nvSpPr>
        <p:spPr>
          <a:xfrm>
            <a:off x="6294680" y="4194242"/>
            <a:ext cx="83897" cy="89724"/>
          </a:xfrm>
          <a:custGeom>
            <a:avLst/>
            <a:gdLst>
              <a:gd name="connsiteX0" fmla="*/ 38453 w 83897"/>
              <a:gd name="connsiteY0" fmla="*/ 89724 h 89724"/>
              <a:gd name="connsiteX1" fmla="*/ 0 w 83897"/>
              <a:gd name="connsiteY1" fmla="*/ 89724 h 89724"/>
              <a:gd name="connsiteX2" fmla="*/ 45445 w 83897"/>
              <a:gd name="connsiteY2" fmla="*/ 45445 h 89724"/>
              <a:gd name="connsiteX3" fmla="*/ 0 w 83897"/>
              <a:gd name="connsiteY3" fmla="*/ 0 h 89724"/>
              <a:gd name="connsiteX4" fmla="*/ 39618 w 83897"/>
              <a:gd name="connsiteY4" fmla="*/ 0 h 89724"/>
              <a:gd name="connsiteX5" fmla="*/ 83898 w 83897"/>
              <a:gd name="connsiteY5" fmla="*/ 44279 h 89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89724">
                <a:moveTo>
                  <a:pt x="38453" y="89724"/>
                </a:moveTo>
                <a:lnTo>
                  <a:pt x="0" y="89724"/>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endParaRPr lang="de-DE"/>
          </a:p>
        </p:txBody>
      </p:sp>
      <p:sp>
        <p:nvSpPr>
          <p:cNvPr id="139" name="Freihandform: Form 138">
            <a:extLst>
              <a:ext uri="{FF2B5EF4-FFF2-40B4-BE49-F238E27FC236}">
                <a16:creationId xmlns:a16="http://schemas.microsoft.com/office/drawing/2014/main" id="{5362CBB1-E50A-41B7-8ED0-9FCFE213E9A5}"/>
              </a:ext>
            </a:extLst>
          </p:cNvPr>
          <p:cNvSpPr/>
          <p:nvPr/>
        </p:nvSpPr>
        <p:spPr>
          <a:xfrm>
            <a:off x="6294680" y="4903878"/>
            <a:ext cx="83897" cy="89724"/>
          </a:xfrm>
          <a:custGeom>
            <a:avLst/>
            <a:gdLst>
              <a:gd name="connsiteX0" fmla="*/ 38453 w 83897"/>
              <a:gd name="connsiteY0" fmla="*/ 89724 h 89724"/>
              <a:gd name="connsiteX1" fmla="*/ 0 w 83897"/>
              <a:gd name="connsiteY1" fmla="*/ 89724 h 89724"/>
              <a:gd name="connsiteX2" fmla="*/ 45445 w 83897"/>
              <a:gd name="connsiteY2" fmla="*/ 45445 h 89724"/>
              <a:gd name="connsiteX3" fmla="*/ 0 w 83897"/>
              <a:gd name="connsiteY3" fmla="*/ 0 h 89724"/>
              <a:gd name="connsiteX4" fmla="*/ 39618 w 83897"/>
              <a:gd name="connsiteY4" fmla="*/ 0 h 89724"/>
              <a:gd name="connsiteX5" fmla="*/ 83898 w 83897"/>
              <a:gd name="connsiteY5" fmla="*/ 44279 h 89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89724">
                <a:moveTo>
                  <a:pt x="38453" y="89724"/>
                </a:moveTo>
                <a:lnTo>
                  <a:pt x="0" y="89724"/>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endParaRPr lang="de-DE"/>
          </a:p>
        </p:txBody>
      </p:sp>
      <p:sp>
        <p:nvSpPr>
          <p:cNvPr id="156" name="Freihandform: Form 155">
            <a:extLst>
              <a:ext uri="{FF2B5EF4-FFF2-40B4-BE49-F238E27FC236}">
                <a16:creationId xmlns:a16="http://schemas.microsoft.com/office/drawing/2014/main" id="{2508847B-61E4-41D1-A3A0-A411189F6767}"/>
              </a:ext>
            </a:extLst>
          </p:cNvPr>
          <p:cNvSpPr/>
          <p:nvPr/>
        </p:nvSpPr>
        <p:spPr>
          <a:xfrm>
            <a:off x="6294680" y="5258113"/>
            <a:ext cx="83897" cy="90889"/>
          </a:xfrm>
          <a:custGeom>
            <a:avLst/>
            <a:gdLst>
              <a:gd name="connsiteX0" fmla="*/ 38453 w 83897"/>
              <a:gd name="connsiteY0" fmla="*/ 90889 h 90889"/>
              <a:gd name="connsiteX1" fmla="*/ 0 w 83897"/>
              <a:gd name="connsiteY1" fmla="*/ 90889 h 90889"/>
              <a:gd name="connsiteX2" fmla="*/ 45445 w 83897"/>
              <a:gd name="connsiteY2" fmla="*/ 45445 h 90889"/>
              <a:gd name="connsiteX3" fmla="*/ 0 w 83897"/>
              <a:gd name="connsiteY3" fmla="*/ 0 h 90889"/>
              <a:gd name="connsiteX4" fmla="*/ 39618 w 83897"/>
              <a:gd name="connsiteY4" fmla="*/ 0 h 90889"/>
              <a:gd name="connsiteX5" fmla="*/ 83898 w 83897"/>
              <a:gd name="connsiteY5" fmla="*/ 44279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endParaRPr lang="de-DE"/>
          </a:p>
        </p:txBody>
      </p:sp>
      <p:sp>
        <p:nvSpPr>
          <p:cNvPr id="173" name="Freihandform: Form 172">
            <a:extLst>
              <a:ext uri="{FF2B5EF4-FFF2-40B4-BE49-F238E27FC236}">
                <a16:creationId xmlns:a16="http://schemas.microsoft.com/office/drawing/2014/main" id="{E2A7CA26-A6FF-4830-89D6-0AE49ECECB52}"/>
              </a:ext>
            </a:extLst>
          </p:cNvPr>
          <p:cNvSpPr/>
          <p:nvPr/>
        </p:nvSpPr>
        <p:spPr>
          <a:xfrm>
            <a:off x="6294680" y="5613514"/>
            <a:ext cx="83897" cy="90889"/>
          </a:xfrm>
          <a:custGeom>
            <a:avLst/>
            <a:gdLst>
              <a:gd name="connsiteX0" fmla="*/ 38453 w 83897"/>
              <a:gd name="connsiteY0" fmla="*/ 90889 h 90889"/>
              <a:gd name="connsiteX1" fmla="*/ 0 w 83897"/>
              <a:gd name="connsiteY1" fmla="*/ 90889 h 90889"/>
              <a:gd name="connsiteX2" fmla="*/ 45445 w 83897"/>
              <a:gd name="connsiteY2" fmla="*/ 45445 h 90889"/>
              <a:gd name="connsiteX3" fmla="*/ 0 w 83897"/>
              <a:gd name="connsiteY3" fmla="*/ 0 h 90889"/>
              <a:gd name="connsiteX4" fmla="*/ 39618 w 83897"/>
              <a:gd name="connsiteY4" fmla="*/ 0 h 90889"/>
              <a:gd name="connsiteX5" fmla="*/ 83898 w 83897"/>
              <a:gd name="connsiteY5" fmla="*/ 44279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endParaRPr lang="de-DE"/>
          </a:p>
        </p:txBody>
      </p:sp>
      <p:sp>
        <p:nvSpPr>
          <p:cNvPr id="190" name="Freihandform: Form 189">
            <a:extLst>
              <a:ext uri="{FF2B5EF4-FFF2-40B4-BE49-F238E27FC236}">
                <a16:creationId xmlns:a16="http://schemas.microsoft.com/office/drawing/2014/main" id="{0D910AA1-D94C-4927-9F7F-6AE33C84B359}"/>
              </a:ext>
            </a:extLst>
          </p:cNvPr>
          <p:cNvSpPr/>
          <p:nvPr/>
        </p:nvSpPr>
        <p:spPr>
          <a:xfrm>
            <a:off x="6294680" y="5967749"/>
            <a:ext cx="83897" cy="90889"/>
          </a:xfrm>
          <a:custGeom>
            <a:avLst/>
            <a:gdLst>
              <a:gd name="connsiteX0" fmla="*/ 38453 w 83897"/>
              <a:gd name="connsiteY0" fmla="*/ 90889 h 90889"/>
              <a:gd name="connsiteX1" fmla="*/ 0 w 83897"/>
              <a:gd name="connsiteY1" fmla="*/ 90889 h 90889"/>
              <a:gd name="connsiteX2" fmla="*/ 45445 w 83897"/>
              <a:gd name="connsiteY2" fmla="*/ 46610 h 90889"/>
              <a:gd name="connsiteX3" fmla="*/ 0 w 83897"/>
              <a:gd name="connsiteY3" fmla="*/ 0 h 90889"/>
              <a:gd name="connsiteX4" fmla="*/ 39618 w 83897"/>
              <a:gd name="connsiteY4" fmla="*/ 0 h 90889"/>
              <a:gd name="connsiteX5" fmla="*/ 83898 w 83897"/>
              <a:gd name="connsiteY5" fmla="*/ 45445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6610"/>
                </a:lnTo>
                <a:lnTo>
                  <a:pt x="0" y="0"/>
                </a:lnTo>
                <a:lnTo>
                  <a:pt x="39618" y="0"/>
                </a:lnTo>
                <a:lnTo>
                  <a:pt x="83898" y="45445"/>
                </a:lnTo>
                <a:close/>
              </a:path>
            </a:pathLst>
          </a:custGeom>
          <a:solidFill>
            <a:srgbClr val="EEF2F5"/>
          </a:solidFill>
          <a:ln w="11643" cap="flat">
            <a:noFill/>
            <a:prstDash val="solid"/>
            <a:miter/>
          </a:ln>
        </p:spPr>
        <p:txBody>
          <a:bodyPr rtlCol="0" anchor="ctr"/>
          <a:lstStyle/>
          <a:p>
            <a:endParaRPr lang="de-DE"/>
          </a:p>
        </p:txBody>
      </p:sp>
      <p:sp>
        <p:nvSpPr>
          <p:cNvPr id="207" name="Freihandform: Form 206">
            <a:extLst>
              <a:ext uri="{FF2B5EF4-FFF2-40B4-BE49-F238E27FC236}">
                <a16:creationId xmlns:a16="http://schemas.microsoft.com/office/drawing/2014/main" id="{21DCF3C4-698C-4A65-960C-FC9526795073}"/>
              </a:ext>
            </a:extLst>
          </p:cNvPr>
          <p:cNvSpPr/>
          <p:nvPr/>
        </p:nvSpPr>
        <p:spPr>
          <a:xfrm>
            <a:off x="6294680" y="6323150"/>
            <a:ext cx="83897" cy="90889"/>
          </a:xfrm>
          <a:custGeom>
            <a:avLst/>
            <a:gdLst>
              <a:gd name="connsiteX0" fmla="*/ 38453 w 83897"/>
              <a:gd name="connsiteY0" fmla="*/ 90889 h 90889"/>
              <a:gd name="connsiteX1" fmla="*/ 0 w 83897"/>
              <a:gd name="connsiteY1" fmla="*/ 90889 h 90889"/>
              <a:gd name="connsiteX2" fmla="*/ 45445 w 83897"/>
              <a:gd name="connsiteY2" fmla="*/ 45445 h 90889"/>
              <a:gd name="connsiteX3" fmla="*/ 0 w 83897"/>
              <a:gd name="connsiteY3" fmla="*/ 0 h 90889"/>
              <a:gd name="connsiteX4" fmla="*/ 39618 w 83897"/>
              <a:gd name="connsiteY4" fmla="*/ 0 h 90889"/>
              <a:gd name="connsiteX5" fmla="*/ 83898 w 83897"/>
              <a:gd name="connsiteY5" fmla="*/ 44279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endParaRPr lang="de-DE"/>
          </a:p>
        </p:txBody>
      </p:sp>
      <p:sp>
        <p:nvSpPr>
          <p:cNvPr id="223" name="Freihandform: Form 222">
            <a:extLst>
              <a:ext uri="{FF2B5EF4-FFF2-40B4-BE49-F238E27FC236}">
                <a16:creationId xmlns:a16="http://schemas.microsoft.com/office/drawing/2014/main" id="{E38105B6-8D3F-48F3-9F5F-2328382B7C38}"/>
              </a:ext>
            </a:extLst>
          </p:cNvPr>
          <p:cNvSpPr/>
          <p:nvPr/>
        </p:nvSpPr>
        <p:spPr>
          <a:xfrm>
            <a:off x="6294680" y="6677385"/>
            <a:ext cx="83897" cy="90889"/>
          </a:xfrm>
          <a:custGeom>
            <a:avLst/>
            <a:gdLst>
              <a:gd name="connsiteX0" fmla="*/ 38453 w 83897"/>
              <a:gd name="connsiteY0" fmla="*/ 90889 h 90889"/>
              <a:gd name="connsiteX1" fmla="*/ 0 w 83897"/>
              <a:gd name="connsiteY1" fmla="*/ 90889 h 90889"/>
              <a:gd name="connsiteX2" fmla="*/ 45445 w 83897"/>
              <a:gd name="connsiteY2" fmla="*/ 46610 h 90889"/>
              <a:gd name="connsiteX3" fmla="*/ 0 w 83897"/>
              <a:gd name="connsiteY3" fmla="*/ 0 h 90889"/>
              <a:gd name="connsiteX4" fmla="*/ 39618 w 83897"/>
              <a:gd name="connsiteY4" fmla="*/ 0 h 90889"/>
              <a:gd name="connsiteX5" fmla="*/ 83898 w 83897"/>
              <a:gd name="connsiteY5" fmla="*/ 45445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6610"/>
                </a:lnTo>
                <a:lnTo>
                  <a:pt x="0" y="0"/>
                </a:lnTo>
                <a:lnTo>
                  <a:pt x="39618" y="0"/>
                </a:lnTo>
                <a:lnTo>
                  <a:pt x="83898" y="45445"/>
                </a:lnTo>
                <a:close/>
              </a:path>
            </a:pathLst>
          </a:custGeom>
          <a:solidFill>
            <a:srgbClr val="EEF2F5"/>
          </a:solidFill>
          <a:ln w="11643" cap="flat">
            <a:noFill/>
            <a:prstDash val="solid"/>
            <a:miter/>
          </a:ln>
        </p:spPr>
        <p:txBody>
          <a:bodyPr rtlCol="0" anchor="ctr"/>
          <a:lstStyle/>
          <a:p>
            <a:endParaRPr lang="de-DE"/>
          </a:p>
        </p:txBody>
      </p:sp>
      <p:sp>
        <p:nvSpPr>
          <p:cNvPr id="12" name="Freihandform: Form 11">
            <a:extLst>
              <a:ext uri="{FF2B5EF4-FFF2-40B4-BE49-F238E27FC236}">
                <a16:creationId xmlns:a16="http://schemas.microsoft.com/office/drawing/2014/main" id="{583AB347-5EFD-45EC-837F-436640EC31BF}"/>
              </a:ext>
            </a:extLst>
          </p:cNvPr>
          <p:cNvSpPr/>
          <p:nvPr/>
        </p:nvSpPr>
        <p:spPr>
          <a:xfrm>
            <a:off x="6641924" y="2056012"/>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3601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27" name="Freihandform: Form 26">
            <a:extLst>
              <a:ext uri="{FF2B5EF4-FFF2-40B4-BE49-F238E27FC236}">
                <a16:creationId xmlns:a16="http://schemas.microsoft.com/office/drawing/2014/main" id="{2C9F6191-45F4-4549-838F-728D0F86DCCC}"/>
              </a:ext>
            </a:extLst>
          </p:cNvPr>
          <p:cNvSpPr/>
          <p:nvPr/>
        </p:nvSpPr>
        <p:spPr>
          <a:xfrm>
            <a:off x="6641924" y="2410247"/>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3601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43" name="Freihandform: Form 42">
            <a:extLst>
              <a:ext uri="{FF2B5EF4-FFF2-40B4-BE49-F238E27FC236}">
                <a16:creationId xmlns:a16="http://schemas.microsoft.com/office/drawing/2014/main" id="{58997C67-D006-44A2-AD3D-33F34BD464B4}"/>
              </a:ext>
            </a:extLst>
          </p:cNvPr>
          <p:cNvSpPr/>
          <p:nvPr/>
        </p:nvSpPr>
        <p:spPr>
          <a:xfrm>
            <a:off x="6641924" y="2765648"/>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3601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59" name="Freihandform: Form 58">
            <a:extLst>
              <a:ext uri="{FF2B5EF4-FFF2-40B4-BE49-F238E27FC236}">
                <a16:creationId xmlns:a16="http://schemas.microsoft.com/office/drawing/2014/main" id="{C4E89A45-8CD6-4F72-A3FF-464AD5125F97}"/>
              </a:ext>
            </a:extLst>
          </p:cNvPr>
          <p:cNvSpPr/>
          <p:nvPr/>
        </p:nvSpPr>
        <p:spPr>
          <a:xfrm>
            <a:off x="6641924" y="3119883"/>
            <a:ext cx="100211" cy="109533"/>
          </a:xfrm>
          <a:custGeom>
            <a:avLst/>
            <a:gdLst>
              <a:gd name="connsiteX0" fmla="*/ 45445 w 100211"/>
              <a:gd name="connsiteY0" fmla="*/ 109533 h 109533"/>
              <a:gd name="connsiteX1" fmla="*/ 0 w 100211"/>
              <a:gd name="connsiteY1" fmla="*/ 109533 h 109533"/>
              <a:gd name="connsiteX2" fmla="*/ 53601 w 100211"/>
              <a:gd name="connsiteY2" fmla="*/ 54767 h 109533"/>
              <a:gd name="connsiteX3" fmla="*/ 0 w 100211"/>
              <a:gd name="connsiteY3" fmla="*/ 0 h 109533"/>
              <a:gd name="connsiteX4" fmla="*/ 46610 w 100211"/>
              <a:gd name="connsiteY4" fmla="*/ 0 h 109533"/>
              <a:gd name="connsiteX5" fmla="*/ 100211 w 100211"/>
              <a:gd name="connsiteY5" fmla="*/ 53601 h 109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9533">
                <a:moveTo>
                  <a:pt x="45445" y="109533"/>
                </a:moveTo>
                <a:lnTo>
                  <a:pt x="0" y="109533"/>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75" name="Freihandform: Form 74">
            <a:extLst>
              <a:ext uri="{FF2B5EF4-FFF2-40B4-BE49-F238E27FC236}">
                <a16:creationId xmlns:a16="http://schemas.microsoft.com/office/drawing/2014/main" id="{B9D7B804-0A3A-4555-AA49-BAAC4D841F25}"/>
              </a:ext>
            </a:extLst>
          </p:cNvPr>
          <p:cNvSpPr/>
          <p:nvPr/>
        </p:nvSpPr>
        <p:spPr>
          <a:xfrm>
            <a:off x="6641924" y="3475284"/>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3601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91" name="Freihandform: Form 90">
            <a:extLst>
              <a:ext uri="{FF2B5EF4-FFF2-40B4-BE49-F238E27FC236}">
                <a16:creationId xmlns:a16="http://schemas.microsoft.com/office/drawing/2014/main" id="{E186CBFA-7613-4BC9-8990-21E472FC7476}"/>
              </a:ext>
            </a:extLst>
          </p:cNvPr>
          <p:cNvSpPr/>
          <p:nvPr/>
        </p:nvSpPr>
        <p:spPr>
          <a:xfrm>
            <a:off x="6641924" y="3829519"/>
            <a:ext cx="100211" cy="109533"/>
          </a:xfrm>
          <a:custGeom>
            <a:avLst/>
            <a:gdLst>
              <a:gd name="connsiteX0" fmla="*/ 45445 w 100211"/>
              <a:gd name="connsiteY0" fmla="*/ 109533 h 109533"/>
              <a:gd name="connsiteX1" fmla="*/ 0 w 100211"/>
              <a:gd name="connsiteY1" fmla="*/ 109533 h 109533"/>
              <a:gd name="connsiteX2" fmla="*/ 53601 w 100211"/>
              <a:gd name="connsiteY2" fmla="*/ 54767 h 109533"/>
              <a:gd name="connsiteX3" fmla="*/ 0 w 100211"/>
              <a:gd name="connsiteY3" fmla="*/ 0 h 109533"/>
              <a:gd name="connsiteX4" fmla="*/ 46610 w 100211"/>
              <a:gd name="connsiteY4" fmla="*/ 0 h 109533"/>
              <a:gd name="connsiteX5" fmla="*/ 100211 w 100211"/>
              <a:gd name="connsiteY5" fmla="*/ 53601 h 109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9533">
                <a:moveTo>
                  <a:pt x="45445" y="109533"/>
                </a:moveTo>
                <a:lnTo>
                  <a:pt x="0" y="109533"/>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107" name="Freihandform: Form 106">
            <a:extLst>
              <a:ext uri="{FF2B5EF4-FFF2-40B4-BE49-F238E27FC236}">
                <a16:creationId xmlns:a16="http://schemas.microsoft.com/office/drawing/2014/main" id="{431E1B18-1EEB-4090-9700-F9FE3C0FED51}"/>
              </a:ext>
            </a:extLst>
          </p:cNvPr>
          <p:cNvSpPr/>
          <p:nvPr/>
        </p:nvSpPr>
        <p:spPr>
          <a:xfrm>
            <a:off x="6641924" y="4184920"/>
            <a:ext cx="100211" cy="108367"/>
          </a:xfrm>
          <a:custGeom>
            <a:avLst/>
            <a:gdLst>
              <a:gd name="connsiteX0" fmla="*/ 45445 w 100211"/>
              <a:gd name="connsiteY0" fmla="*/ 108368 h 108367"/>
              <a:gd name="connsiteX1" fmla="*/ 0 w 100211"/>
              <a:gd name="connsiteY1" fmla="*/ 108368 h 108367"/>
              <a:gd name="connsiteX2" fmla="*/ 53601 w 100211"/>
              <a:gd name="connsiteY2" fmla="*/ 54767 h 108367"/>
              <a:gd name="connsiteX3" fmla="*/ 0 w 100211"/>
              <a:gd name="connsiteY3" fmla="*/ 0 h 108367"/>
              <a:gd name="connsiteX4" fmla="*/ 46610 w 100211"/>
              <a:gd name="connsiteY4" fmla="*/ 0 h 108367"/>
              <a:gd name="connsiteX5" fmla="*/ 100211 w 100211"/>
              <a:gd name="connsiteY5" fmla="*/ 53601 h 108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7">
                <a:moveTo>
                  <a:pt x="45445" y="108368"/>
                </a:moveTo>
                <a:lnTo>
                  <a:pt x="0" y="108368"/>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123" name="Freihandform: Form 122">
            <a:extLst>
              <a:ext uri="{FF2B5EF4-FFF2-40B4-BE49-F238E27FC236}">
                <a16:creationId xmlns:a16="http://schemas.microsoft.com/office/drawing/2014/main" id="{DC2F5F31-D8DD-48D9-A875-60890175F7E1}"/>
              </a:ext>
            </a:extLst>
          </p:cNvPr>
          <p:cNvSpPr/>
          <p:nvPr/>
        </p:nvSpPr>
        <p:spPr>
          <a:xfrm>
            <a:off x="6641924" y="4539155"/>
            <a:ext cx="100211" cy="109533"/>
          </a:xfrm>
          <a:custGeom>
            <a:avLst/>
            <a:gdLst>
              <a:gd name="connsiteX0" fmla="*/ 45445 w 100211"/>
              <a:gd name="connsiteY0" fmla="*/ 109533 h 109533"/>
              <a:gd name="connsiteX1" fmla="*/ 0 w 100211"/>
              <a:gd name="connsiteY1" fmla="*/ 109533 h 109533"/>
              <a:gd name="connsiteX2" fmla="*/ 53601 w 100211"/>
              <a:gd name="connsiteY2" fmla="*/ 54767 h 109533"/>
              <a:gd name="connsiteX3" fmla="*/ 0 w 100211"/>
              <a:gd name="connsiteY3" fmla="*/ 0 h 109533"/>
              <a:gd name="connsiteX4" fmla="*/ 46610 w 100211"/>
              <a:gd name="connsiteY4" fmla="*/ 0 h 109533"/>
              <a:gd name="connsiteX5" fmla="*/ 100211 w 100211"/>
              <a:gd name="connsiteY5" fmla="*/ 53601 h 109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9533">
                <a:moveTo>
                  <a:pt x="45445" y="109533"/>
                </a:moveTo>
                <a:lnTo>
                  <a:pt x="0" y="109533"/>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140" name="Freihandform: Form 139">
            <a:extLst>
              <a:ext uri="{FF2B5EF4-FFF2-40B4-BE49-F238E27FC236}">
                <a16:creationId xmlns:a16="http://schemas.microsoft.com/office/drawing/2014/main" id="{76442F10-6EC9-4E34-AAE4-0D75456E4698}"/>
              </a:ext>
            </a:extLst>
          </p:cNvPr>
          <p:cNvSpPr/>
          <p:nvPr/>
        </p:nvSpPr>
        <p:spPr>
          <a:xfrm>
            <a:off x="6641924" y="4894556"/>
            <a:ext cx="100211" cy="108367"/>
          </a:xfrm>
          <a:custGeom>
            <a:avLst/>
            <a:gdLst>
              <a:gd name="connsiteX0" fmla="*/ 45445 w 100211"/>
              <a:gd name="connsiteY0" fmla="*/ 108368 h 108367"/>
              <a:gd name="connsiteX1" fmla="*/ 0 w 100211"/>
              <a:gd name="connsiteY1" fmla="*/ 108368 h 108367"/>
              <a:gd name="connsiteX2" fmla="*/ 53601 w 100211"/>
              <a:gd name="connsiteY2" fmla="*/ 54767 h 108367"/>
              <a:gd name="connsiteX3" fmla="*/ 0 w 100211"/>
              <a:gd name="connsiteY3" fmla="*/ 0 h 108367"/>
              <a:gd name="connsiteX4" fmla="*/ 46610 w 100211"/>
              <a:gd name="connsiteY4" fmla="*/ 0 h 108367"/>
              <a:gd name="connsiteX5" fmla="*/ 100211 w 100211"/>
              <a:gd name="connsiteY5" fmla="*/ 53601 h 108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7">
                <a:moveTo>
                  <a:pt x="45445" y="108368"/>
                </a:moveTo>
                <a:lnTo>
                  <a:pt x="0" y="108368"/>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157" name="Freihandform: Form 156">
            <a:extLst>
              <a:ext uri="{FF2B5EF4-FFF2-40B4-BE49-F238E27FC236}">
                <a16:creationId xmlns:a16="http://schemas.microsoft.com/office/drawing/2014/main" id="{3F3DF7DA-74D8-4504-A71D-F774354EAB93}"/>
              </a:ext>
            </a:extLst>
          </p:cNvPr>
          <p:cNvSpPr/>
          <p:nvPr/>
        </p:nvSpPr>
        <p:spPr>
          <a:xfrm>
            <a:off x="6641924" y="5249956"/>
            <a:ext cx="100211" cy="108367"/>
          </a:xfrm>
          <a:custGeom>
            <a:avLst/>
            <a:gdLst>
              <a:gd name="connsiteX0" fmla="*/ 45445 w 100211"/>
              <a:gd name="connsiteY0" fmla="*/ 108368 h 108367"/>
              <a:gd name="connsiteX1" fmla="*/ 0 w 100211"/>
              <a:gd name="connsiteY1" fmla="*/ 108368 h 108367"/>
              <a:gd name="connsiteX2" fmla="*/ 53601 w 100211"/>
              <a:gd name="connsiteY2" fmla="*/ 54767 h 108367"/>
              <a:gd name="connsiteX3" fmla="*/ 0 w 100211"/>
              <a:gd name="connsiteY3" fmla="*/ 0 h 108367"/>
              <a:gd name="connsiteX4" fmla="*/ 46610 w 100211"/>
              <a:gd name="connsiteY4" fmla="*/ 0 h 108367"/>
              <a:gd name="connsiteX5" fmla="*/ 100211 w 100211"/>
              <a:gd name="connsiteY5" fmla="*/ 52436 h 108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7">
                <a:moveTo>
                  <a:pt x="45445" y="108368"/>
                </a:moveTo>
                <a:lnTo>
                  <a:pt x="0" y="108368"/>
                </a:lnTo>
                <a:lnTo>
                  <a:pt x="53601" y="54767"/>
                </a:lnTo>
                <a:lnTo>
                  <a:pt x="0" y="0"/>
                </a:lnTo>
                <a:lnTo>
                  <a:pt x="46610" y="0"/>
                </a:lnTo>
                <a:lnTo>
                  <a:pt x="100211" y="52436"/>
                </a:lnTo>
                <a:close/>
              </a:path>
            </a:pathLst>
          </a:custGeom>
          <a:solidFill>
            <a:srgbClr val="EEF2F5"/>
          </a:solidFill>
          <a:ln w="11643" cap="flat">
            <a:noFill/>
            <a:prstDash val="solid"/>
            <a:miter/>
          </a:ln>
        </p:spPr>
        <p:txBody>
          <a:bodyPr rtlCol="0" anchor="ctr"/>
          <a:lstStyle/>
          <a:p>
            <a:endParaRPr lang="de-DE"/>
          </a:p>
        </p:txBody>
      </p:sp>
      <p:sp>
        <p:nvSpPr>
          <p:cNvPr id="174" name="Freihandform: Form 173">
            <a:extLst>
              <a:ext uri="{FF2B5EF4-FFF2-40B4-BE49-F238E27FC236}">
                <a16:creationId xmlns:a16="http://schemas.microsoft.com/office/drawing/2014/main" id="{89F7D4C0-B771-4BD2-8BB9-46691BD63CD6}"/>
              </a:ext>
            </a:extLst>
          </p:cNvPr>
          <p:cNvSpPr/>
          <p:nvPr/>
        </p:nvSpPr>
        <p:spPr>
          <a:xfrm>
            <a:off x="6641924" y="5604192"/>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3601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191" name="Freihandform: Form 190">
            <a:extLst>
              <a:ext uri="{FF2B5EF4-FFF2-40B4-BE49-F238E27FC236}">
                <a16:creationId xmlns:a16="http://schemas.microsoft.com/office/drawing/2014/main" id="{5A593B9A-6E44-429E-AEBA-35E20D56B0CE}"/>
              </a:ext>
            </a:extLst>
          </p:cNvPr>
          <p:cNvSpPr/>
          <p:nvPr/>
        </p:nvSpPr>
        <p:spPr>
          <a:xfrm>
            <a:off x="6641924" y="5959592"/>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2436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2436"/>
                </a:lnTo>
                <a:close/>
              </a:path>
            </a:pathLst>
          </a:custGeom>
          <a:solidFill>
            <a:srgbClr val="EEF2F5"/>
          </a:solidFill>
          <a:ln w="11643" cap="flat">
            <a:noFill/>
            <a:prstDash val="solid"/>
            <a:miter/>
          </a:ln>
        </p:spPr>
        <p:txBody>
          <a:bodyPr rtlCol="0" anchor="ctr"/>
          <a:lstStyle/>
          <a:p>
            <a:endParaRPr lang="de-DE"/>
          </a:p>
        </p:txBody>
      </p:sp>
      <p:sp>
        <p:nvSpPr>
          <p:cNvPr id="208" name="Freihandform: Form 207">
            <a:extLst>
              <a:ext uri="{FF2B5EF4-FFF2-40B4-BE49-F238E27FC236}">
                <a16:creationId xmlns:a16="http://schemas.microsoft.com/office/drawing/2014/main" id="{DF218C48-5CF6-4B07-AF60-4DE0F6FD1BC1}"/>
              </a:ext>
            </a:extLst>
          </p:cNvPr>
          <p:cNvSpPr/>
          <p:nvPr/>
        </p:nvSpPr>
        <p:spPr>
          <a:xfrm>
            <a:off x="6641924" y="6313828"/>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3601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224" name="Freihandform: Form 223">
            <a:extLst>
              <a:ext uri="{FF2B5EF4-FFF2-40B4-BE49-F238E27FC236}">
                <a16:creationId xmlns:a16="http://schemas.microsoft.com/office/drawing/2014/main" id="{AA5BC021-58DD-4FE3-BDC3-0802A56E539C}"/>
              </a:ext>
            </a:extLst>
          </p:cNvPr>
          <p:cNvSpPr/>
          <p:nvPr/>
        </p:nvSpPr>
        <p:spPr>
          <a:xfrm>
            <a:off x="6641924" y="6669228"/>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2436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2436"/>
                </a:lnTo>
                <a:close/>
              </a:path>
            </a:pathLst>
          </a:custGeom>
          <a:solidFill>
            <a:srgbClr val="EEF2F5"/>
          </a:solidFill>
          <a:ln w="11643" cap="flat">
            <a:noFill/>
            <a:prstDash val="solid"/>
            <a:miter/>
          </a:ln>
        </p:spPr>
        <p:txBody>
          <a:bodyPr rtlCol="0" anchor="ctr"/>
          <a:lstStyle/>
          <a:p>
            <a:endParaRPr lang="de-DE"/>
          </a:p>
        </p:txBody>
      </p:sp>
      <p:sp>
        <p:nvSpPr>
          <p:cNvPr id="13" name="Freihandform: Form 12">
            <a:extLst>
              <a:ext uri="{FF2B5EF4-FFF2-40B4-BE49-F238E27FC236}">
                <a16:creationId xmlns:a16="http://schemas.microsoft.com/office/drawing/2014/main" id="{41B3CD6E-4668-431E-B52B-BEFAFA264BED}"/>
              </a:ext>
            </a:extLst>
          </p:cNvPr>
          <p:cNvSpPr/>
          <p:nvPr/>
        </p:nvSpPr>
        <p:spPr>
          <a:xfrm>
            <a:off x="6988003" y="2046690"/>
            <a:ext cx="117690" cy="127012"/>
          </a:xfrm>
          <a:custGeom>
            <a:avLst/>
            <a:gdLst>
              <a:gd name="connsiteX0" fmla="*/ 53601 w 117690"/>
              <a:gd name="connsiteY0" fmla="*/ 127012 h 127012"/>
              <a:gd name="connsiteX1" fmla="*/ 0 w 117690"/>
              <a:gd name="connsiteY1" fmla="*/ 127012 h 127012"/>
              <a:gd name="connsiteX2" fmla="*/ 62924 w 117690"/>
              <a:gd name="connsiteY2" fmla="*/ 64089 h 127012"/>
              <a:gd name="connsiteX3" fmla="*/ 0 w 117690"/>
              <a:gd name="connsiteY3" fmla="*/ 0 h 127012"/>
              <a:gd name="connsiteX4" fmla="*/ 54767 w 117690"/>
              <a:gd name="connsiteY4" fmla="*/ 0 h 127012"/>
              <a:gd name="connsiteX5" fmla="*/ 117690 w 117690"/>
              <a:gd name="connsiteY5" fmla="*/ 61758 h 12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2">
                <a:moveTo>
                  <a:pt x="53601" y="127012"/>
                </a:moveTo>
                <a:lnTo>
                  <a:pt x="0" y="127012"/>
                </a:lnTo>
                <a:lnTo>
                  <a:pt x="62924" y="64089"/>
                </a:lnTo>
                <a:lnTo>
                  <a:pt x="0" y="0"/>
                </a:lnTo>
                <a:lnTo>
                  <a:pt x="54767" y="0"/>
                </a:lnTo>
                <a:lnTo>
                  <a:pt x="117690" y="61758"/>
                </a:lnTo>
                <a:close/>
              </a:path>
            </a:pathLst>
          </a:custGeom>
          <a:solidFill>
            <a:srgbClr val="EEF2F5"/>
          </a:solidFill>
          <a:ln w="11643" cap="flat">
            <a:noFill/>
            <a:prstDash val="solid"/>
            <a:miter/>
          </a:ln>
        </p:spPr>
        <p:txBody>
          <a:bodyPr rtlCol="0" anchor="ctr"/>
          <a:lstStyle/>
          <a:p>
            <a:endParaRPr lang="de-DE"/>
          </a:p>
        </p:txBody>
      </p:sp>
      <p:sp>
        <p:nvSpPr>
          <p:cNvPr id="28" name="Freihandform: Form 27">
            <a:extLst>
              <a:ext uri="{FF2B5EF4-FFF2-40B4-BE49-F238E27FC236}">
                <a16:creationId xmlns:a16="http://schemas.microsoft.com/office/drawing/2014/main" id="{44ADAD78-1959-4CDE-A14A-2F7982F10CE6}"/>
              </a:ext>
            </a:extLst>
          </p:cNvPr>
          <p:cNvSpPr/>
          <p:nvPr/>
        </p:nvSpPr>
        <p:spPr>
          <a:xfrm>
            <a:off x="6988003" y="2400925"/>
            <a:ext cx="117690" cy="127012"/>
          </a:xfrm>
          <a:custGeom>
            <a:avLst/>
            <a:gdLst>
              <a:gd name="connsiteX0" fmla="*/ 53601 w 117690"/>
              <a:gd name="connsiteY0" fmla="*/ 127012 h 127012"/>
              <a:gd name="connsiteX1" fmla="*/ 0 w 117690"/>
              <a:gd name="connsiteY1" fmla="*/ 127012 h 127012"/>
              <a:gd name="connsiteX2" fmla="*/ 62924 w 117690"/>
              <a:gd name="connsiteY2" fmla="*/ 64089 h 127012"/>
              <a:gd name="connsiteX3" fmla="*/ 0 w 117690"/>
              <a:gd name="connsiteY3" fmla="*/ 0 h 127012"/>
              <a:gd name="connsiteX4" fmla="*/ 54767 w 117690"/>
              <a:gd name="connsiteY4" fmla="*/ 0 h 127012"/>
              <a:gd name="connsiteX5" fmla="*/ 117690 w 117690"/>
              <a:gd name="connsiteY5" fmla="*/ 62923 h 12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2">
                <a:moveTo>
                  <a:pt x="53601" y="127012"/>
                </a:moveTo>
                <a:lnTo>
                  <a:pt x="0" y="127012"/>
                </a:lnTo>
                <a:lnTo>
                  <a:pt x="62924" y="64089"/>
                </a:lnTo>
                <a:lnTo>
                  <a:pt x="0" y="0"/>
                </a:lnTo>
                <a:lnTo>
                  <a:pt x="54767" y="0"/>
                </a:lnTo>
                <a:lnTo>
                  <a:pt x="117690" y="62923"/>
                </a:lnTo>
                <a:close/>
              </a:path>
            </a:pathLst>
          </a:custGeom>
          <a:solidFill>
            <a:srgbClr val="EEF2F5"/>
          </a:solidFill>
          <a:ln w="11643" cap="flat">
            <a:noFill/>
            <a:prstDash val="solid"/>
            <a:miter/>
          </a:ln>
        </p:spPr>
        <p:txBody>
          <a:bodyPr rtlCol="0" anchor="ctr"/>
          <a:lstStyle/>
          <a:p>
            <a:endParaRPr lang="de-DE"/>
          </a:p>
        </p:txBody>
      </p:sp>
      <p:sp>
        <p:nvSpPr>
          <p:cNvPr id="44" name="Freihandform: Form 43">
            <a:extLst>
              <a:ext uri="{FF2B5EF4-FFF2-40B4-BE49-F238E27FC236}">
                <a16:creationId xmlns:a16="http://schemas.microsoft.com/office/drawing/2014/main" id="{187A0A4D-77CA-456F-91F4-F6F8704B8154}"/>
              </a:ext>
            </a:extLst>
          </p:cNvPr>
          <p:cNvSpPr/>
          <p:nvPr/>
        </p:nvSpPr>
        <p:spPr>
          <a:xfrm>
            <a:off x="6988003" y="2756326"/>
            <a:ext cx="117690" cy="127012"/>
          </a:xfrm>
          <a:custGeom>
            <a:avLst/>
            <a:gdLst>
              <a:gd name="connsiteX0" fmla="*/ 53601 w 117690"/>
              <a:gd name="connsiteY0" fmla="*/ 127012 h 127012"/>
              <a:gd name="connsiteX1" fmla="*/ 0 w 117690"/>
              <a:gd name="connsiteY1" fmla="*/ 127012 h 127012"/>
              <a:gd name="connsiteX2" fmla="*/ 62924 w 117690"/>
              <a:gd name="connsiteY2" fmla="*/ 64089 h 127012"/>
              <a:gd name="connsiteX3" fmla="*/ 0 w 117690"/>
              <a:gd name="connsiteY3" fmla="*/ 0 h 127012"/>
              <a:gd name="connsiteX4" fmla="*/ 54767 w 117690"/>
              <a:gd name="connsiteY4" fmla="*/ 0 h 127012"/>
              <a:gd name="connsiteX5" fmla="*/ 117690 w 117690"/>
              <a:gd name="connsiteY5" fmla="*/ 61758 h 12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2">
                <a:moveTo>
                  <a:pt x="53601" y="127012"/>
                </a:moveTo>
                <a:lnTo>
                  <a:pt x="0" y="127012"/>
                </a:lnTo>
                <a:lnTo>
                  <a:pt x="62924" y="64089"/>
                </a:lnTo>
                <a:lnTo>
                  <a:pt x="0" y="0"/>
                </a:lnTo>
                <a:lnTo>
                  <a:pt x="54767" y="0"/>
                </a:lnTo>
                <a:lnTo>
                  <a:pt x="117690" y="61758"/>
                </a:lnTo>
                <a:close/>
              </a:path>
            </a:pathLst>
          </a:custGeom>
          <a:solidFill>
            <a:srgbClr val="EEF2F5"/>
          </a:solidFill>
          <a:ln w="11643" cap="flat">
            <a:noFill/>
            <a:prstDash val="solid"/>
            <a:miter/>
          </a:ln>
        </p:spPr>
        <p:txBody>
          <a:bodyPr rtlCol="0" anchor="ctr"/>
          <a:lstStyle/>
          <a:p>
            <a:endParaRPr lang="de-DE"/>
          </a:p>
        </p:txBody>
      </p:sp>
      <p:sp>
        <p:nvSpPr>
          <p:cNvPr id="60" name="Freihandform: Form 59">
            <a:extLst>
              <a:ext uri="{FF2B5EF4-FFF2-40B4-BE49-F238E27FC236}">
                <a16:creationId xmlns:a16="http://schemas.microsoft.com/office/drawing/2014/main" id="{CB07603B-B3CF-406B-8F49-C88DDBDF26D2}"/>
              </a:ext>
            </a:extLst>
          </p:cNvPr>
          <p:cNvSpPr/>
          <p:nvPr/>
        </p:nvSpPr>
        <p:spPr>
          <a:xfrm>
            <a:off x="6988003" y="3111726"/>
            <a:ext cx="117690" cy="125846"/>
          </a:xfrm>
          <a:custGeom>
            <a:avLst/>
            <a:gdLst>
              <a:gd name="connsiteX0" fmla="*/ 53601 w 117690"/>
              <a:gd name="connsiteY0" fmla="*/ 125847 h 125846"/>
              <a:gd name="connsiteX1" fmla="*/ 0 w 117690"/>
              <a:gd name="connsiteY1" fmla="*/ 125847 h 125846"/>
              <a:gd name="connsiteX2" fmla="*/ 62924 w 117690"/>
              <a:gd name="connsiteY2" fmla="*/ 62923 h 125846"/>
              <a:gd name="connsiteX3" fmla="*/ 0 w 117690"/>
              <a:gd name="connsiteY3" fmla="*/ 0 h 125846"/>
              <a:gd name="connsiteX4" fmla="*/ 54767 w 117690"/>
              <a:gd name="connsiteY4" fmla="*/ 0 h 125846"/>
              <a:gd name="connsiteX5" fmla="*/ 117690 w 117690"/>
              <a:gd name="connsiteY5" fmla="*/ 61758 h 125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5846">
                <a:moveTo>
                  <a:pt x="53601" y="125847"/>
                </a:moveTo>
                <a:lnTo>
                  <a:pt x="0" y="125847"/>
                </a:lnTo>
                <a:lnTo>
                  <a:pt x="62924" y="62923"/>
                </a:lnTo>
                <a:lnTo>
                  <a:pt x="0" y="0"/>
                </a:lnTo>
                <a:lnTo>
                  <a:pt x="54767" y="0"/>
                </a:lnTo>
                <a:lnTo>
                  <a:pt x="117690" y="61758"/>
                </a:lnTo>
                <a:close/>
              </a:path>
            </a:pathLst>
          </a:custGeom>
          <a:solidFill>
            <a:srgbClr val="EEF2F5"/>
          </a:solidFill>
          <a:ln w="11643" cap="flat">
            <a:noFill/>
            <a:prstDash val="solid"/>
            <a:miter/>
          </a:ln>
        </p:spPr>
        <p:txBody>
          <a:bodyPr rtlCol="0" anchor="ctr"/>
          <a:lstStyle/>
          <a:p>
            <a:endParaRPr lang="de-DE"/>
          </a:p>
        </p:txBody>
      </p:sp>
      <p:sp>
        <p:nvSpPr>
          <p:cNvPr id="76" name="Freihandform: Form 75">
            <a:extLst>
              <a:ext uri="{FF2B5EF4-FFF2-40B4-BE49-F238E27FC236}">
                <a16:creationId xmlns:a16="http://schemas.microsoft.com/office/drawing/2014/main" id="{C87C0BBB-E201-45AD-A8CC-B6DF36C9BFCA}"/>
              </a:ext>
            </a:extLst>
          </p:cNvPr>
          <p:cNvSpPr/>
          <p:nvPr/>
        </p:nvSpPr>
        <p:spPr>
          <a:xfrm>
            <a:off x="6988003" y="3465962"/>
            <a:ext cx="117690" cy="127012"/>
          </a:xfrm>
          <a:custGeom>
            <a:avLst/>
            <a:gdLst>
              <a:gd name="connsiteX0" fmla="*/ 53601 w 117690"/>
              <a:gd name="connsiteY0" fmla="*/ 127012 h 127012"/>
              <a:gd name="connsiteX1" fmla="*/ 0 w 117690"/>
              <a:gd name="connsiteY1" fmla="*/ 127012 h 127012"/>
              <a:gd name="connsiteX2" fmla="*/ 62924 w 117690"/>
              <a:gd name="connsiteY2" fmla="*/ 64089 h 127012"/>
              <a:gd name="connsiteX3" fmla="*/ 0 w 117690"/>
              <a:gd name="connsiteY3" fmla="*/ 0 h 127012"/>
              <a:gd name="connsiteX4" fmla="*/ 54767 w 117690"/>
              <a:gd name="connsiteY4" fmla="*/ 0 h 127012"/>
              <a:gd name="connsiteX5" fmla="*/ 117690 w 117690"/>
              <a:gd name="connsiteY5" fmla="*/ 62923 h 12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2">
                <a:moveTo>
                  <a:pt x="53601" y="127012"/>
                </a:moveTo>
                <a:lnTo>
                  <a:pt x="0" y="127012"/>
                </a:lnTo>
                <a:lnTo>
                  <a:pt x="62924" y="64089"/>
                </a:lnTo>
                <a:lnTo>
                  <a:pt x="0" y="0"/>
                </a:lnTo>
                <a:lnTo>
                  <a:pt x="54767" y="0"/>
                </a:lnTo>
                <a:lnTo>
                  <a:pt x="117690" y="62923"/>
                </a:lnTo>
                <a:close/>
              </a:path>
            </a:pathLst>
          </a:custGeom>
          <a:solidFill>
            <a:srgbClr val="EEF2F5"/>
          </a:solidFill>
          <a:ln w="11643" cap="flat">
            <a:noFill/>
            <a:prstDash val="solid"/>
            <a:miter/>
          </a:ln>
        </p:spPr>
        <p:txBody>
          <a:bodyPr rtlCol="0" anchor="ctr"/>
          <a:lstStyle/>
          <a:p>
            <a:endParaRPr lang="de-DE"/>
          </a:p>
        </p:txBody>
      </p:sp>
      <p:sp>
        <p:nvSpPr>
          <p:cNvPr id="92" name="Freihandform: Form 91">
            <a:extLst>
              <a:ext uri="{FF2B5EF4-FFF2-40B4-BE49-F238E27FC236}">
                <a16:creationId xmlns:a16="http://schemas.microsoft.com/office/drawing/2014/main" id="{E84E584C-AD1A-4283-9393-9ADAC5705999}"/>
              </a:ext>
            </a:extLst>
          </p:cNvPr>
          <p:cNvSpPr/>
          <p:nvPr/>
        </p:nvSpPr>
        <p:spPr>
          <a:xfrm>
            <a:off x="6988003" y="3821362"/>
            <a:ext cx="117690" cy="125846"/>
          </a:xfrm>
          <a:custGeom>
            <a:avLst/>
            <a:gdLst>
              <a:gd name="connsiteX0" fmla="*/ 53601 w 117690"/>
              <a:gd name="connsiteY0" fmla="*/ 125847 h 125846"/>
              <a:gd name="connsiteX1" fmla="*/ 0 w 117690"/>
              <a:gd name="connsiteY1" fmla="*/ 125847 h 125846"/>
              <a:gd name="connsiteX2" fmla="*/ 62924 w 117690"/>
              <a:gd name="connsiteY2" fmla="*/ 62923 h 125846"/>
              <a:gd name="connsiteX3" fmla="*/ 0 w 117690"/>
              <a:gd name="connsiteY3" fmla="*/ 0 h 125846"/>
              <a:gd name="connsiteX4" fmla="*/ 54767 w 117690"/>
              <a:gd name="connsiteY4" fmla="*/ 0 h 125846"/>
              <a:gd name="connsiteX5" fmla="*/ 117690 w 117690"/>
              <a:gd name="connsiteY5" fmla="*/ 61758 h 125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5846">
                <a:moveTo>
                  <a:pt x="53601" y="125847"/>
                </a:moveTo>
                <a:lnTo>
                  <a:pt x="0" y="125847"/>
                </a:lnTo>
                <a:lnTo>
                  <a:pt x="62924" y="62923"/>
                </a:lnTo>
                <a:lnTo>
                  <a:pt x="0" y="0"/>
                </a:lnTo>
                <a:lnTo>
                  <a:pt x="54767" y="0"/>
                </a:lnTo>
                <a:lnTo>
                  <a:pt x="117690" y="61758"/>
                </a:lnTo>
                <a:close/>
              </a:path>
            </a:pathLst>
          </a:custGeom>
          <a:solidFill>
            <a:srgbClr val="EEF2F5"/>
          </a:solidFill>
          <a:ln w="11643" cap="flat">
            <a:noFill/>
            <a:prstDash val="solid"/>
            <a:miter/>
          </a:ln>
        </p:spPr>
        <p:txBody>
          <a:bodyPr rtlCol="0" anchor="ctr"/>
          <a:lstStyle/>
          <a:p>
            <a:endParaRPr lang="de-DE"/>
          </a:p>
        </p:txBody>
      </p:sp>
      <p:sp>
        <p:nvSpPr>
          <p:cNvPr id="108" name="Freihandform: Form 107">
            <a:extLst>
              <a:ext uri="{FF2B5EF4-FFF2-40B4-BE49-F238E27FC236}">
                <a16:creationId xmlns:a16="http://schemas.microsoft.com/office/drawing/2014/main" id="{821A23CA-DB65-474C-8F4A-71EDD9066EAA}"/>
              </a:ext>
            </a:extLst>
          </p:cNvPr>
          <p:cNvSpPr/>
          <p:nvPr/>
        </p:nvSpPr>
        <p:spPr>
          <a:xfrm>
            <a:off x="6988003" y="4175598"/>
            <a:ext cx="117690" cy="127011"/>
          </a:xfrm>
          <a:custGeom>
            <a:avLst/>
            <a:gdLst>
              <a:gd name="connsiteX0" fmla="*/ 53601 w 117690"/>
              <a:gd name="connsiteY0" fmla="*/ 127012 h 127011"/>
              <a:gd name="connsiteX1" fmla="*/ 0 w 117690"/>
              <a:gd name="connsiteY1" fmla="*/ 127012 h 127011"/>
              <a:gd name="connsiteX2" fmla="*/ 62924 w 117690"/>
              <a:gd name="connsiteY2" fmla="*/ 64089 h 127011"/>
              <a:gd name="connsiteX3" fmla="*/ 0 w 117690"/>
              <a:gd name="connsiteY3" fmla="*/ 0 h 127011"/>
              <a:gd name="connsiteX4" fmla="*/ 54767 w 117690"/>
              <a:gd name="connsiteY4" fmla="*/ 0 h 127011"/>
              <a:gd name="connsiteX5" fmla="*/ 117690 w 117690"/>
              <a:gd name="connsiteY5" fmla="*/ 62923 h 12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1">
                <a:moveTo>
                  <a:pt x="53601" y="127012"/>
                </a:moveTo>
                <a:lnTo>
                  <a:pt x="0" y="127012"/>
                </a:lnTo>
                <a:lnTo>
                  <a:pt x="62924" y="64089"/>
                </a:lnTo>
                <a:lnTo>
                  <a:pt x="0" y="0"/>
                </a:lnTo>
                <a:lnTo>
                  <a:pt x="54767" y="0"/>
                </a:lnTo>
                <a:lnTo>
                  <a:pt x="117690" y="62923"/>
                </a:lnTo>
                <a:close/>
              </a:path>
            </a:pathLst>
          </a:custGeom>
          <a:solidFill>
            <a:srgbClr val="EEF2F5"/>
          </a:solidFill>
          <a:ln w="11643" cap="flat">
            <a:noFill/>
            <a:prstDash val="solid"/>
            <a:miter/>
          </a:ln>
        </p:spPr>
        <p:txBody>
          <a:bodyPr rtlCol="0" anchor="ctr"/>
          <a:lstStyle/>
          <a:p>
            <a:endParaRPr lang="de-DE"/>
          </a:p>
        </p:txBody>
      </p:sp>
      <p:sp>
        <p:nvSpPr>
          <p:cNvPr id="124" name="Freihandform: Form 123">
            <a:extLst>
              <a:ext uri="{FF2B5EF4-FFF2-40B4-BE49-F238E27FC236}">
                <a16:creationId xmlns:a16="http://schemas.microsoft.com/office/drawing/2014/main" id="{A21B059E-24B7-45F6-86CA-657F48380E87}"/>
              </a:ext>
            </a:extLst>
          </p:cNvPr>
          <p:cNvSpPr/>
          <p:nvPr/>
        </p:nvSpPr>
        <p:spPr>
          <a:xfrm>
            <a:off x="6988003" y="4530998"/>
            <a:ext cx="117690" cy="125846"/>
          </a:xfrm>
          <a:custGeom>
            <a:avLst/>
            <a:gdLst>
              <a:gd name="connsiteX0" fmla="*/ 53601 w 117690"/>
              <a:gd name="connsiteY0" fmla="*/ 125847 h 125846"/>
              <a:gd name="connsiteX1" fmla="*/ 0 w 117690"/>
              <a:gd name="connsiteY1" fmla="*/ 125847 h 125846"/>
              <a:gd name="connsiteX2" fmla="*/ 62924 w 117690"/>
              <a:gd name="connsiteY2" fmla="*/ 64089 h 125846"/>
              <a:gd name="connsiteX3" fmla="*/ 0 w 117690"/>
              <a:gd name="connsiteY3" fmla="*/ 0 h 125846"/>
              <a:gd name="connsiteX4" fmla="*/ 54767 w 117690"/>
              <a:gd name="connsiteY4" fmla="*/ 0 h 125846"/>
              <a:gd name="connsiteX5" fmla="*/ 117690 w 117690"/>
              <a:gd name="connsiteY5" fmla="*/ 61758 h 125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5846">
                <a:moveTo>
                  <a:pt x="53601" y="125847"/>
                </a:moveTo>
                <a:lnTo>
                  <a:pt x="0" y="125847"/>
                </a:lnTo>
                <a:lnTo>
                  <a:pt x="62924" y="64089"/>
                </a:lnTo>
                <a:lnTo>
                  <a:pt x="0" y="0"/>
                </a:lnTo>
                <a:lnTo>
                  <a:pt x="54767" y="0"/>
                </a:lnTo>
                <a:lnTo>
                  <a:pt x="117690" y="61758"/>
                </a:lnTo>
                <a:close/>
              </a:path>
            </a:pathLst>
          </a:custGeom>
          <a:solidFill>
            <a:srgbClr val="EEF2F5"/>
          </a:solidFill>
          <a:ln w="11643" cap="flat">
            <a:noFill/>
            <a:prstDash val="solid"/>
            <a:miter/>
          </a:ln>
        </p:spPr>
        <p:txBody>
          <a:bodyPr rtlCol="0" anchor="ctr"/>
          <a:lstStyle/>
          <a:p>
            <a:endParaRPr lang="de-DE"/>
          </a:p>
        </p:txBody>
      </p:sp>
      <p:sp>
        <p:nvSpPr>
          <p:cNvPr id="141" name="Freihandform: Form 140">
            <a:extLst>
              <a:ext uri="{FF2B5EF4-FFF2-40B4-BE49-F238E27FC236}">
                <a16:creationId xmlns:a16="http://schemas.microsoft.com/office/drawing/2014/main" id="{B826AAAD-4F78-48CC-8D7F-6FF66CB56257}"/>
              </a:ext>
            </a:extLst>
          </p:cNvPr>
          <p:cNvSpPr/>
          <p:nvPr/>
        </p:nvSpPr>
        <p:spPr>
          <a:xfrm>
            <a:off x="6988003" y="4885234"/>
            <a:ext cx="117690" cy="127012"/>
          </a:xfrm>
          <a:custGeom>
            <a:avLst/>
            <a:gdLst>
              <a:gd name="connsiteX0" fmla="*/ 53601 w 117690"/>
              <a:gd name="connsiteY0" fmla="*/ 127012 h 127012"/>
              <a:gd name="connsiteX1" fmla="*/ 0 w 117690"/>
              <a:gd name="connsiteY1" fmla="*/ 127012 h 127012"/>
              <a:gd name="connsiteX2" fmla="*/ 62924 w 117690"/>
              <a:gd name="connsiteY2" fmla="*/ 64089 h 127012"/>
              <a:gd name="connsiteX3" fmla="*/ 0 w 117690"/>
              <a:gd name="connsiteY3" fmla="*/ 0 h 127012"/>
              <a:gd name="connsiteX4" fmla="*/ 54767 w 117690"/>
              <a:gd name="connsiteY4" fmla="*/ 0 h 127012"/>
              <a:gd name="connsiteX5" fmla="*/ 117690 w 117690"/>
              <a:gd name="connsiteY5" fmla="*/ 62923 h 12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2">
                <a:moveTo>
                  <a:pt x="53601" y="127012"/>
                </a:moveTo>
                <a:lnTo>
                  <a:pt x="0" y="127012"/>
                </a:lnTo>
                <a:lnTo>
                  <a:pt x="62924" y="64089"/>
                </a:lnTo>
                <a:lnTo>
                  <a:pt x="0" y="0"/>
                </a:lnTo>
                <a:lnTo>
                  <a:pt x="54767" y="0"/>
                </a:lnTo>
                <a:lnTo>
                  <a:pt x="117690" y="62923"/>
                </a:lnTo>
                <a:close/>
              </a:path>
            </a:pathLst>
          </a:custGeom>
          <a:solidFill>
            <a:srgbClr val="EEF2F5"/>
          </a:solidFill>
          <a:ln w="11643" cap="flat">
            <a:noFill/>
            <a:prstDash val="solid"/>
            <a:miter/>
          </a:ln>
        </p:spPr>
        <p:txBody>
          <a:bodyPr rtlCol="0" anchor="ctr"/>
          <a:lstStyle/>
          <a:p>
            <a:endParaRPr lang="de-DE"/>
          </a:p>
        </p:txBody>
      </p:sp>
      <p:sp>
        <p:nvSpPr>
          <p:cNvPr id="158" name="Freihandform: Form 157">
            <a:extLst>
              <a:ext uri="{FF2B5EF4-FFF2-40B4-BE49-F238E27FC236}">
                <a16:creationId xmlns:a16="http://schemas.microsoft.com/office/drawing/2014/main" id="{52E552E0-7863-4113-BBA5-301C77EAF452}"/>
              </a:ext>
            </a:extLst>
          </p:cNvPr>
          <p:cNvSpPr/>
          <p:nvPr/>
        </p:nvSpPr>
        <p:spPr>
          <a:xfrm>
            <a:off x="6988003" y="5240634"/>
            <a:ext cx="117690" cy="127011"/>
          </a:xfrm>
          <a:custGeom>
            <a:avLst/>
            <a:gdLst>
              <a:gd name="connsiteX0" fmla="*/ 53601 w 117690"/>
              <a:gd name="connsiteY0" fmla="*/ 127012 h 127011"/>
              <a:gd name="connsiteX1" fmla="*/ 0 w 117690"/>
              <a:gd name="connsiteY1" fmla="*/ 127012 h 127011"/>
              <a:gd name="connsiteX2" fmla="*/ 62924 w 117690"/>
              <a:gd name="connsiteY2" fmla="*/ 64089 h 127011"/>
              <a:gd name="connsiteX3" fmla="*/ 0 w 117690"/>
              <a:gd name="connsiteY3" fmla="*/ 0 h 127011"/>
              <a:gd name="connsiteX4" fmla="*/ 54767 w 117690"/>
              <a:gd name="connsiteY4" fmla="*/ 0 h 127011"/>
              <a:gd name="connsiteX5" fmla="*/ 117690 w 117690"/>
              <a:gd name="connsiteY5" fmla="*/ 61758 h 12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1">
                <a:moveTo>
                  <a:pt x="53601" y="127012"/>
                </a:moveTo>
                <a:lnTo>
                  <a:pt x="0" y="127012"/>
                </a:lnTo>
                <a:lnTo>
                  <a:pt x="62924" y="64089"/>
                </a:lnTo>
                <a:lnTo>
                  <a:pt x="0" y="0"/>
                </a:lnTo>
                <a:lnTo>
                  <a:pt x="54767" y="0"/>
                </a:lnTo>
                <a:lnTo>
                  <a:pt x="117690" y="61758"/>
                </a:lnTo>
                <a:close/>
              </a:path>
            </a:pathLst>
          </a:custGeom>
          <a:solidFill>
            <a:srgbClr val="EEF2F5"/>
          </a:solidFill>
          <a:ln w="11643" cap="flat">
            <a:noFill/>
            <a:prstDash val="solid"/>
            <a:miter/>
          </a:ln>
        </p:spPr>
        <p:txBody>
          <a:bodyPr rtlCol="0" anchor="ctr"/>
          <a:lstStyle/>
          <a:p>
            <a:endParaRPr lang="de-DE"/>
          </a:p>
        </p:txBody>
      </p:sp>
      <p:sp>
        <p:nvSpPr>
          <p:cNvPr id="175" name="Freihandform: Form 174">
            <a:extLst>
              <a:ext uri="{FF2B5EF4-FFF2-40B4-BE49-F238E27FC236}">
                <a16:creationId xmlns:a16="http://schemas.microsoft.com/office/drawing/2014/main" id="{B682B6CF-0860-48B1-8C00-95D42CF736E9}"/>
              </a:ext>
            </a:extLst>
          </p:cNvPr>
          <p:cNvSpPr/>
          <p:nvPr/>
        </p:nvSpPr>
        <p:spPr>
          <a:xfrm>
            <a:off x="6988003" y="5594870"/>
            <a:ext cx="117690" cy="127011"/>
          </a:xfrm>
          <a:custGeom>
            <a:avLst/>
            <a:gdLst>
              <a:gd name="connsiteX0" fmla="*/ 53601 w 117690"/>
              <a:gd name="connsiteY0" fmla="*/ 127012 h 127011"/>
              <a:gd name="connsiteX1" fmla="*/ 0 w 117690"/>
              <a:gd name="connsiteY1" fmla="*/ 127012 h 127011"/>
              <a:gd name="connsiteX2" fmla="*/ 62924 w 117690"/>
              <a:gd name="connsiteY2" fmla="*/ 64089 h 127011"/>
              <a:gd name="connsiteX3" fmla="*/ 0 w 117690"/>
              <a:gd name="connsiteY3" fmla="*/ 0 h 127011"/>
              <a:gd name="connsiteX4" fmla="*/ 54767 w 117690"/>
              <a:gd name="connsiteY4" fmla="*/ 0 h 127011"/>
              <a:gd name="connsiteX5" fmla="*/ 117690 w 117690"/>
              <a:gd name="connsiteY5" fmla="*/ 62923 h 12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1">
                <a:moveTo>
                  <a:pt x="53601" y="127012"/>
                </a:moveTo>
                <a:lnTo>
                  <a:pt x="0" y="127012"/>
                </a:lnTo>
                <a:lnTo>
                  <a:pt x="62924" y="64089"/>
                </a:lnTo>
                <a:lnTo>
                  <a:pt x="0" y="0"/>
                </a:lnTo>
                <a:lnTo>
                  <a:pt x="54767" y="0"/>
                </a:lnTo>
                <a:lnTo>
                  <a:pt x="117690" y="62923"/>
                </a:lnTo>
                <a:close/>
              </a:path>
            </a:pathLst>
          </a:custGeom>
          <a:solidFill>
            <a:srgbClr val="EEF2F5"/>
          </a:solidFill>
          <a:ln w="11643" cap="flat">
            <a:noFill/>
            <a:prstDash val="solid"/>
            <a:miter/>
          </a:ln>
        </p:spPr>
        <p:txBody>
          <a:bodyPr rtlCol="0" anchor="ctr"/>
          <a:lstStyle/>
          <a:p>
            <a:endParaRPr lang="de-DE"/>
          </a:p>
        </p:txBody>
      </p:sp>
      <p:sp>
        <p:nvSpPr>
          <p:cNvPr id="192" name="Freihandform: Form 191">
            <a:extLst>
              <a:ext uri="{FF2B5EF4-FFF2-40B4-BE49-F238E27FC236}">
                <a16:creationId xmlns:a16="http://schemas.microsoft.com/office/drawing/2014/main" id="{454B7B92-8F20-486A-A2F6-3D352B2C3337}"/>
              </a:ext>
            </a:extLst>
          </p:cNvPr>
          <p:cNvSpPr/>
          <p:nvPr/>
        </p:nvSpPr>
        <p:spPr>
          <a:xfrm>
            <a:off x="6988003" y="5950270"/>
            <a:ext cx="117690" cy="127011"/>
          </a:xfrm>
          <a:custGeom>
            <a:avLst/>
            <a:gdLst>
              <a:gd name="connsiteX0" fmla="*/ 53601 w 117690"/>
              <a:gd name="connsiteY0" fmla="*/ 127012 h 127011"/>
              <a:gd name="connsiteX1" fmla="*/ 0 w 117690"/>
              <a:gd name="connsiteY1" fmla="*/ 127012 h 127011"/>
              <a:gd name="connsiteX2" fmla="*/ 62924 w 117690"/>
              <a:gd name="connsiteY2" fmla="*/ 64089 h 127011"/>
              <a:gd name="connsiteX3" fmla="*/ 0 w 117690"/>
              <a:gd name="connsiteY3" fmla="*/ 0 h 127011"/>
              <a:gd name="connsiteX4" fmla="*/ 54767 w 117690"/>
              <a:gd name="connsiteY4" fmla="*/ 0 h 127011"/>
              <a:gd name="connsiteX5" fmla="*/ 117690 w 117690"/>
              <a:gd name="connsiteY5" fmla="*/ 61758 h 12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1">
                <a:moveTo>
                  <a:pt x="53601" y="127012"/>
                </a:moveTo>
                <a:lnTo>
                  <a:pt x="0" y="127012"/>
                </a:lnTo>
                <a:lnTo>
                  <a:pt x="62924" y="64089"/>
                </a:lnTo>
                <a:lnTo>
                  <a:pt x="0" y="0"/>
                </a:lnTo>
                <a:lnTo>
                  <a:pt x="54767" y="0"/>
                </a:lnTo>
                <a:lnTo>
                  <a:pt x="117690" y="61758"/>
                </a:lnTo>
                <a:close/>
              </a:path>
            </a:pathLst>
          </a:custGeom>
          <a:solidFill>
            <a:srgbClr val="EEF2F5"/>
          </a:solidFill>
          <a:ln w="11643" cap="flat">
            <a:noFill/>
            <a:prstDash val="solid"/>
            <a:miter/>
          </a:ln>
        </p:spPr>
        <p:txBody>
          <a:bodyPr rtlCol="0" anchor="ctr"/>
          <a:lstStyle/>
          <a:p>
            <a:endParaRPr lang="de-DE"/>
          </a:p>
        </p:txBody>
      </p:sp>
      <p:sp>
        <p:nvSpPr>
          <p:cNvPr id="209" name="Freihandform: Form 208">
            <a:extLst>
              <a:ext uri="{FF2B5EF4-FFF2-40B4-BE49-F238E27FC236}">
                <a16:creationId xmlns:a16="http://schemas.microsoft.com/office/drawing/2014/main" id="{731C9EF6-821F-43D3-AF27-A0A6EE4233B2}"/>
              </a:ext>
            </a:extLst>
          </p:cNvPr>
          <p:cNvSpPr/>
          <p:nvPr/>
        </p:nvSpPr>
        <p:spPr>
          <a:xfrm>
            <a:off x="6988003" y="6304506"/>
            <a:ext cx="117690" cy="127011"/>
          </a:xfrm>
          <a:custGeom>
            <a:avLst/>
            <a:gdLst>
              <a:gd name="connsiteX0" fmla="*/ 53601 w 117690"/>
              <a:gd name="connsiteY0" fmla="*/ 127012 h 127011"/>
              <a:gd name="connsiteX1" fmla="*/ 0 w 117690"/>
              <a:gd name="connsiteY1" fmla="*/ 127012 h 127011"/>
              <a:gd name="connsiteX2" fmla="*/ 62924 w 117690"/>
              <a:gd name="connsiteY2" fmla="*/ 64089 h 127011"/>
              <a:gd name="connsiteX3" fmla="*/ 0 w 117690"/>
              <a:gd name="connsiteY3" fmla="*/ 0 h 127011"/>
              <a:gd name="connsiteX4" fmla="*/ 54767 w 117690"/>
              <a:gd name="connsiteY4" fmla="*/ 0 h 127011"/>
              <a:gd name="connsiteX5" fmla="*/ 117690 w 117690"/>
              <a:gd name="connsiteY5" fmla="*/ 62923 h 12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1">
                <a:moveTo>
                  <a:pt x="53601" y="127012"/>
                </a:moveTo>
                <a:lnTo>
                  <a:pt x="0" y="127012"/>
                </a:lnTo>
                <a:lnTo>
                  <a:pt x="62924" y="64089"/>
                </a:lnTo>
                <a:lnTo>
                  <a:pt x="0" y="0"/>
                </a:lnTo>
                <a:lnTo>
                  <a:pt x="54767" y="0"/>
                </a:lnTo>
                <a:lnTo>
                  <a:pt x="117690" y="62923"/>
                </a:lnTo>
                <a:close/>
              </a:path>
            </a:pathLst>
          </a:custGeom>
          <a:solidFill>
            <a:srgbClr val="EEF2F5"/>
          </a:solidFill>
          <a:ln w="11643" cap="flat">
            <a:noFill/>
            <a:prstDash val="solid"/>
            <a:miter/>
          </a:ln>
        </p:spPr>
        <p:txBody>
          <a:bodyPr rtlCol="0" anchor="ctr"/>
          <a:lstStyle/>
          <a:p>
            <a:endParaRPr lang="de-DE"/>
          </a:p>
        </p:txBody>
      </p:sp>
      <p:sp>
        <p:nvSpPr>
          <p:cNvPr id="225" name="Freihandform: Form 224">
            <a:extLst>
              <a:ext uri="{FF2B5EF4-FFF2-40B4-BE49-F238E27FC236}">
                <a16:creationId xmlns:a16="http://schemas.microsoft.com/office/drawing/2014/main" id="{E9AB3220-DE9C-44AE-ADC2-AF15E390E82D}"/>
              </a:ext>
            </a:extLst>
          </p:cNvPr>
          <p:cNvSpPr/>
          <p:nvPr/>
        </p:nvSpPr>
        <p:spPr>
          <a:xfrm>
            <a:off x="6988003" y="6659906"/>
            <a:ext cx="117690" cy="127011"/>
          </a:xfrm>
          <a:custGeom>
            <a:avLst/>
            <a:gdLst>
              <a:gd name="connsiteX0" fmla="*/ 53601 w 117690"/>
              <a:gd name="connsiteY0" fmla="*/ 127012 h 127011"/>
              <a:gd name="connsiteX1" fmla="*/ 0 w 117690"/>
              <a:gd name="connsiteY1" fmla="*/ 127012 h 127011"/>
              <a:gd name="connsiteX2" fmla="*/ 62924 w 117690"/>
              <a:gd name="connsiteY2" fmla="*/ 64089 h 127011"/>
              <a:gd name="connsiteX3" fmla="*/ 0 w 117690"/>
              <a:gd name="connsiteY3" fmla="*/ 0 h 127011"/>
              <a:gd name="connsiteX4" fmla="*/ 54767 w 117690"/>
              <a:gd name="connsiteY4" fmla="*/ 0 h 127011"/>
              <a:gd name="connsiteX5" fmla="*/ 117690 w 117690"/>
              <a:gd name="connsiteY5" fmla="*/ 61758 h 12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1">
                <a:moveTo>
                  <a:pt x="53601" y="127012"/>
                </a:moveTo>
                <a:lnTo>
                  <a:pt x="0" y="127012"/>
                </a:lnTo>
                <a:lnTo>
                  <a:pt x="62924" y="64089"/>
                </a:lnTo>
                <a:lnTo>
                  <a:pt x="0" y="0"/>
                </a:lnTo>
                <a:lnTo>
                  <a:pt x="54767" y="0"/>
                </a:lnTo>
                <a:lnTo>
                  <a:pt x="117690" y="61758"/>
                </a:lnTo>
                <a:close/>
              </a:path>
            </a:pathLst>
          </a:custGeom>
          <a:solidFill>
            <a:srgbClr val="EEF2F5"/>
          </a:solidFill>
          <a:ln w="11643" cap="flat">
            <a:noFill/>
            <a:prstDash val="solid"/>
            <a:miter/>
          </a:ln>
        </p:spPr>
        <p:txBody>
          <a:bodyPr rtlCol="0" anchor="ctr"/>
          <a:lstStyle/>
          <a:p>
            <a:endParaRPr lang="de-DE"/>
          </a:p>
        </p:txBody>
      </p:sp>
      <p:sp>
        <p:nvSpPr>
          <p:cNvPr id="14" name="Freihandform: Form 13">
            <a:extLst>
              <a:ext uri="{FF2B5EF4-FFF2-40B4-BE49-F238E27FC236}">
                <a16:creationId xmlns:a16="http://schemas.microsoft.com/office/drawing/2014/main" id="{EFAF6EFC-5984-485E-8562-F3C5B1286F10}"/>
              </a:ext>
            </a:extLst>
          </p:cNvPr>
          <p:cNvSpPr/>
          <p:nvPr/>
        </p:nvSpPr>
        <p:spPr>
          <a:xfrm>
            <a:off x="7335247" y="2038533"/>
            <a:ext cx="132838" cy="143325"/>
          </a:xfrm>
          <a:custGeom>
            <a:avLst/>
            <a:gdLst>
              <a:gd name="connsiteX0" fmla="*/ 60593 w 132838"/>
              <a:gd name="connsiteY0" fmla="*/ 143326 h 143325"/>
              <a:gd name="connsiteX1" fmla="*/ 0 w 132838"/>
              <a:gd name="connsiteY1" fmla="*/ 143326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6"/>
                </a:moveTo>
                <a:lnTo>
                  <a:pt x="0" y="143326"/>
                </a:lnTo>
                <a:lnTo>
                  <a:pt x="71080" y="72245"/>
                </a:lnTo>
                <a:lnTo>
                  <a:pt x="0" y="0"/>
                </a:lnTo>
                <a:lnTo>
                  <a:pt x="61758" y="0"/>
                </a:lnTo>
                <a:lnTo>
                  <a:pt x="132838" y="69915"/>
                </a:lnTo>
                <a:close/>
              </a:path>
            </a:pathLst>
          </a:custGeom>
          <a:solidFill>
            <a:srgbClr val="EEF2F5"/>
          </a:solidFill>
          <a:ln w="11643" cap="flat">
            <a:noFill/>
            <a:prstDash val="solid"/>
            <a:miter/>
          </a:ln>
        </p:spPr>
        <p:txBody>
          <a:bodyPr rtlCol="0" anchor="ctr"/>
          <a:lstStyle/>
          <a:p>
            <a:endParaRPr lang="de-DE"/>
          </a:p>
        </p:txBody>
      </p:sp>
      <p:sp>
        <p:nvSpPr>
          <p:cNvPr id="29" name="Freihandform: Form 28">
            <a:extLst>
              <a:ext uri="{FF2B5EF4-FFF2-40B4-BE49-F238E27FC236}">
                <a16:creationId xmlns:a16="http://schemas.microsoft.com/office/drawing/2014/main" id="{C38B5C98-4ABA-4DD0-92EE-6AE4E7466D1F}"/>
              </a:ext>
            </a:extLst>
          </p:cNvPr>
          <p:cNvSpPr/>
          <p:nvPr/>
        </p:nvSpPr>
        <p:spPr>
          <a:xfrm>
            <a:off x="7335247" y="2392768"/>
            <a:ext cx="132838" cy="143325"/>
          </a:xfrm>
          <a:custGeom>
            <a:avLst/>
            <a:gdLst>
              <a:gd name="connsiteX0" fmla="*/ 60593 w 132838"/>
              <a:gd name="connsiteY0" fmla="*/ 143325 h 143325"/>
              <a:gd name="connsiteX1" fmla="*/ 0 w 132838"/>
              <a:gd name="connsiteY1" fmla="*/ 143325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71080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5"/>
                </a:moveTo>
                <a:lnTo>
                  <a:pt x="0" y="143325"/>
                </a:lnTo>
                <a:lnTo>
                  <a:pt x="71080" y="72245"/>
                </a:lnTo>
                <a:lnTo>
                  <a:pt x="0" y="0"/>
                </a:lnTo>
                <a:lnTo>
                  <a:pt x="61758" y="0"/>
                </a:lnTo>
                <a:lnTo>
                  <a:pt x="132838" y="71080"/>
                </a:lnTo>
                <a:close/>
              </a:path>
            </a:pathLst>
          </a:custGeom>
          <a:solidFill>
            <a:srgbClr val="EEF2F5"/>
          </a:solidFill>
          <a:ln w="11643" cap="flat">
            <a:noFill/>
            <a:prstDash val="solid"/>
            <a:miter/>
          </a:ln>
        </p:spPr>
        <p:txBody>
          <a:bodyPr rtlCol="0" anchor="ctr"/>
          <a:lstStyle/>
          <a:p>
            <a:endParaRPr lang="de-DE"/>
          </a:p>
        </p:txBody>
      </p:sp>
      <p:sp>
        <p:nvSpPr>
          <p:cNvPr id="45" name="Freihandform: Form 44">
            <a:extLst>
              <a:ext uri="{FF2B5EF4-FFF2-40B4-BE49-F238E27FC236}">
                <a16:creationId xmlns:a16="http://schemas.microsoft.com/office/drawing/2014/main" id="{79F3C30E-5951-4096-8825-BA1A1F523534}"/>
              </a:ext>
            </a:extLst>
          </p:cNvPr>
          <p:cNvSpPr/>
          <p:nvPr/>
        </p:nvSpPr>
        <p:spPr>
          <a:xfrm>
            <a:off x="7335247" y="2748169"/>
            <a:ext cx="132838" cy="143325"/>
          </a:xfrm>
          <a:custGeom>
            <a:avLst/>
            <a:gdLst>
              <a:gd name="connsiteX0" fmla="*/ 60593 w 132838"/>
              <a:gd name="connsiteY0" fmla="*/ 143325 h 143325"/>
              <a:gd name="connsiteX1" fmla="*/ 0 w 132838"/>
              <a:gd name="connsiteY1" fmla="*/ 143325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5"/>
                </a:moveTo>
                <a:lnTo>
                  <a:pt x="0" y="143325"/>
                </a:lnTo>
                <a:lnTo>
                  <a:pt x="71080" y="72245"/>
                </a:lnTo>
                <a:lnTo>
                  <a:pt x="0" y="0"/>
                </a:lnTo>
                <a:lnTo>
                  <a:pt x="61758" y="0"/>
                </a:lnTo>
                <a:lnTo>
                  <a:pt x="132838" y="69915"/>
                </a:lnTo>
                <a:close/>
              </a:path>
            </a:pathLst>
          </a:custGeom>
          <a:solidFill>
            <a:srgbClr val="EEF2F5"/>
          </a:solidFill>
          <a:ln w="11643" cap="flat">
            <a:noFill/>
            <a:prstDash val="solid"/>
            <a:miter/>
          </a:ln>
        </p:spPr>
        <p:txBody>
          <a:bodyPr rtlCol="0" anchor="ctr"/>
          <a:lstStyle/>
          <a:p>
            <a:endParaRPr lang="de-DE"/>
          </a:p>
        </p:txBody>
      </p:sp>
      <p:sp>
        <p:nvSpPr>
          <p:cNvPr id="61" name="Freihandform: Form 60">
            <a:extLst>
              <a:ext uri="{FF2B5EF4-FFF2-40B4-BE49-F238E27FC236}">
                <a16:creationId xmlns:a16="http://schemas.microsoft.com/office/drawing/2014/main" id="{72D38BC9-A038-42F1-84CC-8FE548646FD4}"/>
              </a:ext>
            </a:extLst>
          </p:cNvPr>
          <p:cNvSpPr/>
          <p:nvPr/>
        </p:nvSpPr>
        <p:spPr>
          <a:xfrm>
            <a:off x="7335247" y="3102404"/>
            <a:ext cx="132838" cy="143325"/>
          </a:xfrm>
          <a:custGeom>
            <a:avLst/>
            <a:gdLst>
              <a:gd name="connsiteX0" fmla="*/ 60593 w 132838"/>
              <a:gd name="connsiteY0" fmla="*/ 143326 h 143325"/>
              <a:gd name="connsiteX1" fmla="*/ 0 w 132838"/>
              <a:gd name="connsiteY1" fmla="*/ 143326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71080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6"/>
                </a:moveTo>
                <a:lnTo>
                  <a:pt x="0" y="143326"/>
                </a:lnTo>
                <a:lnTo>
                  <a:pt x="71080" y="72245"/>
                </a:lnTo>
                <a:lnTo>
                  <a:pt x="0" y="0"/>
                </a:lnTo>
                <a:lnTo>
                  <a:pt x="61758" y="0"/>
                </a:lnTo>
                <a:lnTo>
                  <a:pt x="132838" y="71080"/>
                </a:lnTo>
                <a:close/>
              </a:path>
            </a:pathLst>
          </a:custGeom>
          <a:solidFill>
            <a:srgbClr val="EEF2F5"/>
          </a:solidFill>
          <a:ln w="11643" cap="flat">
            <a:noFill/>
            <a:prstDash val="solid"/>
            <a:miter/>
          </a:ln>
        </p:spPr>
        <p:txBody>
          <a:bodyPr rtlCol="0" anchor="ctr"/>
          <a:lstStyle/>
          <a:p>
            <a:endParaRPr lang="de-DE"/>
          </a:p>
        </p:txBody>
      </p:sp>
      <p:sp>
        <p:nvSpPr>
          <p:cNvPr id="77" name="Freihandform: Form 76">
            <a:extLst>
              <a:ext uri="{FF2B5EF4-FFF2-40B4-BE49-F238E27FC236}">
                <a16:creationId xmlns:a16="http://schemas.microsoft.com/office/drawing/2014/main" id="{4C23EFB8-6839-469E-BA4B-6EBF505449D2}"/>
              </a:ext>
            </a:extLst>
          </p:cNvPr>
          <p:cNvSpPr/>
          <p:nvPr/>
        </p:nvSpPr>
        <p:spPr>
          <a:xfrm>
            <a:off x="7335247" y="3457805"/>
            <a:ext cx="132838" cy="143325"/>
          </a:xfrm>
          <a:custGeom>
            <a:avLst/>
            <a:gdLst>
              <a:gd name="connsiteX0" fmla="*/ 60593 w 132838"/>
              <a:gd name="connsiteY0" fmla="*/ 143326 h 143325"/>
              <a:gd name="connsiteX1" fmla="*/ 0 w 132838"/>
              <a:gd name="connsiteY1" fmla="*/ 143326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6"/>
                </a:moveTo>
                <a:lnTo>
                  <a:pt x="0" y="143326"/>
                </a:lnTo>
                <a:lnTo>
                  <a:pt x="71080" y="72245"/>
                </a:lnTo>
                <a:lnTo>
                  <a:pt x="0" y="0"/>
                </a:lnTo>
                <a:lnTo>
                  <a:pt x="61758" y="0"/>
                </a:lnTo>
                <a:lnTo>
                  <a:pt x="132838" y="69915"/>
                </a:lnTo>
                <a:close/>
              </a:path>
            </a:pathLst>
          </a:custGeom>
          <a:solidFill>
            <a:srgbClr val="EEF2F5"/>
          </a:solidFill>
          <a:ln w="11643" cap="flat">
            <a:noFill/>
            <a:prstDash val="solid"/>
            <a:miter/>
          </a:ln>
        </p:spPr>
        <p:txBody>
          <a:bodyPr rtlCol="0" anchor="ctr"/>
          <a:lstStyle/>
          <a:p>
            <a:endParaRPr lang="de-DE"/>
          </a:p>
        </p:txBody>
      </p:sp>
      <p:sp>
        <p:nvSpPr>
          <p:cNvPr id="93" name="Freihandform: Form 92">
            <a:extLst>
              <a:ext uri="{FF2B5EF4-FFF2-40B4-BE49-F238E27FC236}">
                <a16:creationId xmlns:a16="http://schemas.microsoft.com/office/drawing/2014/main" id="{45EE2EBC-AC9B-4F66-BE0E-F697842CD09A}"/>
              </a:ext>
            </a:extLst>
          </p:cNvPr>
          <p:cNvSpPr/>
          <p:nvPr/>
        </p:nvSpPr>
        <p:spPr>
          <a:xfrm>
            <a:off x="7335247" y="3812040"/>
            <a:ext cx="132838" cy="144490"/>
          </a:xfrm>
          <a:custGeom>
            <a:avLst/>
            <a:gdLst>
              <a:gd name="connsiteX0" fmla="*/ 60593 w 132838"/>
              <a:gd name="connsiteY0" fmla="*/ 144491 h 144490"/>
              <a:gd name="connsiteX1" fmla="*/ 0 w 132838"/>
              <a:gd name="connsiteY1" fmla="*/ 144491 h 144490"/>
              <a:gd name="connsiteX2" fmla="*/ 71080 w 132838"/>
              <a:gd name="connsiteY2" fmla="*/ 73410 h 144490"/>
              <a:gd name="connsiteX3" fmla="*/ 0 w 132838"/>
              <a:gd name="connsiteY3" fmla="*/ 0 h 144490"/>
              <a:gd name="connsiteX4" fmla="*/ 61758 w 132838"/>
              <a:gd name="connsiteY4" fmla="*/ 0 h 144490"/>
              <a:gd name="connsiteX5" fmla="*/ 132838 w 132838"/>
              <a:gd name="connsiteY5" fmla="*/ 71080 h 144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4490">
                <a:moveTo>
                  <a:pt x="60593" y="144491"/>
                </a:moveTo>
                <a:lnTo>
                  <a:pt x="0" y="144491"/>
                </a:lnTo>
                <a:lnTo>
                  <a:pt x="71080" y="73410"/>
                </a:lnTo>
                <a:lnTo>
                  <a:pt x="0" y="0"/>
                </a:lnTo>
                <a:lnTo>
                  <a:pt x="61758" y="0"/>
                </a:lnTo>
                <a:lnTo>
                  <a:pt x="132838" y="71080"/>
                </a:lnTo>
                <a:close/>
              </a:path>
            </a:pathLst>
          </a:custGeom>
          <a:solidFill>
            <a:srgbClr val="EEF2F5"/>
          </a:solidFill>
          <a:ln w="11643" cap="flat">
            <a:noFill/>
            <a:prstDash val="solid"/>
            <a:miter/>
          </a:ln>
        </p:spPr>
        <p:txBody>
          <a:bodyPr rtlCol="0" anchor="ctr"/>
          <a:lstStyle/>
          <a:p>
            <a:endParaRPr lang="de-DE"/>
          </a:p>
        </p:txBody>
      </p:sp>
      <p:sp>
        <p:nvSpPr>
          <p:cNvPr id="109" name="Freihandform: Form 108">
            <a:extLst>
              <a:ext uri="{FF2B5EF4-FFF2-40B4-BE49-F238E27FC236}">
                <a16:creationId xmlns:a16="http://schemas.microsoft.com/office/drawing/2014/main" id="{23A8A58E-C664-472A-80B9-B34A798D133E}"/>
              </a:ext>
            </a:extLst>
          </p:cNvPr>
          <p:cNvSpPr/>
          <p:nvPr/>
        </p:nvSpPr>
        <p:spPr>
          <a:xfrm>
            <a:off x="7335247" y="4167441"/>
            <a:ext cx="132838" cy="143325"/>
          </a:xfrm>
          <a:custGeom>
            <a:avLst/>
            <a:gdLst>
              <a:gd name="connsiteX0" fmla="*/ 60593 w 132838"/>
              <a:gd name="connsiteY0" fmla="*/ 143325 h 143325"/>
              <a:gd name="connsiteX1" fmla="*/ 0 w 132838"/>
              <a:gd name="connsiteY1" fmla="*/ 143325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5"/>
                </a:moveTo>
                <a:lnTo>
                  <a:pt x="0" y="143325"/>
                </a:lnTo>
                <a:lnTo>
                  <a:pt x="71080" y="72245"/>
                </a:lnTo>
                <a:lnTo>
                  <a:pt x="0" y="0"/>
                </a:lnTo>
                <a:lnTo>
                  <a:pt x="61758" y="0"/>
                </a:lnTo>
                <a:lnTo>
                  <a:pt x="132838" y="69915"/>
                </a:lnTo>
                <a:close/>
              </a:path>
            </a:pathLst>
          </a:custGeom>
          <a:solidFill>
            <a:srgbClr val="EEF2F5"/>
          </a:solidFill>
          <a:ln w="11643" cap="flat">
            <a:noFill/>
            <a:prstDash val="solid"/>
            <a:miter/>
          </a:ln>
        </p:spPr>
        <p:txBody>
          <a:bodyPr rtlCol="0" anchor="ctr"/>
          <a:lstStyle/>
          <a:p>
            <a:endParaRPr lang="de-DE"/>
          </a:p>
        </p:txBody>
      </p:sp>
      <p:sp>
        <p:nvSpPr>
          <p:cNvPr id="125" name="Freihandform: Form 124">
            <a:extLst>
              <a:ext uri="{FF2B5EF4-FFF2-40B4-BE49-F238E27FC236}">
                <a16:creationId xmlns:a16="http://schemas.microsoft.com/office/drawing/2014/main" id="{C3B2D139-38F0-4A0D-927D-BDFD81D0A329}"/>
              </a:ext>
            </a:extLst>
          </p:cNvPr>
          <p:cNvSpPr/>
          <p:nvPr/>
        </p:nvSpPr>
        <p:spPr>
          <a:xfrm>
            <a:off x="7335247" y="4522842"/>
            <a:ext cx="132838" cy="143325"/>
          </a:xfrm>
          <a:custGeom>
            <a:avLst/>
            <a:gdLst>
              <a:gd name="connsiteX0" fmla="*/ 60593 w 132838"/>
              <a:gd name="connsiteY0" fmla="*/ 143325 h 143325"/>
              <a:gd name="connsiteX1" fmla="*/ 0 w 132838"/>
              <a:gd name="connsiteY1" fmla="*/ 143325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5"/>
                </a:moveTo>
                <a:lnTo>
                  <a:pt x="0" y="143325"/>
                </a:lnTo>
                <a:lnTo>
                  <a:pt x="71080" y="72245"/>
                </a:lnTo>
                <a:lnTo>
                  <a:pt x="0" y="0"/>
                </a:lnTo>
                <a:lnTo>
                  <a:pt x="61758" y="0"/>
                </a:lnTo>
                <a:lnTo>
                  <a:pt x="132838" y="69915"/>
                </a:lnTo>
                <a:close/>
              </a:path>
            </a:pathLst>
          </a:custGeom>
          <a:solidFill>
            <a:srgbClr val="EEF2F5"/>
          </a:solidFill>
          <a:ln w="11643" cap="flat">
            <a:noFill/>
            <a:prstDash val="solid"/>
            <a:miter/>
          </a:ln>
        </p:spPr>
        <p:txBody>
          <a:bodyPr rtlCol="0" anchor="ctr"/>
          <a:lstStyle/>
          <a:p>
            <a:endParaRPr lang="de-DE"/>
          </a:p>
        </p:txBody>
      </p:sp>
      <p:sp>
        <p:nvSpPr>
          <p:cNvPr id="142" name="Freihandform: Form 141">
            <a:extLst>
              <a:ext uri="{FF2B5EF4-FFF2-40B4-BE49-F238E27FC236}">
                <a16:creationId xmlns:a16="http://schemas.microsoft.com/office/drawing/2014/main" id="{B85C4BDF-6D64-4824-8953-A0E638E3F3C2}"/>
              </a:ext>
            </a:extLst>
          </p:cNvPr>
          <p:cNvSpPr/>
          <p:nvPr/>
        </p:nvSpPr>
        <p:spPr>
          <a:xfrm>
            <a:off x="7335247" y="4877077"/>
            <a:ext cx="132838" cy="143325"/>
          </a:xfrm>
          <a:custGeom>
            <a:avLst/>
            <a:gdLst>
              <a:gd name="connsiteX0" fmla="*/ 60593 w 132838"/>
              <a:gd name="connsiteY0" fmla="*/ 143325 h 143325"/>
              <a:gd name="connsiteX1" fmla="*/ 0 w 132838"/>
              <a:gd name="connsiteY1" fmla="*/ 143325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71080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5"/>
                </a:moveTo>
                <a:lnTo>
                  <a:pt x="0" y="143325"/>
                </a:lnTo>
                <a:lnTo>
                  <a:pt x="71080" y="72245"/>
                </a:lnTo>
                <a:lnTo>
                  <a:pt x="0" y="0"/>
                </a:lnTo>
                <a:lnTo>
                  <a:pt x="61758" y="0"/>
                </a:lnTo>
                <a:lnTo>
                  <a:pt x="132838" y="71080"/>
                </a:lnTo>
                <a:close/>
              </a:path>
            </a:pathLst>
          </a:custGeom>
          <a:solidFill>
            <a:srgbClr val="EEF2F5"/>
          </a:solidFill>
          <a:ln w="11643" cap="flat">
            <a:noFill/>
            <a:prstDash val="solid"/>
            <a:miter/>
          </a:ln>
        </p:spPr>
        <p:txBody>
          <a:bodyPr rtlCol="0" anchor="ctr"/>
          <a:lstStyle/>
          <a:p>
            <a:endParaRPr lang="de-DE"/>
          </a:p>
        </p:txBody>
      </p:sp>
      <p:sp>
        <p:nvSpPr>
          <p:cNvPr id="159" name="Freihandform: Form 158">
            <a:extLst>
              <a:ext uri="{FF2B5EF4-FFF2-40B4-BE49-F238E27FC236}">
                <a16:creationId xmlns:a16="http://schemas.microsoft.com/office/drawing/2014/main" id="{847A43FF-6A21-4A02-A0F3-7A25CB4C4A3E}"/>
              </a:ext>
            </a:extLst>
          </p:cNvPr>
          <p:cNvSpPr/>
          <p:nvPr/>
        </p:nvSpPr>
        <p:spPr>
          <a:xfrm>
            <a:off x="7335247" y="5232478"/>
            <a:ext cx="132838" cy="143325"/>
          </a:xfrm>
          <a:custGeom>
            <a:avLst/>
            <a:gdLst>
              <a:gd name="connsiteX0" fmla="*/ 60593 w 132838"/>
              <a:gd name="connsiteY0" fmla="*/ 143325 h 143325"/>
              <a:gd name="connsiteX1" fmla="*/ 0 w 132838"/>
              <a:gd name="connsiteY1" fmla="*/ 143325 h 143325"/>
              <a:gd name="connsiteX2" fmla="*/ 71080 w 132838"/>
              <a:gd name="connsiteY2" fmla="*/ 72246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5"/>
                </a:moveTo>
                <a:lnTo>
                  <a:pt x="0" y="143325"/>
                </a:lnTo>
                <a:lnTo>
                  <a:pt x="71080" y="72246"/>
                </a:lnTo>
                <a:lnTo>
                  <a:pt x="0" y="0"/>
                </a:lnTo>
                <a:lnTo>
                  <a:pt x="61758" y="0"/>
                </a:lnTo>
                <a:lnTo>
                  <a:pt x="132838" y="69915"/>
                </a:lnTo>
                <a:close/>
              </a:path>
            </a:pathLst>
          </a:custGeom>
          <a:solidFill>
            <a:srgbClr val="EEF2F5"/>
          </a:solidFill>
          <a:ln w="11643" cap="flat">
            <a:noFill/>
            <a:prstDash val="solid"/>
            <a:miter/>
          </a:ln>
        </p:spPr>
        <p:txBody>
          <a:bodyPr rtlCol="0" anchor="ctr"/>
          <a:lstStyle/>
          <a:p>
            <a:endParaRPr lang="de-DE"/>
          </a:p>
        </p:txBody>
      </p:sp>
      <p:sp>
        <p:nvSpPr>
          <p:cNvPr id="176" name="Freihandform: Form 175">
            <a:extLst>
              <a:ext uri="{FF2B5EF4-FFF2-40B4-BE49-F238E27FC236}">
                <a16:creationId xmlns:a16="http://schemas.microsoft.com/office/drawing/2014/main" id="{5F6F18CA-B559-43C7-A028-9927FEF76A9E}"/>
              </a:ext>
            </a:extLst>
          </p:cNvPr>
          <p:cNvSpPr/>
          <p:nvPr/>
        </p:nvSpPr>
        <p:spPr>
          <a:xfrm>
            <a:off x="7335247" y="5586713"/>
            <a:ext cx="132838" cy="143325"/>
          </a:xfrm>
          <a:custGeom>
            <a:avLst/>
            <a:gdLst>
              <a:gd name="connsiteX0" fmla="*/ 60593 w 132838"/>
              <a:gd name="connsiteY0" fmla="*/ 143326 h 143325"/>
              <a:gd name="connsiteX1" fmla="*/ 0 w 132838"/>
              <a:gd name="connsiteY1" fmla="*/ 143326 h 143325"/>
              <a:gd name="connsiteX2" fmla="*/ 71080 w 132838"/>
              <a:gd name="connsiteY2" fmla="*/ 72246 h 143325"/>
              <a:gd name="connsiteX3" fmla="*/ 0 w 132838"/>
              <a:gd name="connsiteY3" fmla="*/ 0 h 143325"/>
              <a:gd name="connsiteX4" fmla="*/ 61758 w 132838"/>
              <a:gd name="connsiteY4" fmla="*/ 0 h 143325"/>
              <a:gd name="connsiteX5" fmla="*/ 132838 w 132838"/>
              <a:gd name="connsiteY5" fmla="*/ 71080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6"/>
                </a:moveTo>
                <a:lnTo>
                  <a:pt x="0" y="143326"/>
                </a:lnTo>
                <a:lnTo>
                  <a:pt x="71080" y="72246"/>
                </a:lnTo>
                <a:lnTo>
                  <a:pt x="0" y="0"/>
                </a:lnTo>
                <a:lnTo>
                  <a:pt x="61758" y="0"/>
                </a:lnTo>
                <a:lnTo>
                  <a:pt x="132838" y="71080"/>
                </a:lnTo>
                <a:close/>
              </a:path>
            </a:pathLst>
          </a:custGeom>
          <a:solidFill>
            <a:srgbClr val="EEF2F5"/>
          </a:solidFill>
          <a:ln w="11643" cap="flat">
            <a:noFill/>
            <a:prstDash val="solid"/>
            <a:miter/>
          </a:ln>
        </p:spPr>
        <p:txBody>
          <a:bodyPr rtlCol="0" anchor="ctr"/>
          <a:lstStyle/>
          <a:p>
            <a:endParaRPr lang="de-DE"/>
          </a:p>
        </p:txBody>
      </p:sp>
      <p:sp>
        <p:nvSpPr>
          <p:cNvPr id="193" name="Freihandform: Form 192">
            <a:extLst>
              <a:ext uri="{FF2B5EF4-FFF2-40B4-BE49-F238E27FC236}">
                <a16:creationId xmlns:a16="http://schemas.microsoft.com/office/drawing/2014/main" id="{CA0955FD-7B34-49C4-9B74-6CBFAD6AC0D2}"/>
              </a:ext>
            </a:extLst>
          </p:cNvPr>
          <p:cNvSpPr/>
          <p:nvPr/>
        </p:nvSpPr>
        <p:spPr>
          <a:xfrm>
            <a:off x="7335247" y="5942114"/>
            <a:ext cx="132838" cy="143325"/>
          </a:xfrm>
          <a:custGeom>
            <a:avLst/>
            <a:gdLst>
              <a:gd name="connsiteX0" fmla="*/ 60593 w 132838"/>
              <a:gd name="connsiteY0" fmla="*/ 143326 h 143325"/>
              <a:gd name="connsiteX1" fmla="*/ 0 w 132838"/>
              <a:gd name="connsiteY1" fmla="*/ 143326 h 143325"/>
              <a:gd name="connsiteX2" fmla="*/ 71080 w 132838"/>
              <a:gd name="connsiteY2" fmla="*/ 72246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6"/>
                </a:moveTo>
                <a:lnTo>
                  <a:pt x="0" y="143326"/>
                </a:lnTo>
                <a:lnTo>
                  <a:pt x="71080" y="72246"/>
                </a:lnTo>
                <a:lnTo>
                  <a:pt x="0" y="0"/>
                </a:lnTo>
                <a:lnTo>
                  <a:pt x="61758" y="0"/>
                </a:lnTo>
                <a:lnTo>
                  <a:pt x="132838" y="69915"/>
                </a:lnTo>
                <a:close/>
              </a:path>
            </a:pathLst>
          </a:custGeom>
          <a:solidFill>
            <a:srgbClr val="EEF2F5"/>
          </a:solidFill>
          <a:ln w="11643" cap="flat">
            <a:noFill/>
            <a:prstDash val="solid"/>
            <a:miter/>
          </a:ln>
        </p:spPr>
        <p:txBody>
          <a:bodyPr rtlCol="0" anchor="ctr"/>
          <a:lstStyle/>
          <a:p>
            <a:endParaRPr lang="de-DE"/>
          </a:p>
        </p:txBody>
      </p:sp>
      <p:sp>
        <p:nvSpPr>
          <p:cNvPr id="210" name="Freihandform: Form 209">
            <a:extLst>
              <a:ext uri="{FF2B5EF4-FFF2-40B4-BE49-F238E27FC236}">
                <a16:creationId xmlns:a16="http://schemas.microsoft.com/office/drawing/2014/main" id="{D68D90D4-26AA-4477-A0C9-8263189B58F9}"/>
              </a:ext>
            </a:extLst>
          </p:cNvPr>
          <p:cNvSpPr/>
          <p:nvPr/>
        </p:nvSpPr>
        <p:spPr>
          <a:xfrm>
            <a:off x="7335247" y="6296349"/>
            <a:ext cx="132838" cy="143325"/>
          </a:xfrm>
          <a:custGeom>
            <a:avLst/>
            <a:gdLst>
              <a:gd name="connsiteX0" fmla="*/ 60593 w 132838"/>
              <a:gd name="connsiteY0" fmla="*/ 143326 h 143325"/>
              <a:gd name="connsiteX1" fmla="*/ 0 w 132838"/>
              <a:gd name="connsiteY1" fmla="*/ 143326 h 143325"/>
              <a:gd name="connsiteX2" fmla="*/ 71080 w 132838"/>
              <a:gd name="connsiteY2" fmla="*/ 72246 h 143325"/>
              <a:gd name="connsiteX3" fmla="*/ 0 w 132838"/>
              <a:gd name="connsiteY3" fmla="*/ 0 h 143325"/>
              <a:gd name="connsiteX4" fmla="*/ 61758 w 132838"/>
              <a:gd name="connsiteY4" fmla="*/ 0 h 143325"/>
              <a:gd name="connsiteX5" fmla="*/ 132838 w 132838"/>
              <a:gd name="connsiteY5" fmla="*/ 71080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6"/>
                </a:moveTo>
                <a:lnTo>
                  <a:pt x="0" y="143326"/>
                </a:lnTo>
                <a:lnTo>
                  <a:pt x="71080" y="72246"/>
                </a:lnTo>
                <a:lnTo>
                  <a:pt x="0" y="0"/>
                </a:lnTo>
                <a:lnTo>
                  <a:pt x="61758" y="0"/>
                </a:lnTo>
                <a:lnTo>
                  <a:pt x="132838" y="71080"/>
                </a:lnTo>
                <a:close/>
              </a:path>
            </a:pathLst>
          </a:custGeom>
          <a:solidFill>
            <a:srgbClr val="EEF2F5"/>
          </a:solidFill>
          <a:ln w="11643" cap="flat">
            <a:noFill/>
            <a:prstDash val="solid"/>
            <a:miter/>
          </a:ln>
        </p:spPr>
        <p:txBody>
          <a:bodyPr rtlCol="0" anchor="ctr"/>
          <a:lstStyle/>
          <a:p>
            <a:endParaRPr lang="de-DE"/>
          </a:p>
        </p:txBody>
      </p:sp>
      <p:sp>
        <p:nvSpPr>
          <p:cNvPr id="226" name="Freihandform: Form 225">
            <a:extLst>
              <a:ext uri="{FF2B5EF4-FFF2-40B4-BE49-F238E27FC236}">
                <a16:creationId xmlns:a16="http://schemas.microsoft.com/office/drawing/2014/main" id="{97640BFA-E4AC-482E-B26E-9BE22B98A669}"/>
              </a:ext>
            </a:extLst>
          </p:cNvPr>
          <p:cNvSpPr/>
          <p:nvPr/>
        </p:nvSpPr>
        <p:spPr>
          <a:xfrm>
            <a:off x="7335247" y="6651749"/>
            <a:ext cx="132838" cy="143325"/>
          </a:xfrm>
          <a:custGeom>
            <a:avLst/>
            <a:gdLst>
              <a:gd name="connsiteX0" fmla="*/ 60593 w 132838"/>
              <a:gd name="connsiteY0" fmla="*/ 143326 h 143325"/>
              <a:gd name="connsiteX1" fmla="*/ 0 w 132838"/>
              <a:gd name="connsiteY1" fmla="*/ 143326 h 143325"/>
              <a:gd name="connsiteX2" fmla="*/ 71080 w 132838"/>
              <a:gd name="connsiteY2" fmla="*/ 72246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6"/>
                </a:moveTo>
                <a:lnTo>
                  <a:pt x="0" y="143326"/>
                </a:lnTo>
                <a:lnTo>
                  <a:pt x="71080" y="72246"/>
                </a:lnTo>
                <a:lnTo>
                  <a:pt x="0" y="0"/>
                </a:lnTo>
                <a:lnTo>
                  <a:pt x="61758" y="0"/>
                </a:lnTo>
                <a:lnTo>
                  <a:pt x="132838" y="69915"/>
                </a:lnTo>
                <a:close/>
              </a:path>
            </a:pathLst>
          </a:custGeom>
          <a:solidFill>
            <a:srgbClr val="EEF2F5"/>
          </a:solidFill>
          <a:ln w="11643" cap="flat">
            <a:noFill/>
            <a:prstDash val="solid"/>
            <a:miter/>
          </a:ln>
        </p:spPr>
        <p:txBody>
          <a:bodyPr rtlCol="0" anchor="ctr"/>
          <a:lstStyle/>
          <a:p>
            <a:endParaRPr lang="de-DE"/>
          </a:p>
        </p:txBody>
      </p:sp>
      <p:sp>
        <p:nvSpPr>
          <p:cNvPr id="15" name="Freihandform: Form 14">
            <a:extLst>
              <a:ext uri="{FF2B5EF4-FFF2-40B4-BE49-F238E27FC236}">
                <a16:creationId xmlns:a16="http://schemas.microsoft.com/office/drawing/2014/main" id="{F336D4C3-F14F-4477-B07F-E766912B6926}"/>
              </a:ext>
            </a:extLst>
          </p:cNvPr>
          <p:cNvSpPr/>
          <p:nvPr/>
        </p:nvSpPr>
        <p:spPr>
          <a:xfrm>
            <a:off x="7682491" y="2029211"/>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30" name="Freihandform: Form 29">
            <a:extLst>
              <a:ext uri="{FF2B5EF4-FFF2-40B4-BE49-F238E27FC236}">
                <a16:creationId xmlns:a16="http://schemas.microsoft.com/office/drawing/2014/main" id="{34D4DA1D-8EE2-4188-AE9C-9791ECBC66C5}"/>
              </a:ext>
            </a:extLst>
          </p:cNvPr>
          <p:cNvSpPr/>
          <p:nvPr/>
        </p:nvSpPr>
        <p:spPr>
          <a:xfrm>
            <a:off x="7682491" y="2384612"/>
            <a:ext cx="147986" cy="160804"/>
          </a:xfrm>
          <a:custGeom>
            <a:avLst/>
            <a:gdLst>
              <a:gd name="connsiteX0" fmla="*/ 67584 w 147986"/>
              <a:gd name="connsiteY0" fmla="*/ 160804 h 160804"/>
              <a:gd name="connsiteX1" fmla="*/ 0 w 147986"/>
              <a:gd name="connsiteY1" fmla="*/ 160804 h 160804"/>
              <a:gd name="connsiteX2" fmla="*/ 79237 w 147986"/>
              <a:gd name="connsiteY2" fmla="*/ 80402 h 160804"/>
              <a:gd name="connsiteX3" fmla="*/ 0 w 147986"/>
              <a:gd name="connsiteY3" fmla="*/ 0 h 160804"/>
              <a:gd name="connsiteX4" fmla="*/ 68750 w 147986"/>
              <a:gd name="connsiteY4" fmla="*/ 0 h 160804"/>
              <a:gd name="connsiteX5" fmla="*/ 147986 w 147986"/>
              <a:gd name="connsiteY5" fmla="*/ 79237 h 160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0804">
                <a:moveTo>
                  <a:pt x="67584" y="160804"/>
                </a:moveTo>
                <a:lnTo>
                  <a:pt x="0" y="160804"/>
                </a:lnTo>
                <a:lnTo>
                  <a:pt x="79237" y="80402"/>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46" name="Freihandform: Form 45">
            <a:extLst>
              <a:ext uri="{FF2B5EF4-FFF2-40B4-BE49-F238E27FC236}">
                <a16:creationId xmlns:a16="http://schemas.microsoft.com/office/drawing/2014/main" id="{ADAD204A-493D-4101-A53B-41343EE7F6DE}"/>
              </a:ext>
            </a:extLst>
          </p:cNvPr>
          <p:cNvSpPr/>
          <p:nvPr/>
        </p:nvSpPr>
        <p:spPr>
          <a:xfrm>
            <a:off x="7682491" y="2738847"/>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62" name="Freihandform: Form 61">
            <a:extLst>
              <a:ext uri="{FF2B5EF4-FFF2-40B4-BE49-F238E27FC236}">
                <a16:creationId xmlns:a16="http://schemas.microsoft.com/office/drawing/2014/main" id="{0605F07B-22A0-4571-A9A8-F5DA3A1756E5}"/>
              </a:ext>
            </a:extLst>
          </p:cNvPr>
          <p:cNvSpPr/>
          <p:nvPr/>
        </p:nvSpPr>
        <p:spPr>
          <a:xfrm>
            <a:off x="7682491" y="3094248"/>
            <a:ext cx="147986" cy="160804"/>
          </a:xfrm>
          <a:custGeom>
            <a:avLst/>
            <a:gdLst>
              <a:gd name="connsiteX0" fmla="*/ 67584 w 147986"/>
              <a:gd name="connsiteY0" fmla="*/ 160804 h 160804"/>
              <a:gd name="connsiteX1" fmla="*/ 0 w 147986"/>
              <a:gd name="connsiteY1" fmla="*/ 160804 h 160804"/>
              <a:gd name="connsiteX2" fmla="*/ 79237 w 147986"/>
              <a:gd name="connsiteY2" fmla="*/ 81567 h 160804"/>
              <a:gd name="connsiteX3" fmla="*/ 0 w 147986"/>
              <a:gd name="connsiteY3" fmla="*/ 0 h 160804"/>
              <a:gd name="connsiteX4" fmla="*/ 68750 w 147986"/>
              <a:gd name="connsiteY4" fmla="*/ 0 h 160804"/>
              <a:gd name="connsiteX5" fmla="*/ 147986 w 147986"/>
              <a:gd name="connsiteY5" fmla="*/ 79237 h 160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0804">
                <a:moveTo>
                  <a:pt x="67584" y="160804"/>
                </a:moveTo>
                <a:lnTo>
                  <a:pt x="0" y="160804"/>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78" name="Freihandform: Form 77">
            <a:extLst>
              <a:ext uri="{FF2B5EF4-FFF2-40B4-BE49-F238E27FC236}">
                <a16:creationId xmlns:a16="http://schemas.microsoft.com/office/drawing/2014/main" id="{3EC20671-A11E-46B3-BAE0-32B973030757}"/>
              </a:ext>
            </a:extLst>
          </p:cNvPr>
          <p:cNvSpPr/>
          <p:nvPr/>
        </p:nvSpPr>
        <p:spPr>
          <a:xfrm>
            <a:off x="7682491" y="3448483"/>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94" name="Freihandform: Form 93">
            <a:extLst>
              <a:ext uri="{FF2B5EF4-FFF2-40B4-BE49-F238E27FC236}">
                <a16:creationId xmlns:a16="http://schemas.microsoft.com/office/drawing/2014/main" id="{A30F4723-63CF-4B8C-9113-E2531A8EBC72}"/>
              </a:ext>
            </a:extLst>
          </p:cNvPr>
          <p:cNvSpPr/>
          <p:nvPr/>
        </p:nvSpPr>
        <p:spPr>
          <a:xfrm>
            <a:off x="7682491" y="3803883"/>
            <a:ext cx="147986" cy="160804"/>
          </a:xfrm>
          <a:custGeom>
            <a:avLst/>
            <a:gdLst>
              <a:gd name="connsiteX0" fmla="*/ 67584 w 147986"/>
              <a:gd name="connsiteY0" fmla="*/ 160804 h 160804"/>
              <a:gd name="connsiteX1" fmla="*/ 0 w 147986"/>
              <a:gd name="connsiteY1" fmla="*/ 160804 h 160804"/>
              <a:gd name="connsiteX2" fmla="*/ 79237 w 147986"/>
              <a:gd name="connsiteY2" fmla="*/ 81567 h 160804"/>
              <a:gd name="connsiteX3" fmla="*/ 0 w 147986"/>
              <a:gd name="connsiteY3" fmla="*/ 0 h 160804"/>
              <a:gd name="connsiteX4" fmla="*/ 68750 w 147986"/>
              <a:gd name="connsiteY4" fmla="*/ 0 h 160804"/>
              <a:gd name="connsiteX5" fmla="*/ 147986 w 147986"/>
              <a:gd name="connsiteY5" fmla="*/ 79237 h 160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0804">
                <a:moveTo>
                  <a:pt x="67584" y="160804"/>
                </a:moveTo>
                <a:lnTo>
                  <a:pt x="0" y="160804"/>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110" name="Freihandform: Form 109">
            <a:extLst>
              <a:ext uri="{FF2B5EF4-FFF2-40B4-BE49-F238E27FC236}">
                <a16:creationId xmlns:a16="http://schemas.microsoft.com/office/drawing/2014/main" id="{0B073543-0431-463D-BD2B-670537378FD9}"/>
              </a:ext>
            </a:extLst>
          </p:cNvPr>
          <p:cNvSpPr/>
          <p:nvPr/>
        </p:nvSpPr>
        <p:spPr>
          <a:xfrm>
            <a:off x="7682491" y="4158119"/>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126" name="Freihandform: Form 125">
            <a:extLst>
              <a:ext uri="{FF2B5EF4-FFF2-40B4-BE49-F238E27FC236}">
                <a16:creationId xmlns:a16="http://schemas.microsoft.com/office/drawing/2014/main" id="{D645C434-6F6D-4B2F-9987-6BA4C184BDAD}"/>
              </a:ext>
            </a:extLst>
          </p:cNvPr>
          <p:cNvSpPr/>
          <p:nvPr/>
        </p:nvSpPr>
        <p:spPr>
          <a:xfrm>
            <a:off x="7682491" y="4513520"/>
            <a:ext cx="147986" cy="160804"/>
          </a:xfrm>
          <a:custGeom>
            <a:avLst/>
            <a:gdLst>
              <a:gd name="connsiteX0" fmla="*/ 67584 w 147986"/>
              <a:gd name="connsiteY0" fmla="*/ 160804 h 160804"/>
              <a:gd name="connsiteX1" fmla="*/ 0 w 147986"/>
              <a:gd name="connsiteY1" fmla="*/ 160804 h 160804"/>
              <a:gd name="connsiteX2" fmla="*/ 79237 w 147986"/>
              <a:gd name="connsiteY2" fmla="*/ 81567 h 160804"/>
              <a:gd name="connsiteX3" fmla="*/ 0 w 147986"/>
              <a:gd name="connsiteY3" fmla="*/ 0 h 160804"/>
              <a:gd name="connsiteX4" fmla="*/ 68750 w 147986"/>
              <a:gd name="connsiteY4" fmla="*/ 0 h 160804"/>
              <a:gd name="connsiteX5" fmla="*/ 147986 w 147986"/>
              <a:gd name="connsiteY5" fmla="*/ 79237 h 160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0804">
                <a:moveTo>
                  <a:pt x="67584" y="160804"/>
                </a:moveTo>
                <a:lnTo>
                  <a:pt x="0" y="160804"/>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143" name="Freihandform: Form 142">
            <a:extLst>
              <a:ext uri="{FF2B5EF4-FFF2-40B4-BE49-F238E27FC236}">
                <a16:creationId xmlns:a16="http://schemas.microsoft.com/office/drawing/2014/main" id="{78C199F1-38D6-4003-B23F-FB1D901A96D0}"/>
              </a:ext>
            </a:extLst>
          </p:cNvPr>
          <p:cNvSpPr/>
          <p:nvPr/>
        </p:nvSpPr>
        <p:spPr>
          <a:xfrm>
            <a:off x="7682491" y="4867755"/>
            <a:ext cx="147986" cy="161969"/>
          </a:xfrm>
          <a:custGeom>
            <a:avLst/>
            <a:gdLst>
              <a:gd name="connsiteX0" fmla="*/ 67584 w 147986"/>
              <a:gd name="connsiteY0" fmla="*/ 161970 h 161969"/>
              <a:gd name="connsiteX1" fmla="*/ 0 w 147986"/>
              <a:gd name="connsiteY1" fmla="*/ 161970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70"/>
                </a:moveTo>
                <a:lnTo>
                  <a:pt x="0" y="161970"/>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160" name="Freihandform: Form 159">
            <a:extLst>
              <a:ext uri="{FF2B5EF4-FFF2-40B4-BE49-F238E27FC236}">
                <a16:creationId xmlns:a16="http://schemas.microsoft.com/office/drawing/2014/main" id="{88794CE9-C4AD-447D-ADEB-D45D8252050B}"/>
              </a:ext>
            </a:extLst>
          </p:cNvPr>
          <p:cNvSpPr/>
          <p:nvPr/>
        </p:nvSpPr>
        <p:spPr>
          <a:xfrm>
            <a:off x="7682491" y="5223156"/>
            <a:ext cx="147986" cy="160804"/>
          </a:xfrm>
          <a:custGeom>
            <a:avLst/>
            <a:gdLst>
              <a:gd name="connsiteX0" fmla="*/ 67584 w 147986"/>
              <a:gd name="connsiteY0" fmla="*/ 160804 h 160804"/>
              <a:gd name="connsiteX1" fmla="*/ 0 w 147986"/>
              <a:gd name="connsiteY1" fmla="*/ 160804 h 160804"/>
              <a:gd name="connsiteX2" fmla="*/ 79237 w 147986"/>
              <a:gd name="connsiteY2" fmla="*/ 81567 h 160804"/>
              <a:gd name="connsiteX3" fmla="*/ 0 w 147986"/>
              <a:gd name="connsiteY3" fmla="*/ 0 h 160804"/>
              <a:gd name="connsiteX4" fmla="*/ 68750 w 147986"/>
              <a:gd name="connsiteY4" fmla="*/ 0 h 160804"/>
              <a:gd name="connsiteX5" fmla="*/ 147986 w 147986"/>
              <a:gd name="connsiteY5" fmla="*/ 79237 h 160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0804">
                <a:moveTo>
                  <a:pt x="67584" y="160804"/>
                </a:moveTo>
                <a:lnTo>
                  <a:pt x="0" y="160804"/>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177" name="Freihandform: Form 176">
            <a:extLst>
              <a:ext uri="{FF2B5EF4-FFF2-40B4-BE49-F238E27FC236}">
                <a16:creationId xmlns:a16="http://schemas.microsoft.com/office/drawing/2014/main" id="{FB39A232-82A2-4ED2-B532-B8247CC2812D}"/>
              </a:ext>
            </a:extLst>
          </p:cNvPr>
          <p:cNvSpPr/>
          <p:nvPr/>
        </p:nvSpPr>
        <p:spPr>
          <a:xfrm>
            <a:off x="7682491" y="5577391"/>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194" name="Freihandform: Form 193">
            <a:extLst>
              <a:ext uri="{FF2B5EF4-FFF2-40B4-BE49-F238E27FC236}">
                <a16:creationId xmlns:a16="http://schemas.microsoft.com/office/drawing/2014/main" id="{B5F8FABB-7522-42DB-BB0F-06A4420A79B1}"/>
              </a:ext>
            </a:extLst>
          </p:cNvPr>
          <p:cNvSpPr/>
          <p:nvPr/>
        </p:nvSpPr>
        <p:spPr>
          <a:xfrm>
            <a:off x="7682491" y="5932792"/>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211" name="Freihandform: Form 210">
            <a:extLst>
              <a:ext uri="{FF2B5EF4-FFF2-40B4-BE49-F238E27FC236}">
                <a16:creationId xmlns:a16="http://schemas.microsoft.com/office/drawing/2014/main" id="{D1F73513-4E28-4A8A-BEBF-47911EDB513A}"/>
              </a:ext>
            </a:extLst>
          </p:cNvPr>
          <p:cNvSpPr/>
          <p:nvPr/>
        </p:nvSpPr>
        <p:spPr>
          <a:xfrm>
            <a:off x="7682491" y="6287027"/>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80402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80402"/>
                </a:lnTo>
                <a:close/>
              </a:path>
            </a:pathLst>
          </a:custGeom>
          <a:solidFill>
            <a:srgbClr val="EEF2F5"/>
          </a:solidFill>
          <a:ln w="11643" cap="flat">
            <a:noFill/>
            <a:prstDash val="solid"/>
            <a:miter/>
          </a:ln>
        </p:spPr>
        <p:txBody>
          <a:bodyPr rtlCol="0" anchor="ctr"/>
          <a:lstStyle/>
          <a:p>
            <a:endParaRPr lang="de-DE"/>
          </a:p>
        </p:txBody>
      </p:sp>
      <p:sp>
        <p:nvSpPr>
          <p:cNvPr id="227" name="Freihandform: Form 226">
            <a:extLst>
              <a:ext uri="{FF2B5EF4-FFF2-40B4-BE49-F238E27FC236}">
                <a16:creationId xmlns:a16="http://schemas.microsoft.com/office/drawing/2014/main" id="{4D6DE079-31CD-44BD-8304-6E69A15E3218}"/>
              </a:ext>
            </a:extLst>
          </p:cNvPr>
          <p:cNvSpPr/>
          <p:nvPr/>
        </p:nvSpPr>
        <p:spPr>
          <a:xfrm>
            <a:off x="7682491" y="6642428"/>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16" name="Freihandform: Form 15">
            <a:extLst>
              <a:ext uri="{FF2B5EF4-FFF2-40B4-BE49-F238E27FC236}">
                <a16:creationId xmlns:a16="http://schemas.microsoft.com/office/drawing/2014/main" id="{AA2702D7-FFC1-412B-9F48-632A7CE520AC}"/>
              </a:ext>
            </a:extLst>
          </p:cNvPr>
          <p:cNvSpPr/>
          <p:nvPr/>
        </p:nvSpPr>
        <p:spPr>
          <a:xfrm>
            <a:off x="8028570" y="2019889"/>
            <a:ext cx="165465" cy="179448"/>
          </a:xfrm>
          <a:custGeom>
            <a:avLst/>
            <a:gdLst>
              <a:gd name="connsiteX0" fmla="*/ 75741 w 165465"/>
              <a:gd name="connsiteY0" fmla="*/ 179448 h 179448"/>
              <a:gd name="connsiteX1" fmla="*/ 0 w 165465"/>
              <a:gd name="connsiteY1" fmla="*/ 179448 h 179448"/>
              <a:gd name="connsiteX2" fmla="*/ 88559 w 165465"/>
              <a:gd name="connsiteY2" fmla="*/ 90889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31" name="Freihandform: Form 30">
            <a:extLst>
              <a:ext uri="{FF2B5EF4-FFF2-40B4-BE49-F238E27FC236}">
                <a16:creationId xmlns:a16="http://schemas.microsoft.com/office/drawing/2014/main" id="{648C99A7-3678-4CC0-AF16-855FE8DF6A83}"/>
              </a:ext>
            </a:extLst>
          </p:cNvPr>
          <p:cNvSpPr/>
          <p:nvPr/>
        </p:nvSpPr>
        <p:spPr>
          <a:xfrm>
            <a:off x="8028570" y="2375290"/>
            <a:ext cx="165465" cy="179448"/>
          </a:xfrm>
          <a:custGeom>
            <a:avLst/>
            <a:gdLst>
              <a:gd name="connsiteX0" fmla="*/ 75741 w 165465"/>
              <a:gd name="connsiteY0" fmla="*/ 179448 h 179448"/>
              <a:gd name="connsiteX1" fmla="*/ 0 w 165465"/>
              <a:gd name="connsiteY1" fmla="*/ 179448 h 179448"/>
              <a:gd name="connsiteX2" fmla="*/ 88559 w 165465"/>
              <a:gd name="connsiteY2" fmla="*/ 90889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47" name="Freihandform: Form 46">
            <a:extLst>
              <a:ext uri="{FF2B5EF4-FFF2-40B4-BE49-F238E27FC236}">
                <a16:creationId xmlns:a16="http://schemas.microsoft.com/office/drawing/2014/main" id="{0E3F6CC1-3FE3-4CB0-8193-8A547CA4FB4E}"/>
              </a:ext>
            </a:extLst>
          </p:cNvPr>
          <p:cNvSpPr/>
          <p:nvPr/>
        </p:nvSpPr>
        <p:spPr>
          <a:xfrm>
            <a:off x="8028570" y="2729525"/>
            <a:ext cx="165465" cy="179448"/>
          </a:xfrm>
          <a:custGeom>
            <a:avLst/>
            <a:gdLst>
              <a:gd name="connsiteX0" fmla="*/ 75741 w 165465"/>
              <a:gd name="connsiteY0" fmla="*/ 179448 h 179448"/>
              <a:gd name="connsiteX1" fmla="*/ 0 w 165465"/>
              <a:gd name="connsiteY1" fmla="*/ 179448 h 179448"/>
              <a:gd name="connsiteX2" fmla="*/ 88559 w 165465"/>
              <a:gd name="connsiteY2" fmla="*/ 90889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63" name="Freihandform: Form 62">
            <a:extLst>
              <a:ext uri="{FF2B5EF4-FFF2-40B4-BE49-F238E27FC236}">
                <a16:creationId xmlns:a16="http://schemas.microsoft.com/office/drawing/2014/main" id="{49D6FD09-D76C-4E44-8667-31EAE0B38FB7}"/>
              </a:ext>
            </a:extLst>
          </p:cNvPr>
          <p:cNvSpPr/>
          <p:nvPr/>
        </p:nvSpPr>
        <p:spPr>
          <a:xfrm>
            <a:off x="8028570" y="3084926"/>
            <a:ext cx="165465" cy="179448"/>
          </a:xfrm>
          <a:custGeom>
            <a:avLst/>
            <a:gdLst>
              <a:gd name="connsiteX0" fmla="*/ 75741 w 165465"/>
              <a:gd name="connsiteY0" fmla="*/ 179448 h 179448"/>
              <a:gd name="connsiteX1" fmla="*/ 0 w 165465"/>
              <a:gd name="connsiteY1" fmla="*/ 179448 h 179448"/>
              <a:gd name="connsiteX2" fmla="*/ 88559 w 165465"/>
              <a:gd name="connsiteY2" fmla="*/ 90889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79" name="Freihandform: Form 78">
            <a:extLst>
              <a:ext uri="{FF2B5EF4-FFF2-40B4-BE49-F238E27FC236}">
                <a16:creationId xmlns:a16="http://schemas.microsoft.com/office/drawing/2014/main" id="{92A2F530-7C00-4840-A5DC-15FB5F070BFC}"/>
              </a:ext>
            </a:extLst>
          </p:cNvPr>
          <p:cNvSpPr/>
          <p:nvPr/>
        </p:nvSpPr>
        <p:spPr>
          <a:xfrm>
            <a:off x="8028570" y="3439161"/>
            <a:ext cx="165465" cy="180613"/>
          </a:xfrm>
          <a:custGeom>
            <a:avLst/>
            <a:gdLst>
              <a:gd name="connsiteX0" fmla="*/ 75741 w 165465"/>
              <a:gd name="connsiteY0" fmla="*/ 180614 h 180613"/>
              <a:gd name="connsiteX1" fmla="*/ 0 w 165465"/>
              <a:gd name="connsiteY1" fmla="*/ 180614 h 180613"/>
              <a:gd name="connsiteX2" fmla="*/ 88559 w 165465"/>
              <a:gd name="connsiteY2" fmla="*/ 90889 h 180613"/>
              <a:gd name="connsiteX3" fmla="*/ 0 w 165465"/>
              <a:gd name="connsiteY3" fmla="*/ 0 h 180613"/>
              <a:gd name="connsiteX4" fmla="*/ 76906 w 165465"/>
              <a:gd name="connsiteY4" fmla="*/ 0 h 180613"/>
              <a:gd name="connsiteX5" fmla="*/ 165465 w 165465"/>
              <a:gd name="connsiteY5" fmla="*/ 88559 h 180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80613">
                <a:moveTo>
                  <a:pt x="75741" y="180614"/>
                </a:moveTo>
                <a:lnTo>
                  <a:pt x="0" y="180614"/>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95" name="Freihandform: Form 94">
            <a:extLst>
              <a:ext uri="{FF2B5EF4-FFF2-40B4-BE49-F238E27FC236}">
                <a16:creationId xmlns:a16="http://schemas.microsoft.com/office/drawing/2014/main" id="{6D26EBCB-8FC5-402E-8D7D-BBB49F3CFCC5}"/>
              </a:ext>
            </a:extLst>
          </p:cNvPr>
          <p:cNvSpPr/>
          <p:nvPr/>
        </p:nvSpPr>
        <p:spPr>
          <a:xfrm>
            <a:off x="8028570" y="3794562"/>
            <a:ext cx="165465" cy="179448"/>
          </a:xfrm>
          <a:custGeom>
            <a:avLst/>
            <a:gdLst>
              <a:gd name="connsiteX0" fmla="*/ 75741 w 165465"/>
              <a:gd name="connsiteY0" fmla="*/ 179448 h 179448"/>
              <a:gd name="connsiteX1" fmla="*/ 0 w 165465"/>
              <a:gd name="connsiteY1" fmla="*/ 179448 h 179448"/>
              <a:gd name="connsiteX2" fmla="*/ 88559 w 165465"/>
              <a:gd name="connsiteY2" fmla="*/ 90889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111" name="Freihandform: Form 110">
            <a:extLst>
              <a:ext uri="{FF2B5EF4-FFF2-40B4-BE49-F238E27FC236}">
                <a16:creationId xmlns:a16="http://schemas.microsoft.com/office/drawing/2014/main" id="{CCAAEEA3-A150-4712-ACA6-4E1DDCA0F471}"/>
              </a:ext>
            </a:extLst>
          </p:cNvPr>
          <p:cNvSpPr/>
          <p:nvPr/>
        </p:nvSpPr>
        <p:spPr>
          <a:xfrm>
            <a:off x="8028570" y="4148797"/>
            <a:ext cx="165465" cy="180613"/>
          </a:xfrm>
          <a:custGeom>
            <a:avLst/>
            <a:gdLst>
              <a:gd name="connsiteX0" fmla="*/ 75741 w 165465"/>
              <a:gd name="connsiteY0" fmla="*/ 180613 h 180613"/>
              <a:gd name="connsiteX1" fmla="*/ 0 w 165465"/>
              <a:gd name="connsiteY1" fmla="*/ 180613 h 180613"/>
              <a:gd name="connsiteX2" fmla="*/ 88559 w 165465"/>
              <a:gd name="connsiteY2" fmla="*/ 90889 h 180613"/>
              <a:gd name="connsiteX3" fmla="*/ 0 w 165465"/>
              <a:gd name="connsiteY3" fmla="*/ 0 h 180613"/>
              <a:gd name="connsiteX4" fmla="*/ 76906 w 165465"/>
              <a:gd name="connsiteY4" fmla="*/ 0 h 180613"/>
              <a:gd name="connsiteX5" fmla="*/ 165465 w 165465"/>
              <a:gd name="connsiteY5" fmla="*/ 88559 h 180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80613">
                <a:moveTo>
                  <a:pt x="75741" y="180613"/>
                </a:moveTo>
                <a:lnTo>
                  <a:pt x="0" y="180613"/>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127" name="Freihandform: Form 126">
            <a:extLst>
              <a:ext uri="{FF2B5EF4-FFF2-40B4-BE49-F238E27FC236}">
                <a16:creationId xmlns:a16="http://schemas.microsoft.com/office/drawing/2014/main" id="{4836B90C-7140-46A6-8E06-F6F443FAF626}"/>
              </a:ext>
            </a:extLst>
          </p:cNvPr>
          <p:cNvSpPr/>
          <p:nvPr/>
        </p:nvSpPr>
        <p:spPr>
          <a:xfrm>
            <a:off x="8028570" y="4504198"/>
            <a:ext cx="165465" cy="179448"/>
          </a:xfrm>
          <a:custGeom>
            <a:avLst/>
            <a:gdLst>
              <a:gd name="connsiteX0" fmla="*/ 75741 w 165465"/>
              <a:gd name="connsiteY0" fmla="*/ 179448 h 179448"/>
              <a:gd name="connsiteX1" fmla="*/ 0 w 165465"/>
              <a:gd name="connsiteY1" fmla="*/ 179448 h 179448"/>
              <a:gd name="connsiteX2" fmla="*/ 88559 w 165465"/>
              <a:gd name="connsiteY2" fmla="*/ 90889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144" name="Freihandform: Form 143">
            <a:extLst>
              <a:ext uri="{FF2B5EF4-FFF2-40B4-BE49-F238E27FC236}">
                <a16:creationId xmlns:a16="http://schemas.microsoft.com/office/drawing/2014/main" id="{3BBFE07D-6FDD-4238-9402-B3F281DCA33E}"/>
              </a:ext>
            </a:extLst>
          </p:cNvPr>
          <p:cNvSpPr/>
          <p:nvPr/>
        </p:nvSpPr>
        <p:spPr>
          <a:xfrm>
            <a:off x="8028570" y="4859598"/>
            <a:ext cx="165465" cy="179448"/>
          </a:xfrm>
          <a:custGeom>
            <a:avLst/>
            <a:gdLst>
              <a:gd name="connsiteX0" fmla="*/ 75741 w 165465"/>
              <a:gd name="connsiteY0" fmla="*/ 179448 h 179448"/>
              <a:gd name="connsiteX1" fmla="*/ 0 w 165465"/>
              <a:gd name="connsiteY1" fmla="*/ 179448 h 179448"/>
              <a:gd name="connsiteX2" fmla="*/ 88559 w 165465"/>
              <a:gd name="connsiteY2" fmla="*/ 89724 h 179448"/>
              <a:gd name="connsiteX3" fmla="*/ 0 w 165465"/>
              <a:gd name="connsiteY3" fmla="*/ 0 h 179448"/>
              <a:gd name="connsiteX4" fmla="*/ 76906 w 165465"/>
              <a:gd name="connsiteY4" fmla="*/ 0 h 179448"/>
              <a:gd name="connsiteX5" fmla="*/ 165465 w 165465"/>
              <a:gd name="connsiteY5" fmla="*/ 87394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89724"/>
                </a:lnTo>
                <a:lnTo>
                  <a:pt x="0" y="0"/>
                </a:lnTo>
                <a:lnTo>
                  <a:pt x="76906" y="0"/>
                </a:lnTo>
                <a:lnTo>
                  <a:pt x="165465" y="87394"/>
                </a:lnTo>
                <a:close/>
              </a:path>
            </a:pathLst>
          </a:custGeom>
          <a:solidFill>
            <a:srgbClr val="EEF2F5"/>
          </a:solidFill>
          <a:ln w="11643" cap="flat">
            <a:noFill/>
            <a:prstDash val="solid"/>
            <a:miter/>
          </a:ln>
        </p:spPr>
        <p:txBody>
          <a:bodyPr rtlCol="0" anchor="ctr"/>
          <a:lstStyle/>
          <a:p>
            <a:endParaRPr lang="de-DE"/>
          </a:p>
        </p:txBody>
      </p:sp>
      <p:sp>
        <p:nvSpPr>
          <p:cNvPr id="161" name="Freihandform: Form 160">
            <a:extLst>
              <a:ext uri="{FF2B5EF4-FFF2-40B4-BE49-F238E27FC236}">
                <a16:creationId xmlns:a16="http://schemas.microsoft.com/office/drawing/2014/main" id="{9F4D763A-5B43-4FAB-9B68-52F7F446418E}"/>
              </a:ext>
            </a:extLst>
          </p:cNvPr>
          <p:cNvSpPr/>
          <p:nvPr/>
        </p:nvSpPr>
        <p:spPr>
          <a:xfrm>
            <a:off x="8028570" y="5213834"/>
            <a:ext cx="165465" cy="179448"/>
          </a:xfrm>
          <a:custGeom>
            <a:avLst/>
            <a:gdLst>
              <a:gd name="connsiteX0" fmla="*/ 75741 w 165465"/>
              <a:gd name="connsiteY0" fmla="*/ 179448 h 179448"/>
              <a:gd name="connsiteX1" fmla="*/ 0 w 165465"/>
              <a:gd name="connsiteY1" fmla="*/ 179448 h 179448"/>
              <a:gd name="connsiteX2" fmla="*/ 88559 w 165465"/>
              <a:gd name="connsiteY2" fmla="*/ 90890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90"/>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178" name="Freihandform: Form 177">
            <a:extLst>
              <a:ext uri="{FF2B5EF4-FFF2-40B4-BE49-F238E27FC236}">
                <a16:creationId xmlns:a16="http://schemas.microsoft.com/office/drawing/2014/main" id="{41FB849E-381E-41F8-9504-EDE13E3D8055}"/>
              </a:ext>
            </a:extLst>
          </p:cNvPr>
          <p:cNvSpPr/>
          <p:nvPr/>
        </p:nvSpPr>
        <p:spPr>
          <a:xfrm>
            <a:off x="8028570" y="5569234"/>
            <a:ext cx="165465" cy="179448"/>
          </a:xfrm>
          <a:custGeom>
            <a:avLst/>
            <a:gdLst>
              <a:gd name="connsiteX0" fmla="*/ 75741 w 165465"/>
              <a:gd name="connsiteY0" fmla="*/ 179448 h 179448"/>
              <a:gd name="connsiteX1" fmla="*/ 0 w 165465"/>
              <a:gd name="connsiteY1" fmla="*/ 179448 h 179448"/>
              <a:gd name="connsiteX2" fmla="*/ 88559 w 165465"/>
              <a:gd name="connsiteY2" fmla="*/ 89724 h 179448"/>
              <a:gd name="connsiteX3" fmla="*/ 0 w 165465"/>
              <a:gd name="connsiteY3" fmla="*/ 0 h 179448"/>
              <a:gd name="connsiteX4" fmla="*/ 76906 w 165465"/>
              <a:gd name="connsiteY4" fmla="*/ 0 h 179448"/>
              <a:gd name="connsiteX5" fmla="*/ 165465 w 165465"/>
              <a:gd name="connsiteY5" fmla="*/ 87394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89724"/>
                </a:lnTo>
                <a:lnTo>
                  <a:pt x="0" y="0"/>
                </a:lnTo>
                <a:lnTo>
                  <a:pt x="76906" y="0"/>
                </a:lnTo>
                <a:lnTo>
                  <a:pt x="165465" y="87394"/>
                </a:lnTo>
                <a:close/>
              </a:path>
            </a:pathLst>
          </a:custGeom>
          <a:solidFill>
            <a:srgbClr val="EEF2F5"/>
          </a:solidFill>
          <a:ln w="11643" cap="flat">
            <a:noFill/>
            <a:prstDash val="solid"/>
            <a:miter/>
          </a:ln>
        </p:spPr>
        <p:txBody>
          <a:bodyPr rtlCol="0" anchor="ctr"/>
          <a:lstStyle/>
          <a:p>
            <a:endParaRPr lang="de-DE"/>
          </a:p>
        </p:txBody>
      </p:sp>
      <p:sp>
        <p:nvSpPr>
          <p:cNvPr id="195" name="Freihandform: Form 194">
            <a:extLst>
              <a:ext uri="{FF2B5EF4-FFF2-40B4-BE49-F238E27FC236}">
                <a16:creationId xmlns:a16="http://schemas.microsoft.com/office/drawing/2014/main" id="{5427778E-AAB9-42E1-BC64-75764828EDB0}"/>
              </a:ext>
            </a:extLst>
          </p:cNvPr>
          <p:cNvSpPr/>
          <p:nvPr/>
        </p:nvSpPr>
        <p:spPr>
          <a:xfrm>
            <a:off x="8028570" y="5923469"/>
            <a:ext cx="165465" cy="179448"/>
          </a:xfrm>
          <a:custGeom>
            <a:avLst/>
            <a:gdLst>
              <a:gd name="connsiteX0" fmla="*/ 75741 w 165465"/>
              <a:gd name="connsiteY0" fmla="*/ 179448 h 179448"/>
              <a:gd name="connsiteX1" fmla="*/ 0 w 165465"/>
              <a:gd name="connsiteY1" fmla="*/ 179448 h 179448"/>
              <a:gd name="connsiteX2" fmla="*/ 88559 w 165465"/>
              <a:gd name="connsiteY2" fmla="*/ 90890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90"/>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212" name="Freihandform: Form 211">
            <a:extLst>
              <a:ext uri="{FF2B5EF4-FFF2-40B4-BE49-F238E27FC236}">
                <a16:creationId xmlns:a16="http://schemas.microsoft.com/office/drawing/2014/main" id="{E72C56CD-8028-4274-A62F-5994CAF54FEF}"/>
              </a:ext>
            </a:extLst>
          </p:cNvPr>
          <p:cNvSpPr/>
          <p:nvPr/>
        </p:nvSpPr>
        <p:spPr>
          <a:xfrm>
            <a:off x="8028570" y="6278870"/>
            <a:ext cx="165465" cy="179448"/>
          </a:xfrm>
          <a:custGeom>
            <a:avLst/>
            <a:gdLst>
              <a:gd name="connsiteX0" fmla="*/ 75741 w 165465"/>
              <a:gd name="connsiteY0" fmla="*/ 179448 h 179448"/>
              <a:gd name="connsiteX1" fmla="*/ 0 w 165465"/>
              <a:gd name="connsiteY1" fmla="*/ 179448 h 179448"/>
              <a:gd name="connsiteX2" fmla="*/ 88559 w 165465"/>
              <a:gd name="connsiteY2" fmla="*/ 89724 h 179448"/>
              <a:gd name="connsiteX3" fmla="*/ 0 w 165465"/>
              <a:gd name="connsiteY3" fmla="*/ 0 h 179448"/>
              <a:gd name="connsiteX4" fmla="*/ 76906 w 165465"/>
              <a:gd name="connsiteY4" fmla="*/ 0 h 179448"/>
              <a:gd name="connsiteX5" fmla="*/ 165465 w 165465"/>
              <a:gd name="connsiteY5" fmla="*/ 87394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89724"/>
                </a:lnTo>
                <a:lnTo>
                  <a:pt x="0" y="0"/>
                </a:lnTo>
                <a:lnTo>
                  <a:pt x="76906" y="0"/>
                </a:lnTo>
                <a:lnTo>
                  <a:pt x="165465" y="87394"/>
                </a:lnTo>
                <a:close/>
              </a:path>
            </a:pathLst>
          </a:custGeom>
          <a:solidFill>
            <a:srgbClr val="EEF2F5"/>
          </a:solidFill>
          <a:ln w="11643" cap="flat">
            <a:noFill/>
            <a:prstDash val="solid"/>
            <a:miter/>
          </a:ln>
        </p:spPr>
        <p:txBody>
          <a:bodyPr rtlCol="0" anchor="ctr"/>
          <a:lstStyle/>
          <a:p>
            <a:endParaRPr lang="de-DE"/>
          </a:p>
        </p:txBody>
      </p:sp>
      <p:sp>
        <p:nvSpPr>
          <p:cNvPr id="228" name="Freihandform: Form 227">
            <a:extLst>
              <a:ext uri="{FF2B5EF4-FFF2-40B4-BE49-F238E27FC236}">
                <a16:creationId xmlns:a16="http://schemas.microsoft.com/office/drawing/2014/main" id="{6D995F94-547B-4E8B-8F80-D2C01332D74E}"/>
              </a:ext>
            </a:extLst>
          </p:cNvPr>
          <p:cNvSpPr/>
          <p:nvPr/>
        </p:nvSpPr>
        <p:spPr>
          <a:xfrm>
            <a:off x="8028570" y="6633106"/>
            <a:ext cx="165465" cy="179448"/>
          </a:xfrm>
          <a:custGeom>
            <a:avLst/>
            <a:gdLst>
              <a:gd name="connsiteX0" fmla="*/ 75741 w 165465"/>
              <a:gd name="connsiteY0" fmla="*/ 179448 h 179448"/>
              <a:gd name="connsiteX1" fmla="*/ 0 w 165465"/>
              <a:gd name="connsiteY1" fmla="*/ 179448 h 179448"/>
              <a:gd name="connsiteX2" fmla="*/ 88559 w 165465"/>
              <a:gd name="connsiteY2" fmla="*/ 90889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17" name="Freihandform: Form 16">
            <a:extLst>
              <a:ext uri="{FF2B5EF4-FFF2-40B4-BE49-F238E27FC236}">
                <a16:creationId xmlns:a16="http://schemas.microsoft.com/office/drawing/2014/main" id="{FBFA7DD1-6DE8-48E2-BB35-DCE366E698C5}"/>
              </a:ext>
            </a:extLst>
          </p:cNvPr>
          <p:cNvSpPr/>
          <p:nvPr/>
        </p:nvSpPr>
        <p:spPr>
          <a:xfrm>
            <a:off x="8375813" y="2011732"/>
            <a:ext cx="180613" cy="196926"/>
          </a:xfrm>
          <a:custGeom>
            <a:avLst/>
            <a:gdLst>
              <a:gd name="connsiteX0" fmla="*/ 82733 w 180613"/>
              <a:gd name="connsiteY0" fmla="*/ 196927 h 196926"/>
              <a:gd name="connsiteX1" fmla="*/ 0 w 180613"/>
              <a:gd name="connsiteY1" fmla="*/ 196927 h 196926"/>
              <a:gd name="connsiteX2" fmla="*/ 96715 w 180613"/>
              <a:gd name="connsiteY2" fmla="*/ 99046 h 196926"/>
              <a:gd name="connsiteX3" fmla="*/ 0 w 180613"/>
              <a:gd name="connsiteY3" fmla="*/ 0 h 196926"/>
              <a:gd name="connsiteX4" fmla="*/ 83898 w 180613"/>
              <a:gd name="connsiteY4" fmla="*/ 0 h 196926"/>
              <a:gd name="connsiteX5" fmla="*/ 180613 w 180613"/>
              <a:gd name="connsiteY5" fmla="*/ 96716 h 196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6926">
                <a:moveTo>
                  <a:pt x="82733" y="196927"/>
                </a:moveTo>
                <a:lnTo>
                  <a:pt x="0" y="196927"/>
                </a:lnTo>
                <a:lnTo>
                  <a:pt x="96715" y="99046"/>
                </a:lnTo>
                <a:lnTo>
                  <a:pt x="0" y="0"/>
                </a:lnTo>
                <a:lnTo>
                  <a:pt x="83898" y="0"/>
                </a:lnTo>
                <a:lnTo>
                  <a:pt x="180613" y="96716"/>
                </a:lnTo>
                <a:close/>
              </a:path>
            </a:pathLst>
          </a:custGeom>
          <a:solidFill>
            <a:srgbClr val="EEF2F5"/>
          </a:solidFill>
          <a:ln w="11643" cap="flat">
            <a:noFill/>
            <a:prstDash val="solid"/>
            <a:miter/>
          </a:ln>
        </p:spPr>
        <p:txBody>
          <a:bodyPr rtlCol="0" anchor="ctr"/>
          <a:lstStyle/>
          <a:p>
            <a:endParaRPr lang="de-DE"/>
          </a:p>
        </p:txBody>
      </p:sp>
      <p:sp>
        <p:nvSpPr>
          <p:cNvPr id="32" name="Freihandform: Form 31">
            <a:extLst>
              <a:ext uri="{FF2B5EF4-FFF2-40B4-BE49-F238E27FC236}">
                <a16:creationId xmlns:a16="http://schemas.microsoft.com/office/drawing/2014/main" id="{7C08602B-27E1-4F5C-B2BA-86218542705A}"/>
              </a:ext>
            </a:extLst>
          </p:cNvPr>
          <p:cNvSpPr/>
          <p:nvPr/>
        </p:nvSpPr>
        <p:spPr>
          <a:xfrm>
            <a:off x="8375813" y="2367133"/>
            <a:ext cx="180613" cy="195761"/>
          </a:xfrm>
          <a:custGeom>
            <a:avLst/>
            <a:gdLst>
              <a:gd name="connsiteX0" fmla="*/ 82733 w 180613"/>
              <a:gd name="connsiteY0" fmla="*/ 195762 h 195761"/>
              <a:gd name="connsiteX1" fmla="*/ 0 w 180613"/>
              <a:gd name="connsiteY1" fmla="*/ 195762 h 195761"/>
              <a:gd name="connsiteX2" fmla="*/ 96715 w 180613"/>
              <a:gd name="connsiteY2" fmla="*/ 99046 h 195761"/>
              <a:gd name="connsiteX3" fmla="*/ 0 w 180613"/>
              <a:gd name="connsiteY3" fmla="*/ 0 h 195761"/>
              <a:gd name="connsiteX4" fmla="*/ 83898 w 180613"/>
              <a:gd name="connsiteY4" fmla="*/ 0 h 195761"/>
              <a:gd name="connsiteX5" fmla="*/ 180613 w 180613"/>
              <a:gd name="connsiteY5" fmla="*/ 95550 h 19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5761">
                <a:moveTo>
                  <a:pt x="82733" y="195762"/>
                </a:moveTo>
                <a:lnTo>
                  <a:pt x="0" y="195762"/>
                </a:lnTo>
                <a:lnTo>
                  <a:pt x="96715" y="99046"/>
                </a:lnTo>
                <a:lnTo>
                  <a:pt x="0" y="0"/>
                </a:lnTo>
                <a:lnTo>
                  <a:pt x="83898" y="0"/>
                </a:lnTo>
                <a:lnTo>
                  <a:pt x="180613" y="95550"/>
                </a:lnTo>
                <a:close/>
              </a:path>
            </a:pathLst>
          </a:custGeom>
          <a:solidFill>
            <a:srgbClr val="EEF2F5"/>
          </a:solidFill>
          <a:ln w="11643" cap="flat">
            <a:noFill/>
            <a:prstDash val="solid"/>
            <a:miter/>
          </a:ln>
        </p:spPr>
        <p:txBody>
          <a:bodyPr rtlCol="0" anchor="ctr"/>
          <a:lstStyle/>
          <a:p>
            <a:endParaRPr lang="de-DE"/>
          </a:p>
        </p:txBody>
      </p:sp>
      <p:sp>
        <p:nvSpPr>
          <p:cNvPr id="48" name="Freihandform: Form 47">
            <a:extLst>
              <a:ext uri="{FF2B5EF4-FFF2-40B4-BE49-F238E27FC236}">
                <a16:creationId xmlns:a16="http://schemas.microsoft.com/office/drawing/2014/main" id="{B3543F06-832E-4301-879E-B06B3D8A1139}"/>
              </a:ext>
            </a:extLst>
          </p:cNvPr>
          <p:cNvSpPr/>
          <p:nvPr/>
        </p:nvSpPr>
        <p:spPr>
          <a:xfrm>
            <a:off x="8375813" y="2721368"/>
            <a:ext cx="180613" cy="196926"/>
          </a:xfrm>
          <a:custGeom>
            <a:avLst/>
            <a:gdLst>
              <a:gd name="connsiteX0" fmla="*/ 82733 w 180613"/>
              <a:gd name="connsiteY0" fmla="*/ 196927 h 196926"/>
              <a:gd name="connsiteX1" fmla="*/ 0 w 180613"/>
              <a:gd name="connsiteY1" fmla="*/ 196927 h 196926"/>
              <a:gd name="connsiteX2" fmla="*/ 96715 w 180613"/>
              <a:gd name="connsiteY2" fmla="*/ 99046 h 196926"/>
              <a:gd name="connsiteX3" fmla="*/ 0 w 180613"/>
              <a:gd name="connsiteY3" fmla="*/ 0 h 196926"/>
              <a:gd name="connsiteX4" fmla="*/ 83898 w 180613"/>
              <a:gd name="connsiteY4" fmla="*/ 0 h 196926"/>
              <a:gd name="connsiteX5" fmla="*/ 180613 w 180613"/>
              <a:gd name="connsiteY5" fmla="*/ 96716 h 196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6926">
                <a:moveTo>
                  <a:pt x="82733" y="196927"/>
                </a:moveTo>
                <a:lnTo>
                  <a:pt x="0" y="196927"/>
                </a:lnTo>
                <a:lnTo>
                  <a:pt x="96715" y="99046"/>
                </a:lnTo>
                <a:lnTo>
                  <a:pt x="0" y="0"/>
                </a:lnTo>
                <a:lnTo>
                  <a:pt x="83898" y="0"/>
                </a:lnTo>
                <a:lnTo>
                  <a:pt x="180613" y="96716"/>
                </a:lnTo>
                <a:close/>
              </a:path>
            </a:pathLst>
          </a:custGeom>
          <a:solidFill>
            <a:srgbClr val="EEF2F5"/>
          </a:solidFill>
          <a:ln w="11643" cap="flat">
            <a:noFill/>
            <a:prstDash val="solid"/>
            <a:miter/>
          </a:ln>
        </p:spPr>
        <p:txBody>
          <a:bodyPr rtlCol="0" anchor="ctr"/>
          <a:lstStyle/>
          <a:p>
            <a:endParaRPr lang="de-DE"/>
          </a:p>
        </p:txBody>
      </p:sp>
      <p:sp>
        <p:nvSpPr>
          <p:cNvPr id="64" name="Freihandform: Form 63">
            <a:extLst>
              <a:ext uri="{FF2B5EF4-FFF2-40B4-BE49-F238E27FC236}">
                <a16:creationId xmlns:a16="http://schemas.microsoft.com/office/drawing/2014/main" id="{448857AA-F125-42A1-8BA3-8AC5BA3389BB}"/>
              </a:ext>
            </a:extLst>
          </p:cNvPr>
          <p:cNvSpPr/>
          <p:nvPr/>
        </p:nvSpPr>
        <p:spPr>
          <a:xfrm>
            <a:off x="8375813" y="3076769"/>
            <a:ext cx="180613" cy="195761"/>
          </a:xfrm>
          <a:custGeom>
            <a:avLst/>
            <a:gdLst>
              <a:gd name="connsiteX0" fmla="*/ 82733 w 180613"/>
              <a:gd name="connsiteY0" fmla="*/ 195762 h 195761"/>
              <a:gd name="connsiteX1" fmla="*/ 0 w 180613"/>
              <a:gd name="connsiteY1" fmla="*/ 195762 h 195761"/>
              <a:gd name="connsiteX2" fmla="*/ 96715 w 180613"/>
              <a:gd name="connsiteY2" fmla="*/ 99046 h 195761"/>
              <a:gd name="connsiteX3" fmla="*/ 0 w 180613"/>
              <a:gd name="connsiteY3" fmla="*/ 0 h 195761"/>
              <a:gd name="connsiteX4" fmla="*/ 83898 w 180613"/>
              <a:gd name="connsiteY4" fmla="*/ 0 h 195761"/>
              <a:gd name="connsiteX5" fmla="*/ 180613 w 180613"/>
              <a:gd name="connsiteY5" fmla="*/ 95550 h 19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5761">
                <a:moveTo>
                  <a:pt x="82733" y="195762"/>
                </a:moveTo>
                <a:lnTo>
                  <a:pt x="0" y="195762"/>
                </a:lnTo>
                <a:lnTo>
                  <a:pt x="96715" y="99046"/>
                </a:lnTo>
                <a:lnTo>
                  <a:pt x="0" y="0"/>
                </a:lnTo>
                <a:lnTo>
                  <a:pt x="83898" y="0"/>
                </a:lnTo>
                <a:lnTo>
                  <a:pt x="180613" y="95550"/>
                </a:lnTo>
                <a:close/>
              </a:path>
            </a:pathLst>
          </a:custGeom>
          <a:solidFill>
            <a:srgbClr val="EEF2F5"/>
          </a:solidFill>
          <a:ln w="11643" cap="flat">
            <a:noFill/>
            <a:prstDash val="solid"/>
            <a:miter/>
          </a:ln>
        </p:spPr>
        <p:txBody>
          <a:bodyPr rtlCol="0" anchor="ctr"/>
          <a:lstStyle/>
          <a:p>
            <a:endParaRPr lang="de-DE"/>
          </a:p>
        </p:txBody>
      </p:sp>
      <p:sp>
        <p:nvSpPr>
          <p:cNvPr id="80" name="Freihandform: Form 79">
            <a:extLst>
              <a:ext uri="{FF2B5EF4-FFF2-40B4-BE49-F238E27FC236}">
                <a16:creationId xmlns:a16="http://schemas.microsoft.com/office/drawing/2014/main" id="{4D03B1F2-B454-4805-B554-BE60EE27F881}"/>
              </a:ext>
            </a:extLst>
          </p:cNvPr>
          <p:cNvSpPr/>
          <p:nvPr/>
        </p:nvSpPr>
        <p:spPr>
          <a:xfrm>
            <a:off x="8375813" y="3431004"/>
            <a:ext cx="180613" cy="196926"/>
          </a:xfrm>
          <a:custGeom>
            <a:avLst/>
            <a:gdLst>
              <a:gd name="connsiteX0" fmla="*/ 82733 w 180613"/>
              <a:gd name="connsiteY0" fmla="*/ 196927 h 196926"/>
              <a:gd name="connsiteX1" fmla="*/ 0 w 180613"/>
              <a:gd name="connsiteY1" fmla="*/ 196927 h 196926"/>
              <a:gd name="connsiteX2" fmla="*/ 96715 w 180613"/>
              <a:gd name="connsiteY2" fmla="*/ 99046 h 196926"/>
              <a:gd name="connsiteX3" fmla="*/ 0 w 180613"/>
              <a:gd name="connsiteY3" fmla="*/ 0 h 196926"/>
              <a:gd name="connsiteX4" fmla="*/ 83898 w 180613"/>
              <a:gd name="connsiteY4" fmla="*/ 0 h 196926"/>
              <a:gd name="connsiteX5" fmla="*/ 180613 w 180613"/>
              <a:gd name="connsiteY5" fmla="*/ 96716 h 196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6926">
                <a:moveTo>
                  <a:pt x="82733" y="196927"/>
                </a:moveTo>
                <a:lnTo>
                  <a:pt x="0" y="196927"/>
                </a:lnTo>
                <a:lnTo>
                  <a:pt x="96715" y="99046"/>
                </a:lnTo>
                <a:lnTo>
                  <a:pt x="0" y="0"/>
                </a:lnTo>
                <a:lnTo>
                  <a:pt x="83898" y="0"/>
                </a:lnTo>
                <a:lnTo>
                  <a:pt x="180613" y="96716"/>
                </a:lnTo>
                <a:close/>
              </a:path>
            </a:pathLst>
          </a:custGeom>
          <a:solidFill>
            <a:srgbClr val="EEF2F5"/>
          </a:solidFill>
          <a:ln w="11643" cap="flat">
            <a:noFill/>
            <a:prstDash val="solid"/>
            <a:miter/>
          </a:ln>
        </p:spPr>
        <p:txBody>
          <a:bodyPr rtlCol="0" anchor="ctr"/>
          <a:lstStyle/>
          <a:p>
            <a:endParaRPr lang="de-DE"/>
          </a:p>
        </p:txBody>
      </p:sp>
      <p:sp>
        <p:nvSpPr>
          <p:cNvPr id="96" name="Freihandform: Form 95">
            <a:extLst>
              <a:ext uri="{FF2B5EF4-FFF2-40B4-BE49-F238E27FC236}">
                <a16:creationId xmlns:a16="http://schemas.microsoft.com/office/drawing/2014/main" id="{FFDA75BC-562C-4970-A5BF-655AB3F5011C}"/>
              </a:ext>
            </a:extLst>
          </p:cNvPr>
          <p:cNvSpPr/>
          <p:nvPr/>
        </p:nvSpPr>
        <p:spPr>
          <a:xfrm>
            <a:off x="8375813" y="3786405"/>
            <a:ext cx="180613" cy="195761"/>
          </a:xfrm>
          <a:custGeom>
            <a:avLst/>
            <a:gdLst>
              <a:gd name="connsiteX0" fmla="*/ 82733 w 180613"/>
              <a:gd name="connsiteY0" fmla="*/ 195762 h 195761"/>
              <a:gd name="connsiteX1" fmla="*/ 0 w 180613"/>
              <a:gd name="connsiteY1" fmla="*/ 195762 h 195761"/>
              <a:gd name="connsiteX2" fmla="*/ 96715 w 180613"/>
              <a:gd name="connsiteY2" fmla="*/ 99046 h 195761"/>
              <a:gd name="connsiteX3" fmla="*/ 0 w 180613"/>
              <a:gd name="connsiteY3" fmla="*/ 0 h 195761"/>
              <a:gd name="connsiteX4" fmla="*/ 83898 w 180613"/>
              <a:gd name="connsiteY4" fmla="*/ 0 h 195761"/>
              <a:gd name="connsiteX5" fmla="*/ 180613 w 180613"/>
              <a:gd name="connsiteY5" fmla="*/ 96716 h 19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5761">
                <a:moveTo>
                  <a:pt x="82733" y="195762"/>
                </a:moveTo>
                <a:lnTo>
                  <a:pt x="0" y="195762"/>
                </a:lnTo>
                <a:lnTo>
                  <a:pt x="96715" y="99046"/>
                </a:lnTo>
                <a:lnTo>
                  <a:pt x="0" y="0"/>
                </a:lnTo>
                <a:lnTo>
                  <a:pt x="83898" y="0"/>
                </a:lnTo>
                <a:lnTo>
                  <a:pt x="180613" y="96716"/>
                </a:lnTo>
                <a:close/>
              </a:path>
            </a:pathLst>
          </a:custGeom>
          <a:solidFill>
            <a:srgbClr val="EEF2F5"/>
          </a:solidFill>
          <a:ln w="11643" cap="flat">
            <a:noFill/>
            <a:prstDash val="solid"/>
            <a:miter/>
          </a:ln>
        </p:spPr>
        <p:txBody>
          <a:bodyPr rtlCol="0" anchor="ctr"/>
          <a:lstStyle/>
          <a:p>
            <a:endParaRPr lang="de-DE"/>
          </a:p>
        </p:txBody>
      </p:sp>
      <p:sp>
        <p:nvSpPr>
          <p:cNvPr id="112" name="Freihandform: Form 111">
            <a:extLst>
              <a:ext uri="{FF2B5EF4-FFF2-40B4-BE49-F238E27FC236}">
                <a16:creationId xmlns:a16="http://schemas.microsoft.com/office/drawing/2014/main" id="{D5FBE564-C560-47E5-B3B3-465A98E51447}"/>
              </a:ext>
            </a:extLst>
          </p:cNvPr>
          <p:cNvSpPr/>
          <p:nvPr/>
        </p:nvSpPr>
        <p:spPr>
          <a:xfrm>
            <a:off x="8375813" y="4140640"/>
            <a:ext cx="180613" cy="196926"/>
          </a:xfrm>
          <a:custGeom>
            <a:avLst/>
            <a:gdLst>
              <a:gd name="connsiteX0" fmla="*/ 82733 w 180613"/>
              <a:gd name="connsiteY0" fmla="*/ 196927 h 196926"/>
              <a:gd name="connsiteX1" fmla="*/ 0 w 180613"/>
              <a:gd name="connsiteY1" fmla="*/ 196927 h 196926"/>
              <a:gd name="connsiteX2" fmla="*/ 96715 w 180613"/>
              <a:gd name="connsiteY2" fmla="*/ 99046 h 196926"/>
              <a:gd name="connsiteX3" fmla="*/ 0 w 180613"/>
              <a:gd name="connsiteY3" fmla="*/ 0 h 196926"/>
              <a:gd name="connsiteX4" fmla="*/ 83898 w 180613"/>
              <a:gd name="connsiteY4" fmla="*/ 0 h 196926"/>
              <a:gd name="connsiteX5" fmla="*/ 180613 w 180613"/>
              <a:gd name="connsiteY5" fmla="*/ 96716 h 196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6926">
                <a:moveTo>
                  <a:pt x="82733" y="196927"/>
                </a:moveTo>
                <a:lnTo>
                  <a:pt x="0" y="196927"/>
                </a:lnTo>
                <a:lnTo>
                  <a:pt x="96715" y="99046"/>
                </a:lnTo>
                <a:lnTo>
                  <a:pt x="0" y="0"/>
                </a:lnTo>
                <a:lnTo>
                  <a:pt x="83898" y="0"/>
                </a:lnTo>
                <a:lnTo>
                  <a:pt x="180613" y="96716"/>
                </a:lnTo>
                <a:close/>
              </a:path>
            </a:pathLst>
          </a:custGeom>
          <a:solidFill>
            <a:srgbClr val="EEF2F5"/>
          </a:solidFill>
          <a:ln w="11643" cap="flat">
            <a:noFill/>
            <a:prstDash val="solid"/>
            <a:miter/>
          </a:ln>
        </p:spPr>
        <p:txBody>
          <a:bodyPr rtlCol="0" anchor="ctr"/>
          <a:lstStyle/>
          <a:p>
            <a:endParaRPr lang="de-DE"/>
          </a:p>
        </p:txBody>
      </p:sp>
      <p:sp>
        <p:nvSpPr>
          <p:cNvPr id="128" name="Freihandform: Form 127">
            <a:extLst>
              <a:ext uri="{FF2B5EF4-FFF2-40B4-BE49-F238E27FC236}">
                <a16:creationId xmlns:a16="http://schemas.microsoft.com/office/drawing/2014/main" id="{CF51EF18-4B1E-42D2-850F-FFA6C258A83C}"/>
              </a:ext>
            </a:extLst>
          </p:cNvPr>
          <p:cNvSpPr/>
          <p:nvPr/>
        </p:nvSpPr>
        <p:spPr>
          <a:xfrm>
            <a:off x="8375813" y="4496041"/>
            <a:ext cx="180613" cy="195761"/>
          </a:xfrm>
          <a:custGeom>
            <a:avLst/>
            <a:gdLst>
              <a:gd name="connsiteX0" fmla="*/ 82733 w 180613"/>
              <a:gd name="connsiteY0" fmla="*/ 195762 h 195761"/>
              <a:gd name="connsiteX1" fmla="*/ 0 w 180613"/>
              <a:gd name="connsiteY1" fmla="*/ 195762 h 195761"/>
              <a:gd name="connsiteX2" fmla="*/ 96715 w 180613"/>
              <a:gd name="connsiteY2" fmla="*/ 99046 h 195761"/>
              <a:gd name="connsiteX3" fmla="*/ 0 w 180613"/>
              <a:gd name="connsiteY3" fmla="*/ 0 h 195761"/>
              <a:gd name="connsiteX4" fmla="*/ 83898 w 180613"/>
              <a:gd name="connsiteY4" fmla="*/ 0 h 195761"/>
              <a:gd name="connsiteX5" fmla="*/ 180613 w 180613"/>
              <a:gd name="connsiteY5" fmla="*/ 96716 h 19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5761">
                <a:moveTo>
                  <a:pt x="82733" y="195762"/>
                </a:moveTo>
                <a:lnTo>
                  <a:pt x="0" y="195762"/>
                </a:lnTo>
                <a:lnTo>
                  <a:pt x="96715" y="99046"/>
                </a:lnTo>
                <a:lnTo>
                  <a:pt x="0" y="0"/>
                </a:lnTo>
                <a:lnTo>
                  <a:pt x="83898" y="0"/>
                </a:lnTo>
                <a:lnTo>
                  <a:pt x="180613" y="96716"/>
                </a:lnTo>
                <a:close/>
              </a:path>
            </a:pathLst>
          </a:custGeom>
          <a:solidFill>
            <a:srgbClr val="EEF2F5"/>
          </a:solidFill>
          <a:ln w="11643" cap="flat">
            <a:noFill/>
            <a:prstDash val="solid"/>
            <a:miter/>
          </a:ln>
        </p:spPr>
        <p:txBody>
          <a:bodyPr rtlCol="0" anchor="ctr"/>
          <a:lstStyle/>
          <a:p>
            <a:endParaRPr lang="de-DE"/>
          </a:p>
        </p:txBody>
      </p:sp>
      <p:sp>
        <p:nvSpPr>
          <p:cNvPr id="145" name="Freihandform: Form 144">
            <a:extLst>
              <a:ext uri="{FF2B5EF4-FFF2-40B4-BE49-F238E27FC236}">
                <a16:creationId xmlns:a16="http://schemas.microsoft.com/office/drawing/2014/main" id="{56E41581-3FC6-4323-9C89-CF91773848F3}"/>
              </a:ext>
            </a:extLst>
          </p:cNvPr>
          <p:cNvSpPr/>
          <p:nvPr/>
        </p:nvSpPr>
        <p:spPr>
          <a:xfrm>
            <a:off x="8375813" y="4850276"/>
            <a:ext cx="180613" cy="196927"/>
          </a:xfrm>
          <a:custGeom>
            <a:avLst/>
            <a:gdLst>
              <a:gd name="connsiteX0" fmla="*/ 82733 w 180613"/>
              <a:gd name="connsiteY0" fmla="*/ 196927 h 196927"/>
              <a:gd name="connsiteX1" fmla="*/ 0 w 180613"/>
              <a:gd name="connsiteY1" fmla="*/ 196927 h 196927"/>
              <a:gd name="connsiteX2" fmla="*/ 96715 w 180613"/>
              <a:gd name="connsiteY2" fmla="*/ 99046 h 196927"/>
              <a:gd name="connsiteX3" fmla="*/ 0 w 180613"/>
              <a:gd name="connsiteY3" fmla="*/ 0 h 196927"/>
              <a:gd name="connsiteX4" fmla="*/ 83898 w 180613"/>
              <a:gd name="connsiteY4" fmla="*/ 0 h 196927"/>
              <a:gd name="connsiteX5" fmla="*/ 180613 w 180613"/>
              <a:gd name="connsiteY5" fmla="*/ 96716 h 196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6927">
                <a:moveTo>
                  <a:pt x="82733" y="196927"/>
                </a:moveTo>
                <a:lnTo>
                  <a:pt x="0" y="196927"/>
                </a:lnTo>
                <a:lnTo>
                  <a:pt x="96715" y="99046"/>
                </a:lnTo>
                <a:lnTo>
                  <a:pt x="0" y="0"/>
                </a:lnTo>
                <a:lnTo>
                  <a:pt x="83898" y="0"/>
                </a:lnTo>
                <a:lnTo>
                  <a:pt x="180613" y="96716"/>
                </a:lnTo>
                <a:close/>
              </a:path>
            </a:pathLst>
          </a:custGeom>
          <a:solidFill>
            <a:srgbClr val="EEF2F5"/>
          </a:solidFill>
          <a:ln w="11643" cap="flat">
            <a:noFill/>
            <a:prstDash val="solid"/>
            <a:miter/>
          </a:ln>
        </p:spPr>
        <p:txBody>
          <a:bodyPr rtlCol="0" anchor="ctr"/>
          <a:lstStyle/>
          <a:p>
            <a:endParaRPr lang="de-DE"/>
          </a:p>
        </p:txBody>
      </p:sp>
      <p:sp>
        <p:nvSpPr>
          <p:cNvPr id="162" name="Freihandform: Form 161">
            <a:extLst>
              <a:ext uri="{FF2B5EF4-FFF2-40B4-BE49-F238E27FC236}">
                <a16:creationId xmlns:a16="http://schemas.microsoft.com/office/drawing/2014/main" id="{D57C87CD-CA7C-4C12-80C4-9130A88B17BE}"/>
              </a:ext>
            </a:extLst>
          </p:cNvPr>
          <p:cNvSpPr/>
          <p:nvPr/>
        </p:nvSpPr>
        <p:spPr>
          <a:xfrm>
            <a:off x="8375813" y="5205677"/>
            <a:ext cx="180613" cy="195761"/>
          </a:xfrm>
          <a:custGeom>
            <a:avLst/>
            <a:gdLst>
              <a:gd name="connsiteX0" fmla="*/ 82733 w 180613"/>
              <a:gd name="connsiteY0" fmla="*/ 195762 h 195761"/>
              <a:gd name="connsiteX1" fmla="*/ 0 w 180613"/>
              <a:gd name="connsiteY1" fmla="*/ 195762 h 195761"/>
              <a:gd name="connsiteX2" fmla="*/ 96715 w 180613"/>
              <a:gd name="connsiteY2" fmla="*/ 99046 h 195761"/>
              <a:gd name="connsiteX3" fmla="*/ 0 w 180613"/>
              <a:gd name="connsiteY3" fmla="*/ 0 h 195761"/>
              <a:gd name="connsiteX4" fmla="*/ 83898 w 180613"/>
              <a:gd name="connsiteY4" fmla="*/ 0 h 195761"/>
              <a:gd name="connsiteX5" fmla="*/ 180613 w 180613"/>
              <a:gd name="connsiteY5" fmla="*/ 96715 h 19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5761">
                <a:moveTo>
                  <a:pt x="82733" y="195762"/>
                </a:moveTo>
                <a:lnTo>
                  <a:pt x="0" y="195762"/>
                </a:lnTo>
                <a:lnTo>
                  <a:pt x="96715" y="99046"/>
                </a:lnTo>
                <a:lnTo>
                  <a:pt x="0" y="0"/>
                </a:lnTo>
                <a:lnTo>
                  <a:pt x="83898" y="0"/>
                </a:lnTo>
                <a:lnTo>
                  <a:pt x="180613" y="96715"/>
                </a:lnTo>
                <a:close/>
              </a:path>
            </a:pathLst>
          </a:custGeom>
          <a:solidFill>
            <a:srgbClr val="EEF2F5"/>
          </a:solidFill>
          <a:ln w="11643" cap="flat">
            <a:noFill/>
            <a:prstDash val="solid"/>
            <a:miter/>
          </a:ln>
        </p:spPr>
        <p:txBody>
          <a:bodyPr rtlCol="0" anchor="ctr"/>
          <a:lstStyle/>
          <a:p>
            <a:endParaRPr lang="de-DE"/>
          </a:p>
        </p:txBody>
      </p:sp>
      <p:sp>
        <p:nvSpPr>
          <p:cNvPr id="179" name="Freihandform: Form 178">
            <a:extLst>
              <a:ext uri="{FF2B5EF4-FFF2-40B4-BE49-F238E27FC236}">
                <a16:creationId xmlns:a16="http://schemas.microsoft.com/office/drawing/2014/main" id="{DB846A0F-C8EB-418A-9689-60A3F1E0344D}"/>
              </a:ext>
            </a:extLst>
          </p:cNvPr>
          <p:cNvSpPr/>
          <p:nvPr/>
        </p:nvSpPr>
        <p:spPr>
          <a:xfrm>
            <a:off x="8375813" y="5559912"/>
            <a:ext cx="180613" cy="196926"/>
          </a:xfrm>
          <a:custGeom>
            <a:avLst/>
            <a:gdLst>
              <a:gd name="connsiteX0" fmla="*/ 82733 w 180613"/>
              <a:gd name="connsiteY0" fmla="*/ 196927 h 196926"/>
              <a:gd name="connsiteX1" fmla="*/ 0 w 180613"/>
              <a:gd name="connsiteY1" fmla="*/ 196927 h 196926"/>
              <a:gd name="connsiteX2" fmla="*/ 96715 w 180613"/>
              <a:gd name="connsiteY2" fmla="*/ 99046 h 196926"/>
              <a:gd name="connsiteX3" fmla="*/ 0 w 180613"/>
              <a:gd name="connsiteY3" fmla="*/ 0 h 196926"/>
              <a:gd name="connsiteX4" fmla="*/ 83898 w 180613"/>
              <a:gd name="connsiteY4" fmla="*/ 0 h 196926"/>
              <a:gd name="connsiteX5" fmla="*/ 180613 w 180613"/>
              <a:gd name="connsiteY5" fmla="*/ 96715 h 196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6926">
                <a:moveTo>
                  <a:pt x="82733" y="196927"/>
                </a:moveTo>
                <a:lnTo>
                  <a:pt x="0" y="196927"/>
                </a:lnTo>
                <a:lnTo>
                  <a:pt x="96715" y="99046"/>
                </a:lnTo>
                <a:lnTo>
                  <a:pt x="0" y="0"/>
                </a:lnTo>
                <a:lnTo>
                  <a:pt x="83898" y="0"/>
                </a:lnTo>
                <a:lnTo>
                  <a:pt x="180613" y="96715"/>
                </a:lnTo>
                <a:close/>
              </a:path>
            </a:pathLst>
          </a:custGeom>
          <a:solidFill>
            <a:srgbClr val="EEF2F5"/>
          </a:solidFill>
          <a:ln w="11643" cap="flat">
            <a:noFill/>
            <a:prstDash val="solid"/>
            <a:miter/>
          </a:ln>
        </p:spPr>
        <p:txBody>
          <a:bodyPr rtlCol="0" anchor="ctr"/>
          <a:lstStyle/>
          <a:p>
            <a:endParaRPr lang="de-DE"/>
          </a:p>
        </p:txBody>
      </p:sp>
      <p:sp>
        <p:nvSpPr>
          <p:cNvPr id="196" name="Freihandform: Form 195">
            <a:extLst>
              <a:ext uri="{FF2B5EF4-FFF2-40B4-BE49-F238E27FC236}">
                <a16:creationId xmlns:a16="http://schemas.microsoft.com/office/drawing/2014/main" id="{4CB58DF8-2ADA-40F9-A585-F61E28EAC1FD}"/>
              </a:ext>
            </a:extLst>
          </p:cNvPr>
          <p:cNvSpPr/>
          <p:nvPr/>
        </p:nvSpPr>
        <p:spPr>
          <a:xfrm>
            <a:off x="8375813" y="5915313"/>
            <a:ext cx="180613" cy="195761"/>
          </a:xfrm>
          <a:custGeom>
            <a:avLst/>
            <a:gdLst>
              <a:gd name="connsiteX0" fmla="*/ 82733 w 180613"/>
              <a:gd name="connsiteY0" fmla="*/ 195762 h 195761"/>
              <a:gd name="connsiteX1" fmla="*/ 0 w 180613"/>
              <a:gd name="connsiteY1" fmla="*/ 195762 h 195761"/>
              <a:gd name="connsiteX2" fmla="*/ 96715 w 180613"/>
              <a:gd name="connsiteY2" fmla="*/ 99046 h 195761"/>
              <a:gd name="connsiteX3" fmla="*/ 0 w 180613"/>
              <a:gd name="connsiteY3" fmla="*/ 0 h 195761"/>
              <a:gd name="connsiteX4" fmla="*/ 83898 w 180613"/>
              <a:gd name="connsiteY4" fmla="*/ 0 h 195761"/>
              <a:gd name="connsiteX5" fmla="*/ 180613 w 180613"/>
              <a:gd name="connsiteY5" fmla="*/ 96715 h 19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5761">
                <a:moveTo>
                  <a:pt x="82733" y="195762"/>
                </a:moveTo>
                <a:lnTo>
                  <a:pt x="0" y="195762"/>
                </a:lnTo>
                <a:lnTo>
                  <a:pt x="96715" y="99046"/>
                </a:lnTo>
                <a:lnTo>
                  <a:pt x="0" y="0"/>
                </a:lnTo>
                <a:lnTo>
                  <a:pt x="83898" y="0"/>
                </a:lnTo>
                <a:lnTo>
                  <a:pt x="180613" y="96715"/>
                </a:lnTo>
                <a:close/>
              </a:path>
            </a:pathLst>
          </a:custGeom>
          <a:solidFill>
            <a:srgbClr val="EEF2F5"/>
          </a:solidFill>
          <a:ln w="11643" cap="flat">
            <a:noFill/>
            <a:prstDash val="solid"/>
            <a:miter/>
          </a:ln>
        </p:spPr>
        <p:txBody>
          <a:bodyPr rtlCol="0" anchor="ctr"/>
          <a:lstStyle/>
          <a:p>
            <a:endParaRPr lang="de-DE"/>
          </a:p>
        </p:txBody>
      </p:sp>
      <p:sp>
        <p:nvSpPr>
          <p:cNvPr id="213" name="Freihandform: Form 212">
            <a:extLst>
              <a:ext uri="{FF2B5EF4-FFF2-40B4-BE49-F238E27FC236}">
                <a16:creationId xmlns:a16="http://schemas.microsoft.com/office/drawing/2014/main" id="{57028041-D229-4433-B39C-C3F33483B647}"/>
              </a:ext>
            </a:extLst>
          </p:cNvPr>
          <p:cNvSpPr/>
          <p:nvPr/>
        </p:nvSpPr>
        <p:spPr>
          <a:xfrm>
            <a:off x="8375813" y="6270714"/>
            <a:ext cx="180613" cy="195761"/>
          </a:xfrm>
          <a:custGeom>
            <a:avLst/>
            <a:gdLst>
              <a:gd name="connsiteX0" fmla="*/ 82733 w 180613"/>
              <a:gd name="connsiteY0" fmla="*/ 195762 h 195761"/>
              <a:gd name="connsiteX1" fmla="*/ 0 w 180613"/>
              <a:gd name="connsiteY1" fmla="*/ 195762 h 195761"/>
              <a:gd name="connsiteX2" fmla="*/ 96715 w 180613"/>
              <a:gd name="connsiteY2" fmla="*/ 97881 h 195761"/>
              <a:gd name="connsiteX3" fmla="*/ 0 w 180613"/>
              <a:gd name="connsiteY3" fmla="*/ 0 h 195761"/>
              <a:gd name="connsiteX4" fmla="*/ 83898 w 180613"/>
              <a:gd name="connsiteY4" fmla="*/ 0 h 195761"/>
              <a:gd name="connsiteX5" fmla="*/ 180613 w 180613"/>
              <a:gd name="connsiteY5" fmla="*/ 95550 h 19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5761">
                <a:moveTo>
                  <a:pt x="82733" y="195762"/>
                </a:moveTo>
                <a:lnTo>
                  <a:pt x="0" y="195762"/>
                </a:lnTo>
                <a:lnTo>
                  <a:pt x="96715" y="97881"/>
                </a:lnTo>
                <a:lnTo>
                  <a:pt x="0" y="0"/>
                </a:lnTo>
                <a:lnTo>
                  <a:pt x="83898" y="0"/>
                </a:lnTo>
                <a:lnTo>
                  <a:pt x="180613" y="95550"/>
                </a:lnTo>
                <a:close/>
              </a:path>
            </a:pathLst>
          </a:custGeom>
          <a:solidFill>
            <a:srgbClr val="EEF2F5"/>
          </a:solidFill>
          <a:ln w="11643" cap="flat">
            <a:noFill/>
            <a:prstDash val="solid"/>
            <a:miter/>
          </a:ln>
        </p:spPr>
        <p:txBody>
          <a:bodyPr rtlCol="0" anchor="ctr"/>
          <a:lstStyle/>
          <a:p>
            <a:endParaRPr lang="de-DE"/>
          </a:p>
        </p:txBody>
      </p:sp>
      <p:sp>
        <p:nvSpPr>
          <p:cNvPr id="229" name="Freihandform: Form 228">
            <a:extLst>
              <a:ext uri="{FF2B5EF4-FFF2-40B4-BE49-F238E27FC236}">
                <a16:creationId xmlns:a16="http://schemas.microsoft.com/office/drawing/2014/main" id="{9B8DB432-5722-4DDC-9DA4-82611DB7AF21}"/>
              </a:ext>
            </a:extLst>
          </p:cNvPr>
          <p:cNvSpPr/>
          <p:nvPr/>
        </p:nvSpPr>
        <p:spPr>
          <a:xfrm>
            <a:off x="8375813" y="6624949"/>
            <a:ext cx="180613" cy="196926"/>
          </a:xfrm>
          <a:custGeom>
            <a:avLst/>
            <a:gdLst>
              <a:gd name="connsiteX0" fmla="*/ 82733 w 180613"/>
              <a:gd name="connsiteY0" fmla="*/ 196927 h 196926"/>
              <a:gd name="connsiteX1" fmla="*/ 0 w 180613"/>
              <a:gd name="connsiteY1" fmla="*/ 196927 h 196926"/>
              <a:gd name="connsiteX2" fmla="*/ 96715 w 180613"/>
              <a:gd name="connsiteY2" fmla="*/ 99046 h 196926"/>
              <a:gd name="connsiteX3" fmla="*/ 0 w 180613"/>
              <a:gd name="connsiteY3" fmla="*/ 0 h 196926"/>
              <a:gd name="connsiteX4" fmla="*/ 83898 w 180613"/>
              <a:gd name="connsiteY4" fmla="*/ 0 h 196926"/>
              <a:gd name="connsiteX5" fmla="*/ 180613 w 180613"/>
              <a:gd name="connsiteY5" fmla="*/ 96715 h 196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6926">
                <a:moveTo>
                  <a:pt x="82733" y="196927"/>
                </a:moveTo>
                <a:lnTo>
                  <a:pt x="0" y="196927"/>
                </a:lnTo>
                <a:lnTo>
                  <a:pt x="96715" y="99046"/>
                </a:lnTo>
                <a:lnTo>
                  <a:pt x="0" y="0"/>
                </a:lnTo>
                <a:lnTo>
                  <a:pt x="83898" y="0"/>
                </a:lnTo>
                <a:lnTo>
                  <a:pt x="180613" y="96715"/>
                </a:lnTo>
                <a:close/>
              </a:path>
            </a:pathLst>
          </a:custGeom>
          <a:solidFill>
            <a:srgbClr val="EEF2F5"/>
          </a:solidFill>
          <a:ln w="11643" cap="flat">
            <a:noFill/>
            <a:prstDash val="solid"/>
            <a:miter/>
          </a:ln>
        </p:spPr>
        <p:txBody>
          <a:bodyPr rtlCol="0" anchor="ctr"/>
          <a:lstStyle/>
          <a:p>
            <a:endParaRPr lang="de-DE"/>
          </a:p>
        </p:txBody>
      </p:sp>
      <p:sp>
        <p:nvSpPr>
          <p:cNvPr id="18" name="Freihandform: Form 17">
            <a:extLst>
              <a:ext uri="{FF2B5EF4-FFF2-40B4-BE49-F238E27FC236}">
                <a16:creationId xmlns:a16="http://schemas.microsoft.com/office/drawing/2014/main" id="{5D717E25-D335-4E65-A411-45D9057ED87F}"/>
              </a:ext>
            </a:extLst>
          </p:cNvPr>
          <p:cNvSpPr/>
          <p:nvPr/>
        </p:nvSpPr>
        <p:spPr>
          <a:xfrm>
            <a:off x="8721892" y="2002410"/>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6038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6038"/>
                </a:lnTo>
                <a:close/>
              </a:path>
            </a:pathLst>
          </a:custGeom>
          <a:solidFill>
            <a:srgbClr val="EEF2F5"/>
          </a:solidFill>
          <a:ln w="11643" cap="flat">
            <a:noFill/>
            <a:prstDash val="solid"/>
            <a:miter/>
          </a:ln>
        </p:spPr>
        <p:txBody>
          <a:bodyPr rtlCol="0" anchor="ctr"/>
          <a:lstStyle/>
          <a:p>
            <a:endParaRPr lang="de-DE"/>
          </a:p>
        </p:txBody>
      </p:sp>
      <p:sp>
        <p:nvSpPr>
          <p:cNvPr id="33" name="Freihandform: Form 32">
            <a:extLst>
              <a:ext uri="{FF2B5EF4-FFF2-40B4-BE49-F238E27FC236}">
                <a16:creationId xmlns:a16="http://schemas.microsoft.com/office/drawing/2014/main" id="{8191837C-2D2D-4E7E-BB7B-2C536FE31ED3}"/>
              </a:ext>
            </a:extLst>
          </p:cNvPr>
          <p:cNvSpPr/>
          <p:nvPr/>
        </p:nvSpPr>
        <p:spPr>
          <a:xfrm>
            <a:off x="8721892" y="2357811"/>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4872"/>
                </a:lnTo>
                <a:close/>
              </a:path>
            </a:pathLst>
          </a:custGeom>
          <a:solidFill>
            <a:srgbClr val="EEF2F5"/>
          </a:solidFill>
          <a:ln w="11643" cap="flat">
            <a:noFill/>
            <a:prstDash val="solid"/>
            <a:miter/>
          </a:ln>
        </p:spPr>
        <p:txBody>
          <a:bodyPr rtlCol="0" anchor="ctr"/>
          <a:lstStyle/>
          <a:p>
            <a:endParaRPr lang="de-DE"/>
          </a:p>
        </p:txBody>
      </p:sp>
      <p:sp>
        <p:nvSpPr>
          <p:cNvPr id="49" name="Freihandform: Form 48">
            <a:extLst>
              <a:ext uri="{FF2B5EF4-FFF2-40B4-BE49-F238E27FC236}">
                <a16:creationId xmlns:a16="http://schemas.microsoft.com/office/drawing/2014/main" id="{7C3E3047-07A6-44AE-A863-B14D0E91E9D2}"/>
              </a:ext>
            </a:extLst>
          </p:cNvPr>
          <p:cNvSpPr/>
          <p:nvPr/>
        </p:nvSpPr>
        <p:spPr>
          <a:xfrm>
            <a:off x="8721892" y="2712046"/>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6038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6038"/>
                </a:lnTo>
                <a:close/>
              </a:path>
            </a:pathLst>
          </a:custGeom>
          <a:solidFill>
            <a:srgbClr val="EEF2F5"/>
          </a:solidFill>
          <a:ln w="11643" cap="flat">
            <a:noFill/>
            <a:prstDash val="solid"/>
            <a:miter/>
          </a:ln>
        </p:spPr>
        <p:txBody>
          <a:bodyPr rtlCol="0" anchor="ctr"/>
          <a:lstStyle/>
          <a:p>
            <a:endParaRPr lang="de-DE"/>
          </a:p>
        </p:txBody>
      </p:sp>
      <p:sp>
        <p:nvSpPr>
          <p:cNvPr id="65" name="Freihandform: Form 64">
            <a:extLst>
              <a:ext uri="{FF2B5EF4-FFF2-40B4-BE49-F238E27FC236}">
                <a16:creationId xmlns:a16="http://schemas.microsoft.com/office/drawing/2014/main" id="{A33D910C-FE80-4271-80EB-43FB226FC311}"/>
              </a:ext>
            </a:extLst>
          </p:cNvPr>
          <p:cNvSpPr/>
          <p:nvPr/>
        </p:nvSpPr>
        <p:spPr>
          <a:xfrm>
            <a:off x="8721892" y="3067447"/>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4872"/>
                </a:lnTo>
                <a:close/>
              </a:path>
            </a:pathLst>
          </a:custGeom>
          <a:solidFill>
            <a:srgbClr val="EEF2F5"/>
          </a:solidFill>
          <a:ln w="11643" cap="flat">
            <a:noFill/>
            <a:prstDash val="solid"/>
            <a:miter/>
          </a:ln>
        </p:spPr>
        <p:txBody>
          <a:bodyPr rtlCol="0" anchor="ctr"/>
          <a:lstStyle/>
          <a:p>
            <a:endParaRPr lang="de-DE"/>
          </a:p>
        </p:txBody>
      </p:sp>
      <p:sp>
        <p:nvSpPr>
          <p:cNvPr id="81" name="Freihandform: Form 80">
            <a:extLst>
              <a:ext uri="{FF2B5EF4-FFF2-40B4-BE49-F238E27FC236}">
                <a16:creationId xmlns:a16="http://schemas.microsoft.com/office/drawing/2014/main" id="{3C2ACAE0-E8A8-4FC5-919A-02F70B7D5438}"/>
              </a:ext>
            </a:extLst>
          </p:cNvPr>
          <p:cNvSpPr/>
          <p:nvPr/>
        </p:nvSpPr>
        <p:spPr>
          <a:xfrm>
            <a:off x="8721892" y="3421682"/>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6038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6038"/>
                </a:lnTo>
                <a:close/>
              </a:path>
            </a:pathLst>
          </a:custGeom>
          <a:solidFill>
            <a:srgbClr val="EEF2F5"/>
          </a:solidFill>
          <a:ln w="11643" cap="flat">
            <a:noFill/>
            <a:prstDash val="solid"/>
            <a:miter/>
          </a:ln>
        </p:spPr>
        <p:txBody>
          <a:bodyPr rtlCol="0" anchor="ctr"/>
          <a:lstStyle/>
          <a:p>
            <a:endParaRPr lang="de-DE"/>
          </a:p>
        </p:txBody>
      </p:sp>
      <p:sp>
        <p:nvSpPr>
          <p:cNvPr id="97" name="Freihandform: Form 96">
            <a:extLst>
              <a:ext uri="{FF2B5EF4-FFF2-40B4-BE49-F238E27FC236}">
                <a16:creationId xmlns:a16="http://schemas.microsoft.com/office/drawing/2014/main" id="{49C7B20E-CBCC-427C-8257-9EDB4B177C6A}"/>
              </a:ext>
            </a:extLst>
          </p:cNvPr>
          <p:cNvSpPr/>
          <p:nvPr/>
        </p:nvSpPr>
        <p:spPr>
          <a:xfrm>
            <a:off x="8721892" y="3777083"/>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4872"/>
                </a:lnTo>
                <a:close/>
              </a:path>
            </a:pathLst>
          </a:custGeom>
          <a:solidFill>
            <a:srgbClr val="EEF2F5"/>
          </a:solidFill>
          <a:ln w="11643" cap="flat">
            <a:noFill/>
            <a:prstDash val="solid"/>
            <a:miter/>
          </a:ln>
        </p:spPr>
        <p:txBody>
          <a:bodyPr rtlCol="0" anchor="ctr"/>
          <a:lstStyle/>
          <a:p>
            <a:endParaRPr lang="de-DE"/>
          </a:p>
        </p:txBody>
      </p:sp>
      <p:sp>
        <p:nvSpPr>
          <p:cNvPr id="113" name="Freihandform: Form 112">
            <a:extLst>
              <a:ext uri="{FF2B5EF4-FFF2-40B4-BE49-F238E27FC236}">
                <a16:creationId xmlns:a16="http://schemas.microsoft.com/office/drawing/2014/main" id="{AA929FBA-3B60-4B90-A12C-EEB1A0A8CF38}"/>
              </a:ext>
            </a:extLst>
          </p:cNvPr>
          <p:cNvSpPr/>
          <p:nvPr/>
        </p:nvSpPr>
        <p:spPr>
          <a:xfrm>
            <a:off x="8721892" y="4132484"/>
            <a:ext cx="198092" cy="214405"/>
          </a:xfrm>
          <a:custGeom>
            <a:avLst/>
            <a:gdLst>
              <a:gd name="connsiteX0" fmla="*/ 90889 w 198092"/>
              <a:gd name="connsiteY0" fmla="*/ 214406 h 214405"/>
              <a:gd name="connsiteX1" fmla="*/ 0 w 198092"/>
              <a:gd name="connsiteY1" fmla="*/ 214406 h 214405"/>
              <a:gd name="connsiteX2" fmla="*/ 106037 w 198092"/>
              <a:gd name="connsiteY2" fmla="*/ 107203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7203"/>
                </a:lnTo>
                <a:lnTo>
                  <a:pt x="0" y="0"/>
                </a:lnTo>
                <a:lnTo>
                  <a:pt x="92055" y="0"/>
                </a:lnTo>
                <a:lnTo>
                  <a:pt x="198092" y="104872"/>
                </a:lnTo>
                <a:close/>
              </a:path>
            </a:pathLst>
          </a:custGeom>
          <a:solidFill>
            <a:srgbClr val="EEF2F5"/>
          </a:solidFill>
          <a:ln w="11643" cap="flat">
            <a:noFill/>
            <a:prstDash val="solid"/>
            <a:miter/>
          </a:ln>
        </p:spPr>
        <p:txBody>
          <a:bodyPr rtlCol="0" anchor="ctr"/>
          <a:lstStyle/>
          <a:p>
            <a:endParaRPr lang="de-DE"/>
          </a:p>
        </p:txBody>
      </p:sp>
      <p:sp>
        <p:nvSpPr>
          <p:cNvPr id="129" name="Freihandform: Form 128">
            <a:extLst>
              <a:ext uri="{FF2B5EF4-FFF2-40B4-BE49-F238E27FC236}">
                <a16:creationId xmlns:a16="http://schemas.microsoft.com/office/drawing/2014/main" id="{2A2E02AC-BFFD-44C8-869B-053E6C74FD2B}"/>
              </a:ext>
            </a:extLst>
          </p:cNvPr>
          <p:cNvSpPr/>
          <p:nvPr/>
        </p:nvSpPr>
        <p:spPr>
          <a:xfrm>
            <a:off x="8721892" y="4486719"/>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4872"/>
                </a:lnTo>
                <a:close/>
              </a:path>
            </a:pathLst>
          </a:custGeom>
          <a:solidFill>
            <a:srgbClr val="EEF2F5"/>
          </a:solidFill>
          <a:ln w="11643" cap="flat">
            <a:noFill/>
            <a:prstDash val="solid"/>
            <a:miter/>
          </a:ln>
        </p:spPr>
        <p:txBody>
          <a:bodyPr rtlCol="0" anchor="ctr"/>
          <a:lstStyle/>
          <a:p>
            <a:endParaRPr lang="de-DE"/>
          </a:p>
        </p:txBody>
      </p:sp>
      <p:sp>
        <p:nvSpPr>
          <p:cNvPr id="146" name="Freihandform: Form 145">
            <a:extLst>
              <a:ext uri="{FF2B5EF4-FFF2-40B4-BE49-F238E27FC236}">
                <a16:creationId xmlns:a16="http://schemas.microsoft.com/office/drawing/2014/main" id="{05AC39C3-CD17-42BE-BFB8-C8A94809F9BF}"/>
              </a:ext>
            </a:extLst>
          </p:cNvPr>
          <p:cNvSpPr/>
          <p:nvPr/>
        </p:nvSpPr>
        <p:spPr>
          <a:xfrm>
            <a:off x="8721892" y="4842120"/>
            <a:ext cx="198092" cy="214405"/>
          </a:xfrm>
          <a:custGeom>
            <a:avLst/>
            <a:gdLst>
              <a:gd name="connsiteX0" fmla="*/ 90889 w 198092"/>
              <a:gd name="connsiteY0" fmla="*/ 214406 h 214405"/>
              <a:gd name="connsiteX1" fmla="*/ 0 w 198092"/>
              <a:gd name="connsiteY1" fmla="*/ 214406 h 214405"/>
              <a:gd name="connsiteX2" fmla="*/ 106037 w 198092"/>
              <a:gd name="connsiteY2" fmla="*/ 107203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7203"/>
                </a:lnTo>
                <a:lnTo>
                  <a:pt x="0" y="0"/>
                </a:lnTo>
                <a:lnTo>
                  <a:pt x="92055" y="0"/>
                </a:lnTo>
                <a:lnTo>
                  <a:pt x="198092" y="104872"/>
                </a:lnTo>
                <a:close/>
              </a:path>
            </a:pathLst>
          </a:custGeom>
          <a:solidFill>
            <a:srgbClr val="EEF2F5"/>
          </a:solidFill>
          <a:ln w="11643" cap="flat">
            <a:noFill/>
            <a:prstDash val="solid"/>
            <a:miter/>
          </a:ln>
        </p:spPr>
        <p:txBody>
          <a:bodyPr rtlCol="0" anchor="ctr"/>
          <a:lstStyle/>
          <a:p>
            <a:endParaRPr lang="de-DE"/>
          </a:p>
        </p:txBody>
      </p:sp>
      <p:sp>
        <p:nvSpPr>
          <p:cNvPr id="163" name="Freihandform: Form 162">
            <a:extLst>
              <a:ext uri="{FF2B5EF4-FFF2-40B4-BE49-F238E27FC236}">
                <a16:creationId xmlns:a16="http://schemas.microsoft.com/office/drawing/2014/main" id="{88E84DF2-6EB7-427E-A4CB-C71E9DB80B42}"/>
              </a:ext>
            </a:extLst>
          </p:cNvPr>
          <p:cNvSpPr/>
          <p:nvPr/>
        </p:nvSpPr>
        <p:spPr>
          <a:xfrm>
            <a:off x="8721892" y="5196355"/>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6038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6038"/>
                </a:lnTo>
                <a:close/>
              </a:path>
            </a:pathLst>
          </a:custGeom>
          <a:solidFill>
            <a:srgbClr val="EEF2F5"/>
          </a:solidFill>
          <a:ln w="11643" cap="flat">
            <a:noFill/>
            <a:prstDash val="solid"/>
            <a:miter/>
          </a:ln>
        </p:spPr>
        <p:txBody>
          <a:bodyPr rtlCol="0" anchor="ctr"/>
          <a:lstStyle/>
          <a:p>
            <a:endParaRPr lang="de-DE"/>
          </a:p>
        </p:txBody>
      </p:sp>
      <p:sp>
        <p:nvSpPr>
          <p:cNvPr id="180" name="Freihandform: Form 179">
            <a:extLst>
              <a:ext uri="{FF2B5EF4-FFF2-40B4-BE49-F238E27FC236}">
                <a16:creationId xmlns:a16="http://schemas.microsoft.com/office/drawing/2014/main" id="{73606A8C-ADFE-479C-B34E-C91AE8F14BDF}"/>
              </a:ext>
            </a:extLst>
          </p:cNvPr>
          <p:cNvSpPr/>
          <p:nvPr/>
        </p:nvSpPr>
        <p:spPr>
          <a:xfrm>
            <a:off x="8721892" y="5551755"/>
            <a:ext cx="198092" cy="214405"/>
          </a:xfrm>
          <a:custGeom>
            <a:avLst/>
            <a:gdLst>
              <a:gd name="connsiteX0" fmla="*/ 90889 w 198092"/>
              <a:gd name="connsiteY0" fmla="*/ 214406 h 214405"/>
              <a:gd name="connsiteX1" fmla="*/ 0 w 198092"/>
              <a:gd name="connsiteY1" fmla="*/ 214406 h 214405"/>
              <a:gd name="connsiteX2" fmla="*/ 106037 w 198092"/>
              <a:gd name="connsiteY2" fmla="*/ 107203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7203"/>
                </a:lnTo>
                <a:lnTo>
                  <a:pt x="0" y="0"/>
                </a:lnTo>
                <a:lnTo>
                  <a:pt x="92055" y="0"/>
                </a:lnTo>
                <a:lnTo>
                  <a:pt x="198092" y="104872"/>
                </a:lnTo>
                <a:close/>
              </a:path>
            </a:pathLst>
          </a:custGeom>
          <a:solidFill>
            <a:srgbClr val="EEF2F5"/>
          </a:solidFill>
          <a:ln w="11643" cap="flat">
            <a:noFill/>
            <a:prstDash val="solid"/>
            <a:miter/>
          </a:ln>
        </p:spPr>
        <p:txBody>
          <a:bodyPr rtlCol="0" anchor="ctr"/>
          <a:lstStyle/>
          <a:p>
            <a:endParaRPr lang="de-DE"/>
          </a:p>
        </p:txBody>
      </p:sp>
      <p:sp>
        <p:nvSpPr>
          <p:cNvPr id="197" name="Freihandform: Form 196">
            <a:extLst>
              <a:ext uri="{FF2B5EF4-FFF2-40B4-BE49-F238E27FC236}">
                <a16:creationId xmlns:a16="http://schemas.microsoft.com/office/drawing/2014/main" id="{FC296AC6-E750-4BE9-BDD1-981A05C08FF5}"/>
              </a:ext>
            </a:extLst>
          </p:cNvPr>
          <p:cNvSpPr/>
          <p:nvPr/>
        </p:nvSpPr>
        <p:spPr>
          <a:xfrm>
            <a:off x="8721892" y="5905991"/>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6038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6038"/>
                </a:lnTo>
                <a:close/>
              </a:path>
            </a:pathLst>
          </a:custGeom>
          <a:solidFill>
            <a:srgbClr val="EEF2F5"/>
          </a:solidFill>
          <a:ln w="11643" cap="flat">
            <a:noFill/>
            <a:prstDash val="solid"/>
            <a:miter/>
          </a:ln>
        </p:spPr>
        <p:txBody>
          <a:bodyPr rtlCol="0" anchor="ctr"/>
          <a:lstStyle/>
          <a:p>
            <a:endParaRPr lang="de-DE"/>
          </a:p>
        </p:txBody>
      </p:sp>
      <p:sp>
        <p:nvSpPr>
          <p:cNvPr id="214" name="Freihandform: Form 213">
            <a:extLst>
              <a:ext uri="{FF2B5EF4-FFF2-40B4-BE49-F238E27FC236}">
                <a16:creationId xmlns:a16="http://schemas.microsoft.com/office/drawing/2014/main" id="{C03E7333-2F83-4C83-832A-36CD5A0C1B61}"/>
              </a:ext>
            </a:extLst>
          </p:cNvPr>
          <p:cNvSpPr/>
          <p:nvPr/>
        </p:nvSpPr>
        <p:spPr>
          <a:xfrm>
            <a:off x="8721892" y="6261391"/>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4872"/>
                </a:lnTo>
                <a:close/>
              </a:path>
            </a:pathLst>
          </a:custGeom>
          <a:solidFill>
            <a:srgbClr val="EEF2F5"/>
          </a:solidFill>
          <a:ln w="11643" cap="flat">
            <a:noFill/>
            <a:prstDash val="solid"/>
            <a:miter/>
          </a:ln>
        </p:spPr>
        <p:txBody>
          <a:bodyPr rtlCol="0" anchor="ctr"/>
          <a:lstStyle/>
          <a:p>
            <a:endParaRPr lang="de-DE"/>
          </a:p>
        </p:txBody>
      </p:sp>
      <p:sp>
        <p:nvSpPr>
          <p:cNvPr id="230" name="Freihandform: Form 229">
            <a:extLst>
              <a:ext uri="{FF2B5EF4-FFF2-40B4-BE49-F238E27FC236}">
                <a16:creationId xmlns:a16="http://schemas.microsoft.com/office/drawing/2014/main" id="{83AA4FB9-F340-4ECE-A8B5-BF0225383456}"/>
              </a:ext>
            </a:extLst>
          </p:cNvPr>
          <p:cNvSpPr/>
          <p:nvPr/>
        </p:nvSpPr>
        <p:spPr>
          <a:xfrm>
            <a:off x="8721892" y="6615627"/>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6037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6037"/>
                </a:lnTo>
                <a:close/>
              </a:path>
            </a:pathLst>
          </a:custGeom>
          <a:solidFill>
            <a:srgbClr val="EEF2F5"/>
          </a:solidFill>
          <a:ln w="11643" cap="flat">
            <a:noFill/>
            <a:prstDash val="solid"/>
            <a:miter/>
          </a:ln>
        </p:spPr>
        <p:txBody>
          <a:bodyPr rtlCol="0" anchor="ctr"/>
          <a:lstStyle/>
          <a:p>
            <a:endParaRPr lang="de-DE"/>
          </a:p>
        </p:txBody>
      </p:sp>
      <p:sp>
        <p:nvSpPr>
          <p:cNvPr id="19" name="Freihandform: Form 18">
            <a:extLst>
              <a:ext uri="{FF2B5EF4-FFF2-40B4-BE49-F238E27FC236}">
                <a16:creationId xmlns:a16="http://schemas.microsoft.com/office/drawing/2014/main" id="{9DB76664-FCBB-4E4F-B5E6-C249AA6B44D0}"/>
              </a:ext>
            </a:extLst>
          </p:cNvPr>
          <p:cNvSpPr/>
          <p:nvPr/>
        </p:nvSpPr>
        <p:spPr>
          <a:xfrm>
            <a:off x="9069136" y="1994253"/>
            <a:ext cx="214405" cy="231884"/>
          </a:xfrm>
          <a:custGeom>
            <a:avLst/>
            <a:gdLst>
              <a:gd name="connsiteX0" fmla="*/ 97881 w 214405"/>
              <a:gd name="connsiteY0" fmla="*/ 231884 h 231884"/>
              <a:gd name="connsiteX1" fmla="*/ 0 w 214405"/>
              <a:gd name="connsiteY1" fmla="*/ 231884 h 231884"/>
              <a:gd name="connsiteX2" fmla="*/ 114194 w 214405"/>
              <a:gd name="connsiteY2" fmla="*/ 116525 h 231884"/>
              <a:gd name="connsiteX3" fmla="*/ 0 w 214405"/>
              <a:gd name="connsiteY3" fmla="*/ 0 h 231884"/>
              <a:gd name="connsiteX4" fmla="*/ 100211 w 214405"/>
              <a:gd name="connsiteY4" fmla="*/ 0 h 231884"/>
              <a:gd name="connsiteX5" fmla="*/ 214406 w 214405"/>
              <a:gd name="connsiteY5" fmla="*/ 114194 h 23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1884">
                <a:moveTo>
                  <a:pt x="97881" y="231884"/>
                </a:moveTo>
                <a:lnTo>
                  <a:pt x="0" y="231884"/>
                </a:lnTo>
                <a:lnTo>
                  <a:pt x="114194" y="116525"/>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34" name="Freihandform: Form 33">
            <a:extLst>
              <a:ext uri="{FF2B5EF4-FFF2-40B4-BE49-F238E27FC236}">
                <a16:creationId xmlns:a16="http://schemas.microsoft.com/office/drawing/2014/main" id="{1C9E837E-20C0-4E65-AB7F-E12A38184389}"/>
              </a:ext>
            </a:extLst>
          </p:cNvPr>
          <p:cNvSpPr/>
          <p:nvPr/>
        </p:nvSpPr>
        <p:spPr>
          <a:xfrm>
            <a:off x="9069136" y="2348489"/>
            <a:ext cx="214405" cy="233049"/>
          </a:xfrm>
          <a:custGeom>
            <a:avLst/>
            <a:gdLst>
              <a:gd name="connsiteX0" fmla="*/ 97881 w 214405"/>
              <a:gd name="connsiteY0" fmla="*/ 233050 h 233049"/>
              <a:gd name="connsiteX1" fmla="*/ 0 w 214405"/>
              <a:gd name="connsiteY1" fmla="*/ 233050 h 233049"/>
              <a:gd name="connsiteX2" fmla="*/ 114194 w 214405"/>
              <a:gd name="connsiteY2" fmla="*/ 117690 h 233049"/>
              <a:gd name="connsiteX3" fmla="*/ 0 w 214405"/>
              <a:gd name="connsiteY3" fmla="*/ 0 h 233049"/>
              <a:gd name="connsiteX4" fmla="*/ 100211 w 214405"/>
              <a:gd name="connsiteY4" fmla="*/ 0 h 233049"/>
              <a:gd name="connsiteX5" fmla="*/ 214406 w 214405"/>
              <a:gd name="connsiteY5" fmla="*/ 114194 h 23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3048">
                <a:moveTo>
                  <a:pt x="97881" y="233050"/>
                </a:moveTo>
                <a:lnTo>
                  <a:pt x="0" y="233050"/>
                </a:lnTo>
                <a:lnTo>
                  <a:pt x="114194" y="117690"/>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50" name="Freihandform: Form 49">
            <a:extLst>
              <a:ext uri="{FF2B5EF4-FFF2-40B4-BE49-F238E27FC236}">
                <a16:creationId xmlns:a16="http://schemas.microsoft.com/office/drawing/2014/main" id="{8113F30E-6E8E-4B5D-82C9-BD00E85422E7}"/>
              </a:ext>
            </a:extLst>
          </p:cNvPr>
          <p:cNvSpPr/>
          <p:nvPr/>
        </p:nvSpPr>
        <p:spPr>
          <a:xfrm>
            <a:off x="9069136" y="2703889"/>
            <a:ext cx="214405" cy="231884"/>
          </a:xfrm>
          <a:custGeom>
            <a:avLst/>
            <a:gdLst>
              <a:gd name="connsiteX0" fmla="*/ 97881 w 214405"/>
              <a:gd name="connsiteY0" fmla="*/ 231884 h 231884"/>
              <a:gd name="connsiteX1" fmla="*/ 0 w 214405"/>
              <a:gd name="connsiteY1" fmla="*/ 231884 h 231884"/>
              <a:gd name="connsiteX2" fmla="*/ 114194 w 214405"/>
              <a:gd name="connsiteY2" fmla="*/ 116525 h 231884"/>
              <a:gd name="connsiteX3" fmla="*/ 0 w 214405"/>
              <a:gd name="connsiteY3" fmla="*/ 0 h 231884"/>
              <a:gd name="connsiteX4" fmla="*/ 100211 w 214405"/>
              <a:gd name="connsiteY4" fmla="*/ 0 h 231884"/>
              <a:gd name="connsiteX5" fmla="*/ 214406 w 214405"/>
              <a:gd name="connsiteY5" fmla="*/ 114194 h 23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1884">
                <a:moveTo>
                  <a:pt x="97881" y="231884"/>
                </a:moveTo>
                <a:lnTo>
                  <a:pt x="0" y="231884"/>
                </a:lnTo>
                <a:lnTo>
                  <a:pt x="114194" y="116525"/>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66" name="Freihandform: Form 65">
            <a:extLst>
              <a:ext uri="{FF2B5EF4-FFF2-40B4-BE49-F238E27FC236}">
                <a16:creationId xmlns:a16="http://schemas.microsoft.com/office/drawing/2014/main" id="{83CF9041-D1BF-47E7-A660-B0728CA7416C}"/>
              </a:ext>
            </a:extLst>
          </p:cNvPr>
          <p:cNvSpPr/>
          <p:nvPr/>
        </p:nvSpPr>
        <p:spPr>
          <a:xfrm>
            <a:off x="9069136" y="3058125"/>
            <a:ext cx="214405" cy="233049"/>
          </a:xfrm>
          <a:custGeom>
            <a:avLst/>
            <a:gdLst>
              <a:gd name="connsiteX0" fmla="*/ 97881 w 214405"/>
              <a:gd name="connsiteY0" fmla="*/ 233050 h 233049"/>
              <a:gd name="connsiteX1" fmla="*/ 0 w 214405"/>
              <a:gd name="connsiteY1" fmla="*/ 233050 h 233049"/>
              <a:gd name="connsiteX2" fmla="*/ 114194 w 214405"/>
              <a:gd name="connsiteY2" fmla="*/ 117690 h 233049"/>
              <a:gd name="connsiteX3" fmla="*/ 0 w 214405"/>
              <a:gd name="connsiteY3" fmla="*/ 0 h 233049"/>
              <a:gd name="connsiteX4" fmla="*/ 100211 w 214405"/>
              <a:gd name="connsiteY4" fmla="*/ 0 h 233049"/>
              <a:gd name="connsiteX5" fmla="*/ 214406 w 214405"/>
              <a:gd name="connsiteY5" fmla="*/ 114194 h 23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3048">
                <a:moveTo>
                  <a:pt x="97881" y="233050"/>
                </a:moveTo>
                <a:lnTo>
                  <a:pt x="0" y="233050"/>
                </a:lnTo>
                <a:lnTo>
                  <a:pt x="114194" y="117690"/>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82" name="Freihandform: Form 81">
            <a:extLst>
              <a:ext uri="{FF2B5EF4-FFF2-40B4-BE49-F238E27FC236}">
                <a16:creationId xmlns:a16="http://schemas.microsoft.com/office/drawing/2014/main" id="{5E3A187E-D2FD-43A2-AA3C-854C35701E6E}"/>
              </a:ext>
            </a:extLst>
          </p:cNvPr>
          <p:cNvSpPr/>
          <p:nvPr/>
        </p:nvSpPr>
        <p:spPr>
          <a:xfrm>
            <a:off x="9069136" y="3413526"/>
            <a:ext cx="214405" cy="231884"/>
          </a:xfrm>
          <a:custGeom>
            <a:avLst/>
            <a:gdLst>
              <a:gd name="connsiteX0" fmla="*/ 97881 w 214405"/>
              <a:gd name="connsiteY0" fmla="*/ 231884 h 231884"/>
              <a:gd name="connsiteX1" fmla="*/ 0 w 214405"/>
              <a:gd name="connsiteY1" fmla="*/ 231884 h 231884"/>
              <a:gd name="connsiteX2" fmla="*/ 114194 w 214405"/>
              <a:gd name="connsiteY2" fmla="*/ 116525 h 231884"/>
              <a:gd name="connsiteX3" fmla="*/ 0 w 214405"/>
              <a:gd name="connsiteY3" fmla="*/ 0 h 231884"/>
              <a:gd name="connsiteX4" fmla="*/ 100211 w 214405"/>
              <a:gd name="connsiteY4" fmla="*/ 0 h 231884"/>
              <a:gd name="connsiteX5" fmla="*/ 214406 w 214405"/>
              <a:gd name="connsiteY5" fmla="*/ 114194 h 23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1884">
                <a:moveTo>
                  <a:pt x="97881" y="231884"/>
                </a:moveTo>
                <a:lnTo>
                  <a:pt x="0" y="231884"/>
                </a:lnTo>
                <a:lnTo>
                  <a:pt x="114194" y="116525"/>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98" name="Freihandform: Form 97">
            <a:extLst>
              <a:ext uri="{FF2B5EF4-FFF2-40B4-BE49-F238E27FC236}">
                <a16:creationId xmlns:a16="http://schemas.microsoft.com/office/drawing/2014/main" id="{D3A81AAA-9E9E-4B15-AAC7-1E1DC2995BB7}"/>
              </a:ext>
            </a:extLst>
          </p:cNvPr>
          <p:cNvSpPr/>
          <p:nvPr/>
        </p:nvSpPr>
        <p:spPr>
          <a:xfrm>
            <a:off x="9069136" y="3767761"/>
            <a:ext cx="214405" cy="233049"/>
          </a:xfrm>
          <a:custGeom>
            <a:avLst/>
            <a:gdLst>
              <a:gd name="connsiteX0" fmla="*/ 97881 w 214405"/>
              <a:gd name="connsiteY0" fmla="*/ 233050 h 233049"/>
              <a:gd name="connsiteX1" fmla="*/ 0 w 214405"/>
              <a:gd name="connsiteY1" fmla="*/ 233050 h 233049"/>
              <a:gd name="connsiteX2" fmla="*/ 114194 w 214405"/>
              <a:gd name="connsiteY2" fmla="*/ 117690 h 233049"/>
              <a:gd name="connsiteX3" fmla="*/ 0 w 214405"/>
              <a:gd name="connsiteY3" fmla="*/ 0 h 233049"/>
              <a:gd name="connsiteX4" fmla="*/ 100211 w 214405"/>
              <a:gd name="connsiteY4" fmla="*/ 0 h 233049"/>
              <a:gd name="connsiteX5" fmla="*/ 214406 w 214405"/>
              <a:gd name="connsiteY5" fmla="*/ 114194 h 23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3048">
                <a:moveTo>
                  <a:pt x="97881" y="233050"/>
                </a:moveTo>
                <a:lnTo>
                  <a:pt x="0" y="233050"/>
                </a:lnTo>
                <a:lnTo>
                  <a:pt x="114194" y="117690"/>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114" name="Freihandform: Form 113">
            <a:extLst>
              <a:ext uri="{FF2B5EF4-FFF2-40B4-BE49-F238E27FC236}">
                <a16:creationId xmlns:a16="http://schemas.microsoft.com/office/drawing/2014/main" id="{D7414768-9244-413F-B790-A52513170C11}"/>
              </a:ext>
            </a:extLst>
          </p:cNvPr>
          <p:cNvSpPr/>
          <p:nvPr/>
        </p:nvSpPr>
        <p:spPr>
          <a:xfrm>
            <a:off x="9069136" y="4123162"/>
            <a:ext cx="214405" cy="231884"/>
          </a:xfrm>
          <a:custGeom>
            <a:avLst/>
            <a:gdLst>
              <a:gd name="connsiteX0" fmla="*/ 97881 w 214405"/>
              <a:gd name="connsiteY0" fmla="*/ 231884 h 231884"/>
              <a:gd name="connsiteX1" fmla="*/ 0 w 214405"/>
              <a:gd name="connsiteY1" fmla="*/ 231884 h 231884"/>
              <a:gd name="connsiteX2" fmla="*/ 114194 w 214405"/>
              <a:gd name="connsiteY2" fmla="*/ 116525 h 231884"/>
              <a:gd name="connsiteX3" fmla="*/ 0 w 214405"/>
              <a:gd name="connsiteY3" fmla="*/ 0 h 231884"/>
              <a:gd name="connsiteX4" fmla="*/ 100211 w 214405"/>
              <a:gd name="connsiteY4" fmla="*/ 0 h 231884"/>
              <a:gd name="connsiteX5" fmla="*/ 214406 w 214405"/>
              <a:gd name="connsiteY5" fmla="*/ 114194 h 23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1884">
                <a:moveTo>
                  <a:pt x="97881" y="231884"/>
                </a:moveTo>
                <a:lnTo>
                  <a:pt x="0" y="231884"/>
                </a:lnTo>
                <a:lnTo>
                  <a:pt x="114194" y="116525"/>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130" name="Freihandform: Form 129">
            <a:extLst>
              <a:ext uri="{FF2B5EF4-FFF2-40B4-BE49-F238E27FC236}">
                <a16:creationId xmlns:a16="http://schemas.microsoft.com/office/drawing/2014/main" id="{401AC1C2-779B-43DF-BA19-77977887DF48}"/>
              </a:ext>
            </a:extLst>
          </p:cNvPr>
          <p:cNvSpPr/>
          <p:nvPr/>
        </p:nvSpPr>
        <p:spPr>
          <a:xfrm>
            <a:off x="9069136" y="4477397"/>
            <a:ext cx="214405" cy="233049"/>
          </a:xfrm>
          <a:custGeom>
            <a:avLst/>
            <a:gdLst>
              <a:gd name="connsiteX0" fmla="*/ 97881 w 214405"/>
              <a:gd name="connsiteY0" fmla="*/ 233050 h 233049"/>
              <a:gd name="connsiteX1" fmla="*/ 0 w 214405"/>
              <a:gd name="connsiteY1" fmla="*/ 233050 h 233049"/>
              <a:gd name="connsiteX2" fmla="*/ 114194 w 214405"/>
              <a:gd name="connsiteY2" fmla="*/ 117690 h 233049"/>
              <a:gd name="connsiteX3" fmla="*/ 0 w 214405"/>
              <a:gd name="connsiteY3" fmla="*/ 0 h 233049"/>
              <a:gd name="connsiteX4" fmla="*/ 100211 w 214405"/>
              <a:gd name="connsiteY4" fmla="*/ 0 h 233049"/>
              <a:gd name="connsiteX5" fmla="*/ 214406 w 214405"/>
              <a:gd name="connsiteY5" fmla="*/ 114194 h 23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3048">
                <a:moveTo>
                  <a:pt x="97881" y="233050"/>
                </a:moveTo>
                <a:lnTo>
                  <a:pt x="0" y="233050"/>
                </a:lnTo>
                <a:lnTo>
                  <a:pt x="114194" y="117690"/>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147" name="Freihandform: Form 146">
            <a:extLst>
              <a:ext uri="{FF2B5EF4-FFF2-40B4-BE49-F238E27FC236}">
                <a16:creationId xmlns:a16="http://schemas.microsoft.com/office/drawing/2014/main" id="{828616FB-ED5E-4EBB-AE8B-F4FB143D7DA7}"/>
              </a:ext>
            </a:extLst>
          </p:cNvPr>
          <p:cNvSpPr/>
          <p:nvPr/>
        </p:nvSpPr>
        <p:spPr>
          <a:xfrm>
            <a:off x="9069136" y="4832797"/>
            <a:ext cx="214405" cy="231884"/>
          </a:xfrm>
          <a:custGeom>
            <a:avLst/>
            <a:gdLst>
              <a:gd name="connsiteX0" fmla="*/ 97881 w 214405"/>
              <a:gd name="connsiteY0" fmla="*/ 231884 h 231884"/>
              <a:gd name="connsiteX1" fmla="*/ 0 w 214405"/>
              <a:gd name="connsiteY1" fmla="*/ 231884 h 231884"/>
              <a:gd name="connsiteX2" fmla="*/ 114194 w 214405"/>
              <a:gd name="connsiteY2" fmla="*/ 116525 h 231884"/>
              <a:gd name="connsiteX3" fmla="*/ 0 w 214405"/>
              <a:gd name="connsiteY3" fmla="*/ 0 h 231884"/>
              <a:gd name="connsiteX4" fmla="*/ 100211 w 214405"/>
              <a:gd name="connsiteY4" fmla="*/ 0 h 231884"/>
              <a:gd name="connsiteX5" fmla="*/ 214406 w 214405"/>
              <a:gd name="connsiteY5" fmla="*/ 114194 h 23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1884">
                <a:moveTo>
                  <a:pt x="97881" y="231884"/>
                </a:moveTo>
                <a:lnTo>
                  <a:pt x="0" y="231884"/>
                </a:lnTo>
                <a:lnTo>
                  <a:pt x="114194" y="116525"/>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164" name="Freihandform: Form 163">
            <a:extLst>
              <a:ext uri="{FF2B5EF4-FFF2-40B4-BE49-F238E27FC236}">
                <a16:creationId xmlns:a16="http://schemas.microsoft.com/office/drawing/2014/main" id="{1552BFC2-885E-488D-9178-E4EF0A480D27}"/>
              </a:ext>
            </a:extLst>
          </p:cNvPr>
          <p:cNvSpPr/>
          <p:nvPr/>
        </p:nvSpPr>
        <p:spPr>
          <a:xfrm>
            <a:off x="9069136" y="5187033"/>
            <a:ext cx="214405" cy="233049"/>
          </a:xfrm>
          <a:custGeom>
            <a:avLst/>
            <a:gdLst>
              <a:gd name="connsiteX0" fmla="*/ 97881 w 214405"/>
              <a:gd name="connsiteY0" fmla="*/ 233050 h 233049"/>
              <a:gd name="connsiteX1" fmla="*/ 0 w 214405"/>
              <a:gd name="connsiteY1" fmla="*/ 233050 h 233049"/>
              <a:gd name="connsiteX2" fmla="*/ 114194 w 214405"/>
              <a:gd name="connsiteY2" fmla="*/ 117690 h 233049"/>
              <a:gd name="connsiteX3" fmla="*/ 0 w 214405"/>
              <a:gd name="connsiteY3" fmla="*/ 0 h 233049"/>
              <a:gd name="connsiteX4" fmla="*/ 100211 w 214405"/>
              <a:gd name="connsiteY4" fmla="*/ 0 h 233049"/>
              <a:gd name="connsiteX5" fmla="*/ 214406 w 214405"/>
              <a:gd name="connsiteY5" fmla="*/ 114194 h 23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3048">
                <a:moveTo>
                  <a:pt x="97881" y="233050"/>
                </a:moveTo>
                <a:lnTo>
                  <a:pt x="0" y="233050"/>
                </a:lnTo>
                <a:lnTo>
                  <a:pt x="114194" y="117690"/>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181" name="Freihandform: Form 180">
            <a:extLst>
              <a:ext uri="{FF2B5EF4-FFF2-40B4-BE49-F238E27FC236}">
                <a16:creationId xmlns:a16="http://schemas.microsoft.com/office/drawing/2014/main" id="{80648966-F9E2-4B5F-ABE6-533E21207054}"/>
              </a:ext>
            </a:extLst>
          </p:cNvPr>
          <p:cNvSpPr/>
          <p:nvPr/>
        </p:nvSpPr>
        <p:spPr>
          <a:xfrm>
            <a:off x="9069136" y="5542434"/>
            <a:ext cx="214405" cy="231884"/>
          </a:xfrm>
          <a:custGeom>
            <a:avLst/>
            <a:gdLst>
              <a:gd name="connsiteX0" fmla="*/ 97881 w 214405"/>
              <a:gd name="connsiteY0" fmla="*/ 231884 h 231884"/>
              <a:gd name="connsiteX1" fmla="*/ 0 w 214405"/>
              <a:gd name="connsiteY1" fmla="*/ 231884 h 231884"/>
              <a:gd name="connsiteX2" fmla="*/ 114194 w 214405"/>
              <a:gd name="connsiteY2" fmla="*/ 117690 h 231884"/>
              <a:gd name="connsiteX3" fmla="*/ 0 w 214405"/>
              <a:gd name="connsiteY3" fmla="*/ 0 h 231884"/>
              <a:gd name="connsiteX4" fmla="*/ 100211 w 214405"/>
              <a:gd name="connsiteY4" fmla="*/ 0 h 231884"/>
              <a:gd name="connsiteX5" fmla="*/ 214406 w 214405"/>
              <a:gd name="connsiteY5" fmla="*/ 114194 h 23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1884">
                <a:moveTo>
                  <a:pt x="97881" y="231884"/>
                </a:moveTo>
                <a:lnTo>
                  <a:pt x="0" y="231884"/>
                </a:lnTo>
                <a:lnTo>
                  <a:pt x="114194" y="117690"/>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198" name="Freihandform: Form 197">
            <a:extLst>
              <a:ext uri="{FF2B5EF4-FFF2-40B4-BE49-F238E27FC236}">
                <a16:creationId xmlns:a16="http://schemas.microsoft.com/office/drawing/2014/main" id="{8C7041C5-0B5B-4AF4-9E5A-19A8C4C12F42}"/>
              </a:ext>
            </a:extLst>
          </p:cNvPr>
          <p:cNvSpPr/>
          <p:nvPr/>
        </p:nvSpPr>
        <p:spPr>
          <a:xfrm>
            <a:off x="9069136" y="5896669"/>
            <a:ext cx="214405" cy="233049"/>
          </a:xfrm>
          <a:custGeom>
            <a:avLst/>
            <a:gdLst>
              <a:gd name="connsiteX0" fmla="*/ 97881 w 214405"/>
              <a:gd name="connsiteY0" fmla="*/ 233050 h 233049"/>
              <a:gd name="connsiteX1" fmla="*/ 0 w 214405"/>
              <a:gd name="connsiteY1" fmla="*/ 233050 h 233049"/>
              <a:gd name="connsiteX2" fmla="*/ 114194 w 214405"/>
              <a:gd name="connsiteY2" fmla="*/ 117690 h 233049"/>
              <a:gd name="connsiteX3" fmla="*/ 0 w 214405"/>
              <a:gd name="connsiteY3" fmla="*/ 0 h 233049"/>
              <a:gd name="connsiteX4" fmla="*/ 100211 w 214405"/>
              <a:gd name="connsiteY4" fmla="*/ 0 h 233049"/>
              <a:gd name="connsiteX5" fmla="*/ 214406 w 214405"/>
              <a:gd name="connsiteY5" fmla="*/ 114194 h 23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3048">
                <a:moveTo>
                  <a:pt x="97881" y="233050"/>
                </a:moveTo>
                <a:lnTo>
                  <a:pt x="0" y="233050"/>
                </a:lnTo>
                <a:lnTo>
                  <a:pt x="114194" y="117690"/>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215" name="Freihandform: Form 214">
            <a:extLst>
              <a:ext uri="{FF2B5EF4-FFF2-40B4-BE49-F238E27FC236}">
                <a16:creationId xmlns:a16="http://schemas.microsoft.com/office/drawing/2014/main" id="{DC129505-58A5-42E7-B349-A205FB83331A}"/>
              </a:ext>
            </a:extLst>
          </p:cNvPr>
          <p:cNvSpPr/>
          <p:nvPr/>
        </p:nvSpPr>
        <p:spPr>
          <a:xfrm>
            <a:off x="9069136" y="6252070"/>
            <a:ext cx="214405" cy="233049"/>
          </a:xfrm>
          <a:custGeom>
            <a:avLst/>
            <a:gdLst>
              <a:gd name="connsiteX0" fmla="*/ 97881 w 214405"/>
              <a:gd name="connsiteY0" fmla="*/ 233050 h 233049"/>
              <a:gd name="connsiteX1" fmla="*/ 0 w 214405"/>
              <a:gd name="connsiteY1" fmla="*/ 233050 h 233049"/>
              <a:gd name="connsiteX2" fmla="*/ 114194 w 214405"/>
              <a:gd name="connsiteY2" fmla="*/ 117690 h 233049"/>
              <a:gd name="connsiteX3" fmla="*/ 0 w 214405"/>
              <a:gd name="connsiteY3" fmla="*/ 0 h 233049"/>
              <a:gd name="connsiteX4" fmla="*/ 100211 w 214405"/>
              <a:gd name="connsiteY4" fmla="*/ 0 h 233049"/>
              <a:gd name="connsiteX5" fmla="*/ 214406 w 214405"/>
              <a:gd name="connsiteY5" fmla="*/ 114194 h 23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3048">
                <a:moveTo>
                  <a:pt x="97881" y="233050"/>
                </a:moveTo>
                <a:lnTo>
                  <a:pt x="0" y="233050"/>
                </a:lnTo>
                <a:lnTo>
                  <a:pt x="114194" y="117690"/>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231" name="Freihandform: Form 230">
            <a:extLst>
              <a:ext uri="{FF2B5EF4-FFF2-40B4-BE49-F238E27FC236}">
                <a16:creationId xmlns:a16="http://schemas.microsoft.com/office/drawing/2014/main" id="{7D437321-278E-41CD-A64F-B829FA8D7F6A}"/>
              </a:ext>
            </a:extLst>
          </p:cNvPr>
          <p:cNvSpPr/>
          <p:nvPr/>
        </p:nvSpPr>
        <p:spPr>
          <a:xfrm>
            <a:off x="9069136" y="6607470"/>
            <a:ext cx="214405" cy="231884"/>
          </a:xfrm>
          <a:custGeom>
            <a:avLst/>
            <a:gdLst>
              <a:gd name="connsiteX0" fmla="*/ 97881 w 214405"/>
              <a:gd name="connsiteY0" fmla="*/ 231884 h 231884"/>
              <a:gd name="connsiteX1" fmla="*/ 0 w 214405"/>
              <a:gd name="connsiteY1" fmla="*/ 231884 h 231884"/>
              <a:gd name="connsiteX2" fmla="*/ 114194 w 214405"/>
              <a:gd name="connsiteY2" fmla="*/ 116525 h 231884"/>
              <a:gd name="connsiteX3" fmla="*/ 0 w 214405"/>
              <a:gd name="connsiteY3" fmla="*/ 0 h 231884"/>
              <a:gd name="connsiteX4" fmla="*/ 100211 w 214405"/>
              <a:gd name="connsiteY4" fmla="*/ 0 h 231884"/>
              <a:gd name="connsiteX5" fmla="*/ 214406 w 214405"/>
              <a:gd name="connsiteY5" fmla="*/ 114194 h 23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1884">
                <a:moveTo>
                  <a:pt x="97881" y="231884"/>
                </a:moveTo>
                <a:lnTo>
                  <a:pt x="0" y="231884"/>
                </a:lnTo>
                <a:lnTo>
                  <a:pt x="114194" y="116525"/>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20" name="Freihandform: Form 19">
            <a:extLst>
              <a:ext uri="{FF2B5EF4-FFF2-40B4-BE49-F238E27FC236}">
                <a16:creationId xmlns:a16="http://schemas.microsoft.com/office/drawing/2014/main" id="{59C6ABB5-FB82-4897-A910-6DBB4D07120E}"/>
              </a:ext>
            </a:extLst>
          </p:cNvPr>
          <p:cNvSpPr/>
          <p:nvPr/>
        </p:nvSpPr>
        <p:spPr>
          <a:xfrm>
            <a:off x="9415215" y="1984931"/>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2351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5847"/>
                </a:lnTo>
                <a:lnTo>
                  <a:pt x="0" y="0"/>
                </a:lnTo>
                <a:lnTo>
                  <a:pt x="108368" y="0"/>
                </a:lnTo>
                <a:lnTo>
                  <a:pt x="230719" y="122351"/>
                </a:lnTo>
                <a:close/>
              </a:path>
            </a:pathLst>
          </a:custGeom>
          <a:solidFill>
            <a:srgbClr val="EEF2F5"/>
          </a:solidFill>
          <a:ln w="11643" cap="flat">
            <a:noFill/>
            <a:prstDash val="solid"/>
            <a:miter/>
          </a:ln>
        </p:spPr>
        <p:txBody>
          <a:bodyPr rtlCol="0" anchor="ctr"/>
          <a:lstStyle/>
          <a:p>
            <a:endParaRPr lang="de-DE"/>
          </a:p>
        </p:txBody>
      </p:sp>
      <p:sp>
        <p:nvSpPr>
          <p:cNvPr id="35" name="Freihandform: Form 34">
            <a:extLst>
              <a:ext uri="{FF2B5EF4-FFF2-40B4-BE49-F238E27FC236}">
                <a16:creationId xmlns:a16="http://schemas.microsoft.com/office/drawing/2014/main" id="{4B50BF8D-98A0-4C91-8957-BC9FDA550D32}"/>
              </a:ext>
            </a:extLst>
          </p:cNvPr>
          <p:cNvSpPr/>
          <p:nvPr/>
        </p:nvSpPr>
        <p:spPr>
          <a:xfrm>
            <a:off x="9415215" y="2339167"/>
            <a:ext cx="230718" cy="250528"/>
          </a:xfrm>
          <a:custGeom>
            <a:avLst/>
            <a:gdLst>
              <a:gd name="connsiteX0" fmla="*/ 106037 w 230718"/>
              <a:gd name="connsiteY0" fmla="*/ 250528 h 250528"/>
              <a:gd name="connsiteX1" fmla="*/ 0 w 230718"/>
              <a:gd name="connsiteY1" fmla="*/ 250528 h 250528"/>
              <a:gd name="connsiteX2" fmla="*/ 123516 w 230718"/>
              <a:gd name="connsiteY2" fmla="*/ 127012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7012"/>
                </a:lnTo>
                <a:lnTo>
                  <a:pt x="0" y="0"/>
                </a:lnTo>
                <a:lnTo>
                  <a:pt x="108368" y="0"/>
                </a:lnTo>
                <a:lnTo>
                  <a:pt x="230719" y="123516"/>
                </a:lnTo>
                <a:close/>
              </a:path>
            </a:pathLst>
          </a:custGeom>
          <a:solidFill>
            <a:srgbClr val="EEF2F5"/>
          </a:solidFill>
          <a:ln w="11643" cap="flat">
            <a:noFill/>
            <a:prstDash val="solid"/>
            <a:miter/>
          </a:ln>
        </p:spPr>
        <p:txBody>
          <a:bodyPr rtlCol="0" anchor="ctr"/>
          <a:lstStyle/>
          <a:p>
            <a:endParaRPr lang="de-DE"/>
          </a:p>
        </p:txBody>
      </p:sp>
      <p:sp>
        <p:nvSpPr>
          <p:cNvPr id="51" name="Freihandform: Form 50">
            <a:extLst>
              <a:ext uri="{FF2B5EF4-FFF2-40B4-BE49-F238E27FC236}">
                <a16:creationId xmlns:a16="http://schemas.microsoft.com/office/drawing/2014/main" id="{D1B3B4E3-CEF5-496B-A094-E4A3B0CD5519}"/>
              </a:ext>
            </a:extLst>
          </p:cNvPr>
          <p:cNvSpPr/>
          <p:nvPr/>
        </p:nvSpPr>
        <p:spPr>
          <a:xfrm>
            <a:off x="9415215" y="2694568"/>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5847"/>
                </a:lnTo>
                <a:lnTo>
                  <a:pt x="0" y="0"/>
                </a:lnTo>
                <a:lnTo>
                  <a:pt x="108368" y="0"/>
                </a:lnTo>
                <a:lnTo>
                  <a:pt x="230719" y="123516"/>
                </a:lnTo>
                <a:close/>
              </a:path>
            </a:pathLst>
          </a:custGeom>
          <a:solidFill>
            <a:srgbClr val="EEF2F5"/>
          </a:solidFill>
          <a:ln w="11643" cap="flat">
            <a:noFill/>
            <a:prstDash val="solid"/>
            <a:miter/>
          </a:ln>
        </p:spPr>
        <p:txBody>
          <a:bodyPr rtlCol="0" anchor="ctr"/>
          <a:lstStyle/>
          <a:p>
            <a:endParaRPr lang="de-DE"/>
          </a:p>
        </p:txBody>
      </p:sp>
      <p:sp>
        <p:nvSpPr>
          <p:cNvPr id="67" name="Freihandform: Form 66">
            <a:extLst>
              <a:ext uri="{FF2B5EF4-FFF2-40B4-BE49-F238E27FC236}">
                <a16:creationId xmlns:a16="http://schemas.microsoft.com/office/drawing/2014/main" id="{03766B2F-D62E-4376-B19A-E9A0137C9FF8}"/>
              </a:ext>
            </a:extLst>
          </p:cNvPr>
          <p:cNvSpPr/>
          <p:nvPr/>
        </p:nvSpPr>
        <p:spPr>
          <a:xfrm>
            <a:off x="9415215" y="3048803"/>
            <a:ext cx="230718" cy="250528"/>
          </a:xfrm>
          <a:custGeom>
            <a:avLst/>
            <a:gdLst>
              <a:gd name="connsiteX0" fmla="*/ 106037 w 230718"/>
              <a:gd name="connsiteY0" fmla="*/ 250528 h 250528"/>
              <a:gd name="connsiteX1" fmla="*/ 0 w 230718"/>
              <a:gd name="connsiteY1" fmla="*/ 250528 h 250528"/>
              <a:gd name="connsiteX2" fmla="*/ 123516 w 230718"/>
              <a:gd name="connsiteY2" fmla="*/ 127012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7012"/>
                </a:lnTo>
                <a:lnTo>
                  <a:pt x="0" y="0"/>
                </a:lnTo>
                <a:lnTo>
                  <a:pt x="108368" y="0"/>
                </a:lnTo>
                <a:lnTo>
                  <a:pt x="230719" y="123516"/>
                </a:lnTo>
                <a:close/>
              </a:path>
            </a:pathLst>
          </a:custGeom>
          <a:solidFill>
            <a:srgbClr val="EEF2F5"/>
          </a:solidFill>
          <a:ln w="11643" cap="flat">
            <a:noFill/>
            <a:prstDash val="solid"/>
            <a:miter/>
          </a:ln>
        </p:spPr>
        <p:txBody>
          <a:bodyPr rtlCol="0" anchor="ctr"/>
          <a:lstStyle/>
          <a:p>
            <a:endParaRPr lang="de-DE"/>
          </a:p>
        </p:txBody>
      </p:sp>
      <p:sp>
        <p:nvSpPr>
          <p:cNvPr id="83" name="Freihandform: Form 82">
            <a:extLst>
              <a:ext uri="{FF2B5EF4-FFF2-40B4-BE49-F238E27FC236}">
                <a16:creationId xmlns:a16="http://schemas.microsoft.com/office/drawing/2014/main" id="{AF30F1BC-BAAD-4C43-8F77-BAF589EBE37F}"/>
              </a:ext>
            </a:extLst>
          </p:cNvPr>
          <p:cNvSpPr/>
          <p:nvPr/>
        </p:nvSpPr>
        <p:spPr>
          <a:xfrm>
            <a:off x="9415215" y="3404203"/>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5847"/>
                </a:lnTo>
                <a:lnTo>
                  <a:pt x="0" y="0"/>
                </a:lnTo>
                <a:lnTo>
                  <a:pt x="108368" y="0"/>
                </a:lnTo>
                <a:lnTo>
                  <a:pt x="230719" y="123516"/>
                </a:lnTo>
                <a:close/>
              </a:path>
            </a:pathLst>
          </a:custGeom>
          <a:solidFill>
            <a:srgbClr val="EEF2F5"/>
          </a:solidFill>
          <a:ln w="11643" cap="flat">
            <a:noFill/>
            <a:prstDash val="solid"/>
            <a:miter/>
          </a:ln>
        </p:spPr>
        <p:txBody>
          <a:bodyPr rtlCol="0" anchor="ctr"/>
          <a:lstStyle/>
          <a:p>
            <a:endParaRPr lang="de-DE"/>
          </a:p>
        </p:txBody>
      </p:sp>
      <p:sp>
        <p:nvSpPr>
          <p:cNvPr id="99" name="Freihandform: Form 98">
            <a:extLst>
              <a:ext uri="{FF2B5EF4-FFF2-40B4-BE49-F238E27FC236}">
                <a16:creationId xmlns:a16="http://schemas.microsoft.com/office/drawing/2014/main" id="{EB01FE63-3ABC-4A0B-B6A7-BC06FBCD3820}"/>
              </a:ext>
            </a:extLst>
          </p:cNvPr>
          <p:cNvSpPr/>
          <p:nvPr/>
        </p:nvSpPr>
        <p:spPr>
          <a:xfrm>
            <a:off x="9415215" y="3758439"/>
            <a:ext cx="230718" cy="251693"/>
          </a:xfrm>
          <a:custGeom>
            <a:avLst/>
            <a:gdLst>
              <a:gd name="connsiteX0" fmla="*/ 106037 w 230718"/>
              <a:gd name="connsiteY0" fmla="*/ 251694 h 251693"/>
              <a:gd name="connsiteX1" fmla="*/ 0 w 230718"/>
              <a:gd name="connsiteY1" fmla="*/ 251694 h 251693"/>
              <a:gd name="connsiteX2" fmla="*/ 123516 w 230718"/>
              <a:gd name="connsiteY2" fmla="*/ 127012 h 251693"/>
              <a:gd name="connsiteX3" fmla="*/ 0 w 230718"/>
              <a:gd name="connsiteY3" fmla="*/ 0 h 251693"/>
              <a:gd name="connsiteX4" fmla="*/ 108368 w 230718"/>
              <a:gd name="connsiteY4" fmla="*/ 0 h 251693"/>
              <a:gd name="connsiteX5" fmla="*/ 230719 w 230718"/>
              <a:gd name="connsiteY5" fmla="*/ 123516 h 251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1693">
                <a:moveTo>
                  <a:pt x="106037" y="251694"/>
                </a:moveTo>
                <a:lnTo>
                  <a:pt x="0" y="251694"/>
                </a:lnTo>
                <a:lnTo>
                  <a:pt x="123516" y="127012"/>
                </a:lnTo>
                <a:lnTo>
                  <a:pt x="0" y="0"/>
                </a:lnTo>
                <a:lnTo>
                  <a:pt x="108368" y="0"/>
                </a:lnTo>
                <a:lnTo>
                  <a:pt x="230719" y="123516"/>
                </a:lnTo>
                <a:close/>
              </a:path>
            </a:pathLst>
          </a:custGeom>
          <a:solidFill>
            <a:srgbClr val="EEF2F5"/>
          </a:solidFill>
          <a:ln w="11643" cap="flat">
            <a:noFill/>
            <a:prstDash val="solid"/>
            <a:miter/>
          </a:ln>
        </p:spPr>
        <p:txBody>
          <a:bodyPr rtlCol="0" anchor="ctr"/>
          <a:lstStyle/>
          <a:p>
            <a:endParaRPr lang="de-DE"/>
          </a:p>
        </p:txBody>
      </p:sp>
      <p:sp>
        <p:nvSpPr>
          <p:cNvPr id="115" name="Freihandform: Form 114">
            <a:extLst>
              <a:ext uri="{FF2B5EF4-FFF2-40B4-BE49-F238E27FC236}">
                <a16:creationId xmlns:a16="http://schemas.microsoft.com/office/drawing/2014/main" id="{A88CE84F-0A79-46B8-839D-DEE0DC50B30B}"/>
              </a:ext>
            </a:extLst>
          </p:cNvPr>
          <p:cNvSpPr/>
          <p:nvPr/>
        </p:nvSpPr>
        <p:spPr>
          <a:xfrm>
            <a:off x="9415215" y="4113840"/>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5847"/>
                </a:lnTo>
                <a:lnTo>
                  <a:pt x="0" y="0"/>
                </a:lnTo>
                <a:lnTo>
                  <a:pt x="108368" y="0"/>
                </a:lnTo>
                <a:lnTo>
                  <a:pt x="230719" y="123516"/>
                </a:lnTo>
                <a:close/>
              </a:path>
            </a:pathLst>
          </a:custGeom>
          <a:solidFill>
            <a:srgbClr val="EEF2F5"/>
          </a:solidFill>
          <a:ln w="11643" cap="flat">
            <a:noFill/>
            <a:prstDash val="solid"/>
            <a:miter/>
          </a:ln>
        </p:spPr>
        <p:txBody>
          <a:bodyPr rtlCol="0" anchor="ctr"/>
          <a:lstStyle/>
          <a:p>
            <a:endParaRPr lang="de-DE"/>
          </a:p>
        </p:txBody>
      </p:sp>
      <p:sp>
        <p:nvSpPr>
          <p:cNvPr id="131" name="Freihandform: Form 130">
            <a:extLst>
              <a:ext uri="{FF2B5EF4-FFF2-40B4-BE49-F238E27FC236}">
                <a16:creationId xmlns:a16="http://schemas.microsoft.com/office/drawing/2014/main" id="{F56B8540-4A40-448B-96CE-F13FEB89FE24}"/>
              </a:ext>
            </a:extLst>
          </p:cNvPr>
          <p:cNvSpPr/>
          <p:nvPr/>
        </p:nvSpPr>
        <p:spPr>
          <a:xfrm>
            <a:off x="9415215" y="4469240"/>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2351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5847"/>
                </a:lnTo>
                <a:lnTo>
                  <a:pt x="0" y="0"/>
                </a:lnTo>
                <a:lnTo>
                  <a:pt x="108368" y="0"/>
                </a:lnTo>
                <a:lnTo>
                  <a:pt x="230719" y="122351"/>
                </a:lnTo>
                <a:close/>
              </a:path>
            </a:pathLst>
          </a:custGeom>
          <a:solidFill>
            <a:srgbClr val="EEF2F5"/>
          </a:solidFill>
          <a:ln w="11643" cap="flat">
            <a:noFill/>
            <a:prstDash val="solid"/>
            <a:miter/>
          </a:ln>
        </p:spPr>
        <p:txBody>
          <a:bodyPr rtlCol="0" anchor="ctr"/>
          <a:lstStyle/>
          <a:p>
            <a:endParaRPr lang="de-DE"/>
          </a:p>
        </p:txBody>
      </p:sp>
      <p:sp>
        <p:nvSpPr>
          <p:cNvPr id="148" name="Freihandform: Form 147">
            <a:extLst>
              <a:ext uri="{FF2B5EF4-FFF2-40B4-BE49-F238E27FC236}">
                <a16:creationId xmlns:a16="http://schemas.microsoft.com/office/drawing/2014/main" id="{FA4D92A2-824B-4123-BA21-136199CED582}"/>
              </a:ext>
            </a:extLst>
          </p:cNvPr>
          <p:cNvSpPr/>
          <p:nvPr/>
        </p:nvSpPr>
        <p:spPr>
          <a:xfrm>
            <a:off x="9415215" y="4823475"/>
            <a:ext cx="230718" cy="250528"/>
          </a:xfrm>
          <a:custGeom>
            <a:avLst/>
            <a:gdLst>
              <a:gd name="connsiteX0" fmla="*/ 106037 w 230718"/>
              <a:gd name="connsiteY0" fmla="*/ 250528 h 250528"/>
              <a:gd name="connsiteX1" fmla="*/ 0 w 230718"/>
              <a:gd name="connsiteY1" fmla="*/ 250528 h 250528"/>
              <a:gd name="connsiteX2" fmla="*/ 123516 w 230718"/>
              <a:gd name="connsiteY2" fmla="*/ 127012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7012"/>
                </a:lnTo>
                <a:lnTo>
                  <a:pt x="0" y="0"/>
                </a:lnTo>
                <a:lnTo>
                  <a:pt x="108368" y="0"/>
                </a:lnTo>
                <a:lnTo>
                  <a:pt x="230719" y="123516"/>
                </a:lnTo>
                <a:close/>
              </a:path>
            </a:pathLst>
          </a:custGeom>
          <a:solidFill>
            <a:srgbClr val="EEF2F5"/>
          </a:solidFill>
          <a:ln w="11643" cap="flat">
            <a:noFill/>
            <a:prstDash val="solid"/>
            <a:miter/>
          </a:ln>
        </p:spPr>
        <p:txBody>
          <a:bodyPr rtlCol="0" anchor="ctr"/>
          <a:lstStyle/>
          <a:p>
            <a:endParaRPr lang="de-DE"/>
          </a:p>
        </p:txBody>
      </p:sp>
      <p:sp>
        <p:nvSpPr>
          <p:cNvPr id="165" name="Freihandform: Form 164">
            <a:extLst>
              <a:ext uri="{FF2B5EF4-FFF2-40B4-BE49-F238E27FC236}">
                <a16:creationId xmlns:a16="http://schemas.microsoft.com/office/drawing/2014/main" id="{B480051A-E4BB-4D8D-9463-F9DC0CB12BA8}"/>
              </a:ext>
            </a:extLst>
          </p:cNvPr>
          <p:cNvSpPr/>
          <p:nvPr/>
        </p:nvSpPr>
        <p:spPr>
          <a:xfrm>
            <a:off x="9415215" y="5178876"/>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2351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5847"/>
                </a:lnTo>
                <a:lnTo>
                  <a:pt x="0" y="0"/>
                </a:lnTo>
                <a:lnTo>
                  <a:pt x="108368" y="0"/>
                </a:lnTo>
                <a:lnTo>
                  <a:pt x="230719" y="122351"/>
                </a:lnTo>
                <a:close/>
              </a:path>
            </a:pathLst>
          </a:custGeom>
          <a:solidFill>
            <a:srgbClr val="EEF2F5"/>
          </a:solidFill>
          <a:ln w="11643" cap="flat">
            <a:noFill/>
            <a:prstDash val="solid"/>
            <a:miter/>
          </a:ln>
        </p:spPr>
        <p:txBody>
          <a:bodyPr rtlCol="0" anchor="ctr"/>
          <a:lstStyle/>
          <a:p>
            <a:endParaRPr lang="de-DE"/>
          </a:p>
        </p:txBody>
      </p:sp>
      <p:sp>
        <p:nvSpPr>
          <p:cNvPr id="182" name="Freihandform: Form 181">
            <a:extLst>
              <a:ext uri="{FF2B5EF4-FFF2-40B4-BE49-F238E27FC236}">
                <a16:creationId xmlns:a16="http://schemas.microsoft.com/office/drawing/2014/main" id="{8B9C7922-A46C-4300-8536-75C60F1BDA2A}"/>
              </a:ext>
            </a:extLst>
          </p:cNvPr>
          <p:cNvSpPr/>
          <p:nvPr/>
        </p:nvSpPr>
        <p:spPr>
          <a:xfrm>
            <a:off x="9415215" y="5533111"/>
            <a:ext cx="230718" cy="250528"/>
          </a:xfrm>
          <a:custGeom>
            <a:avLst/>
            <a:gdLst>
              <a:gd name="connsiteX0" fmla="*/ 106037 w 230718"/>
              <a:gd name="connsiteY0" fmla="*/ 250528 h 250528"/>
              <a:gd name="connsiteX1" fmla="*/ 0 w 230718"/>
              <a:gd name="connsiteY1" fmla="*/ 250528 h 250528"/>
              <a:gd name="connsiteX2" fmla="*/ 123516 w 230718"/>
              <a:gd name="connsiteY2" fmla="*/ 127012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7012"/>
                </a:lnTo>
                <a:lnTo>
                  <a:pt x="0" y="0"/>
                </a:lnTo>
                <a:lnTo>
                  <a:pt x="108368" y="0"/>
                </a:lnTo>
                <a:lnTo>
                  <a:pt x="230719" y="123516"/>
                </a:lnTo>
                <a:close/>
              </a:path>
            </a:pathLst>
          </a:custGeom>
          <a:solidFill>
            <a:srgbClr val="EEF2F5"/>
          </a:solidFill>
          <a:ln w="11643" cap="flat">
            <a:noFill/>
            <a:prstDash val="solid"/>
            <a:miter/>
          </a:ln>
        </p:spPr>
        <p:txBody>
          <a:bodyPr rtlCol="0" anchor="ctr"/>
          <a:lstStyle/>
          <a:p>
            <a:endParaRPr lang="de-DE"/>
          </a:p>
        </p:txBody>
      </p:sp>
      <p:sp>
        <p:nvSpPr>
          <p:cNvPr id="199" name="Freihandform: Form 198">
            <a:extLst>
              <a:ext uri="{FF2B5EF4-FFF2-40B4-BE49-F238E27FC236}">
                <a16:creationId xmlns:a16="http://schemas.microsoft.com/office/drawing/2014/main" id="{808E1183-99E4-4B7F-B544-06366CD89D96}"/>
              </a:ext>
            </a:extLst>
          </p:cNvPr>
          <p:cNvSpPr/>
          <p:nvPr/>
        </p:nvSpPr>
        <p:spPr>
          <a:xfrm>
            <a:off x="9415215" y="5888512"/>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2351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5847"/>
                </a:lnTo>
                <a:lnTo>
                  <a:pt x="0" y="0"/>
                </a:lnTo>
                <a:lnTo>
                  <a:pt x="108368" y="0"/>
                </a:lnTo>
                <a:lnTo>
                  <a:pt x="230719" y="122351"/>
                </a:lnTo>
                <a:close/>
              </a:path>
            </a:pathLst>
          </a:custGeom>
          <a:solidFill>
            <a:srgbClr val="EEF2F5"/>
          </a:solidFill>
          <a:ln w="11643" cap="flat">
            <a:noFill/>
            <a:prstDash val="solid"/>
            <a:miter/>
          </a:ln>
        </p:spPr>
        <p:txBody>
          <a:bodyPr rtlCol="0" anchor="ctr"/>
          <a:lstStyle/>
          <a:p>
            <a:endParaRPr lang="de-DE"/>
          </a:p>
        </p:txBody>
      </p:sp>
      <p:sp>
        <p:nvSpPr>
          <p:cNvPr id="216" name="Freihandform: Form 215">
            <a:extLst>
              <a:ext uri="{FF2B5EF4-FFF2-40B4-BE49-F238E27FC236}">
                <a16:creationId xmlns:a16="http://schemas.microsoft.com/office/drawing/2014/main" id="{CD034923-4C0A-4423-8672-AB74CD3F1B7B}"/>
              </a:ext>
            </a:extLst>
          </p:cNvPr>
          <p:cNvSpPr/>
          <p:nvPr/>
        </p:nvSpPr>
        <p:spPr>
          <a:xfrm>
            <a:off x="9415215" y="6242748"/>
            <a:ext cx="230718" cy="250528"/>
          </a:xfrm>
          <a:custGeom>
            <a:avLst/>
            <a:gdLst>
              <a:gd name="connsiteX0" fmla="*/ 106037 w 230718"/>
              <a:gd name="connsiteY0" fmla="*/ 250528 h 250528"/>
              <a:gd name="connsiteX1" fmla="*/ 0 w 230718"/>
              <a:gd name="connsiteY1" fmla="*/ 250528 h 250528"/>
              <a:gd name="connsiteX2" fmla="*/ 123516 w 230718"/>
              <a:gd name="connsiteY2" fmla="*/ 127012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7012"/>
                </a:lnTo>
                <a:lnTo>
                  <a:pt x="0" y="0"/>
                </a:lnTo>
                <a:lnTo>
                  <a:pt x="108368" y="0"/>
                </a:lnTo>
                <a:lnTo>
                  <a:pt x="230719" y="123516"/>
                </a:lnTo>
                <a:close/>
              </a:path>
            </a:pathLst>
          </a:custGeom>
          <a:solidFill>
            <a:srgbClr val="EEF2F5"/>
          </a:solidFill>
          <a:ln w="11643" cap="flat">
            <a:noFill/>
            <a:prstDash val="solid"/>
            <a:miter/>
          </a:ln>
        </p:spPr>
        <p:txBody>
          <a:bodyPr rtlCol="0" anchor="ctr"/>
          <a:lstStyle/>
          <a:p>
            <a:endParaRPr lang="de-DE"/>
          </a:p>
        </p:txBody>
      </p:sp>
      <p:sp>
        <p:nvSpPr>
          <p:cNvPr id="232" name="Freihandform: Form 231">
            <a:extLst>
              <a:ext uri="{FF2B5EF4-FFF2-40B4-BE49-F238E27FC236}">
                <a16:creationId xmlns:a16="http://schemas.microsoft.com/office/drawing/2014/main" id="{B9006F61-C8F9-435F-8E25-867EF66AB2C0}"/>
              </a:ext>
            </a:extLst>
          </p:cNvPr>
          <p:cNvSpPr/>
          <p:nvPr/>
        </p:nvSpPr>
        <p:spPr>
          <a:xfrm>
            <a:off x="9415215" y="6598148"/>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2351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5847"/>
                </a:lnTo>
                <a:lnTo>
                  <a:pt x="0" y="0"/>
                </a:lnTo>
                <a:lnTo>
                  <a:pt x="108368" y="0"/>
                </a:lnTo>
                <a:lnTo>
                  <a:pt x="230719" y="122351"/>
                </a:lnTo>
                <a:close/>
              </a:path>
            </a:pathLst>
          </a:custGeom>
          <a:solidFill>
            <a:srgbClr val="EEF2F5"/>
          </a:solidFill>
          <a:ln w="11643" cap="flat">
            <a:noFill/>
            <a:prstDash val="solid"/>
            <a:miter/>
          </a:ln>
        </p:spPr>
        <p:txBody>
          <a:bodyPr rtlCol="0" anchor="ctr"/>
          <a:lstStyle/>
          <a:p>
            <a:endParaRPr lang="de-DE"/>
          </a:p>
        </p:txBody>
      </p:sp>
      <p:sp>
        <p:nvSpPr>
          <p:cNvPr id="21" name="Freihandform: Form 20">
            <a:extLst>
              <a:ext uri="{FF2B5EF4-FFF2-40B4-BE49-F238E27FC236}">
                <a16:creationId xmlns:a16="http://schemas.microsoft.com/office/drawing/2014/main" id="{FA010AB3-93D2-478F-82A2-79D3EAB3E973}"/>
              </a:ext>
            </a:extLst>
          </p:cNvPr>
          <p:cNvSpPr/>
          <p:nvPr/>
        </p:nvSpPr>
        <p:spPr>
          <a:xfrm>
            <a:off x="9761293" y="1975610"/>
            <a:ext cx="248198" cy="269172"/>
          </a:xfrm>
          <a:custGeom>
            <a:avLst/>
            <a:gdLst>
              <a:gd name="connsiteX0" fmla="*/ 114195 w 248198"/>
              <a:gd name="connsiteY0" fmla="*/ 269172 h 269172"/>
              <a:gd name="connsiteX1" fmla="*/ 0 w 248198"/>
              <a:gd name="connsiteY1" fmla="*/ 269172 h 269172"/>
              <a:gd name="connsiteX2" fmla="*/ 132838 w 248198"/>
              <a:gd name="connsiteY2" fmla="*/ 135169 h 269172"/>
              <a:gd name="connsiteX3" fmla="*/ 0 w 248198"/>
              <a:gd name="connsiteY3" fmla="*/ 0 h 269172"/>
              <a:gd name="connsiteX4" fmla="*/ 116525 w 248198"/>
              <a:gd name="connsiteY4" fmla="*/ 0 h 269172"/>
              <a:gd name="connsiteX5" fmla="*/ 248198 w 248198"/>
              <a:gd name="connsiteY5" fmla="*/ 131673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endParaRPr lang="de-DE"/>
          </a:p>
        </p:txBody>
      </p:sp>
      <p:sp>
        <p:nvSpPr>
          <p:cNvPr id="36" name="Freihandform: Form 35">
            <a:extLst>
              <a:ext uri="{FF2B5EF4-FFF2-40B4-BE49-F238E27FC236}">
                <a16:creationId xmlns:a16="http://schemas.microsoft.com/office/drawing/2014/main" id="{E7957182-0D78-447E-AD11-155CFFA4EFCF}"/>
              </a:ext>
            </a:extLst>
          </p:cNvPr>
          <p:cNvSpPr/>
          <p:nvPr/>
        </p:nvSpPr>
        <p:spPr>
          <a:xfrm>
            <a:off x="9761293" y="2331010"/>
            <a:ext cx="248198" cy="268007"/>
          </a:xfrm>
          <a:custGeom>
            <a:avLst/>
            <a:gdLst>
              <a:gd name="connsiteX0" fmla="*/ 114195 w 248198"/>
              <a:gd name="connsiteY0" fmla="*/ 268007 h 268007"/>
              <a:gd name="connsiteX1" fmla="*/ 0 w 248198"/>
              <a:gd name="connsiteY1" fmla="*/ 268007 h 268007"/>
              <a:gd name="connsiteX2" fmla="*/ 132838 w 248198"/>
              <a:gd name="connsiteY2" fmla="*/ 135169 h 268007"/>
              <a:gd name="connsiteX3" fmla="*/ 0 w 248198"/>
              <a:gd name="connsiteY3" fmla="*/ 0 h 268007"/>
              <a:gd name="connsiteX4" fmla="*/ 116525 w 248198"/>
              <a:gd name="connsiteY4" fmla="*/ 0 h 268007"/>
              <a:gd name="connsiteX5" fmla="*/ 248198 w 248198"/>
              <a:gd name="connsiteY5" fmla="*/ 131673 h 268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8007">
                <a:moveTo>
                  <a:pt x="114195" y="268007"/>
                </a:moveTo>
                <a:lnTo>
                  <a:pt x="0" y="268007"/>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endParaRPr lang="de-DE"/>
          </a:p>
        </p:txBody>
      </p:sp>
      <p:sp>
        <p:nvSpPr>
          <p:cNvPr id="52" name="Freihandform: Form 51">
            <a:extLst>
              <a:ext uri="{FF2B5EF4-FFF2-40B4-BE49-F238E27FC236}">
                <a16:creationId xmlns:a16="http://schemas.microsoft.com/office/drawing/2014/main" id="{D00B278C-4E10-45E8-A202-B55CBB4B885E}"/>
              </a:ext>
            </a:extLst>
          </p:cNvPr>
          <p:cNvSpPr/>
          <p:nvPr/>
        </p:nvSpPr>
        <p:spPr>
          <a:xfrm>
            <a:off x="9761293" y="2685246"/>
            <a:ext cx="248198" cy="269172"/>
          </a:xfrm>
          <a:custGeom>
            <a:avLst/>
            <a:gdLst>
              <a:gd name="connsiteX0" fmla="*/ 114195 w 248198"/>
              <a:gd name="connsiteY0" fmla="*/ 269172 h 269172"/>
              <a:gd name="connsiteX1" fmla="*/ 0 w 248198"/>
              <a:gd name="connsiteY1" fmla="*/ 269172 h 269172"/>
              <a:gd name="connsiteX2" fmla="*/ 132838 w 248198"/>
              <a:gd name="connsiteY2" fmla="*/ 135169 h 269172"/>
              <a:gd name="connsiteX3" fmla="*/ 0 w 248198"/>
              <a:gd name="connsiteY3" fmla="*/ 0 h 269172"/>
              <a:gd name="connsiteX4" fmla="*/ 116525 w 248198"/>
              <a:gd name="connsiteY4" fmla="*/ 0 h 269172"/>
              <a:gd name="connsiteX5" fmla="*/ 248198 w 248198"/>
              <a:gd name="connsiteY5" fmla="*/ 131673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endParaRPr lang="de-DE"/>
          </a:p>
        </p:txBody>
      </p:sp>
      <p:sp>
        <p:nvSpPr>
          <p:cNvPr id="68" name="Freihandform: Form 67">
            <a:extLst>
              <a:ext uri="{FF2B5EF4-FFF2-40B4-BE49-F238E27FC236}">
                <a16:creationId xmlns:a16="http://schemas.microsoft.com/office/drawing/2014/main" id="{0496EBBE-CFB1-46AA-A6F5-690502856668}"/>
              </a:ext>
            </a:extLst>
          </p:cNvPr>
          <p:cNvSpPr/>
          <p:nvPr/>
        </p:nvSpPr>
        <p:spPr>
          <a:xfrm>
            <a:off x="9761293" y="3040646"/>
            <a:ext cx="248198" cy="268007"/>
          </a:xfrm>
          <a:custGeom>
            <a:avLst/>
            <a:gdLst>
              <a:gd name="connsiteX0" fmla="*/ 114195 w 248198"/>
              <a:gd name="connsiteY0" fmla="*/ 268007 h 268007"/>
              <a:gd name="connsiteX1" fmla="*/ 0 w 248198"/>
              <a:gd name="connsiteY1" fmla="*/ 268007 h 268007"/>
              <a:gd name="connsiteX2" fmla="*/ 132838 w 248198"/>
              <a:gd name="connsiteY2" fmla="*/ 135169 h 268007"/>
              <a:gd name="connsiteX3" fmla="*/ 0 w 248198"/>
              <a:gd name="connsiteY3" fmla="*/ 0 h 268007"/>
              <a:gd name="connsiteX4" fmla="*/ 116525 w 248198"/>
              <a:gd name="connsiteY4" fmla="*/ 0 h 268007"/>
              <a:gd name="connsiteX5" fmla="*/ 248198 w 248198"/>
              <a:gd name="connsiteY5" fmla="*/ 131673 h 268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8007">
                <a:moveTo>
                  <a:pt x="114195" y="268007"/>
                </a:moveTo>
                <a:lnTo>
                  <a:pt x="0" y="268007"/>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endParaRPr lang="de-DE"/>
          </a:p>
        </p:txBody>
      </p:sp>
      <p:sp>
        <p:nvSpPr>
          <p:cNvPr id="84" name="Freihandform: Form 83">
            <a:extLst>
              <a:ext uri="{FF2B5EF4-FFF2-40B4-BE49-F238E27FC236}">
                <a16:creationId xmlns:a16="http://schemas.microsoft.com/office/drawing/2014/main" id="{A40B40D6-E2B0-405B-8866-4C365074F335}"/>
              </a:ext>
            </a:extLst>
          </p:cNvPr>
          <p:cNvSpPr/>
          <p:nvPr/>
        </p:nvSpPr>
        <p:spPr>
          <a:xfrm>
            <a:off x="9761293" y="3394882"/>
            <a:ext cx="248198" cy="269172"/>
          </a:xfrm>
          <a:custGeom>
            <a:avLst/>
            <a:gdLst>
              <a:gd name="connsiteX0" fmla="*/ 114195 w 248198"/>
              <a:gd name="connsiteY0" fmla="*/ 269172 h 269172"/>
              <a:gd name="connsiteX1" fmla="*/ 0 w 248198"/>
              <a:gd name="connsiteY1" fmla="*/ 269172 h 269172"/>
              <a:gd name="connsiteX2" fmla="*/ 132838 w 248198"/>
              <a:gd name="connsiteY2" fmla="*/ 135169 h 269172"/>
              <a:gd name="connsiteX3" fmla="*/ 0 w 248198"/>
              <a:gd name="connsiteY3" fmla="*/ 0 h 269172"/>
              <a:gd name="connsiteX4" fmla="*/ 116525 w 248198"/>
              <a:gd name="connsiteY4" fmla="*/ 0 h 269172"/>
              <a:gd name="connsiteX5" fmla="*/ 248198 w 248198"/>
              <a:gd name="connsiteY5" fmla="*/ 131673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endParaRPr lang="de-DE"/>
          </a:p>
        </p:txBody>
      </p:sp>
      <p:sp>
        <p:nvSpPr>
          <p:cNvPr id="100" name="Freihandform: Form 99">
            <a:extLst>
              <a:ext uri="{FF2B5EF4-FFF2-40B4-BE49-F238E27FC236}">
                <a16:creationId xmlns:a16="http://schemas.microsoft.com/office/drawing/2014/main" id="{B976F48C-00EC-49CD-AA95-7B3C97644278}"/>
              </a:ext>
            </a:extLst>
          </p:cNvPr>
          <p:cNvSpPr/>
          <p:nvPr/>
        </p:nvSpPr>
        <p:spPr>
          <a:xfrm>
            <a:off x="9761293" y="3750282"/>
            <a:ext cx="248198" cy="268007"/>
          </a:xfrm>
          <a:custGeom>
            <a:avLst/>
            <a:gdLst>
              <a:gd name="connsiteX0" fmla="*/ 114195 w 248198"/>
              <a:gd name="connsiteY0" fmla="*/ 268007 h 268007"/>
              <a:gd name="connsiteX1" fmla="*/ 0 w 248198"/>
              <a:gd name="connsiteY1" fmla="*/ 268007 h 268007"/>
              <a:gd name="connsiteX2" fmla="*/ 132838 w 248198"/>
              <a:gd name="connsiteY2" fmla="*/ 135169 h 268007"/>
              <a:gd name="connsiteX3" fmla="*/ 0 w 248198"/>
              <a:gd name="connsiteY3" fmla="*/ 0 h 268007"/>
              <a:gd name="connsiteX4" fmla="*/ 116525 w 248198"/>
              <a:gd name="connsiteY4" fmla="*/ 0 h 268007"/>
              <a:gd name="connsiteX5" fmla="*/ 248198 w 248198"/>
              <a:gd name="connsiteY5" fmla="*/ 131673 h 268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8007">
                <a:moveTo>
                  <a:pt x="114195" y="268007"/>
                </a:moveTo>
                <a:lnTo>
                  <a:pt x="0" y="268007"/>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endParaRPr lang="de-DE"/>
          </a:p>
        </p:txBody>
      </p:sp>
      <p:sp>
        <p:nvSpPr>
          <p:cNvPr id="116" name="Freihandform: Form 115">
            <a:extLst>
              <a:ext uri="{FF2B5EF4-FFF2-40B4-BE49-F238E27FC236}">
                <a16:creationId xmlns:a16="http://schemas.microsoft.com/office/drawing/2014/main" id="{DFC41532-B3AB-4B18-A81F-7D2CA52826B2}"/>
              </a:ext>
            </a:extLst>
          </p:cNvPr>
          <p:cNvSpPr/>
          <p:nvPr/>
        </p:nvSpPr>
        <p:spPr>
          <a:xfrm>
            <a:off x="9761293" y="4104518"/>
            <a:ext cx="248198" cy="269172"/>
          </a:xfrm>
          <a:custGeom>
            <a:avLst/>
            <a:gdLst>
              <a:gd name="connsiteX0" fmla="*/ 114195 w 248198"/>
              <a:gd name="connsiteY0" fmla="*/ 269172 h 269172"/>
              <a:gd name="connsiteX1" fmla="*/ 0 w 248198"/>
              <a:gd name="connsiteY1" fmla="*/ 269172 h 269172"/>
              <a:gd name="connsiteX2" fmla="*/ 132838 w 248198"/>
              <a:gd name="connsiteY2" fmla="*/ 136334 h 269172"/>
              <a:gd name="connsiteX3" fmla="*/ 0 w 248198"/>
              <a:gd name="connsiteY3" fmla="*/ 0 h 269172"/>
              <a:gd name="connsiteX4" fmla="*/ 116525 w 248198"/>
              <a:gd name="connsiteY4" fmla="*/ 0 h 269172"/>
              <a:gd name="connsiteX5" fmla="*/ 248198 w 248198"/>
              <a:gd name="connsiteY5" fmla="*/ 132838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6334"/>
                </a:lnTo>
                <a:lnTo>
                  <a:pt x="0" y="0"/>
                </a:lnTo>
                <a:lnTo>
                  <a:pt x="116525" y="0"/>
                </a:lnTo>
                <a:lnTo>
                  <a:pt x="248198" y="132838"/>
                </a:lnTo>
                <a:close/>
              </a:path>
            </a:pathLst>
          </a:custGeom>
          <a:solidFill>
            <a:srgbClr val="EEF2F5"/>
          </a:solidFill>
          <a:ln w="11643" cap="flat">
            <a:noFill/>
            <a:prstDash val="solid"/>
            <a:miter/>
          </a:ln>
        </p:spPr>
        <p:txBody>
          <a:bodyPr rtlCol="0" anchor="ctr"/>
          <a:lstStyle/>
          <a:p>
            <a:endParaRPr lang="de-DE"/>
          </a:p>
        </p:txBody>
      </p:sp>
      <p:sp>
        <p:nvSpPr>
          <p:cNvPr id="132" name="Freihandform: Form 131">
            <a:extLst>
              <a:ext uri="{FF2B5EF4-FFF2-40B4-BE49-F238E27FC236}">
                <a16:creationId xmlns:a16="http://schemas.microsoft.com/office/drawing/2014/main" id="{ADC8DAC7-8942-46EB-9D62-4E4C4662A9C7}"/>
              </a:ext>
            </a:extLst>
          </p:cNvPr>
          <p:cNvSpPr/>
          <p:nvPr/>
        </p:nvSpPr>
        <p:spPr>
          <a:xfrm>
            <a:off x="9761293" y="4459918"/>
            <a:ext cx="248198" cy="268007"/>
          </a:xfrm>
          <a:custGeom>
            <a:avLst/>
            <a:gdLst>
              <a:gd name="connsiteX0" fmla="*/ 114195 w 248198"/>
              <a:gd name="connsiteY0" fmla="*/ 268007 h 268007"/>
              <a:gd name="connsiteX1" fmla="*/ 0 w 248198"/>
              <a:gd name="connsiteY1" fmla="*/ 268007 h 268007"/>
              <a:gd name="connsiteX2" fmla="*/ 132838 w 248198"/>
              <a:gd name="connsiteY2" fmla="*/ 135169 h 268007"/>
              <a:gd name="connsiteX3" fmla="*/ 0 w 248198"/>
              <a:gd name="connsiteY3" fmla="*/ 0 h 268007"/>
              <a:gd name="connsiteX4" fmla="*/ 116525 w 248198"/>
              <a:gd name="connsiteY4" fmla="*/ 0 h 268007"/>
              <a:gd name="connsiteX5" fmla="*/ 248198 w 248198"/>
              <a:gd name="connsiteY5" fmla="*/ 131673 h 268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8007">
                <a:moveTo>
                  <a:pt x="114195" y="268007"/>
                </a:moveTo>
                <a:lnTo>
                  <a:pt x="0" y="268007"/>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endParaRPr lang="de-DE"/>
          </a:p>
        </p:txBody>
      </p:sp>
      <p:sp>
        <p:nvSpPr>
          <p:cNvPr id="149" name="Freihandform: Form 148">
            <a:extLst>
              <a:ext uri="{FF2B5EF4-FFF2-40B4-BE49-F238E27FC236}">
                <a16:creationId xmlns:a16="http://schemas.microsoft.com/office/drawing/2014/main" id="{83716F88-9554-4FCB-B2C3-8BD6193695E2}"/>
              </a:ext>
            </a:extLst>
          </p:cNvPr>
          <p:cNvSpPr/>
          <p:nvPr/>
        </p:nvSpPr>
        <p:spPr>
          <a:xfrm>
            <a:off x="9761293" y="4814154"/>
            <a:ext cx="248198" cy="269172"/>
          </a:xfrm>
          <a:custGeom>
            <a:avLst/>
            <a:gdLst>
              <a:gd name="connsiteX0" fmla="*/ 114195 w 248198"/>
              <a:gd name="connsiteY0" fmla="*/ 269172 h 269172"/>
              <a:gd name="connsiteX1" fmla="*/ 0 w 248198"/>
              <a:gd name="connsiteY1" fmla="*/ 269172 h 269172"/>
              <a:gd name="connsiteX2" fmla="*/ 132838 w 248198"/>
              <a:gd name="connsiteY2" fmla="*/ 136334 h 269172"/>
              <a:gd name="connsiteX3" fmla="*/ 0 w 248198"/>
              <a:gd name="connsiteY3" fmla="*/ 0 h 269172"/>
              <a:gd name="connsiteX4" fmla="*/ 116525 w 248198"/>
              <a:gd name="connsiteY4" fmla="*/ 0 h 269172"/>
              <a:gd name="connsiteX5" fmla="*/ 248198 w 248198"/>
              <a:gd name="connsiteY5" fmla="*/ 132838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6334"/>
                </a:lnTo>
                <a:lnTo>
                  <a:pt x="0" y="0"/>
                </a:lnTo>
                <a:lnTo>
                  <a:pt x="116525" y="0"/>
                </a:lnTo>
                <a:lnTo>
                  <a:pt x="248198" y="132838"/>
                </a:lnTo>
                <a:close/>
              </a:path>
            </a:pathLst>
          </a:custGeom>
          <a:solidFill>
            <a:srgbClr val="EEF2F5"/>
          </a:solidFill>
          <a:ln w="11643" cap="flat">
            <a:noFill/>
            <a:prstDash val="solid"/>
            <a:miter/>
          </a:ln>
        </p:spPr>
        <p:txBody>
          <a:bodyPr rtlCol="0" anchor="ctr"/>
          <a:lstStyle/>
          <a:p>
            <a:endParaRPr lang="de-DE"/>
          </a:p>
        </p:txBody>
      </p:sp>
      <p:sp>
        <p:nvSpPr>
          <p:cNvPr id="166" name="Freihandform: Form 165">
            <a:extLst>
              <a:ext uri="{FF2B5EF4-FFF2-40B4-BE49-F238E27FC236}">
                <a16:creationId xmlns:a16="http://schemas.microsoft.com/office/drawing/2014/main" id="{AEC95E7D-635D-425A-9F1A-DEBC1F5484DB}"/>
              </a:ext>
            </a:extLst>
          </p:cNvPr>
          <p:cNvSpPr/>
          <p:nvPr/>
        </p:nvSpPr>
        <p:spPr>
          <a:xfrm>
            <a:off x="9761293" y="5169554"/>
            <a:ext cx="248198" cy="268007"/>
          </a:xfrm>
          <a:custGeom>
            <a:avLst/>
            <a:gdLst>
              <a:gd name="connsiteX0" fmla="*/ 114195 w 248198"/>
              <a:gd name="connsiteY0" fmla="*/ 268007 h 268007"/>
              <a:gd name="connsiteX1" fmla="*/ 0 w 248198"/>
              <a:gd name="connsiteY1" fmla="*/ 268007 h 268007"/>
              <a:gd name="connsiteX2" fmla="*/ 132838 w 248198"/>
              <a:gd name="connsiteY2" fmla="*/ 135169 h 268007"/>
              <a:gd name="connsiteX3" fmla="*/ 0 w 248198"/>
              <a:gd name="connsiteY3" fmla="*/ 0 h 268007"/>
              <a:gd name="connsiteX4" fmla="*/ 116525 w 248198"/>
              <a:gd name="connsiteY4" fmla="*/ 0 h 268007"/>
              <a:gd name="connsiteX5" fmla="*/ 248198 w 248198"/>
              <a:gd name="connsiteY5" fmla="*/ 131673 h 268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8007">
                <a:moveTo>
                  <a:pt x="114195" y="268007"/>
                </a:moveTo>
                <a:lnTo>
                  <a:pt x="0" y="268007"/>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endParaRPr lang="de-DE"/>
          </a:p>
        </p:txBody>
      </p:sp>
      <p:sp>
        <p:nvSpPr>
          <p:cNvPr id="183" name="Freihandform: Form 182">
            <a:extLst>
              <a:ext uri="{FF2B5EF4-FFF2-40B4-BE49-F238E27FC236}">
                <a16:creationId xmlns:a16="http://schemas.microsoft.com/office/drawing/2014/main" id="{C1CCBBCB-A182-4421-8619-C206846375DB}"/>
              </a:ext>
            </a:extLst>
          </p:cNvPr>
          <p:cNvSpPr/>
          <p:nvPr/>
        </p:nvSpPr>
        <p:spPr>
          <a:xfrm>
            <a:off x="9761293" y="5523790"/>
            <a:ext cx="248198" cy="269172"/>
          </a:xfrm>
          <a:custGeom>
            <a:avLst/>
            <a:gdLst>
              <a:gd name="connsiteX0" fmla="*/ 114195 w 248198"/>
              <a:gd name="connsiteY0" fmla="*/ 269172 h 269172"/>
              <a:gd name="connsiteX1" fmla="*/ 0 w 248198"/>
              <a:gd name="connsiteY1" fmla="*/ 269172 h 269172"/>
              <a:gd name="connsiteX2" fmla="*/ 132838 w 248198"/>
              <a:gd name="connsiteY2" fmla="*/ 136334 h 269172"/>
              <a:gd name="connsiteX3" fmla="*/ 0 w 248198"/>
              <a:gd name="connsiteY3" fmla="*/ 0 h 269172"/>
              <a:gd name="connsiteX4" fmla="*/ 116525 w 248198"/>
              <a:gd name="connsiteY4" fmla="*/ 0 h 269172"/>
              <a:gd name="connsiteX5" fmla="*/ 248198 w 248198"/>
              <a:gd name="connsiteY5" fmla="*/ 132838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6334"/>
                </a:lnTo>
                <a:lnTo>
                  <a:pt x="0" y="0"/>
                </a:lnTo>
                <a:lnTo>
                  <a:pt x="116525" y="0"/>
                </a:lnTo>
                <a:lnTo>
                  <a:pt x="248198" y="132838"/>
                </a:lnTo>
                <a:close/>
              </a:path>
            </a:pathLst>
          </a:custGeom>
          <a:solidFill>
            <a:srgbClr val="EEF2F5"/>
          </a:solidFill>
          <a:ln w="11643" cap="flat">
            <a:noFill/>
            <a:prstDash val="solid"/>
            <a:miter/>
          </a:ln>
        </p:spPr>
        <p:txBody>
          <a:bodyPr rtlCol="0" anchor="ctr"/>
          <a:lstStyle/>
          <a:p>
            <a:endParaRPr lang="de-DE"/>
          </a:p>
        </p:txBody>
      </p:sp>
      <p:sp>
        <p:nvSpPr>
          <p:cNvPr id="200" name="Freihandform: Form 199">
            <a:extLst>
              <a:ext uri="{FF2B5EF4-FFF2-40B4-BE49-F238E27FC236}">
                <a16:creationId xmlns:a16="http://schemas.microsoft.com/office/drawing/2014/main" id="{D91A4514-348C-465D-A689-222304D82209}"/>
              </a:ext>
            </a:extLst>
          </p:cNvPr>
          <p:cNvSpPr/>
          <p:nvPr/>
        </p:nvSpPr>
        <p:spPr>
          <a:xfrm>
            <a:off x="9761293" y="5879190"/>
            <a:ext cx="248198" cy="269172"/>
          </a:xfrm>
          <a:custGeom>
            <a:avLst/>
            <a:gdLst>
              <a:gd name="connsiteX0" fmla="*/ 114195 w 248198"/>
              <a:gd name="connsiteY0" fmla="*/ 269172 h 269172"/>
              <a:gd name="connsiteX1" fmla="*/ 0 w 248198"/>
              <a:gd name="connsiteY1" fmla="*/ 269172 h 269172"/>
              <a:gd name="connsiteX2" fmla="*/ 132838 w 248198"/>
              <a:gd name="connsiteY2" fmla="*/ 135169 h 269172"/>
              <a:gd name="connsiteX3" fmla="*/ 0 w 248198"/>
              <a:gd name="connsiteY3" fmla="*/ 0 h 269172"/>
              <a:gd name="connsiteX4" fmla="*/ 116525 w 248198"/>
              <a:gd name="connsiteY4" fmla="*/ 0 h 269172"/>
              <a:gd name="connsiteX5" fmla="*/ 248198 w 248198"/>
              <a:gd name="connsiteY5" fmla="*/ 131673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endParaRPr lang="de-DE"/>
          </a:p>
        </p:txBody>
      </p:sp>
      <p:sp>
        <p:nvSpPr>
          <p:cNvPr id="217" name="Freihandform: Form 216">
            <a:extLst>
              <a:ext uri="{FF2B5EF4-FFF2-40B4-BE49-F238E27FC236}">
                <a16:creationId xmlns:a16="http://schemas.microsoft.com/office/drawing/2014/main" id="{1B4C065C-ED4E-40BF-AA0C-B75D23AF7B43}"/>
              </a:ext>
            </a:extLst>
          </p:cNvPr>
          <p:cNvSpPr/>
          <p:nvPr/>
        </p:nvSpPr>
        <p:spPr>
          <a:xfrm>
            <a:off x="9761293" y="6233426"/>
            <a:ext cx="248198" cy="269172"/>
          </a:xfrm>
          <a:custGeom>
            <a:avLst/>
            <a:gdLst>
              <a:gd name="connsiteX0" fmla="*/ 114195 w 248198"/>
              <a:gd name="connsiteY0" fmla="*/ 269172 h 269172"/>
              <a:gd name="connsiteX1" fmla="*/ 0 w 248198"/>
              <a:gd name="connsiteY1" fmla="*/ 269172 h 269172"/>
              <a:gd name="connsiteX2" fmla="*/ 132838 w 248198"/>
              <a:gd name="connsiteY2" fmla="*/ 136334 h 269172"/>
              <a:gd name="connsiteX3" fmla="*/ 0 w 248198"/>
              <a:gd name="connsiteY3" fmla="*/ 0 h 269172"/>
              <a:gd name="connsiteX4" fmla="*/ 116525 w 248198"/>
              <a:gd name="connsiteY4" fmla="*/ 0 h 269172"/>
              <a:gd name="connsiteX5" fmla="*/ 248198 w 248198"/>
              <a:gd name="connsiteY5" fmla="*/ 132838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6334"/>
                </a:lnTo>
                <a:lnTo>
                  <a:pt x="0" y="0"/>
                </a:lnTo>
                <a:lnTo>
                  <a:pt x="116525" y="0"/>
                </a:lnTo>
                <a:lnTo>
                  <a:pt x="248198" y="132838"/>
                </a:lnTo>
                <a:close/>
              </a:path>
            </a:pathLst>
          </a:custGeom>
          <a:solidFill>
            <a:srgbClr val="EEF2F5"/>
          </a:solidFill>
          <a:ln w="11643" cap="flat">
            <a:noFill/>
            <a:prstDash val="solid"/>
            <a:miter/>
          </a:ln>
        </p:spPr>
        <p:txBody>
          <a:bodyPr rtlCol="0" anchor="ctr"/>
          <a:lstStyle/>
          <a:p>
            <a:endParaRPr lang="de-DE"/>
          </a:p>
        </p:txBody>
      </p:sp>
      <p:sp>
        <p:nvSpPr>
          <p:cNvPr id="233" name="Freihandform: Form 232">
            <a:extLst>
              <a:ext uri="{FF2B5EF4-FFF2-40B4-BE49-F238E27FC236}">
                <a16:creationId xmlns:a16="http://schemas.microsoft.com/office/drawing/2014/main" id="{26A7552F-9339-4F13-B25C-D2F62499E1D6}"/>
              </a:ext>
            </a:extLst>
          </p:cNvPr>
          <p:cNvSpPr/>
          <p:nvPr/>
        </p:nvSpPr>
        <p:spPr>
          <a:xfrm>
            <a:off x="9761293" y="6588826"/>
            <a:ext cx="248198" cy="269172"/>
          </a:xfrm>
          <a:custGeom>
            <a:avLst/>
            <a:gdLst>
              <a:gd name="connsiteX0" fmla="*/ 114195 w 248198"/>
              <a:gd name="connsiteY0" fmla="*/ 269172 h 269172"/>
              <a:gd name="connsiteX1" fmla="*/ 0 w 248198"/>
              <a:gd name="connsiteY1" fmla="*/ 269172 h 269172"/>
              <a:gd name="connsiteX2" fmla="*/ 132838 w 248198"/>
              <a:gd name="connsiteY2" fmla="*/ 135169 h 269172"/>
              <a:gd name="connsiteX3" fmla="*/ 0 w 248198"/>
              <a:gd name="connsiteY3" fmla="*/ 0 h 269172"/>
              <a:gd name="connsiteX4" fmla="*/ 116525 w 248198"/>
              <a:gd name="connsiteY4" fmla="*/ 0 h 269172"/>
              <a:gd name="connsiteX5" fmla="*/ 248198 w 248198"/>
              <a:gd name="connsiteY5" fmla="*/ 131673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endParaRPr lang="de-DE"/>
          </a:p>
        </p:txBody>
      </p:sp>
      <p:sp>
        <p:nvSpPr>
          <p:cNvPr id="10" name="Textplatzhalter 9">
            <a:extLst>
              <a:ext uri="{FF2B5EF4-FFF2-40B4-BE49-F238E27FC236}">
                <a16:creationId xmlns:a16="http://schemas.microsoft.com/office/drawing/2014/main" id="{87105EF2-AC01-455D-9C26-5D6999587D6D}"/>
              </a:ext>
            </a:extLst>
          </p:cNvPr>
          <p:cNvSpPr>
            <a:spLocks noGrp="1"/>
          </p:cNvSpPr>
          <p:nvPr userDrawn="1">
            <p:ph type="body" sz="quarter" idx="11"/>
          </p:nvPr>
        </p:nvSpPr>
        <p:spPr>
          <a:xfrm>
            <a:off x="815951" y="1979612"/>
            <a:ext cx="10560096" cy="4338638"/>
          </a:xfrm>
          <a:prstGeom prst="rect">
            <a:avLst/>
          </a:prstGeom>
        </p:spPr>
        <p:txBody>
          <a:bodyPr>
            <a:normAutofit/>
          </a:bodyPr>
          <a:lstStyle>
            <a:lvl1pPr marL="266700" indent="-266700">
              <a:buSzPct val="120000"/>
              <a:buFontTx/>
              <a:buBlip>
                <a:blip r:embed="rId2"/>
              </a:buBlip>
              <a:defRPr sz="1800"/>
            </a:lvl1pPr>
            <a:lvl2pPr marL="630238" indent="-268288">
              <a:buSzPct val="120000"/>
              <a:buFontTx/>
              <a:buBlip>
                <a:blip r:embed="rId2"/>
              </a:buBlip>
              <a:defRPr sz="1800"/>
            </a:lvl2pPr>
            <a:lvl3pPr marL="990600" indent="-274638">
              <a:buSzPct val="120000"/>
              <a:buFontTx/>
              <a:buBlip>
                <a:blip r:embed="rId2"/>
              </a:buBlip>
              <a:defRPr sz="1800"/>
            </a:lvl3pPr>
            <a:lvl4pPr marL="1343025" indent="-263525">
              <a:buSzPct val="120000"/>
              <a:buFontTx/>
              <a:buBlip>
                <a:blip r:embed="rId2"/>
              </a:buBlip>
              <a:defRPr sz="1800"/>
            </a:lvl4pPr>
            <a:lvl5pPr marL="1704975" indent="-271463">
              <a:buSzPct val="120000"/>
              <a:buFontTx/>
              <a:buBlip>
                <a:blip r:embed="rId2"/>
              </a:buBlip>
              <a:defRPr sz="18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608832768"/>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8" dur="1000" decel="10000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000" fill="hold"/>
                                        <p:tgtEl>
                                          <p:spTgt spid="4"/>
                                        </p:tgtEl>
                                        <p:attrNameLst>
                                          <p:attrName>ppt_x</p:attrName>
                                        </p:attrNameLst>
                                      </p:cBhvr>
                                      <p:tavLst>
                                        <p:tav tm="0">
                                          <p:val>
                                            <p:strVal val="0-#ppt_w/2"/>
                                          </p:val>
                                        </p:tav>
                                        <p:tav tm="100000">
                                          <p:val>
                                            <p:strVal val="#ppt_x"/>
                                          </p:val>
                                        </p:tav>
                                      </p:tavLst>
                                    </p:anim>
                                    <p:anim calcmode="lin" valueType="num">
                                      <p:cBhvr additive="base">
                                        <p:cTn id="8" dur="1000" fill="hold"/>
                                        <p:tgtEl>
                                          <p:spTgt spid="4"/>
                                        </p:tgtEl>
                                        <p:attrNameLst>
                                          <p:attrName>ppt_y</p:attrName>
                                        </p:attrNameLst>
                                      </p:cBhvr>
                                      <p:tavLst>
                                        <p:tav tm="0">
                                          <p:val>
                                            <p:strVal val="#ppt_y"/>
                                          </p:val>
                                        </p:tav>
                                        <p:tav tm="100000">
                                          <p:val>
                                            <p:strVal val="#ppt_y"/>
                                          </p:val>
                                        </p:tav>
                                      </p:tavLst>
                                    </p:anim>
                                  </p:childTnLst>
                                </p:cTn>
                              </p:par>
                              <p:par>
                                <p:cTn id="9" presetID="2" presetClass="entr" presetSubtype="8" dur="1000" decel="100000" fill="hold" grpId="0" nodeType="withEffect">
                                  <p:stCondLst>
                                    <p:cond delay="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1000" fill="hold"/>
                                        <p:tgtEl>
                                          <p:spTgt spid="10"/>
                                        </p:tgtEl>
                                        <p:attrNameLst>
                                          <p:attrName>ppt_x</p:attrName>
                                        </p:attrNameLst>
                                      </p:cBhvr>
                                      <p:tavLst>
                                        <p:tav tm="0">
                                          <p:val>
                                            <p:strVal val="0-#ppt_w/2"/>
                                          </p:val>
                                        </p:tav>
                                        <p:tav tm="100000">
                                          <p:val>
                                            <p:strVal val="#ppt_x"/>
                                          </p:val>
                                        </p:tav>
                                      </p:tavLst>
                                    </p:anim>
                                    <p:anim calcmode="lin" valueType="num">
                                      <p:cBhvr additive="base">
                                        <p:cTn id="12" dur="1000" fill="hold"/>
                                        <p:tgtEl>
                                          <p:spTgt spid="10"/>
                                        </p:tgtEl>
                                        <p:attrNameLst>
                                          <p:attrName>ppt_y</p:attrName>
                                        </p:attrNameLst>
                                      </p:cBhvr>
                                      <p:tavLst>
                                        <p:tav tm="0">
                                          <p:val>
                                            <p:strVal val="#ppt_y"/>
                                          </p:val>
                                        </p:tav>
                                        <p:tav tm="100000">
                                          <p:val>
                                            <p:strVal val="#ppt_y"/>
                                          </p:val>
                                        </p:tav>
                                      </p:tavLst>
                                    </p:anim>
                                  </p:childTnLst>
                                </p:cTn>
                              </p:par>
                              <p:par>
                                <p:cTn id="13" presetID="26" presetClass="emph" presetSubtype="0" dur="2000" repeatCount="indefinite" fill="hold" grpId="0" nodeType="withEffect">
                                  <p:stCondLst>
                                    <p:cond delay="0"/>
                                  </p:stCondLst>
                                  <p:childTnLst>
                                    <p:animEffect transition="out" filter="fade">
                                      <p:cBhvr>
                                        <p:cTn id="14" dur="2000" tmFilter="0, 0; .2, .5; .8, .5; 1, 0"/>
                                        <p:tgtEl>
                                          <p:spTgt spid="5"/>
                                        </p:tgtEl>
                                      </p:cBhvr>
                                    </p:animEffect>
                                    <p:animScale>
                                      <p:cBhvr>
                                        <p:cTn id="15" dur="1000" autoRev="1" fill="hold"/>
                                        <p:tgtEl>
                                          <p:spTgt spid="5"/>
                                        </p:tgtEl>
                                      </p:cBhvr>
                                      <p:by x="105000" y="105000"/>
                                    </p:animScale>
                                  </p:childTnLst>
                                </p:cTn>
                              </p:par>
                              <p:par>
                                <p:cTn id="16" presetID="26" presetClass="emph" presetSubtype="0" dur="2000" repeatCount="indefinite" fill="hold" grpId="0" nodeType="withEffect">
                                  <p:stCondLst>
                                    <p:cond delay="0"/>
                                  </p:stCondLst>
                                  <p:childTnLst>
                                    <p:animEffect transition="out" filter="fade">
                                      <p:cBhvr>
                                        <p:cTn id="17" dur="2000" tmFilter="0, 0; .2, .5; .8, .5; 1, 0"/>
                                        <p:tgtEl>
                                          <p:spTgt spid="22"/>
                                        </p:tgtEl>
                                      </p:cBhvr>
                                    </p:animEffect>
                                    <p:animScale>
                                      <p:cBhvr>
                                        <p:cTn id="18" dur="1000" autoRev="1" fill="hold"/>
                                        <p:tgtEl>
                                          <p:spTgt spid="22"/>
                                        </p:tgtEl>
                                      </p:cBhvr>
                                      <p:by x="105000" y="105000"/>
                                    </p:animScale>
                                  </p:childTnLst>
                                </p:cTn>
                              </p:par>
                              <p:par>
                                <p:cTn id="19" presetID="26" presetClass="emph" presetSubtype="0" dur="2000" repeatCount="indefinite" fill="hold" grpId="0" nodeType="withEffect">
                                  <p:stCondLst>
                                    <p:cond delay="0"/>
                                  </p:stCondLst>
                                  <p:childTnLst>
                                    <p:animEffect transition="out" filter="fade">
                                      <p:cBhvr>
                                        <p:cTn id="20" dur="2000" tmFilter="0, 0; .2, .5; .8, .5; 1, 0"/>
                                        <p:tgtEl>
                                          <p:spTgt spid="38"/>
                                        </p:tgtEl>
                                      </p:cBhvr>
                                    </p:animEffect>
                                    <p:animScale>
                                      <p:cBhvr>
                                        <p:cTn id="21" dur="1000" autoRev="1" fill="hold"/>
                                        <p:tgtEl>
                                          <p:spTgt spid="38"/>
                                        </p:tgtEl>
                                      </p:cBhvr>
                                      <p:by x="105000" y="105000"/>
                                    </p:animScale>
                                  </p:childTnLst>
                                </p:cTn>
                              </p:par>
                              <p:par>
                                <p:cTn id="22" presetID="26" presetClass="emph" presetSubtype="0" dur="2000" repeatCount="indefinite" fill="hold" grpId="0" nodeType="withEffect">
                                  <p:stCondLst>
                                    <p:cond delay="0"/>
                                  </p:stCondLst>
                                  <p:childTnLst>
                                    <p:animEffect transition="out" filter="fade">
                                      <p:cBhvr>
                                        <p:cTn id="23" dur="2000" tmFilter="0, 0; .2, .5; .8, .5; 1, 0"/>
                                        <p:tgtEl>
                                          <p:spTgt spid="203"/>
                                        </p:tgtEl>
                                      </p:cBhvr>
                                    </p:animEffect>
                                    <p:animScale>
                                      <p:cBhvr>
                                        <p:cTn id="24" dur="1000" autoRev="1" fill="hold"/>
                                        <p:tgtEl>
                                          <p:spTgt spid="203"/>
                                        </p:tgtEl>
                                      </p:cBhvr>
                                      <p:by x="105000" y="105000"/>
                                    </p:animScale>
                                  </p:childTnLst>
                                </p:cTn>
                              </p:par>
                              <p:par>
                                <p:cTn id="25" presetID="26" presetClass="emph" presetSubtype="0" dur="2000" repeatCount="indefinite" fill="hold" grpId="0" nodeType="withEffect">
                                  <p:stCondLst>
                                    <p:cond delay="0"/>
                                  </p:stCondLst>
                                  <p:childTnLst>
                                    <p:animEffect transition="out" filter="fade">
                                      <p:cBhvr>
                                        <p:cTn id="26" dur="2000" tmFilter="0, 0; .2, .5; .8, .5; 1, 0"/>
                                        <p:tgtEl>
                                          <p:spTgt spid="219"/>
                                        </p:tgtEl>
                                      </p:cBhvr>
                                    </p:animEffect>
                                    <p:animScale>
                                      <p:cBhvr>
                                        <p:cTn id="27" dur="1000" autoRev="1" fill="hold"/>
                                        <p:tgtEl>
                                          <p:spTgt spid="219"/>
                                        </p:tgtEl>
                                      </p:cBhvr>
                                      <p:by x="105000" y="105000"/>
                                    </p:animScale>
                                  </p:childTnLst>
                                </p:cTn>
                              </p:par>
                              <p:par>
                                <p:cTn id="28" presetID="26" presetClass="emph" presetSubtype="0" dur="2000" repeatCount="indefinite" fill="hold" grpId="0" nodeType="withEffect">
                                  <p:stCondLst>
                                    <p:cond delay="250"/>
                                  </p:stCondLst>
                                  <p:childTnLst>
                                    <p:animEffect transition="out" filter="fade">
                                      <p:cBhvr>
                                        <p:cTn id="29" dur="2000" tmFilter="0, 0; .2, .5; .8, .5; 1, 0"/>
                                        <p:tgtEl>
                                          <p:spTgt spid="6"/>
                                        </p:tgtEl>
                                      </p:cBhvr>
                                    </p:animEffect>
                                    <p:animScale>
                                      <p:cBhvr>
                                        <p:cTn id="30" dur="1000" autoRev="1" fill="hold"/>
                                        <p:tgtEl>
                                          <p:spTgt spid="6"/>
                                        </p:tgtEl>
                                      </p:cBhvr>
                                      <p:by x="105000" y="105000"/>
                                    </p:animScale>
                                  </p:childTnLst>
                                </p:cTn>
                              </p:par>
                              <p:par>
                                <p:cTn id="31" presetID="26" presetClass="emph" presetSubtype="0" dur="2000" repeatCount="indefinite" fill="hold" grpId="0" nodeType="withEffect">
                                  <p:stCondLst>
                                    <p:cond delay="250"/>
                                  </p:stCondLst>
                                  <p:childTnLst>
                                    <p:animEffect transition="out" filter="fade">
                                      <p:cBhvr>
                                        <p:cTn id="32" dur="2000" tmFilter="0, 0; .2, .5; .8, .5; 1, 0"/>
                                        <p:tgtEl>
                                          <p:spTgt spid="23"/>
                                        </p:tgtEl>
                                      </p:cBhvr>
                                    </p:animEffect>
                                    <p:animScale>
                                      <p:cBhvr>
                                        <p:cTn id="33" dur="1000" autoRev="1" fill="hold"/>
                                        <p:tgtEl>
                                          <p:spTgt spid="23"/>
                                        </p:tgtEl>
                                      </p:cBhvr>
                                      <p:by x="105000" y="105000"/>
                                    </p:animScale>
                                  </p:childTnLst>
                                </p:cTn>
                              </p:par>
                              <p:par>
                                <p:cTn id="34" presetID="26" presetClass="emph" presetSubtype="0" dur="2000" repeatCount="indefinite" fill="hold" grpId="0" nodeType="withEffect">
                                  <p:stCondLst>
                                    <p:cond delay="250"/>
                                  </p:stCondLst>
                                  <p:childTnLst>
                                    <p:animEffect transition="out" filter="fade">
                                      <p:cBhvr>
                                        <p:cTn id="35" dur="2000" tmFilter="0, 0; .2, .5; .8, .5; 1, 0"/>
                                        <p:tgtEl>
                                          <p:spTgt spid="39"/>
                                        </p:tgtEl>
                                      </p:cBhvr>
                                    </p:animEffect>
                                    <p:animScale>
                                      <p:cBhvr>
                                        <p:cTn id="36" dur="1000" autoRev="1" fill="hold"/>
                                        <p:tgtEl>
                                          <p:spTgt spid="39"/>
                                        </p:tgtEl>
                                      </p:cBhvr>
                                      <p:by x="105000" y="105000"/>
                                    </p:animScale>
                                  </p:childTnLst>
                                </p:cTn>
                              </p:par>
                              <p:par>
                                <p:cTn id="37" presetID="26" presetClass="emph" presetSubtype="0" dur="2000" repeatCount="indefinite" fill="hold" grpId="0" nodeType="withEffect">
                                  <p:stCondLst>
                                    <p:cond delay="250"/>
                                  </p:stCondLst>
                                  <p:childTnLst>
                                    <p:animEffect transition="out" filter="fade">
                                      <p:cBhvr>
                                        <p:cTn id="38" dur="2000" tmFilter="0, 0; .2, .5; .8, .5; 1, 0"/>
                                        <p:tgtEl>
                                          <p:spTgt spid="55"/>
                                        </p:tgtEl>
                                      </p:cBhvr>
                                    </p:animEffect>
                                    <p:animScale>
                                      <p:cBhvr>
                                        <p:cTn id="39" dur="1000" autoRev="1" fill="hold"/>
                                        <p:tgtEl>
                                          <p:spTgt spid="55"/>
                                        </p:tgtEl>
                                      </p:cBhvr>
                                      <p:by x="105000" y="105000"/>
                                    </p:animScale>
                                  </p:childTnLst>
                                </p:cTn>
                              </p:par>
                              <p:par>
                                <p:cTn id="40" presetID="26" presetClass="emph" presetSubtype="0" dur="2000" repeatCount="indefinite" fill="hold" grpId="0" nodeType="withEffect">
                                  <p:stCondLst>
                                    <p:cond delay="250"/>
                                  </p:stCondLst>
                                  <p:childTnLst>
                                    <p:animEffect transition="out" filter="fade">
                                      <p:cBhvr>
                                        <p:cTn id="41" dur="2000" tmFilter="0, 0; .2, .5; .8, .5; 1, 0"/>
                                        <p:tgtEl>
                                          <p:spTgt spid="187"/>
                                        </p:tgtEl>
                                      </p:cBhvr>
                                    </p:animEffect>
                                    <p:animScale>
                                      <p:cBhvr>
                                        <p:cTn id="42" dur="1000" autoRev="1" fill="hold"/>
                                        <p:tgtEl>
                                          <p:spTgt spid="187"/>
                                        </p:tgtEl>
                                      </p:cBhvr>
                                      <p:by x="105000" y="105000"/>
                                    </p:animScale>
                                  </p:childTnLst>
                                </p:cTn>
                              </p:par>
                              <p:par>
                                <p:cTn id="43" presetID="26" presetClass="emph" presetSubtype="0" dur="2000" repeatCount="indefinite" fill="hold" grpId="0" nodeType="withEffect">
                                  <p:stCondLst>
                                    <p:cond delay="250"/>
                                  </p:stCondLst>
                                  <p:childTnLst>
                                    <p:animEffect transition="out" filter="fade">
                                      <p:cBhvr>
                                        <p:cTn id="44" dur="2000" tmFilter="0, 0; .2, .5; .8, .5; 1, 0"/>
                                        <p:tgtEl>
                                          <p:spTgt spid="204"/>
                                        </p:tgtEl>
                                      </p:cBhvr>
                                    </p:animEffect>
                                    <p:animScale>
                                      <p:cBhvr>
                                        <p:cTn id="45" dur="1000" autoRev="1" fill="hold"/>
                                        <p:tgtEl>
                                          <p:spTgt spid="204"/>
                                        </p:tgtEl>
                                      </p:cBhvr>
                                      <p:by x="105000" y="105000"/>
                                    </p:animScale>
                                  </p:childTnLst>
                                </p:cTn>
                              </p:par>
                              <p:par>
                                <p:cTn id="46" presetID="26" presetClass="emph" presetSubtype="0" dur="2000" repeatCount="indefinite" fill="hold" grpId="0" nodeType="withEffect">
                                  <p:stCondLst>
                                    <p:cond delay="250"/>
                                  </p:stCondLst>
                                  <p:childTnLst>
                                    <p:animEffect transition="out" filter="fade">
                                      <p:cBhvr>
                                        <p:cTn id="47" dur="2000" tmFilter="0, 0; .2, .5; .8, .5; 1, 0"/>
                                        <p:tgtEl>
                                          <p:spTgt spid="220"/>
                                        </p:tgtEl>
                                      </p:cBhvr>
                                    </p:animEffect>
                                    <p:animScale>
                                      <p:cBhvr>
                                        <p:cTn id="48" dur="1000" autoRev="1" fill="hold"/>
                                        <p:tgtEl>
                                          <p:spTgt spid="220"/>
                                        </p:tgtEl>
                                      </p:cBhvr>
                                      <p:by x="105000" y="105000"/>
                                    </p:animScale>
                                  </p:childTnLst>
                                </p:cTn>
                              </p:par>
                              <p:par>
                                <p:cTn id="49" presetID="26" presetClass="emph" presetSubtype="0" dur="2000" repeatCount="indefinite" fill="hold" grpId="0" nodeType="withEffect">
                                  <p:stCondLst>
                                    <p:cond delay="500"/>
                                  </p:stCondLst>
                                  <p:childTnLst>
                                    <p:animEffect transition="out" filter="fade">
                                      <p:cBhvr>
                                        <p:cTn id="50" dur="2000" tmFilter="0, 0; .2, .5; .8, .5; 1, 0"/>
                                        <p:tgtEl>
                                          <p:spTgt spid="7"/>
                                        </p:tgtEl>
                                      </p:cBhvr>
                                    </p:animEffect>
                                    <p:animScale>
                                      <p:cBhvr>
                                        <p:cTn id="51" dur="1000" autoRev="1" fill="hold"/>
                                        <p:tgtEl>
                                          <p:spTgt spid="7"/>
                                        </p:tgtEl>
                                      </p:cBhvr>
                                      <p:by x="105000" y="105000"/>
                                    </p:animScale>
                                  </p:childTnLst>
                                </p:cTn>
                              </p:par>
                              <p:par>
                                <p:cTn id="52" presetID="26" presetClass="emph" presetSubtype="0" dur="2000" repeatCount="indefinite" fill="hold" grpId="0" nodeType="withEffect">
                                  <p:stCondLst>
                                    <p:cond delay="500"/>
                                  </p:stCondLst>
                                  <p:childTnLst>
                                    <p:animEffect transition="out" filter="fade">
                                      <p:cBhvr>
                                        <p:cTn id="53" dur="2000" tmFilter="0, 0; .2, .5; .8, .5; 1, 0"/>
                                        <p:tgtEl>
                                          <p:spTgt spid="24"/>
                                        </p:tgtEl>
                                      </p:cBhvr>
                                    </p:animEffect>
                                    <p:animScale>
                                      <p:cBhvr>
                                        <p:cTn id="54" dur="1000" autoRev="1" fill="hold"/>
                                        <p:tgtEl>
                                          <p:spTgt spid="24"/>
                                        </p:tgtEl>
                                      </p:cBhvr>
                                      <p:by x="105000" y="105000"/>
                                    </p:animScale>
                                  </p:childTnLst>
                                </p:cTn>
                              </p:par>
                              <p:par>
                                <p:cTn id="55" presetID="26" presetClass="emph" presetSubtype="0" dur="2000" repeatCount="indefinite" fill="hold" grpId="0" nodeType="withEffect">
                                  <p:stCondLst>
                                    <p:cond delay="500"/>
                                  </p:stCondLst>
                                  <p:childTnLst>
                                    <p:animEffect transition="out" filter="fade">
                                      <p:cBhvr>
                                        <p:cTn id="56" dur="2000" tmFilter="0, 0; .2, .5; .8, .5; 1, 0"/>
                                        <p:tgtEl>
                                          <p:spTgt spid="40"/>
                                        </p:tgtEl>
                                      </p:cBhvr>
                                    </p:animEffect>
                                    <p:animScale>
                                      <p:cBhvr>
                                        <p:cTn id="57" dur="1000" autoRev="1" fill="hold"/>
                                        <p:tgtEl>
                                          <p:spTgt spid="40"/>
                                        </p:tgtEl>
                                      </p:cBhvr>
                                      <p:by x="105000" y="105000"/>
                                    </p:animScale>
                                  </p:childTnLst>
                                </p:cTn>
                              </p:par>
                              <p:par>
                                <p:cTn id="58" presetID="26" presetClass="emph" presetSubtype="0" dur="2000" repeatCount="indefinite" fill="hold" grpId="0" nodeType="withEffect">
                                  <p:stCondLst>
                                    <p:cond delay="500"/>
                                  </p:stCondLst>
                                  <p:childTnLst>
                                    <p:animEffect transition="out" filter="fade">
                                      <p:cBhvr>
                                        <p:cTn id="59" dur="2000" tmFilter="0, 0; .2, .5; .8, .5; 1, 0"/>
                                        <p:tgtEl>
                                          <p:spTgt spid="56"/>
                                        </p:tgtEl>
                                      </p:cBhvr>
                                    </p:animEffect>
                                    <p:animScale>
                                      <p:cBhvr>
                                        <p:cTn id="60" dur="1000" autoRev="1" fill="hold"/>
                                        <p:tgtEl>
                                          <p:spTgt spid="56"/>
                                        </p:tgtEl>
                                      </p:cBhvr>
                                      <p:by x="105000" y="105000"/>
                                    </p:animScale>
                                  </p:childTnLst>
                                </p:cTn>
                              </p:par>
                              <p:par>
                                <p:cTn id="61" presetID="26" presetClass="emph" presetSubtype="0" dur="2000" repeatCount="indefinite" fill="hold" grpId="0" nodeType="withEffect">
                                  <p:stCondLst>
                                    <p:cond delay="500"/>
                                  </p:stCondLst>
                                  <p:childTnLst>
                                    <p:animEffect transition="out" filter="fade">
                                      <p:cBhvr>
                                        <p:cTn id="62" dur="2000" tmFilter="0, 0; .2, .5; .8, .5; 1, 0"/>
                                        <p:tgtEl>
                                          <p:spTgt spid="72"/>
                                        </p:tgtEl>
                                      </p:cBhvr>
                                    </p:animEffect>
                                    <p:animScale>
                                      <p:cBhvr>
                                        <p:cTn id="63" dur="1000" autoRev="1" fill="hold"/>
                                        <p:tgtEl>
                                          <p:spTgt spid="72"/>
                                        </p:tgtEl>
                                      </p:cBhvr>
                                      <p:by x="105000" y="105000"/>
                                    </p:animScale>
                                  </p:childTnLst>
                                </p:cTn>
                              </p:par>
                              <p:par>
                                <p:cTn id="64" presetID="26" presetClass="emph" presetSubtype="0" dur="2000" repeatCount="indefinite" fill="hold" grpId="0" nodeType="withEffect">
                                  <p:stCondLst>
                                    <p:cond delay="500"/>
                                  </p:stCondLst>
                                  <p:childTnLst>
                                    <p:animEffect transition="out" filter="fade">
                                      <p:cBhvr>
                                        <p:cTn id="65" dur="2000" tmFilter="0, 0; .2, .5; .8, .5; 1, 0"/>
                                        <p:tgtEl>
                                          <p:spTgt spid="171"/>
                                        </p:tgtEl>
                                      </p:cBhvr>
                                    </p:animEffect>
                                    <p:animScale>
                                      <p:cBhvr>
                                        <p:cTn id="66" dur="1000" autoRev="1" fill="hold"/>
                                        <p:tgtEl>
                                          <p:spTgt spid="171"/>
                                        </p:tgtEl>
                                      </p:cBhvr>
                                      <p:by x="105000" y="105000"/>
                                    </p:animScale>
                                  </p:childTnLst>
                                </p:cTn>
                              </p:par>
                              <p:par>
                                <p:cTn id="67" presetID="26" presetClass="emph" presetSubtype="0" dur="2000" repeatCount="indefinite" fill="hold" grpId="0" nodeType="withEffect">
                                  <p:stCondLst>
                                    <p:cond delay="500"/>
                                  </p:stCondLst>
                                  <p:childTnLst>
                                    <p:animEffect transition="out" filter="fade">
                                      <p:cBhvr>
                                        <p:cTn id="68" dur="2000" tmFilter="0, 0; .2, .5; .8, .5; 1, 0"/>
                                        <p:tgtEl>
                                          <p:spTgt spid="188"/>
                                        </p:tgtEl>
                                      </p:cBhvr>
                                    </p:animEffect>
                                    <p:animScale>
                                      <p:cBhvr>
                                        <p:cTn id="69" dur="1000" autoRev="1" fill="hold"/>
                                        <p:tgtEl>
                                          <p:spTgt spid="188"/>
                                        </p:tgtEl>
                                      </p:cBhvr>
                                      <p:by x="105000" y="105000"/>
                                    </p:animScale>
                                  </p:childTnLst>
                                </p:cTn>
                              </p:par>
                              <p:par>
                                <p:cTn id="70" presetID="26" presetClass="emph" presetSubtype="0" dur="2000" repeatCount="indefinite" fill="hold" grpId="0" nodeType="withEffect">
                                  <p:stCondLst>
                                    <p:cond delay="500"/>
                                  </p:stCondLst>
                                  <p:childTnLst>
                                    <p:animEffect transition="out" filter="fade">
                                      <p:cBhvr>
                                        <p:cTn id="71" dur="2000" tmFilter="0, 0; .2, .5; .8, .5; 1, 0"/>
                                        <p:tgtEl>
                                          <p:spTgt spid="205"/>
                                        </p:tgtEl>
                                      </p:cBhvr>
                                    </p:animEffect>
                                    <p:animScale>
                                      <p:cBhvr>
                                        <p:cTn id="72" dur="1000" autoRev="1" fill="hold"/>
                                        <p:tgtEl>
                                          <p:spTgt spid="205"/>
                                        </p:tgtEl>
                                      </p:cBhvr>
                                      <p:by x="105000" y="105000"/>
                                    </p:animScale>
                                  </p:childTnLst>
                                </p:cTn>
                              </p:par>
                              <p:par>
                                <p:cTn id="73" presetID="26" presetClass="emph" presetSubtype="0" dur="2000" repeatCount="indefinite" fill="hold" grpId="0" nodeType="withEffect">
                                  <p:stCondLst>
                                    <p:cond delay="500"/>
                                  </p:stCondLst>
                                  <p:childTnLst>
                                    <p:animEffect transition="out" filter="fade">
                                      <p:cBhvr>
                                        <p:cTn id="74" dur="2000" tmFilter="0, 0; .2, .5; .8, .5; 1, 0"/>
                                        <p:tgtEl>
                                          <p:spTgt spid="221"/>
                                        </p:tgtEl>
                                      </p:cBhvr>
                                    </p:animEffect>
                                    <p:animScale>
                                      <p:cBhvr>
                                        <p:cTn id="75" dur="1000" autoRev="1" fill="hold"/>
                                        <p:tgtEl>
                                          <p:spTgt spid="221"/>
                                        </p:tgtEl>
                                      </p:cBhvr>
                                      <p:by x="105000" y="105000"/>
                                    </p:animScale>
                                  </p:childTnLst>
                                </p:cTn>
                              </p:par>
                              <p:par>
                                <p:cTn id="76" presetID="26" presetClass="emph" presetSubtype="0" dur="2000" repeatCount="indefinite" fill="hold" grpId="0" nodeType="withEffect">
                                  <p:stCondLst>
                                    <p:cond delay="750"/>
                                  </p:stCondLst>
                                  <p:childTnLst>
                                    <p:animEffect transition="out" filter="fade">
                                      <p:cBhvr>
                                        <p:cTn id="77" dur="2000" tmFilter="0, 0; .2, .5; .8, .5; 1, 0"/>
                                        <p:tgtEl>
                                          <p:spTgt spid="8"/>
                                        </p:tgtEl>
                                      </p:cBhvr>
                                    </p:animEffect>
                                    <p:animScale>
                                      <p:cBhvr>
                                        <p:cTn id="78" dur="1000" autoRev="1" fill="hold"/>
                                        <p:tgtEl>
                                          <p:spTgt spid="8"/>
                                        </p:tgtEl>
                                      </p:cBhvr>
                                      <p:by x="105000" y="105000"/>
                                    </p:animScale>
                                  </p:childTnLst>
                                </p:cTn>
                              </p:par>
                              <p:par>
                                <p:cTn id="79" presetID="26" presetClass="emph" presetSubtype="0" dur="2000" repeatCount="indefinite" fill="hold" grpId="0" nodeType="withEffect">
                                  <p:stCondLst>
                                    <p:cond delay="750"/>
                                  </p:stCondLst>
                                  <p:childTnLst>
                                    <p:animEffect transition="out" filter="fade">
                                      <p:cBhvr>
                                        <p:cTn id="80" dur="2000" tmFilter="0, 0; .2, .5; .8, .5; 1, 0"/>
                                        <p:tgtEl>
                                          <p:spTgt spid="25"/>
                                        </p:tgtEl>
                                      </p:cBhvr>
                                    </p:animEffect>
                                    <p:animScale>
                                      <p:cBhvr>
                                        <p:cTn id="81" dur="1000" autoRev="1" fill="hold"/>
                                        <p:tgtEl>
                                          <p:spTgt spid="25"/>
                                        </p:tgtEl>
                                      </p:cBhvr>
                                      <p:by x="105000" y="105000"/>
                                    </p:animScale>
                                  </p:childTnLst>
                                </p:cTn>
                              </p:par>
                              <p:par>
                                <p:cTn id="82" presetID="26" presetClass="emph" presetSubtype="0" dur="2000" repeatCount="indefinite" fill="hold" grpId="0" nodeType="withEffect">
                                  <p:stCondLst>
                                    <p:cond delay="750"/>
                                  </p:stCondLst>
                                  <p:childTnLst>
                                    <p:animEffect transition="out" filter="fade">
                                      <p:cBhvr>
                                        <p:cTn id="83" dur="2000" tmFilter="0, 0; .2, .5; .8, .5; 1, 0"/>
                                        <p:tgtEl>
                                          <p:spTgt spid="41"/>
                                        </p:tgtEl>
                                      </p:cBhvr>
                                    </p:animEffect>
                                    <p:animScale>
                                      <p:cBhvr>
                                        <p:cTn id="84" dur="1000" autoRev="1" fill="hold"/>
                                        <p:tgtEl>
                                          <p:spTgt spid="41"/>
                                        </p:tgtEl>
                                      </p:cBhvr>
                                      <p:by x="105000" y="105000"/>
                                    </p:animScale>
                                  </p:childTnLst>
                                </p:cTn>
                              </p:par>
                              <p:par>
                                <p:cTn id="85" presetID="26" presetClass="emph" presetSubtype="0" dur="2000" repeatCount="indefinite" fill="hold" grpId="0" nodeType="withEffect">
                                  <p:stCondLst>
                                    <p:cond delay="750"/>
                                  </p:stCondLst>
                                  <p:childTnLst>
                                    <p:animEffect transition="out" filter="fade">
                                      <p:cBhvr>
                                        <p:cTn id="86" dur="2000" tmFilter="0, 0; .2, .5; .8, .5; 1, 0"/>
                                        <p:tgtEl>
                                          <p:spTgt spid="57"/>
                                        </p:tgtEl>
                                      </p:cBhvr>
                                    </p:animEffect>
                                    <p:animScale>
                                      <p:cBhvr>
                                        <p:cTn id="87" dur="1000" autoRev="1" fill="hold"/>
                                        <p:tgtEl>
                                          <p:spTgt spid="57"/>
                                        </p:tgtEl>
                                      </p:cBhvr>
                                      <p:by x="105000" y="105000"/>
                                    </p:animScale>
                                  </p:childTnLst>
                                </p:cTn>
                              </p:par>
                              <p:par>
                                <p:cTn id="88" presetID="26" presetClass="emph" presetSubtype="0" dur="2000" repeatCount="indefinite" fill="hold" grpId="0" nodeType="withEffect">
                                  <p:stCondLst>
                                    <p:cond delay="750"/>
                                  </p:stCondLst>
                                  <p:childTnLst>
                                    <p:animEffect transition="out" filter="fade">
                                      <p:cBhvr>
                                        <p:cTn id="89" dur="2000" tmFilter="0, 0; .2, .5; .8, .5; 1, 0"/>
                                        <p:tgtEl>
                                          <p:spTgt spid="73"/>
                                        </p:tgtEl>
                                      </p:cBhvr>
                                    </p:animEffect>
                                    <p:animScale>
                                      <p:cBhvr>
                                        <p:cTn id="90" dur="1000" autoRev="1" fill="hold"/>
                                        <p:tgtEl>
                                          <p:spTgt spid="73"/>
                                        </p:tgtEl>
                                      </p:cBhvr>
                                      <p:by x="105000" y="105000"/>
                                    </p:animScale>
                                  </p:childTnLst>
                                </p:cTn>
                              </p:par>
                              <p:par>
                                <p:cTn id="91" presetID="26" presetClass="emph" presetSubtype="0" dur="2000" repeatCount="indefinite" fill="hold" grpId="0" nodeType="withEffect">
                                  <p:stCondLst>
                                    <p:cond delay="750"/>
                                  </p:stCondLst>
                                  <p:childTnLst>
                                    <p:animEffect transition="out" filter="fade">
                                      <p:cBhvr>
                                        <p:cTn id="92" dur="2000" tmFilter="0, 0; .2, .5; .8, .5; 1, 0"/>
                                        <p:tgtEl>
                                          <p:spTgt spid="89"/>
                                        </p:tgtEl>
                                      </p:cBhvr>
                                    </p:animEffect>
                                    <p:animScale>
                                      <p:cBhvr>
                                        <p:cTn id="93" dur="1000" autoRev="1" fill="hold"/>
                                        <p:tgtEl>
                                          <p:spTgt spid="89"/>
                                        </p:tgtEl>
                                      </p:cBhvr>
                                      <p:by x="105000" y="105000"/>
                                    </p:animScale>
                                  </p:childTnLst>
                                </p:cTn>
                              </p:par>
                              <p:par>
                                <p:cTn id="94" presetID="26" presetClass="emph" presetSubtype="0" dur="2000" repeatCount="indefinite" fill="hold" grpId="0" nodeType="withEffect">
                                  <p:stCondLst>
                                    <p:cond delay="750"/>
                                  </p:stCondLst>
                                  <p:childTnLst>
                                    <p:animEffect transition="out" filter="fade">
                                      <p:cBhvr>
                                        <p:cTn id="95" dur="2000" tmFilter="0, 0; .2, .5; .8, .5; 1, 0"/>
                                        <p:tgtEl>
                                          <p:spTgt spid="155"/>
                                        </p:tgtEl>
                                      </p:cBhvr>
                                    </p:animEffect>
                                    <p:animScale>
                                      <p:cBhvr>
                                        <p:cTn id="96" dur="1000" autoRev="1" fill="hold"/>
                                        <p:tgtEl>
                                          <p:spTgt spid="155"/>
                                        </p:tgtEl>
                                      </p:cBhvr>
                                      <p:by x="105000" y="105000"/>
                                    </p:animScale>
                                  </p:childTnLst>
                                </p:cTn>
                              </p:par>
                              <p:par>
                                <p:cTn id="97" presetID="26" presetClass="emph" presetSubtype="0" dur="2000" repeatCount="indefinite" fill="hold" grpId="0" nodeType="withEffect">
                                  <p:stCondLst>
                                    <p:cond delay="750"/>
                                  </p:stCondLst>
                                  <p:childTnLst>
                                    <p:animEffect transition="out" filter="fade">
                                      <p:cBhvr>
                                        <p:cTn id="98" dur="2000" tmFilter="0, 0; .2, .5; .8, .5; 1, 0"/>
                                        <p:tgtEl>
                                          <p:spTgt spid="172"/>
                                        </p:tgtEl>
                                      </p:cBhvr>
                                    </p:animEffect>
                                    <p:animScale>
                                      <p:cBhvr>
                                        <p:cTn id="99" dur="1000" autoRev="1" fill="hold"/>
                                        <p:tgtEl>
                                          <p:spTgt spid="172"/>
                                        </p:tgtEl>
                                      </p:cBhvr>
                                      <p:by x="105000" y="105000"/>
                                    </p:animScale>
                                  </p:childTnLst>
                                </p:cTn>
                              </p:par>
                              <p:par>
                                <p:cTn id="100" presetID="26" presetClass="emph" presetSubtype="0" dur="2000" repeatCount="indefinite" fill="hold" grpId="0" nodeType="withEffect">
                                  <p:stCondLst>
                                    <p:cond delay="750"/>
                                  </p:stCondLst>
                                  <p:childTnLst>
                                    <p:animEffect transition="out" filter="fade">
                                      <p:cBhvr>
                                        <p:cTn id="101" dur="2000" tmFilter="0, 0; .2, .5; .8, .5; 1, 0"/>
                                        <p:tgtEl>
                                          <p:spTgt spid="189"/>
                                        </p:tgtEl>
                                      </p:cBhvr>
                                    </p:animEffect>
                                    <p:animScale>
                                      <p:cBhvr>
                                        <p:cTn id="102" dur="1000" autoRev="1" fill="hold"/>
                                        <p:tgtEl>
                                          <p:spTgt spid="189"/>
                                        </p:tgtEl>
                                      </p:cBhvr>
                                      <p:by x="105000" y="105000"/>
                                    </p:animScale>
                                  </p:childTnLst>
                                </p:cTn>
                              </p:par>
                              <p:par>
                                <p:cTn id="103" presetID="26" presetClass="emph" presetSubtype="0" dur="2000" repeatCount="indefinite" fill="hold" grpId="0" nodeType="withEffect">
                                  <p:stCondLst>
                                    <p:cond delay="750"/>
                                  </p:stCondLst>
                                  <p:childTnLst>
                                    <p:animEffect transition="out" filter="fade">
                                      <p:cBhvr>
                                        <p:cTn id="104" dur="2000" tmFilter="0, 0; .2, .5; .8, .5; 1, 0"/>
                                        <p:tgtEl>
                                          <p:spTgt spid="206"/>
                                        </p:tgtEl>
                                      </p:cBhvr>
                                    </p:animEffect>
                                    <p:animScale>
                                      <p:cBhvr>
                                        <p:cTn id="105" dur="1000" autoRev="1" fill="hold"/>
                                        <p:tgtEl>
                                          <p:spTgt spid="206"/>
                                        </p:tgtEl>
                                      </p:cBhvr>
                                      <p:by x="105000" y="105000"/>
                                    </p:animScale>
                                  </p:childTnLst>
                                </p:cTn>
                              </p:par>
                              <p:par>
                                <p:cTn id="106" presetID="26" presetClass="emph" presetSubtype="0" dur="2000" repeatCount="indefinite" fill="hold" grpId="0" nodeType="withEffect">
                                  <p:stCondLst>
                                    <p:cond delay="750"/>
                                  </p:stCondLst>
                                  <p:childTnLst>
                                    <p:animEffect transition="out" filter="fade">
                                      <p:cBhvr>
                                        <p:cTn id="107" dur="2000" tmFilter="0, 0; .2, .5; .8, .5; 1, 0"/>
                                        <p:tgtEl>
                                          <p:spTgt spid="222"/>
                                        </p:tgtEl>
                                      </p:cBhvr>
                                    </p:animEffect>
                                    <p:animScale>
                                      <p:cBhvr>
                                        <p:cTn id="108" dur="1000" autoRev="1" fill="hold"/>
                                        <p:tgtEl>
                                          <p:spTgt spid="222"/>
                                        </p:tgtEl>
                                      </p:cBhvr>
                                      <p:by x="105000" y="105000"/>
                                    </p:animScale>
                                  </p:childTnLst>
                                </p:cTn>
                              </p:par>
                              <p:par>
                                <p:cTn id="109" presetID="26" presetClass="emph" presetSubtype="0" dur="2000" repeatCount="indefinite" fill="hold" grpId="0" nodeType="withEffect">
                                  <p:stCondLst>
                                    <p:cond delay="1000"/>
                                  </p:stCondLst>
                                  <p:childTnLst>
                                    <p:animEffect transition="out" filter="fade">
                                      <p:cBhvr>
                                        <p:cTn id="110" dur="2000" tmFilter="0, 0; .2, .5; .8, .5; 1, 0"/>
                                        <p:tgtEl>
                                          <p:spTgt spid="11"/>
                                        </p:tgtEl>
                                      </p:cBhvr>
                                    </p:animEffect>
                                    <p:animScale>
                                      <p:cBhvr>
                                        <p:cTn id="111" dur="1000" autoRev="1" fill="hold"/>
                                        <p:tgtEl>
                                          <p:spTgt spid="11"/>
                                        </p:tgtEl>
                                      </p:cBhvr>
                                      <p:by x="105000" y="105000"/>
                                    </p:animScale>
                                  </p:childTnLst>
                                </p:cTn>
                              </p:par>
                              <p:par>
                                <p:cTn id="112" presetID="26" presetClass="emph" presetSubtype="0" dur="2000" repeatCount="indefinite" fill="hold" grpId="0" nodeType="withEffect">
                                  <p:stCondLst>
                                    <p:cond delay="1000"/>
                                  </p:stCondLst>
                                  <p:childTnLst>
                                    <p:animEffect transition="out" filter="fade">
                                      <p:cBhvr>
                                        <p:cTn id="113" dur="2000" tmFilter="0, 0; .2, .5; .8, .5; 1, 0"/>
                                        <p:tgtEl>
                                          <p:spTgt spid="26"/>
                                        </p:tgtEl>
                                      </p:cBhvr>
                                    </p:animEffect>
                                    <p:animScale>
                                      <p:cBhvr>
                                        <p:cTn id="114" dur="1000" autoRev="1" fill="hold"/>
                                        <p:tgtEl>
                                          <p:spTgt spid="26"/>
                                        </p:tgtEl>
                                      </p:cBhvr>
                                      <p:by x="105000" y="105000"/>
                                    </p:animScale>
                                  </p:childTnLst>
                                </p:cTn>
                              </p:par>
                              <p:par>
                                <p:cTn id="115" presetID="26" presetClass="emph" presetSubtype="0" dur="2000" repeatCount="indefinite" fill="hold" grpId="0" nodeType="withEffect">
                                  <p:stCondLst>
                                    <p:cond delay="1000"/>
                                  </p:stCondLst>
                                  <p:childTnLst>
                                    <p:animEffect transition="out" filter="fade">
                                      <p:cBhvr>
                                        <p:cTn id="116" dur="2000" tmFilter="0, 0; .2, .5; .8, .5; 1, 0"/>
                                        <p:tgtEl>
                                          <p:spTgt spid="42"/>
                                        </p:tgtEl>
                                      </p:cBhvr>
                                    </p:animEffect>
                                    <p:animScale>
                                      <p:cBhvr>
                                        <p:cTn id="117" dur="1000" autoRev="1" fill="hold"/>
                                        <p:tgtEl>
                                          <p:spTgt spid="42"/>
                                        </p:tgtEl>
                                      </p:cBhvr>
                                      <p:by x="105000" y="105000"/>
                                    </p:animScale>
                                  </p:childTnLst>
                                </p:cTn>
                              </p:par>
                              <p:par>
                                <p:cTn id="118" presetID="26" presetClass="emph" presetSubtype="0" dur="2000" repeatCount="indefinite" fill="hold" grpId="0" nodeType="withEffect">
                                  <p:stCondLst>
                                    <p:cond delay="1000"/>
                                  </p:stCondLst>
                                  <p:childTnLst>
                                    <p:animEffect transition="out" filter="fade">
                                      <p:cBhvr>
                                        <p:cTn id="119" dur="2000" tmFilter="0, 0; .2, .5; .8, .5; 1, 0"/>
                                        <p:tgtEl>
                                          <p:spTgt spid="58"/>
                                        </p:tgtEl>
                                      </p:cBhvr>
                                    </p:animEffect>
                                    <p:animScale>
                                      <p:cBhvr>
                                        <p:cTn id="120" dur="1000" autoRev="1" fill="hold"/>
                                        <p:tgtEl>
                                          <p:spTgt spid="58"/>
                                        </p:tgtEl>
                                      </p:cBhvr>
                                      <p:by x="105000" y="105000"/>
                                    </p:animScale>
                                  </p:childTnLst>
                                </p:cTn>
                              </p:par>
                              <p:par>
                                <p:cTn id="121" presetID="26" presetClass="emph" presetSubtype="0" dur="2000" repeatCount="indefinite" fill="hold" grpId="0" nodeType="withEffect">
                                  <p:stCondLst>
                                    <p:cond delay="1000"/>
                                  </p:stCondLst>
                                  <p:childTnLst>
                                    <p:animEffect transition="out" filter="fade">
                                      <p:cBhvr>
                                        <p:cTn id="122" dur="2000" tmFilter="0, 0; .2, .5; .8, .5; 1, 0"/>
                                        <p:tgtEl>
                                          <p:spTgt spid="74"/>
                                        </p:tgtEl>
                                      </p:cBhvr>
                                    </p:animEffect>
                                    <p:animScale>
                                      <p:cBhvr>
                                        <p:cTn id="123" dur="1000" autoRev="1" fill="hold"/>
                                        <p:tgtEl>
                                          <p:spTgt spid="74"/>
                                        </p:tgtEl>
                                      </p:cBhvr>
                                      <p:by x="105000" y="105000"/>
                                    </p:animScale>
                                  </p:childTnLst>
                                </p:cTn>
                              </p:par>
                              <p:par>
                                <p:cTn id="124" presetID="26" presetClass="emph" presetSubtype="0" dur="2000" repeatCount="indefinite" fill="hold" grpId="0" nodeType="withEffect">
                                  <p:stCondLst>
                                    <p:cond delay="1000"/>
                                  </p:stCondLst>
                                  <p:childTnLst>
                                    <p:animEffect transition="out" filter="fade">
                                      <p:cBhvr>
                                        <p:cTn id="125" dur="2000" tmFilter="0, 0; .2, .5; .8, .5; 1, 0"/>
                                        <p:tgtEl>
                                          <p:spTgt spid="90"/>
                                        </p:tgtEl>
                                      </p:cBhvr>
                                    </p:animEffect>
                                    <p:animScale>
                                      <p:cBhvr>
                                        <p:cTn id="126" dur="1000" autoRev="1" fill="hold"/>
                                        <p:tgtEl>
                                          <p:spTgt spid="90"/>
                                        </p:tgtEl>
                                      </p:cBhvr>
                                      <p:by x="105000" y="105000"/>
                                    </p:animScale>
                                  </p:childTnLst>
                                </p:cTn>
                              </p:par>
                              <p:par>
                                <p:cTn id="127" presetID="26" presetClass="emph" presetSubtype="0" dur="2000" repeatCount="indefinite" fill="hold" grpId="0" nodeType="withEffect">
                                  <p:stCondLst>
                                    <p:cond delay="1000"/>
                                  </p:stCondLst>
                                  <p:childTnLst>
                                    <p:animEffect transition="out" filter="fade">
                                      <p:cBhvr>
                                        <p:cTn id="128" dur="2000" tmFilter="0, 0; .2, .5; .8, .5; 1, 0"/>
                                        <p:tgtEl>
                                          <p:spTgt spid="106"/>
                                        </p:tgtEl>
                                      </p:cBhvr>
                                    </p:animEffect>
                                    <p:animScale>
                                      <p:cBhvr>
                                        <p:cTn id="129" dur="1000" autoRev="1" fill="hold"/>
                                        <p:tgtEl>
                                          <p:spTgt spid="106"/>
                                        </p:tgtEl>
                                      </p:cBhvr>
                                      <p:by x="105000" y="105000"/>
                                    </p:animScale>
                                  </p:childTnLst>
                                </p:cTn>
                              </p:par>
                              <p:par>
                                <p:cTn id="130" presetID="26" presetClass="emph" presetSubtype="0" dur="2000" repeatCount="indefinite" fill="hold" grpId="0" nodeType="withEffect">
                                  <p:stCondLst>
                                    <p:cond delay="1000"/>
                                  </p:stCondLst>
                                  <p:childTnLst>
                                    <p:animEffect transition="out" filter="fade">
                                      <p:cBhvr>
                                        <p:cTn id="131" dur="2000" tmFilter="0, 0; .2, .5; .8, .5; 1, 0"/>
                                        <p:tgtEl>
                                          <p:spTgt spid="139"/>
                                        </p:tgtEl>
                                      </p:cBhvr>
                                    </p:animEffect>
                                    <p:animScale>
                                      <p:cBhvr>
                                        <p:cTn id="132" dur="1000" autoRev="1" fill="hold"/>
                                        <p:tgtEl>
                                          <p:spTgt spid="139"/>
                                        </p:tgtEl>
                                      </p:cBhvr>
                                      <p:by x="105000" y="105000"/>
                                    </p:animScale>
                                  </p:childTnLst>
                                </p:cTn>
                              </p:par>
                              <p:par>
                                <p:cTn id="133" presetID="26" presetClass="emph" presetSubtype="0" dur="2000" repeatCount="indefinite" fill="hold" grpId="0" nodeType="withEffect">
                                  <p:stCondLst>
                                    <p:cond delay="1000"/>
                                  </p:stCondLst>
                                  <p:childTnLst>
                                    <p:animEffect transition="out" filter="fade">
                                      <p:cBhvr>
                                        <p:cTn id="134" dur="2000" tmFilter="0, 0; .2, .5; .8, .5; 1, 0"/>
                                        <p:tgtEl>
                                          <p:spTgt spid="156"/>
                                        </p:tgtEl>
                                      </p:cBhvr>
                                    </p:animEffect>
                                    <p:animScale>
                                      <p:cBhvr>
                                        <p:cTn id="135" dur="1000" autoRev="1" fill="hold"/>
                                        <p:tgtEl>
                                          <p:spTgt spid="156"/>
                                        </p:tgtEl>
                                      </p:cBhvr>
                                      <p:by x="105000" y="105000"/>
                                    </p:animScale>
                                  </p:childTnLst>
                                </p:cTn>
                              </p:par>
                              <p:par>
                                <p:cTn id="136" presetID="26" presetClass="emph" presetSubtype="0" dur="2000" repeatCount="indefinite" fill="hold" grpId="0" nodeType="withEffect">
                                  <p:stCondLst>
                                    <p:cond delay="1000"/>
                                  </p:stCondLst>
                                  <p:childTnLst>
                                    <p:animEffect transition="out" filter="fade">
                                      <p:cBhvr>
                                        <p:cTn id="137" dur="2000" tmFilter="0, 0; .2, .5; .8, .5; 1, 0"/>
                                        <p:tgtEl>
                                          <p:spTgt spid="173"/>
                                        </p:tgtEl>
                                      </p:cBhvr>
                                    </p:animEffect>
                                    <p:animScale>
                                      <p:cBhvr>
                                        <p:cTn id="138" dur="1000" autoRev="1" fill="hold"/>
                                        <p:tgtEl>
                                          <p:spTgt spid="173"/>
                                        </p:tgtEl>
                                      </p:cBhvr>
                                      <p:by x="105000" y="105000"/>
                                    </p:animScale>
                                  </p:childTnLst>
                                </p:cTn>
                              </p:par>
                              <p:par>
                                <p:cTn id="139" presetID="26" presetClass="emph" presetSubtype="0" dur="2000" repeatCount="indefinite" fill="hold" grpId="0" nodeType="withEffect">
                                  <p:stCondLst>
                                    <p:cond delay="1000"/>
                                  </p:stCondLst>
                                  <p:childTnLst>
                                    <p:animEffect transition="out" filter="fade">
                                      <p:cBhvr>
                                        <p:cTn id="140" dur="2000" tmFilter="0, 0; .2, .5; .8, .5; 1, 0"/>
                                        <p:tgtEl>
                                          <p:spTgt spid="190"/>
                                        </p:tgtEl>
                                      </p:cBhvr>
                                    </p:animEffect>
                                    <p:animScale>
                                      <p:cBhvr>
                                        <p:cTn id="141" dur="1000" autoRev="1" fill="hold"/>
                                        <p:tgtEl>
                                          <p:spTgt spid="190"/>
                                        </p:tgtEl>
                                      </p:cBhvr>
                                      <p:by x="105000" y="105000"/>
                                    </p:animScale>
                                  </p:childTnLst>
                                </p:cTn>
                              </p:par>
                              <p:par>
                                <p:cTn id="142" presetID="26" presetClass="emph" presetSubtype="0" dur="2000" repeatCount="indefinite" fill="hold" grpId="0" nodeType="withEffect">
                                  <p:stCondLst>
                                    <p:cond delay="1000"/>
                                  </p:stCondLst>
                                  <p:childTnLst>
                                    <p:animEffect transition="out" filter="fade">
                                      <p:cBhvr>
                                        <p:cTn id="143" dur="2000" tmFilter="0, 0; .2, .5; .8, .5; 1, 0"/>
                                        <p:tgtEl>
                                          <p:spTgt spid="207"/>
                                        </p:tgtEl>
                                      </p:cBhvr>
                                    </p:animEffect>
                                    <p:animScale>
                                      <p:cBhvr>
                                        <p:cTn id="144" dur="1000" autoRev="1" fill="hold"/>
                                        <p:tgtEl>
                                          <p:spTgt spid="207"/>
                                        </p:tgtEl>
                                      </p:cBhvr>
                                      <p:by x="105000" y="105000"/>
                                    </p:animScale>
                                  </p:childTnLst>
                                </p:cTn>
                              </p:par>
                              <p:par>
                                <p:cTn id="145" presetID="26" presetClass="emph" presetSubtype="0" dur="2000" repeatCount="indefinite" fill="hold" grpId="0" nodeType="withEffect">
                                  <p:stCondLst>
                                    <p:cond delay="1000"/>
                                  </p:stCondLst>
                                  <p:childTnLst>
                                    <p:animEffect transition="out" filter="fade">
                                      <p:cBhvr>
                                        <p:cTn id="146" dur="2000" tmFilter="0, 0; .2, .5; .8, .5; 1, 0"/>
                                        <p:tgtEl>
                                          <p:spTgt spid="223"/>
                                        </p:tgtEl>
                                      </p:cBhvr>
                                    </p:animEffect>
                                    <p:animScale>
                                      <p:cBhvr>
                                        <p:cTn id="147" dur="1000" autoRev="1" fill="hold"/>
                                        <p:tgtEl>
                                          <p:spTgt spid="223"/>
                                        </p:tgtEl>
                                      </p:cBhvr>
                                      <p:by x="105000" y="105000"/>
                                    </p:animScale>
                                  </p:childTnLst>
                                </p:cTn>
                              </p:par>
                              <p:par>
                                <p:cTn id="148" presetID="26" presetClass="emph" presetSubtype="0" dur="2000" repeatCount="indefinite" fill="hold" grpId="0" nodeType="withEffect">
                                  <p:stCondLst>
                                    <p:cond delay="1250"/>
                                  </p:stCondLst>
                                  <p:childTnLst>
                                    <p:animEffect transition="out" filter="fade">
                                      <p:cBhvr>
                                        <p:cTn id="149" dur="2000" tmFilter="0, 0; .2, .5; .8, .5; 1, 0"/>
                                        <p:tgtEl>
                                          <p:spTgt spid="12"/>
                                        </p:tgtEl>
                                      </p:cBhvr>
                                    </p:animEffect>
                                    <p:animScale>
                                      <p:cBhvr>
                                        <p:cTn id="150" dur="1000" autoRev="1" fill="hold"/>
                                        <p:tgtEl>
                                          <p:spTgt spid="12"/>
                                        </p:tgtEl>
                                      </p:cBhvr>
                                      <p:by x="105000" y="105000"/>
                                    </p:animScale>
                                  </p:childTnLst>
                                </p:cTn>
                              </p:par>
                              <p:par>
                                <p:cTn id="151" presetID="26" presetClass="emph" presetSubtype="0" dur="2000" repeatCount="indefinite" fill="hold" grpId="0" nodeType="withEffect">
                                  <p:stCondLst>
                                    <p:cond delay="1250"/>
                                  </p:stCondLst>
                                  <p:childTnLst>
                                    <p:animEffect transition="out" filter="fade">
                                      <p:cBhvr>
                                        <p:cTn id="152" dur="2000" tmFilter="0, 0; .2, .5; .8, .5; 1, 0"/>
                                        <p:tgtEl>
                                          <p:spTgt spid="27"/>
                                        </p:tgtEl>
                                      </p:cBhvr>
                                    </p:animEffect>
                                    <p:animScale>
                                      <p:cBhvr>
                                        <p:cTn id="153" dur="1000" autoRev="1" fill="hold"/>
                                        <p:tgtEl>
                                          <p:spTgt spid="27"/>
                                        </p:tgtEl>
                                      </p:cBhvr>
                                      <p:by x="105000" y="105000"/>
                                    </p:animScale>
                                  </p:childTnLst>
                                </p:cTn>
                              </p:par>
                              <p:par>
                                <p:cTn id="154" presetID="26" presetClass="emph" presetSubtype="0" dur="2000" repeatCount="indefinite" fill="hold" grpId="0" nodeType="withEffect">
                                  <p:stCondLst>
                                    <p:cond delay="1250"/>
                                  </p:stCondLst>
                                  <p:childTnLst>
                                    <p:animEffect transition="out" filter="fade">
                                      <p:cBhvr>
                                        <p:cTn id="155" dur="2000" tmFilter="0, 0; .2, .5; .8, .5; 1, 0"/>
                                        <p:tgtEl>
                                          <p:spTgt spid="43"/>
                                        </p:tgtEl>
                                      </p:cBhvr>
                                    </p:animEffect>
                                    <p:animScale>
                                      <p:cBhvr>
                                        <p:cTn id="156" dur="1000" autoRev="1" fill="hold"/>
                                        <p:tgtEl>
                                          <p:spTgt spid="43"/>
                                        </p:tgtEl>
                                      </p:cBhvr>
                                      <p:by x="105000" y="105000"/>
                                    </p:animScale>
                                  </p:childTnLst>
                                </p:cTn>
                              </p:par>
                              <p:par>
                                <p:cTn id="157" presetID="26" presetClass="emph" presetSubtype="0" dur="2000" repeatCount="indefinite" fill="hold" grpId="0" nodeType="withEffect">
                                  <p:stCondLst>
                                    <p:cond delay="1250"/>
                                  </p:stCondLst>
                                  <p:childTnLst>
                                    <p:animEffect transition="out" filter="fade">
                                      <p:cBhvr>
                                        <p:cTn id="158" dur="2000" tmFilter="0, 0; .2, .5; .8, .5; 1, 0"/>
                                        <p:tgtEl>
                                          <p:spTgt spid="59"/>
                                        </p:tgtEl>
                                      </p:cBhvr>
                                    </p:animEffect>
                                    <p:animScale>
                                      <p:cBhvr>
                                        <p:cTn id="159" dur="1000" autoRev="1" fill="hold"/>
                                        <p:tgtEl>
                                          <p:spTgt spid="59"/>
                                        </p:tgtEl>
                                      </p:cBhvr>
                                      <p:by x="105000" y="105000"/>
                                    </p:animScale>
                                  </p:childTnLst>
                                </p:cTn>
                              </p:par>
                              <p:par>
                                <p:cTn id="160" presetID="26" presetClass="emph" presetSubtype="0" dur="2000" repeatCount="indefinite" fill="hold" grpId="0" nodeType="withEffect">
                                  <p:stCondLst>
                                    <p:cond delay="1250"/>
                                  </p:stCondLst>
                                  <p:childTnLst>
                                    <p:animEffect transition="out" filter="fade">
                                      <p:cBhvr>
                                        <p:cTn id="161" dur="2000" tmFilter="0, 0; .2, .5; .8, .5; 1, 0"/>
                                        <p:tgtEl>
                                          <p:spTgt spid="75"/>
                                        </p:tgtEl>
                                      </p:cBhvr>
                                    </p:animEffect>
                                    <p:animScale>
                                      <p:cBhvr>
                                        <p:cTn id="162" dur="1000" autoRev="1" fill="hold"/>
                                        <p:tgtEl>
                                          <p:spTgt spid="75"/>
                                        </p:tgtEl>
                                      </p:cBhvr>
                                      <p:by x="105000" y="105000"/>
                                    </p:animScale>
                                  </p:childTnLst>
                                </p:cTn>
                              </p:par>
                              <p:par>
                                <p:cTn id="163" presetID="26" presetClass="emph" presetSubtype="0" dur="2000" repeatCount="indefinite" fill="hold" grpId="0" nodeType="withEffect">
                                  <p:stCondLst>
                                    <p:cond delay="1250"/>
                                  </p:stCondLst>
                                  <p:childTnLst>
                                    <p:animEffect transition="out" filter="fade">
                                      <p:cBhvr>
                                        <p:cTn id="164" dur="2000" tmFilter="0, 0; .2, .5; .8, .5; 1, 0"/>
                                        <p:tgtEl>
                                          <p:spTgt spid="91"/>
                                        </p:tgtEl>
                                      </p:cBhvr>
                                    </p:animEffect>
                                    <p:animScale>
                                      <p:cBhvr>
                                        <p:cTn id="165" dur="1000" autoRev="1" fill="hold"/>
                                        <p:tgtEl>
                                          <p:spTgt spid="91"/>
                                        </p:tgtEl>
                                      </p:cBhvr>
                                      <p:by x="105000" y="105000"/>
                                    </p:animScale>
                                  </p:childTnLst>
                                </p:cTn>
                              </p:par>
                              <p:par>
                                <p:cTn id="166" presetID="26" presetClass="emph" presetSubtype="0" dur="2000" repeatCount="indefinite" fill="hold" grpId="0" nodeType="withEffect">
                                  <p:stCondLst>
                                    <p:cond delay="1250"/>
                                  </p:stCondLst>
                                  <p:childTnLst>
                                    <p:animEffect transition="out" filter="fade">
                                      <p:cBhvr>
                                        <p:cTn id="167" dur="2000" tmFilter="0, 0; .2, .5; .8, .5; 1, 0"/>
                                        <p:tgtEl>
                                          <p:spTgt spid="107"/>
                                        </p:tgtEl>
                                      </p:cBhvr>
                                    </p:animEffect>
                                    <p:animScale>
                                      <p:cBhvr>
                                        <p:cTn id="168" dur="1000" autoRev="1" fill="hold"/>
                                        <p:tgtEl>
                                          <p:spTgt spid="107"/>
                                        </p:tgtEl>
                                      </p:cBhvr>
                                      <p:by x="105000" y="105000"/>
                                    </p:animScale>
                                  </p:childTnLst>
                                </p:cTn>
                              </p:par>
                              <p:par>
                                <p:cTn id="169" presetID="26" presetClass="emph" presetSubtype="0" dur="2000" repeatCount="indefinite" fill="hold" grpId="0" nodeType="withEffect">
                                  <p:stCondLst>
                                    <p:cond delay="1250"/>
                                  </p:stCondLst>
                                  <p:childTnLst>
                                    <p:animEffect transition="out" filter="fade">
                                      <p:cBhvr>
                                        <p:cTn id="170" dur="2000" tmFilter="0, 0; .2, .5; .8, .5; 1, 0"/>
                                        <p:tgtEl>
                                          <p:spTgt spid="123"/>
                                        </p:tgtEl>
                                      </p:cBhvr>
                                    </p:animEffect>
                                    <p:animScale>
                                      <p:cBhvr>
                                        <p:cTn id="171" dur="1000" autoRev="1" fill="hold"/>
                                        <p:tgtEl>
                                          <p:spTgt spid="123"/>
                                        </p:tgtEl>
                                      </p:cBhvr>
                                      <p:by x="105000" y="105000"/>
                                    </p:animScale>
                                  </p:childTnLst>
                                </p:cTn>
                              </p:par>
                              <p:par>
                                <p:cTn id="172" presetID="26" presetClass="emph" presetSubtype="0" dur="2000" repeatCount="indefinite" fill="hold" grpId="0" nodeType="withEffect">
                                  <p:stCondLst>
                                    <p:cond delay="1250"/>
                                  </p:stCondLst>
                                  <p:childTnLst>
                                    <p:animEffect transition="out" filter="fade">
                                      <p:cBhvr>
                                        <p:cTn id="173" dur="2000" tmFilter="0, 0; .2, .5; .8, .5; 1, 0"/>
                                        <p:tgtEl>
                                          <p:spTgt spid="140"/>
                                        </p:tgtEl>
                                      </p:cBhvr>
                                    </p:animEffect>
                                    <p:animScale>
                                      <p:cBhvr>
                                        <p:cTn id="174" dur="1000" autoRev="1" fill="hold"/>
                                        <p:tgtEl>
                                          <p:spTgt spid="140"/>
                                        </p:tgtEl>
                                      </p:cBhvr>
                                      <p:by x="105000" y="105000"/>
                                    </p:animScale>
                                  </p:childTnLst>
                                </p:cTn>
                              </p:par>
                              <p:par>
                                <p:cTn id="175" presetID="26" presetClass="emph" presetSubtype="0" dur="2000" repeatCount="indefinite" fill="hold" grpId="0" nodeType="withEffect">
                                  <p:stCondLst>
                                    <p:cond delay="1250"/>
                                  </p:stCondLst>
                                  <p:childTnLst>
                                    <p:animEffect transition="out" filter="fade">
                                      <p:cBhvr>
                                        <p:cTn id="176" dur="2000" tmFilter="0, 0; .2, .5; .8, .5; 1, 0"/>
                                        <p:tgtEl>
                                          <p:spTgt spid="157"/>
                                        </p:tgtEl>
                                      </p:cBhvr>
                                    </p:animEffect>
                                    <p:animScale>
                                      <p:cBhvr>
                                        <p:cTn id="177" dur="1000" autoRev="1" fill="hold"/>
                                        <p:tgtEl>
                                          <p:spTgt spid="157"/>
                                        </p:tgtEl>
                                      </p:cBhvr>
                                      <p:by x="105000" y="105000"/>
                                    </p:animScale>
                                  </p:childTnLst>
                                </p:cTn>
                              </p:par>
                              <p:par>
                                <p:cTn id="178" presetID="26" presetClass="emph" presetSubtype="0" dur="2000" repeatCount="indefinite" fill="hold" grpId="0" nodeType="withEffect">
                                  <p:stCondLst>
                                    <p:cond delay="1250"/>
                                  </p:stCondLst>
                                  <p:childTnLst>
                                    <p:animEffect transition="out" filter="fade">
                                      <p:cBhvr>
                                        <p:cTn id="179" dur="2000" tmFilter="0, 0; .2, .5; .8, .5; 1, 0"/>
                                        <p:tgtEl>
                                          <p:spTgt spid="174"/>
                                        </p:tgtEl>
                                      </p:cBhvr>
                                    </p:animEffect>
                                    <p:animScale>
                                      <p:cBhvr>
                                        <p:cTn id="180" dur="1000" autoRev="1" fill="hold"/>
                                        <p:tgtEl>
                                          <p:spTgt spid="174"/>
                                        </p:tgtEl>
                                      </p:cBhvr>
                                      <p:by x="105000" y="105000"/>
                                    </p:animScale>
                                  </p:childTnLst>
                                </p:cTn>
                              </p:par>
                              <p:par>
                                <p:cTn id="181" presetID="26" presetClass="emph" presetSubtype="0" dur="2000" repeatCount="indefinite" fill="hold" grpId="0" nodeType="withEffect">
                                  <p:stCondLst>
                                    <p:cond delay="1250"/>
                                  </p:stCondLst>
                                  <p:childTnLst>
                                    <p:animEffect transition="out" filter="fade">
                                      <p:cBhvr>
                                        <p:cTn id="182" dur="2000" tmFilter="0, 0; .2, .5; .8, .5; 1, 0"/>
                                        <p:tgtEl>
                                          <p:spTgt spid="191"/>
                                        </p:tgtEl>
                                      </p:cBhvr>
                                    </p:animEffect>
                                    <p:animScale>
                                      <p:cBhvr>
                                        <p:cTn id="183" dur="1000" autoRev="1" fill="hold"/>
                                        <p:tgtEl>
                                          <p:spTgt spid="191"/>
                                        </p:tgtEl>
                                      </p:cBhvr>
                                      <p:by x="105000" y="105000"/>
                                    </p:animScale>
                                  </p:childTnLst>
                                </p:cTn>
                              </p:par>
                              <p:par>
                                <p:cTn id="184" presetID="26" presetClass="emph" presetSubtype="0" dur="2000" repeatCount="indefinite" fill="hold" grpId="0" nodeType="withEffect">
                                  <p:stCondLst>
                                    <p:cond delay="1250"/>
                                  </p:stCondLst>
                                  <p:childTnLst>
                                    <p:animEffect transition="out" filter="fade">
                                      <p:cBhvr>
                                        <p:cTn id="185" dur="2000" tmFilter="0, 0; .2, .5; .8, .5; 1, 0"/>
                                        <p:tgtEl>
                                          <p:spTgt spid="208"/>
                                        </p:tgtEl>
                                      </p:cBhvr>
                                    </p:animEffect>
                                    <p:animScale>
                                      <p:cBhvr>
                                        <p:cTn id="186" dur="1000" autoRev="1" fill="hold"/>
                                        <p:tgtEl>
                                          <p:spTgt spid="208"/>
                                        </p:tgtEl>
                                      </p:cBhvr>
                                      <p:by x="105000" y="105000"/>
                                    </p:animScale>
                                  </p:childTnLst>
                                </p:cTn>
                              </p:par>
                              <p:par>
                                <p:cTn id="187" presetID="26" presetClass="emph" presetSubtype="0" dur="2000" repeatCount="indefinite" fill="hold" grpId="0" nodeType="withEffect">
                                  <p:stCondLst>
                                    <p:cond delay="1250"/>
                                  </p:stCondLst>
                                  <p:childTnLst>
                                    <p:animEffect transition="out" filter="fade">
                                      <p:cBhvr>
                                        <p:cTn id="188" dur="2000" tmFilter="0, 0; .2, .5; .8, .5; 1, 0"/>
                                        <p:tgtEl>
                                          <p:spTgt spid="224"/>
                                        </p:tgtEl>
                                      </p:cBhvr>
                                    </p:animEffect>
                                    <p:animScale>
                                      <p:cBhvr>
                                        <p:cTn id="189" dur="1000" autoRev="1" fill="hold"/>
                                        <p:tgtEl>
                                          <p:spTgt spid="224"/>
                                        </p:tgtEl>
                                      </p:cBhvr>
                                      <p:by x="105000" y="105000"/>
                                    </p:animScale>
                                  </p:childTnLst>
                                </p:cTn>
                              </p:par>
                              <p:par>
                                <p:cTn id="190" presetID="26" presetClass="emph" presetSubtype="0" dur="2000" repeatCount="indefinite" fill="hold" grpId="0" nodeType="withEffect">
                                  <p:stCondLst>
                                    <p:cond delay="1500"/>
                                  </p:stCondLst>
                                  <p:childTnLst>
                                    <p:animEffect transition="out" filter="fade">
                                      <p:cBhvr>
                                        <p:cTn id="191" dur="2000" tmFilter="0, 0; .2, .5; .8, .5; 1, 0"/>
                                        <p:tgtEl>
                                          <p:spTgt spid="13"/>
                                        </p:tgtEl>
                                      </p:cBhvr>
                                    </p:animEffect>
                                    <p:animScale>
                                      <p:cBhvr>
                                        <p:cTn id="192" dur="1000" autoRev="1" fill="hold"/>
                                        <p:tgtEl>
                                          <p:spTgt spid="13"/>
                                        </p:tgtEl>
                                      </p:cBhvr>
                                      <p:by x="105000" y="105000"/>
                                    </p:animScale>
                                  </p:childTnLst>
                                </p:cTn>
                              </p:par>
                              <p:par>
                                <p:cTn id="193" presetID="26" presetClass="emph" presetSubtype="0" dur="2000" repeatCount="indefinite" fill="hold" grpId="0" nodeType="withEffect">
                                  <p:stCondLst>
                                    <p:cond delay="1500"/>
                                  </p:stCondLst>
                                  <p:childTnLst>
                                    <p:animEffect transition="out" filter="fade">
                                      <p:cBhvr>
                                        <p:cTn id="194" dur="2000" tmFilter="0, 0; .2, .5; .8, .5; 1, 0"/>
                                        <p:tgtEl>
                                          <p:spTgt spid="28"/>
                                        </p:tgtEl>
                                      </p:cBhvr>
                                    </p:animEffect>
                                    <p:animScale>
                                      <p:cBhvr>
                                        <p:cTn id="195" dur="1000" autoRev="1" fill="hold"/>
                                        <p:tgtEl>
                                          <p:spTgt spid="28"/>
                                        </p:tgtEl>
                                      </p:cBhvr>
                                      <p:by x="105000" y="105000"/>
                                    </p:animScale>
                                  </p:childTnLst>
                                </p:cTn>
                              </p:par>
                              <p:par>
                                <p:cTn id="196" presetID="26" presetClass="emph" presetSubtype="0" dur="2000" repeatCount="indefinite" fill="hold" grpId="0" nodeType="withEffect">
                                  <p:stCondLst>
                                    <p:cond delay="1500"/>
                                  </p:stCondLst>
                                  <p:childTnLst>
                                    <p:animEffect transition="out" filter="fade">
                                      <p:cBhvr>
                                        <p:cTn id="197" dur="2000" tmFilter="0, 0; .2, .5; .8, .5; 1, 0"/>
                                        <p:tgtEl>
                                          <p:spTgt spid="44"/>
                                        </p:tgtEl>
                                      </p:cBhvr>
                                    </p:animEffect>
                                    <p:animScale>
                                      <p:cBhvr>
                                        <p:cTn id="198" dur="1000" autoRev="1" fill="hold"/>
                                        <p:tgtEl>
                                          <p:spTgt spid="44"/>
                                        </p:tgtEl>
                                      </p:cBhvr>
                                      <p:by x="105000" y="105000"/>
                                    </p:animScale>
                                  </p:childTnLst>
                                </p:cTn>
                              </p:par>
                              <p:par>
                                <p:cTn id="199" presetID="26" presetClass="emph" presetSubtype="0" dur="2000" repeatCount="indefinite" fill="hold" grpId="0" nodeType="withEffect">
                                  <p:stCondLst>
                                    <p:cond delay="1500"/>
                                  </p:stCondLst>
                                  <p:childTnLst>
                                    <p:animEffect transition="out" filter="fade">
                                      <p:cBhvr>
                                        <p:cTn id="200" dur="2000" tmFilter="0, 0; .2, .5; .8, .5; 1, 0"/>
                                        <p:tgtEl>
                                          <p:spTgt spid="60"/>
                                        </p:tgtEl>
                                      </p:cBhvr>
                                    </p:animEffect>
                                    <p:animScale>
                                      <p:cBhvr>
                                        <p:cTn id="201" dur="1000" autoRev="1" fill="hold"/>
                                        <p:tgtEl>
                                          <p:spTgt spid="60"/>
                                        </p:tgtEl>
                                      </p:cBhvr>
                                      <p:by x="105000" y="105000"/>
                                    </p:animScale>
                                  </p:childTnLst>
                                </p:cTn>
                              </p:par>
                              <p:par>
                                <p:cTn id="202" presetID="26" presetClass="emph" presetSubtype="0" dur="2000" repeatCount="indefinite" fill="hold" grpId="0" nodeType="withEffect">
                                  <p:stCondLst>
                                    <p:cond delay="1500"/>
                                  </p:stCondLst>
                                  <p:childTnLst>
                                    <p:animEffect transition="out" filter="fade">
                                      <p:cBhvr>
                                        <p:cTn id="203" dur="2000" tmFilter="0, 0; .2, .5; .8, .5; 1, 0"/>
                                        <p:tgtEl>
                                          <p:spTgt spid="76"/>
                                        </p:tgtEl>
                                      </p:cBhvr>
                                    </p:animEffect>
                                    <p:animScale>
                                      <p:cBhvr>
                                        <p:cTn id="204" dur="1000" autoRev="1" fill="hold"/>
                                        <p:tgtEl>
                                          <p:spTgt spid="76"/>
                                        </p:tgtEl>
                                      </p:cBhvr>
                                      <p:by x="105000" y="105000"/>
                                    </p:animScale>
                                  </p:childTnLst>
                                </p:cTn>
                              </p:par>
                              <p:par>
                                <p:cTn id="205" presetID="26" presetClass="emph" presetSubtype="0" dur="2000" repeatCount="indefinite" fill="hold" grpId="0" nodeType="withEffect">
                                  <p:stCondLst>
                                    <p:cond delay="1500"/>
                                  </p:stCondLst>
                                  <p:childTnLst>
                                    <p:animEffect transition="out" filter="fade">
                                      <p:cBhvr>
                                        <p:cTn id="206" dur="2000" tmFilter="0, 0; .2, .5; .8, .5; 1, 0"/>
                                        <p:tgtEl>
                                          <p:spTgt spid="92"/>
                                        </p:tgtEl>
                                      </p:cBhvr>
                                    </p:animEffect>
                                    <p:animScale>
                                      <p:cBhvr>
                                        <p:cTn id="207" dur="1000" autoRev="1" fill="hold"/>
                                        <p:tgtEl>
                                          <p:spTgt spid="92"/>
                                        </p:tgtEl>
                                      </p:cBhvr>
                                      <p:by x="105000" y="105000"/>
                                    </p:animScale>
                                  </p:childTnLst>
                                </p:cTn>
                              </p:par>
                              <p:par>
                                <p:cTn id="208" presetID="26" presetClass="emph" presetSubtype="0" dur="2000" repeatCount="indefinite" fill="hold" grpId="0" nodeType="withEffect">
                                  <p:stCondLst>
                                    <p:cond delay="1500"/>
                                  </p:stCondLst>
                                  <p:childTnLst>
                                    <p:animEffect transition="out" filter="fade">
                                      <p:cBhvr>
                                        <p:cTn id="209" dur="2000" tmFilter="0, 0; .2, .5; .8, .5; 1, 0"/>
                                        <p:tgtEl>
                                          <p:spTgt spid="108"/>
                                        </p:tgtEl>
                                      </p:cBhvr>
                                    </p:animEffect>
                                    <p:animScale>
                                      <p:cBhvr>
                                        <p:cTn id="210" dur="1000" autoRev="1" fill="hold"/>
                                        <p:tgtEl>
                                          <p:spTgt spid="108"/>
                                        </p:tgtEl>
                                      </p:cBhvr>
                                      <p:by x="105000" y="105000"/>
                                    </p:animScale>
                                  </p:childTnLst>
                                </p:cTn>
                              </p:par>
                              <p:par>
                                <p:cTn id="211" presetID="26" presetClass="emph" presetSubtype="0" dur="2000" repeatCount="indefinite" fill="hold" grpId="0" nodeType="withEffect">
                                  <p:stCondLst>
                                    <p:cond delay="1500"/>
                                  </p:stCondLst>
                                  <p:childTnLst>
                                    <p:animEffect transition="out" filter="fade">
                                      <p:cBhvr>
                                        <p:cTn id="212" dur="2000" tmFilter="0, 0; .2, .5; .8, .5; 1, 0"/>
                                        <p:tgtEl>
                                          <p:spTgt spid="124"/>
                                        </p:tgtEl>
                                      </p:cBhvr>
                                    </p:animEffect>
                                    <p:animScale>
                                      <p:cBhvr>
                                        <p:cTn id="213" dur="1000" autoRev="1" fill="hold"/>
                                        <p:tgtEl>
                                          <p:spTgt spid="124"/>
                                        </p:tgtEl>
                                      </p:cBhvr>
                                      <p:by x="105000" y="105000"/>
                                    </p:animScale>
                                  </p:childTnLst>
                                </p:cTn>
                              </p:par>
                              <p:par>
                                <p:cTn id="214" presetID="26" presetClass="emph" presetSubtype="0" dur="2000" repeatCount="indefinite" fill="hold" grpId="0" nodeType="withEffect">
                                  <p:stCondLst>
                                    <p:cond delay="1500"/>
                                  </p:stCondLst>
                                  <p:childTnLst>
                                    <p:animEffect transition="out" filter="fade">
                                      <p:cBhvr>
                                        <p:cTn id="215" dur="2000" tmFilter="0, 0; .2, .5; .8, .5; 1, 0"/>
                                        <p:tgtEl>
                                          <p:spTgt spid="141"/>
                                        </p:tgtEl>
                                      </p:cBhvr>
                                    </p:animEffect>
                                    <p:animScale>
                                      <p:cBhvr>
                                        <p:cTn id="216" dur="1000" autoRev="1" fill="hold"/>
                                        <p:tgtEl>
                                          <p:spTgt spid="141"/>
                                        </p:tgtEl>
                                      </p:cBhvr>
                                      <p:by x="105000" y="105000"/>
                                    </p:animScale>
                                  </p:childTnLst>
                                </p:cTn>
                              </p:par>
                              <p:par>
                                <p:cTn id="217" presetID="26" presetClass="emph" presetSubtype="0" dur="2000" repeatCount="indefinite" fill="hold" grpId="0" nodeType="withEffect">
                                  <p:stCondLst>
                                    <p:cond delay="1500"/>
                                  </p:stCondLst>
                                  <p:childTnLst>
                                    <p:animEffect transition="out" filter="fade">
                                      <p:cBhvr>
                                        <p:cTn id="218" dur="2000" tmFilter="0, 0; .2, .5; .8, .5; 1, 0"/>
                                        <p:tgtEl>
                                          <p:spTgt spid="158"/>
                                        </p:tgtEl>
                                      </p:cBhvr>
                                    </p:animEffect>
                                    <p:animScale>
                                      <p:cBhvr>
                                        <p:cTn id="219" dur="1000" autoRev="1" fill="hold"/>
                                        <p:tgtEl>
                                          <p:spTgt spid="158"/>
                                        </p:tgtEl>
                                      </p:cBhvr>
                                      <p:by x="105000" y="105000"/>
                                    </p:animScale>
                                  </p:childTnLst>
                                </p:cTn>
                              </p:par>
                              <p:par>
                                <p:cTn id="220" presetID="26" presetClass="emph" presetSubtype="0" dur="2000" repeatCount="indefinite" fill="hold" grpId="0" nodeType="withEffect">
                                  <p:stCondLst>
                                    <p:cond delay="1500"/>
                                  </p:stCondLst>
                                  <p:childTnLst>
                                    <p:animEffect transition="out" filter="fade">
                                      <p:cBhvr>
                                        <p:cTn id="221" dur="2000" tmFilter="0, 0; .2, .5; .8, .5; 1, 0"/>
                                        <p:tgtEl>
                                          <p:spTgt spid="175"/>
                                        </p:tgtEl>
                                      </p:cBhvr>
                                    </p:animEffect>
                                    <p:animScale>
                                      <p:cBhvr>
                                        <p:cTn id="222" dur="1000" autoRev="1" fill="hold"/>
                                        <p:tgtEl>
                                          <p:spTgt spid="175"/>
                                        </p:tgtEl>
                                      </p:cBhvr>
                                      <p:by x="105000" y="105000"/>
                                    </p:animScale>
                                  </p:childTnLst>
                                </p:cTn>
                              </p:par>
                              <p:par>
                                <p:cTn id="223" presetID="26" presetClass="emph" presetSubtype="0" dur="2000" repeatCount="indefinite" fill="hold" grpId="0" nodeType="withEffect">
                                  <p:stCondLst>
                                    <p:cond delay="1500"/>
                                  </p:stCondLst>
                                  <p:childTnLst>
                                    <p:animEffect transition="out" filter="fade">
                                      <p:cBhvr>
                                        <p:cTn id="224" dur="2000" tmFilter="0, 0; .2, .5; .8, .5; 1, 0"/>
                                        <p:tgtEl>
                                          <p:spTgt spid="192"/>
                                        </p:tgtEl>
                                      </p:cBhvr>
                                    </p:animEffect>
                                    <p:animScale>
                                      <p:cBhvr>
                                        <p:cTn id="225" dur="1000" autoRev="1" fill="hold"/>
                                        <p:tgtEl>
                                          <p:spTgt spid="192"/>
                                        </p:tgtEl>
                                      </p:cBhvr>
                                      <p:by x="105000" y="105000"/>
                                    </p:animScale>
                                  </p:childTnLst>
                                </p:cTn>
                              </p:par>
                              <p:par>
                                <p:cTn id="226" presetID="26" presetClass="emph" presetSubtype="0" dur="2000" repeatCount="indefinite" fill="hold" grpId="0" nodeType="withEffect">
                                  <p:stCondLst>
                                    <p:cond delay="1500"/>
                                  </p:stCondLst>
                                  <p:childTnLst>
                                    <p:animEffect transition="out" filter="fade">
                                      <p:cBhvr>
                                        <p:cTn id="227" dur="2000" tmFilter="0, 0; .2, .5; .8, .5; 1, 0"/>
                                        <p:tgtEl>
                                          <p:spTgt spid="209"/>
                                        </p:tgtEl>
                                      </p:cBhvr>
                                    </p:animEffect>
                                    <p:animScale>
                                      <p:cBhvr>
                                        <p:cTn id="228" dur="1000" autoRev="1" fill="hold"/>
                                        <p:tgtEl>
                                          <p:spTgt spid="209"/>
                                        </p:tgtEl>
                                      </p:cBhvr>
                                      <p:by x="105000" y="105000"/>
                                    </p:animScale>
                                  </p:childTnLst>
                                </p:cTn>
                              </p:par>
                              <p:par>
                                <p:cTn id="229" presetID="26" presetClass="emph" presetSubtype="0" dur="2000" repeatCount="indefinite" fill="hold" grpId="0" nodeType="withEffect">
                                  <p:stCondLst>
                                    <p:cond delay="1500"/>
                                  </p:stCondLst>
                                  <p:childTnLst>
                                    <p:animEffect transition="out" filter="fade">
                                      <p:cBhvr>
                                        <p:cTn id="230" dur="2000" tmFilter="0, 0; .2, .5; .8, .5; 1, 0"/>
                                        <p:tgtEl>
                                          <p:spTgt spid="225"/>
                                        </p:tgtEl>
                                      </p:cBhvr>
                                    </p:animEffect>
                                    <p:animScale>
                                      <p:cBhvr>
                                        <p:cTn id="231" dur="1000" autoRev="1" fill="hold"/>
                                        <p:tgtEl>
                                          <p:spTgt spid="225"/>
                                        </p:tgtEl>
                                      </p:cBhvr>
                                      <p:by x="105000" y="105000"/>
                                    </p:animScale>
                                  </p:childTnLst>
                                </p:cTn>
                              </p:par>
                              <p:par>
                                <p:cTn id="232" presetID="26" presetClass="emph" presetSubtype="0" dur="2000" repeatCount="indefinite" fill="hold" grpId="0" nodeType="withEffect">
                                  <p:stCondLst>
                                    <p:cond delay="1750"/>
                                  </p:stCondLst>
                                  <p:childTnLst>
                                    <p:animEffect transition="out" filter="fade">
                                      <p:cBhvr>
                                        <p:cTn id="233" dur="2000" tmFilter="0, 0; .2, .5; .8, .5; 1, 0"/>
                                        <p:tgtEl>
                                          <p:spTgt spid="14"/>
                                        </p:tgtEl>
                                      </p:cBhvr>
                                    </p:animEffect>
                                    <p:animScale>
                                      <p:cBhvr>
                                        <p:cTn id="234" dur="1000" autoRev="1" fill="hold"/>
                                        <p:tgtEl>
                                          <p:spTgt spid="14"/>
                                        </p:tgtEl>
                                      </p:cBhvr>
                                      <p:by x="105000" y="105000"/>
                                    </p:animScale>
                                  </p:childTnLst>
                                </p:cTn>
                              </p:par>
                              <p:par>
                                <p:cTn id="235" presetID="26" presetClass="emph" presetSubtype="0" dur="2000" repeatCount="indefinite" fill="hold" grpId="0" nodeType="withEffect">
                                  <p:stCondLst>
                                    <p:cond delay="1750"/>
                                  </p:stCondLst>
                                  <p:childTnLst>
                                    <p:animEffect transition="out" filter="fade">
                                      <p:cBhvr>
                                        <p:cTn id="236" dur="2000" tmFilter="0, 0; .2, .5; .8, .5; 1, 0"/>
                                        <p:tgtEl>
                                          <p:spTgt spid="29"/>
                                        </p:tgtEl>
                                      </p:cBhvr>
                                    </p:animEffect>
                                    <p:animScale>
                                      <p:cBhvr>
                                        <p:cTn id="237" dur="1000" autoRev="1" fill="hold"/>
                                        <p:tgtEl>
                                          <p:spTgt spid="29"/>
                                        </p:tgtEl>
                                      </p:cBhvr>
                                      <p:by x="105000" y="105000"/>
                                    </p:animScale>
                                  </p:childTnLst>
                                </p:cTn>
                              </p:par>
                              <p:par>
                                <p:cTn id="238" presetID="26" presetClass="emph" presetSubtype="0" dur="2000" repeatCount="indefinite" fill="hold" grpId="0" nodeType="withEffect">
                                  <p:stCondLst>
                                    <p:cond delay="1750"/>
                                  </p:stCondLst>
                                  <p:childTnLst>
                                    <p:animEffect transition="out" filter="fade">
                                      <p:cBhvr>
                                        <p:cTn id="239" dur="2000" tmFilter="0, 0; .2, .5; .8, .5; 1, 0"/>
                                        <p:tgtEl>
                                          <p:spTgt spid="45"/>
                                        </p:tgtEl>
                                      </p:cBhvr>
                                    </p:animEffect>
                                    <p:animScale>
                                      <p:cBhvr>
                                        <p:cTn id="240" dur="1000" autoRev="1" fill="hold"/>
                                        <p:tgtEl>
                                          <p:spTgt spid="45"/>
                                        </p:tgtEl>
                                      </p:cBhvr>
                                      <p:by x="105000" y="105000"/>
                                    </p:animScale>
                                  </p:childTnLst>
                                </p:cTn>
                              </p:par>
                              <p:par>
                                <p:cTn id="241" presetID="26" presetClass="emph" presetSubtype="0" dur="2000" repeatCount="indefinite" fill="hold" grpId="0" nodeType="withEffect">
                                  <p:stCondLst>
                                    <p:cond delay="1750"/>
                                  </p:stCondLst>
                                  <p:childTnLst>
                                    <p:animEffect transition="out" filter="fade">
                                      <p:cBhvr>
                                        <p:cTn id="242" dur="2000" tmFilter="0, 0; .2, .5; .8, .5; 1, 0"/>
                                        <p:tgtEl>
                                          <p:spTgt spid="61"/>
                                        </p:tgtEl>
                                      </p:cBhvr>
                                    </p:animEffect>
                                    <p:animScale>
                                      <p:cBhvr>
                                        <p:cTn id="243" dur="1000" autoRev="1" fill="hold"/>
                                        <p:tgtEl>
                                          <p:spTgt spid="61"/>
                                        </p:tgtEl>
                                      </p:cBhvr>
                                      <p:by x="105000" y="105000"/>
                                    </p:animScale>
                                  </p:childTnLst>
                                </p:cTn>
                              </p:par>
                              <p:par>
                                <p:cTn id="244" presetID="26" presetClass="emph" presetSubtype="0" dur="2000" repeatCount="indefinite" fill="hold" grpId="0" nodeType="withEffect">
                                  <p:stCondLst>
                                    <p:cond delay="1750"/>
                                  </p:stCondLst>
                                  <p:childTnLst>
                                    <p:animEffect transition="out" filter="fade">
                                      <p:cBhvr>
                                        <p:cTn id="245" dur="2000" tmFilter="0, 0; .2, .5; .8, .5; 1, 0"/>
                                        <p:tgtEl>
                                          <p:spTgt spid="77"/>
                                        </p:tgtEl>
                                      </p:cBhvr>
                                    </p:animEffect>
                                    <p:animScale>
                                      <p:cBhvr>
                                        <p:cTn id="246" dur="1000" autoRev="1" fill="hold"/>
                                        <p:tgtEl>
                                          <p:spTgt spid="77"/>
                                        </p:tgtEl>
                                      </p:cBhvr>
                                      <p:by x="105000" y="105000"/>
                                    </p:animScale>
                                  </p:childTnLst>
                                </p:cTn>
                              </p:par>
                              <p:par>
                                <p:cTn id="247" presetID="26" presetClass="emph" presetSubtype="0" dur="2000" repeatCount="indefinite" fill="hold" grpId="0" nodeType="withEffect">
                                  <p:stCondLst>
                                    <p:cond delay="1750"/>
                                  </p:stCondLst>
                                  <p:childTnLst>
                                    <p:animEffect transition="out" filter="fade">
                                      <p:cBhvr>
                                        <p:cTn id="248" dur="2000" tmFilter="0, 0; .2, .5; .8, .5; 1, 0"/>
                                        <p:tgtEl>
                                          <p:spTgt spid="93"/>
                                        </p:tgtEl>
                                      </p:cBhvr>
                                    </p:animEffect>
                                    <p:animScale>
                                      <p:cBhvr>
                                        <p:cTn id="249" dur="1000" autoRev="1" fill="hold"/>
                                        <p:tgtEl>
                                          <p:spTgt spid="93"/>
                                        </p:tgtEl>
                                      </p:cBhvr>
                                      <p:by x="105000" y="105000"/>
                                    </p:animScale>
                                  </p:childTnLst>
                                </p:cTn>
                              </p:par>
                              <p:par>
                                <p:cTn id="250" presetID="26" presetClass="emph" presetSubtype="0" dur="2000" repeatCount="indefinite" fill="hold" grpId="0" nodeType="withEffect">
                                  <p:stCondLst>
                                    <p:cond delay="1750"/>
                                  </p:stCondLst>
                                  <p:childTnLst>
                                    <p:animEffect transition="out" filter="fade">
                                      <p:cBhvr>
                                        <p:cTn id="251" dur="2000" tmFilter="0, 0; .2, .5; .8, .5; 1, 0"/>
                                        <p:tgtEl>
                                          <p:spTgt spid="109"/>
                                        </p:tgtEl>
                                      </p:cBhvr>
                                    </p:animEffect>
                                    <p:animScale>
                                      <p:cBhvr>
                                        <p:cTn id="252" dur="1000" autoRev="1" fill="hold"/>
                                        <p:tgtEl>
                                          <p:spTgt spid="109"/>
                                        </p:tgtEl>
                                      </p:cBhvr>
                                      <p:by x="105000" y="105000"/>
                                    </p:animScale>
                                  </p:childTnLst>
                                </p:cTn>
                              </p:par>
                              <p:par>
                                <p:cTn id="253" presetID="26" presetClass="emph" presetSubtype="0" dur="2000" repeatCount="indefinite" fill="hold" grpId="0" nodeType="withEffect">
                                  <p:stCondLst>
                                    <p:cond delay="1750"/>
                                  </p:stCondLst>
                                  <p:childTnLst>
                                    <p:animEffect transition="out" filter="fade">
                                      <p:cBhvr>
                                        <p:cTn id="254" dur="2000" tmFilter="0, 0; .2, .5; .8, .5; 1, 0"/>
                                        <p:tgtEl>
                                          <p:spTgt spid="125"/>
                                        </p:tgtEl>
                                      </p:cBhvr>
                                    </p:animEffect>
                                    <p:animScale>
                                      <p:cBhvr>
                                        <p:cTn id="255" dur="1000" autoRev="1" fill="hold"/>
                                        <p:tgtEl>
                                          <p:spTgt spid="125"/>
                                        </p:tgtEl>
                                      </p:cBhvr>
                                      <p:by x="105000" y="105000"/>
                                    </p:animScale>
                                  </p:childTnLst>
                                </p:cTn>
                              </p:par>
                              <p:par>
                                <p:cTn id="256" presetID="26" presetClass="emph" presetSubtype="0" dur="2000" repeatCount="indefinite" fill="hold" grpId="0" nodeType="withEffect">
                                  <p:stCondLst>
                                    <p:cond delay="1750"/>
                                  </p:stCondLst>
                                  <p:childTnLst>
                                    <p:animEffect transition="out" filter="fade">
                                      <p:cBhvr>
                                        <p:cTn id="257" dur="2000" tmFilter="0, 0; .2, .5; .8, .5; 1, 0"/>
                                        <p:tgtEl>
                                          <p:spTgt spid="142"/>
                                        </p:tgtEl>
                                      </p:cBhvr>
                                    </p:animEffect>
                                    <p:animScale>
                                      <p:cBhvr>
                                        <p:cTn id="258" dur="1000" autoRev="1" fill="hold"/>
                                        <p:tgtEl>
                                          <p:spTgt spid="142"/>
                                        </p:tgtEl>
                                      </p:cBhvr>
                                      <p:by x="105000" y="105000"/>
                                    </p:animScale>
                                  </p:childTnLst>
                                </p:cTn>
                              </p:par>
                              <p:par>
                                <p:cTn id="259" presetID="26" presetClass="emph" presetSubtype="0" dur="2000" repeatCount="indefinite" fill="hold" grpId="0" nodeType="withEffect">
                                  <p:stCondLst>
                                    <p:cond delay="1750"/>
                                  </p:stCondLst>
                                  <p:childTnLst>
                                    <p:animEffect transition="out" filter="fade">
                                      <p:cBhvr>
                                        <p:cTn id="260" dur="2000" tmFilter="0, 0; .2, .5; .8, .5; 1, 0"/>
                                        <p:tgtEl>
                                          <p:spTgt spid="159"/>
                                        </p:tgtEl>
                                      </p:cBhvr>
                                    </p:animEffect>
                                    <p:animScale>
                                      <p:cBhvr>
                                        <p:cTn id="261" dur="1000" autoRev="1" fill="hold"/>
                                        <p:tgtEl>
                                          <p:spTgt spid="159"/>
                                        </p:tgtEl>
                                      </p:cBhvr>
                                      <p:by x="105000" y="105000"/>
                                    </p:animScale>
                                  </p:childTnLst>
                                </p:cTn>
                              </p:par>
                              <p:par>
                                <p:cTn id="262" presetID="26" presetClass="emph" presetSubtype="0" dur="2000" repeatCount="indefinite" fill="hold" grpId="0" nodeType="withEffect">
                                  <p:stCondLst>
                                    <p:cond delay="1750"/>
                                  </p:stCondLst>
                                  <p:childTnLst>
                                    <p:animEffect transition="out" filter="fade">
                                      <p:cBhvr>
                                        <p:cTn id="263" dur="2000" tmFilter="0, 0; .2, .5; .8, .5; 1, 0"/>
                                        <p:tgtEl>
                                          <p:spTgt spid="176"/>
                                        </p:tgtEl>
                                      </p:cBhvr>
                                    </p:animEffect>
                                    <p:animScale>
                                      <p:cBhvr>
                                        <p:cTn id="264" dur="1000" autoRev="1" fill="hold"/>
                                        <p:tgtEl>
                                          <p:spTgt spid="176"/>
                                        </p:tgtEl>
                                      </p:cBhvr>
                                      <p:by x="105000" y="105000"/>
                                    </p:animScale>
                                  </p:childTnLst>
                                </p:cTn>
                              </p:par>
                              <p:par>
                                <p:cTn id="265" presetID="26" presetClass="emph" presetSubtype="0" dur="2000" repeatCount="indefinite" fill="hold" grpId="0" nodeType="withEffect">
                                  <p:stCondLst>
                                    <p:cond delay="1750"/>
                                  </p:stCondLst>
                                  <p:childTnLst>
                                    <p:animEffect transition="out" filter="fade">
                                      <p:cBhvr>
                                        <p:cTn id="266" dur="2000" tmFilter="0, 0; .2, .5; .8, .5; 1, 0"/>
                                        <p:tgtEl>
                                          <p:spTgt spid="193"/>
                                        </p:tgtEl>
                                      </p:cBhvr>
                                    </p:animEffect>
                                    <p:animScale>
                                      <p:cBhvr>
                                        <p:cTn id="267" dur="1000" autoRev="1" fill="hold"/>
                                        <p:tgtEl>
                                          <p:spTgt spid="193"/>
                                        </p:tgtEl>
                                      </p:cBhvr>
                                      <p:by x="105000" y="105000"/>
                                    </p:animScale>
                                  </p:childTnLst>
                                </p:cTn>
                              </p:par>
                              <p:par>
                                <p:cTn id="268" presetID="26" presetClass="emph" presetSubtype="0" dur="2000" repeatCount="indefinite" fill="hold" grpId="0" nodeType="withEffect">
                                  <p:stCondLst>
                                    <p:cond delay="1750"/>
                                  </p:stCondLst>
                                  <p:childTnLst>
                                    <p:animEffect transition="out" filter="fade">
                                      <p:cBhvr>
                                        <p:cTn id="269" dur="2000" tmFilter="0, 0; .2, .5; .8, .5; 1, 0"/>
                                        <p:tgtEl>
                                          <p:spTgt spid="210"/>
                                        </p:tgtEl>
                                      </p:cBhvr>
                                    </p:animEffect>
                                    <p:animScale>
                                      <p:cBhvr>
                                        <p:cTn id="270" dur="1000" autoRev="1" fill="hold"/>
                                        <p:tgtEl>
                                          <p:spTgt spid="210"/>
                                        </p:tgtEl>
                                      </p:cBhvr>
                                      <p:by x="105000" y="105000"/>
                                    </p:animScale>
                                  </p:childTnLst>
                                </p:cTn>
                              </p:par>
                              <p:par>
                                <p:cTn id="271" presetID="26" presetClass="emph" presetSubtype="0" dur="2000" repeatCount="indefinite" fill="hold" grpId="0" nodeType="withEffect">
                                  <p:stCondLst>
                                    <p:cond delay="1750"/>
                                  </p:stCondLst>
                                  <p:childTnLst>
                                    <p:animEffect transition="out" filter="fade">
                                      <p:cBhvr>
                                        <p:cTn id="272" dur="2000" tmFilter="0, 0; .2, .5; .8, .5; 1, 0"/>
                                        <p:tgtEl>
                                          <p:spTgt spid="226"/>
                                        </p:tgtEl>
                                      </p:cBhvr>
                                    </p:animEffect>
                                    <p:animScale>
                                      <p:cBhvr>
                                        <p:cTn id="273" dur="1000" autoRev="1" fill="hold"/>
                                        <p:tgtEl>
                                          <p:spTgt spid="226"/>
                                        </p:tgtEl>
                                      </p:cBhvr>
                                      <p:by x="105000" y="105000"/>
                                    </p:animScale>
                                  </p:childTnLst>
                                </p:cTn>
                              </p:par>
                              <p:par>
                                <p:cTn id="274" presetID="26" presetClass="emph" presetSubtype="0" dur="2000" repeatCount="indefinite" fill="hold" grpId="0" nodeType="withEffect">
                                  <p:stCondLst>
                                    <p:cond delay="2000"/>
                                  </p:stCondLst>
                                  <p:childTnLst>
                                    <p:animEffect transition="out" filter="fade">
                                      <p:cBhvr>
                                        <p:cTn id="275" dur="2000" tmFilter="0, 0; .2, .5; .8, .5; 1, 0"/>
                                        <p:tgtEl>
                                          <p:spTgt spid="15"/>
                                        </p:tgtEl>
                                      </p:cBhvr>
                                    </p:animEffect>
                                    <p:animScale>
                                      <p:cBhvr>
                                        <p:cTn id="276" dur="1000" autoRev="1" fill="hold"/>
                                        <p:tgtEl>
                                          <p:spTgt spid="15"/>
                                        </p:tgtEl>
                                      </p:cBhvr>
                                      <p:by x="105000" y="105000"/>
                                    </p:animScale>
                                  </p:childTnLst>
                                </p:cTn>
                              </p:par>
                              <p:par>
                                <p:cTn id="277" presetID="26" presetClass="emph" presetSubtype="0" dur="2000" repeatCount="indefinite" fill="hold" grpId="0" nodeType="withEffect">
                                  <p:stCondLst>
                                    <p:cond delay="2000"/>
                                  </p:stCondLst>
                                  <p:childTnLst>
                                    <p:animEffect transition="out" filter="fade">
                                      <p:cBhvr>
                                        <p:cTn id="278" dur="2000" tmFilter="0, 0; .2, .5; .8, .5; 1, 0"/>
                                        <p:tgtEl>
                                          <p:spTgt spid="30"/>
                                        </p:tgtEl>
                                      </p:cBhvr>
                                    </p:animEffect>
                                    <p:animScale>
                                      <p:cBhvr>
                                        <p:cTn id="279" dur="1000" autoRev="1" fill="hold"/>
                                        <p:tgtEl>
                                          <p:spTgt spid="30"/>
                                        </p:tgtEl>
                                      </p:cBhvr>
                                      <p:by x="105000" y="105000"/>
                                    </p:animScale>
                                  </p:childTnLst>
                                </p:cTn>
                              </p:par>
                              <p:par>
                                <p:cTn id="280" presetID="26" presetClass="emph" presetSubtype="0" dur="2000" repeatCount="indefinite" fill="hold" grpId="0" nodeType="withEffect">
                                  <p:stCondLst>
                                    <p:cond delay="2000"/>
                                  </p:stCondLst>
                                  <p:childTnLst>
                                    <p:animEffect transition="out" filter="fade">
                                      <p:cBhvr>
                                        <p:cTn id="281" dur="2000" tmFilter="0, 0; .2, .5; .8, .5; 1, 0"/>
                                        <p:tgtEl>
                                          <p:spTgt spid="46"/>
                                        </p:tgtEl>
                                      </p:cBhvr>
                                    </p:animEffect>
                                    <p:animScale>
                                      <p:cBhvr>
                                        <p:cTn id="282" dur="1000" autoRev="1" fill="hold"/>
                                        <p:tgtEl>
                                          <p:spTgt spid="46"/>
                                        </p:tgtEl>
                                      </p:cBhvr>
                                      <p:by x="105000" y="105000"/>
                                    </p:animScale>
                                  </p:childTnLst>
                                </p:cTn>
                              </p:par>
                              <p:par>
                                <p:cTn id="283" presetID="26" presetClass="emph" presetSubtype="0" dur="2000" repeatCount="indefinite" fill="hold" grpId="0" nodeType="withEffect">
                                  <p:stCondLst>
                                    <p:cond delay="2000"/>
                                  </p:stCondLst>
                                  <p:childTnLst>
                                    <p:animEffect transition="out" filter="fade">
                                      <p:cBhvr>
                                        <p:cTn id="284" dur="2000" tmFilter="0, 0; .2, .5; .8, .5; 1, 0"/>
                                        <p:tgtEl>
                                          <p:spTgt spid="62"/>
                                        </p:tgtEl>
                                      </p:cBhvr>
                                    </p:animEffect>
                                    <p:animScale>
                                      <p:cBhvr>
                                        <p:cTn id="285" dur="1000" autoRev="1" fill="hold"/>
                                        <p:tgtEl>
                                          <p:spTgt spid="62"/>
                                        </p:tgtEl>
                                      </p:cBhvr>
                                      <p:by x="105000" y="105000"/>
                                    </p:animScale>
                                  </p:childTnLst>
                                </p:cTn>
                              </p:par>
                              <p:par>
                                <p:cTn id="286" presetID="26" presetClass="emph" presetSubtype="0" dur="2000" repeatCount="indefinite" fill="hold" grpId="0" nodeType="withEffect">
                                  <p:stCondLst>
                                    <p:cond delay="2000"/>
                                  </p:stCondLst>
                                  <p:childTnLst>
                                    <p:animEffect transition="out" filter="fade">
                                      <p:cBhvr>
                                        <p:cTn id="287" dur="2000" tmFilter="0, 0; .2, .5; .8, .5; 1, 0"/>
                                        <p:tgtEl>
                                          <p:spTgt spid="78"/>
                                        </p:tgtEl>
                                      </p:cBhvr>
                                    </p:animEffect>
                                    <p:animScale>
                                      <p:cBhvr>
                                        <p:cTn id="288" dur="1000" autoRev="1" fill="hold"/>
                                        <p:tgtEl>
                                          <p:spTgt spid="78"/>
                                        </p:tgtEl>
                                      </p:cBhvr>
                                      <p:by x="105000" y="105000"/>
                                    </p:animScale>
                                  </p:childTnLst>
                                </p:cTn>
                              </p:par>
                              <p:par>
                                <p:cTn id="289" presetID="26" presetClass="emph" presetSubtype="0" dur="2000" repeatCount="indefinite" fill="hold" grpId="0" nodeType="withEffect">
                                  <p:stCondLst>
                                    <p:cond delay="2000"/>
                                  </p:stCondLst>
                                  <p:childTnLst>
                                    <p:animEffect transition="out" filter="fade">
                                      <p:cBhvr>
                                        <p:cTn id="290" dur="2000" tmFilter="0, 0; .2, .5; .8, .5; 1, 0"/>
                                        <p:tgtEl>
                                          <p:spTgt spid="94"/>
                                        </p:tgtEl>
                                      </p:cBhvr>
                                    </p:animEffect>
                                    <p:animScale>
                                      <p:cBhvr>
                                        <p:cTn id="291" dur="1000" autoRev="1" fill="hold"/>
                                        <p:tgtEl>
                                          <p:spTgt spid="94"/>
                                        </p:tgtEl>
                                      </p:cBhvr>
                                      <p:by x="105000" y="105000"/>
                                    </p:animScale>
                                  </p:childTnLst>
                                </p:cTn>
                              </p:par>
                              <p:par>
                                <p:cTn id="292" presetID="26" presetClass="emph" presetSubtype="0" dur="2000" repeatCount="indefinite" fill="hold" grpId="0" nodeType="withEffect">
                                  <p:stCondLst>
                                    <p:cond delay="2000"/>
                                  </p:stCondLst>
                                  <p:childTnLst>
                                    <p:animEffect transition="out" filter="fade">
                                      <p:cBhvr>
                                        <p:cTn id="293" dur="2000" tmFilter="0, 0; .2, .5; .8, .5; 1, 0"/>
                                        <p:tgtEl>
                                          <p:spTgt spid="110"/>
                                        </p:tgtEl>
                                      </p:cBhvr>
                                    </p:animEffect>
                                    <p:animScale>
                                      <p:cBhvr>
                                        <p:cTn id="294" dur="1000" autoRev="1" fill="hold"/>
                                        <p:tgtEl>
                                          <p:spTgt spid="110"/>
                                        </p:tgtEl>
                                      </p:cBhvr>
                                      <p:by x="105000" y="105000"/>
                                    </p:animScale>
                                  </p:childTnLst>
                                </p:cTn>
                              </p:par>
                              <p:par>
                                <p:cTn id="295" presetID="26" presetClass="emph" presetSubtype="0" dur="2000" repeatCount="indefinite" fill="hold" grpId="0" nodeType="withEffect">
                                  <p:stCondLst>
                                    <p:cond delay="2000"/>
                                  </p:stCondLst>
                                  <p:childTnLst>
                                    <p:animEffect transition="out" filter="fade">
                                      <p:cBhvr>
                                        <p:cTn id="296" dur="2000" tmFilter="0, 0; .2, .5; .8, .5; 1, 0"/>
                                        <p:tgtEl>
                                          <p:spTgt spid="126"/>
                                        </p:tgtEl>
                                      </p:cBhvr>
                                    </p:animEffect>
                                    <p:animScale>
                                      <p:cBhvr>
                                        <p:cTn id="297" dur="1000" autoRev="1" fill="hold"/>
                                        <p:tgtEl>
                                          <p:spTgt spid="126"/>
                                        </p:tgtEl>
                                      </p:cBhvr>
                                      <p:by x="105000" y="105000"/>
                                    </p:animScale>
                                  </p:childTnLst>
                                </p:cTn>
                              </p:par>
                              <p:par>
                                <p:cTn id="298" presetID="26" presetClass="emph" presetSubtype="0" dur="2000" repeatCount="indefinite" fill="hold" grpId="0" nodeType="withEffect">
                                  <p:stCondLst>
                                    <p:cond delay="2000"/>
                                  </p:stCondLst>
                                  <p:childTnLst>
                                    <p:animEffect transition="out" filter="fade">
                                      <p:cBhvr>
                                        <p:cTn id="299" dur="2000" tmFilter="0, 0; .2, .5; .8, .5; 1, 0"/>
                                        <p:tgtEl>
                                          <p:spTgt spid="143"/>
                                        </p:tgtEl>
                                      </p:cBhvr>
                                    </p:animEffect>
                                    <p:animScale>
                                      <p:cBhvr>
                                        <p:cTn id="300" dur="1000" autoRev="1" fill="hold"/>
                                        <p:tgtEl>
                                          <p:spTgt spid="143"/>
                                        </p:tgtEl>
                                      </p:cBhvr>
                                      <p:by x="105000" y="105000"/>
                                    </p:animScale>
                                  </p:childTnLst>
                                </p:cTn>
                              </p:par>
                              <p:par>
                                <p:cTn id="301" presetID="26" presetClass="emph" presetSubtype="0" dur="2000" repeatCount="indefinite" fill="hold" grpId="0" nodeType="withEffect">
                                  <p:stCondLst>
                                    <p:cond delay="2000"/>
                                  </p:stCondLst>
                                  <p:childTnLst>
                                    <p:animEffect transition="out" filter="fade">
                                      <p:cBhvr>
                                        <p:cTn id="302" dur="2000" tmFilter="0, 0; .2, .5; .8, .5; 1, 0"/>
                                        <p:tgtEl>
                                          <p:spTgt spid="160"/>
                                        </p:tgtEl>
                                      </p:cBhvr>
                                    </p:animEffect>
                                    <p:animScale>
                                      <p:cBhvr>
                                        <p:cTn id="303" dur="1000" autoRev="1" fill="hold"/>
                                        <p:tgtEl>
                                          <p:spTgt spid="160"/>
                                        </p:tgtEl>
                                      </p:cBhvr>
                                      <p:by x="105000" y="105000"/>
                                    </p:animScale>
                                  </p:childTnLst>
                                </p:cTn>
                              </p:par>
                              <p:par>
                                <p:cTn id="304" presetID="26" presetClass="emph" presetSubtype="0" dur="2000" repeatCount="indefinite" fill="hold" grpId="0" nodeType="withEffect">
                                  <p:stCondLst>
                                    <p:cond delay="2000"/>
                                  </p:stCondLst>
                                  <p:childTnLst>
                                    <p:animEffect transition="out" filter="fade">
                                      <p:cBhvr>
                                        <p:cTn id="305" dur="2000" tmFilter="0, 0; .2, .5; .8, .5; 1, 0"/>
                                        <p:tgtEl>
                                          <p:spTgt spid="177"/>
                                        </p:tgtEl>
                                      </p:cBhvr>
                                    </p:animEffect>
                                    <p:animScale>
                                      <p:cBhvr>
                                        <p:cTn id="306" dur="1000" autoRev="1" fill="hold"/>
                                        <p:tgtEl>
                                          <p:spTgt spid="177"/>
                                        </p:tgtEl>
                                      </p:cBhvr>
                                      <p:by x="105000" y="105000"/>
                                    </p:animScale>
                                  </p:childTnLst>
                                </p:cTn>
                              </p:par>
                              <p:par>
                                <p:cTn id="307" presetID="26" presetClass="emph" presetSubtype="0" dur="2000" repeatCount="indefinite" fill="hold" grpId="0" nodeType="withEffect">
                                  <p:stCondLst>
                                    <p:cond delay="2000"/>
                                  </p:stCondLst>
                                  <p:childTnLst>
                                    <p:animEffect transition="out" filter="fade">
                                      <p:cBhvr>
                                        <p:cTn id="308" dur="2000" tmFilter="0, 0; .2, .5; .8, .5; 1, 0"/>
                                        <p:tgtEl>
                                          <p:spTgt spid="194"/>
                                        </p:tgtEl>
                                      </p:cBhvr>
                                    </p:animEffect>
                                    <p:animScale>
                                      <p:cBhvr>
                                        <p:cTn id="309" dur="1000" autoRev="1" fill="hold"/>
                                        <p:tgtEl>
                                          <p:spTgt spid="194"/>
                                        </p:tgtEl>
                                      </p:cBhvr>
                                      <p:by x="105000" y="105000"/>
                                    </p:animScale>
                                  </p:childTnLst>
                                </p:cTn>
                              </p:par>
                              <p:par>
                                <p:cTn id="310" presetID="26" presetClass="emph" presetSubtype="0" dur="2000" repeatCount="indefinite" fill="hold" grpId="0" nodeType="withEffect">
                                  <p:stCondLst>
                                    <p:cond delay="2000"/>
                                  </p:stCondLst>
                                  <p:childTnLst>
                                    <p:animEffect transition="out" filter="fade">
                                      <p:cBhvr>
                                        <p:cTn id="311" dur="2000" tmFilter="0, 0; .2, .5; .8, .5; 1, 0"/>
                                        <p:tgtEl>
                                          <p:spTgt spid="211"/>
                                        </p:tgtEl>
                                      </p:cBhvr>
                                    </p:animEffect>
                                    <p:animScale>
                                      <p:cBhvr>
                                        <p:cTn id="312" dur="1000" autoRev="1" fill="hold"/>
                                        <p:tgtEl>
                                          <p:spTgt spid="211"/>
                                        </p:tgtEl>
                                      </p:cBhvr>
                                      <p:by x="105000" y="105000"/>
                                    </p:animScale>
                                  </p:childTnLst>
                                </p:cTn>
                              </p:par>
                              <p:par>
                                <p:cTn id="313" presetID="26" presetClass="emph" presetSubtype="0" dur="2000" repeatCount="indefinite" fill="hold" grpId="0" nodeType="withEffect">
                                  <p:stCondLst>
                                    <p:cond delay="2000"/>
                                  </p:stCondLst>
                                  <p:childTnLst>
                                    <p:animEffect transition="out" filter="fade">
                                      <p:cBhvr>
                                        <p:cTn id="314" dur="2000" tmFilter="0, 0; .2, .5; .8, .5; 1, 0"/>
                                        <p:tgtEl>
                                          <p:spTgt spid="227"/>
                                        </p:tgtEl>
                                      </p:cBhvr>
                                    </p:animEffect>
                                    <p:animScale>
                                      <p:cBhvr>
                                        <p:cTn id="315" dur="1000" autoRev="1" fill="hold"/>
                                        <p:tgtEl>
                                          <p:spTgt spid="227"/>
                                        </p:tgtEl>
                                      </p:cBhvr>
                                      <p:by x="105000" y="105000"/>
                                    </p:animScale>
                                  </p:childTnLst>
                                </p:cTn>
                              </p:par>
                              <p:par>
                                <p:cTn id="316" presetID="26" presetClass="emph" presetSubtype="0" dur="2000" repeatCount="indefinite" fill="hold" grpId="0" nodeType="withEffect">
                                  <p:stCondLst>
                                    <p:cond delay="2250"/>
                                  </p:stCondLst>
                                  <p:childTnLst>
                                    <p:animEffect transition="out" filter="fade">
                                      <p:cBhvr>
                                        <p:cTn id="317" dur="2000" tmFilter="0, 0; .2, .5; .8, .5; 1, 0"/>
                                        <p:tgtEl>
                                          <p:spTgt spid="16"/>
                                        </p:tgtEl>
                                      </p:cBhvr>
                                    </p:animEffect>
                                    <p:animScale>
                                      <p:cBhvr>
                                        <p:cTn id="318" dur="1000" autoRev="1" fill="hold"/>
                                        <p:tgtEl>
                                          <p:spTgt spid="16"/>
                                        </p:tgtEl>
                                      </p:cBhvr>
                                      <p:by x="105000" y="105000"/>
                                    </p:animScale>
                                  </p:childTnLst>
                                </p:cTn>
                              </p:par>
                              <p:par>
                                <p:cTn id="319" presetID="26" presetClass="emph" presetSubtype="0" dur="2000" repeatCount="indefinite" fill="hold" grpId="0" nodeType="withEffect">
                                  <p:stCondLst>
                                    <p:cond delay="2250"/>
                                  </p:stCondLst>
                                  <p:childTnLst>
                                    <p:animEffect transition="out" filter="fade">
                                      <p:cBhvr>
                                        <p:cTn id="320" dur="2000" tmFilter="0, 0; .2, .5; .8, .5; 1, 0"/>
                                        <p:tgtEl>
                                          <p:spTgt spid="31"/>
                                        </p:tgtEl>
                                      </p:cBhvr>
                                    </p:animEffect>
                                    <p:animScale>
                                      <p:cBhvr>
                                        <p:cTn id="321" dur="1000" autoRev="1" fill="hold"/>
                                        <p:tgtEl>
                                          <p:spTgt spid="31"/>
                                        </p:tgtEl>
                                      </p:cBhvr>
                                      <p:by x="105000" y="105000"/>
                                    </p:animScale>
                                  </p:childTnLst>
                                </p:cTn>
                              </p:par>
                              <p:par>
                                <p:cTn id="322" presetID="26" presetClass="emph" presetSubtype="0" dur="2000" repeatCount="indefinite" fill="hold" grpId="0" nodeType="withEffect">
                                  <p:stCondLst>
                                    <p:cond delay="2250"/>
                                  </p:stCondLst>
                                  <p:childTnLst>
                                    <p:animEffect transition="out" filter="fade">
                                      <p:cBhvr>
                                        <p:cTn id="323" dur="2000" tmFilter="0, 0; .2, .5; .8, .5; 1, 0"/>
                                        <p:tgtEl>
                                          <p:spTgt spid="47"/>
                                        </p:tgtEl>
                                      </p:cBhvr>
                                    </p:animEffect>
                                    <p:animScale>
                                      <p:cBhvr>
                                        <p:cTn id="324" dur="1000" autoRev="1" fill="hold"/>
                                        <p:tgtEl>
                                          <p:spTgt spid="47"/>
                                        </p:tgtEl>
                                      </p:cBhvr>
                                      <p:by x="105000" y="105000"/>
                                    </p:animScale>
                                  </p:childTnLst>
                                </p:cTn>
                              </p:par>
                              <p:par>
                                <p:cTn id="325" presetID="26" presetClass="emph" presetSubtype="0" dur="2000" repeatCount="indefinite" fill="hold" grpId="0" nodeType="withEffect">
                                  <p:stCondLst>
                                    <p:cond delay="2250"/>
                                  </p:stCondLst>
                                  <p:childTnLst>
                                    <p:animEffect transition="out" filter="fade">
                                      <p:cBhvr>
                                        <p:cTn id="326" dur="2000" tmFilter="0, 0; .2, .5; .8, .5; 1, 0"/>
                                        <p:tgtEl>
                                          <p:spTgt spid="63"/>
                                        </p:tgtEl>
                                      </p:cBhvr>
                                    </p:animEffect>
                                    <p:animScale>
                                      <p:cBhvr>
                                        <p:cTn id="327" dur="1000" autoRev="1" fill="hold"/>
                                        <p:tgtEl>
                                          <p:spTgt spid="63"/>
                                        </p:tgtEl>
                                      </p:cBhvr>
                                      <p:by x="105000" y="105000"/>
                                    </p:animScale>
                                  </p:childTnLst>
                                </p:cTn>
                              </p:par>
                              <p:par>
                                <p:cTn id="328" presetID="26" presetClass="emph" presetSubtype="0" dur="2000" repeatCount="indefinite" fill="hold" grpId="0" nodeType="withEffect">
                                  <p:stCondLst>
                                    <p:cond delay="2250"/>
                                  </p:stCondLst>
                                  <p:childTnLst>
                                    <p:animEffect transition="out" filter="fade">
                                      <p:cBhvr>
                                        <p:cTn id="329" dur="2000" tmFilter="0, 0; .2, .5; .8, .5; 1, 0"/>
                                        <p:tgtEl>
                                          <p:spTgt spid="79"/>
                                        </p:tgtEl>
                                      </p:cBhvr>
                                    </p:animEffect>
                                    <p:animScale>
                                      <p:cBhvr>
                                        <p:cTn id="330" dur="1000" autoRev="1" fill="hold"/>
                                        <p:tgtEl>
                                          <p:spTgt spid="79"/>
                                        </p:tgtEl>
                                      </p:cBhvr>
                                      <p:by x="105000" y="105000"/>
                                    </p:animScale>
                                  </p:childTnLst>
                                </p:cTn>
                              </p:par>
                              <p:par>
                                <p:cTn id="331" presetID="26" presetClass="emph" presetSubtype="0" dur="2000" repeatCount="indefinite" fill="hold" grpId="0" nodeType="withEffect">
                                  <p:stCondLst>
                                    <p:cond delay="2250"/>
                                  </p:stCondLst>
                                  <p:childTnLst>
                                    <p:animEffect transition="out" filter="fade">
                                      <p:cBhvr>
                                        <p:cTn id="332" dur="2000" tmFilter="0, 0; .2, .5; .8, .5; 1, 0"/>
                                        <p:tgtEl>
                                          <p:spTgt spid="95"/>
                                        </p:tgtEl>
                                      </p:cBhvr>
                                    </p:animEffect>
                                    <p:animScale>
                                      <p:cBhvr>
                                        <p:cTn id="333" dur="1000" autoRev="1" fill="hold"/>
                                        <p:tgtEl>
                                          <p:spTgt spid="95"/>
                                        </p:tgtEl>
                                      </p:cBhvr>
                                      <p:by x="105000" y="105000"/>
                                    </p:animScale>
                                  </p:childTnLst>
                                </p:cTn>
                              </p:par>
                              <p:par>
                                <p:cTn id="334" presetID="26" presetClass="emph" presetSubtype="0" dur="2000" repeatCount="indefinite" fill="hold" grpId="0" nodeType="withEffect">
                                  <p:stCondLst>
                                    <p:cond delay="2250"/>
                                  </p:stCondLst>
                                  <p:childTnLst>
                                    <p:animEffect transition="out" filter="fade">
                                      <p:cBhvr>
                                        <p:cTn id="335" dur="2000" tmFilter="0, 0; .2, .5; .8, .5; 1, 0"/>
                                        <p:tgtEl>
                                          <p:spTgt spid="111"/>
                                        </p:tgtEl>
                                      </p:cBhvr>
                                    </p:animEffect>
                                    <p:animScale>
                                      <p:cBhvr>
                                        <p:cTn id="336" dur="1000" autoRev="1" fill="hold"/>
                                        <p:tgtEl>
                                          <p:spTgt spid="111"/>
                                        </p:tgtEl>
                                      </p:cBhvr>
                                      <p:by x="105000" y="105000"/>
                                    </p:animScale>
                                  </p:childTnLst>
                                </p:cTn>
                              </p:par>
                              <p:par>
                                <p:cTn id="337" presetID="26" presetClass="emph" presetSubtype="0" dur="2000" repeatCount="indefinite" fill="hold" grpId="0" nodeType="withEffect">
                                  <p:stCondLst>
                                    <p:cond delay="2250"/>
                                  </p:stCondLst>
                                  <p:childTnLst>
                                    <p:animEffect transition="out" filter="fade">
                                      <p:cBhvr>
                                        <p:cTn id="338" dur="2000" tmFilter="0, 0; .2, .5; .8, .5; 1, 0"/>
                                        <p:tgtEl>
                                          <p:spTgt spid="127"/>
                                        </p:tgtEl>
                                      </p:cBhvr>
                                    </p:animEffect>
                                    <p:animScale>
                                      <p:cBhvr>
                                        <p:cTn id="339" dur="1000" autoRev="1" fill="hold"/>
                                        <p:tgtEl>
                                          <p:spTgt spid="127"/>
                                        </p:tgtEl>
                                      </p:cBhvr>
                                      <p:by x="105000" y="105000"/>
                                    </p:animScale>
                                  </p:childTnLst>
                                </p:cTn>
                              </p:par>
                              <p:par>
                                <p:cTn id="340" presetID="26" presetClass="emph" presetSubtype="0" dur="2000" repeatCount="indefinite" fill="hold" grpId="0" nodeType="withEffect">
                                  <p:stCondLst>
                                    <p:cond delay="2250"/>
                                  </p:stCondLst>
                                  <p:childTnLst>
                                    <p:animEffect transition="out" filter="fade">
                                      <p:cBhvr>
                                        <p:cTn id="341" dur="2000" tmFilter="0, 0; .2, .5; .8, .5; 1, 0"/>
                                        <p:tgtEl>
                                          <p:spTgt spid="144"/>
                                        </p:tgtEl>
                                      </p:cBhvr>
                                    </p:animEffect>
                                    <p:animScale>
                                      <p:cBhvr>
                                        <p:cTn id="342" dur="1000" autoRev="1" fill="hold"/>
                                        <p:tgtEl>
                                          <p:spTgt spid="144"/>
                                        </p:tgtEl>
                                      </p:cBhvr>
                                      <p:by x="105000" y="105000"/>
                                    </p:animScale>
                                  </p:childTnLst>
                                </p:cTn>
                              </p:par>
                              <p:par>
                                <p:cTn id="343" presetID="26" presetClass="emph" presetSubtype="0" dur="2000" repeatCount="indefinite" fill="hold" grpId="0" nodeType="withEffect">
                                  <p:stCondLst>
                                    <p:cond delay="2250"/>
                                  </p:stCondLst>
                                  <p:childTnLst>
                                    <p:animEffect transition="out" filter="fade">
                                      <p:cBhvr>
                                        <p:cTn id="344" dur="2000" tmFilter="0, 0; .2, .5; .8, .5; 1, 0"/>
                                        <p:tgtEl>
                                          <p:spTgt spid="161"/>
                                        </p:tgtEl>
                                      </p:cBhvr>
                                    </p:animEffect>
                                    <p:animScale>
                                      <p:cBhvr>
                                        <p:cTn id="345" dur="1000" autoRev="1" fill="hold"/>
                                        <p:tgtEl>
                                          <p:spTgt spid="161"/>
                                        </p:tgtEl>
                                      </p:cBhvr>
                                      <p:by x="105000" y="105000"/>
                                    </p:animScale>
                                  </p:childTnLst>
                                </p:cTn>
                              </p:par>
                              <p:par>
                                <p:cTn id="346" presetID="26" presetClass="emph" presetSubtype="0" dur="2000" repeatCount="indefinite" fill="hold" grpId="0" nodeType="withEffect">
                                  <p:stCondLst>
                                    <p:cond delay="2250"/>
                                  </p:stCondLst>
                                  <p:childTnLst>
                                    <p:animEffect transition="out" filter="fade">
                                      <p:cBhvr>
                                        <p:cTn id="347" dur="2000" tmFilter="0, 0; .2, .5; .8, .5; 1, 0"/>
                                        <p:tgtEl>
                                          <p:spTgt spid="178"/>
                                        </p:tgtEl>
                                      </p:cBhvr>
                                    </p:animEffect>
                                    <p:animScale>
                                      <p:cBhvr>
                                        <p:cTn id="348" dur="1000" autoRev="1" fill="hold"/>
                                        <p:tgtEl>
                                          <p:spTgt spid="178"/>
                                        </p:tgtEl>
                                      </p:cBhvr>
                                      <p:by x="105000" y="105000"/>
                                    </p:animScale>
                                  </p:childTnLst>
                                </p:cTn>
                              </p:par>
                              <p:par>
                                <p:cTn id="349" presetID="26" presetClass="emph" presetSubtype="0" dur="2000" repeatCount="indefinite" fill="hold" grpId="0" nodeType="withEffect">
                                  <p:stCondLst>
                                    <p:cond delay="2250"/>
                                  </p:stCondLst>
                                  <p:childTnLst>
                                    <p:animEffect transition="out" filter="fade">
                                      <p:cBhvr>
                                        <p:cTn id="350" dur="2000" tmFilter="0, 0; .2, .5; .8, .5; 1, 0"/>
                                        <p:tgtEl>
                                          <p:spTgt spid="195"/>
                                        </p:tgtEl>
                                      </p:cBhvr>
                                    </p:animEffect>
                                    <p:animScale>
                                      <p:cBhvr>
                                        <p:cTn id="351" dur="1000" autoRev="1" fill="hold"/>
                                        <p:tgtEl>
                                          <p:spTgt spid="195"/>
                                        </p:tgtEl>
                                      </p:cBhvr>
                                      <p:by x="105000" y="105000"/>
                                    </p:animScale>
                                  </p:childTnLst>
                                </p:cTn>
                              </p:par>
                              <p:par>
                                <p:cTn id="352" presetID="26" presetClass="emph" presetSubtype="0" dur="2000" repeatCount="indefinite" fill="hold" grpId="0" nodeType="withEffect">
                                  <p:stCondLst>
                                    <p:cond delay="2250"/>
                                  </p:stCondLst>
                                  <p:childTnLst>
                                    <p:animEffect transition="out" filter="fade">
                                      <p:cBhvr>
                                        <p:cTn id="353" dur="2000" tmFilter="0, 0; .2, .5; .8, .5; 1, 0"/>
                                        <p:tgtEl>
                                          <p:spTgt spid="212"/>
                                        </p:tgtEl>
                                      </p:cBhvr>
                                    </p:animEffect>
                                    <p:animScale>
                                      <p:cBhvr>
                                        <p:cTn id="354" dur="1000" autoRev="1" fill="hold"/>
                                        <p:tgtEl>
                                          <p:spTgt spid="212"/>
                                        </p:tgtEl>
                                      </p:cBhvr>
                                      <p:by x="105000" y="105000"/>
                                    </p:animScale>
                                  </p:childTnLst>
                                </p:cTn>
                              </p:par>
                              <p:par>
                                <p:cTn id="355" presetID="26" presetClass="emph" presetSubtype="0" dur="2000" repeatCount="indefinite" fill="hold" grpId="0" nodeType="withEffect">
                                  <p:stCondLst>
                                    <p:cond delay="2250"/>
                                  </p:stCondLst>
                                  <p:childTnLst>
                                    <p:animEffect transition="out" filter="fade">
                                      <p:cBhvr>
                                        <p:cTn id="356" dur="2000" tmFilter="0, 0; .2, .5; .8, .5; 1, 0"/>
                                        <p:tgtEl>
                                          <p:spTgt spid="228"/>
                                        </p:tgtEl>
                                      </p:cBhvr>
                                    </p:animEffect>
                                    <p:animScale>
                                      <p:cBhvr>
                                        <p:cTn id="357" dur="1000" autoRev="1" fill="hold"/>
                                        <p:tgtEl>
                                          <p:spTgt spid="228"/>
                                        </p:tgtEl>
                                      </p:cBhvr>
                                      <p:by x="105000" y="105000"/>
                                    </p:animScale>
                                  </p:childTnLst>
                                </p:cTn>
                              </p:par>
                              <p:par>
                                <p:cTn id="358" presetID="26" presetClass="emph" presetSubtype="0" dur="2000" repeatCount="indefinite" fill="hold" grpId="0" nodeType="withEffect">
                                  <p:stCondLst>
                                    <p:cond delay="2500"/>
                                  </p:stCondLst>
                                  <p:childTnLst>
                                    <p:animEffect transition="out" filter="fade">
                                      <p:cBhvr>
                                        <p:cTn id="359" dur="2000" tmFilter="0, 0; .2, .5; .8, .5; 1, 0"/>
                                        <p:tgtEl>
                                          <p:spTgt spid="17"/>
                                        </p:tgtEl>
                                      </p:cBhvr>
                                    </p:animEffect>
                                    <p:animScale>
                                      <p:cBhvr>
                                        <p:cTn id="360" dur="1000" autoRev="1" fill="hold"/>
                                        <p:tgtEl>
                                          <p:spTgt spid="17"/>
                                        </p:tgtEl>
                                      </p:cBhvr>
                                      <p:by x="105000" y="105000"/>
                                    </p:animScale>
                                  </p:childTnLst>
                                </p:cTn>
                              </p:par>
                              <p:par>
                                <p:cTn id="361" presetID="26" presetClass="emph" presetSubtype="0" dur="2000" repeatCount="indefinite" fill="hold" grpId="0" nodeType="withEffect">
                                  <p:stCondLst>
                                    <p:cond delay="2500"/>
                                  </p:stCondLst>
                                  <p:childTnLst>
                                    <p:animEffect transition="out" filter="fade">
                                      <p:cBhvr>
                                        <p:cTn id="362" dur="2000" tmFilter="0, 0; .2, .5; .8, .5; 1, 0"/>
                                        <p:tgtEl>
                                          <p:spTgt spid="32"/>
                                        </p:tgtEl>
                                      </p:cBhvr>
                                    </p:animEffect>
                                    <p:animScale>
                                      <p:cBhvr>
                                        <p:cTn id="363" dur="1000" autoRev="1" fill="hold"/>
                                        <p:tgtEl>
                                          <p:spTgt spid="32"/>
                                        </p:tgtEl>
                                      </p:cBhvr>
                                      <p:by x="105000" y="105000"/>
                                    </p:animScale>
                                  </p:childTnLst>
                                </p:cTn>
                              </p:par>
                              <p:par>
                                <p:cTn id="364" presetID="26" presetClass="emph" presetSubtype="0" dur="2000" repeatCount="indefinite" fill="hold" grpId="0" nodeType="withEffect">
                                  <p:stCondLst>
                                    <p:cond delay="2500"/>
                                  </p:stCondLst>
                                  <p:childTnLst>
                                    <p:animEffect transition="out" filter="fade">
                                      <p:cBhvr>
                                        <p:cTn id="365" dur="2000" tmFilter="0, 0; .2, .5; .8, .5; 1, 0"/>
                                        <p:tgtEl>
                                          <p:spTgt spid="48"/>
                                        </p:tgtEl>
                                      </p:cBhvr>
                                    </p:animEffect>
                                    <p:animScale>
                                      <p:cBhvr>
                                        <p:cTn id="366" dur="1000" autoRev="1" fill="hold"/>
                                        <p:tgtEl>
                                          <p:spTgt spid="48"/>
                                        </p:tgtEl>
                                      </p:cBhvr>
                                      <p:by x="105000" y="105000"/>
                                    </p:animScale>
                                  </p:childTnLst>
                                </p:cTn>
                              </p:par>
                              <p:par>
                                <p:cTn id="367" presetID="26" presetClass="emph" presetSubtype="0" dur="2000" repeatCount="indefinite" fill="hold" grpId="0" nodeType="withEffect">
                                  <p:stCondLst>
                                    <p:cond delay="2500"/>
                                  </p:stCondLst>
                                  <p:childTnLst>
                                    <p:animEffect transition="out" filter="fade">
                                      <p:cBhvr>
                                        <p:cTn id="368" dur="2000" tmFilter="0, 0; .2, .5; .8, .5; 1, 0"/>
                                        <p:tgtEl>
                                          <p:spTgt spid="64"/>
                                        </p:tgtEl>
                                      </p:cBhvr>
                                    </p:animEffect>
                                    <p:animScale>
                                      <p:cBhvr>
                                        <p:cTn id="369" dur="1000" autoRev="1" fill="hold"/>
                                        <p:tgtEl>
                                          <p:spTgt spid="64"/>
                                        </p:tgtEl>
                                      </p:cBhvr>
                                      <p:by x="105000" y="105000"/>
                                    </p:animScale>
                                  </p:childTnLst>
                                </p:cTn>
                              </p:par>
                              <p:par>
                                <p:cTn id="370" presetID="26" presetClass="emph" presetSubtype="0" dur="2000" repeatCount="indefinite" fill="hold" grpId="0" nodeType="withEffect">
                                  <p:stCondLst>
                                    <p:cond delay="2500"/>
                                  </p:stCondLst>
                                  <p:childTnLst>
                                    <p:animEffect transition="out" filter="fade">
                                      <p:cBhvr>
                                        <p:cTn id="371" dur="2000" tmFilter="0, 0; .2, .5; .8, .5; 1, 0"/>
                                        <p:tgtEl>
                                          <p:spTgt spid="80"/>
                                        </p:tgtEl>
                                      </p:cBhvr>
                                    </p:animEffect>
                                    <p:animScale>
                                      <p:cBhvr>
                                        <p:cTn id="372" dur="1000" autoRev="1" fill="hold"/>
                                        <p:tgtEl>
                                          <p:spTgt spid="80"/>
                                        </p:tgtEl>
                                      </p:cBhvr>
                                      <p:by x="105000" y="105000"/>
                                    </p:animScale>
                                  </p:childTnLst>
                                </p:cTn>
                              </p:par>
                              <p:par>
                                <p:cTn id="373" presetID="26" presetClass="emph" presetSubtype="0" dur="2000" repeatCount="indefinite" fill="hold" grpId="0" nodeType="withEffect">
                                  <p:stCondLst>
                                    <p:cond delay="2500"/>
                                  </p:stCondLst>
                                  <p:childTnLst>
                                    <p:animEffect transition="out" filter="fade">
                                      <p:cBhvr>
                                        <p:cTn id="374" dur="2000" tmFilter="0, 0; .2, .5; .8, .5; 1, 0"/>
                                        <p:tgtEl>
                                          <p:spTgt spid="96"/>
                                        </p:tgtEl>
                                      </p:cBhvr>
                                    </p:animEffect>
                                    <p:animScale>
                                      <p:cBhvr>
                                        <p:cTn id="375" dur="1000" autoRev="1" fill="hold"/>
                                        <p:tgtEl>
                                          <p:spTgt spid="96"/>
                                        </p:tgtEl>
                                      </p:cBhvr>
                                      <p:by x="105000" y="105000"/>
                                    </p:animScale>
                                  </p:childTnLst>
                                </p:cTn>
                              </p:par>
                              <p:par>
                                <p:cTn id="376" presetID="26" presetClass="emph" presetSubtype="0" dur="2000" repeatCount="indefinite" fill="hold" grpId="0" nodeType="withEffect">
                                  <p:stCondLst>
                                    <p:cond delay="2500"/>
                                  </p:stCondLst>
                                  <p:childTnLst>
                                    <p:animEffect transition="out" filter="fade">
                                      <p:cBhvr>
                                        <p:cTn id="377" dur="2000" tmFilter="0, 0; .2, .5; .8, .5; 1, 0"/>
                                        <p:tgtEl>
                                          <p:spTgt spid="112"/>
                                        </p:tgtEl>
                                      </p:cBhvr>
                                    </p:animEffect>
                                    <p:animScale>
                                      <p:cBhvr>
                                        <p:cTn id="378" dur="1000" autoRev="1" fill="hold"/>
                                        <p:tgtEl>
                                          <p:spTgt spid="112"/>
                                        </p:tgtEl>
                                      </p:cBhvr>
                                      <p:by x="105000" y="105000"/>
                                    </p:animScale>
                                  </p:childTnLst>
                                </p:cTn>
                              </p:par>
                              <p:par>
                                <p:cTn id="379" presetID="26" presetClass="emph" presetSubtype="0" dur="2000" repeatCount="indefinite" fill="hold" grpId="0" nodeType="withEffect">
                                  <p:stCondLst>
                                    <p:cond delay="2500"/>
                                  </p:stCondLst>
                                  <p:childTnLst>
                                    <p:animEffect transition="out" filter="fade">
                                      <p:cBhvr>
                                        <p:cTn id="380" dur="2000" tmFilter="0, 0; .2, .5; .8, .5; 1, 0"/>
                                        <p:tgtEl>
                                          <p:spTgt spid="128"/>
                                        </p:tgtEl>
                                      </p:cBhvr>
                                    </p:animEffect>
                                    <p:animScale>
                                      <p:cBhvr>
                                        <p:cTn id="381" dur="1000" autoRev="1" fill="hold"/>
                                        <p:tgtEl>
                                          <p:spTgt spid="128"/>
                                        </p:tgtEl>
                                      </p:cBhvr>
                                      <p:by x="105000" y="105000"/>
                                    </p:animScale>
                                  </p:childTnLst>
                                </p:cTn>
                              </p:par>
                              <p:par>
                                <p:cTn id="382" presetID="26" presetClass="emph" presetSubtype="0" dur="2000" repeatCount="indefinite" fill="hold" grpId="0" nodeType="withEffect">
                                  <p:stCondLst>
                                    <p:cond delay="2500"/>
                                  </p:stCondLst>
                                  <p:childTnLst>
                                    <p:animEffect transition="out" filter="fade">
                                      <p:cBhvr>
                                        <p:cTn id="383" dur="2000" tmFilter="0, 0; .2, .5; .8, .5; 1, 0"/>
                                        <p:tgtEl>
                                          <p:spTgt spid="145"/>
                                        </p:tgtEl>
                                      </p:cBhvr>
                                    </p:animEffect>
                                    <p:animScale>
                                      <p:cBhvr>
                                        <p:cTn id="384" dur="1000" autoRev="1" fill="hold"/>
                                        <p:tgtEl>
                                          <p:spTgt spid="145"/>
                                        </p:tgtEl>
                                      </p:cBhvr>
                                      <p:by x="105000" y="105000"/>
                                    </p:animScale>
                                  </p:childTnLst>
                                </p:cTn>
                              </p:par>
                              <p:par>
                                <p:cTn id="385" presetID="26" presetClass="emph" presetSubtype="0" dur="2000" repeatCount="indefinite" fill="hold" grpId="0" nodeType="withEffect">
                                  <p:stCondLst>
                                    <p:cond delay="2500"/>
                                  </p:stCondLst>
                                  <p:childTnLst>
                                    <p:animEffect transition="out" filter="fade">
                                      <p:cBhvr>
                                        <p:cTn id="386" dur="2000" tmFilter="0, 0; .2, .5; .8, .5; 1, 0"/>
                                        <p:tgtEl>
                                          <p:spTgt spid="162"/>
                                        </p:tgtEl>
                                      </p:cBhvr>
                                    </p:animEffect>
                                    <p:animScale>
                                      <p:cBhvr>
                                        <p:cTn id="387" dur="1000" autoRev="1" fill="hold"/>
                                        <p:tgtEl>
                                          <p:spTgt spid="162"/>
                                        </p:tgtEl>
                                      </p:cBhvr>
                                      <p:by x="105000" y="105000"/>
                                    </p:animScale>
                                  </p:childTnLst>
                                </p:cTn>
                              </p:par>
                              <p:par>
                                <p:cTn id="388" presetID="26" presetClass="emph" presetSubtype="0" dur="2000" repeatCount="indefinite" fill="hold" grpId="0" nodeType="withEffect">
                                  <p:stCondLst>
                                    <p:cond delay="2500"/>
                                  </p:stCondLst>
                                  <p:childTnLst>
                                    <p:animEffect transition="out" filter="fade">
                                      <p:cBhvr>
                                        <p:cTn id="389" dur="2000" tmFilter="0, 0; .2, .5; .8, .5; 1, 0"/>
                                        <p:tgtEl>
                                          <p:spTgt spid="179"/>
                                        </p:tgtEl>
                                      </p:cBhvr>
                                    </p:animEffect>
                                    <p:animScale>
                                      <p:cBhvr>
                                        <p:cTn id="390" dur="1000" autoRev="1" fill="hold"/>
                                        <p:tgtEl>
                                          <p:spTgt spid="179"/>
                                        </p:tgtEl>
                                      </p:cBhvr>
                                      <p:by x="105000" y="105000"/>
                                    </p:animScale>
                                  </p:childTnLst>
                                </p:cTn>
                              </p:par>
                              <p:par>
                                <p:cTn id="391" presetID="26" presetClass="emph" presetSubtype="0" dur="2000" repeatCount="indefinite" fill="hold" grpId="0" nodeType="withEffect">
                                  <p:stCondLst>
                                    <p:cond delay="2500"/>
                                  </p:stCondLst>
                                  <p:childTnLst>
                                    <p:animEffect transition="out" filter="fade">
                                      <p:cBhvr>
                                        <p:cTn id="392" dur="2000" tmFilter="0, 0; .2, .5; .8, .5; 1, 0"/>
                                        <p:tgtEl>
                                          <p:spTgt spid="196"/>
                                        </p:tgtEl>
                                      </p:cBhvr>
                                    </p:animEffect>
                                    <p:animScale>
                                      <p:cBhvr>
                                        <p:cTn id="393" dur="1000" autoRev="1" fill="hold"/>
                                        <p:tgtEl>
                                          <p:spTgt spid="196"/>
                                        </p:tgtEl>
                                      </p:cBhvr>
                                      <p:by x="105000" y="105000"/>
                                    </p:animScale>
                                  </p:childTnLst>
                                </p:cTn>
                              </p:par>
                              <p:par>
                                <p:cTn id="394" presetID="26" presetClass="emph" presetSubtype="0" dur="2000" repeatCount="indefinite" fill="hold" grpId="0" nodeType="withEffect">
                                  <p:stCondLst>
                                    <p:cond delay="2500"/>
                                  </p:stCondLst>
                                  <p:childTnLst>
                                    <p:animEffect transition="out" filter="fade">
                                      <p:cBhvr>
                                        <p:cTn id="395" dur="2000" tmFilter="0, 0; .2, .5; .8, .5; 1, 0"/>
                                        <p:tgtEl>
                                          <p:spTgt spid="213"/>
                                        </p:tgtEl>
                                      </p:cBhvr>
                                    </p:animEffect>
                                    <p:animScale>
                                      <p:cBhvr>
                                        <p:cTn id="396" dur="1000" autoRev="1" fill="hold"/>
                                        <p:tgtEl>
                                          <p:spTgt spid="213"/>
                                        </p:tgtEl>
                                      </p:cBhvr>
                                      <p:by x="105000" y="105000"/>
                                    </p:animScale>
                                  </p:childTnLst>
                                </p:cTn>
                              </p:par>
                              <p:par>
                                <p:cTn id="397" presetID="26" presetClass="emph" presetSubtype="0" dur="2000" repeatCount="indefinite" fill="hold" grpId="0" nodeType="withEffect">
                                  <p:stCondLst>
                                    <p:cond delay="2500"/>
                                  </p:stCondLst>
                                  <p:childTnLst>
                                    <p:animEffect transition="out" filter="fade">
                                      <p:cBhvr>
                                        <p:cTn id="398" dur="2000" tmFilter="0, 0; .2, .5; .8, .5; 1, 0"/>
                                        <p:tgtEl>
                                          <p:spTgt spid="229"/>
                                        </p:tgtEl>
                                      </p:cBhvr>
                                    </p:animEffect>
                                    <p:animScale>
                                      <p:cBhvr>
                                        <p:cTn id="399" dur="1000" autoRev="1" fill="hold"/>
                                        <p:tgtEl>
                                          <p:spTgt spid="229"/>
                                        </p:tgtEl>
                                      </p:cBhvr>
                                      <p:by x="105000" y="105000"/>
                                    </p:animScale>
                                  </p:childTnLst>
                                </p:cTn>
                              </p:par>
                              <p:par>
                                <p:cTn id="400" presetID="26" presetClass="emph" presetSubtype="0" dur="2000" repeatCount="indefinite" fill="hold" grpId="0" nodeType="withEffect">
                                  <p:stCondLst>
                                    <p:cond delay="2750"/>
                                  </p:stCondLst>
                                  <p:childTnLst>
                                    <p:animEffect transition="out" filter="fade">
                                      <p:cBhvr>
                                        <p:cTn id="401" dur="2000" tmFilter="0, 0; .2, .5; .8, .5; 1, 0"/>
                                        <p:tgtEl>
                                          <p:spTgt spid="18"/>
                                        </p:tgtEl>
                                      </p:cBhvr>
                                    </p:animEffect>
                                    <p:animScale>
                                      <p:cBhvr>
                                        <p:cTn id="402" dur="1000" autoRev="1" fill="hold"/>
                                        <p:tgtEl>
                                          <p:spTgt spid="18"/>
                                        </p:tgtEl>
                                      </p:cBhvr>
                                      <p:by x="105000" y="105000"/>
                                    </p:animScale>
                                  </p:childTnLst>
                                </p:cTn>
                              </p:par>
                              <p:par>
                                <p:cTn id="403" presetID="26" presetClass="emph" presetSubtype="0" dur="2000" repeatCount="indefinite" fill="hold" grpId="0" nodeType="withEffect">
                                  <p:stCondLst>
                                    <p:cond delay="2750"/>
                                  </p:stCondLst>
                                  <p:childTnLst>
                                    <p:animEffect transition="out" filter="fade">
                                      <p:cBhvr>
                                        <p:cTn id="404" dur="2000" tmFilter="0, 0; .2, .5; .8, .5; 1, 0"/>
                                        <p:tgtEl>
                                          <p:spTgt spid="33"/>
                                        </p:tgtEl>
                                      </p:cBhvr>
                                    </p:animEffect>
                                    <p:animScale>
                                      <p:cBhvr>
                                        <p:cTn id="405" dur="1000" autoRev="1" fill="hold"/>
                                        <p:tgtEl>
                                          <p:spTgt spid="33"/>
                                        </p:tgtEl>
                                      </p:cBhvr>
                                      <p:by x="105000" y="105000"/>
                                    </p:animScale>
                                  </p:childTnLst>
                                </p:cTn>
                              </p:par>
                              <p:par>
                                <p:cTn id="406" presetID="26" presetClass="emph" presetSubtype="0" dur="2000" repeatCount="indefinite" fill="hold" grpId="0" nodeType="withEffect">
                                  <p:stCondLst>
                                    <p:cond delay="2750"/>
                                  </p:stCondLst>
                                  <p:childTnLst>
                                    <p:animEffect transition="out" filter="fade">
                                      <p:cBhvr>
                                        <p:cTn id="407" dur="2000" tmFilter="0, 0; .2, .5; .8, .5; 1, 0"/>
                                        <p:tgtEl>
                                          <p:spTgt spid="49"/>
                                        </p:tgtEl>
                                      </p:cBhvr>
                                    </p:animEffect>
                                    <p:animScale>
                                      <p:cBhvr>
                                        <p:cTn id="408" dur="1000" autoRev="1" fill="hold"/>
                                        <p:tgtEl>
                                          <p:spTgt spid="49"/>
                                        </p:tgtEl>
                                      </p:cBhvr>
                                      <p:by x="105000" y="105000"/>
                                    </p:animScale>
                                  </p:childTnLst>
                                </p:cTn>
                              </p:par>
                              <p:par>
                                <p:cTn id="409" presetID="26" presetClass="emph" presetSubtype="0" dur="2000" repeatCount="indefinite" fill="hold" grpId="0" nodeType="withEffect">
                                  <p:stCondLst>
                                    <p:cond delay="2750"/>
                                  </p:stCondLst>
                                  <p:childTnLst>
                                    <p:animEffect transition="out" filter="fade">
                                      <p:cBhvr>
                                        <p:cTn id="410" dur="2000" tmFilter="0, 0; .2, .5; .8, .5; 1, 0"/>
                                        <p:tgtEl>
                                          <p:spTgt spid="65"/>
                                        </p:tgtEl>
                                      </p:cBhvr>
                                    </p:animEffect>
                                    <p:animScale>
                                      <p:cBhvr>
                                        <p:cTn id="411" dur="1000" autoRev="1" fill="hold"/>
                                        <p:tgtEl>
                                          <p:spTgt spid="65"/>
                                        </p:tgtEl>
                                      </p:cBhvr>
                                      <p:by x="105000" y="105000"/>
                                    </p:animScale>
                                  </p:childTnLst>
                                </p:cTn>
                              </p:par>
                              <p:par>
                                <p:cTn id="412" presetID="26" presetClass="emph" presetSubtype="0" dur="2000" repeatCount="indefinite" fill="hold" grpId="0" nodeType="withEffect">
                                  <p:stCondLst>
                                    <p:cond delay="2750"/>
                                  </p:stCondLst>
                                  <p:childTnLst>
                                    <p:animEffect transition="out" filter="fade">
                                      <p:cBhvr>
                                        <p:cTn id="413" dur="2000" tmFilter="0, 0; .2, .5; .8, .5; 1, 0"/>
                                        <p:tgtEl>
                                          <p:spTgt spid="81"/>
                                        </p:tgtEl>
                                      </p:cBhvr>
                                    </p:animEffect>
                                    <p:animScale>
                                      <p:cBhvr>
                                        <p:cTn id="414" dur="1000" autoRev="1" fill="hold"/>
                                        <p:tgtEl>
                                          <p:spTgt spid="81"/>
                                        </p:tgtEl>
                                      </p:cBhvr>
                                      <p:by x="105000" y="105000"/>
                                    </p:animScale>
                                  </p:childTnLst>
                                </p:cTn>
                              </p:par>
                              <p:par>
                                <p:cTn id="415" presetID="26" presetClass="emph" presetSubtype="0" dur="2000" repeatCount="indefinite" fill="hold" grpId="0" nodeType="withEffect">
                                  <p:stCondLst>
                                    <p:cond delay="2750"/>
                                  </p:stCondLst>
                                  <p:childTnLst>
                                    <p:animEffect transition="out" filter="fade">
                                      <p:cBhvr>
                                        <p:cTn id="416" dur="2000" tmFilter="0, 0; .2, .5; .8, .5; 1, 0"/>
                                        <p:tgtEl>
                                          <p:spTgt spid="97"/>
                                        </p:tgtEl>
                                      </p:cBhvr>
                                    </p:animEffect>
                                    <p:animScale>
                                      <p:cBhvr>
                                        <p:cTn id="417" dur="1000" autoRev="1" fill="hold"/>
                                        <p:tgtEl>
                                          <p:spTgt spid="97"/>
                                        </p:tgtEl>
                                      </p:cBhvr>
                                      <p:by x="105000" y="105000"/>
                                    </p:animScale>
                                  </p:childTnLst>
                                </p:cTn>
                              </p:par>
                              <p:par>
                                <p:cTn id="418" presetID="26" presetClass="emph" presetSubtype="0" dur="2000" repeatCount="indefinite" fill="hold" grpId="0" nodeType="withEffect">
                                  <p:stCondLst>
                                    <p:cond delay="2750"/>
                                  </p:stCondLst>
                                  <p:childTnLst>
                                    <p:animEffect transition="out" filter="fade">
                                      <p:cBhvr>
                                        <p:cTn id="419" dur="2000" tmFilter="0, 0; .2, .5; .8, .5; 1, 0"/>
                                        <p:tgtEl>
                                          <p:spTgt spid="113"/>
                                        </p:tgtEl>
                                      </p:cBhvr>
                                    </p:animEffect>
                                    <p:animScale>
                                      <p:cBhvr>
                                        <p:cTn id="420" dur="1000" autoRev="1" fill="hold"/>
                                        <p:tgtEl>
                                          <p:spTgt spid="113"/>
                                        </p:tgtEl>
                                      </p:cBhvr>
                                      <p:by x="105000" y="105000"/>
                                    </p:animScale>
                                  </p:childTnLst>
                                </p:cTn>
                              </p:par>
                              <p:par>
                                <p:cTn id="421" presetID="26" presetClass="emph" presetSubtype="0" dur="2000" repeatCount="indefinite" fill="hold" grpId="0" nodeType="withEffect">
                                  <p:stCondLst>
                                    <p:cond delay="2750"/>
                                  </p:stCondLst>
                                  <p:childTnLst>
                                    <p:animEffect transition="out" filter="fade">
                                      <p:cBhvr>
                                        <p:cTn id="422" dur="2000" tmFilter="0, 0; .2, .5; .8, .5; 1, 0"/>
                                        <p:tgtEl>
                                          <p:spTgt spid="129"/>
                                        </p:tgtEl>
                                      </p:cBhvr>
                                    </p:animEffect>
                                    <p:animScale>
                                      <p:cBhvr>
                                        <p:cTn id="423" dur="1000" autoRev="1" fill="hold"/>
                                        <p:tgtEl>
                                          <p:spTgt spid="129"/>
                                        </p:tgtEl>
                                      </p:cBhvr>
                                      <p:by x="105000" y="105000"/>
                                    </p:animScale>
                                  </p:childTnLst>
                                </p:cTn>
                              </p:par>
                              <p:par>
                                <p:cTn id="424" presetID="26" presetClass="emph" presetSubtype="0" dur="2000" repeatCount="indefinite" fill="hold" grpId="0" nodeType="withEffect">
                                  <p:stCondLst>
                                    <p:cond delay="2750"/>
                                  </p:stCondLst>
                                  <p:childTnLst>
                                    <p:animEffect transition="out" filter="fade">
                                      <p:cBhvr>
                                        <p:cTn id="425" dur="2000" tmFilter="0, 0; .2, .5; .8, .5; 1, 0"/>
                                        <p:tgtEl>
                                          <p:spTgt spid="146"/>
                                        </p:tgtEl>
                                      </p:cBhvr>
                                    </p:animEffect>
                                    <p:animScale>
                                      <p:cBhvr>
                                        <p:cTn id="426" dur="1000" autoRev="1" fill="hold"/>
                                        <p:tgtEl>
                                          <p:spTgt spid="146"/>
                                        </p:tgtEl>
                                      </p:cBhvr>
                                      <p:by x="105000" y="105000"/>
                                    </p:animScale>
                                  </p:childTnLst>
                                </p:cTn>
                              </p:par>
                              <p:par>
                                <p:cTn id="427" presetID="26" presetClass="emph" presetSubtype="0" dur="2000" repeatCount="indefinite" fill="hold" grpId="0" nodeType="withEffect">
                                  <p:stCondLst>
                                    <p:cond delay="2750"/>
                                  </p:stCondLst>
                                  <p:childTnLst>
                                    <p:animEffect transition="out" filter="fade">
                                      <p:cBhvr>
                                        <p:cTn id="428" dur="2000" tmFilter="0, 0; .2, .5; .8, .5; 1, 0"/>
                                        <p:tgtEl>
                                          <p:spTgt spid="163"/>
                                        </p:tgtEl>
                                      </p:cBhvr>
                                    </p:animEffect>
                                    <p:animScale>
                                      <p:cBhvr>
                                        <p:cTn id="429" dur="1000" autoRev="1" fill="hold"/>
                                        <p:tgtEl>
                                          <p:spTgt spid="163"/>
                                        </p:tgtEl>
                                      </p:cBhvr>
                                      <p:by x="105000" y="105000"/>
                                    </p:animScale>
                                  </p:childTnLst>
                                </p:cTn>
                              </p:par>
                              <p:par>
                                <p:cTn id="430" presetID="26" presetClass="emph" presetSubtype="0" dur="2000" repeatCount="indefinite" fill="hold" grpId="0" nodeType="withEffect">
                                  <p:stCondLst>
                                    <p:cond delay="2750"/>
                                  </p:stCondLst>
                                  <p:childTnLst>
                                    <p:animEffect transition="out" filter="fade">
                                      <p:cBhvr>
                                        <p:cTn id="431" dur="2000" tmFilter="0, 0; .2, .5; .8, .5; 1, 0"/>
                                        <p:tgtEl>
                                          <p:spTgt spid="180"/>
                                        </p:tgtEl>
                                      </p:cBhvr>
                                    </p:animEffect>
                                    <p:animScale>
                                      <p:cBhvr>
                                        <p:cTn id="432" dur="1000" autoRev="1" fill="hold"/>
                                        <p:tgtEl>
                                          <p:spTgt spid="180"/>
                                        </p:tgtEl>
                                      </p:cBhvr>
                                      <p:by x="105000" y="105000"/>
                                    </p:animScale>
                                  </p:childTnLst>
                                </p:cTn>
                              </p:par>
                              <p:par>
                                <p:cTn id="433" presetID="26" presetClass="emph" presetSubtype="0" dur="2000" repeatCount="indefinite" fill="hold" grpId="0" nodeType="withEffect">
                                  <p:stCondLst>
                                    <p:cond delay="2750"/>
                                  </p:stCondLst>
                                  <p:childTnLst>
                                    <p:animEffect transition="out" filter="fade">
                                      <p:cBhvr>
                                        <p:cTn id="434" dur="2000" tmFilter="0, 0; .2, .5; .8, .5; 1, 0"/>
                                        <p:tgtEl>
                                          <p:spTgt spid="197"/>
                                        </p:tgtEl>
                                      </p:cBhvr>
                                    </p:animEffect>
                                    <p:animScale>
                                      <p:cBhvr>
                                        <p:cTn id="435" dur="1000" autoRev="1" fill="hold"/>
                                        <p:tgtEl>
                                          <p:spTgt spid="197"/>
                                        </p:tgtEl>
                                      </p:cBhvr>
                                      <p:by x="105000" y="105000"/>
                                    </p:animScale>
                                  </p:childTnLst>
                                </p:cTn>
                              </p:par>
                              <p:par>
                                <p:cTn id="436" presetID="26" presetClass="emph" presetSubtype="0" dur="2000" repeatCount="indefinite" fill="hold" grpId="0" nodeType="withEffect">
                                  <p:stCondLst>
                                    <p:cond delay="2750"/>
                                  </p:stCondLst>
                                  <p:childTnLst>
                                    <p:animEffect transition="out" filter="fade">
                                      <p:cBhvr>
                                        <p:cTn id="437" dur="2000" tmFilter="0, 0; .2, .5; .8, .5; 1, 0"/>
                                        <p:tgtEl>
                                          <p:spTgt spid="214"/>
                                        </p:tgtEl>
                                      </p:cBhvr>
                                    </p:animEffect>
                                    <p:animScale>
                                      <p:cBhvr>
                                        <p:cTn id="438" dur="1000" autoRev="1" fill="hold"/>
                                        <p:tgtEl>
                                          <p:spTgt spid="214"/>
                                        </p:tgtEl>
                                      </p:cBhvr>
                                      <p:by x="105000" y="105000"/>
                                    </p:animScale>
                                  </p:childTnLst>
                                </p:cTn>
                              </p:par>
                              <p:par>
                                <p:cTn id="439" presetID="26" presetClass="emph" presetSubtype="0" dur="2000" repeatCount="indefinite" fill="hold" grpId="0" nodeType="withEffect">
                                  <p:stCondLst>
                                    <p:cond delay="2750"/>
                                  </p:stCondLst>
                                  <p:childTnLst>
                                    <p:animEffect transition="out" filter="fade">
                                      <p:cBhvr>
                                        <p:cTn id="440" dur="2000" tmFilter="0, 0; .2, .5; .8, .5; 1, 0"/>
                                        <p:tgtEl>
                                          <p:spTgt spid="230"/>
                                        </p:tgtEl>
                                      </p:cBhvr>
                                    </p:animEffect>
                                    <p:animScale>
                                      <p:cBhvr>
                                        <p:cTn id="441" dur="1000" autoRev="1" fill="hold"/>
                                        <p:tgtEl>
                                          <p:spTgt spid="230"/>
                                        </p:tgtEl>
                                      </p:cBhvr>
                                      <p:by x="105000" y="105000"/>
                                    </p:animScale>
                                  </p:childTnLst>
                                </p:cTn>
                              </p:par>
                              <p:par>
                                <p:cTn id="442" presetID="26" presetClass="emph" presetSubtype="0" dur="2000" repeatCount="indefinite" fill="hold" grpId="0" nodeType="withEffect">
                                  <p:stCondLst>
                                    <p:cond delay="3000"/>
                                  </p:stCondLst>
                                  <p:childTnLst>
                                    <p:animEffect transition="out" filter="fade">
                                      <p:cBhvr>
                                        <p:cTn id="443" dur="2000" tmFilter="0, 0; .2, .5; .8, .5; 1, 0"/>
                                        <p:tgtEl>
                                          <p:spTgt spid="19"/>
                                        </p:tgtEl>
                                      </p:cBhvr>
                                    </p:animEffect>
                                    <p:animScale>
                                      <p:cBhvr>
                                        <p:cTn id="444" dur="1000" autoRev="1" fill="hold"/>
                                        <p:tgtEl>
                                          <p:spTgt spid="19"/>
                                        </p:tgtEl>
                                      </p:cBhvr>
                                      <p:by x="105000" y="105000"/>
                                    </p:animScale>
                                  </p:childTnLst>
                                </p:cTn>
                              </p:par>
                              <p:par>
                                <p:cTn id="445" presetID="26" presetClass="emph" presetSubtype="0" dur="2000" repeatCount="indefinite" fill="hold" grpId="0" nodeType="withEffect">
                                  <p:stCondLst>
                                    <p:cond delay="3000"/>
                                  </p:stCondLst>
                                  <p:childTnLst>
                                    <p:animEffect transition="out" filter="fade">
                                      <p:cBhvr>
                                        <p:cTn id="446" dur="2000" tmFilter="0, 0; .2, .5; .8, .5; 1, 0"/>
                                        <p:tgtEl>
                                          <p:spTgt spid="34"/>
                                        </p:tgtEl>
                                      </p:cBhvr>
                                    </p:animEffect>
                                    <p:animScale>
                                      <p:cBhvr>
                                        <p:cTn id="447" dur="1000" autoRev="1" fill="hold"/>
                                        <p:tgtEl>
                                          <p:spTgt spid="34"/>
                                        </p:tgtEl>
                                      </p:cBhvr>
                                      <p:by x="105000" y="105000"/>
                                    </p:animScale>
                                  </p:childTnLst>
                                </p:cTn>
                              </p:par>
                              <p:par>
                                <p:cTn id="448" presetID="26" presetClass="emph" presetSubtype="0" dur="2000" repeatCount="indefinite" fill="hold" grpId="0" nodeType="withEffect">
                                  <p:stCondLst>
                                    <p:cond delay="3000"/>
                                  </p:stCondLst>
                                  <p:childTnLst>
                                    <p:animEffect transition="out" filter="fade">
                                      <p:cBhvr>
                                        <p:cTn id="449" dur="2000" tmFilter="0, 0; .2, .5; .8, .5; 1, 0"/>
                                        <p:tgtEl>
                                          <p:spTgt spid="50"/>
                                        </p:tgtEl>
                                      </p:cBhvr>
                                    </p:animEffect>
                                    <p:animScale>
                                      <p:cBhvr>
                                        <p:cTn id="450" dur="1000" autoRev="1" fill="hold"/>
                                        <p:tgtEl>
                                          <p:spTgt spid="50"/>
                                        </p:tgtEl>
                                      </p:cBhvr>
                                      <p:by x="105000" y="105000"/>
                                    </p:animScale>
                                  </p:childTnLst>
                                </p:cTn>
                              </p:par>
                              <p:par>
                                <p:cTn id="451" presetID="26" presetClass="emph" presetSubtype="0" dur="2000" repeatCount="indefinite" fill="hold" grpId="0" nodeType="withEffect">
                                  <p:stCondLst>
                                    <p:cond delay="3000"/>
                                  </p:stCondLst>
                                  <p:childTnLst>
                                    <p:animEffect transition="out" filter="fade">
                                      <p:cBhvr>
                                        <p:cTn id="452" dur="2000" tmFilter="0, 0; .2, .5; .8, .5; 1, 0"/>
                                        <p:tgtEl>
                                          <p:spTgt spid="66"/>
                                        </p:tgtEl>
                                      </p:cBhvr>
                                    </p:animEffect>
                                    <p:animScale>
                                      <p:cBhvr>
                                        <p:cTn id="453" dur="1000" autoRev="1" fill="hold"/>
                                        <p:tgtEl>
                                          <p:spTgt spid="66"/>
                                        </p:tgtEl>
                                      </p:cBhvr>
                                      <p:by x="105000" y="105000"/>
                                    </p:animScale>
                                  </p:childTnLst>
                                </p:cTn>
                              </p:par>
                              <p:par>
                                <p:cTn id="454" presetID="26" presetClass="emph" presetSubtype="0" dur="2000" repeatCount="indefinite" fill="hold" grpId="0" nodeType="withEffect">
                                  <p:stCondLst>
                                    <p:cond delay="3000"/>
                                  </p:stCondLst>
                                  <p:childTnLst>
                                    <p:animEffect transition="out" filter="fade">
                                      <p:cBhvr>
                                        <p:cTn id="455" dur="2000" tmFilter="0, 0; .2, .5; .8, .5; 1, 0"/>
                                        <p:tgtEl>
                                          <p:spTgt spid="82"/>
                                        </p:tgtEl>
                                      </p:cBhvr>
                                    </p:animEffect>
                                    <p:animScale>
                                      <p:cBhvr>
                                        <p:cTn id="456" dur="1000" autoRev="1" fill="hold"/>
                                        <p:tgtEl>
                                          <p:spTgt spid="82"/>
                                        </p:tgtEl>
                                      </p:cBhvr>
                                      <p:by x="105000" y="105000"/>
                                    </p:animScale>
                                  </p:childTnLst>
                                </p:cTn>
                              </p:par>
                              <p:par>
                                <p:cTn id="457" presetID="26" presetClass="emph" presetSubtype="0" dur="2000" repeatCount="indefinite" fill="hold" grpId="0" nodeType="withEffect">
                                  <p:stCondLst>
                                    <p:cond delay="3000"/>
                                  </p:stCondLst>
                                  <p:childTnLst>
                                    <p:animEffect transition="out" filter="fade">
                                      <p:cBhvr>
                                        <p:cTn id="458" dur="2000" tmFilter="0, 0; .2, .5; .8, .5; 1, 0"/>
                                        <p:tgtEl>
                                          <p:spTgt spid="98"/>
                                        </p:tgtEl>
                                      </p:cBhvr>
                                    </p:animEffect>
                                    <p:animScale>
                                      <p:cBhvr>
                                        <p:cTn id="459" dur="1000" autoRev="1" fill="hold"/>
                                        <p:tgtEl>
                                          <p:spTgt spid="98"/>
                                        </p:tgtEl>
                                      </p:cBhvr>
                                      <p:by x="105000" y="105000"/>
                                    </p:animScale>
                                  </p:childTnLst>
                                </p:cTn>
                              </p:par>
                              <p:par>
                                <p:cTn id="460" presetID="26" presetClass="emph" presetSubtype="0" dur="2000" repeatCount="indefinite" fill="hold" grpId="0" nodeType="withEffect">
                                  <p:stCondLst>
                                    <p:cond delay="3000"/>
                                  </p:stCondLst>
                                  <p:childTnLst>
                                    <p:animEffect transition="out" filter="fade">
                                      <p:cBhvr>
                                        <p:cTn id="461" dur="2000" tmFilter="0, 0; .2, .5; .8, .5; 1, 0"/>
                                        <p:tgtEl>
                                          <p:spTgt spid="114"/>
                                        </p:tgtEl>
                                      </p:cBhvr>
                                    </p:animEffect>
                                    <p:animScale>
                                      <p:cBhvr>
                                        <p:cTn id="462" dur="1000" autoRev="1" fill="hold"/>
                                        <p:tgtEl>
                                          <p:spTgt spid="114"/>
                                        </p:tgtEl>
                                      </p:cBhvr>
                                      <p:by x="105000" y="105000"/>
                                    </p:animScale>
                                  </p:childTnLst>
                                </p:cTn>
                              </p:par>
                              <p:par>
                                <p:cTn id="463" presetID="26" presetClass="emph" presetSubtype="0" dur="2000" repeatCount="indefinite" fill="hold" grpId="0" nodeType="withEffect">
                                  <p:stCondLst>
                                    <p:cond delay="3000"/>
                                  </p:stCondLst>
                                  <p:childTnLst>
                                    <p:animEffect transition="out" filter="fade">
                                      <p:cBhvr>
                                        <p:cTn id="464" dur="2000" tmFilter="0, 0; .2, .5; .8, .5; 1, 0"/>
                                        <p:tgtEl>
                                          <p:spTgt spid="130"/>
                                        </p:tgtEl>
                                      </p:cBhvr>
                                    </p:animEffect>
                                    <p:animScale>
                                      <p:cBhvr>
                                        <p:cTn id="465" dur="1000" autoRev="1" fill="hold"/>
                                        <p:tgtEl>
                                          <p:spTgt spid="130"/>
                                        </p:tgtEl>
                                      </p:cBhvr>
                                      <p:by x="105000" y="105000"/>
                                    </p:animScale>
                                  </p:childTnLst>
                                </p:cTn>
                              </p:par>
                              <p:par>
                                <p:cTn id="466" presetID="26" presetClass="emph" presetSubtype="0" dur="2000" repeatCount="indefinite" fill="hold" grpId="0" nodeType="withEffect">
                                  <p:stCondLst>
                                    <p:cond delay="3000"/>
                                  </p:stCondLst>
                                  <p:childTnLst>
                                    <p:animEffect transition="out" filter="fade">
                                      <p:cBhvr>
                                        <p:cTn id="467" dur="2000" tmFilter="0, 0; .2, .5; .8, .5; 1, 0"/>
                                        <p:tgtEl>
                                          <p:spTgt spid="147"/>
                                        </p:tgtEl>
                                      </p:cBhvr>
                                    </p:animEffect>
                                    <p:animScale>
                                      <p:cBhvr>
                                        <p:cTn id="468" dur="1000" autoRev="1" fill="hold"/>
                                        <p:tgtEl>
                                          <p:spTgt spid="147"/>
                                        </p:tgtEl>
                                      </p:cBhvr>
                                      <p:by x="105000" y="105000"/>
                                    </p:animScale>
                                  </p:childTnLst>
                                </p:cTn>
                              </p:par>
                              <p:par>
                                <p:cTn id="469" presetID="26" presetClass="emph" presetSubtype="0" dur="2000" repeatCount="indefinite" fill="hold" grpId="0" nodeType="withEffect">
                                  <p:stCondLst>
                                    <p:cond delay="3000"/>
                                  </p:stCondLst>
                                  <p:childTnLst>
                                    <p:animEffect transition="out" filter="fade">
                                      <p:cBhvr>
                                        <p:cTn id="470" dur="2000" tmFilter="0, 0; .2, .5; .8, .5; 1, 0"/>
                                        <p:tgtEl>
                                          <p:spTgt spid="164"/>
                                        </p:tgtEl>
                                      </p:cBhvr>
                                    </p:animEffect>
                                    <p:animScale>
                                      <p:cBhvr>
                                        <p:cTn id="471" dur="1000" autoRev="1" fill="hold"/>
                                        <p:tgtEl>
                                          <p:spTgt spid="164"/>
                                        </p:tgtEl>
                                      </p:cBhvr>
                                      <p:by x="105000" y="105000"/>
                                    </p:animScale>
                                  </p:childTnLst>
                                </p:cTn>
                              </p:par>
                              <p:par>
                                <p:cTn id="472" presetID="26" presetClass="emph" presetSubtype="0" dur="2000" repeatCount="indefinite" fill="hold" grpId="0" nodeType="withEffect">
                                  <p:stCondLst>
                                    <p:cond delay="3000"/>
                                  </p:stCondLst>
                                  <p:childTnLst>
                                    <p:animEffect transition="out" filter="fade">
                                      <p:cBhvr>
                                        <p:cTn id="473" dur="2000" tmFilter="0, 0; .2, .5; .8, .5; 1, 0"/>
                                        <p:tgtEl>
                                          <p:spTgt spid="181"/>
                                        </p:tgtEl>
                                      </p:cBhvr>
                                    </p:animEffect>
                                    <p:animScale>
                                      <p:cBhvr>
                                        <p:cTn id="474" dur="1000" autoRev="1" fill="hold"/>
                                        <p:tgtEl>
                                          <p:spTgt spid="181"/>
                                        </p:tgtEl>
                                      </p:cBhvr>
                                      <p:by x="105000" y="105000"/>
                                    </p:animScale>
                                  </p:childTnLst>
                                </p:cTn>
                              </p:par>
                              <p:par>
                                <p:cTn id="475" presetID="26" presetClass="emph" presetSubtype="0" dur="2000" repeatCount="indefinite" fill="hold" grpId="0" nodeType="withEffect">
                                  <p:stCondLst>
                                    <p:cond delay="3000"/>
                                  </p:stCondLst>
                                  <p:childTnLst>
                                    <p:animEffect transition="out" filter="fade">
                                      <p:cBhvr>
                                        <p:cTn id="476" dur="2000" tmFilter="0, 0; .2, .5; .8, .5; 1, 0"/>
                                        <p:tgtEl>
                                          <p:spTgt spid="198"/>
                                        </p:tgtEl>
                                      </p:cBhvr>
                                    </p:animEffect>
                                    <p:animScale>
                                      <p:cBhvr>
                                        <p:cTn id="477" dur="1000" autoRev="1" fill="hold"/>
                                        <p:tgtEl>
                                          <p:spTgt spid="198"/>
                                        </p:tgtEl>
                                      </p:cBhvr>
                                      <p:by x="105000" y="105000"/>
                                    </p:animScale>
                                  </p:childTnLst>
                                </p:cTn>
                              </p:par>
                              <p:par>
                                <p:cTn id="478" presetID="26" presetClass="emph" presetSubtype="0" dur="2000" repeatCount="indefinite" fill="hold" grpId="0" nodeType="withEffect">
                                  <p:stCondLst>
                                    <p:cond delay="3000"/>
                                  </p:stCondLst>
                                  <p:childTnLst>
                                    <p:animEffect transition="out" filter="fade">
                                      <p:cBhvr>
                                        <p:cTn id="479" dur="2000" tmFilter="0, 0; .2, .5; .8, .5; 1, 0"/>
                                        <p:tgtEl>
                                          <p:spTgt spid="215"/>
                                        </p:tgtEl>
                                      </p:cBhvr>
                                    </p:animEffect>
                                    <p:animScale>
                                      <p:cBhvr>
                                        <p:cTn id="480" dur="1000" autoRev="1" fill="hold"/>
                                        <p:tgtEl>
                                          <p:spTgt spid="215"/>
                                        </p:tgtEl>
                                      </p:cBhvr>
                                      <p:by x="105000" y="105000"/>
                                    </p:animScale>
                                  </p:childTnLst>
                                </p:cTn>
                              </p:par>
                              <p:par>
                                <p:cTn id="481" presetID="26" presetClass="emph" presetSubtype="0" dur="2000" repeatCount="indefinite" fill="hold" grpId="0" nodeType="withEffect">
                                  <p:stCondLst>
                                    <p:cond delay="3000"/>
                                  </p:stCondLst>
                                  <p:childTnLst>
                                    <p:animEffect transition="out" filter="fade">
                                      <p:cBhvr>
                                        <p:cTn id="482" dur="2000" tmFilter="0, 0; .2, .5; .8, .5; 1, 0"/>
                                        <p:tgtEl>
                                          <p:spTgt spid="231"/>
                                        </p:tgtEl>
                                      </p:cBhvr>
                                    </p:animEffect>
                                    <p:animScale>
                                      <p:cBhvr>
                                        <p:cTn id="483" dur="1000" autoRev="1" fill="hold"/>
                                        <p:tgtEl>
                                          <p:spTgt spid="231"/>
                                        </p:tgtEl>
                                      </p:cBhvr>
                                      <p:by x="105000" y="105000"/>
                                    </p:animScale>
                                  </p:childTnLst>
                                </p:cTn>
                              </p:par>
                              <p:par>
                                <p:cTn id="484" presetID="26" presetClass="emph" presetSubtype="0" dur="2000" repeatCount="indefinite" fill="hold" grpId="0" nodeType="withEffect">
                                  <p:stCondLst>
                                    <p:cond delay="3250"/>
                                  </p:stCondLst>
                                  <p:childTnLst>
                                    <p:animEffect transition="out" filter="fade">
                                      <p:cBhvr>
                                        <p:cTn id="485" dur="2000" tmFilter="0, 0; .2, .5; .8, .5; 1, 0"/>
                                        <p:tgtEl>
                                          <p:spTgt spid="20"/>
                                        </p:tgtEl>
                                      </p:cBhvr>
                                    </p:animEffect>
                                    <p:animScale>
                                      <p:cBhvr>
                                        <p:cTn id="486" dur="1000" autoRev="1" fill="hold"/>
                                        <p:tgtEl>
                                          <p:spTgt spid="20"/>
                                        </p:tgtEl>
                                      </p:cBhvr>
                                      <p:by x="105000" y="105000"/>
                                    </p:animScale>
                                  </p:childTnLst>
                                </p:cTn>
                              </p:par>
                              <p:par>
                                <p:cTn id="487" presetID="26" presetClass="emph" presetSubtype="0" dur="2000" repeatCount="indefinite" fill="hold" grpId="0" nodeType="withEffect">
                                  <p:stCondLst>
                                    <p:cond delay="3250"/>
                                  </p:stCondLst>
                                  <p:childTnLst>
                                    <p:animEffect transition="out" filter="fade">
                                      <p:cBhvr>
                                        <p:cTn id="488" dur="2000" tmFilter="0, 0; .2, .5; .8, .5; 1, 0"/>
                                        <p:tgtEl>
                                          <p:spTgt spid="35"/>
                                        </p:tgtEl>
                                      </p:cBhvr>
                                    </p:animEffect>
                                    <p:animScale>
                                      <p:cBhvr>
                                        <p:cTn id="489" dur="1000" autoRev="1" fill="hold"/>
                                        <p:tgtEl>
                                          <p:spTgt spid="35"/>
                                        </p:tgtEl>
                                      </p:cBhvr>
                                      <p:by x="105000" y="105000"/>
                                    </p:animScale>
                                  </p:childTnLst>
                                </p:cTn>
                              </p:par>
                              <p:par>
                                <p:cTn id="490" presetID="26" presetClass="emph" presetSubtype="0" dur="2000" repeatCount="indefinite" fill="hold" grpId="0" nodeType="withEffect">
                                  <p:stCondLst>
                                    <p:cond delay="3250"/>
                                  </p:stCondLst>
                                  <p:childTnLst>
                                    <p:animEffect transition="out" filter="fade">
                                      <p:cBhvr>
                                        <p:cTn id="491" dur="2000" tmFilter="0, 0; .2, .5; .8, .5; 1, 0"/>
                                        <p:tgtEl>
                                          <p:spTgt spid="51"/>
                                        </p:tgtEl>
                                      </p:cBhvr>
                                    </p:animEffect>
                                    <p:animScale>
                                      <p:cBhvr>
                                        <p:cTn id="492" dur="1000" autoRev="1" fill="hold"/>
                                        <p:tgtEl>
                                          <p:spTgt spid="51"/>
                                        </p:tgtEl>
                                      </p:cBhvr>
                                      <p:by x="105000" y="105000"/>
                                    </p:animScale>
                                  </p:childTnLst>
                                </p:cTn>
                              </p:par>
                              <p:par>
                                <p:cTn id="493" presetID="26" presetClass="emph" presetSubtype="0" dur="2000" repeatCount="indefinite" fill="hold" grpId="0" nodeType="withEffect">
                                  <p:stCondLst>
                                    <p:cond delay="3250"/>
                                  </p:stCondLst>
                                  <p:childTnLst>
                                    <p:animEffect transition="out" filter="fade">
                                      <p:cBhvr>
                                        <p:cTn id="494" dur="2000" tmFilter="0, 0; .2, .5; .8, .5; 1, 0"/>
                                        <p:tgtEl>
                                          <p:spTgt spid="67"/>
                                        </p:tgtEl>
                                      </p:cBhvr>
                                    </p:animEffect>
                                    <p:animScale>
                                      <p:cBhvr>
                                        <p:cTn id="495" dur="1000" autoRev="1" fill="hold"/>
                                        <p:tgtEl>
                                          <p:spTgt spid="67"/>
                                        </p:tgtEl>
                                      </p:cBhvr>
                                      <p:by x="105000" y="105000"/>
                                    </p:animScale>
                                  </p:childTnLst>
                                </p:cTn>
                              </p:par>
                              <p:par>
                                <p:cTn id="496" presetID="26" presetClass="emph" presetSubtype="0" dur="2000" repeatCount="indefinite" fill="hold" grpId="0" nodeType="withEffect">
                                  <p:stCondLst>
                                    <p:cond delay="3250"/>
                                  </p:stCondLst>
                                  <p:childTnLst>
                                    <p:animEffect transition="out" filter="fade">
                                      <p:cBhvr>
                                        <p:cTn id="497" dur="2000" tmFilter="0, 0; .2, .5; .8, .5; 1, 0"/>
                                        <p:tgtEl>
                                          <p:spTgt spid="83"/>
                                        </p:tgtEl>
                                      </p:cBhvr>
                                    </p:animEffect>
                                    <p:animScale>
                                      <p:cBhvr>
                                        <p:cTn id="498" dur="1000" autoRev="1" fill="hold"/>
                                        <p:tgtEl>
                                          <p:spTgt spid="83"/>
                                        </p:tgtEl>
                                      </p:cBhvr>
                                      <p:by x="105000" y="105000"/>
                                    </p:animScale>
                                  </p:childTnLst>
                                </p:cTn>
                              </p:par>
                              <p:par>
                                <p:cTn id="499" presetID="26" presetClass="emph" presetSubtype="0" dur="2000" repeatCount="indefinite" fill="hold" grpId="0" nodeType="withEffect">
                                  <p:stCondLst>
                                    <p:cond delay="3250"/>
                                  </p:stCondLst>
                                  <p:childTnLst>
                                    <p:animEffect transition="out" filter="fade">
                                      <p:cBhvr>
                                        <p:cTn id="500" dur="2000" tmFilter="0, 0; .2, .5; .8, .5; 1, 0"/>
                                        <p:tgtEl>
                                          <p:spTgt spid="99"/>
                                        </p:tgtEl>
                                      </p:cBhvr>
                                    </p:animEffect>
                                    <p:animScale>
                                      <p:cBhvr>
                                        <p:cTn id="501" dur="1000" autoRev="1" fill="hold"/>
                                        <p:tgtEl>
                                          <p:spTgt spid="99"/>
                                        </p:tgtEl>
                                      </p:cBhvr>
                                      <p:by x="105000" y="105000"/>
                                    </p:animScale>
                                  </p:childTnLst>
                                </p:cTn>
                              </p:par>
                              <p:par>
                                <p:cTn id="502" presetID="26" presetClass="emph" presetSubtype="0" dur="2000" repeatCount="indefinite" fill="hold" grpId="0" nodeType="withEffect">
                                  <p:stCondLst>
                                    <p:cond delay="3250"/>
                                  </p:stCondLst>
                                  <p:childTnLst>
                                    <p:animEffect transition="out" filter="fade">
                                      <p:cBhvr>
                                        <p:cTn id="503" dur="2000" tmFilter="0, 0; .2, .5; .8, .5; 1, 0"/>
                                        <p:tgtEl>
                                          <p:spTgt spid="115"/>
                                        </p:tgtEl>
                                      </p:cBhvr>
                                    </p:animEffect>
                                    <p:animScale>
                                      <p:cBhvr>
                                        <p:cTn id="504" dur="1000" autoRev="1" fill="hold"/>
                                        <p:tgtEl>
                                          <p:spTgt spid="115"/>
                                        </p:tgtEl>
                                      </p:cBhvr>
                                      <p:by x="105000" y="105000"/>
                                    </p:animScale>
                                  </p:childTnLst>
                                </p:cTn>
                              </p:par>
                              <p:par>
                                <p:cTn id="505" presetID="26" presetClass="emph" presetSubtype="0" dur="2000" repeatCount="indefinite" fill="hold" grpId="0" nodeType="withEffect">
                                  <p:stCondLst>
                                    <p:cond delay="3250"/>
                                  </p:stCondLst>
                                  <p:childTnLst>
                                    <p:animEffect transition="out" filter="fade">
                                      <p:cBhvr>
                                        <p:cTn id="506" dur="2000" tmFilter="0, 0; .2, .5; .8, .5; 1, 0"/>
                                        <p:tgtEl>
                                          <p:spTgt spid="131"/>
                                        </p:tgtEl>
                                      </p:cBhvr>
                                    </p:animEffect>
                                    <p:animScale>
                                      <p:cBhvr>
                                        <p:cTn id="507" dur="1000" autoRev="1" fill="hold"/>
                                        <p:tgtEl>
                                          <p:spTgt spid="131"/>
                                        </p:tgtEl>
                                      </p:cBhvr>
                                      <p:by x="105000" y="105000"/>
                                    </p:animScale>
                                  </p:childTnLst>
                                </p:cTn>
                              </p:par>
                              <p:par>
                                <p:cTn id="508" presetID="26" presetClass="emph" presetSubtype="0" dur="2000" repeatCount="indefinite" fill="hold" grpId="0" nodeType="withEffect">
                                  <p:stCondLst>
                                    <p:cond delay="3250"/>
                                  </p:stCondLst>
                                  <p:childTnLst>
                                    <p:animEffect transition="out" filter="fade">
                                      <p:cBhvr>
                                        <p:cTn id="509" dur="2000" tmFilter="0, 0; .2, .5; .8, .5; 1, 0"/>
                                        <p:tgtEl>
                                          <p:spTgt spid="148"/>
                                        </p:tgtEl>
                                      </p:cBhvr>
                                    </p:animEffect>
                                    <p:animScale>
                                      <p:cBhvr>
                                        <p:cTn id="510" dur="1000" autoRev="1" fill="hold"/>
                                        <p:tgtEl>
                                          <p:spTgt spid="148"/>
                                        </p:tgtEl>
                                      </p:cBhvr>
                                      <p:by x="105000" y="105000"/>
                                    </p:animScale>
                                  </p:childTnLst>
                                </p:cTn>
                              </p:par>
                              <p:par>
                                <p:cTn id="511" presetID="26" presetClass="emph" presetSubtype="0" dur="2000" repeatCount="indefinite" fill="hold" grpId="0" nodeType="withEffect">
                                  <p:stCondLst>
                                    <p:cond delay="3250"/>
                                  </p:stCondLst>
                                  <p:childTnLst>
                                    <p:animEffect transition="out" filter="fade">
                                      <p:cBhvr>
                                        <p:cTn id="512" dur="2000" tmFilter="0, 0; .2, .5; .8, .5; 1, 0"/>
                                        <p:tgtEl>
                                          <p:spTgt spid="165"/>
                                        </p:tgtEl>
                                      </p:cBhvr>
                                    </p:animEffect>
                                    <p:animScale>
                                      <p:cBhvr>
                                        <p:cTn id="513" dur="1000" autoRev="1" fill="hold"/>
                                        <p:tgtEl>
                                          <p:spTgt spid="165"/>
                                        </p:tgtEl>
                                      </p:cBhvr>
                                      <p:by x="105000" y="105000"/>
                                    </p:animScale>
                                  </p:childTnLst>
                                </p:cTn>
                              </p:par>
                              <p:par>
                                <p:cTn id="514" presetID="26" presetClass="emph" presetSubtype="0" dur="2000" repeatCount="indefinite" fill="hold" grpId="0" nodeType="withEffect">
                                  <p:stCondLst>
                                    <p:cond delay="3250"/>
                                  </p:stCondLst>
                                  <p:childTnLst>
                                    <p:animEffect transition="out" filter="fade">
                                      <p:cBhvr>
                                        <p:cTn id="515" dur="2000" tmFilter="0, 0; .2, .5; .8, .5; 1, 0"/>
                                        <p:tgtEl>
                                          <p:spTgt spid="182"/>
                                        </p:tgtEl>
                                      </p:cBhvr>
                                    </p:animEffect>
                                    <p:animScale>
                                      <p:cBhvr>
                                        <p:cTn id="516" dur="1000" autoRev="1" fill="hold"/>
                                        <p:tgtEl>
                                          <p:spTgt spid="182"/>
                                        </p:tgtEl>
                                      </p:cBhvr>
                                      <p:by x="105000" y="105000"/>
                                    </p:animScale>
                                  </p:childTnLst>
                                </p:cTn>
                              </p:par>
                              <p:par>
                                <p:cTn id="517" presetID="26" presetClass="emph" presetSubtype="0" dur="2000" repeatCount="indefinite" fill="hold" grpId="0" nodeType="withEffect">
                                  <p:stCondLst>
                                    <p:cond delay="3250"/>
                                  </p:stCondLst>
                                  <p:childTnLst>
                                    <p:animEffect transition="out" filter="fade">
                                      <p:cBhvr>
                                        <p:cTn id="518" dur="2000" tmFilter="0, 0; .2, .5; .8, .5; 1, 0"/>
                                        <p:tgtEl>
                                          <p:spTgt spid="199"/>
                                        </p:tgtEl>
                                      </p:cBhvr>
                                    </p:animEffect>
                                    <p:animScale>
                                      <p:cBhvr>
                                        <p:cTn id="519" dur="1000" autoRev="1" fill="hold"/>
                                        <p:tgtEl>
                                          <p:spTgt spid="199"/>
                                        </p:tgtEl>
                                      </p:cBhvr>
                                      <p:by x="105000" y="105000"/>
                                    </p:animScale>
                                  </p:childTnLst>
                                </p:cTn>
                              </p:par>
                              <p:par>
                                <p:cTn id="520" presetID="26" presetClass="emph" presetSubtype="0" dur="2000" repeatCount="indefinite" fill="hold" grpId="0" nodeType="withEffect">
                                  <p:stCondLst>
                                    <p:cond delay="3250"/>
                                  </p:stCondLst>
                                  <p:childTnLst>
                                    <p:animEffect transition="out" filter="fade">
                                      <p:cBhvr>
                                        <p:cTn id="521" dur="2000" tmFilter="0, 0; .2, .5; .8, .5; 1, 0"/>
                                        <p:tgtEl>
                                          <p:spTgt spid="216"/>
                                        </p:tgtEl>
                                      </p:cBhvr>
                                    </p:animEffect>
                                    <p:animScale>
                                      <p:cBhvr>
                                        <p:cTn id="522" dur="1000" autoRev="1" fill="hold"/>
                                        <p:tgtEl>
                                          <p:spTgt spid="216"/>
                                        </p:tgtEl>
                                      </p:cBhvr>
                                      <p:by x="105000" y="105000"/>
                                    </p:animScale>
                                  </p:childTnLst>
                                </p:cTn>
                              </p:par>
                              <p:par>
                                <p:cTn id="523" presetID="26" presetClass="emph" presetSubtype="0" dur="2000" repeatCount="indefinite" fill="hold" grpId="0" nodeType="withEffect">
                                  <p:stCondLst>
                                    <p:cond delay="3250"/>
                                  </p:stCondLst>
                                  <p:childTnLst>
                                    <p:animEffect transition="out" filter="fade">
                                      <p:cBhvr>
                                        <p:cTn id="524" dur="2000" tmFilter="0, 0; .2, .5; .8, .5; 1, 0"/>
                                        <p:tgtEl>
                                          <p:spTgt spid="232"/>
                                        </p:tgtEl>
                                      </p:cBhvr>
                                    </p:animEffect>
                                    <p:animScale>
                                      <p:cBhvr>
                                        <p:cTn id="525" dur="1000" autoRev="1" fill="hold"/>
                                        <p:tgtEl>
                                          <p:spTgt spid="232"/>
                                        </p:tgtEl>
                                      </p:cBhvr>
                                      <p:by x="105000" y="105000"/>
                                    </p:animScale>
                                  </p:childTnLst>
                                </p:cTn>
                              </p:par>
                              <p:par>
                                <p:cTn id="526" presetID="26" presetClass="emph" presetSubtype="0" dur="2000" repeatCount="indefinite" fill="hold" grpId="0" nodeType="withEffect">
                                  <p:stCondLst>
                                    <p:cond delay="3500"/>
                                  </p:stCondLst>
                                  <p:childTnLst>
                                    <p:animEffect transition="out" filter="fade">
                                      <p:cBhvr>
                                        <p:cTn id="527" dur="2000" tmFilter="0, 0; .2, .5; .8, .5; 1, 0"/>
                                        <p:tgtEl>
                                          <p:spTgt spid="21"/>
                                        </p:tgtEl>
                                      </p:cBhvr>
                                    </p:animEffect>
                                    <p:animScale>
                                      <p:cBhvr>
                                        <p:cTn id="528" dur="1000" autoRev="1" fill="hold"/>
                                        <p:tgtEl>
                                          <p:spTgt spid="21"/>
                                        </p:tgtEl>
                                      </p:cBhvr>
                                      <p:by x="105000" y="105000"/>
                                    </p:animScale>
                                  </p:childTnLst>
                                </p:cTn>
                              </p:par>
                              <p:par>
                                <p:cTn id="529" presetID="26" presetClass="emph" presetSubtype="0" dur="2000" repeatCount="indefinite" fill="hold" grpId="0" nodeType="withEffect">
                                  <p:stCondLst>
                                    <p:cond delay="3500"/>
                                  </p:stCondLst>
                                  <p:childTnLst>
                                    <p:animEffect transition="out" filter="fade">
                                      <p:cBhvr>
                                        <p:cTn id="530" dur="2000" tmFilter="0, 0; .2, .5; .8, .5; 1, 0"/>
                                        <p:tgtEl>
                                          <p:spTgt spid="36"/>
                                        </p:tgtEl>
                                      </p:cBhvr>
                                    </p:animEffect>
                                    <p:animScale>
                                      <p:cBhvr>
                                        <p:cTn id="531" dur="1000" autoRev="1" fill="hold"/>
                                        <p:tgtEl>
                                          <p:spTgt spid="36"/>
                                        </p:tgtEl>
                                      </p:cBhvr>
                                      <p:by x="105000" y="105000"/>
                                    </p:animScale>
                                  </p:childTnLst>
                                </p:cTn>
                              </p:par>
                              <p:par>
                                <p:cTn id="532" presetID="26" presetClass="emph" presetSubtype="0" dur="2000" repeatCount="indefinite" fill="hold" grpId="0" nodeType="withEffect">
                                  <p:stCondLst>
                                    <p:cond delay="3500"/>
                                  </p:stCondLst>
                                  <p:childTnLst>
                                    <p:animEffect transition="out" filter="fade">
                                      <p:cBhvr>
                                        <p:cTn id="533" dur="2000" tmFilter="0, 0; .2, .5; .8, .5; 1, 0"/>
                                        <p:tgtEl>
                                          <p:spTgt spid="52"/>
                                        </p:tgtEl>
                                      </p:cBhvr>
                                    </p:animEffect>
                                    <p:animScale>
                                      <p:cBhvr>
                                        <p:cTn id="534" dur="1000" autoRev="1" fill="hold"/>
                                        <p:tgtEl>
                                          <p:spTgt spid="52"/>
                                        </p:tgtEl>
                                      </p:cBhvr>
                                      <p:by x="105000" y="105000"/>
                                    </p:animScale>
                                  </p:childTnLst>
                                </p:cTn>
                              </p:par>
                              <p:par>
                                <p:cTn id="535" presetID="26" presetClass="emph" presetSubtype="0" dur="2000" repeatCount="indefinite" fill="hold" grpId="0" nodeType="withEffect">
                                  <p:stCondLst>
                                    <p:cond delay="3500"/>
                                  </p:stCondLst>
                                  <p:childTnLst>
                                    <p:animEffect transition="out" filter="fade">
                                      <p:cBhvr>
                                        <p:cTn id="536" dur="2000" tmFilter="0, 0; .2, .5; .8, .5; 1, 0"/>
                                        <p:tgtEl>
                                          <p:spTgt spid="68"/>
                                        </p:tgtEl>
                                      </p:cBhvr>
                                    </p:animEffect>
                                    <p:animScale>
                                      <p:cBhvr>
                                        <p:cTn id="537" dur="1000" autoRev="1" fill="hold"/>
                                        <p:tgtEl>
                                          <p:spTgt spid="68"/>
                                        </p:tgtEl>
                                      </p:cBhvr>
                                      <p:by x="105000" y="105000"/>
                                    </p:animScale>
                                  </p:childTnLst>
                                </p:cTn>
                              </p:par>
                              <p:par>
                                <p:cTn id="538" presetID="26" presetClass="emph" presetSubtype="0" dur="2000" repeatCount="indefinite" fill="hold" grpId="0" nodeType="withEffect">
                                  <p:stCondLst>
                                    <p:cond delay="3500"/>
                                  </p:stCondLst>
                                  <p:childTnLst>
                                    <p:animEffect transition="out" filter="fade">
                                      <p:cBhvr>
                                        <p:cTn id="539" dur="2000" tmFilter="0, 0; .2, .5; .8, .5; 1, 0"/>
                                        <p:tgtEl>
                                          <p:spTgt spid="84"/>
                                        </p:tgtEl>
                                      </p:cBhvr>
                                    </p:animEffect>
                                    <p:animScale>
                                      <p:cBhvr>
                                        <p:cTn id="540" dur="1000" autoRev="1" fill="hold"/>
                                        <p:tgtEl>
                                          <p:spTgt spid="84"/>
                                        </p:tgtEl>
                                      </p:cBhvr>
                                      <p:by x="105000" y="105000"/>
                                    </p:animScale>
                                  </p:childTnLst>
                                </p:cTn>
                              </p:par>
                              <p:par>
                                <p:cTn id="541" presetID="26" presetClass="emph" presetSubtype="0" dur="2000" repeatCount="indefinite" fill="hold" grpId="0" nodeType="withEffect">
                                  <p:stCondLst>
                                    <p:cond delay="3500"/>
                                  </p:stCondLst>
                                  <p:childTnLst>
                                    <p:animEffect transition="out" filter="fade">
                                      <p:cBhvr>
                                        <p:cTn id="542" dur="2000" tmFilter="0, 0; .2, .5; .8, .5; 1, 0"/>
                                        <p:tgtEl>
                                          <p:spTgt spid="100"/>
                                        </p:tgtEl>
                                      </p:cBhvr>
                                    </p:animEffect>
                                    <p:animScale>
                                      <p:cBhvr>
                                        <p:cTn id="543" dur="1000" autoRev="1" fill="hold"/>
                                        <p:tgtEl>
                                          <p:spTgt spid="100"/>
                                        </p:tgtEl>
                                      </p:cBhvr>
                                      <p:by x="105000" y="105000"/>
                                    </p:animScale>
                                  </p:childTnLst>
                                </p:cTn>
                              </p:par>
                              <p:par>
                                <p:cTn id="544" presetID="26" presetClass="emph" presetSubtype="0" dur="2000" repeatCount="indefinite" fill="hold" grpId="0" nodeType="withEffect">
                                  <p:stCondLst>
                                    <p:cond delay="3500"/>
                                  </p:stCondLst>
                                  <p:childTnLst>
                                    <p:animEffect transition="out" filter="fade">
                                      <p:cBhvr>
                                        <p:cTn id="545" dur="2000" tmFilter="0, 0; .2, .5; .8, .5; 1, 0"/>
                                        <p:tgtEl>
                                          <p:spTgt spid="116"/>
                                        </p:tgtEl>
                                      </p:cBhvr>
                                    </p:animEffect>
                                    <p:animScale>
                                      <p:cBhvr>
                                        <p:cTn id="546" dur="1000" autoRev="1" fill="hold"/>
                                        <p:tgtEl>
                                          <p:spTgt spid="116"/>
                                        </p:tgtEl>
                                      </p:cBhvr>
                                      <p:by x="105000" y="105000"/>
                                    </p:animScale>
                                  </p:childTnLst>
                                </p:cTn>
                              </p:par>
                              <p:par>
                                <p:cTn id="547" presetID="26" presetClass="emph" presetSubtype="0" dur="2000" repeatCount="indefinite" fill="hold" grpId="0" nodeType="withEffect">
                                  <p:stCondLst>
                                    <p:cond delay="3500"/>
                                  </p:stCondLst>
                                  <p:childTnLst>
                                    <p:animEffect transition="out" filter="fade">
                                      <p:cBhvr>
                                        <p:cTn id="548" dur="2000" tmFilter="0, 0; .2, .5; .8, .5; 1, 0"/>
                                        <p:tgtEl>
                                          <p:spTgt spid="132"/>
                                        </p:tgtEl>
                                      </p:cBhvr>
                                    </p:animEffect>
                                    <p:animScale>
                                      <p:cBhvr>
                                        <p:cTn id="549" dur="1000" autoRev="1" fill="hold"/>
                                        <p:tgtEl>
                                          <p:spTgt spid="132"/>
                                        </p:tgtEl>
                                      </p:cBhvr>
                                      <p:by x="105000" y="105000"/>
                                    </p:animScale>
                                  </p:childTnLst>
                                </p:cTn>
                              </p:par>
                              <p:par>
                                <p:cTn id="550" presetID="26" presetClass="emph" presetSubtype="0" dur="2000" repeatCount="indefinite" fill="hold" grpId="0" nodeType="withEffect">
                                  <p:stCondLst>
                                    <p:cond delay="3500"/>
                                  </p:stCondLst>
                                  <p:childTnLst>
                                    <p:animEffect transition="out" filter="fade">
                                      <p:cBhvr>
                                        <p:cTn id="551" dur="2000" tmFilter="0, 0; .2, .5; .8, .5; 1, 0"/>
                                        <p:tgtEl>
                                          <p:spTgt spid="149"/>
                                        </p:tgtEl>
                                      </p:cBhvr>
                                    </p:animEffect>
                                    <p:animScale>
                                      <p:cBhvr>
                                        <p:cTn id="552" dur="1000" autoRev="1" fill="hold"/>
                                        <p:tgtEl>
                                          <p:spTgt spid="149"/>
                                        </p:tgtEl>
                                      </p:cBhvr>
                                      <p:by x="105000" y="105000"/>
                                    </p:animScale>
                                  </p:childTnLst>
                                </p:cTn>
                              </p:par>
                              <p:par>
                                <p:cTn id="553" presetID="26" presetClass="emph" presetSubtype="0" dur="2000" repeatCount="indefinite" fill="hold" grpId="0" nodeType="withEffect">
                                  <p:stCondLst>
                                    <p:cond delay="3500"/>
                                  </p:stCondLst>
                                  <p:childTnLst>
                                    <p:animEffect transition="out" filter="fade">
                                      <p:cBhvr>
                                        <p:cTn id="554" dur="2000" tmFilter="0, 0; .2, .5; .8, .5; 1, 0"/>
                                        <p:tgtEl>
                                          <p:spTgt spid="166"/>
                                        </p:tgtEl>
                                      </p:cBhvr>
                                    </p:animEffect>
                                    <p:animScale>
                                      <p:cBhvr>
                                        <p:cTn id="555" dur="1000" autoRev="1" fill="hold"/>
                                        <p:tgtEl>
                                          <p:spTgt spid="166"/>
                                        </p:tgtEl>
                                      </p:cBhvr>
                                      <p:by x="105000" y="105000"/>
                                    </p:animScale>
                                  </p:childTnLst>
                                </p:cTn>
                              </p:par>
                              <p:par>
                                <p:cTn id="556" presetID="26" presetClass="emph" presetSubtype="0" dur="2000" repeatCount="indefinite" fill="hold" grpId="0" nodeType="withEffect">
                                  <p:stCondLst>
                                    <p:cond delay="3500"/>
                                  </p:stCondLst>
                                  <p:childTnLst>
                                    <p:animEffect transition="out" filter="fade">
                                      <p:cBhvr>
                                        <p:cTn id="557" dur="2000" tmFilter="0, 0; .2, .5; .8, .5; 1, 0"/>
                                        <p:tgtEl>
                                          <p:spTgt spid="183"/>
                                        </p:tgtEl>
                                      </p:cBhvr>
                                    </p:animEffect>
                                    <p:animScale>
                                      <p:cBhvr>
                                        <p:cTn id="558" dur="1000" autoRev="1" fill="hold"/>
                                        <p:tgtEl>
                                          <p:spTgt spid="183"/>
                                        </p:tgtEl>
                                      </p:cBhvr>
                                      <p:by x="105000" y="105000"/>
                                    </p:animScale>
                                  </p:childTnLst>
                                </p:cTn>
                              </p:par>
                              <p:par>
                                <p:cTn id="559" presetID="26" presetClass="emph" presetSubtype="0" dur="2000" repeatCount="indefinite" fill="hold" grpId="0" nodeType="withEffect">
                                  <p:stCondLst>
                                    <p:cond delay="3500"/>
                                  </p:stCondLst>
                                  <p:childTnLst>
                                    <p:animEffect transition="out" filter="fade">
                                      <p:cBhvr>
                                        <p:cTn id="560" dur="2000" tmFilter="0, 0; .2, .5; .8, .5; 1, 0"/>
                                        <p:tgtEl>
                                          <p:spTgt spid="200"/>
                                        </p:tgtEl>
                                      </p:cBhvr>
                                    </p:animEffect>
                                    <p:animScale>
                                      <p:cBhvr>
                                        <p:cTn id="561" dur="1000" autoRev="1" fill="hold"/>
                                        <p:tgtEl>
                                          <p:spTgt spid="200"/>
                                        </p:tgtEl>
                                      </p:cBhvr>
                                      <p:by x="105000" y="105000"/>
                                    </p:animScale>
                                  </p:childTnLst>
                                </p:cTn>
                              </p:par>
                              <p:par>
                                <p:cTn id="562" presetID="26" presetClass="emph" presetSubtype="0" dur="2000" repeatCount="indefinite" fill="hold" grpId="0" nodeType="withEffect">
                                  <p:stCondLst>
                                    <p:cond delay="3500"/>
                                  </p:stCondLst>
                                  <p:childTnLst>
                                    <p:animEffect transition="out" filter="fade">
                                      <p:cBhvr>
                                        <p:cTn id="563" dur="2000" tmFilter="0, 0; .2, .5; .8, .5; 1, 0"/>
                                        <p:tgtEl>
                                          <p:spTgt spid="217"/>
                                        </p:tgtEl>
                                      </p:cBhvr>
                                    </p:animEffect>
                                    <p:animScale>
                                      <p:cBhvr>
                                        <p:cTn id="564" dur="1000" autoRev="1" fill="hold"/>
                                        <p:tgtEl>
                                          <p:spTgt spid="217"/>
                                        </p:tgtEl>
                                      </p:cBhvr>
                                      <p:by x="105000" y="105000"/>
                                    </p:animScale>
                                  </p:childTnLst>
                                </p:cTn>
                              </p:par>
                              <p:par>
                                <p:cTn id="565" presetID="26" presetClass="emph" presetSubtype="0" dur="2000" repeatCount="indefinite" fill="hold" grpId="0" nodeType="withEffect">
                                  <p:stCondLst>
                                    <p:cond delay="3500"/>
                                  </p:stCondLst>
                                  <p:childTnLst>
                                    <p:animEffect transition="out" filter="fade">
                                      <p:cBhvr>
                                        <p:cTn id="566" dur="2000" tmFilter="0, 0; .2, .5; .8, .5; 1, 0"/>
                                        <p:tgtEl>
                                          <p:spTgt spid="233"/>
                                        </p:tgtEl>
                                      </p:cBhvr>
                                    </p:animEffect>
                                    <p:animScale>
                                      <p:cBhvr>
                                        <p:cTn id="567" dur="1000" autoRev="1" fill="hold"/>
                                        <p:tgtEl>
                                          <p:spTgt spid="233"/>
                                        </p:tgtEl>
                                      </p:cBhvr>
                                      <p:by x="105000" y="105000"/>
                                    </p:animScale>
                                  </p:childTnLst>
                                </p:cTn>
                              </p:par>
                              <p:par>
                                <p:cTn id="568" presetID="26" presetClass="emph" presetSubtype="0" dur="2000" repeatCount="indefinite" fill="hold" grpId="0" nodeType="withEffect">
                                  <p:stCondLst>
                                    <p:cond delay="3750"/>
                                  </p:stCondLst>
                                  <p:childTnLst>
                                    <p:animEffect transition="out" filter="fade">
                                      <p:cBhvr>
                                        <p:cTn id="569" dur="2000" tmFilter="0, 0; .2, .5; .8, .5; 1, 0"/>
                                        <p:tgtEl>
                                          <p:spTgt spid="37"/>
                                        </p:tgtEl>
                                      </p:cBhvr>
                                    </p:animEffect>
                                    <p:animScale>
                                      <p:cBhvr>
                                        <p:cTn id="570" dur="1000" autoRev="1" fill="hold"/>
                                        <p:tgtEl>
                                          <p:spTgt spid="37"/>
                                        </p:tgtEl>
                                      </p:cBhvr>
                                      <p:by x="105000" y="105000"/>
                                    </p:animScale>
                                  </p:childTnLst>
                                </p:cTn>
                              </p:par>
                              <p:par>
                                <p:cTn id="571" presetID="26" presetClass="emph" presetSubtype="0" dur="2000" repeatCount="indefinite" fill="hold" grpId="0" nodeType="withEffect">
                                  <p:stCondLst>
                                    <p:cond delay="3750"/>
                                  </p:stCondLst>
                                  <p:childTnLst>
                                    <p:animEffect transition="out" filter="fade">
                                      <p:cBhvr>
                                        <p:cTn id="572" dur="2000" tmFilter="0, 0; .2, .5; .8, .5; 1, 0"/>
                                        <p:tgtEl>
                                          <p:spTgt spid="53"/>
                                        </p:tgtEl>
                                      </p:cBhvr>
                                    </p:animEffect>
                                    <p:animScale>
                                      <p:cBhvr>
                                        <p:cTn id="573" dur="1000" autoRev="1" fill="hold"/>
                                        <p:tgtEl>
                                          <p:spTgt spid="53"/>
                                        </p:tgtEl>
                                      </p:cBhvr>
                                      <p:by x="105000" y="105000"/>
                                    </p:animScale>
                                  </p:childTnLst>
                                </p:cTn>
                              </p:par>
                              <p:par>
                                <p:cTn id="574" presetID="26" presetClass="emph" presetSubtype="0" dur="2000" repeatCount="indefinite" fill="hold" grpId="0" nodeType="withEffect">
                                  <p:stCondLst>
                                    <p:cond delay="3750"/>
                                  </p:stCondLst>
                                  <p:childTnLst>
                                    <p:animEffect transition="out" filter="fade">
                                      <p:cBhvr>
                                        <p:cTn id="575" dur="2000" tmFilter="0, 0; .2, .5; .8, .5; 1, 0"/>
                                        <p:tgtEl>
                                          <p:spTgt spid="69"/>
                                        </p:tgtEl>
                                      </p:cBhvr>
                                    </p:animEffect>
                                    <p:animScale>
                                      <p:cBhvr>
                                        <p:cTn id="576" dur="1000" autoRev="1" fill="hold"/>
                                        <p:tgtEl>
                                          <p:spTgt spid="69"/>
                                        </p:tgtEl>
                                      </p:cBhvr>
                                      <p:by x="105000" y="105000"/>
                                    </p:animScale>
                                  </p:childTnLst>
                                </p:cTn>
                              </p:par>
                              <p:par>
                                <p:cTn id="577" presetID="26" presetClass="emph" presetSubtype="0" dur="2000" repeatCount="indefinite" fill="hold" grpId="0" nodeType="withEffect">
                                  <p:stCondLst>
                                    <p:cond delay="3750"/>
                                  </p:stCondLst>
                                  <p:childTnLst>
                                    <p:animEffect transition="out" filter="fade">
                                      <p:cBhvr>
                                        <p:cTn id="578" dur="2000" tmFilter="0, 0; .2, .5; .8, .5; 1, 0"/>
                                        <p:tgtEl>
                                          <p:spTgt spid="85"/>
                                        </p:tgtEl>
                                      </p:cBhvr>
                                    </p:animEffect>
                                    <p:animScale>
                                      <p:cBhvr>
                                        <p:cTn id="579" dur="1000" autoRev="1" fill="hold"/>
                                        <p:tgtEl>
                                          <p:spTgt spid="85"/>
                                        </p:tgtEl>
                                      </p:cBhvr>
                                      <p:by x="105000" y="105000"/>
                                    </p:animScale>
                                  </p:childTnLst>
                                </p:cTn>
                              </p:par>
                              <p:par>
                                <p:cTn id="580" presetID="26" presetClass="emph" presetSubtype="0" dur="2000" repeatCount="indefinite" fill="hold" grpId="0" nodeType="withEffect">
                                  <p:stCondLst>
                                    <p:cond delay="3750"/>
                                  </p:stCondLst>
                                  <p:childTnLst>
                                    <p:animEffect transition="out" filter="fade">
                                      <p:cBhvr>
                                        <p:cTn id="581" dur="2000" tmFilter="0, 0; .2, .5; .8, .5; 1, 0"/>
                                        <p:tgtEl>
                                          <p:spTgt spid="101"/>
                                        </p:tgtEl>
                                      </p:cBhvr>
                                    </p:animEffect>
                                    <p:animScale>
                                      <p:cBhvr>
                                        <p:cTn id="582" dur="1000" autoRev="1" fill="hold"/>
                                        <p:tgtEl>
                                          <p:spTgt spid="101"/>
                                        </p:tgtEl>
                                      </p:cBhvr>
                                      <p:by x="105000" y="105000"/>
                                    </p:animScale>
                                  </p:childTnLst>
                                </p:cTn>
                              </p:par>
                              <p:par>
                                <p:cTn id="583" presetID="26" presetClass="emph" presetSubtype="0" dur="2000" repeatCount="indefinite" fill="hold" grpId="0" nodeType="withEffect">
                                  <p:stCondLst>
                                    <p:cond delay="3750"/>
                                  </p:stCondLst>
                                  <p:childTnLst>
                                    <p:animEffect transition="out" filter="fade">
                                      <p:cBhvr>
                                        <p:cTn id="584" dur="2000" tmFilter="0, 0; .2, .5; .8, .5; 1, 0"/>
                                        <p:tgtEl>
                                          <p:spTgt spid="117"/>
                                        </p:tgtEl>
                                      </p:cBhvr>
                                    </p:animEffect>
                                    <p:animScale>
                                      <p:cBhvr>
                                        <p:cTn id="585" dur="1000" autoRev="1" fill="hold"/>
                                        <p:tgtEl>
                                          <p:spTgt spid="117"/>
                                        </p:tgtEl>
                                      </p:cBhvr>
                                      <p:by x="105000" y="105000"/>
                                    </p:animScale>
                                  </p:childTnLst>
                                </p:cTn>
                              </p:par>
                              <p:par>
                                <p:cTn id="586" presetID="26" presetClass="emph" presetSubtype="0" dur="2000" repeatCount="indefinite" fill="hold" grpId="0" nodeType="withEffect">
                                  <p:stCondLst>
                                    <p:cond delay="3750"/>
                                  </p:stCondLst>
                                  <p:childTnLst>
                                    <p:animEffect transition="out" filter="fade">
                                      <p:cBhvr>
                                        <p:cTn id="587" dur="2000" tmFilter="0, 0; .2, .5; .8, .5; 1, 0"/>
                                        <p:tgtEl>
                                          <p:spTgt spid="133"/>
                                        </p:tgtEl>
                                      </p:cBhvr>
                                    </p:animEffect>
                                    <p:animScale>
                                      <p:cBhvr>
                                        <p:cTn id="588" dur="1000" autoRev="1" fill="hold"/>
                                        <p:tgtEl>
                                          <p:spTgt spid="133"/>
                                        </p:tgtEl>
                                      </p:cBhvr>
                                      <p:by x="105000" y="105000"/>
                                    </p:animScale>
                                  </p:childTnLst>
                                </p:cTn>
                              </p:par>
                              <p:par>
                                <p:cTn id="589" presetID="26" presetClass="emph" presetSubtype="0" dur="2000" repeatCount="indefinite" fill="hold" grpId="0" nodeType="withEffect">
                                  <p:stCondLst>
                                    <p:cond delay="3750"/>
                                  </p:stCondLst>
                                  <p:childTnLst>
                                    <p:animEffect transition="out" filter="fade">
                                      <p:cBhvr>
                                        <p:cTn id="590" dur="2000" tmFilter="0, 0; .2, .5; .8, .5; 1, 0"/>
                                        <p:tgtEl>
                                          <p:spTgt spid="150"/>
                                        </p:tgtEl>
                                      </p:cBhvr>
                                    </p:animEffect>
                                    <p:animScale>
                                      <p:cBhvr>
                                        <p:cTn id="591" dur="1000" autoRev="1" fill="hold"/>
                                        <p:tgtEl>
                                          <p:spTgt spid="150"/>
                                        </p:tgtEl>
                                      </p:cBhvr>
                                      <p:by x="105000" y="105000"/>
                                    </p:animScale>
                                  </p:childTnLst>
                                </p:cTn>
                              </p:par>
                              <p:par>
                                <p:cTn id="592" presetID="26" presetClass="emph" presetSubtype="0" dur="2000" repeatCount="indefinite" fill="hold" grpId="0" nodeType="withEffect">
                                  <p:stCondLst>
                                    <p:cond delay="3750"/>
                                  </p:stCondLst>
                                  <p:childTnLst>
                                    <p:animEffect transition="out" filter="fade">
                                      <p:cBhvr>
                                        <p:cTn id="593" dur="2000" tmFilter="0, 0; .2, .5; .8, .5; 1, 0"/>
                                        <p:tgtEl>
                                          <p:spTgt spid="167"/>
                                        </p:tgtEl>
                                      </p:cBhvr>
                                    </p:animEffect>
                                    <p:animScale>
                                      <p:cBhvr>
                                        <p:cTn id="594" dur="1000" autoRev="1" fill="hold"/>
                                        <p:tgtEl>
                                          <p:spTgt spid="167"/>
                                        </p:tgtEl>
                                      </p:cBhvr>
                                      <p:by x="105000" y="105000"/>
                                    </p:animScale>
                                  </p:childTnLst>
                                </p:cTn>
                              </p:par>
                              <p:par>
                                <p:cTn id="595" presetID="26" presetClass="emph" presetSubtype="0" dur="2000" repeatCount="indefinite" fill="hold" grpId="0" nodeType="withEffect">
                                  <p:stCondLst>
                                    <p:cond delay="3750"/>
                                  </p:stCondLst>
                                  <p:childTnLst>
                                    <p:animEffect transition="out" filter="fade">
                                      <p:cBhvr>
                                        <p:cTn id="596" dur="2000" tmFilter="0, 0; .2, .5; .8, .5; 1, 0"/>
                                        <p:tgtEl>
                                          <p:spTgt spid="184"/>
                                        </p:tgtEl>
                                      </p:cBhvr>
                                    </p:animEffect>
                                    <p:animScale>
                                      <p:cBhvr>
                                        <p:cTn id="597" dur="1000" autoRev="1" fill="hold"/>
                                        <p:tgtEl>
                                          <p:spTgt spid="184"/>
                                        </p:tgtEl>
                                      </p:cBhvr>
                                      <p:by x="105000" y="105000"/>
                                    </p:animScale>
                                  </p:childTnLst>
                                </p:cTn>
                              </p:par>
                              <p:par>
                                <p:cTn id="598" presetID="26" presetClass="emph" presetSubtype="0" dur="2000" repeatCount="indefinite" fill="hold" grpId="0" nodeType="withEffect">
                                  <p:stCondLst>
                                    <p:cond delay="3750"/>
                                  </p:stCondLst>
                                  <p:childTnLst>
                                    <p:animEffect transition="out" filter="fade">
                                      <p:cBhvr>
                                        <p:cTn id="599" dur="2000" tmFilter="0, 0; .2, .5; .8, .5; 1, 0"/>
                                        <p:tgtEl>
                                          <p:spTgt spid="201"/>
                                        </p:tgtEl>
                                      </p:cBhvr>
                                    </p:animEffect>
                                    <p:animScale>
                                      <p:cBhvr>
                                        <p:cTn id="600" dur="1000" autoRev="1" fill="hold"/>
                                        <p:tgtEl>
                                          <p:spTgt spid="201"/>
                                        </p:tgtEl>
                                      </p:cBhvr>
                                      <p:by x="105000" y="105000"/>
                                    </p:animScale>
                                  </p:childTnLst>
                                </p:cTn>
                              </p:par>
                              <p:par>
                                <p:cTn id="601" presetID="26" presetClass="emph" presetSubtype="0" dur="2000" repeatCount="indefinite" fill="hold" grpId="0" nodeType="withEffect">
                                  <p:stCondLst>
                                    <p:cond delay="3750"/>
                                  </p:stCondLst>
                                  <p:childTnLst>
                                    <p:animEffect transition="out" filter="fade">
                                      <p:cBhvr>
                                        <p:cTn id="602" dur="2000" tmFilter="0, 0; .2, .5; .8, .5; 1, 0"/>
                                        <p:tgtEl>
                                          <p:spTgt spid="218"/>
                                        </p:tgtEl>
                                      </p:cBhvr>
                                    </p:animEffect>
                                    <p:animScale>
                                      <p:cBhvr>
                                        <p:cTn id="603" dur="1000" autoRev="1" fill="hold"/>
                                        <p:tgtEl>
                                          <p:spTgt spid="218"/>
                                        </p:tgtEl>
                                      </p:cBhvr>
                                      <p:by x="105000" y="105000"/>
                                    </p:animScale>
                                  </p:childTnLst>
                                </p:cTn>
                              </p:par>
                              <p:par>
                                <p:cTn id="604" presetID="26" presetClass="emph" presetSubtype="0" dur="2000" repeatCount="indefinite" fill="hold" grpId="0" nodeType="withEffect">
                                  <p:stCondLst>
                                    <p:cond delay="4000"/>
                                  </p:stCondLst>
                                  <p:childTnLst>
                                    <p:animEffect transition="out" filter="fade">
                                      <p:cBhvr>
                                        <p:cTn id="605" dur="2000" tmFilter="0, 0; .2, .5; .8, .5; 1, 0"/>
                                        <p:tgtEl>
                                          <p:spTgt spid="54"/>
                                        </p:tgtEl>
                                      </p:cBhvr>
                                    </p:animEffect>
                                    <p:animScale>
                                      <p:cBhvr>
                                        <p:cTn id="606" dur="1000" autoRev="1" fill="hold"/>
                                        <p:tgtEl>
                                          <p:spTgt spid="54"/>
                                        </p:tgtEl>
                                      </p:cBhvr>
                                      <p:by x="105000" y="105000"/>
                                    </p:animScale>
                                  </p:childTnLst>
                                </p:cTn>
                              </p:par>
                              <p:par>
                                <p:cTn id="607" presetID="26" presetClass="emph" presetSubtype="0" dur="2000" repeatCount="indefinite" fill="hold" grpId="0" nodeType="withEffect">
                                  <p:stCondLst>
                                    <p:cond delay="4000"/>
                                  </p:stCondLst>
                                  <p:childTnLst>
                                    <p:animEffect transition="out" filter="fade">
                                      <p:cBhvr>
                                        <p:cTn id="608" dur="2000" tmFilter="0, 0; .2, .5; .8, .5; 1, 0"/>
                                        <p:tgtEl>
                                          <p:spTgt spid="70"/>
                                        </p:tgtEl>
                                      </p:cBhvr>
                                    </p:animEffect>
                                    <p:animScale>
                                      <p:cBhvr>
                                        <p:cTn id="609" dur="1000" autoRev="1" fill="hold"/>
                                        <p:tgtEl>
                                          <p:spTgt spid="70"/>
                                        </p:tgtEl>
                                      </p:cBhvr>
                                      <p:by x="105000" y="105000"/>
                                    </p:animScale>
                                  </p:childTnLst>
                                </p:cTn>
                              </p:par>
                              <p:par>
                                <p:cTn id="610" presetID="26" presetClass="emph" presetSubtype="0" dur="2000" repeatCount="indefinite" fill="hold" grpId="0" nodeType="withEffect">
                                  <p:stCondLst>
                                    <p:cond delay="4000"/>
                                  </p:stCondLst>
                                  <p:childTnLst>
                                    <p:animEffect transition="out" filter="fade">
                                      <p:cBhvr>
                                        <p:cTn id="611" dur="2000" tmFilter="0, 0; .2, .5; .8, .5; 1, 0"/>
                                        <p:tgtEl>
                                          <p:spTgt spid="86"/>
                                        </p:tgtEl>
                                      </p:cBhvr>
                                    </p:animEffect>
                                    <p:animScale>
                                      <p:cBhvr>
                                        <p:cTn id="612" dur="1000" autoRev="1" fill="hold"/>
                                        <p:tgtEl>
                                          <p:spTgt spid="86"/>
                                        </p:tgtEl>
                                      </p:cBhvr>
                                      <p:by x="105000" y="105000"/>
                                    </p:animScale>
                                  </p:childTnLst>
                                </p:cTn>
                              </p:par>
                              <p:par>
                                <p:cTn id="613" presetID="26" presetClass="emph" presetSubtype="0" dur="2000" repeatCount="indefinite" fill="hold" grpId="0" nodeType="withEffect">
                                  <p:stCondLst>
                                    <p:cond delay="4000"/>
                                  </p:stCondLst>
                                  <p:childTnLst>
                                    <p:animEffect transition="out" filter="fade">
                                      <p:cBhvr>
                                        <p:cTn id="614" dur="2000" tmFilter="0, 0; .2, .5; .8, .5; 1, 0"/>
                                        <p:tgtEl>
                                          <p:spTgt spid="102"/>
                                        </p:tgtEl>
                                      </p:cBhvr>
                                    </p:animEffect>
                                    <p:animScale>
                                      <p:cBhvr>
                                        <p:cTn id="615" dur="1000" autoRev="1" fill="hold"/>
                                        <p:tgtEl>
                                          <p:spTgt spid="102"/>
                                        </p:tgtEl>
                                      </p:cBhvr>
                                      <p:by x="105000" y="105000"/>
                                    </p:animScale>
                                  </p:childTnLst>
                                </p:cTn>
                              </p:par>
                              <p:par>
                                <p:cTn id="616" presetID="26" presetClass="emph" presetSubtype="0" dur="2000" repeatCount="indefinite" fill="hold" grpId="0" nodeType="withEffect">
                                  <p:stCondLst>
                                    <p:cond delay="4000"/>
                                  </p:stCondLst>
                                  <p:childTnLst>
                                    <p:animEffect transition="out" filter="fade">
                                      <p:cBhvr>
                                        <p:cTn id="617" dur="2000" tmFilter="0, 0; .2, .5; .8, .5; 1, 0"/>
                                        <p:tgtEl>
                                          <p:spTgt spid="118"/>
                                        </p:tgtEl>
                                      </p:cBhvr>
                                    </p:animEffect>
                                    <p:animScale>
                                      <p:cBhvr>
                                        <p:cTn id="618" dur="1000" autoRev="1" fill="hold"/>
                                        <p:tgtEl>
                                          <p:spTgt spid="118"/>
                                        </p:tgtEl>
                                      </p:cBhvr>
                                      <p:by x="105000" y="105000"/>
                                    </p:animScale>
                                  </p:childTnLst>
                                </p:cTn>
                              </p:par>
                              <p:par>
                                <p:cTn id="619" presetID="26" presetClass="emph" presetSubtype="0" dur="2000" repeatCount="indefinite" fill="hold" grpId="0" nodeType="withEffect">
                                  <p:stCondLst>
                                    <p:cond delay="4000"/>
                                  </p:stCondLst>
                                  <p:childTnLst>
                                    <p:animEffect transition="out" filter="fade">
                                      <p:cBhvr>
                                        <p:cTn id="620" dur="2000" tmFilter="0, 0; .2, .5; .8, .5; 1, 0"/>
                                        <p:tgtEl>
                                          <p:spTgt spid="134"/>
                                        </p:tgtEl>
                                      </p:cBhvr>
                                    </p:animEffect>
                                    <p:animScale>
                                      <p:cBhvr>
                                        <p:cTn id="621" dur="1000" autoRev="1" fill="hold"/>
                                        <p:tgtEl>
                                          <p:spTgt spid="134"/>
                                        </p:tgtEl>
                                      </p:cBhvr>
                                      <p:by x="105000" y="105000"/>
                                    </p:animScale>
                                  </p:childTnLst>
                                </p:cTn>
                              </p:par>
                              <p:par>
                                <p:cTn id="622" presetID="26" presetClass="emph" presetSubtype="0" dur="2000" repeatCount="indefinite" fill="hold" grpId="0" nodeType="withEffect">
                                  <p:stCondLst>
                                    <p:cond delay="4000"/>
                                  </p:stCondLst>
                                  <p:childTnLst>
                                    <p:animEffect transition="out" filter="fade">
                                      <p:cBhvr>
                                        <p:cTn id="623" dur="2000" tmFilter="0, 0; .2, .5; .8, .5; 1, 0"/>
                                        <p:tgtEl>
                                          <p:spTgt spid="151"/>
                                        </p:tgtEl>
                                      </p:cBhvr>
                                    </p:animEffect>
                                    <p:animScale>
                                      <p:cBhvr>
                                        <p:cTn id="624" dur="1000" autoRev="1" fill="hold"/>
                                        <p:tgtEl>
                                          <p:spTgt spid="151"/>
                                        </p:tgtEl>
                                      </p:cBhvr>
                                      <p:by x="105000" y="105000"/>
                                    </p:animScale>
                                  </p:childTnLst>
                                </p:cTn>
                              </p:par>
                              <p:par>
                                <p:cTn id="625" presetID="26" presetClass="emph" presetSubtype="0" dur="2000" repeatCount="indefinite" fill="hold" grpId="0" nodeType="withEffect">
                                  <p:stCondLst>
                                    <p:cond delay="4000"/>
                                  </p:stCondLst>
                                  <p:childTnLst>
                                    <p:animEffect transition="out" filter="fade">
                                      <p:cBhvr>
                                        <p:cTn id="626" dur="2000" tmFilter="0, 0; .2, .5; .8, .5; 1, 0"/>
                                        <p:tgtEl>
                                          <p:spTgt spid="168"/>
                                        </p:tgtEl>
                                      </p:cBhvr>
                                    </p:animEffect>
                                    <p:animScale>
                                      <p:cBhvr>
                                        <p:cTn id="627" dur="1000" autoRev="1" fill="hold"/>
                                        <p:tgtEl>
                                          <p:spTgt spid="168"/>
                                        </p:tgtEl>
                                      </p:cBhvr>
                                      <p:by x="105000" y="105000"/>
                                    </p:animScale>
                                  </p:childTnLst>
                                </p:cTn>
                              </p:par>
                              <p:par>
                                <p:cTn id="628" presetID="26" presetClass="emph" presetSubtype="0" dur="2000" repeatCount="indefinite" fill="hold" grpId="0" nodeType="withEffect">
                                  <p:stCondLst>
                                    <p:cond delay="4000"/>
                                  </p:stCondLst>
                                  <p:childTnLst>
                                    <p:animEffect transition="out" filter="fade">
                                      <p:cBhvr>
                                        <p:cTn id="629" dur="2000" tmFilter="0, 0; .2, .5; .8, .5; 1, 0"/>
                                        <p:tgtEl>
                                          <p:spTgt spid="185"/>
                                        </p:tgtEl>
                                      </p:cBhvr>
                                    </p:animEffect>
                                    <p:animScale>
                                      <p:cBhvr>
                                        <p:cTn id="630" dur="1000" autoRev="1" fill="hold"/>
                                        <p:tgtEl>
                                          <p:spTgt spid="185"/>
                                        </p:tgtEl>
                                      </p:cBhvr>
                                      <p:by x="105000" y="105000"/>
                                    </p:animScale>
                                  </p:childTnLst>
                                </p:cTn>
                              </p:par>
                              <p:par>
                                <p:cTn id="631" presetID="26" presetClass="emph" presetSubtype="0" dur="2000" repeatCount="indefinite" fill="hold" grpId="0" nodeType="withEffect">
                                  <p:stCondLst>
                                    <p:cond delay="4000"/>
                                  </p:stCondLst>
                                  <p:childTnLst>
                                    <p:animEffect transition="out" filter="fade">
                                      <p:cBhvr>
                                        <p:cTn id="632" dur="2000" tmFilter="0, 0; .2, .5; .8, .5; 1, 0"/>
                                        <p:tgtEl>
                                          <p:spTgt spid="202"/>
                                        </p:tgtEl>
                                      </p:cBhvr>
                                    </p:animEffect>
                                    <p:animScale>
                                      <p:cBhvr>
                                        <p:cTn id="633" dur="1000" autoRev="1" fill="hold"/>
                                        <p:tgtEl>
                                          <p:spTgt spid="202"/>
                                        </p:tgtEl>
                                      </p:cBhvr>
                                      <p:by x="105000" y="105000"/>
                                    </p:animScale>
                                  </p:childTnLst>
                                </p:cTn>
                              </p:par>
                              <p:par>
                                <p:cTn id="634" presetID="26" presetClass="emph" presetSubtype="0" dur="2000" repeatCount="indefinite" fill="hold" grpId="0" nodeType="withEffect">
                                  <p:stCondLst>
                                    <p:cond delay="4250"/>
                                  </p:stCondLst>
                                  <p:childTnLst>
                                    <p:animEffect transition="out" filter="fade">
                                      <p:cBhvr>
                                        <p:cTn id="635" dur="2000" tmFilter="0, 0; .2, .5; .8, .5; 1, 0"/>
                                        <p:tgtEl>
                                          <p:spTgt spid="71"/>
                                        </p:tgtEl>
                                      </p:cBhvr>
                                    </p:animEffect>
                                    <p:animScale>
                                      <p:cBhvr>
                                        <p:cTn id="636" dur="1000" autoRev="1" fill="hold"/>
                                        <p:tgtEl>
                                          <p:spTgt spid="71"/>
                                        </p:tgtEl>
                                      </p:cBhvr>
                                      <p:by x="105000" y="105000"/>
                                    </p:animScale>
                                  </p:childTnLst>
                                </p:cTn>
                              </p:par>
                              <p:par>
                                <p:cTn id="637" presetID="26" presetClass="emph" presetSubtype="0" dur="2000" repeatCount="indefinite" fill="hold" grpId="0" nodeType="withEffect">
                                  <p:stCondLst>
                                    <p:cond delay="4250"/>
                                  </p:stCondLst>
                                  <p:childTnLst>
                                    <p:animEffect transition="out" filter="fade">
                                      <p:cBhvr>
                                        <p:cTn id="638" dur="2000" tmFilter="0, 0; .2, .5; .8, .5; 1, 0"/>
                                        <p:tgtEl>
                                          <p:spTgt spid="87"/>
                                        </p:tgtEl>
                                      </p:cBhvr>
                                    </p:animEffect>
                                    <p:animScale>
                                      <p:cBhvr>
                                        <p:cTn id="639" dur="1000" autoRev="1" fill="hold"/>
                                        <p:tgtEl>
                                          <p:spTgt spid="87"/>
                                        </p:tgtEl>
                                      </p:cBhvr>
                                      <p:by x="105000" y="105000"/>
                                    </p:animScale>
                                  </p:childTnLst>
                                </p:cTn>
                              </p:par>
                              <p:par>
                                <p:cTn id="640" presetID="26" presetClass="emph" presetSubtype="0" dur="2000" repeatCount="indefinite" fill="hold" grpId="0" nodeType="withEffect">
                                  <p:stCondLst>
                                    <p:cond delay="4250"/>
                                  </p:stCondLst>
                                  <p:childTnLst>
                                    <p:animEffect transition="out" filter="fade">
                                      <p:cBhvr>
                                        <p:cTn id="641" dur="2000" tmFilter="0, 0; .2, .5; .8, .5; 1, 0"/>
                                        <p:tgtEl>
                                          <p:spTgt spid="103"/>
                                        </p:tgtEl>
                                      </p:cBhvr>
                                    </p:animEffect>
                                    <p:animScale>
                                      <p:cBhvr>
                                        <p:cTn id="642" dur="1000" autoRev="1" fill="hold"/>
                                        <p:tgtEl>
                                          <p:spTgt spid="103"/>
                                        </p:tgtEl>
                                      </p:cBhvr>
                                      <p:by x="105000" y="105000"/>
                                    </p:animScale>
                                  </p:childTnLst>
                                </p:cTn>
                              </p:par>
                              <p:par>
                                <p:cTn id="643" presetID="26" presetClass="emph" presetSubtype="0" dur="2000" repeatCount="indefinite" fill="hold" grpId="0" nodeType="withEffect">
                                  <p:stCondLst>
                                    <p:cond delay="4250"/>
                                  </p:stCondLst>
                                  <p:childTnLst>
                                    <p:animEffect transition="out" filter="fade">
                                      <p:cBhvr>
                                        <p:cTn id="644" dur="2000" tmFilter="0, 0; .2, .5; .8, .5; 1, 0"/>
                                        <p:tgtEl>
                                          <p:spTgt spid="119"/>
                                        </p:tgtEl>
                                      </p:cBhvr>
                                    </p:animEffect>
                                    <p:animScale>
                                      <p:cBhvr>
                                        <p:cTn id="645" dur="1000" autoRev="1" fill="hold"/>
                                        <p:tgtEl>
                                          <p:spTgt spid="119"/>
                                        </p:tgtEl>
                                      </p:cBhvr>
                                      <p:by x="105000" y="105000"/>
                                    </p:animScale>
                                  </p:childTnLst>
                                </p:cTn>
                              </p:par>
                              <p:par>
                                <p:cTn id="646" presetID="26" presetClass="emph" presetSubtype="0" dur="2000" repeatCount="indefinite" fill="hold" grpId="0" nodeType="withEffect">
                                  <p:stCondLst>
                                    <p:cond delay="4250"/>
                                  </p:stCondLst>
                                  <p:childTnLst>
                                    <p:animEffect transition="out" filter="fade">
                                      <p:cBhvr>
                                        <p:cTn id="647" dur="2000" tmFilter="0, 0; .2, .5; .8, .5; 1, 0"/>
                                        <p:tgtEl>
                                          <p:spTgt spid="135"/>
                                        </p:tgtEl>
                                      </p:cBhvr>
                                    </p:animEffect>
                                    <p:animScale>
                                      <p:cBhvr>
                                        <p:cTn id="648" dur="1000" autoRev="1" fill="hold"/>
                                        <p:tgtEl>
                                          <p:spTgt spid="135"/>
                                        </p:tgtEl>
                                      </p:cBhvr>
                                      <p:by x="105000" y="105000"/>
                                    </p:animScale>
                                  </p:childTnLst>
                                </p:cTn>
                              </p:par>
                              <p:par>
                                <p:cTn id="649" presetID="26" presetClass="emph" presetSubtype="0" dur="2000" repeatCount="indefinite" fill="hold" grpId="0" nodeType="withEffect">
                                  <p:stCondLst>
                                    <p:cond delay="4250"/>
                                  </p:stCondLst>
                                  <p:childTnLst>
                                    <p:animEffect transition="out" filter="fade">
                                      <p:cBhvr>
                                        <p:cTn id="650" dur="2000" tmFilter="0, 0; .2, .5; .8, .5; 1, 0"/>
                                        <p:tgtEl>
                                          <p:spTgt spid="152"/>
                                        </p:tgtEl>
                                      </p:cBhvr>
                                    </p:animEffect>
                                    <p:animScale>
                                      <p:cBhvr>
                                        <p:cTn id="651" dur="1000" autoRev="1" fill="hold"/>
                                        <p:tgtEl>
                                          <p:spTgt spid="152"/>
                                        </p:tgtEl>
                                      </p:cBhvr>
                                      <p:by x="105000" y="105000"/>
                                    </p:animScale>
                                  </p:childTnLst>
                                </p:cTn>
                              </p:par>
                              <p:par>
                                <p:cTn id="652" presetID="26" presetClass="emph" presetSubtype="0" dur="2000" repeatCount="indefinite" fill="hold" grpId="0" nodeType="withEffect">
                                  <p:stCondLst>
                                    <p:cond delay="4250"/>
                                  </p:stCondLst>
                                  <p:childTnLst>
                                    <p:animEffect transition="out" filter="fade">
                                      <p:cBhvr>
                                        <p:cTn id="653" dur="2000" tmFilter="0, 0; .2, .5; .8, .5; 1, 0"/>
                                        <p:tgtEl>
                                          <p:spTgt spid="169"/>
                                        </p:tgtEl>
                                      </p:cBhvr>
                                    </p:animEffect>
                                    <p:animScale>
                                      <p:cBhvr>
                                        <p:cTn id="654" dur="1000" autoRev="1" fill="hold"/>
                                        <p:tgtEl>
                                          <p:spTgt spid="169"/>
                                        </p:tgtEl>
                                      </p:cBhvr>
                                      <p:by x="105000" y="105000"/>
                                    </p:animScale>
                                  </p:childTnLst>
                                </p:cTn>
                              </p:par>
                              <p:par>
                                <p:cTn id="655" presetID="26" presetClass="emph" presetSubtype="0" dur="2000" repeatCount="indefinite" fill="hold" grpId="0" nodeType="withEffect">
                                  <p:stCondLst>
                                    <p:cond delay="4250"/>
                                  </p:stCondLst>
                                  <p:childTnLst>
                                    <p:animEffect transition="out" filter="fade">
                                      <p:cBhvr>
                                        <p:cTn id="656" dur="2000" tmFilter="0, 0; .2, .5; .8, .5; 1, 0"/>
                                        <p:tgtEl>
                                          <p:spTgt spid="186"/>
                                        </p:tgtEl>
                                      </p:cBhvr>
                                    </p:animEffect>
                                    <p:animScale>
                                      <p:cBhvr>
                                        <p:cTn id="657" dur="1000" autoRev="1" fill="hold"/>
                                        <p:tgtEl>
                                          <p:spTgt spid="186"/>
                                        </p:tgtEl>
                                      </p:cBhvr>
                                      <p:by x="105000" y="105000"/>
                                    </p:animScale>
                                  </p:childTnLst>
                                </p:cTn>
                              </p:par>
                              <p:par>
                                <p:cTn id="658" presetID="26" presetClass="emph" presetSubtype="0" dur="2000" repeatCount="indefinite" fill="hold" grpId="0" nodeType="withEffect">
                                  <p:stCondLst>
                                    <p:cond delay="4500"/>
                                  </p:stCondLst>
                                  <p:childTnLst>
                                    <p:animEffect transition="out" filter="fade">
                                      <p:cBhvr>
                                        <p:cTn id="659" dur="2000" tmFilter="0, 0; .2, .5; .8, .5; 1, 0"/>
                                        <p:tgtEl>
                                          <p:spTgt spid="88"/>
                                        </p:tgtEl>
                                      </p:cBhvr>
                                    </p:animEffect>
                                    <p:animScale>
                                      <p:cBhvr>
                                        <p:cTn id="660" dur="1000" autoRev="1" fill="hold"/>
                                        <p:tgtEl>
                                          <p:spTgt spid="88"/>
                                        </p:tgtEl>
                                      </p:cBhvr>
                                      <p:by x="105000" y="105000"/>
                                    </p:animScale>
                                  </p:childTnLst>
                                </p:cTn>
                              </p:par>
                              <p:par>
                                <p:cTn id="661" presetID="26" presetClass="emph" presetSubtype="0" dur="2000" repeatCount="indefinite" fill="hold" grpId="0" nodeType="withEffect">
                                  <p:stCondLst>
                                    <p:cond delay="4500"/>
                                  </p:stCondLst>
                                  <p:childTnLst>
                                    <p:animEffect transition="out" filter="fade">
                                      <p:cBhvr>
                                        <p:cTn id="662" dur="2000" tmFilter="0, 0; .2, .5; .8, .5; 1, 0"/>
                                        <p:tgtEl>
                                          <p:spTgt spid="104"/>
                                        </p:tgtEl>
                                      </p:cBhvr>
                                    </p:animEffect>
                                    <p:animScale>
                                      <p:cBhvr>
                                        <p:cTn id="663" dur="1000" autoRev="1" fill="hold"/>
                                        <p:tgtEl>
                                          <p:spTgt spid="104"/>
                                        </p:tgtEl>
                                      </p:cBhvr>
                                      <p:by x="105000" y="105000"/>
                                    </p:animScale>
                                  </p:childTnLst>
                                </p:cTn>
                              </p:par>
                              <p:par>
                                <p:cTn id="664" presetID="26" presetClass="emph" presetSubtype="0" dur="2000" repeatCount="indefinite" fill="hold" grpId="0" nodeType="withEffect">
                                  <p:stCondLst>
                                    <p:cond delay="4500"/>
                                  </p:stCondLst>
                                  <p:childTnLst>
                                    <p:animEffect transition="out" filter="fade">
                                      <p:cBhvr>
                                        <p:cTn id="665" dur="2000" tmFilter="0, 0; .2, .5; .8, .5; 1, 0"/>
                                        <p:tgtEl>
                                          <p:spTgt spid="120"/>
                                        </p:tgtEl>
                                      </p:cBhvr>
                                    </p:animEffect>
                                    <p:animScale>
                                      <p:cBhvr>
                                        <p:cTn id="666" dur="1000" autoRev="1" fill="hold"/>
                                        <p:tgtEl>
                                          <p:spTgt spid="120"/>
                                        </p:tgtEl>
                                      </p:cBhvr>
                                      <p:by x="105000" y="105000"/>
                                    </p:animScale>
                                  </p:childTnLst>
                                </p:cTn>
                              </p:par>
                              <p:par>
                                <p:cTn id="667" presetID="26" presetClass="emph" presetSubtype="0" dur="2000" repeatCount="indefinite" fill="hold" grpId="0" nodeType="withEffect">
                                  <p:stCondLst>
                                    <p:cond delay="4500"/>
                                  </p:stCondLst>
                                  <p:childTnLst>
                                    <p:animEffect transition="out" filter="fade">
                                      <p:cBhvr>
                                        <p:cTn id="668" dur="2000" tmFilter="0, 0; .2, .5; .8, .5; 1, 0"/>
                                        <p:tgtEl>
                                          <p:spTgt spid="136"/>
                                        </p:tgtEl>
                                      </p:cBhvr>
                                    </p:animEffect>
                                    <p:animScale>
                                      <p:cBhvr>
                                        <p:cTn id="669" dur="1000" autoRev="1" fill="hold"/>
                                        <p:tgtEl>
                                          <p:spTgt spid="136"/>
                                        </p:tgtEl>
                                      </p:cBhvr>
                                      <p:by x="105000" y="105000"/>
                                    </p:animScale>
                                  </p:childTnLst>
                                </p:cTn>
                              </p:par>
                              <p:par>
                                <p:cTn id="670" presetID="26" presetClass="emph" presetSubtype="0" dur="2000" repeatCount="indefinite" fill="hold" grpId="0" nodeType="withEffect">
                                  <p:stCondLst>
                                    <p:cond delay="4500"/>
                                  </p:stCondLst>
                                  <p:childTnLst>
                                    <p:animEffect transition="out" filter="fade">
                                      <p:cBhvr>
                                        <p:cTn id="671" dur="2000" tmFilter="0, 0; .2, .5; .8, .5; 1, 0"/>
                                        <p:tgtEl>
                                          <p:spTgt spid="153"/>
                                        </p:tgtEl>
                                      </p:cBhvr>
                                    </p:animEffect>
                                    <p:animScale>
                                      <p:cBhvr>
                                        <p:cTn id="672" dur="1000" autoRev="1" fill="hold"/>
                                        <p:tgtEl>
                                          <p:spTgt spid="153"/>
                                        </p:tgtEl>
                                      </p:cBhvr>
                                      <p:by x="105000" y="105000"/>
                                    </p:animScale>
                                  </p:childTnLst>
                                </p:cTn>
                              </p:par>
                              <p:par>
                                <p:cTn id="673" presetID="26" presetClass="emph" presetSubtype="0" dur="2000" repeatCount="indefinite" fill="hold" grpId="0" nodeType="withEffect">
                                  <p:stCondLst>
                                    <p:cond delay="4500"/>
                                  </p:stCondLst>
                                  <p:childTnLst>
                                    <p:animEffect transition="out" filter="fade">
                                      <p:cBhvr>
                                        <p:cTn id="674" dur="2000" tmFilter="0, 0; .2, .5; .8, .5; 1, 0"/>
                                        <p:tgtEl>
                                          <p:spTgt spid="170"/>
                                        </p:tgtEl>
                                      </p:cBhvr>
                                    </p:animEffect>
                                    <p:animScale>
                                      <p:cBhvr>
                                        <p:cTn id="675" dur="1000" autoRev="1" fill="hold"/>
                                        <p:tgtEl>
                                          <p:spTgt spid="170"/>
                                        </p:tgtEl>
                                      </p:cBhvr>
                                      <p:by x="105000" y="105000"/>
                                    </p:animScale>
                                  </p:childTnLst>
                                </p:cTn>
                              </p:par>
                              <p:par>
                                <p:cTn id="676" presetID="26" presetClass="emph" presetSubtype="0" dur="2000" repeatCount="indefinite" fill="hold" grpId="0" nodeType="withEffect">
                                  <p:stCondLst>
                                    <p:cond delay="4750"/>
                                  </p:stCondLst>
                                  <p:childTnLst>
                                    <p:animEffect transition="out" filter="fade">
                                      <p:cBhvr>
                                        <p:cTn id="677" dur="2000" tmFilter="0, 0; .2, .5; .8, .5; 1, 0"/>
                                        <p:tgtEl>
                                          <p:spTgt spid="105"/>
                                        </p:tgtEl>
                                      </p:cBhvr>
                                    </p:animEffect>
                                    <p:animScale>
                                      <p:cBhvr>
                                        <p:cTn id="678" dur="1000" autoRev="1" fill="hold"/>
                                        <p:tgtEl>
                                          <p:spTgt spid="105"/>
                                        </p:tgtEl>
                                      </p:cBhvr>
                                      <p:by x="105000" y="105000"/>
                                    </p:animScale>
                                  </p:childTnLst>
                                </p:cTn>
                              </p:par>
                              <p:par>
                                <p:cTn id="679" presetID="26" presetClass="emph" presetSubtype="0" dur="2000" repeatCount="indefinite" fill="hold" grpId="0" nodeType="withEffect">
                                  <p:stCondLst>
                                    <p:cond delay="4750"/>
                                  </p:stCondLst>
                                  <p:childTnLst>
                                    <p:animEffect transition="out" filter="fade">
                                      <p:cBhvr>
                                        <p:cTn id="680" dur="2000" tmFilter="0, 0; .2, .5; .8, .5; 1, 0"/>
                                        <p:tgtEl>
                                          <p:spTgt spid="121"/>
                                        </p:tgtEl>
                                      </p:cBhvr>
                                    </p:animEffect>
                                    <p:animScale>
                                      <p:cBhvr>
                                        <p:cTn id="681" dur="1000" autoRev="1" fill="hold"/>
                                        <p:tgtEl>
                                          <p:spTgt spid="121"/>
                                        </p:tgtEl>
                                      </p:cBhvr>
                                      <p:by x="105000" y="105000"/>
                                    </p:animScale>
                                  </p:childTnLst>
                                </p:cTn>
                              </p:par>
                              <p:par>
                                <p:cTn id="682" presetID="26" presetClass="emph" presetSubtype="0" dur="2000" repeatCount="indefinite" fill="hold" grpId="0" nodeType="withEffect">
                                  <p:stCondLst>
                                    <p:cond delay="4750"/>
                                  </p:stCondLst>
                                  <p:childTnLst>
                                    <p:animEffect transition="out" filter="fade">
                                      <p:cBhvr>
                                        <p:cTn id="683" dur="2000" tmFilter="0, 0; .2, .5; .8, .5; 1, 0"/>
                                        <p:tgtEl>
                                          <p:spTgt spid="137"/>
                                        </p:tgtEl>
                                      </p:cBhvr>
                                    </p:animEffect>
                                    <p:animScale>
                                      <p:cBhvr>
                                        <p:cTn id="684" dur="1000" autoRev="1" fill="hold"/>
                                        <p:tgtEl>
                                          <p:spTgt spid="137"/>
                                        </p:tgtEl>
                                      </p:cBhvr>
                                      <p:by x="105000" y="105000"/>
                                    </p:animScale>
                                  </p:childTnLst>
                                </p:cTn>
                              </p:par>
                              <p:par>
                                <p:cTn id="685" presetID="26" presetClass="emph" presetSubtype="0" dur="2000" repeatCount="indefinite" fill="hold" grpId="0" nodeType="withEffect">
                                  <p:stCondLst>
                                    <p:cond delay="4750"/>
                                  </p:stCondLst>
                                  <p:childTnLst>
                                    <p:animEffect transition="out" filter="fade">
                                      <p:cBhvr>
                                        <p:cTn id="686" dur="2000" tmFilter="0, 0; .2, .5; .8, .5; 1, 0"/>
                                        <p:tgtEl>
                                          <p:spTgt spid="154"/>
                                        </p:tgtEl>
                                      </p:cBhvr>
                                    </p:animEffect>
                                    <p:animScale>
                                      <p:cBhvr>
                                        <p:cTn id="687" dur="1000" autoRev="1" fill="hold"/>
                                        <p:tgtEl>
                                          <p:spTgt spid="154"/>
                                        </p:tgtEl>
                                      </p:cBhvr>
                                      <p:by x="105000" y="105000"/>
                                    </p:animScale>
                                  </p:childTnLst>
                                </p:cTn>
                              </p:par>
                              <p:par>
                                <p:cTn id="688" presetID="26" presetClass="emph" presetSubtype="0" dur="2000" repeatCount="indefinite" fill="hold" grpId="0" nodeType="withEffect">
                                  <p:stCondLst>
                                    <p:cond delay="5000"/>
                                  </p:stCondLst>
                                  <p:childTnLst>
                                    <p:animEffect transition="out" filter="fade">
                                      <p:cBhvr>
                                        <p:cTn id="689" dur="2000" tmFilter="0, 0; .2, .5; .8, .5; 1, 0"/>
                                        <p:tgtEl>
                                          <p:spTgt spid="122"/>
                                        </p:tgtEl>
                                      </p:cBhvr>
                                    </p:animEffect>
                                    <p:animScale>
                                      <p:cBhvr>
                                        <p:cTn id="690" dur="1000" autoRev="1" fill="hold"/>
                                        <p:tgtEl>
                                          <p:spTgt spid="122"/>
                                        </p:tgtEl>
                                      </p:cBhvr>
                                      <p:by x="105000" y="105000"/>
                                    </p:animScale>
                                  </p:childTnLst>
                                </p:cTn>
                              </p:par>
                              <p:par>
                                <p:cTn id="691" presetID="26" presetClass="emph" presetSubtype="0" dur="2000" repeatCount="indefinite" fill="hold" grpId="0" nodeType="withEffect">
                                  <p:stCondLst>
                                    <p:cond delay="5000"/>
                                  </p:stCondLst>
                                  <p:childTnLst>
                                    <p:animEffect transition="out" filter="fade">
                                      <p:cBhvr>
                                        <p:cTn id="692" dur="2000" tmFilter="0, 0; .2, .5; .8, .5; 1, 0"/>
                                        <p:tgtEl>
                                          <p:spTgt spid="138"/>
                                        </p:tgtEl>
                                      </p:cBhvr>
                                    </p:animEffect>
                                    <p:animScale>
                                      <p:cBhvr>
                                        <p:cTn id="693" dur="1000" autoRev="1" fill="hold"/>
                                        <p:tgtEl>
                                          <p:spTgt spid="138"/>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122" grpId="0" animBg="1"/>
      <p:bldP spid="138" grpId="0" animBg="1"/>
      <p:bldP spid="105" grpId="0" animBg="1"/>
      <p:bldP spid="121" grpId="0" animBg="1"/>
      <p:bldP spid="137" grpId="0" animBg="1"/>
      <p:bldP spid="154" grpId="0" animBg="1"/>
      <p:bldP spid="88" grpId="0" animBg="1"/>
      <p:bldP spid="104" grpId="0" animBg="1"/>
      <p:bldP spid="120" grpId="0" animBg="1"/>
      <p:bldP spid="136" grpId="0" animBg="1"/>
      <p:bldP spid="153" grpId="0" animBg="1"/>
      <p:bldP spid="170" grpId="0" animBg="1"/>
      <p:bldP spid="71" grpId="0" animBg="1"/>
      <p:bldP spid="87" grpId="0" animBg="1"/>
      <p:bldP spid="103" grpId="0" animBg="1"/>
      <p:bldP spid="119" grpId="0" animBg="1"/>
      <p:bldP spid="135" grpId="0" animBg="1"/>
      <p:bldP spid="152" grpId="0" animBg="1"/>
      <p:bldP spid="169" grpId="0" animBg="1"/>
      <p:bldP spid="186" grpId="0" animBg="1"/>
      <p:bldP spid="54" grpId="0" animBg="1"/>
      <p:bldP spid="70" grpId="0" animBg="1"/>
      <p:bldP spid="86" grpId="0" animBg="1"/>
      <p:bldP spid="102" grpId="0" animBg="1"/>
      <p:bldP spid="118" grpId="0" animBg="1"/>
      <p:bldP spid="134" grpId="0" animBg="1"/>
      <p:bldP spid="151" grpId="0" animBg="1"/>
      <p:bldP spid="168" grpId="0" animBg="1"/>
      <p:bldP spid="185" grpId="0" animBg="1"/>
      <p:bldP spid="202" grpId="0" animBg="1"/>
      <p:bldP spid="37" grpId="0" animBg="1"/>
      <p:bldP spid="53" grpId="0" animBg="1"/>
      <p:bldP spid="69" grpId="0" animBg="1"/>
      <p:bldP spid="85" grpId="0" animBg="1"/>
      <p:bldP spid="101" grpId="0" animBg="1"/>
      <p:bldP spid="117" grpId="0" animBg="1"/>
      <p:bldP spid="133" grpId="0" animBg="1"/>
      <p:bldP spid="150" grpId="0" animBg="1"/>
      <p:bldP spid="167" grpId="0" animBg="1"/>
      <p:bldP spid="184" grpId="0" animBg="1"/>
      <p:bldP spid="201" grpId="0" animBg="1"/>
      <p:bldP spid="218" grpId="0" animBg="1"/>
      <p:bldP spid="5" grpId="0" animBg="1"/>
      <p:bldP spid="22" grpId="0" animBg="1"/>
      <p:bldP spid="38" grpId="0" animBg="1"/>
      <p:bldP spid="203" grpId="0" animBg="1"/>
      <p:bldP spid="219" grpId="0" animBg="1"/>
      <p:bldP spid="6" grpId="0" animBg="1"/>
      <p:bldP spid="23" grpId="0" animBg="1"/>
      <p:bldP spid="39" grpId="0" animBg="1"/>
      <p:bldP spid="55" grpId="0" animBg="1"/>
      <p:bldP spid="187" grpId="0" animBg="1"/>
      <p:bldP spid="204" grpId="0" animBg="1"/>
      <p:bldP spid="220" grpId="0" animBg="1"/>
      <p:bldP spid="7" grpId="0" animBg="1"/>
      <p:bldP spid="24" grpId="0" animBg="1"/>
      <p:bldP spid="40" grpId="0" animBg="1"/>
      <p:bldP spid="56" grpId="0" animBg="1"/>
      <p:bldP spid="72" grpId="0" animBg="1"/>
      <p:bldP spid="171" grpId="0" animBg="1"/>
      <p:bldP spid="188" grpId="0" animBg="1"/>
      <p:bldP spid="205" grpId="0" animBg="1"/>
      <p:bldP spid="221" grpId="0" animBg="1"/>
      <p:bldP spid="8" grpId="0" animBg="1"/>
      <p:bldP spid="25" grpId="0" animBg="1"/>
      <p:bldP spid="41" grpId="0" animBg="1"/>
      <p:bldP spid="57" grpId="0" animBg="1"/>
      <p:bldP spid="73" grpId="0" animBg="1"/>
      <p:bldP spid="89" grpId="0" animBg="1"/>
      <p:bldP spid="155" grpId="0" animBg="1"/>
      <p:bldP spid="172" grpId="0" animBg="1"/>
      <p:bldP spid="189" grpId="0" animBg="1"/>
      <p:bldP spid="206" grpId="0" animBg="1"/>
      <p:bldP spid="222" grpId="0" animBg="1"/>
      <p:bldP spid="11" grpId="0" animBg="1"/>
      <p:bldP spid="26" grpId="0" animBg="1"/>
      <p:bldP spid="42" grpId="0" animBg="1"/>
      <p:bldP spid="58" grpId="0" animBg="1"/>
      <p:bldP spid="74" grpId="0" animBg="1"/>
      <p:bldP spid="90" grpId="0" animBg="1"/>
      <p:bldP spid="106" grpId="0" animBg="1"/>
      <p:bldP spid="139" grpId="0" animBg="1"/>
      <p:bldP spid="156" grpId="0" animBg="1"/>
      <p:bldP spid="173" grpId="0" animBg="1"/>
      <p:bldP spid="190" grpId="0" animBg="1"/>
      <p:bldP spid="207" grpId="0" animBg="1"/>
      <p:bldP spid="223" grpId="0" animBg="1"/>
      <p:bldP spid="12" grpId="0" animBg="1"/>
      <p:bldP spid="27" grpId="0" animBg="1"/>
      <p:bldP spid="43" grpId="0" animBg="1"/>
      <p:bldP spid="59" grpId="0" animBg="1"/>
      <p:bldP spid="75" grpId="0" animBg="1"/>
      <p:bldP spid="91" grpId="0" animBg="1"/>
      <p:bldP spid="107" grpId="0" animBg="1"/>
      <p:bldP spid="123" grpId="0" animBg="1"/>
      <p:bldP spid="140" grpId="0" animBg="1"/>
      <p:bldP spid="157" grpId="0" animBg="1"/>
      <p:bldP spid="174" grpId="0" animBg="1"/>
      <p:bldP spid="191" grpId="0" animBg="1"/>
      <p:bldP spid="208" grpId="0" animBg="1"/>
      <p:bldP spid="224" grpId="0" animBg="1"/>
      <p:bldP spid="13" grpId="0" animBg="1"/>
      <p:bldP spid="28" grpId="0" animBg="1"/>
      <p:bldP spid="44" grpId="0" animBg="1"/>
      <p:bldP spid="60" grpId="0" animBg="1"/>
      <p:bldP spid="76" grpId="0" animBg="1"/>
      <p:bldP spid="92" grpId="0" animBg="1"/>
      <p:bldP spid="108" grpId="0" animBg="1"/>
      <p:bldP spid="124" grpId="0" animBg="1"/>
      <p:bldP spid="141" grpId="0" animBg="1"/>
      <p:bldP spid="158" grpId="0" animBg="1"/>
      <p:bldP spid="175" grpId="0" animBg="1"/>
      <p:bldP spid="192" grpId="0" animBg="1"/>
      <p:bldP spid="209" grpId="0" animBg="1"/>
      <p:bldP spid="225" grpId="0" animBg="1"/>
      <p:bldP spid="14" grpId="0" animBg="1"/>
      <p:bldP spid="29" grpId="0" animBg="1"/>
      <p:bldP spid="45" grpId="0" animBg="1"/>
      <p:bldP spid="61" grpId="0" animBg="1"/>
      <p:bldP spid="77" grpId="0" animBg="1"/>
      <p:bldP spid="93" grpId="0" animBg="1"/>
      <p:bldP spid="109" grpId="0" animBg="1"/>
      <p:bldP spid="125" grpId="0" animBg="1"/>
      <p:bldP spid="142" grpId="0" animBg="1"/>
      <p:bldP spid="159" grpId="0" animBg="1"/>
      <p:bldP spid="176" grpId="0" animBg="1"/>
      <p:bldP spid="193" grpId="0" animBg="1"/>
      <p:bldP spid="210" grpId="0" animBg="1"/>
      <p:bldP spid="226" grpId="0" animBg="1"/>
      <p:bldP spid="15" grpId="0" animBg="1"/>
      <p:bldP spid="30" grpId="0" animBg="1"/>
      <p:bldP spid="46" grpId="0" animBg="1"/>
      <p:bldP spid="62" grpId="0" animBg="1"/>
      <p:bldP spid="78" grpId="0" animBg="1"/>
      <p:bldP spid="94" grpId="0" animBg="1"/>
      <p:bldP spid="110" grpId="0" animBg="1"/>
      <p:bldP spid="126" grpId="0" animBg="1"/>
      <p:bldP spid="143" grpId="0" animBg="1"/>
      <p:bldP spid="160" grpId="0" animBg="1"/>
      <p:bldP spid="177" grpId="0" animBg="1"/>
      <p:bldP spid="194" grpId="0" animBg="1"/>
      <p:bldP spid="211" grpId="0" animBg="1"/>
      <p:bldP spid="227" grpId="0" animBg="1"/>
      <p:bldP spid="16" grpId="0" animBg="1"/>
      <p:bldP spid="31" grpId="0" animBg="1"/>
      <p:bldP spid="47" grpId="0" animBg="1"/>
      <p:bldP spid="63" grpId="0" animBg="1"/>
      <p:bldP spid="79" grpId="0" animBg="1"/>
      <p:bldP spid="95" grpId="0" animBg="1"/>
      <p:bldP spid="111" grpId="0" animBg="1"/>
      <p:bldP spid="127" grpId="0" animBg="1"/>
      <p:bldP spid="144" grpId="0" animBg="1"/>
      <p:bldP spid="161" grpId="0" animBg="1"/>
      <p:bldP spid="178" grpId="0" animBg="1"/>
      <p:bldP spid="195" grpId="0" animBg="1"/>
      <p:bldP spid="212" grpId="0" animBg="1"/>
      <p:bldP spid="228" grpId="0" animBg="1"/>
      <p:bldP spid="17" grpId="0" animBg="1"/>
      <p:bldP spid="32" grpId="0" animBg="1"/>
      <p:bldP spid="48" grpId="0" animBg="1"/>
      <p:bldP spid="64" grpId="0" animBg="1"/>
      <p:bldP spid="80" grpId="0" animBg="1"/>
      <p:bldP spid="96" grpId="0" animBg="1"/>
      <p:bldP spid="112" grpId="0" animBg="1"/>
      <p:bldP spid="128" grpId="0" animBg="1"/>
      <p:bldP spid="145" grpId="0" animBg="1"/>
      <p:bldP spid="162" grpId="0" animBg="1"/>
      <p:bldP spid="179" grpId="0" animBg="1"/>
      <p:bldP spid="196" grpId="0" animBg="1"/>
      <p:bldP spid="213" grpId="0" animBg="1"/>
      <p:bldP spid="229" grpId="0" animBg="1"/>
      <p:bldP spid="18" grpId="0" animBg="1"/>
      <p:bldP spid="33" grpId="0" animBg="1"/>
      <p:bldP spid="49" grpId="0" animBg="1"/>
      <p:bldP spid="65" grpId="0" animBg="1"/>
      <p:bldP spid="81" grpId="0" animBg="1"/>
      <p:bldP spid="97" grpId="0" animBg="1"/>
      <p:bldP spid="113" grpId="0" animBg="1"/>
      <p:bldP spid="129" grpId="0" animBg="1"/>
      <p:bldP spid="146" grpId="0" animBg="1"/>
      <p:bldP spid="163" grpId="0" animBg="1"/>
      <p:bldP spid="180" grpId="0" animBg="1"/>
      <p:bldP spid="197" grpId="0" animBg="1"/>
      <p:bldP spid="214" grpId="0" animBg="1"/>
      <p:bldP spid="230" grpId="0" animBg="1"/>
      <p:bldP spid="19" grpId="0" animBg="1"/>
      <p:bldP spid="34" grpId="0" animBg="1"/>
      <p:bldP spid="50" grpId="0" animBg="1"/>
      <p:bldP spid="66" grpId="0" animBg="1"/>
      <p:bldP spid="82" grpId="0" animBg="1"/>
      <p:bldP spid="98" grpId="0" animBg="1"/>
      <p:bldP spid="114" grpId="0" animBg="1"/>
      <p:bldP spid="130" grpId="0" animBg="1"/>
      <p:bldP spid="147" grpId="0" animBg="1"/>
      <p:bldP spid="164" grpId="0" animBg="1"/>
      <p:bldP spid="181" grpId="0" animBg="1"/>
      <p:bldP spid="198" grpId="0" animBg="1"/>
      <p:bldP spid="215" grpId="0" animBg="1"/>
      <p:bldP spid="231" grpId="0" animBg="1"/>
      <p:bldP spid="20" grpId="0" animBg="1"/>
      <p:bldP spid="35" grpId="0" animBg="1"/>
      <p:bldP spid="51" grpId="0" animBg="1"/>
      <p:bldP spid="67" grpId="0" animBg="1"/>
      <p:bldP spid="83" grpId="0" animBg="1"/>
      <p:bldP spid="99" grpId="0" animBg="1"/>
      <p:bldP spid="115" grpId="0" animBg="1"/>
      <p:bldP spid="131" grpId="0" animBg="1"/>
      <p:bldP spid="148" grpId="0" animBg="1"/>
      <p:bldP spid="165" grpId="0" animBg="1"/>
      <p:bldP spid="182" grpId="0" animBg="1"/>
      <p:bldP spid="199" grpId="0" animBg="1"/>
      <p:bldP spid="216" grpId="0" animBg="1"/>
      <p:bldP spid="232" grpId="0" animBg="1"/>
      <p:bldP spid="21" grpId="0" animBg="1"/>
      <p:bldP spid="36" grpId="0" animBg="1"/>
      <p:bldP spid="52" grpId="0" animBg="1"/>
      <p:bldP spid="68" grpId="0" animBg="1"/>
      <p:bldP spid="84" grpId="0" animBg="1"/>
      <p:bldP spid="100" grpId="0" animBg="1"/>
      <p:bldP spid="116" grpId="0" animBg="1"/>
      <p:bldP spid="132" grpId="0" animBg="1"/>
      <p:bldP spid="149" grpId="0" animBg="1"/>
      <p:bldP spid="166" grpId="0" animBg="1"/>
      <p:bldP spid="183" grpId="0" animBg="1"/>
      <p:bldP spid="200" grpId="0" animBg="1"/>
      <p:bldP spid="217" grpId="0" animBg="1"/>
      <p:bldP spid="233" grpId="0" animBg="1"/>
      <p:bldP spid="10" grpId="0">
        <p:tmplLst>
          <p:tmpl>
            <p:tnLst>
              <p:par>
                <p:cTn presetID="2" presetClass="entr" presetSubtype="8" decel="100000" fill="hold" nodeType="withEffect">
                  <p:stCondLst>
                    <p:cond delay="0"/>
                  </p:stCondLst>
                  <p:childTnLst>
                    <p:set>
                      <p:cBhvr>
                        <p:cTn dur="1" fill="hold">
                          <p:stCondLst>
                            <p:cond delay="0"/>
                          </p:stCondLst>
                        </p:cTn>
                        <p:tgtEl>
                          <p:spTgt spid="10"/>
                        </p:tgtEl>
                        <p:attrNameLst>
                          <p:attrName>style.visibility</p:attrName>
                        </p:attrNameLst>
                      </p:cBhvr>
                      <p:to>
                        <p:strVal val="visible"/>
                      </p:to>
                    </p:set>
                    <p:anim calcmode="lin" valueType="num">
                      <p:cBhvr additive="base">
                        <p:cTn dur="1000" fill="hold"/>
                        <p:tgtEl>
                          <p:spTgt spid="10"/>
                        </p:tgtEl>
                        <p:attrNameLst>
                          <p:attrName>ppt_x</p:attrName>
                        </p:attrNameLst>
                      </p:cBhvr>
                      <p:tavLst>
                        <p:tav tm="0">
                          <p:val>
                            <p:strVal val="0-#ppt_w/2"/>
                          </p:val>
                        </p:tav>
                        <p:tav tm="100000">
                          <p:val>
                            <p:strVal val="#ppt_x"/>
                          </p:val>
                        </p:tav>
                      </p:tavLst>
                    </p:anim>
                    <p:anim calcmode="lin" valueType="num">
                      <p:cBhvr additive="base">
                        <p:cTn dur="1000" fill="hold"/>
                        <p:tgtEl>
                          <p:spTgt spid="10"/>
                        </p:tgtEl>
                        <p:attrNameLst>
                          <p:attrName>ppt_y</p:attrName>
                        </p:attrNameLst>
                      </p:cBhvr>
                      <p:tavLst>
                        <p:tav tm="0">
                          <p:val>
                            <p:strVal val="#ppt_y"/>
                          </p:val>
                        </p:tav>
                        <p:tav tm="100000">
                          <p:val>
                            <p:strVal val="#ppt_y"/>
                          </p:val>
                        </p:tav>
                      </p:tavLst>
                    </p:anim>
                  </p:childTnLst>
                </p:cTn>
              </p:par>
            </p:tnLst>
          </p:tmpl>
        </p:tmplLst>
      </p:bldP>
    </p:bldLst>
  </p:timing>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HEADING/TEXT 1 column">
    <p:spTree>
      <p:nvGrpSpPr>
        <p:cNvPr id="1" name=""/>
        <p:cNvGrpSpPr/>
        <p:nvPr/>
      </p:nvGrpSpPr>
      <p:grpSpPr>
        <a:xfrm>
          <a:off x="0" y="0"/>
          <a:ext cx="0" cy="0"/>
          <a:chOff x="0" y="0"/>
          <a:chExt cx="0" cy="0"/>
        </a:xfrm>
      </p:grpSpPr>
      <p:sp>
        <p:nvSpPr>
          <p:cNvPr id="13" name="Freihandform: Form 12">
            <a:extLst>
              <a:ext uri="{FF2B5EF4-FFF2-40B4-BE49-F238E27FC236}">
                <a16:creationId xmlns:a16="http://schemas.microsoft.com/office/drawing/2014/main" id="{50EC640D-C73C-4FD9-AD9A-88EE410704F4}"/>
              </a:ext>
            </a:extLst>
          </p:cNvPr>
          <p:cNvSpPr/>
          <p:nvPr/>
        </p:nvSpPr>
        <p:spPr>
          <a:xfrm>
            <a:off x="2362200" y="1975611"/>
            <a:ext cx="9829800" cy="4882390"/>
          </a:xfrm>
          <a:custGeom>
            <a:avLst/>
            <a:gdLst>
              <a:gd name="connsiteX0" fmla="*/ 910059 w 9829800"/>
              <a:gd name="connsiteY0" fmla="*/ 0 h 4882390"/>
              <a:gd name="connsiteX1" fmla="*/ 3015085 w 9829800"/>
              <a:gd name="connsiteY1" fmla="*/ 0 h 4882390"/>
              <a:gd name="connsiteX2" fmla="*/ 7981950 w 9829800"/>
              <a:gd name="connsiteY2" fmla="*/ 0 h 4882390"/>
              <a:gd name="connsiteX3" fmla="*/ 9829800 w 9829800"/>
              <a:gd name="connsiteY3" fmla="*/ 0 h 4882390"/>
              <a:gd name="connsiteX4" fmla="*/ 9829800 w 9829800"/>
              <a:gd name="connsiteY4" fmla="*/ 4882390 h 4882390"/>
              <a:gd name="connsiteX5" fmla="*/ 7981950 w 9829800"/>
              <a:gd name="connsiteY5" fmla="*/ 4882390 h 4882390"/>
              <a:gd name="connsiteX6" fmla="*/ 2183098 w 9829800"/>
              <a:gd name="connsiteY6" fmla="*/ 4882390 h 4882390"/>
              <a:gd name="connsiteX7" fmla="*/ 78072 w 9829800"/>
              <a:gd name="connsiteY7" fmla="*/ 4882390 h 4882390"/>
              <a:gd name="connsiteX8" fmla="*/ 0 w 9829800"/>
              <a:gd name="connsiteY8" fmla="*/ 4804318 h 4882390"/>
              <a:gd name="connsiteX9" fmla="*/ 831987 w 9829800"/>
              <a:gd name="connsiteY9" fmla="*/ 78072 h 4882390"/>
              <a:gd name="connsiteX10" fmla="*/ 910059 w 9829800"/>
              <a:gd name="connsiteY10" fmla="*/ 0 h 4882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829800" h="4882390">
                <a:moveTo>
                  <a:pt x="910059" y="0"/>
                </a:moveTo>
                <a:lnTo>
                  <a:pt x="3015085" y="0"/>
                </a:lnTo>
                <a:lnTo>
                  <a:pt x="7981950" y="0"/>
                </a:lnTo>
                <a:lnTo>
                  <a:pt x="9829800" y="0"/>
                </a:lnTo>
                <a:lnTo>
                  <a:pt x="9829800" y="4882390"/>
                </a:lnTo>
                <a:lnTo>
                  <a:pt x="7981950" y="4882390"/>
                </a:lnTo>
                <a:lnTo>
                  <a:pt x="2183098" y="4882390"/>
                </a:lnTo>
                <a:lnTo>
                  <a:pt x="78072" y="4882390"/>
                </a:lnTo>
                <a:cubicBezTo>
                  <a:pt x="34957" y="4882390"/>
                  <a:pt x="0" y="4847433"/>
                  <a:pt x="0" y="4804318"/>
                </a:cubicBezTo>
                <a:lnTo>
                  <a:pt x="831987" y="78072"/>
                </a:lnTo>
                <a:cubicBezTo>
                  <a:pt x="831987" y="34957"/>
                  <a:pt x="866945" y="0"/>
                  <a:pt x="910059" y="0"/>
                </a:cubicBezTo>
                <a:close/>
              </a:path>
            </a:pathLst>
          </a:custGeom>
          <a:gradFill>
            <a:gsLst>
              <a:gs pos="0">
                <a:schemeClr val="bg1"/>
              </a:gs>
              <a:gs pos="95000">
                <a:srgbClr val="ECF0F4"/>
              </a:gs>
            </a:gsLst>
            <a:lin ang="5400000" scaled="1"/>
          </a:gradFill>
          <a:ln w="11652" cap="flat">
            <a:noFill/>
            <a:prstDash val="solid"/>
            <a:miter/>
          </a:ln>
        </p:spPr>
        <p:txBody>
          <a:bodyPr rtlCol="0" anchor="ctr"/>
          <a:lstStyle/>
          <a:p>
            <a:endParaRPr lang="de-DE"/>
          </a:p>
        </p:txBody>
      </p:sp>
      <p:sp>
        <p:nvSpPr>
          <p:cNvPr id="2" name="Titel 1">
            <a:extLst>
              <a:ext uri="{FF2B5EF4-FFF2-40B4-BE49-F238E27FC236}">
                <a16:creationId xmlns:a16="http://schemas.microsoft.com/office/drawing/2014/main" id="{0526DC72-FA1D-422D-8055-3374742D122B}"/>
              </a:ext>
            </a:extLst>
          </p:cNvPr>
          <p:cNvSpPr>
            <a:spLocks noGrp="1"/>
          </p:cNvSpPr>
          <p:nvPr>
            <p:ph type="title"/>
          </p:nvPr>
        </p:nvSpPr>
        <p:spPr/>
        <p:txBody>
          <a:bodyPr/>
          <a:lstStyle>
            <a:lvl1pPr>
              <a:lnSpc>
                <a:spcPct val="100000"/>
              </a:lnSpc>
              <a:defRPr/>
            </a:lvl1pPr>
          </a:lstStyle>
          <a:p>
            <a:r>
              <a:rPr lang="de-DE"/>
              <a:t>Mastertitelformat bearbeiten</a:t>
            </a:r>
          </a:p>
        </p:txBody>
      </p:sp>
      <p:sp>
        <p:nvSpPr>
          <p:cNvPr id="3" name="Foliennummernplatzhalter 2">
            <a:extLst>
              <a:ext uri="{FF2B5EF4-FFF2-40B4-BE49-F238E27FC236}">
                <a16:creationId xmlns:a16="http://schemas.microsoft.com/office/drawing/2014/main" id="{5B327254-466C-4606-8589-BCC72CBDADDF}"/>
              </a:ext>
            </a:extLst>
          </p:cNvPr>
          <p:cNvSpPr>
            <a:spLocks noGrp="1"/>
          </p:cNvSpPr>
          <p:nvPr>
            <p:ph type="sldNum" sz="quarter" idx="10"/>
          </p:nvPr>
        </p:nvSpPr>
        <p:spPr/>
        <p:txBody>
          <a:bodyPr/>
          <a:lstStyle/>
          <a:p>
            <a:fld id="{A04BEB4F-8CE1-4F18-986F-6CE0A0BE9470}" type="slidenum">
              <a:rPr lang="de-DE" smtClean="0"/>
              <a:t>‹#›</a:t>
            </a:fld>
            <a:endParaRPr lang="de-DE"/>
          </a:p>
        </p:txBody>
      </p:sp>
      <p:sp>
        <p:nvSpPr>
          <p:cNvPr id="5" name="Textplatzhalter 9">
            <a:extLst>
              <a:ext uri="{FF2B5EF4-FFF2-40B4-BE49-F238E27FC236}">
                <a16:creationId xmlns:a16="http://schemas.microsoft.com/office/drawing/2014/main" id="{6024922C-391C-46EA-9F1C-F5344AAB64C8}"/>
              </a:ext>
            </a:extLst>
          </p:cNvPr>
          <p:cNvSpPr>
            <a:spLocks noGrp="1"/>
          </p:cNvSpPr>
          <p:nvPr>
            <p:ph type="body" sz="quarter" idx="11"/>
          </p:nvPr>
        </p:nvSpPr>
        <p:spPr>
          <a:xfrm>
            <a:off x="815951" y="1979612"/>
            <a:ext cx="10560096" cy="4338638"/>
          </a:xfrm>
          <a:prstGeom prst="rect">
            <a:avLst/>
          </a:prstGeom>
        </p:spPr>
        <p:txBody>
          <a:bodyPr lIns="0" tIns="0" rIns="0" bIns="0">
            <a:normAutofit/>
          </a:bodyPr>
          <a:lstStyle>
            <a:lvl1pPr>
              <a:defRPr sz="1800"/>
            </a:lvl1pPr>
            <a:lvl2pPr>
              <a:defRPr sz="1800"/>
            </a:lvl2pPr>
            <a:lvl3pPr>
              <a:defRPr sz="1800"/>
            </a:lvl3pPr>
            <a:lvl4pPr>
              <a:defRPr sz="1800"/>
            </a:lvl4pPr>
            <a:lvl5pPr>
              <a:defRPr sz="18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37437606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8" dur="1000" decel="10000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0-#ppt_w/2"/>
                                          </p:val>
                                        </p:tav>
                                        <p:tav tm="100000">
                                          <p:val>
                                            <p:strVal val="#ppt_x"/>
                                          </p:val>
                                        </p:tav>
                                      </p:tavLst>
                                    </p:anim>
                                    <p:anim calcmode="lin" valueType="num">
                                      <p:cBhvr additive="base">
                                        <p:cTn id="8" dur="1000" fill="hold"/>
                                        <p:tgtEl>
                                          <p:spTgt spid="2"/>
                                        </p:tgtEl>
                                        <p:attrNameLst>
                                          <p:attrName>ppt_y</p:attrName>
                                        </p:attrNameLst>
                                      </p:cBhvr>
                                      <p:tavLst>
                                        <p:tav tm="0">
                                          <p:val>
                                            <p:strVal val="#ppt_y"/>
                                          </p:val>
                                        </p:tav>
                                        <p:tav tm="100000">
                                          <p:val>
                                            <p:strVal val="#ppt_y"/>
                                          </p:val>
                                        </p:tav>
                                      </p:tavLst>
                                    </p:anim>
                                  </p:childTnLst>
                                </p:cTn>
                              </p:par>
                              <p:par>
                                <p:cTn id="9" presetID="2" presetClass="entr" presetSubtype="8" dur="1000" decel="100000" fill="hold" grpId="0" nodeType="withEffect">
                                  <p:stCondLst>
                                    <p:cond delay="25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1000" fill="hold"/>
                                        <p:tgtEl>
                                          <p:spTgt spid="5"/>
                                        </p:tgtEl>
                                        <p:attrNameLst>
                                          <p:attrName>ppt_x</p:attrName>
                                        </p:attrNameLst>
                                      </p:cBhvr>
                                      <p:tavLst>
                                        <p:tav tm="0">
                                          <p:val>
                                            <p:strVal val="0-#ppt_w/2"/>
                                          </p:val>
                                        </p:tav>
                                        <p:tav tm="100000">
                                          <p:val>
                                            <p:strVal val="#ppt_x"/>
                                          </p:val>
                                        </p:tav>
                                      </p:tavLst>
                                    </p:anim>
                                    <p:anim calcmode="lin" valueType="num">
                                      <p:cBhvr additive="base">
                                        <p:cTn id="12" dur="100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uiExpand="1">
        <p:tmplLst>
          <p:tmpl>
            <p:tnLst>
              <p:par>
                <p:cTn presetID="2" presetClass="entr" presetSubtype="8" decel="100000" fill="hold" nodeType="withEffect">
                  <p:stCondLst>
                    <p:cond delay="250"/>
                  </p:stCondLst>
                  <p:childTnLst>
                    <p:set>
                      <p:cBhvr>
                        <p:cTn dur="1" fill="hold">
                          <p:stCondLst>
                            <p:cond delay="0"/>
                          </p:stCondLst>
                        </p:cTn>
                        <p:tgtEl>
                          <p:spTgt spid="5"/>
                        </p:tgtEl>
                        <p:attrNameLst>
                          <p:attrName>style.visibility</p:attrName>
                        </p:attrNameLst>
                      </p:cBhvr>
                      <p:to>
                        <p:strVal val="visible"/>
                      </p:to>
                    </p:set>
                    <p:anim calcmode="lin" valueType="num">
                      <p:cBhvr additive="base">
                        <p:cTn dur="1000" fill="hold"/>
                        <p:tgtEl>
                          <p:spTgt spid="5"/>
                        </p:tgtEl>
                        <p:attrNameLst>
                          <p:attrName>ppt_x</p:attrName>
                        </p:attrNameLst>
                      </p:cBhvr>
                      <p:tavLst>
                        <p:tav tm="0">
                          <p:val>
                            <p:strVal val="0-#ppt_w/2"/>
                          </p:val>
                        </p:tav>
                        <p:tav tm="100000">
                          <p:val>
                            <p:strVal val="#ppt_x"/>
                          </p:val>
                        </p:tav>
                      </p:tavLst>
                    </p:anim>
                    <p:anim calcmode="lin" valueType="num">
                      <p:cBhvr additive="base">
                        <p:cTn dur="1000" fill="hold"/>
                        <p:tgtEl>
                          <p:spTgt spid="5"/>
                        </p:tgtEl>
                        <p:attrNameLst>
                          <p:attrName>ppt_y</p:attrName>
                        </p:attrNameLst>
                      </p:cBhvr>
                      <p:tavLst>
                        <p:tav tm="0">
                          <p:val>
                            <p:strVal val="#ppt_y"/>
                          </p:val>
                        </p:tav>
                        <p:tav tm="100000">
                          <p:val>
                            <p:strVal val="#ppt_y"/>
                          </p:val>
                        </p:tav>
                      </p:tavLst>
                    </p:anim>
                  </p:childTnLst>
                </p:cTn>
              </p:par>
            </p:tnLst>
          </p:tmpl>
        </p:tmplLst>
      </p:bldP>
    </p:bldLst>
  </p:timing>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HEADING/TEXT/IMAGE 1 small">
    <p:spTree>
      <p:nvGrpSpPr>
        <p:cNvPr id="1" name=""/>
        <p:cNvGrpSpPr/>
        <p:nvPr/>
      </p:nvGrpSpPr>
      <p:grpSpPr>
        <a:xfrm>
          <a:off x="0" y="0"/>
          <a:ext cx="0" cy="0"/>
          <a:chOff x="0" y="0"/>
          <a:chExt cx="0" cy="0"/>
        </a:xfrm>
      </p:grpSpPr>
      <p:sp>
        <p:nvSpPr>
          <p:cNvPr id="13" name="Freihandform: Form 12">
            <a:extLst>
              <a:ext uri="{FF2B5EF4-FFF2-40B4-BE49-F238E27FC236}">
                <a16:creationId xmlns:a16="http://schemas.microsoft.com/office/drawing/2014/main" id="{50EC640D-C73C-4FD9-AD9A-88EE410704F4}"/>
              </a:ext>
            </a:extLst>
          </p:cNvPr>
          <p:cNvSpPr/>
          <p:nvPr/>
        </p:nvSpPr>
        <p:spPr>
          <a:xfrm rot="10800000">
            <a:off x="0" y="1975611"/>
            <a:ext cx="9829800" cy="4882390"/>
          </a:xfrm>
          <a:custGeom>
            <a:avLst/>
            <a:gdLst>
              <a:gd name="connsiteX0" fmla="*/ 910059 w 9829800"/>
              <a:gd name="connsiteY0" fmla="*/ 0 h 4882390"/>
              <a:gd name="connsiteX1" fmla="*/ 3015085 w 9829800"/>
              <a:gd name="connsiteY1" fmla="*/ 0 h 4882390"/>
              <a:gd name="connsiteX2" fmla="*/ 7981950 w 9829800"/>
              <a:gd name="connsiteY2" fmla="*/ 0 h 4882390"/>
              <a:gd name="connsiteX3" fmla="*/ 9829800 w 9829800"/>
              <a:gd name="connsiteY3" fmla="*/ 0 h 4882390"/>
              <a:gd name="connsiteX4" fmla="*/ 9829800 w 9829800"/>
              <a:gd name="connsiteY4" fmla="*/ 4882390 h 4882390"/>
              <a:gd name="connsiteX5" fmla="*/ 7981950 w 9829800"/>
              <a:gd name="connsiteY5" fmla="*/ 4882390 h 4882390"/>
              <a:gd name="connsiteX6" fmla="*/ 2183098 w 9829800"/>
              <a:gd name="connsiteY6" fmla="*/ 4882390 h 4882390"/>
              <a:gd name="connsiteX7" fmla="*/ 78072 w 9829800"/>
              <a:gd name="connsiteY7" fmla="*/ 4882390 h 4882390"/>
              <a:gd name="connsiteX8" fmla="*/ 0 w 9829800"/>
              <a:gd name="connsiteY8" fmla="*/ 4804318 h 4882390"/>
              <a:gd name="connsiteX9" fmla="*/ 831987 w 9829800"/>
              <a:gd name="connsiteY9" fmla="*/ 78072 h 4882390"/>
              <a:gd name="connsiteX10" fmla="*/ 910059 w 9829800"/>
              <a:gd name="connsiteY10" fmla="*/ 0 h 4882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829800" h="4882390">
                <a:moveTo>
                  <a:pt x="910059" y="0"/>
                </a:moveTo>
                <a:lnTo>
                  <a:pt x="3015085" y="0"/>
                </a:lnTo>
                <a:lnTo>
                  <a:pt x="7981950" y="0"/>
                </a:lnTo>
                <a:lnTo>
                  <a:pt x="9829800" y="0"/>
                </a:lnTo>
                <a:lnTo>
                  <a:pt x="9829800" y="4882390"/>
                </a:lnTo>
                <a:lnTo>
                  <a:pt x="7981950" y="4882390"/>
                </a:lnTo>
                <a:lnTo>
                  <a:pt x="2183098" y="4882390"/>
                </a:lnTo>
                <a:lnTo>
                  <a:pt x="78072" y="4882390"/>
                </a:lnTo>
                <a:cubicBezTo>
                  <a:pt x="34957" y="4882390"/>
                  <a:pt x="0" y="4847433"/>
                  <a:pt x="0" y="4804318"/>
                </a:cubicBezTo>
                <a:lnTo>
                  <a:pt x="831987" y="78072"/>
                </a:lnTo>
                <a:cubicBezTo>
                  <a:pt x="831987" y="34957"/>
                  <a:pt x="866945" y="0"/>
                  <a:pt x="910059" y="0"/>
                </a:cubicBezTo>
                <a:close/>
              </a:path>
            </a:pathLst>
          </a:custGeom>
          <a:gradFill>
            <a:gsLst>
              <a:gs pos="100000">
                <a:schemeClr val="bg1"/>
              </a:gs>
              <a:gs pos="5000">
                <a:srgbClr val="ECF0F4"/>
              </a:gs>
            </a:gsLst>
            <a:lin ang="5400000" scaled="1"/>
          </a:gradFill>
          <a:ln w="11652" cap="flat">
            <a:noFill/>
            <a:prstDash val="solid"/>
            <a:miter/>
          </a:ln>
        </p:spPr>
        <p:txBody>
          <a:bodyPr rtlCol="0" anchor="ctr"/>
          <a:lstStyle/>
          <a:p>
            <a:endParaRPr lang="de-DE"/>
          </a:p>
        </p:txBody>
      </p:sp>
      <p:sp>
        <p:nvSpPr>
          <p:cNvPr id="2" name="Titel 1">
            <a:extLst>
              <a:ext uri="{FF2B5EF4-FFF2-40B4-BE49-F238E27FC236}">
                <a16:creationId xmlns:a16="http://schemas.microsoft.com/office/drawing/2014/main" id="{0526DC72-FA1D-422D-8055-3374742D122B}"/>
              </a:ext>
            </a:extLst>
          </p:cNvPr>
          <p:cNvSpPr>
            <a:spLocks noGrp="1"/>
          </p:cNvSpPr>
          <p:nvPr>
            <p:ph type="title"/>
          </p:nvPr>
        </p:nvSpPr>
        <p:spPr>
          <a:xfrm>
            <a:off x="815952" y="733402"/>
            <a:ext cx="4931999" cy="767737"/>
          </a:xfrm>
        </p:spPr>
        <p:txBody>
          <a:bodyPr/>
          <a:lstStyle>
            <a:lvl1pPr>
              <a:lnSpc>
                <a:spcPct val="100000"/>
              </a:lnSpc>
              <a:defRPr/>
            </a:lvl1pPr>
          </a:lstStyle>
          <a:p>
            <a:r>
              <a:rPr lang="de-DE"/>
              <a:t>Mastertitelformat bearbeiten</a:t>
            </a:r>
          </a:p>
        </p:txBody>
      </p:sp>
      <p:sp>
        <p:nvSpPr>
          <p:cNvPr id="3" name="Foliennummernplatzhalter 2">
            <a:extLst>
              <a:ext uri="{FF2B5EF4-FFF2-40B4-BE49-F238E27FC236}">
                <a16:creationId xmlns:a16="http://schemas.microsoft.com/office/drawing/2014/main" id="{5B327254-466C-4606-8589-BCC72CBDADDF}"/>
              </a:ext>
            </a:extLst>
          </p:cNvPr>
          <p:cNvSpPr>
            <a:spLocks noGrp="1"/>
          </p:cNvSpPr>
          <p:nvPr>
            <p:ph type="sldNum" sz="quarter" idx="10"/>
          </p:nvPr>
        </p:nvSpPr>
        <p:spPr/>
        <p:txBody>
          <a:bodyPr/>
          <a:lstStyle/>
          <a:p>
            <a:fld id="{A04BEB4F-8CE1-4F18-986F-6CE0A0BE9470}" type="slidenum">
              <a:rPr lang="de-DE" smtClean="0"/>
              <a:t>‹#›</a:t>
            </a:fld>
            <a:endParaRPr lang="de-DE"/>
          </a:p>
        </p:txBody>
      </p:sp>
      <p:sp>
        <p:nvSpPr>
          <p:cNvPr id="5" name="Textplatzhalter 9">
            <a:extLst>
              <a:ext uri="{FF2B5EF4-FFF2-40B4-BE49-F238E27FC236}">
                <a16:creationId xmlns:a16="http://schemas.microsoft.com/office/drawing/2014/main" id="{6024922C-391C-46EA-9F1C-F5344AAB64C8}"/>
              </a:ext>
            </a:extLst>
          </p:cNvPr>
          <p:cNvSpPr>
            <a:spLocks noGrp="1"/>
          </p:cNvSpPr>
          <p:nvPr>
            <p:ph type="body" sz="quarter" idx="11"/>
          </p:nvPr>
        </p:nvSpPr>
        <p:spPr>
          <a:xfrm>
            <a:off x="815951" y="1979612"/>
            <a:ext cx="4932000" cy="4338638"/>
          </a:xfrm>
          <a:prstGeom prst="rect">
            <a:avLst/>
          </a:prstGeom>
        </p:spPr>
        <p:txBody>
          <a:bodyPr lIns="0" tIns="0" rIns="0" bIns="0">
            <a:normAutofit/>
          </a:bodyPr>
          <a:lstStyle>
            <a:lvl1pPr>
              <a:defRPr sz="1800"/>
            </a:lvl1pPr>
            <a:lvl2pPr>
              <a:defRPr sz="1800"/>
            </a:lvl2pPr>
            <a:lvl3pPr>
              <a:defRPr sz="1800"/>
            </a:lvl3pPr>
            <a:lvl4pPr>
              <a:defRPr sz="1800"/>
            </a:lvl4pPr>
            <a:lvl5pPr>
              <a:defRPr sz="18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2" name="Bildplatzhalter 11">
            <a:extLst>
              <a:ext uri="{FF2B5EF4-FFF2-40B4-BE49-F238E27FC236}">
                <a16:creationId xmlns:a16="http://schemas.microsoft.com/office/drawing/2014/main" id="{ADBECC62-C583-4D92-A4EB-968BC29D7750}"/>
              </a:ext>
            </a:extLst>
          </p:cNvPr>
          <p:cNvSpPr>
            <a:spLocks noGrp="1"/>
          </p:cNvSpPr>
          <p:nvPr>
            <p:ph type="pic" sz="quarter" idx="12" hasCustomPrompt="1"/>
          </p:nvPr>
        </p:nvSpPr>
        <p:spPr>
          <a:xfrm>
            <a:off x="6075352" y="0"/>
            <a:ext cx="6116649" cy="3983353"/>
          </a:xfrm>
          <a:custGeom>
            <a:avLst/>
            <a:gdLst>
              <a:gd name="connsiteX0" fmla="*/ 690114 w 6116649"/>
              <a:gd name="connsiteY0" fmla="*/ 0 h 3983353"/>
              <a:gd name="connsiteX1" fmla="*/ 1061419 w 6116649"/>
              <a:gd name="connsiteY1" fmla="*/ 0 h 3983353"/>
              <a:gd name="connsiteX2" fmla="*/ 3906848 w 6116649"/>
              <a:gd name="connsiteY2" fmla="*/ 0 h 3983353"/>
              <a:gd name="connsiteX3" fmla="*/ 6116649 w 6116649"/>
              <a:gd name="connsiteY3" fmla="*/ 0 h 3983353"/>
              <a:gd name="connsiteX4" fmla="*/ 6116649 w 6116649"/>
              <a:gd name="connsiteY4" fmla="*/ 3983353 h 3983353"/>
              <a:gd name="connsiteX5" fmla="*/ 63818 w 6116649"/>
              <a:gd name="connsiteY5" fmla="*/ 3983353 h 3983353"/>
              <a:gd name="connsiteX6" fmla="*/ 0 w 6116649"/>
              <a:gd name="connsiteY6" fmla="*/ 3919536 h 3983353"/>
              <a:gd name="connsiteX7" fmla="*/ 679421 w 6116649"/>
              <a:gd name="connsiteY7" fmla="*/ 59971 h 3983353"/>
              <a:gd name="connsiteX8" fmla="*/ 679045 w 6116649"/>
              <a:gd name="connsiteY8" fmla="*/ 59901 h 3983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116649" h="3983353">
                <a:moveTo>
                  <a:pt x="690114" y="0"/>
                </a:moveTo>
                <a:lnTo>
                  <a:pt x="1061419" y="0"/>
                </a:lnTo>
                <a:lnTo>
                  <a:pt x="3906848" y="0"/>
                </a:lnTo>
                <a:lnTo>
                  <a:pt x="6116649" y="0"/>
                </a:lnTo>
                <a:lnTo>
                  <a:pt x="6116649" y="3983353"/>
                </a:lnTo>
                <a:lnTo>
                  <a:pt x="63818" y="3983353"/>
                </a:lnTo>
                <a:cubicBezTo>
                  <a:pt x="28575" y="3983353"/>
                  <a:pt x="0" y="3954778"/>
                  <a:pt x="0" y="3919536"/>
                </a:cubicBezTo>
                <a:lnTo>
                  <a:pt x="679421" y="59971"/>
                </a:lnTo>
                <a:lnTo>
                  <a:pt x="679045" y="59901"/>
                </a:lnTo>
                <a:close/>
              </a:path>
            </a:pathLst>
          </a:custGeom>
          <a:effectLst>
            <a:outerShdw blurRad="190500" dist="127000" dir="2700000" algn="tl" rotWithShape="0">
              <a:prstClr val="black">
                <a:alpha val="10000"/>
              </a:prstClr>
            </a:outerShdw>
          </a:effectLst>
        </p:spPr>
        <p:txBody>
          <a:bodyPr wrap="square">
            <a:noAutofit/>
          </a:bodyPr>
          <a:lstStyle>
            <a:lvl3pPr marL="990600" marR="0" indent="-285750" algn="l" defTabSz="1644650" rtl="0" eaLnBrk="0" fontAlgn="base" latinLnBrk="0" hangingPunct="0">
              <a:lnSpc>
                <a:spcPct val="130000"/>
              </a:lnSpc>
              <a:spcBef>
                <a:spcPct val="0"/>
              </a:spcBef>
              <a:spcAft>
                <a:spcPts val="1200"/>
              </a:spcAft>
              <a:buClr>
                <a:srgbClr val="004C99"/>
              </a:buClr>
              <a:buSzPct val="120000"/>
              <a:defRPr/>
            </a:lvl3pPr>
          </a:lstStyle>
          <a:p>
            <a:pPr marL="990600" marR="0" lvl="2" indent="-285750" algn="l" defTabSz="1644650" rtl="0" eaLnBrk="0" fontAlgn="base" latinLnBrk="0" hangingPunct="0">
              <a:lnSpc>
                <a:spcPct val="130000"/>
              </a:lnSpc>
              <a:spcBef>
                <a:spcPct val="0"/>
              </a:spcBef>
              <a:spcAft>
                <a:spcPts val="1200"/>
              </a:spcAft>
              <a:buClr>
                <a:srgbClr val="004C99"/>
              </a:buClr>
              <a:buSzPct val="120000"/>
              <a:defRPr/>
            </a:pPr>
            <a:r>
              <a:rPr lang="de-DE"/>
              <a:t>Please insert image</a:t>
            </a:r>
          </a:p>
        </p:txBody>
      </p:sp>
    </p:spTree>
    <p:extLst>
      <p:ext uri="{BB962C8B-B14F-4D97-AF65-F5344CB8AC3E}">
        <p14:creationId xmlns:p14="http://schemas.microsoft.com/office/powerpoint/2010/main" val="3151290264"/>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8" dur="1000" decel="10000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0-#ppt_w/2"/>
                                          </p:val>
                                        </p:tav>
                                        <p:tav tm="100000">
                                          <p:val>
                                            <p:strVal val="#ppt_x"/>
                                          </p:val>
                                        </p:tav>
                                      </p:tavLst>
                                    </p:anim>
                                    <p:anim calcmode="lin" valueType="num">
                                      <p:cBhvr additive="base">
                                        <p:cTn id="8" dur="1000" fill="hold"/>
                                        <p:tgtEl>
                                          <p:spTgt spid="2"/>
                                        </p:tgtEl>
                                        <p:attrNameLst>
                                          <p:attrName>ppt_y</p:attrName>
                                        </p:attrNameLst>
                                      </p:cBhvr>
                                      <p:tavLst>
                                        <p:tav tm="0">
                                          <p:val>
                                            <p:strVal val="#ppt_y"/>
                                          </p:val>
                                        </p:tav>
                                        <p:tav tm="100000">
                                          <p:val>
                                            <p:strVal val="#ppt_y"/>
                                          </p:val>
                                        </p:tav>
                                      </p:tavLst>
                                    </p:anim>
                                  </p:childTnLst>
                                </p:cTn>
                              </p:par>
                              <p:par>
                                <p:cTn id="9" presetID="2" presetClass="entr" presetSubtype="8" dur="1000" decel="100000" fill="hold" grpId="0" nodeType="withEffect">
                                  <p:stCondLst>
                                    <p:cond delay="25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1000" fill="hold"/>
                                        <p:tgtEl>
                                          <p:spTgt spid="5"/>
                                        </p:tgtEl>
                                        <p:attrNameLst>
                                          <p:attrName>ppt_x</p:attrName>
                                        </p:attrNameLst>
                                      </p:cBhvr>
                                      <p:tavLst>
                                        <p:tav tm="0">
                                          <p:val>
                                            <p:strVal val="0-#ppt_w/2"/>
                                          </p:val>
                                        </p:tav>
                                        <p:tav tm="100000">
                                          <p:val>
                                            <p:strVal val="#ppt_x"/>
                                          </p:val>
                                        </p:tav>
                                      </p:tavLst>
                                    </p:anim>
                                    <p:anim calcmode="lin" valueType="num">
                                      <p:cBhvr additive="base">
                                        <p:cTn id="12" dur="1000" fill="hold"/>
                                        <p:tgtEl>
                                          <p:spTgt spid="5"/>
                                        </p:tgtEl>
                                        <p:attrNameLst>
                                          <p:attrName>ppt_y</p:attrName>
                                        </p:attrNameLst>
                                      </p:cBhvr>
                                      <p:tavLst>
                                        <p:tav tm="0">
                                          <p:val>
                                            <p:strVal val="#ppt_y"/>
                                          </p:val>
                                        </p:tav>
                                        <p:tav tm="100000">
                                          <p:val>
                                            <p:strVal val="#ppt_y"/>
                                          </p:val>
                                        </p:tav>
                                      </p:tavLst>
                                    </p:anim>
                                  </p:childTnLst>
                                </p:cTn>
                              </p:par>
                              <p:par>
                                <p:cTn id="13" presetID="2" presetClass="entr" presetSubtype="2" dur="1000" decel="100000" fill="hold" grpId="0" nodeType="withEffect">
                                  <p:stCondLst>
                                    <p:cond delay="500"/>
                                  </p:stCondLst>
                                  <p:childTnLst>
                                    <p:set>
                                      <p:cBhvr>
                                        <p:cTn id="14" dur="1" fill="hold">
                                          <p:stCondLst>
                                            <p:cond delay="0"/>
                                          </p:stCondLst>
                                        </p:cTn>
                                        <p:tgtEl>
                                          <p:spTgt spid="12"/>
                                        </p:tgtEl>
                                        <p:attrNameLst>
                                          <p:attrName>style.visibility</p:attrName>
                                        </p:attrNameLst>
                                      </p:cBhvr>
                                      <p:to>
                                        <p:strVal val="visible"/>
                                      </p:to>
                                    </p:set>
                                    <p:anim calcmode="lin" valueType="num">
                                      <p:cBhvr additive="base">
                                        <p:cTn id="15" dur="1000" fill="hold"/>
                                        <p:tgtEl>
                                          <p:spTgt spid="12"/>
                                        </p:tgtEl>
                                        <p:attrNameLst>
                                          <p:attrName>ppt_x</p:attrName>
                                        </p:attrNameLst>
                                      </p:cBhvr>
                                      <p:tavLst>
                                        <p:tav tm="0">
                                          <p:val>
                                            <p:strVal val="1+#ppt_w/2"/>
                                          </p:val>
                                        </p:tav>
                                        <p:tav tm="100000">
                                          <p:val>
                                            <p:strVal val="#ppt_x"/>
                                          </p:val>
                                        </p:tav>
                                      </p:tavLst>
                                    </p:anim>
                                    <p:anim calcmode="lin" valueType="num">
                                      <p:cBhvr additive="base">
                                        <p:cTn id="16" dur="100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2" presetClass="entr" presetSubtype="8" decel="100000" fill="hold" nodeType="withEffect">
                  <p:stCondLst>
                    <p:cond delay="250"/>
                  </p:stCondLst>
                  <p:childTnLst>
                    <p:set>
                      <p:cBhvr>
                        <p:cTn dur="1" fill="hold">
                          <p:stCondLst>
                            <p:cond delay="0"/>
                          </p:stCondLst>
                        </p:cTn>
                        <p:tgtEl>
                          <p:spTgt spid="5"/>
                        </p:tgtEl>
                        <p:attrNameLst>
                          <p:attrName>style.visibility</p:attrName>
                        </p:attrNameLst>
                      </p:cBhvr>
                      <p:to>
                        <p:strVal val="visible"/>
                      </p:to>
                    </p:set>
                    <p:anim calcmode="lin" valueType="num">
                      <p:cBhvr additive="base">
                        <p:cTn dur="1000" fill="hold"/>
                        <p:tgtEl>
                          <p:spTgt spid="5"/>
                        </p:tgtEl>
                        <p:attrNameLst>
                          <p:attrName>ppt_x</p:attrName>
                        </p:attrNameLst>
                      </p:cBhvr>
                      <p:tavLst>
                        <p:tav tm="0">
                          <p:val>
                            <p:strVal val="0-#ppt_w/2"/>
                          </p:val>
                        </p:tav>
                        <p:tav tm="100000">
                          <p:val>
                            <p:strVal val="#ppt_x"/>
                          </p:val>
                        </p:tav>
                      </p:tavLst>
                    </p:anim>
                    <p:anim calcmode="lin" valueType="num">
                      <p:cBhvr additive="base">
                        <p:cTn dur="1000" fill="hold"/>
                        <p:tgtEl>
                          <p:spTgt spid="5"/>
                        </p:tgtEl>
                        <p:attrNameLst>
                          <p:attrName>ppt_y</p:attrName>
                        </p:attrNameLst>
                      </p:cBhvr>
                      <p:tavLst>
                        <p:tav tm="0">
                          <p:val>
                            <p:strVal val="#ppt_y"/>
                          </p:val>
                        </p:tav>
                        <p:tav tm="100000">
                          <p:val>
                            <p:strVal val="#ppt_y"/>
                          </p:val>
                        </p:tav>
                      </p:tavLst>
                    </p:anim>
                  </p:childTnLst>
                </p:cTn>
              </p:par>
            </p:tnLst>
          </p:tmpl>
        </p:tmplLst>
      </p:bldP>
      <p:bldP spid="12" grpId="0"/>
    </p:bldLst>
  </p:timing>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HEADING/TEXT/IMAGE 1 medium">
    <p:spTree>
      <p:nvGrpSpPr>
        <p:cNvPr id="1" name=""/>
        <p:cNvGrpSpPr/>
        <p:nvPr/>
      </p:nvGrpSpPr>
      <p:grpSpPr>
        <a:xfrm>
          <a:off x="0" y="0"/>
          <a:ext cx="0" cy="0"/>
          <a:chOff x="0" y="0"/>
          <a:chExt cx="0" cy="0"/>
        </a:xfrm>
      </p:grpSpPr>
      <p:sp>
        <p:nvSpPr>
          <p:cNvPr id="13" name="Freihandform: Form 12">
            <a:extLst>
              <a:ext uri="{FF2B5EF4-FFF2-40B4-BE49-F238E27FC236}">
                <a16:creationId xmlns:a16="http://schemas.microsoft.com/office/drawing/2014/main" id="{50EC640D-C73C-4FD9-AD9A-88EE410704F4}"/>
              </a:ext>
            </a:extLst>
          </p:cNvPr>
          <p:cNvSpPr/>
          <p:nvPr/>
        </p:nvSpPr>
        <p:spPr>
          <a:xfrm rot="10800000">
            <a:off x="0" y="1975611"/>
            <a:ext cx="9829800" cy="4882390"/>
          </a:xfrm>
          <a:custGeom>
            <a:avLst/>
            <a:gdLst>
              <a:gd name="connsiteX0" fmla="*/ 910059 w 9829800"/>
              <a:gd name="connsiteY0" fmla="*/ 0 h 4882390"/>
              <a:gd name="connsiteX1" fmla="*/ 3015085 w 9829800"/>
              <a:gd name="connsiteY1" fmla="*/ 0 h 4882390"/>
              <a:gd name="connsiteX2" fmla="*/ 7981950 w 9829800"/>
              <a:gd name="connsiteY2" fmla="*/ 0 h 4882390"/>
              <a:gd name="connsiteX3" fmla="*/ 9829800 w 9829800"/>
              <a:gd name="connsiteY3" fmla="*/ 0 h 4882390"/>
              <a:gd name="connsiteX4" fmla="*/ 9829800 w 9829800"/>
              <a:gd name="connsiteY4" fmla="*/ 4882390 h 4882390"/>
              <a:gd name="connsiteX5" fmla="*/ 7981950 w 9829800"/>
              <a:gd name="connsiteY5" fmla="*/ 4882390 h 4882390"/>
              <a:gd name="connsiteX6" fmla="*/ 2183098 w 9829800"/>
              <a:gd name="connsiteY6" fmla="*/ 4882390 h 4882390"/>
              <a:gd name="connsiteX7" fmla="*/ 78072 w 9829800"/>
              <a:gd name="connsiteY7" fmla="*/ 4882390 h 4882390"/>
              <a:gd name="connsiteX8" fmla="*/ 0 w 9829800"/>
              <a:gd name="connsiteY8" fmla="*/ 4804318 h 4882390"/>
              <a:gd name="connsiteX9" fmla="*/ 831987 w 9829800"/>
              <a:gd name="connsiteY9" fmla="*/ 78072 h 4882390"/>
              <a:gd name="connsiteX10" fmla="*/ 910059 w 9829800"/>
              <a:gd name="connsiteY10" fmla="*/ 0 h 4882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829800" h="4882390">
                <a:moveTo>
                  <a:pt x="910059" y="0"/>
                </a:moveTo>
                <a:lnTo>
                  <a:pt x="3015085" y="0"/>
                </a:lnTo>
                <a:lnTo>
                  <a:pt x="7981950" y="0"/>
                </a:lnTo>
                <a:lnTo>
                  <a:pt x="9829800" y="0"/>
                </a:lnTo>
                <a:lnTo>
                  <a:pt x="9829800" y="4882390"/>
                </a:lnTo>
                <a:lnTo>
                  <a:pt x="7981950" y="4882390"/>
                </a:lnTo>
                <a:lnTo>
                  <a:pt x="2183098" y="4882390"/>
                </a:lnTo>
                <a:lnTo>
                  <a:pt x="78072" y="4882390"/>
                </a:lnTo>
                <a:cubicBezTo>
                  <a:pt x="34957" y="4882390"/>
                  <a:pt x="0" y="4847433"/>
                  <a:pt x="0" y="4804318"/>
                </a:cubicBezTo>
                <a:lnTo>
                  <a:pt x="831987" y="78072"/>
                </a:lnTo>
                <a:cubicBezTo>
                  <a:pt x="831987" y="34957"/>
                  <a:pt x="866945" y="0"/>
                  <a:pt x="910059" y="0"/>
                </a:cubicBezTo>
                <a:close/>
              </a:path>
            </a:pathLst>
          </a:custGeom>
          <a:gradFill>
            <a:gsLst>
              <a:gs pos="100000">
                <a:schemeClr val="bg1"/>
              </a:gs>
              <a:gs pos="5000">
                <a:srgbClr val="ECF0F4"/>
              </a:gs>
            </a:gsLst>
            <a:lin ang="5400000" scaled="1"/>
          </a:gradFill>
          <a:ln w="11652" cap="flat">
            <a:noFill/>
            <a:prstDash val="solid"/>
            <a:miter/>
          </a:ln>
        </p:spPr>
        <p:txBody>
          <a:bodyPr rtlCol="0" anchor="ctr"/>
          <a:lstStyle/>
          <a:p>
            <a:endParaRPr lang="de-DE"/>
          </a:p>
        </p:txBody>
      </p:sp>
      <p:sp>
        <p:nvSpPr>
          <p:cNvPr id="2" name="Titel 1">
            <a:extLst>
              <a:ext uri="{FF2B5EF4-FFF2-40B4-BE49-F238E27FC236}">
                <a16:creationId xmlns:a16="http://schemas.microsoft.com/office/drawing/2014/main" id="{0526DC72-FA1D-422D-8055-3374742D122B}"/>
              </a:ext>
            </a:extLst>
          </p:cNvPr>
          <p:cNvSpPr>
            <a:spLocks noGrp="1"/>
          </p:cNvSpPr>
          <p:nvPr>
            <p:ph type="title"/>
          </p:nvPr>
        </p:nvSpPr>
        <p:spPr>
          <a:xfrm>
            <a:off x="815952" y="733402"/>
            <a:ext cx="4931999" cy="767737"/>
          </a:xfrm>
        </p:spPr>
        <p:txBody>
          <a:bodyPr/>
          <a:lstStyle>
            <a:lvl1pPr>
              <a:lnSpc>
                <a:spcPct val="100000"/>
              </a:lnSpc>
              <a:defRPr/>
            </a:lvl1pPr>
          </a:lstStyle>
          <a:p>
            <a:r>
              <a:rPr lang="de-DE"/>
              <a:t>Mastertitelformat bearbeiten</a:t>
            </a:r>
          </a:p>
        </p:txBody>
      </p:sp>
      <p:sp>
        <p:nvSpPr>
          <p:cNvPr id="3" name="Foliennummernplatzhalter 2">
            <a:extLst>
              <a:ext uri="{FF2B5EF4-FFF2-40B4-BE49-F238E27FC236}">
                <a16:creationId xmlns:a16="http://schemas.microsoft.com/office/drawing/2014/main" id="{5B327254-466C-4606-8589-BCC72CBDADDF}"/>
              </a:ext>
            </a:extLst>
          </p:cNvPr>
          <p:cNvSpPr>
            <a:spLocks noGrp="1"/>
          </p:cNvSpPr>
          <p:nvPr>
            <p:ph type="sldNum" sz="quarter" idx="10"/>
          </p:nvPr>
        </p:nvSpPr>
        <p:spPr/>
        <p:txBody>
          <a:bodyPr/>
          <a:lstStyle/>
          <a:p>
            <a:fld id="{A04BEB4F-8CE1-4F18-986F-6CE0A0BE9470}" type="slidenum">
              <a:rPr lang="de-DE" smtClean="0"/>
              <a:t>‹#›</a:t>
            </a:fld>
            <a:endParaRPr lang="de-DE"/>
          </a:p>
        </p:txBody>
      </p:sp>
      <p:sp>
        <p:nvSpPr>
          <p:cNvPr id="5" name="Textplatzhalter 9">
            <a:extLst>
              <a:ext uri="{FF2B5EF4-FFF2-40B4-BE49-F238E27FC236}">
                <a16:creationId xmlns:a16="http://schemas.microsoft.com/office/drawing/2014/main" id="{6024922C-391C-46EA-9F1C-F5344AAB64C8}"/>
              </a:ext>
            </a:extLst>
          </p:cNvPr>
          <p:cNvSpPr>
            <a:spLocks noGrp="1"/>
          </p:cNvSpPr>
          <p:nvPr>
            <p:ph type="body" sz="quarter" idx="11"/>
          </p:nvPr>
        </p:nvSpPr>
        <p:spPr>
          <a:xfrm>
            <a:off x="815951" y="1979612"/>
            <a:ext cx="4932000" cy="4338638"/>
          </a:xfrm>
          <a:prstGeom prst="rect">
            <a:avLst/>
          </a:prstGeom>
        </p:spPr>
        <p:txBody>
          <a:bodyPr lIns="0" tIns="0" rIns="0" bIns="0">
            <a:normAutofit/>
          </a:bodyPr>
          <a:lstStyle>
            <a:lvl1pPr>
              <a:defRPr sz="1800"/>
            </a:lvl1pPr>
            <a:lvl2pPr>
              <a:defRPr sz="1800"/>
            </a:lvl2pPr>
            <a:lvl3pPr>
              <a:defRPr sz="1800"/>
            </a:lvl3pPr>
            <a:lvl4pPr>
              <a:defRPr sz="1800"/>
            </a:lvl4pPr>
            <a:lvl5pPr>
              <a:defRPr sz="18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1" name="Bildplatzhalter 10">
            <a:extLst>
              <a:ext uri="{FF2B5EF4-FFF2-40B4-BE49-F238E27FC236}">
                <a16:creationId xmlns:a16="http://schemas.microsoft.com/office/drawing/2014/main" id="{4F220719-393E-4BC2-A03B-563818FB1A0F}"/>
              </a:ext>
            </a:extLst>
          </p:cNvPr>
          <p:cNvSpPr>
            <a:spLocks noGrp="1"/>
          </p:cNvSpPr>
          <p:nvPr>
            <p:ph type="pic" sz="quarter" idx="12" hasCustomPrompt="1"/>
          </p:nvPr>
        </p:nvSpPr>
        <p:spPr>
          <a:xfrm>
            <a:off x="6931694" y="0"/>
            <a:ext cx="5260306" cy="5799454"/>
          </a:xfrm>
          <a:custGeom>
            <a:avLst/>
            <a:gdLst>
              <a:gd name="connsiteX0" fmla="*/ 1000463 w 5260306"/>
              <a:gd name="connsiteY0" fmla="*/ 0 h 5799454"/>
              <a:gd name="connsiteX1" fmla="*/ 5260306 w 5260306"/>
              <a:gd name="connsiteY1" fmla="*/ 0 h 5799454"/>
              <a:gd name="connsiteX2" fmla="*/ 5260306 w 5260306"/>
              <a:gd name="connsiteY2" fmla="*/ 5799454 h 5799454"/>
              <a:gd name="connsiteX3" fmla="*/ 116158 w 5260306"/>
              <a:gd name="connsiteY3" fmla="*/ 5799454 h 5799454"/>
              <a:gd name="connsiteX4" fmla="*/ 0 w 5260306"/>
              <a:gd name="connsiteY4" fmla="*/ 5683298 h 57994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60306" h="5799454">
                <a:moveTo>
                  <a:pt x="1000463" y="0"/>
                </a:moveTo>
                <a:lnTo>
                  <a:pt x="5260306" y="0"/>
                </a:lnTo>
                <a:lnTo>
                  <a:pt x="5260306" y="5799454"/>
                </a:lnTo>
                <a:lnTo>
                  <a:pt x="116158" y="5799454"/>
                </a:lnTo>
                <a:cubicBezTo>
                  <a:pt x="52011" y="5799454"/>
                  <a:pt x="0" y="5747444"/>
                  <a:pt x="0" y="5683298"/>
                </a:cubicBezTo>
                <a:close/>
              </a:path>
            </a:pathLst>
          </a:custGeom>
          <a:effectLst>
            <a:outerShdw blurRad="190500" dist="127000" dir="2700000" algn="tl" rotWithShape="0">
              <a:prstClr val="black">
                <a:alpha val="10000"/>
              </a:prstClr>
            </a:outerShdw>
          </a:effectLst>
        </p:spPr>
        <p:txBody>
          <a:bodyPr wrap="square">
            <a:noAutofit/>
          </a:bodyPr>
          <a:lstStyle>
            <a:lvl3pPr marL="990600" marR="0" indent="-285750" algn="l" defTabSz="1644650" rtl="0" eaLnBrk="0" fontAlgn="base" latinLnBrk="0" hangingPunct="0">
              <a:lnSpc>
                <a:spcPct val="130000"/>
              </a:lnSpc>
              <a:spcBef>
                <a:spcPct val="0"/>
              </a:spcBef>
              <a:spcAft>
                <a:spcPts val="1200"/>
              </a:spcAft>
              <a:buClr>
                <a:srgbClr val="004C99"/>
              </a:buClr>
              <a:buSzPct val="120000"/>
              <a:defRPr/>
            </a:lvl3pPr>
          </a:lstStyle>
          <a:p>
            <a:pPr marL="1343025" marR="0" lvl="3" indent="-285750" algn="l" defTabSz="1644650" rtl="0" eaLnBrk="0" fontAlgn="base" latinLnBrk="0" hangingPunct="0">
              <a:lnSpc>
                <a:spcPct val="130000"/>
              </a:lnSpc>
              <a:spcBef>
                <a:spcPct val="0"/>
              </a:spcBef>
              <a:spcAft>
                <a:spcPts val="1200"/>
              </a:spcAft>
              <a:buClr>
                <a:srgbClr val="004C99"/>
              </a:buClr>
              <a:buSzPct val="120000"/>
              <a:defRPr/>
            </a:pPr>
            <a:r>
              <a:rPr lang="de-DE"/>
              <a:t>Please insert image</a:t>
            </a:r>
          </a:p>
        </p:txBody>
      </p:sp>
    </p:spTree>
    <p:extLst>
      <p:ext uri="{BB962C8B-B14F-4D97-AF65-F5344CB8AC3E}">
        <p14:creationId xmlns:p14="http://schemas.microsoft.com/office/powerpoint/2010/main" val="2715865714"/>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8" dur="1000" decel="10000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0-#ppt_w/2"/>
                                          </p:val>
                                        </p:tav>
                                        <p:tav tm="100000">
                                          <p:val>
                                            <p:strVal val="#ppt_x"/>
                                          </p:val>
                                        </p:tav>
                                      </p:tavLst>
                                    </p:anim>
                                    <p:anim calcmode="lin" valueType="num">
                                      <p:cBhvr additive="base">
                                        <p:cTn id="8" dur="1000" fill="hold"/>
                                        <p:tgtEl>
                                          <p:spTgt spid="2"/>
                                        </p:tgtEl>
                                        <p:attrNameLst>
                                          <p:attrName>ppt_y</p:attrName>
                                        </p:attrNameLst>
                                      </p:cBhvr>
                                      <p:tavLst>
                                        <p:tav tm="0">
                                          <p:val>
                                            <p:strVal val="#ppt_y"/>
                                          </p:val>
                                        </p:tav>
                                        <p:tav tm="100000">
                                          <p:val>
                                            <p:strVal val="#ppt_y"/>
                                          </p:val>
                                        </p:tav>
                                      </p:tavLst>
                                    </p:anim>
                                  </p:childTnLst>
                                </p:cTn>
                              </p:par>
                              <p:par>
                                <p:cTn id="9" presetID="2" presetClass="entr" presetSubtype="8" dur="1000" decel="100000" fill="hold" grpId="0" nodeType="withEffect">
                                  <p:stCondLst>
                                    <p:cond delay="25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1000" fill="hold"/>
                                        <p:tgtEl>
                                          <p:spTgt spid="5"/>
                                        </p:tgtEl>
                                        <p:attrNameLst>
                                          <p:attrName>ppt_x</p:attrName>
                                        </p:attrNameLst>
                                      </p:cBhvr>
                                      <p:tavLst>
                                        <p:tav tm="0">
                                          <p:val>
                                            <p:strVal val="0-#ppt_w/2"/>
                                          </p:val>
                                        </p:tav>
                                        <p:tav tm="100000">
                                          <p:val>
                                            <p:strVal val="#ppt_x"/>
                                          </p:val>
                                        </p:tav>
                                      </p:tavLst>
                                    </p:anim>
                                    <p:anim calcmode="lin" valueType="num">
                                      <p:cBhvr additive="base">
                                        <p:cTn id="12" dur="1000" fill="hold"/>
                                        <p:tgtEl>
                                          <p:spTgt spid="5"/>
                                        </p:tgtEl>
                                        <p:attrNameLst>
                                          <p:attrName>ppt_y</p:attrName>
                                        </p:attrNameLst>
                                      </p:cBhvr>
                                      <p:tavLst>
                                        <p:tav tm="0">
                                          <p:val>
                                            <p:strVal val="#ppt_y"/>
                                          </p:val>
                                        </p:tav>
                                        <p:tav tm="100000">
                                          <p:val>
                                            <p:strVal val="#ppt_y"/>
                                          </p:val>
                                        </p:tav>
                                      </p:tavLst>
                                    </p:anim>
                                  </p:childTnLst>
                                </p:cTn>
                              </p:par>
                              <p:par>
                                <p:cTn id="13" presetID="2" presetClass="entr" presetSubtype="2" dur="1000" decel="100000" fill="hold" grpId="0" nodeType="withEffect">
                                  <p:stCondLst>
                                    <p:cond delay="500"/>
                                  </p:stCondLst>
                                  <p:childTnLst>
                                    <p:set>
                                      <p:cBhvr>
                                        <p:cTn id="14" dur="1" fill="hold">
                                          <p:stCondLst>
                                            <p:cond delay="0"/>
                                          </p:stCondLst>
                                        </p:cTn>
                                        <p:tgtEl>
                                          <p:spTgt spid="11"/>
                                        </p:tgtEl>
                                        <p:attrNameLst>
                                          <p:attrName>style.visibility</p:attrName>
                                        </p:attrNameLst>
                                      </p:cBhvr>
                                      <p:to>
                                        <p:strVal val="visible"/>
                                      </p:to>
                                    </p:set>
                                    <p:anim calcmode="lin" valueType="num">
                                      <p:cBhvr additive="base">
                                        <p:cTn id="15" dur="1000" fill="hold"/>
                                        <p:tgtEl>
                                          <p:spTgt spid="11"/>
                                        </p:tgtEl>
                                        <p:attrNameLst>
                                          <p:attrName>ppt_x</p:attrName>
                                        </p:attrNameLst>
                                      </p:cBhvr>
                                      <p:tavLst>
                                        <p:tav tm="0">
                                          <p:val>
                                            <p:strVal val="1+#ppt_w/2"/>
                                          </p:val>
                                        </p:tav>
                                        <p:tav tm="100000">
                                          <p:val>
                                            <p:strVal val="#ppt_x"/>
                                          </p:val>
                                        </p:tav>
                                      </p:tavLst>
                                    </p:anim>
                                    <p:anim calcmode="lin" valueType="num">
                                      <p:cBhvr additive="base">
                                        <p:cTn id="16" dur="10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2" presetClass="entr" presetSubtype="8" decel="100000" fill="hold" nodeType="withEffect">
                  <p:stCondLst>
                    <p:cond delay="250"/>
                  </p:stCondLst>
                  <p:childTnLst>
                    <p:set>
                      <p:cBhvr>
                        <p:cTn dur="1" fill="hold">
                          <p:stCondLst>
                            <p:cond delay="0"/>
                          </p:stCondLst>
                        </p:cTn>
                        <p:tgtEl>
                          <p:spTgt spid="5"/>
                        </p:tgtEl>
                        <p:attrNameLst>
                          <p:attrName>style.visibility</p:attrName>
                        </p:attrNameLst>
                      </p:cBhvr>
                      <p:to>
                        <p:strVal val="visible"/>
                      </p:to>
                    </p:set>
                    <p:anim calcmode="lin" valueType="num">
                      <p:cBhvr additive="base">
                        <p:cTn dur="1000" fill="hold"/>
                        <p:tgtEl>
                          <p:spTgt spid="5"/>
                        </p:tgtEl>
                        <p:attrNameLst>
                          <p:attrName>ppt_x</p:attrName>
                        </p:attrNameLst>
                      </p:cBhvr>
                      <p:tavLst>
                        <p:tav tm="0">
                          <p:val>
                            <p:strVal val="0-#ppt_w/2"/>
                          </p:val>
                        </p:tav>
                        <p:tav tm="100000">
                          <p:val>
                            <p:strVal val="#ppt_x"/>
                          </p:val>
                        </p:tav>
                      </p:tavLst>
                    </p:anim>
                    <p:anim calcmode="lin" valueType="num">
                      <p:cBhvr additive="base">
                        <p:cTn dur="1000" fill="hold"/>
                        <p:tgtEl>
                          <p:spTgt spid="5"/>
                        </p:tgtEl>
                        <p:attrNameLst>
                          <p:attrName>ppt_y</p:attrName>
                        </p:attrNameLst>
                      </p:cBhvr>
                      <p:tavLst>
                        <p:tav tm="0">
                          <p:val>
                            <p:strVal val="#ppt_y"/>
                          </p:val>
                        </p:tav>
                        <p:tav tm="100000">
                          <p:val>
                            <p:strVal val="#ppt_y"/>
                          </p:val>
                        </p:tav>
                      </p:tavLst>
                    </p:anim>
                  </p:childTnLst>
                </p:cTn>
              </p:par>
            </p:tnLst>
          </p:tmpl>
        </p:tmplLst>
      </p:bldP>
      <p:bldP spid="11" grpId="0"/>
    </p:bldLst>
  </p:timing>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HEADING/TEXT/IMAGE 1 big">
    <p:spTree>
      <p:nvGrpSpPr>
        <p:cNvPr id="1" name=""/>
        <p:cNvGrpSpPr/>
        <p:nvPr/>
      </p:nvGrpSpPr>
      <p:grpSpPr>
        <a:xfrm>
          <a:off x="0" y="0"/>
          <a:ext cx="0" cy="0"/>
          <a:chOff x="0" y="0"/>
          <a:chExt cx="0" cy="0"/>
        </a:xfrm>
      </p:grpSpPr>
      <p:sp>
        <p:nvSpPr>
          <p:cNvPr id="13" name="Freihandform: Form 12">
            <a:extLst>
              <a:ext uri="{FF2B5EF4-FFF2-40B4-BE49-F238E27FC236}">
                <a16:creationId xmlns:a16="http://schemas.microsoft.com/office/drawing/2014/main" id="{50EC640D-C73C-4FD9-AD9A-88EE410704F4}"/>
              </a:ext>
            </a:extLst>
          </p:cNvPr>
          <p:cNvSpPr/>
          <p:nvPr/>
        </p:nvSpPr>
        <p:spPr>
          <a:xfrm rot="10800000">
            <a:off x="0" y="1975611"/>
            <a:ext cx="9829800" cy="4882390"/>
          </a:xfrm>
          <a:custGeom>
            <a:avLst/>
            <a:gdLst>
              <a:gd name="connsiteX0" fmla="*/ 910059 w 9829800"/>
              <a:gd name="connsiteY0" fmla="*/ 0 h 4882390"/>
              <a:gd name="connsiteX1" fmla="*/ 3015085 w 9829800"/>
              <a:gd name="connsiteY1" fmla="*/ 0 h 4882390"/>
              <a:gd name="connsiteX2" fmla="*/ 7981950 w 9829800"/>
              <a:gd name="connsiteY2" fmla="*/ 0 h 4882390"/>
              <a:gd name="connsiteX3" fmla="*/ 9829800 w 9829800"/>
              <a:gd name="connsiteY3" fmla="*/ 0 h 4882390"/>
              <a:gd name="connsiteX4" fmla="*/ 9829800 w 9829800"/>
              <a:gd name="connsiteY4" fmla="*/ 4882390 h 4882390"/>
              <a:gd name="connsiteX5" fmla="*/ 7981950 w 9829800"/>
              <a:gd name="connsiteY5" fmla="*/ 4882390 h 4882390"/>
              <a:gd name="connsiteX6" fmla="*/ 2183098 w 9829800"/>
              <a:gd name="connsiteY6" fmla="*/ 4882390 h 4882390"/>
              <a:gd name="connsiteX7" fmla="*/ 78072 w 9829800"/>
              <a:gd name="connsiteY7" fmla="*/ 4882390 h 4882390"/>
              <a:gd name="connsiteX8" fmla="*/ 0 w 9829800"/>
              <a:gd name="connsiteY8" fmla="*/ 4804318 h 4882390"/>
              <a:gd name="connsiteX9" fmla="*/ 831987 w 9829800"/>
              <a:gd name="connsiteY9" fmla="*/ 78072 h 4882390"/>
              <a:gd name="connsiteX10" fmla="*/ 910059 w 9829800"/>
              <a:gd name="connsiteY10" fmla="*/ 0 h 4882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829800" h="4882390">
                <a:moveTo>
                  <a:pt x="910059" y="0"/>
                </a:moveTo>
                <a:lnTo>
                  <a:pt x="3015085" y="0"/>
                </a:lnTo>
                <a:lnTo>
                  <a:pt x="7981950" y="0"/>
                </a:lnTo>
                <a:lnTo>
                  <a:pt x="9829800" y="0"/>
                </a:lnTo>
                <a:lnTo>
                  <a:pt x="9829800" y="4882390"/>
                </a:lnTo>
                <a:lnTo>
                  <a:pt x="7981950" y="4882390"/>
                </a:lnTo>
                <a:lnTo>
                  <a:pt x="2183098" y="4882390"/>
                </a:lnTo>
                <a:lnTo>
                  <a:pt x="78072" y="4882390"/>
                </a:lnTo>
                <a:cubicBezTo>
                  <a:pt x="34957" y="4882390"/>
                  <a:pt x="0" y="4847433"/>
                  <a:pt x="0" y="4804318"/>
                </a:cubicBezTo>
                <a:lnTo>
                  <a:pt x="831987" y="78072"/>
                </a:lnTo>
                <a:cubicBezTo>
                  <a:pt x="831987" y="34957"/>
                  <a:pt x="866945" y="0"/>
                  <a:pt x="910059" y="0"/>
                </a:cubicBezTo>
                <a:close/>
              </a:path>
            </a:pathLst>
          </a:custGeom>
          <a:gradFill>
            <a:gsLst>
              <a:gs pos="100000">
                <a:schemeClr val="bg1"/>
              </a:gs>
              <a:gs pos="5000">
                <a:srgbClr val="ECF0F4"/>
              </a:gs>
            </a:gsLst>
            <a:lin ang="5400000" scaled="1"/>
          </a:gradFill>
          <a:ln w="11652" cap="flat">
            <a:noFill/>
            <a:prstDash val="solid"/>
            <a:miter/>
          </a:ln>
        </p:spPr>
        <p:txBody>
          <a:bodyPr rtlCol="0" anchor="ctr"/>
          <a:lstStyle/>
          <a:p>
            <a:endParaRPr lang="de-DE"/>
          </a:p>
        </p:txBody>
      </p:sp>
      <p:sp>
        <p:nvSpPr>
          <p:cNvPr id="2" name="Titel 1">
            <a:extLst>
              <a:ext uri="{FF2B5EF4-FFF2-40B4-BE49-F238E27FC236}">
                <a16:creationId xmlns:a16="http://schemas.microsoft.com/office/drawing/2014/main" id="{0526DC72-FA1D-422D-8055-3374742D122B}"/>
              </a:ext>
            </a:extLst>
          </p:cNvPr>
          <p:cNvSpPr>
            <a:spLocks noGrp="1"/>
          </p:cNvSpPr>
          <p:nvPr>
            <p:ph type="title"/>
          </p:nvPr>
        </p:nvSpPr>
        <p:spPr>
          <a:xfrm>
            <a:off x="815952" y="733402"/>
            <a:ext cx="4931999" cy="767737"/>
          </a:xfrm>
        </p:spPr>
        <p:txBody>
          <a:bodyPr/>
          <a:lstStyle>
            <a:lvl1pPr>
              <a:lnSpc>
                <a:spcPct val="100000"/>
              </a:lnSpc>
              <a:defRPr/>
            </a:lvl1pPr>
          </a:lstStyle>
          <a:p>
            <a:r>
              <a:rPr lang="de-DE"/>
              <a:t>Mastertitelformat bearbeiten</a:t>
            </a:r>
          </a:p>
        </p:txBody>
      </p:sp>
      <p:sp>
        <p:nvSpPr>
          <p:cNvPr id="3" name="Foliennummernplatzhalter 2">
            <a:extLst>
              <a:ext uri="{FF2B5EF4-FFF2-40B4-BE49-F238E27FC236}">
                <a16:creationId xmlns:a16="http://schemas.microsoft.com/office/drawing/2014/main" id="{5B327254-466C-4606-8589-BCC72CBDADDF}"/>
              </a:ext>
            </a:extLst>
          </p:cNvPr>
          <p:cNvSpPr>
            <a:spLocks noGrp="1"/>
          </p:cNvSpPr>
          <p:nvPr>
            <p:ph type="sldNum" sz="quarter" idx="10"/>
          </p:nvPr>
        </p:nvSpPr>
        <p:spPr/>
        <p:txBody>
          <a:bodyPr/>
          <a:lstStyle/>
          <a:p>
            <a:fld id="{A04BEB4F-8CE1-4F18-986F-6CE0A0BE9470}" type="slidenum">
              <a:rPr lang="de-DE" smtClean="0"/>
              <a:t>‹#›</a:t>
            </a:fld>
            <a:endParaRPr lang="de-DE"/>
          </a:p>
        </p:txBody>
      </p:sp>
      <p:sp>
        <p:nvSpPr>
          <p:cNvPr id="5" name="Textplatzhalter 9">
            <a:extLst>
              <a:ext uri="{FF2B5EF4-FFF2-40B4-BE49-F238E27FC236}">
                <a16:creationId xmlns:a16="http://schemas.microsoft.com/office/drawing/2014/main" id="{6024922C-391C-46EA-9F1C-F5344AAB64C8}"/>
              </a:ext>
            </a:extLst>
          </p:cNvPr>
          <p:cNvSpPr>
            <a:spLocks noGrp="1"/>
          </p:cNvSpPr>
          <p:nvPr>
            <p:ph type="body" sz="quarter" idx="11"/>
          </p:nvPr>
        </p:nvSpPr>
        <p:spPr>
          <a:xfrm>
            <a:off x="815951" y="1979612"/>
            <a:ext cx="4121829" cy="4338638"/>
          </a:xfrm>
          <a:prstGeom prst="rect">
            <a:avLst/>
          </a:prstGeom>
        </p:spPr>
        <p:txBody>
          <a:bodyPr lIns="0" tIns="0" rIns="0" bIns="0">
            <a:normAutofit/>
          </a:bodyPr>
          <a:lstStyle>
            <a:lvl1pPr>
              <a:defRPr sz="1800"/>
            </a:lvl1pPr>
            <a:lvl2pPr>
              <a:defRPr sz="1800"/>
            </a:lvl2pPr>
            <a:lvl3pPr>
              <a:defRPr sz="1800"/>
            </a:lvl3pPr>
            <a:lvl4pPr>
              <a:defRPr sz="1800"/>
            </a:lvl4pPr>
            <a:lvl5pPr>
              <a:defRPr sz="18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4" name="Bildplatzhalter 13">
            <a:extLst>
              <a:ext uri="{FF2B5EF4-FFF2-40B4-BE49-F238E27FC236}">
                <a16:creationId xmlns:a16="http://schemas.microsoft.com/office/drawing/2014/main" id="{768568C2-669C-415D-AE6A-54F4461315C2}"/>
              </a:ext>
            </a:extLst>
          </p:cNvPr>
          <p:cNvSpPr>
            <a:spLocks noGrp="1"/>
          </p:cNvSpPr>
          <p:nvPr>
            <p:ph type="pic" sz="quarter" idx="12" hasCustomPrompt="1"/>
          </p:nvPr>
        </p:nvSpPr>
        <p:spPr>
          <a:xfrm>
            <a:off x="4974436" y="0"/>
            <a:ext cx="7217564" cy="6858000"/>
          </a:xfrm>
          <a:custGeom>
            <a:avLst/>
            <a:gdLst>
              <a:gd name="connsiteX0" fmla="*/ 1207252 w 7217564"/>
              <a:gd name="connsiteY0" fmla="*/ 0 h 6858000"/>
              <a:gd name="connsiteX1" fmla="*/ 7217564 w 7217564"/>
              <a:gd name="connsiteY1" fmla="*/ 0 h 6858000"/>
              <a:gd name="connsiteX2" fmla="*/ 7217564 w 7217564"/>
              <a:gd name="connsiteY2" fmla="*/ 6858000 h 6858000"/>
              <a:gd name="connsiteX3" fmla="*/ 0 w 7217564"/>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217564" h="6858000">
                <a:moveTo>
                  <a:pt x="1207252" y="0"/>
                </a:moveTo>
                <a:lnTo>
                  <a:pt x="7217564" y="0"/>
                </a:lnTo>
                <a:lnTo>
                  <a:pt x="7217564" y="6858000"/>
                </a:lnTo>
                <a:lnTo>
                  <a:pt x="0" y="6858000"/>
                </a:lnTo>
                <a:close/>
              </a:path>
            </a:pathLst>
          </a:custGeom>
          <a:effectLst>
            <a:outerShdw blurRad="190500" dist="127000" dir="2700000" algn="tl" rotWithShape="0">
              <a:prstClr val="black">
                <a:alpha val="10000"/>
              </a:prstClr>
            </a:outerShdw>
          </a:effectLst>
        </p:spPr>
        <p:txBody>
          <a:bodyPr wrap="square">
            <a:noAutofit/>
          </a:bodyPr>
          <a:lstStyle>
            <a:lvl3pPr marL="990600" marR="0" indent="-285750" algn="l" defTabSz="1644650" rtl="0" eaLnBrk="0" fontAlgn="base" latinLnBrk="0" hangingPunct="0">
              <a:lnSpc>
                <a:spcPct val="130000"/>
              </a:lnSpc>
              <a:spcBef>
                <a:spcPct val="0"/>
              </a:spcBef>
              <a:spcAft>
                <a:spcPts val="1200"/>
              </a:spcAft>
              <a:buClr>
                <a:srgbClr val="004C99"/>
              </a:buClr>
              <a:buSzPct val="120000"/>
              <a:defRPr/>
            </a:lvl3pPr>
          </a:lstStyle>
          <a:p>
            <a:pPr marL="1704975" marR="0" lvl="4" indent="-285750" algn="l" defTabSz="1644650" rtl="0" eaLnBrk="0" fontAlgn="base" latinLnBrk="0" hangingPunct="0">
              <a:lnSpc>
                <a:spcPct val="130000"/>
              </a:lnSpc>
              <a:spcBef>
                <a:spcPct val="0"/>
              </a:spcBef>
              <a:spcAft>
                <a:spcPts val="1200"/>
              </a:spcAft>
              <a:buClr>
                <a:srgbClr val="004C99"/>
              </a:buClr>
              <a:buSzPct val="120000"/>
              <a:defRPr/>
            </a:pPr>
            <a:r>
              <a:rPr lang="de-DE"/>
              <a:t>Please insert image</a:t>
            </a:r>
          </a:p>
        </p:txBody>
      </p:sp>
    </p:spTree>
    <p:extLst>
      <p:ext uri="{BB962C8B-B14F-4D97-AF65-F5344CB8AC3E}">
        <p14:creationId xmlns:p14="http://schemas.microsoft.com/office/powerpoint/2010/main" val="2600066915"/>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8" dur="1000" decel="10000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0-#ppt_w/2"/>
                                          </p:val>
                                        </p:tav>
                                        <p:tav tm="100000">
                                          <p:val>
                                            <p:strVal val="#ppt_x"/>
                                          </p:val>
                                        </p:tav>
                                      </p:tavLst>
                                    </p:anim>
                                    <p:anim calcmode="lin" valueType="num">
                                      <p:cBhvr additive="base">
                                        <p:cTn id="8" dur="1000" fill="hold"/>
                                        <p:tgtEl>
                                          <p:spTgt spid="2"/>
                                        </p:tgtEl>
                                        <p:attrNameLst>
                                          <p:attrName>ppt_y</p:attrName>
                                        </p:attrNameLst>
                                      </p:cBhvr>
                                      <p:tavLst>
                                        <p:tav tm="0">
                                          <p:val>
                                            <p:strVal val="#ppt_y"/>
                                          </p:val>
                                        </p:tav>
                                        <p:tav tm="100000">
                                          <p:val>
                                            <p:strVal val="#ppt_y"/>
                                          </p:val>
                                        </p:tav>
                                      </p:tavLst>
                                    </p:anim>
                                  </p:childTnLst>
                                </p:cTn>
                              </p:par>
                              <p:par>
                                <p:cTn id="9" presetID="2" presetClass="entr" presetSubtype="8" dur="1000" decel="100000" fill="hold" grpId="0" nodeType="withEffect">
                                  <p:stCondLst>
                                    <p:cond delay="25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1000" fill="hold"/>
                                        <p:tgtEl>
                                          <p:spTgt spid="5"/>
                                        </p:tgtEl>
                                        <p:attrNameLst>
                                          <p:attrName>ppt_x</p:attrName>
                                        </p:attrNameLst>
                                      </p:cBhvr>
                                      <p:tavLst>
                                        <p:tav tm="0">
                                          <p:val>
                                            <p:strVal val="0-#ppt_w/2"/>
                                          </p:val>
                                        </p:tav>
                                        <p:tav tm="100000">
                                          <p:val>
                                            <p:strVal val="#ppt_x"/>
                                          </p:val>
                                        </p:tav>
                                      </p:tavLst>
                                    </p:anim>
                                    <p:anim calcmode="lin" valueType="num">
                                      <p:cBhvr additive="base">
                                        <p:cTn id="12" dur="1000" fill="hold"/>
                                        <p:tgtEl>
                                          <p:spTgt spid="5"/>
                                        </p:tgtEl>
                                        <p:attrNameLst>
                                          <p:attrName>ppt_y</p:attrName>
                                        </p:attrNameLst>
                                      </p:cBhvr>
                                      <p:tavLst>
                                        <p:tav tm="0">
                                          <p:val>
                                            <p:strVal val="#ppt_y"/>
                                          </p:val>
                                        </p:tav>
                                        <p:tav tm="100000">
                                          <p:val>
                                            <p:strVal val="#ppt_y"/>
                                          </p:val>
                                        </p:tav>
                                      </p:tavLst>
                                    </p:anim>
                                  </p:childTnLst>
                                </p:cTn>
                              </p:par>
                              <p:par>
                                <p:cTn id="13" presetID="2" presetClass="entr" presetSubtype="2" dur="1000" decel="100000" fill="hold" grpId="0" nodeType="withEffect">
                                  <p:stCondLst>
                                    <p:cond delay="500"/>
                                  </p:stCondLst>
                                  <p:childTnLst>
                                    <p:set>
                                      <p:cBhvr>
                                        <p:cTn id="14" dur="1" fill="hold">
                                          <p:stCondLst>
                                            <p:cond delay="0"/>
                                          </p:stCondLst>
                                        </p:cTn>
                                        <p:tgtEl>
                                          <p:spTgt spid="14"/>
                                        </p:tgtEl>
                                        <p:attrNameLst>
                                          <p:attrName>style.visibility</p:attrName>
                                        </p:attrNameLst>
                                      </p:cBhvr>
                                      <p:to>
                                        <p:strVal val="visible"/>
                                      </p:to>
                                    </p:set>
                                    <p:anim calcmode="lin" valueType="num">
                                      <p:cBhvr additive="base">
                                        <p:cTn id="15" dur="1000" fill="hold"/>
                                        <p:tgtEl>
                                          <p:spTgt spid="14"/>
                                        </p:tgtEl>
                                        <p:attrNameLst>
                                          <p:attrName>ppt_x</p:attrName>
                                        </p:attrNameLst>
                                      </p:cBhvr>
                                      <p:tavLst>
                                        <p:tav tm="0">
                                          <p:val>
                                            <p:strVal val="1+#ppt_w/2"/>
                                          </p:val>
                                        </p:tav>
                                        <p:tav tm="100000">
                                          <p:val>
                                            <p:strVal val="#ppt_x"/>
                                          </p:val>
                                        </p:tav>
                                      </p:tavLst>
                                    </p:anim>
                                    <p:anim calcmode="lin" valueType="num">
                                      <p:cBhvr additive="base">
                                        <p:cTn id="16" dur="1000" fill="hold"/>
                                        <p:tgtEl>
                                          <p:spTgt spid="1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2" presetClass="entr" presetSubtype="8" decel="100000" fill="hold" nodeType="withEffect">
                  <p:stCondLst>
                    <p:cond delay="250"/>
                  </p:stCondLst>
                  <p:childTnLst>
                    <p:set>
                      <p:cBhvr>
                        <p:cTn dur="1" fill="hold">
                          <p:stCondLst>
                            <p:cond delay="0"/>
                          </p:stCondLst>
                        </p:cTn>
                        <p:tgtEl>
                          <p:spTgt spid="5"/>
                        </p:tgtEl>
                        <p:attrNameLst>
                          <p:attrName>style.visibility</p:attrName>
                        </p:attrNameLst>
                      </p:cBhvr>
                      <p:to>
                        <p:strVal val="visible"/>
                      </p:to>
                    </p:set>
                    <p:anim calcmode="lin" valueType="num">
                      <p:cBhvr additive="base">
                        <p:cTn dur="1000" fill="hold"/>
                        <p:tgtEl>
                          <p:spTgt spid="5"/>
                        </p:tgtEl>
                        <p:attrNameLst>
                          <p:attrName>ppt_x</p:attrName>
                        </p:attrNameLst>
                      </p:cBhvr>
                      <p:tavLst>
                        <p:tav tm="0">
                          <p:val>
                            <p:strVal val="0-#ppt_w/2"/>
                          </p:val>
                        </p:tav>
                        <p:tav tm="100000">
                          <p:val>
                            <p:strVal val="#ppt_x"/>
                          </p:val>
                        </p:tav>
                      </p:tavLst>
                    </p:anim>
                    <p:anim calcmode="lin" valueType="num">
                      <p:cBhvr additive="base">
                        <p:cTn dur="1000" fill="hold"/>
                        <p:tgtEl>
                          <p:spTgt spid="5"/>
                        </p:tgtEl>
                        <p:attrNameLst>
                          <p:attrName>ppt_y</p:attrName>
                        </p:attrNameLst>
                      </p:cBhvr>
                      <p:tavLst>
                        <p:tav tm="0">
                          <p:val>
                            <p:strVal val="#ppt_y"/>
                          </p:val>
                        </p:tav>
                        <p:tav tm="100000">
                          <p:val>
                            <p:strVal val="#ppt_y"/>
                          </p:val>
                        </p:tav>
                      </p:tavLst>
                    </p:anim>
                  </p:childTnLst>
                </p:cTn>
              </p:par>
            </p:tnLst>
          </p:tmpl>
        </p:tmplLst>
      </p:bldP>
      <p:bldP spid="14" grpId="0"/>
    </p:bldLst>
  </p:timing>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HEADING/TEXT/IMAGE 2 small">
    <p:spTree>
      <p:nvGrpSpPr>
        <p:cNvPr id="1" name=""/>
        <p:cNvGrpSpPr/>
        <p:nvPr/>
      </p:nvGrpSpPr>
      <p:grpSpPr>
        <a:xfrm>
          <a:off x="0" y="0"/>
          <a:ext cx="0" cy="0"/>
          <a:chOff x="0" y="0"/>
          <a:chExt cx="0" cy="0"/>
        </a:xfrm>
      </p:grpSpPr>
      <p:sp>
        <p:nvSpPr>
          <p:cNvPr id="13" name="Freihandform: Form 12">
            <a:extLst>
              <a:ext uri="{FF2B5EF4-FFF2-40B4-BE49-F238E27FC236}">
                <a16:creationId xmlns:a16="http://schemas.microsoft.com/office/drawing/2014/main" id="{50EC640D-C73C-4FD9-AD9A-88EE410704F4}"/>
              </a:ext>
            </a:extLst>
          </p:cNvPr>
          <p:cNvSpPr/>
          <p:nvPr/>
        </p:nvSpPr>
        <p:spPr>
          <a:xfrm rot="10800000">
            <a:off x="0" y="1975611"/>
            <a:ext cx="9829800" cy="4882390"/>
          </a:xfrm>
          <a:custGeom>
            <a:avLst/>
            <a:gdLst>
              <a:gd name="connsiteX0" fmla="*/ 910059 w 9829800"/>
              <a:gd name="connsiteY0" fmla="*/ 0 h 4882390"/>
              <a:gd name="connsiteX1" fmla="*/ 3015085 w 9829800"/>
              <a:gd name="connsiteY1" fmla="*/ 0 h 4882390"/>
              <a:gd name="connsiteX2" fmla="*/ 7981950 w 9829800"/>
              <a:gd name="connsiteY2" fmla="*/ 0 h 4882390"/>
              <a:gd name="connsiteX3" fmla="*/ 9829800 w 9829800"/>
              <a:gd name="connsiteY3" fmla="*/ 0 h 4882390"/>
              <a:gd name="connsiteX4" fmla="*/ 9829800 w 9829800"/>
              <a:gd name="connsiteY4" fmla="*/ 4882390 h 4882390"/>
              <a:gd name="connsiteX5" fmla="*/ 7981950 w 9829800"/>
              <a:gd name="connsiteY5" fmla="*/ 4882390 h 4882390"/>
              <a:gd name="connsiteX6" fmla="*/ 2183098 w 9829800"/>
              <a:gd name="connsiteY6" fmla="*/ 4882390 h 4882390"/>
              <a:gd name="connsiteX7" fmla="*/ 78072 w 9829800"/>
              <a:gd name="connsiteY7" fmla="*/ 4882390 h 4882390"/>
              <a:gd name="connsiteX8" fmla="*/ 0 w 9829800"/>
              <a:gd name="connsiteY8" fmla="*/ 4804318 h 4882390"/>
              <a:gd name="connsiteX9" fmla="*/ 831987 w 9829800"/>
              <a:gd name="connsiteY9" fmla="*/ 78072 h 4882390"/>
              <a:gd name="connsiteX10" fmla="*/ 910059 w 9829800"/>
              <a:gd name="connsiteY10" fmla="*/ 0 h 4882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829800" h="4882390">
                <a:moveTo>
                  <a:pt x="910059" y="0"/>
                </a:moveTo>
                <a:lnTo>
                  <a:pt x="3015085" y="0"/>
                </a:lnTo>
                <a:lnTo>
                  <a:pt x="7981950" y="0"/>
                </a:lnTo>
                <a:lnTo>
                  <a:pt x="9829800" y="0"/>
                </a:lnTo>
                <a:lnTo>
                  <a:pt x="9829800" y="4882390"/>
                </a:lnTo>
                <a:lnTo>
                  <a:pt x="7981950" y="4882390"/>
                </a:lnTo>
                <a:lnTo>
                  <a:pt x="2183098" y="4882390"/>
                </a:lnTo>
                <a:lnTo>
                  <a:pt x="78072" y="4882390"/>
                </a:lnTo>
                <a:cubicBezTo>
                  <a:pt x="34957" y="4882390"/>
                  <a:pt x="0" y="4847433"/>
                  <a:pt x="0" y="4804318"/>
                </a:cubicBezTo>
                <a:lnTo>
                  <a:pt x="831987" y="78072"/>
                </a:lnTo>
                <a:cubicBezTo>
                  <a:pt x="831987" y="34957"/>
                  <a:pt x="866945" y="0"/>
                  <a:pt x="910059" y="0"/>
                </a:cubicBezTo>
                <a:close/>
              </a:path>
            </a:pathLst>
          </a:custGeom>
          <a:gradFill>
            <a:gsLst>
              <a:gs pos="100000">
                <a:schemeClr val="bg1"/>
              </a:gs>
              <a:gs pos="5000">
                <a:srgbClr val="ECF0F4"/>
              </a:gs>
            </a:gsLst>
            <a:lin ang="5400000" scaled="1"/>
          </a:gradFill>
          <a:ln w="11652" cap="flat">
            <a:noFill/>
            <a:prstDash val="solid"/>
            <a:miter/>
          </a:ln>
        </p:spPr>
        <p:txBody>
          <a:bodyPr rtlCol="0" anchor="ctr"/>
          <a:lstStyle/>
          <a:p>
            <a:endParaRPr lang="de-DE"/>
          </a:p>
        </p:txBody>
      </p:sp>
      <p:sp>
        <p:nvSpPr>
          <p:cNvPr id="2" name="Titel 1">
            <a:extLst>
              <a:ext uri="{FF2B5EF4-FFF2-40B4-BE49-F238E27FC236}">
                <a16:creationId xmlns:a16="http://schemas.microsoft.com/office/drawing/2014/main" id="{0526DC72-FA1D-422D-8055-3374742D122B}"/>
              </a:ext>
            </a:extLst>
          </p:cNvPr>
          <p:cNvSpPr>
            <a:spLocks noGrp="1"/>
          </p:cNvSpPr>
          <p:nvPr>
            <p:ph type="title"/>
          </p:nvPr>
        </p:nvSpPr>
        <p:spPr>
          <a:xfrm>
            <a:off x="815952" y="733402"/>
            <a:ext cx="4931999" cy="767737"/>
          </a:xfrm>
        </p:spPr>
        <p:txBody>
          <a:bodyPr/>
          <a:lstStyle>
            <a:lvl1pPr>
              <a:lnSpc>
                <a:spcPct val="100000"/>
              </a:lnSpc>
              <a:defRPr/>
            </a:lvl1pPr>
          </a:lstStyle>
          <a:p>
            <a:r>
              <a:rPr lang="de-DE"/>
              <a:t>Mastertitelformat bearbeiten</a:t>
            </a:r>
          </a:p>
        </p:txBody>
      </p:sp>
      <p:sp>
        <p:nvSpPr>
          <p:cNvPr id="3" name="Foliennummernplatzhalter 2">
            <a:extLst>
              <a:ext uri="{FF2B5EF4-FFF2-40B4-BE49-F238E27FC236}">
                <a16:creationId xmlns:a16="http://schemas.microsoft.com/office/drawing/2014/main" id="{5B327254-466C-4606-8589-BCC72CBDADDF}"/>
              </a:ext>
            </a:extLst>
          </p:cNvPr>
          <p:cNvSpPr>
            <a:spLocks noGrp="1"/>
          </p:cNvSpPr>
          <p:nvPr>
            <p:ph type="sldNum" sz="quarter" idx="10"/>
          </p:nvPr>
        </p:nvSpPr>
        <p:spPr/>
        <p:txBody>
          <a:bodyPr/>
          <a:lstStyle/>
          <a:p>
            <a:fld id="{A04BEB4F-8CE1-4F18-986F-6CE0A0BE9470}" type="slidenum">
              <a:rPr lang="de-DE" smtClean="0"/>
              <a:t>‹#›</a:t>
            </a:fld>
            <a:endParaRPr lang="de-DE"/>
          </a:p>
        </p:txBody>
      </p:sp>
      <p:sp>
        <p:nvSpPr>
          <p:cNvPr id="5" name="Textplatzhalter 9">
            <a:extLst>
              <a:ext uri="{FF2B5EF4-FFF2-40B4-BE49-F238E27FC236}">
                <a16:creationId xmlns:a16="http://schemas.microsoft.com/office/drawing/2014/main" id="{6024922C-391C-46EA-9F1C-F5344AAB64C8}"/>
              </a:ext>
            </a:extLst>
          </p:cNvPr>
          <p:cNvSpPr>
            <a:spLocks noGrp="1"/>
          </p:cNvSpPr>
          <p:nvPr>
            <p:ph type="body" sz="quarter" idx="11"/>
          </p:nvPr>
        </p:nvSpPr>
        <p:spPr>
          <a:xfrm>
            <a:off x="815951" y="1979612"/>
            <a:ext cx="4932000" cy="4338638"/>
          </a:xfrm>
          <a:prstGeom prst="rect">
            <a:avLst/>
          </a:prstGeom>
        </p:spPr>
        <p:txBody>
          <a:bodyPr lIns="0" tIns="0" rIns="0" bIns="0">
            <a:normAutofit/>
          </a:bodyPr>
          <a:lstStyle>
            <a:lvl1pPr>
              <a:defRPr sz="1800"/>
            </a:lvl1pPr>
            <a:lvl2pPr>
              <a:defRPr sz="1800"/>
            </a:lvl2pPr>
            <a:lvl3pPr>
              <a:defRPr sz="1800"/>
            </a:lvl3pPr>
            <a:lvl4pPr>
              <a:defRPr sz="1800"/>
            </a:lvl4pPr>
            <a:lvl5pPr>
              <a:defRPr sz="18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9" name="Bildplatzhalter 18">
            <a:extLst>
              <a:ext uri="{FF2B5EF4-FFF2-40B4-BE49-F238E27FC236}">
                <a16:creationId xmlns:a16="http://schemas.microsoft.com/office/drawing/2014/main" id="{77258955-00DA-42C8-B30E-18F06F9412BA}"/>
              </a:ext>
            </a:extLst>
          </p:cNvPr>
          <p:cNvSpPr>
            <a:spLocks noGrp="1"/>
          </p:cNvSpPr>
          <p:nvPr>
            <p:ph type="pic" sz="quarter" idx="13" hasCustomPrompt="1"/>
          </p:nvPr>
        </p:nvSpPr>
        <p:spPr>
          <a:xfrm>
            <a:off x="6931694" y="3028384"/>
            <a:ext cx="5260306" cy="2794472"/>
          </a:xfrm>
          <a:custGeom>
            <a:avLst/>
            <a:gdLst>
              <a:gd name="connsiteX0" fmla="*/ 541046 w 5260306"/>
              <a:gd name="connsiteY0" fmla="*/ 0 h 2794472"/>
              <a:gd name="connsiteX1" fmla="*/ 5260306 w 5260306"/>
              <a:gd name="connsiteY1" fmla="*/ 0 h 2794472"/>
              <a:gd name="connsiteX2" fmla="*/ 5260306 w 5260306"/>
              <a:gd name="connsiteY2" fmla="*/ 2794472 h 2794472"/>
              <a:gd name="connsiteX3" fmla="*/ 93428 w 5260306"/>
              <a:gd name="connsiteY3" fmla="*/ 2794472 h 2794472"/>
              <a:gd name="connsiteX4" fmla="*/ 0 w 5260306"/>
              <a:gd name="connsiteY4" fmla="*/ 2701044 h 2794472"/>
              <a:gd name="connsiteX5" fmla="*/ 464351 w 5260306"/>
              <a:gd name="connsiteY5" fmla="*/ 65539 h 2794472"/>
              <a:gd name="connsiteX6" fmla="*/ 541046 w 5260306"/>
              <a:gd name="connsiteY6" fmla="*/ 0 h 2794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60306" h="2794472">
                <a:moveTo>
                  <a:pt x="541046" y="0"/>
                </a:moveTo>
                <a:lnTo>
                  <a:pt x="5260306" y="0"/>
                </a:lnTo>
                <a:lnTo>
                  <a:pt x="5260306" y="2794472"/>
                </a:lnTo>
                <a:lnTo>
                  <a:pt x="93428" y="2794472"/>
                </a:lnTo>
                <a:cubicBezTo>
                  <a:pt x="41833" y="2794472"/>
                  <a:pt x="0" y="2752639"/>
                  <a:pt x="0" y="2701044"/>
                </a:cubicBezTo>
                <a:lnTo>
                  <a:pt x="464351" y="65539"/>
                </a:lnTo>
                <a:cubicBezTo>
                  <a:pt x="469929" y="27889"/>
                  <a:pt x="503395" y="0"/>
                  <a:pt x="541046" y="0"/>
                </a:cubicBezTo>
                <a:close/>
              </a:path>
            </a:pathLst>
          </a:custGeom>
        </p:spPr>
        <p:txBody>
          <a:bodyPr wrap="square">
            <a:noAutofit/>
          </a:bodyPr>
          <a:lstStyle>
            <a:lvl3pPr marL="990600" marR="0" indent="-285750" algn="l" defTabSz="1644650" rtl="0" eaLnBrk="0" fontAlgn="base" latinLnBrk="0" hangingPunct="0">
              <a:lnSpc>
                <a:spcPct val="130000"/>
              </a:lnSpc>
              <a:spcBef>
                <a:spcPct val="0"/>
              </a:spcBef>
              <a:spcAft>
                <a:spcPts val="1200"/>
              </a:spcAft>
              <a:buClr>
                <a:srgbClr val="004C99"/>
              </a:buClr>
              <a:buSzPct val="120000"/>
              <a:defRPr/>
            </a:lvl3pPr>
          </a:lstStyle>
          <a:p>
            <a:pPr marL="990600" marR="0" lvl="2" indent="-285750" algn="l" defTabSz="1644650" rtl="0" eaLnBrk="0" fontAlgn="base" latinLnBrk="0" hangingPunct="0">
              <a:lnSpc>
                <a:spcPct val="130000"/>
              </a:lnSpc>
              <a:spcBef>
                <a:spcPct val="0"/>
              </a:spcBef>
              <a:spcAft>
                <a:spcPts val="1200"/>
              </a:spcAft>
              <a:buClr>
                <a:srgbClr val="004C99"/>
              </a:buClr>
              <a:buSzPct val="120000"/>
              <a:defRPr/>
            </a:pPr>
            <a:r>
              <a:rPr lang="de-DE"/>
              <a:t>Please insert image</a:t>
            </a:r>
          </a:p>
        </p:txBody>
      </p:sp>
      <p:sp>
        <p:nvSpPr>
          <p:cNvPr id="20" name="Bildplatzhalter 19">
            <a:extLst>
              <a:ext uri="{FF2B5EF4-FFF2-40B4-BE49-F238E27FC236}">
                <a16:creationId xmlns:a16="http://schemas.microsoft.com/office/drawing/2014/main" id="{77C1DD81-6416-4666-94E0-96C26901803C}"/>
              </a:ext>
            </a:extLst>
          </p:cNvPr>
          <p:cNvSpPr>
            <a:spLocks noGrp="1"/>
          </p:cNvSpPr>
          <p:nvPr>
            <p:ph type="pic" sz="quarter" idx="14" hasCustomPrompt="1"/>
          </p:nvPr>
        </p:nvSpPr>
        <p:spPr>
          <a:xfrm>
            <a:off x="7467388" y="-19877"/>
            <a:ext cx="4724613" cy="2795867"/>
          </a:xfrm>
          <a:custGeom>
            <a:avLst/>
            <a:gdLst>
              <a:gd name="connsiteX0" fmla="*/ 553370 w 4724613"/>
              <a:gd name="connsiteY0" fmla="*/ 0 h 2795867"/>
              <a:gd name="connsiteX1" fmla="*/ 4724613 w 4724613"/>
              <a:gd name="connsiteY1" fmla="*/ 0 h 2795867"/>
              <a:gd name="connsiteX2" fmla="*/ 4724613 w 4724613"/>
              <a:gd name="connsiteY2" fmla="*/ 2795867 h 2795867"/>
              <a:gd name="connsiteX3" fmla="*/ 79258 w 4724613"/>
              <a:gd name="connsiteY3" fmla="*/ 2795867 h 2795867"/>
              <a:gd name="connsiteX4" fmla="*/ 1169 w 4724613"/>
              <a:gd name="connsiteY4" fmla="*/ 2702439 h 2795867"/>
              <a:gd name="connsiteX5" fmla="*/ 459942 w 4724613"/>
              <a:gd name="connsiteY5" fmla="*/ 93428 h 2795867"/>
              <a:gd name="connsiteX6" fmla="*/ 553370 w 4724613"/>
              <a:gd name="connsiteY6" fmla="*/ 0 h 2795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24613" h="2795867">
                <a:moveTo>
                  <a:pt x="553370" y="0"/>
                </a:moveTo>
                <a:lnTo>
                  <a:pt x="4724613" y="0"/>
                </a:lnTo>
                <a:lnTo>
                  <a:pt x="4724613" y="2795867"/>
                </a:lnTo>
                <a:lnTo>
                  <a:pt x="79258" y="2795867"/>
                </a:lnTo>
                <a:cubicBezTo>
                  <a:pt x="30452" y="2795867"/>
                  <a:pt x="-7198" y="2751245"/>
                  <a:pt x="1169" y="2702439"/>
                </a:cubicBezTo>
                <a:lnTo>
                  <a:pt x="459942" y="93428"/>
                </a:lnTo>
                <a:cubicBezTo>
                  <a:pt x="459942" y="41833"/>
                  <a:pt x="501775" y="0"/>
                  <a:pt x="553370" y="0"/>
                </a:cubicBezTo>
                <a:close/>
              </a:path>
            </a:pathLst>
          </a:custGeom>
        </p:spPr>
        <p:txBody>
          <a:bodyPr wrap="square">
            <a:noAutofit/>
          </a:bodyPr>
          <a:lstStyle>
            <a:lvl1pPr marL="0" marR="0" indent="0" algn="l" defTabSz="1644650" rtl="0" eaLnBrk="0" fontAlgn="base" latinLnBrk="0" hangingPunct="0">
              <a:lnSpc>
                <a:spcPct val="130000"/>
              </a:lnSpc>
              <a:spcBef>
                <a:spcPct val="0"/>
              </a:spcBef>
              <a:spcAft>
                <a:spcPts val="1200"/>
              </a:spcAft>
              <a:buClr>
                <a:srgbClr val="004C99"/>
              </a:buClr>
              <a:buSzPct val="120000"/>
              <a:buFontTx/>
              <a:buNone/>
              <a:defRPr/>
            </a:lvl1pPr>
          </a:lstStyle>
          <a:p>
            <a:pPr marL="896938" marR="0" lvl="1" indent="-266700" algn="l" defTabSz="1644650" rtl="0" eaLnBrk="0" fontAlgn="base" latinLnBrk="0" hangingPunct="0">
              <a:lnSpc>
                <a:spcPct val="130000"/>
              </a:lnSpc>
              <a:spcBef>
                <a:spcPct val="0"/>
              </a:spcBef>
              <a:spcAft>
                <a:spcPts val="1200"/>
              </a:spcAft>
              <a:buClr>
                <a:srgbClr val="004C99"/>
              </a:buClr>
              <a:buSzPct val="120000"/>
              <a:buFontTx/>
              <a:buBlip>
                <a:blip r:embed="rId2"/>
              </a:buBlip>
              <a:defRPr/>
            </a:pPr>
            <a:r>
              <a:rPr lang="de-DE"/>
              <a:t>Please insert image</a:t>
            </a:r>
          </a:p>
          <a:p>
            <a:endParaRPr lang="de-DE"/>
          </a:p>
        </p:txBody>
      </p:sp>
    </p:spTree>
    <p:extLst>
      <p:ext uri="{BB962C8B-B14F-4D97-AF65-F5344CB8AC3E}">
        <p14:creationId xmlns:p14="http://schemas.microsoft.com/office/powerpoint/2010/main" val="256125775"/>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8" dur="1000" decel="10000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0-#ppt_w/2"/>
                                          </p:val>
                                        </p:tav>
                                        <p:tav tm="100000">
                                          <p:val>
                                            <p:strVal val="#ppt_x"/>
                                          </p:val>
                                        </p:tav>
                                      </p:tavLst>
                                    </p:anim>
                                    <p:anim calcmode="lin" valueType="num">
                                      <p:cBhvr additive="base">
                                        <p:cTn id="8" dur="1000" fill="hold"/>
                                        <p:tgtEl>
                                          <p:spTgt spid="2"/>
                                        </p:tgtEl>
                                        <p:attrNameLst>
                                          <p:attrName>ppt_y</p:attrName>
                                        </p:attrNameLst>
                                      </p:cBhvr>
                                      <p:tavLst>
                                        <p:tav tm="0">
                                          <p:val>
                                            <p:strVal val="#ppt_y"/>
                                          </p:val>
                                        </p:tav>
                                        <p:tav tm="100000">
                                          <p:val>
                                            <p:strVal val="#ppt_y"/>
                                          </p:val>
                                        </p:tav>
                                      </p:tavLst>
                                    </p:anim>
                                  </p:childTnLst>
                                </p:cTn>
                              </p:par>
                              <p:par>
                                <p:cTn id="9" presetID="2" presetClass="entr" presetSubtype="8" dur="1000" decel="100000" fill="hold" grpId="0" nodeType="withEffect">
                                  <p:stCondLst>
                                    <p:cond delay="25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1000" fill="hold"/>
                                        <p:tgtEl>
                                          <p:spTgt spid="5"/>
                                        </p:tgtEl>
                                        <p:attrNameLst>
                                          <p:attrName>ppt_x</p:attrName>
                                        </p:attrNameLst>
                                      </p:cBhvr>
                                      <p:tavLst>
                                        <p:tav tm="0">
                                          <p:val>
                                            <p:strVal val="0-#ppt_w/2"/>
                                          </p:val>
                                        </p:tav>
                                        <p:tav tm="100000">
                                          <p:val>
                                            <p:strVal val="#ppt_x"/>
                                          </p:val>
                                        </p:tav>
                                      </p:tavLst>
                                    </p:anim>
                                    <p:anim calcmode="lin" valueType="num">
                                      <p:cBhvr additive="base">
                                        <p:cTn id="12" dur="1000" fill="hold"/>
                                        <p:tgtEl>
                                          <p:spTgt spid="5"/>
                                        </p:tgtEl>
                                        <p:attrNameLst>
                                          <p:attrName>ppt_y</p:attrName>
                                        </p:attrNameLst>
                                      </p:cBhvr>
                                      <p:tavLst>
                                        <p:tav tm="0">
                                          <p:val>
                                            <p:strVal val="#ppt_y"/>
                                          </p:val>
                                        </p:tav>
                                        <p:tav tm="100000">
                                          <p:val>
                                            <p:strVal val="#ppt_y"/>
                                          </p:val>
                                        </p:tav>
                                      </p:tavLst>
                                    </p:anim>
                                  </p:childTnLst>
                                </p:cTn>
                              </p:par>
                              <p:par>
                                <p:cTn id="13" presetID="2" presetClass="entr" presetSubtype="2" dur="1000" decel="100000" fill="hold" grpId="0" nodeType="withEffect">
                                  <p:stCondLst>
                                    <p:cond delay="500"/>
                                  </p:stCondLst>
                                  <p:childTnLst>
                                    <p:set>
                                      <p:cBhvr>
                                        <p:cTn id="14" dur="1" fill="hold">
                                          <p:stCondLst>
                                            <p:cond delay="0"/>
                                          </p:stCondLst>
                                        </p:cTn>
                                        <p:tgtEl>
                                          <p:spTgt spid="20"/>
                                        </p:tgtEl>
                                        <p:attrNameLst>
                                          <p:attrName>style.visibility</p:attrName>
                                        </p:attrNameLst>
                                      </p:cBhvr>
                                      <p:to>
                                        <p:strVal val="visible"/>
                                      </p:to>
                                    </p:set>
                                    <p:anim calcmode="lin" valueType="num">
                                      <p:cBhvr additive="base">
                                        <p:cTn id="15" dur="1000" fill="hold"/>
                                        <p:tgtEl>
                                          <p:spTgt spid="20"/>
                                        </p:tgtEl>
                                        <p:attrNameLst>
                                          <p:attrName>ppt_x</p:attrName>
                                        </p:attrNameLst>
                                      </p:cBhvr>
                                      <p:tavLst>
                                        <p:tav tm="0">
                                          <p:val>
                                            <p:strVal val="1+#ppt_w/2"/>
                                          </p:val>
                                        </p:tav>
                                        <p:tav tm="100000">
                                          <p:val>
                                            <p:strVal val="#ppt_x"/>
                                          </p:val>
                                        </p:tav>
                                      </p:tavLst>
                                    </p:anim>
                                    <p:anim calcmode="lin" valueType="num">
                                      <p:cBhvr additive="base">
                                        <p:cTn id="16" dur="1000" fill="hold"/>
                                        <p:tgtEl>
                                          <p:spTgt spid="20"/>
                                        </p:tgtEl>
                                        <p:attrNameLst>
                                          <p:attrName>ppt_y</p:attrName>
                                        </p:attrNameLst>
                                      </p:cBhvr>
                                      <p:tavLst>
                                        <p:tav tm="0">
                                          <p:val>
                                            <p:strVal val="#ppt_y"/>
                                          </p:val>
                                        </p:tav>
                                        <p:tav tm="100000">
                                          <p:val>
                                            <p:strVal val="#ppt_y"/>
                                          </p:val>
                                        </p:tav>
                                      </p:tavLst>
                                    </p:anim>
                                  </p:childTnLst>
                                </p:cTn>
                              </p:par>
                              <p:par>
                                <p:cTn id="17" presetID="2" presetClass="entr" presetSubtype="2" dur="1000" decel="100000" fill="hold" grpId="0" nodeType="withEffect">
                                  <p:stCondLst>
                                    <p:cond delay="750"/>
                                  </p:stCondLst>
                                  <p:childTnLst>
                                    <p:set>
                                      <p:cBhvr>
                                        <p:cTn id="18" dur="1" fill="hold">
                                          <p:stCondLst>
                                            <p:cond delay="0"/>
                                          </p:stCondLst>
                                        </p:cTn>
                                        <p:tgtEl>
                                          <p:spTgt spid="19"/>
                                        </p:tgtEl>
                                        <p:attrNameLst>
                                          <p:attrName>style.visibility</p:attrName>
                                        </p:attrNameLst>
                                      </p:cBhvr>
                                      <p:to>
                                        <p:strVal val="visible"/>
                                      </p:to>
                                    </p:set>
                                    <p:anim calcmode="lin" valueType="num">
                                      <p:cBhvr additive="base">
                                        <p:cTn id="19" dur="1000" fill="hold"/>
                                        <p:tgtEl>
                                          <p:spTgt spid="19"/>
                                        </p:tgtEl>
                                        <p:attrNameLst>
                                          <p:attrName>ppt_x</p:attrName>
                                        </p:attrNameLst>
                                      </p:cBhvr>
                                      <p:tavLst>
                                        <p:tav tm="0">
                                          <p:val>
                                            <p:strVal val="1+#ppt_w/2"/>
                                          </p:val>
                                        </p:tav>
                                        <p:tav tm="100000">
                                          <p:val>
                                            <p:strVal val="#ppt_x"/>
                                          </p:val>
                                        </p:tav>
                                      </p:tavLst>
                                    </p:anim>
                                    <p:anim calcmode="lin" valueType="num">
                                      <p:cBhvr additive="base">
                                        <p:cTn id="20" dur="1000" fill="hold"/>
                                        <p:tgtEl>
                                          <p:spTgt spid="1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2" presetClass="entr" presetSubtype="8" decel="100000" fill="hold" nodeType="withEffect">
                  <p:stCondLst>
                    <p:cond delay="250"/>
                  </p:stCondLst>
                  <p:childTnLst>
                    <p:set>
                      <p:cBhvr>
                        <p:cTn dur="1" fill="hold">
                          <p:stCondLst>
                            <p:cond delay="0"/>
                          </p:stCondLst>
                        </p:cTn>
                        <p:tgtEl>
                          <p:spTgt spid="5"/>
                        </p:tgtEl>
                        <p:attrNameLst>
                          <p:attrName>style.visibility</p:attrName>
                        </p:attrNameLst>
                      </p:cBhvr>
                      <p:to>
                        <p:strVal val="visible"/>
                      </p:to>
                    </p:set>
                    <p:anim calcmode="lin" valueType="num">
                      <p:cBhvr additive="base">
                        <p:cTn dur="1000" fill="hold"/>
                        <p:tgtEl>
                          <p:spTgt spid="5"/>
                        </p:tgtEl>
                        <p:attrNameLst>
                          <p:attrName>ppt_x</p:attrName>
                        </p:attrNameLst>
                      </p:cBhvr>
                      <p:tavLst>
                        <p:tav tm="0">
                          <p:val>
                            <p:strVal val="0-#ppt_w/2"/>
                          </p:val>
                        </p:tav>
                        <p:tav tm="100000">
                          <p:val>
                            <p:strVal val="#ppt_x"/>
                          </p:val>
                        </p:tav>
                      </p:tavLst>
                    </p:anim>
                    <p:anim calcmode="lin" valueType="num">
                      <p:cBhvr additive="base">
                        <p:cTn dur="1000" fill="hold"/>
                        <p:tgtEl>
                          <p:spTgt spid="5"/>
                        </p:tgtEl>
                        <p:attrNameLst>
                          <p:attrName>ppt_y</p:attrName>
                        </p:attrNameLst>
                      </p:cBhvr>
                      <p:tavLst>
                        <p:tav tm="0">
                          <p:val>
                            <p:strVal val="#ppt_y"/>
                          </p:val>
                        </p:tav>
                        <p:tav tm="100000">
                          <p:val>
                            <p:strVal val="#ppt_y"/>
                          </p:val>
                        </p:tav>
                      </p:tavLst>
                    </p:anim>
                  </p:childTnLst>
                </p:cTn>
              </p:par>
            </p:tnLst>
          </p:tmpl>
        </p:tmplLst>
      </p:bldP>
      <p:bldP spid="19" grpId="0"/>
      <p:bldP spid="20" grpId="0"/>
    </p:bldLst>
  </p:timing>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HEADING/TEXT/IMAGE 1 big 1 small">
    <p:spTree>
      <p:nvGrpSpPr>
        <p:cNvPr id="1" name=""/>
        <p:cNvGrpSpPr/>
        <p:nvPr/>
      </p:nvGrpSpPr>
      <p:grpSpPr>
        <a:xfrm>
          <a:off x="0" y="0"/>
          <a:ext cx="0" cy="0"/>
          <a:chOff x="0" y="0"/>
          <a:chExt cx="0" cy="0"/>
        </a:xfrm>
      </p:grpSpPr>
      <p:sp>
        <p:nvSpPr>
          <p:cNvPr id="13" name="Freihandform: Form 12">
            <a:extLst>
              <a:ext uri="{FF2B5EF4-FFF2-40B4-BE49-F238E27FC236}">
                <a16:creationId xmlns:a16="http://schemas.microsoft.com/office/drawing/2014/main" id="{50EC640D-C73C-4FD9-AD9A-88EE410704F4}"/>
              </a:ext>
            </a:extLst>
          </p:cNvPr>
          <p:cNvSpPr/>
          <p:nvPr/>
        </p:nvSpPr>
        <p:spPr>
          <a:xfrm rot="10800000">
            <a:off x="0" y="1975611"/>
            <a:ext cx="9829800" cy="4882390"/>
          </a:xfrm>
          <a:custGeom>
            <a:avLst/>
            <a:gdLst>
              <a:gd name="connsiteX0" fmla="*/ 910059 w 9829800"/>
              <a:gd name="connsiteY0" fmla="*/ 0 h 4882390"/>
              <a:gd name="connsiteX1" fmla="*/ 3015085 w 9829800"/>
              <a:gd name="connsiteY1" fmla="*/ 0 h 4882390"/>
              <a:gd name="connsiteX2" fmla="*/ 7981950 w 9829800"/>
              <a:gd name="connsiteY2" fmla="*/ 0 h 4882390"/>
              <a:gd name="connsiteX3" fmla="*/ 9829800 w 9829800"/>
              <a:gd name="connsiteY3" fmla="*/ 0 h 4882390"/>
              <a:gd name="connsiteX4" fmla="*/ 9829800 w 9829800"/>
              <a:gd name="connsiteY4" fmla="*/ 4882390 h 4882390"/>
              <a:gd name="connsiteX5" fmla="*/ 7981950 w 9829800"/>
              <a:gd name="connsiteY5" fmla="*/ 4882390 h 4882390"/>
              <a:gd name="connsiteX6" fmla="*/ 2183098 w 9829800"/>
              <a:gd name="connsiteY6" fmla="*/ 4882390 h 4882390"/>
              <a:gd name="connsiteX7" fmla="*/ 78072 w 9829800"/>
              <a:gd name="connsiteY7" fmla="*/ 4882390 h 4882390"/>
              <a:gd name="connsiteX8" fmla="*/ 0 w 9829800"/>
              <a:gd name="connsiteY8" fmla="*/ 4804318 h 4882390"/>
              <a:gd name="connsiteX9" fmla="*/ 831987 w 9829800"/>
              <a:gd name="connsiteY9" fmla="*/ 78072 h 4882390"/>
              <a:gd name="connsiteX10" fmla="*/ 910059 w 9829800"/>
              <a:gd name="connsiteY10" fmla="*/ 0 h 4882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829800" h="4882390">
                <a:moveTo>
                  <a:pt x="910059" y="0"/>
                </a:moveTo>
                <a:lnTo>
                  <a:pt x="3015085" y="0"/>
                </a:lnTo>
                <a:lnTo>
                  <a:pt x="7981950" y="0"/>
                </a:lnTo>
                <a:lnTo>
                  <a:pt x="9829800" y="0"/>
                </a:lnTo>
                <a:lnTo>
                  <a:pt x="9829800" y="4882390"/>
                </a:lnTo>
                <a:lnTo>
                  <a:pt x="7981950" y="4882390"/>
                </a:lnTo>
                <a:lnTo>
                  <a:pt x="2183098" y="4882390"/>
                </a:lnTo>
                <a:lnTo>
                  <a:pt x="78072" y="4882390"/>
                </a:lnTo>
                <a:cubicBezTo>
                  <a:pt x="34957" y="4882390"/>
                  <a:pt x="0" y="4847433"/>
                  <a:pt x="0" y="4804318"/>
                </a:cubicBezTo>
                <a:lnTo>
                  <a:pt x="831987" y="78072"/>
                </a:lnTo>
                <a:cubicBezTo>
                  <a:pt x="831987" y="34957"/>
                  <a:pt x="866945" y="0"/>
                  <a:pt x="910059" y="0"/>
                </a:cubicBezTo>
                <a:close/>
              </a:path>
            </a:pathLst>
          </a:custGeom>
          <a:gradFill>
            <a:gsLst>
              <a:gs pos="100000">
                <a:schemeClr val="bg1"/>
              </a:gs>
              <a:gs pos="5000">
                <a:srgbClr val="ECF0F4"/>
              </a:gs>
            </a:gsLst>
            <a:lin ang="5400000" scaled="1"/>
          </a:gradFill>
          <a:ln w="11652" cap="flat">
            <a:noFill/>
            <a:prstDash val="solid"/>
            <a:miter/>
          </a:ln>
        </p:spPr>
        <p:txBody>
          <a:bodyPr rtlCol="0" anchor="ctr"/>
          <a:lstStyle/>
          <a:p>
            <a:endParaRPr lang="de-DE"/>
          </a:p>
        </p:txBody>
      </p:sp>
      <p:sp>
        <p:nvSpPr>
          <p:cNvPr id="2" name="Titel 1">
            <a:extLst>
              <a:ext uri="{FF2B5EF4-FFF2-40B4-BE49-F238E27FC236}">
                <a16:creationId xmlns:a16="http://schemas.microsoft.com/office/drawing/2014/main" id="{0526DC72-FA1D-422D-8055-3374742D122B}"/>
              </a:ext>
            </a:extLst>
          </p:cNvPr>
          <p:cNvSpPr>
            <a:spLocks noGrp="1"/>
          </p:cNvSpPr>
          <p:nvPr>
            <p:ph type="title"/>
          </p:nvPr>
        </p:nvSpPr>
        <p:spPr>
          <a:xfrm>
            <a:off x="815952" y="733402"/>
            <a:ext cx="4931999" cy="767737"/>
          </a:xfrm>
        </p:spPr>
        <p:txBody>
          <a:bodyPr/>
          <a:lstStyle>
            <a:lvl1pPr>
              <a:lnSpc>
                <a:spcPct val="100000"/>
              </a:lnSpc>
              <a:defRPr/>
            </a:lvl1pPr>
          </a:lstStyle>
          <a:p>
            <a:r>
              <a:rPr lang="de-DE"/>
              <a:t>Mastertitelformat bearbeiten</a:t>
            </a:r>
          </a:p>
        </p:txBody>
      </p:sp>
      <p:sp>
        <p:nvSpPr>
          <p:cNvPr id="3" name="Foliennummernplatzhalter 2">
            <a:extLst>
              <a:ext uri="{FF2B5EF4-FFF2-40B4-BE49-F238E27FC236}">
                <a16:creationId xmlns:a16="http://schemas.microsoft.com/office/drawing/2014/main" id="{5B327254-466C-4606-8589-BCC72CBDADDF}"/>
              </a:ext>
            </a:extLst>
          </p:cNvPr>
          <p:cNvSpPr>
            <a:spLocks noGrp="1"/>
          </p:cNvSpPr>
          <p:nvPr>
            <p:ph type="sldNum" sz="quarter" idx="10"/>
          </p:nvPr>
        </p:nvSpPr>
        <p:spPr/>
        <p:txBody>
          <a:bodyPr/>
          <a:lstStyle/>
          <a:p>
            <a:fld id="{A04BEB4F-8CE1-4F18-986F-6CE0A0BE9470}" type="slidenum">
              <a:rPr lang="de-DE" smtClean="0"/>
              <a:t>‹#›</a:t>
            </a:fld>
            <a:endParaRPr lang="de-DE"/>
          </a:p>
        </p:txBody>
      </p:sp>
      <p:sp>
        <p:nvSpPr>
          <p:cNvPr id="5" name="Textplatzhalter 9">
            <a:extLst>
              <a:ext uri="{FF2B5EF4-FFF2-40B4-BE49-F238E27FC236}">
                <a16:creationId xmlns:a16="http://schemas.microsoft.com/office/drawing/2014/main" id="{6024922C-391C-46EA-9F1C-F5344AAB64C8}"/>
              </a:ext>
            </a:extLst>
          </p:cNvPr>
          <p:cNvSpPr>
            <a:spLocks noGrp="1"/>
          </p:cNvSpPr>
          <p:nvPr>
            <p:ph type="body" sz="quarter" idx="11"/>
          </p:nvPr>
        </p:nvSpPr>
        <p:spPr>
          <a:xfrm>
            <a:off x="815951" y="1979612"/>
            <a:ext cx="4932000" cy="4338638"/>
          </a:xfrm>
          <a:prstGeom prst="rect">
            <a:avLst/>
          </a:prstGeom>
        </p:spPr>
        <p:txBody>
          <a:bodyPr lIns="0" tIns="0" rIns="0" bIns="0">
            <a:normAutofit/>
          </a:bodyPr>
          <a:lstStyle>
            <a:lvl1pPr>
              <a:defRPr sz="1800"/>
            </a:lvl1pPr>
            <a:lvl2pPr>
              <a:defRPr sz="1800"/>
            </a:lvl2pPr>
            <a:lvl3pPr>
              <a:defRPr sz="1800"/>
            </a:lvl3pPr>
            <a:lvl4pPr>
              <a:defRPr sz="1800"/>
            </a:lvl4pPr>
            <a:lvl5pPr>
              <a:defRPr sz="18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9" name="Bildplatzhalter 18">
            <a:extLst>
              <a:ext uri="{FF2B5EF4-FFF2-40B4-BE49-F238E27FC236}">
                <a16:creationId xmlns:a16="http://schemas.microsoft.com/office/drawing/2014/main" id="{77258955-00DA-42C8-B30E-18F06F9412BA}"/>
              </a:ext>
            </a:extLst>
          </p:cNvPr>
          <p:cNvSpPr>
            <a:spLocks noGrp="1"/>
          </p:cNvSpPr>
          <p:nvPr>
            <p:ph type="pic" sz="quarter" idx="13" hasCustomPrompt="1"/>
          </p:nvPr>
        </p:nvSpPr>
        <p:spPr>
          <a:xfrm>
            <a:off x="6829425" y="4008632"/>
            <a:ext cx="5362575" cy="2848802"/>
          </a:xfrm>
          <a:custGeom>
            <a:avLst/>
            <a:gdLst>
              <a:gd name="connsiteX0" fmla="*/ 541046 w 5260306"/>
              <a:gd name="connsiteY0" fmla="*/ 0 h 2794472"/>
              <a:gd name="connsiteX1" fmla="*/ 5260306 w 5260306"/>
              <a:gd name="connsiteY1" fmla="*/ 0 h 2794472"/>
              <a:gd name="connsiteX2" fmla="*/ 5260306 w 5260306"/>
              <a:gd name="connsiteY2" fmla="*/ 2794472 h 2794472"/>
              <a:gd name="connsiteX3" fmla="*/ 93428 w 5260306"/>
              <a:gd name="connsiteY3" fmla="*/ 2794472 h 2794472"/>
              <a:gd name="connsiteX4" fmla="*/ 0 w 5260306"/>
              <a:gd name="connsiteY4" fmla="*/ 2701044 h 2794472"/>
              <a:gd name="connsiteX5" fmla="*/ 464351 w 5260306"/>
              <a:gd name="connsiteY5" fmla="*/ 65539 h 2794472"/>
              <a:gd name="connsiteX6" fmla="*/ 541046 w 5260306"/>
              <a:gd name="connsiteY6" fmla="*/ 0 h 2794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60306" h="2794472">
                <a:moveTo>
                  <a:pt x="541046" y="0"/>
                </a:moveTo>
                <a:lnTo>
                  <a:pt x="5260306" y="0"/>
                </a:lnTo>
                <a:lnTo>
                  <a:pt x="5260306" y="2794472"/>
                </a:lnTo>
                <a:lnTo>
                  <a:pt x="93428" y="2794472"/>
                </a:lnTo>
                <a:cubicBezTo>
                  <a:pt x="41833" y="2794472"/>
                  <a:pt x="0" y="2752639"/>
                  <a:pt x="0" y="2701044"/>
                </a:cubicBezTo>
                <a:lnTo>
                  <a:pt x="464351" y="65539"/>
                </a:lnTo>
                <a:cubicBezTo>
                  <a:pt x="469929" y="27889"/>
                  <a:pt x="503395" y="0"/>
                  <a:pt x="541046" y="0"/>
                </a:cubicBezTo>
                <a:close/>
              </a:path>
            </a:pathLst>
          </a:custGeom>
        </p:spPr>
        <p:txBody>
          <a:bodyPr wrap="square">
            <a:noAutofit/>
          </a:bodyPr>
          <a:lstStyle>
            <a:lvl1pPr marL="0" marR="0" indent="0" algn="l" defTabSz="1644650" rtl="0" eaLnBrk="0" fontAlgn="base" latinLnBrk="0" hangingPunct="0">
              <a:lnSpc>
                <a:spcPct val="130000"/>
              </a:lnSpc>
              <a:spcBef>
                <a:spcPct val="0"/>
              </a:spcBef>
              <a:spcAft>
                <a:spcPts val="1200"/>
              </a:spcAft>
              <a:buClr>
                <a:srgbClr val="004C99"/>
              </a:buClr>
              <a:buSzPct val="120000"/>
              <a:buFontTx/>
              <a:buNone/>
              <a:defRPr/>
            </a:lvl1pPr>
          </a:lstStyle>
          <a:p>
            <a:pPr marL="896938" marR="0" lvl="1" indent="-266700" algn="l" defTabSz="1644650" rtl="0" eaLnBrk="0" fontAlgn="base" latinLnBrk="0" hangingPunct="0">
              <a:lnSpc>
                <a:spcPct val="130000"/>
              </a:lnSpc>
              <a:spcBef>
                <a:spcPct val="0"/>
              </a:spcBef>
              <a:spcAft>
                <a:spcPts val="1200"/>
              </a:spcAft>
              <a:buClr>
                <a:srgbClr val="004C99"/>
              </a:buClr>
              <a:buSzPct val="120000"/>
              <a:buFontTx/>
              <a:buBlip>
                <a:blip r:embed="rId2"/>
              </a:buBlip>
              <a:defRPr/>
            </a:pPr>
            <a:r>
              <a:rPr lang="de-DE"/>
              <a:t>Please insert image</a:t>
            </a:r>
          </a:p>
          <a:p>
            <a:endParaRPr lang="de-DE"/>
          </a:p>
        </p:txBody>
      </p:sp>
      <p:sp>
        <p:nvSpPr>
          <p:cNvPr id="20" name="Bildplatzhalter 19">
            <a:extLst>
              <a:ext uri="{FF2B5EF4-FFF2-40B4-BE49-F238E27FC236}">
                <a16:creationId xmlns:a16="http://schemas.microsoft.com/office/drawing/2014/main" id="{77C1DD81-6416-4666-94E0-96C26901803C}"/>
              </a:ext>
            </a:extLst>
          </p:cNvPr>
          <p:cNvSpPr>
            <a:spLocks noGrp="1"/>
          </p:cNvSpPr>
          <p:nvPr>
            <p:ph type="pic" sz="quarter" idx="14" hasCustomPrompt="1"/>
          </p:nvPr>
        </p:nvSpPr>
        <p:spPr>
          <a:xfrm>
            <a:off x="6025883" y="-19877"/>
            <a:ext cx="6166119" cy="3648902"/>
          </a:xfrm>
          <a:custGeom>
            <a:avLst/>
            <a:gdLst>
              <a:gd name="connsiteX0" fmla="*/ 553370 w 4724613"/>
              <a:gd name="connsiteY0" fmla="*/ 0 h 2795867"/>
              <a:gd name="connsiteX1" fmla="*/ 4724613 w 4724613"/>
              <a:gd name="connsiteY1" fmla="*/ 0 h 2795867"/>
              <a:gd name="connsiteX2" fmla="*/ 4724613 w 4724613"/>
              <a:gd name="connsiteY2" fmla="*/ 2795867 h 2795867"/>
              <a:gd name="connsiteX3" fmla="*/ 79258 w 4724613"/>
              <a:gd name="connsiteY3" fmla="*/ 2795867 h 2795867"/>
              <a:gd name="connsiteX4" fmla="*/ 1169 w 4724613"/>
              <a:gd name="connsiteY4" fmla="*/ 2702439 h 2795867"/>
              <a:gd name="connsiteX5" fmla="*/ 459942 w 4724613"/>
              <a:gd name="connsiteY5" fmla="*/ 93428 h 2795867"/>
              <a:gd name="connsiteX6" fmla="*/ 553370 w 4724613"/>
              <a:gd name="connsiteY6" fmla="*/ 0 h 2795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24613" h="2795867">
                <a:moveTo>
                  <a:pt x="553370" y="0"/>
                </a:moveTo>
                <a:lnTo>
                  <a:pt x="4724613" y="0"/>
                </a:lnTo>
                <a:lnTo>
                  <a:pt x="4724613" y="2795867"/>
                </a:lnTo>
                <a:lnTo>
                  <a:pt x="79258" y="2795867"/>
                </a:lnTo>
                <a:cubicBezTo>
                  <a:pt x="30452" y="2795867"/>
                  <a:pt x="-7198" y="2751245"/>
                  <a:pt x="1169" y="2702439"/>
                </a:cubicBezTo>
                <a:lnTo>
                  <a:pt x="459942" y="93428"/>
                </a:lnTo>
                <a:cubicBezTo>
                  <a:pt x="459942" y="41833"/>
                  <a:pt x="501775" y="0"/>
                  <a:pt x="553370" y="0"/>
                </a:cubicBezTo>
                <a:close/>
              </a:path>
            </a:pathLst>
          </a:custGeom>
        </p:spPr>
        <p:txBody>
          <a:bodyPr wrap="square">
            <a:noAutofit/>
          </a:bodyPr>
          <a:lstStyle>
            <a:lvl1pPr marL="285750" marR="0" indent="-285750" algn="l" defTabSz="1644650" rtl="0" eaLnBrk="0" fontAlgn="base" latinLnBrk="0" hangingPunct="0">
              <a:lnSpc>
                <a:spcPct val="130000"/>
              </a:lnSpc>
              <a:spcBef>
                <a:spcPct val="0"/>
              </a:spcBef>
              <a:spcAft>
                <a:spcPts val="1200"/>
              </a:spcAft>
              <a:buClr>
                <a:srgbClr val="004C99"/>
              </a:buClr>
              <a:buSzPct val="120000"/>
              <a:defRPr/>
            </a:lvl1pPr>
          </a:lstStyle>
          <a:p>
            <a:pPr marL="990600" marR="0" lvl="2" indent="-285750" algn="l" defTabSz="1644650" rtl="0" eaLnBrk="0" fontAlgn="base" latinLnBrk="0" hangingPunct="0">
              <a:lnSpc>
                <a:spcPct val="130000"/>
              </a:lnSpc>
              <a:spcBef>
                <a:spcPct val="0"/>
              </a:spcBef>
              <a:spcAft>
                <a:spcPts val="1200"/>
              </a:spcAft>
              <a:buClr>
                <a:srgbClr val="004C99"/>
              </a:buClr>
              <a:buSzPct val="120000"/>
              <a:defRPr/>
            </a:pPr>
            <a:r>
              <a:rPr lang="de-DE"/>
              <a:t>Please insert image</a:t>
            </a:r>
          </a:p>
        </p:txBody>
      </p:sp>
    </p:spTree>
    <p:extLst>
      <p:ext uri="{BB962C8B-B14F-4D97-AF65-F5344CB8AC3E}">
        <p14:creationId xmlns:p14="http://schemas.microsoft.com/office/powerpoint/2010/main" val="3999439621"/>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8" dur="1000" decel="10000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0-#ppt_w/2"/>
                                          </p:val>
                                        </p:tav>
                                        <p:tav tm="100000">
                                          <p:val>
                                            <p:strVal val="#ppt_x"/>
                                          </p:val>
                                        </p:tav>
                                      </p:tavLst>
                                    </p:anim>
                                    <p:anim calcmode="lin" valueType="num">
                                      <p:cBhvr additive="base">
                                        <p:cTn id="8" dur="1000" fill="hold"/>
                                        <p:tgtEl>
                                          <p:spTgt spid="2"/>
                                        </p:tgtEl>
                                        <p:attrNameLst>
                                          <p:attrName>ppt_y</p:attrName>
                                        </p:attrNameLst>
                                      </p:cBhvr>
                                      <p:tavLst>
                                        <p:tav tm="0">
                                          <p:val>
                                            <p:strVal val="#ppt_y"/>
                                          </p:val>
                                        </p:tav>
                                        <p:tav tm="100000">
                                          <p:val>
                                            <p:strVal val="#ppt_y"/>
                                          </p:val>
                                        </p:tav>
                                      </p:tavLst>
                                    </p:anim>
                                  </p:childTnLst>
                                </p:cTn>
                              </p:par>
                              <p:par>
                                <p:cTn id="9" presetID="2" presetClass="entr" presetSubtype="8" dur="1000" decel="100000" fill="hold" grpId="0" nodeType="withEffect">
                                  <p:stCondLst>
                                    <p:cond delay="25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1000" fill="hold"/>
                                        <p:tgtEl>
                                          <p:spTgt spid="5"/>
                                        </p:tgtEl>
                                        <p:attrNameLst>
                                          <p:attrName>ppt_x</p:attrName>
                                        </p:attrNameLst>
                                      </p:cBhvr>
                                      <p:tavLst>
                                        <p:tav tm="0">
                                          <p:val>
                                            <p:strVal val="0-#ppt_w/2"/>
                                          </p:val>
                                        </p:tav>
                                        <p:tav tm="100000">
                                          <p:val>
                                            <p:strVal val="#ppt_x"/>
                                          </p:val>
                                        </p:tav>
                                      </p:tavLst>
                                    </p:anim>
                                    <p:anim calcmode="lin" valueType="num">
                                      <p:cBhvr additive="base">
                                        <p:cTn id="12" dur="1000" fill="hold"/>
                                        <p:tgtEl>
                                          <p:spTgt spid="5"/>
                                        </p:tgtEl>
                                        <p:attrNameLst>
                                          <p:attrName>ppt_y</p:attrName>
                                        </p:attrNameLst>
                                      </p:cBhvr>
                                      <p:tavLst>
                                        <p:tav tm="0">
                                          <p:val>
                                            <p:strVal val="#ppt_y"/>
                                          </p:val>
                                        </p:tav>
                                        <p:tav tm="100000">
                                          <p:val>
                                            <p:strVal val="#ppt_y"/>
                                          </p:val>
                                        </p:tav>
                                      </p:tavLst>
                                    </p:anim>
                                  </p:childTnLst>
                                </p:cTn>
                              </p:par>
                              <p:par>
                                <p:cTn id="13" presetID="2" presetClass="entr" presetSubtype="2" dur="1000" decel="100000" fill="hold" grpId="0" nodeType="withEffect">
                                  <p:stCondLst>
                                    <p:cond delay="500"/>
                                  </p:stCondLst>
                                  <p:childTnLst>
                                    <p:set>
                                      <p:cBhvr>
                                        <p:cTn id="14" dur="1" fill="hold">
                                          <p:stCondLst>
                                            <p:cond delay="0"/>
                                          </p:stCondLst>
                                        </p:cTn>
                                        <p:tgtEl>
                                          <p:spTgt spid="20"/>
                                        </p:tgtEl>
                                        <p:attrNameLst>
                                          <p:attrName>style.visibility</p:attrName>
                                        </p:attrNameLst>
                                      </p:cBhvr>
                                      <p:to>
                                        <p:strVal val="visible"/>
                                      </p:to>
                                    </p:set>
                                    <p:anim calcmode="lin" valueType="num">
                                      <p:cBhvr additive="base">
                                        <p:cTn id="15" dur="1000" fill="hold"/>
                                        <p:tgtEl>
                                          <p:spTgt spid="20"/>
                                        </p:tgtEl>
                                        <p:attrNameLst>
                                          <p:attrName>ppt_x</p:attrName>
                                        </p:attrNameLst>
                                      </p:cBhvr>
                                      <p:tavLst>
                                        <p:tav tm="0">
                                          <p:val>
                                            <p:strVal val="1+#ppt_w/2"/>
                                          </p:val>
                                        </p:tav>
                                        <p:tav tm="100000">
                                          <p:val>
                                            <p:strVal val="#ppt_x"/>
                                          </p:val>
                                        </p:tav>
                                      </p:tavLst>
                                    </p:anim>
                                    <p:anim calcmode="lin" valueType="num">
                                      <p:cBhvr additive="base">
                                        <p:cTn id="16" dur="1000" fill="hold"/>
                                        <p:tgtEl>
                                          <p:spTgt spid="20"/>
                                        </p:tgtEl>
                                        <p:attrNameLst>
                                          <p:attrName>ppt_y</p:attrName>
                                        </p:attrNameLst>
                                      </p:cBhvr>
                                      <p:tavLst>
                                        <p:tav tm="0">
                                          <p:val>
                                            <p:strVal val="#ppt_y"/>
                                          </p:val>
                                        </p:tav>
                                        <p:tav tm="100000">
                                          <p:val>
                                            <p:strVal val="#ppt_y"/>
                                          </p:val>
                                        </p:tav>
                                      </p:tavLst>
                                    </p:anim>
                                  </p:childTnLst>
                                </p:cTn>
                              </p:par>
                              <p:par>
                                <p:cTn id="17" presetID="2" presetClass="entr" presetSubtype="2" dur="1000" decel="100000" fill="hold" grpId="0" nodeType="withEffect">
                                  <p:stCondLst>
                                    <p:cond delay="750"/>
                                  </p:stCondLst>
                                  <p:childTnLst>
                                    <p:set>
                                      <p:cBhvr>
                                        <p:cTn id="18" dur="1" fill="hold">
                                          <p:stCondLst>
                                            <p:cond delay="0"/>
                                          </p:stCondLst>
                                        </p:cTn>
                                        <p:tgtEl>
                                          <p:spTgt spid="19"/>
                                        </p:tgtEl>
                                        <p:attrNameLst>
                                          <p:attrName>style.visibility</p:attrName>
                                        </p:attrNameLst>
                                      </p:cBhvr>
                                      <p:to>
                                        <p:strVal val="visible"/>
                                      </p:to>
                                    </p:set>
                                    <p:anim calcmode="lin" valueType="num">
                                      <p:cBhvr additive="base">
                                        <p:cTn id="19" dur="1000" fill="hold"/>
                                        <p:tgtEl>
                                          <p:spTgt spid="19"/>
                                        </p:tgtEl>
                                        <p:attrNameLst>
                                          <p:attrName>ppt_x</p:attrName>
                                        </p:attrNameLst>
                                      </p:cBhvr>
                                      <p:tavLst>
                                        <p:tav tm="0">
                                          <p:val>
                                            <p:strVal val="1+#ppt_w/2"/>
                                          </p:val>
                                        </p:tav>
                                        <p:tav tm="100000">
                                          <p:val>
                                            <p:strVal val="#ppt_x"/>
                                          </p:val>
                                        </p:tav>
                                      </p:tavLst>
                                    </p:anim>
                                    <p:anim calcmode="lin" valueType="num">
                                      <p:cBhvr additive="base">
                                        <p:cTn id="20" dur="1000" fill="hold"/>
                                        <p:tgtEl>
                                          <p:spTgt spid="1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2" presetClass="entr" presetSubtype="8" decel="100000" fill="hold" nodeType="withEffect">
                  <p:stCondLst>
                    <p:cond delay="250"/>
                  </p:stCondLst>
                  <p:childTnLst>
                    <p:set>
                      <p:cBhvr>
                        <p:cTn dur="1" fill="hold">
                          <p:stCondLst>
                            <p:cond delay="0"/>
                          </p:stCondLst>
                        </p:cTn>
                        <p:tgtEl>
                          <p:spTgt spid="5"/>
                        </p:tgtEl>
                        <p:attrNameLst>
                          <p:attrName>style.visibility</p:attrName>
                        </p:attrNameLst>
                      </p:cBhvr>
                      <p:to>
                        <p:strVal val="visible"/>
                      </p:to>
                    </p:set>
                    <p:anim calcmode="lin" valueType="num">
                      <p:cBhvr additive="base">
                        <p:cTn dur="1000" fill="hold"/>
                        <p:tgtEl>
                          <p:spTgt spid="5"/>
                        </p:tgtEl>
                        <p:attrNameLst>
                          <p:attrName>ppt_x</p:attrName>
                        </p:attrNameLst>
                      </p:cBhvr>
                      <p:tavLst>
                        <p:tav tm="0">
                          <p:val>
                            <p:strVal val="0-#ppt_w/2"/>
                          </p:val>
                        </p:tav>
                        <p:tav tm="100000">
                          <p:val>
                            <p:strVal val="#ppt_x"/>
                          </p:val>
                        </p:tav>
                      </p:tavLst>
                    </p:anim>
                    <p:anim calcmode="lin" valueType="num">
                      <p:cBhvr additive="base">
                        <p:cTn dur="1000" fill="hold"/>
                        <p:tgtEl>
                          <p:spTgt spid="5"/>
                        </p:tgtEl>
                        <p:attrNameLst>
                          <p:attrName>ppt_y</p:attrName>
                        </p:attrNameLst>
                      </p:cBhvr>
                      <p:tavLst>
                        <p:tav tm="0">
                          <p:val>
                            <p:strVal val="#ppt_y"/>
                          </p:val>
                        </p:tav>
                        <p:tav tm="100000">
                          <p:val>
                            <p:strVal val="#ppt_y"/>
                          </p:val>
                        </p:tav>
                      </p:tavLst>
                    </p:anim>
                  </p:childTnLst>
                </p:cTn>
              </p:par>
            </p:tnLst>
          </p:tmpl>
        </p:tmplLst>
      </p:bldP>
      <p:bldP spid="19" grpId="0"/>
      <p:bldP spid="20" grpId="0"/>
    </p:bldLst>
  </p:timing>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HEADING/TEXT/IMAGE 1 below">
    <p:spTree>
      <p:nvGrpSpPr>
        <p:cNvPr id="1" name=""/>
        <p:cNvGrpSpPr/>
        <p:nvPr/>
      </p:nvGrpSpPr>
      <p:grpSpPr>
        <a:xfrm>
          <a:off x="0" y="0"/>
          <a:ext cx="0" cy="0"/>
          <a:chOff x="0" y="0"/>
          <a:chExt cx="0" cy="0"/>
        </a:xfrm>
      </p:grpSpPr>
      <p:sp>
        <p:nvSpPr>
          <p:cNvPr id="12" name="Freihandform: Form 11">
            <a:extLst>
              <a:ext uri="{FF2B5EF4-FFF2-40B4-BE49-F238E27FC236}">
                <a16:creationId xmlns:a16="http://schemas.microsoft.com/office/drawing/2014/main" id="{BC6B8E40-6DD9-454D-B6D5-4533D14E1817}"/>
              </a:ext>
            </a:extLst>
          </p:cNvPr>
          <p:cNvSpPr/>
          <p:nvPr userDrawn="1"/>
        </p:nvSpPr>
        <p:spPr>
          <a:xfrm>
            <a:off x="2362200" y="1975611"/>
            <a:ext cx="9829800" cy="4882390"/>
          </a:xfrm>
          <a:custGeom>
            <a:avLst/>
            <a:gdLst>
              <a:gd name="connsiteX0" fmla="*/ 910059 w 9829800"/>
              <a:gd name="connsiteY0" fmla="*/ 0 h 4882390"/>
              <a:gd name="connsiteX1" fmla="*/ 3015085 w 9829800"/>
              <a:gd name="connsiteY1" fmla="*/ 0 h 4882390"/>
              <a:gd name="connsiteX2" fmla="*/ 7981950 w 9829800"/>
              <a:gd name="connsiteY2" fmla="*/ 0 h 4882390"/>
              <a:gd name="connsiteX3" fmla="*/ 9829800 w 9829800"/>
              <a:gd name="connsiteY3" fmla="*/ 0 h 4882390"/>
              <a:gd name="connsiteX4" fmla="*/ 9829800 w 9829800"/>
              <a:gd name="connsiteY4" fmla="*/ 4882390 h 4882390"/>
              <a:gd name="connsiteX5" fmla="*/ 7981950 w 9829800"/>
              <a:gd name="connsiteY5" fmla="*/ 4882390 h 4882390"/>
              <a:gd name="connsiteX6" fmla="*/ 2183098 w 9829800"/>
              <a:gd name="connsiteY6" fmla="*/ 4882390 h 4882390"/>
              <a:gd name="connsiteX7" fmla="*/ 78072 w 9829800"/>
              <a:gd name="connsiteY7" fmla="*/ 4882390 h 4882390"/>
              <a:gd name="connsiteX8" fmla="*/ 0 w 9829800"/>
              <a:gd name="connsiteY8" fmla="*/ 4804318 h 4882390"/>
              <a:gd name="connsiteX9" fmla="*/ 831987 w 9829800"/>
              <a:gd name="connsiteY9" fmla="*/ 78072 h 4882390"/>
              <a:gd name="connsiteX10" fmla="*/ 910059 w 9829800"/>
              <a:gd name="connsiteY10" fmla="*/ 0 h 4882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829800" h="4882390">
                <a:moveTo>
                  <a:pt x="910059" y="0"/>
                </a:moveTo>
                <a:lnTo>
                  <a:pt x="3015085" y="0"/>
                </a:lnTo>
                <a:lnTo>
                  <a:pt x="7981950" y="0"/>
                </a:lnTo>
                <a:lnTo>
                  <a:pt x="9829800" y="0"/>
                </a:lnTo>
                <a:lnTo>
                  <a:pt x="9829800" y="4882390"/>
                </a:lnTo>
                <a:lnTo>
                  <a:pt x="7981950" y="4882390"/>
                </a:lnTo>
                <a:lnTo>
                  <a:pt x="2183098" y="4882390"/>
                </a:lnTo>
                <a:lnTo>
                  <a:pt x="78072" y="4882390"/>
                </a:lnTo>
                <a:cubicBezTo>
                  <a:pt x="34957" y="4882390"/>
                  <a:pt x="0" y="4847433"/>
                  <a:pt x="0" y="4804318"/>
                </a:cubicBezTo>
                <a:lnTo>
                  <a:pt x="831987" y="78072"/>
                </a:lnTo>
                <a:cubicBezTo>
                  <a:pt x="831987" y="34957"/>
                  <a:pt x="866945" y="0"/>
                  <a:pt x="910059" y="0"/>
                </a:cubicBezTo>
                <a:close/>
              </a:path>
            </a:pathLst>
          </a:custGeom>
          <a:gradFill>
            <a:gsLst>
              <a:gs pos="0">
                <a:schemeClr val="bg1"/>
              </a:gs>
              <a:gs pos="95000">
                <a:srgbClr val="ECF0F4"/>
              </a:gs>
            </a:gsLst>
            <a:lin ang="5400000" scaled="1"/>
          </a:gradFill>
          <a:ln w="11652" cap="flat">
            <a:noFill/>
            <a:prstDash val="solid"/>
            <a:miter/>
          </a:ln>
        </p:spPr>
        <p:txBody>
          <a:bodyPr rtlCol="0" anchor="ctr"/>
          <a:lstStyle/>
          <a:p>
            <a:endParaRPr lang="de-DE"/>
          </a:p>
        </p:txBody>
      </p:sp>
      <p:sp>
        <p:nvSpPr>
          <p:cNvPr id="2" name="Titel 1">
            <a:extLst>
              <a:ext uri="{FF2B5EF4-FFF2-40B4-BE49-F238E27FC236}">
                <a16:creationId xmlns:a16="http://schemas.microsoft.com/office/drawing/2014/main" id="{0526DC72-FA1D-422D-8055-3374742D122B}"/>
              </a:ext>
            </a:extLst>
          </p:cNvPr>
          <p:cNvSpPr>
            <a:spLocks noGrp="1"/>
          </p:cNvSpPr>
          <p:nvPr>
            <p:ph type="title"/>
          </p:nvPr>
        </p:nvSpPr>
        <p:spPr/>
        <p:txBody>
          <a:bodyPr/>
          <a:lstStyle>
            <a:lvl1pPr>
              <a:lnSpc>
                <a:spcPct val="100000"/>
              </a:lnSpc>
              <a:defRPr/>
            </a:lvl1pPr>
          </a:lstStyle>
          <a:p>
            <a:r>
              <a:rPr lang="de-DE"/>
              <a:t>Mastertitelformat bearbeiten</a:t>
            </a:r>
          </a:p>
        </p:txBody>
      </p:sp>
      <p:sp>
        <p:nvSpPr>
          <p:cNvPr id="3" name="Foliennummernplatzhalter 2">
            <a:extLst>
              <a:ext uri="{FF2B5EF4-FFF2-40B4-BE49-F238E27FC236}">
                <a16:creationId xmlns:a16="http://schemas.microsoft.com/office/drawing/2014/main" id="{5B327254-466C-4606-8589-BCC72CBDADDF}"/>
              </a:ext>
            </a:extLst>
          </p:cNvPr>
          <p:cNvSpPr>
            <a:spLocks noGrp="1"/>
          </p:cNvSpPr>
          <p:nvPr>
            <p:ph type="sldNum" sz="quarter" idx="10"/>
          </p:nvPr>
        </p:nvSpPr>
        <p:spPr/>
        <p:txBody>
          <a:bodyPr/>
          <a:lstStyle/>
          <a:p>
            <a:fld id="{A04BEB4F-8CE1-4F18-986F-6CE0A0BE9470}" type="slidenum">
              <a:rPr lang="de-DE" smtClean="0"/>
              <a:t>‹#›</a:t>
            </a:fld>
            <a:endParaRPr lang="de-DE"/>
          </a:p>
        </p:txBody>
      </p:sp>
      <p:sp>
        <p:nvSpPr>
          <p:cNvPr id="5" name="Textplatzhalter 9">
            <a:extLst>
              <a:ext uri="{FF2B5EF4-FFF2-40B4-BE49-F238E27FC236}">
                <a16:creationId xmlns:a16="http://schemas.microsoft.com/office/drawing/2014/main" id="{6024922C-391C-46EA-9F1C-F5344AAB64C8}"/>
              </a:ext>
            </a:extLst>
          </p:cNvPr>
          <p:cNvSpPr>
            <a:spLocks noGrp="1"/>
          </p:cNvSpPr>
          <p:nvPr>
            <p:ph type="body" sz="quarter" idx="11"/>
          </p:nvPr>
        </p:nvSpPr>
        <p:spPr>
          <a:xfrm>
            <a:off x="815951" y="1979612"/>
            <a:ext cx="10560096" cy="1440000"/>
          </a:xfrm>
          <a:prstGeom prst="rect">
            <a:avLst/>
          </a:prstGeom>
        </p:spPr>
        <p:txBody>
          <a:bodyPr lIns="0" tIns="0" rIns="0" bIns="0">
            <a:normAutofit/>
          </a:bodyPr>
          <a:lstStyle>
            <a:lvl1pPr>
              <a:defRPr sz="1800"/>
            </a:lvl1pPr>
            <a:lvl2pPr>
              <a:defRPr sz="1800"/>
            </a:lvl2pPr>
            <a:lvl3pPr>
              <a:defRPr sz="1800"/>
            </a:lvl3pPr>
            <a:lvl4pPr>
              <a:defRPr sz="1800"/>
            </a:lvl4pPr>
            <a:lvl5pPr>
              <a:defRPr sz="18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5" name="Bildplatzhalter 14">
            <a:extLst>
              <a:ext uri="{FF2B5EF4-FFF2-40B4-BE49-F238E27FC236}">
                <a16:creationId xmlns:a16="http://schemas.microsoft.com/office/drawing/2014/main" id="{35D9FA2A-499B-4596-BC4B-A7387A801021}"/>
              </a:ext>
            </a:extLst>
          </p:cNvPr>
          <p:cNvSpPr>
            <a:spLocks noGrp="1"/>
          </p:cNvSpPr>
          <p:nvPr>
            <p:ph type="pic" sz="quarter" idx="12" hasCustomPrompt="1"/>
          </p:nvPr>
        </p:nvSpPr>
        <p:spPr>
          <a:xfrm>
            <a:off x="-2" y="3779612"/>
            <a:ext cx="9815514" cy="3078387"/>
          </a:xfrm>
          <a:custGeom>
            <a:avLst/>
            <a:gdLst>
              <a:gd name="connsiteX0" fmla="*/ 0 w 9815514"/>
              <a:gd name="connsiteY0" fmla="*/ 0 h 3078387"/>
              <a:gd name="connsiteX1" fmla="*/ 9706713 w 9815514"/>
              <a:gd name="connsiteY1" fmla="*/ 0 h 3078387"/>
              <a:gd name="connsiteX2" fmla="*/ 9815514 w 9815514"/>
              <a:gd name="connsiteY2" fmla="*/ 113675 h 3078387"/>
              <a:gd name="connsiteX3" fmla="*/ 9315995 w 9815514"/>
              <a:gd name="connsiteY3" fmla="*/ 3078387 h 3078387"/>
              <a:gd name="connsiteX4" fmla="*/ 0 w 9815514"/>
              <a:gd name="connsiteY4" fmla="*/ 3078387 h 3078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15514" h="3078387">
                <a:moveTo>
                  <a:pt x="0" y="0"/>
                </a:moveTo>
                <a:lnTo>
                  <a:pt x="9706713" y="0"/>
                </a:lnTo>
                <a:cubicBezTo>
                  <a:pt x="9766797" y="0"/>
                  <a:pt x="9815514" y="50899"/>
                  <a:pt x="9815514" y="113675"/>
                </a:cubicBezTo>
                <a:lnTo>
                  <a:pt x="9315995" y="3078387"/>
                </a:lnTo>
                <a:lnTo>
                  <a:pt x="0" y="3078387"/>
                </a:lnTo>
                <a:close/>
              </a:path>
            </a:pathLst>
          </a:custGeom>
          <a:noFill/>
          <a:effectLst>
            <a:outerShdw blurRad="190500" dist="127000" dir="2700000" algn="tl" rotWithShape="0">
              <a:prstClr val="black">
                <a:alpha val="10000"/>
              </a:prstClr>
            </a:outerShdw>
          </a:effectLst>
        </p:spPr>
        <p:txBody>
          <a:bodyPr wrap="square">
            <a:noAutofit/>
          </a:bodyPr>
          <a:lstStyle>
            <a:lvl1pPr marL="0" marR="0" indent="0" algn="l" defTabSz="1644650" rtl="0" eaLnBrk="0" fontAlgn="base" latinLnBrk="0" hangingPunct="0">
              <a:lnSpc>
                <a:spcPct val="130000"/>
              </a:lnSpc>
              <a:spcBef>
                <a:spcPct val="0"/>
              </a:spcBef>
              <a:spcAft>
                <a:spcPts val="1200"/>
              </a:spcAft>
              <a:buClr>
                <a:srgbClr val="004C99"/>
              </a:buClr>
              <a:buSzPct val="120000"/>
              <a:buFontTx/>
              <a:buNone/>
              <a:defRPr/>
            </a:lvl1pPr>
          </a:lstStyle>
          <a:p>
            <a:pPr marL="266700" marR="0" lvl="0" indent="-266700" algn="l" defTabSz="1644650" rtl="0" eaLnBrk="0" fontAlgn="base" latinLnBrk="0" hangingPunct="0">
              <a:lnSpc>
                <a:spcPct val="130000"/>
              </a:lnSpc>
              <a:spcBef>
                <a:spcPct val="0"/>
              </a:spcBef>
              <a:spcAft>
                <a:spcPts val="1200"/>
              </a:spcAft>
              <a:buClr>
                <a:srgbClr val="004C99"/>
              </a:buClr>
              <a:buSzPct val="120000"/>
              <a:buFontTx/>
              <a:buBlip>
                <a:blip r:embed="rId2"/>
              </a:buBlip>
              <a:defRPr/>
            </a:pPr>
            <a:r>
              <a:rPr lang="de-DE"/>
              <a:t>Please insert image</a:t>
            </a:r>
          </a:p>
          <a:p>
            <a:endParaRPr lang="de-DE"/>
          </a:p>
        </p:txBody>
      </p:sp>
    </p:spTree>
    <p:extLst>
      <p:ext uri="{BB962C8B-B14F-4D97-AF65-F5344CB8AC3E}">
        <p14:creationId xmlns:p14="http://schemas.microsoft.com/office/powerpoint/2010/main" val="237154013"/>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8" dur="1000" decel="10000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0-#ppt_w/2"/>
                                          </p:val>
                                        </p:tav>
                                        <p:tav tm="100000">
                                          <p:val>
                                            <p:strVal val="#ppt_x"/>
                                          </p:val>
                                        </p:tav>
                                      </p:tavLst>
                                    </p:anim>
                                    <p:anim calcmode="lin" valueType="num">
                                      <p:cBhvr additive="base">
                                        <p:cTn id="8" dur="1000" fill="hold"/>
                                        <p:tgtEl>
                                          <p:spTgt spid="2"/>
                                        </p:tgtEl>
                                        <p:attrNameLst>
                                          <p:attrName>ppt_y</p:attrName>
                                        </p:attrNameLst>
                                      </p:cBhvr>
                                      <p:tavLst>
                                        <p:tav tm="0">
                                          <p:val>
                                            <p:strVal val="#ppt_y"/>
                                          </p:val>
                                        </p:tav>
                                        <p:tav tm="100000">
                                          <p:val>
                                            <p:strVal val="#ppt_y"/>
                                          </p:val>
                                        </p:tav>
                                      </p:tavLst>
                                    </p:anim>
                                  </p:childTnLst>
                                </p:cTn>
                              </p:par>
                              <p:par>
                                <p:cTn id="9" presetID="2" presetClass="entr" presetSubtype="8" dur="1000" decel="100000" fill="hold" grpId="0" nodeType="withEffect">
                                  <p:stCondLst>
                                    <p:cond delay="25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1000" fill="hold"/>
                                        <p:tgtEl>
                                          <p:spTgt spid="5"/>
                                        </p:tgtEl>
                                        <p:attrNameLst>
                                          <p:attrName>ppt_x</p:attrName>
                                        </p:attrNameLst>
                                      </p:cBhvr>
                                      <p:tavLst>
                                        <p:tav tm="0">
                                          <p:val>
                                            <p:strVal val="0-#ppt_w/2"/>
                                          </p:val>
                                        </p:tav>
                                        <p:tav tm="100000">
                                          <p:val>
                                            <p:strVal val="#ppt_x"/>
                                          </p:val>
                                        </p:tav>
                                      </p:tavLst>
                                    </p:anim>
                                    <p:anim calcmode="lin" valueType="num">
                                      <p:cBhvr additive="base">
                                        <p:cTn id="12" dur="1000" fill="hold"/>
                                        <p:tgtEl>
                                          <p:spTgt spid="5"/>
                                        </p:tgtEl>
                                        <p:attrNameLst>
                                          <p:attrName>ppt_y</p:attrName>
                                        </p:attrNameLst>
                                      </p:cBhvr>
                                      <p:tavLst>
                                        <p:tav tm="0">
                                          <p:val>
                                            <p:strVal val="#ppt_y"/>
                                          </p:val>
                                        </p:tav>
                                        <p:tav tm="100000">
                                          <p:val>
                                            <p:strVal val="#ppt_y"/>
                                          </p:val>
                                        </p:tav>
                                      </p:tavLst>
                                    </p:anim>
                                  </p:childTnLst>
                                </p:cTn>
                              </p:par>
                              <p:par>
                                <p:cTn id="13" presetID="2" presetClass="entr" presetSubtype="8" dur="1000" decel="100000" fill="hold" grpId="0" nodeType="withEffect">
                                  <p:stCondLst>
                                    <p:cond delay="500"/>
                                  </p:stCondLst>
                                  <p:childTnLst>
                                    <p:set>
                                      <p:cBhvr>
                                        <p:cTn id="14" dur="1" fill="hold">
                                          <p:stCondLst>
                                            <p:cond delay="0"/>
                                          </p:stCondLst>
                                        </p:cTn>
                                        <p:tgtEl>
                                          <p:spTgt spid="15"/>
                                        </p:tgtEl>
                                        <p:attrNameLst>
                                          <p:attrName>style.visibility</p:attrName>
                                        </p:attrNameLst>
                                      </p:cBhvr>
                                      <p:to>
                                        <p:strVal val="visible"/>
                                      </p:to>
                                    </p:set>
                                    <p:anim calcmode="lin" valueType="num">
                                      <p:cBhvr additive="base">
                                        <p:cTn id="15" dur="1000" fill="hold"/>
                                        <p:tgtEl>
                                          <p:spTgt spid="15"/>
                                        </p:tgtEl>
                                        <p:attrNameLst>
                                          <p:attrName>ppt_x</p:attrName>
                                        </p:attrNameLst>
                                      </p:cBhvr>
                                      <p:tavLst>
                                        <p:tav tm="0">
                                          <p:val>
                                            <p:strVal val="0-#ppt_w/2"/>
                                          </p:val>
                                        </p:tav>
                                        <p:tav tm="100000">
                                          <p:val>
                                            <p:strVal val="#ppt_x"/>
                                          </p:val>
                                        </p:tav>
                                      </p:tavLst>
                                    </p:anim>
                                    <p:anim calcmode="lin" valueType="num">
                                      <p:cBhvr additive="base">
                                        <p:cTn id="16" dur="1000" fill="hold"/>
                                        <p:tgtEl>
                                          <p:spTgt spid="1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2" presetClass="entr" presetSubtype="8" decel="100000" fill="hold" nodeType="withEffect">
                  <p:stCondLst>
                    <p:cond delay="250"/>
                  </p:stCondLst>
                  <p:childTnLst>
                    <p:set>
                      <p:cBhvr>
                        <p:cTn dur="1" fill="hold">
                          <p:stCondLst>
                            <p:cond delay="0"/>
                          </p:stCondLst>
                        </p:cTn>
                        <p:tgtEl>
                          <p:spTgt spid="5"/>
                        </p:tgtEl>
                        <p:attrNameLst>
                          <p:attrName>style.visibility</p:attrName>
                        </p:attrNameLst>
                      </p:cBhvr>
                      <p:to>
                        <p:strVal val="visible"/>
                      </p:to>
                    </p:set>
                    <p:anim calcmode="lin" valueType="num">
                      <p:cBhvr additive="base">
                        <p:cTn dur="1000" fill="hold"/>
                        <p:tgtEl>
                          <p:spTgt spid="5"/>
                        </p:tgtEl>
                        <p:attrNameLst>
                          <p:attrName>ppt_x</p:attrName>
                        </p:attrNameLst>
                      </p:cBhvr>
                      <p:tavLst>
                        <p:tav tm="0">
                          <p:val>
                            <p:strVal val="0-#ppt_w/2"/>
                          </p:val>
                        </p:tav>
                        <p:tav tm="100000">
                          <p:val>
                            <p:strVal val="#ppt_x"/>
                          </p:val>
                        </p:tav>
                      </p:tavLst>
                    </p:anim>
                    <p:anim calcmode="lin" valueType="num">
                      <p:cBhvr additive="base">
                        <p:cTn dur="1000" fill="hold"/>
                        <p:tgtEl>
                          <p:spTgt spid="5"/>
                        </p:tgtEl>
                        <p:attrNameLst>
                          <p:attrName>ppt_y</p:attrName>
                        </p:attrNameLst>
                      </p:cBhvr>
                      <p:tavLst>
                        <p:tav tm="0">
                          <p:val>
                            <p:strVal val="#ppt_y"/>
                          </p:val>
                        </p:tav>
                        <p:tav tm="100000">
                          <p:val>
                            <p:strVal val="#ppt_y"/>
                          </p:val>
                        </p:tav>
                      </p:tavLst>
                    </p:anim>
                  </p:childTnLst>
                </p:cTn>
              </p:par>
            </p:tnLst>
          </p:tmpl>
        </p:tmplLst>
      </p:bldP>
      <p:bldP spid="15" grpId="0"/>
    </p:bldLst>
  </p:timing>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CONTENT ">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526DC72-FA1D-422D-8055-3374742D122B}"/>
              </a:ext>
            </a:extLst>
          </p:cNvPr>
          <p:cNvSpPr>
            <a:spLocks noGrp="1"/>
          </p:cNvSpPr>
          <p:nvPr>
            <p:ph type="title"/>
          </p:nvPr>
        </p:nvSpPr>
        <p:spPr/>
        <p:txBody>
          <a:bodyPr/>
          <a:lstStyle>
            <a:lvl1pPr>
              <a:lnSpc>
                <a:spcPct val="100000"/>
              </a:lnSpc>
              <a:defRPr/>
            </a:lvl1pPr>
          </a:lstStyle>
          <a:p>
            <a:r>
              <a:rPr lang="de-DE"/>
              <a:t>Mastertitelformat bearbeiten</a:t>
            </a:r>
          </a:p>
        </p:txBody>
      </p:sp>
      <p:sp>
        <p:nvSpPr>
          <p:cNvPr id="3" name="Foliennummernplatzhalter 2">
            <a:extLst>
              <a:ext uri="{FF2B5EF4-FFF2-40B4-BE49-F238E27FC236}">
                <a16:creationId xmlns:a16="http://schemas.microsoft.com/office/drawing/2014/main" id="{5B327254-466C-4606-8589-BCC72CBDADDF}"/>
              </a:ext>
            </a:extLst>
          </p:cNvPr>
          <p:cNvSpPr>
            <a:spLocks noGrp="1"/>
          </p:cNvSpPr>
          <p:nvPr>
            <p:ph type="sldNum" sz="quarter" idx="10"/>
          </p:nvPr>
        </p:nvSpPr>
        <p:spPr/>
        <p:txBody>
          <a:bodyPr/>
          <a:lstStyle/>
          <a:p>
            <a:fld id="{A04BEB4F-8CE1-4F18-986F-6CE0A0BE9470}" type="slidenum">
              <a:rPr lang="de-DE" smtClean="0"/>
              <a:t>‹#›</a:t>
            </a:fld>
            <a:endParaRPr lang="de-DE"/>
          </a:p>
        </p:txBody>
      </p:sp>
      <p:sp>
        <p:nvSpPr>
          <p:cNvPr id="6" name="Inhaltsplatzhalter 5">
            <a:extLst>
              <a:ext uri="{FF2B5EF4-FFF2-40B4-BE49-F238E27FC236}">
                <a16:creationId xmlns:a16="http://schemas.microsoft.com/office/drawing/2014/main" id="{2D621650-8C9C-4343-8E11-492A5CE05422}"/>
              </a:ext>
            </a:extLst>
          </p:cNvPr>
          <p:cNvSpPr>
            <a:spLocks noGrp="1"/>
          </p:cNvSpPr>
          <p:nvPr>
            <p:ph sz="quarter" idx="12"/>
          </p:nvPr>
        </p:nvSpPr>
        <p:spPr>
          <a:xfrm>
            <a:off x="815951" y="1975612"/>
            <a:ext cx="10560096" cy="434664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2316960090"/>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8" dur="1000" decel="10000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0-#ppt_w/2"/>
                                          </p:val>
                                        </p:tav>
                                        <p:tav tm="100000">
                                          <p:val>
                                            <p:strVal val="#ppt_x"/>
                                          </p:val>
                                        </p:tav>
                                      </p:tavLst>
                                    </p:anim>
                                    <p:anim calcmode="lin" valueType="num">
                                      <p:cBhvr additive="base">
                                        <p:cTn id="8" dur="1000" fill="hold"/>
                                        <p:tgtEl>
                                          <p:spTgt spid="2"/>
                                        </p:tgtEl>
                                        <p:attrNameLst>
                                          <p:attrName>ppt_y</p:attrName>
                                        </p:attrNameLst>
                                      </p:cBhvr>
                                      <p:tavLst>
                                        <p:tav tm="0">
                                          <p:val>
                                            <p:strVal val="#ppt_y"/>
                                          </p:val>
                                        </p:tav>
                                        <p:tav tm="100000">
                                          <p:val>
                                            <p:strVal val="#ppt_y"/>
                                          </p:val>
                                        </p:tav>
                                      </p:tavLst>
                                    </p:anim>
                                  </p:childTnLst>
                                </p:cTn>
                              </p:par>
                              <p:par>
                                <p:cTn id="9" presetID="2" presetClass="entr" presetSubtype="8" dur="1000" decel="100000" fill="hold" grpId="0" nodeType="withEffect">
                                  <p:stCondLst>
                                    <p:cond delay="250"/>
                                  </p:stCondLst>
                                  <p:childTnLst>
                                    <p:set>
                                      <p:cBhvr>
                                        <p:cTn id="10" dur="1" fill="hold">
                                          <p:stCondLst>
                                            <p:cond delay="0"/>
                                          </p:stCondLst>
                                        </p:cTn>
                                        <p:tgtEl>
                                          <p:spTgt spid="6"/>
                                        </p:tgtEl>
                                        <p:attrNameLst>
                                          <p:attrName>style.visibility</p:attrName>
                                        </p:attrNameLst>
                                      </p:cBhvr>
                                      <p:to>
                                        <p:strVal val="visible"/>
                                      </p:to>
                                    </p:set>
                                    <p:anim calcmode="lin" valueType="num">
                                      <p:cBhvr additive="base">
                                        <p:cTn id="11" dur="1000" fill="hold"/>
                                        <p:tgtEl>
                                          <p:spTgt spid="6"/>
                                        </p:tgtEl>
                                        <p:attrNameLst>
                                          <p:attrName>ppt_x</p:attrName>
                                        </p:attrNameLst>
                                      </p:cBhvr>
                                      <p:tavLst>
                                        <p:tav tm="0">
                                          <p:val>
                                            <p:strVal val="0-#ppt_w/2"/>
                                          </p:val>
                                        </p:tav>
                                        <p:tav tm="100000">
                                          <p:val>
                                            <p:strVal val="#ppt_x"/>
                                          </p:val>
                                        </p:tav>
                                      </p:tavLst>
                                    </p:anim>
                                    <p:anim calcmode="lin" valueType="num">
                                      <p:cBhvr additive="base">
                                        <p:cTn id="12" dur="10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6" grpId="0">
        <p:tmplLst>
          <p:tmpl>
            <p:tnLst>
              <p:par>
                <p:cTn presetID="2" presetClass="entr" presetSubtype="8" decel="100000" fill="hold" nodeType="withEffect">
                  <p:stCondLst>
                    <p:cond delay="250"/>
                  </p:stCondLst>
                  <p:childTnLst>
                    <p:set>
                      <p:cBhvr>
                        <p:cTn dur="1" fill="hold">
                          <p:stCondLst>
                            <p:cond delay="0"/>
                          </p:stCondLst>
                        </p:cTn>
                        <p:tgtEl>
                          <p:spTgt spid="6"/>
                        </p:tgtEl>
                        <p:attrNameLst>
                          <p:attrName>style.visibility</p:attrName>
                        </p:attrNameLst>
                      </p:cBhvr>
                      <p:to>
                        <p:strVal val="visible"/>
                      </p:to>
                    </p:set>
                    <p:anim calcmode="lin" valueType="num">
                      <p:cBhvr additive="base">
                        <p:cTn dur="1000" fill="hold"/>
                        <p:tgtEl>
                          <p:spTgt spid="6"/>
                        </p:tgtEl>
                        <p:attrNameLst>
                          <p:attrName>ppt_x</p:attrName>
                        </p:attrNameLst>
                      </p:cBhvr>
                      <p:tavLst>
                        <p:tav tm="0">
                          <p:val>
                            <p:strVal val="0-#ppt_w/2"/>
                          </p:val>
                        </p:tav>
                        <p:tav tm="100000">
                          <p:val>
                            <p:strVal val="#ppt_x"/>
                          </p:val>
                        </p:tav>
                      </p:tavLst>
                    </p:anim>
                    <p:anim calcmode="lin" valueType="num">
                      <p:cBhvr additive="base">
                        <p:cTn dur="1000" fill="hold"/>
                        <p:tgtEl>
                          <p:spTgt spid="6"/>
                        </p:tgtEl>
                        <p:attrNameLst>
                          <p:attrName>ppt_y</p:attrName>
                        </p:attrNameLst>
                      </p:cBhvr>
                      <p:tavLst>
                        <p:tav tm="0">
                          <p:val>
                            <p:strVal val="#ppt_y"/>
                          </p:val>
                        </p:tav>
                        <p:tav tm="100000">
                          <p:val>
                            <p:strVal val="#ppt_y"/>
                          </p:val>
                        </p:tav>
                      </p:tavLst>
                    </p:anim>
                  </p:childTnLst>
                </p:cTn>
              </p:par>
            </p:tnLst>
          </p:tmpl>
        </p:tmplLst>
      </p:bldP>
    </p:bld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8EC47BBF-5081-44C2-A39B-5B7D55A2CAC4}"/>
              </a:ext>
            </a:extLst>
          </p:cNvPr>
          <p:cNvSpPr>
            <a:spLocks noGrp="1"/>
          </p:cNvSpPr>
          <p:nvPr>
            <p:ph type="pic" sz="quarter" idx="11"/>
          </p:nvPr>
        </p:nvSpPr>
        <p:spPr>
          <a:xfrm>
            <a:off x="781741" y="793750"/>
            <a:ext cx="5314258" cy="5524500"/>
          </a:xfrm>
          <a:custGeom>
            <a:avLst/>
            <a:gdLst>
              <a:gd name="connsiteX0" fmla="*/ 0 w 10629899"/>
              <a:gd name="connsiteY0" fmla="*/ 0 h 11049000"/>
              <a:gd name="connsiteX1" fmla="*/ 10629899 w 10629899"/>
              <a:gd name="connsiteY1" fmla="*/ 0 h 11049000"/>
              <a:gd name="connsiteX2" fmla="*/ 10629899 w 10629899"/>
              <a:gd name="connsiteY2" fmla="*/ 11049000 h 11049000"/>
              <a:gd name="connsiteX3" fmla="*/ 0 w 10629899"/>
              <a:gd name="connsiteY3" fmla="*/ 11049000 h 11049000"/>
            </a:gdLst>
            <a:ahLst/>
            <a:cxnLst>
              <a:cxn ang="0">
                <a:pos x="connsiteX0" y="connsiteY0"/>
              </a:cxn>
              <a:cxn ang="0">
                <a:pos x="connsiteX1" y="connsiteY1"/>
              </a:cxn>
              <a:cxn ang="0">
                <a:pos x="connsiteX2" y="connsiteY2"/>
              </a:cxn>
              <a:cxn ang="0">
                <a:pos x="connsiteX3" y="connsiteY3"/>
              </a:cxn>
            </a:cxnLst>
            <a:rect l="l" t="t" r="r" b="b"/>
            <a:pathLst>
              <a:path w="10629899" h="11049000">
                <a:moveTo>
                  <a:pt x="0" y="0"/>
                </a:moveTo>
                <a:lnTo>
                  <a:pt x="10629899" y="0"/>
                </a:lnTo>
                <a:lnTo>
                  <a:pt x="10629899" y="11049000"/>
                </a:lnTo>
                <a:lnTo>
                  <a:pt x="0" y="11049000"/>
                </a:ln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
        <p:nvSpPr>
          <p:cNvPr id="9" name="Picture Placeholder 8">
            <a:extLst>
              <a:ext uri="{FF2B5EF4-FFF2-40B4-BE49-F238E27FC236}">
                <a16:creationId xmlns:a16="http://schemas.microsoft.com/office/drawing/2014/main" id="{D59F983A-E9C3-445F-A7F1-45E2008FDCDD}"/>
              </a:ext>
            </a:extLst>
          </p:cNvPr>
          <p:cNvSpPr>
            <a:spLocks noGrp="1"/>
          </p:cNvSpPr>
          <p:nvPr>
            <p:ph type="pic" sz="quarter" idx="12"/>
          </p:nvPr>
        </p:nvSpPr>
        <p:spPr>
          <a:xfrm>
            <a:off x="6096000" y="3575050"/>
            <a:ext cx="2638804" cy="2743200"/>
          </a:xfrm>
          <a:custGeom>
            <a:avLst/>
            <a:gdLst>
              <a:gd name="connsiteX0" fmla="*/ 0 w 5278295"/>
              <a:gd name="connsiteY0" fmla="*/ 0 h 5486400"/>
              <a:gd name="connsiteX1" fmla="*/ 5278295 w 5278295"/>
              <a:gd name="connsiteY1" fmla="*/ 0 h 5486400"/>
              <a:gd name="connsiteX2" fmla="*/ 5278295 w 5278295"/>
              <a:gd name="connsiteY2" fmla="*/ 5486400 h 5486400"/>
              <a:gd name="connsiteX3" fmla="*/ 0 w 5278295"/>
              <a:gd name="connsiteY3" fmla="*/ 5486400 h 5486400"/>
            </a:gdLst>
            <a:ahLst/>
            <a:cxnLst>
              <a:cxn ang="0">
                <a:pos x="connsiteX0" y="connsiteY0"/>
              </a:cxn>
              <a:cxn ang="0">
                <a:pos x="connsiteX1" y="connsiteY1"/>
              </a:cxn>
              <a:cxn ang="0">
                <a:pos x="connsiteX2" y="connsiteY2"/>
              </a:cxn>
              <a:cxn ang="0">
                <a:pos x="connsiteX3" y="connsiteY3"/>
              </a:cxn>
            </a:cxnLst>
            <a:rect l="l" t="t" r="r" b="b"/>
            <a:pathLst>
              <a:path w="5278295" h="5486400">
                <a:moveTo>
                  <a:pt x="0" y="0"/>
                </a:moveTo>
                <a:lnTo>
                  <a:pt x="5278295" y="0"/>
                </a:lnTo>
                <a:lnTo>
                  <a:pt x="5278295" y="5486400"/>
                </a:lnTo>
                <a:lnTo>
                  <a:pt x="0" y="5486400"/>
                </a:ln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
        <p:nvSpPr>
          <p:cNvPr id="11" name="Picture Placeholder 10">
            <a:extLst>
              <a:ext uri="{FF2B5EF4-FFF2-40B4-BE49-F238E27FC236}">
                <a16:creationId xmlns:a16="http://schemas.microsoft.com/office/drawing/2014/main" id="{BDE4FB34-EA53-468B-BEDD-E3F16B8A7852}"/>
              </a:ext>
            </a:extLst>
          </p:cNvPr>
          <p:cNvSpPr>
            <a:spLocks noGrp="1"/>
          </p:cNvSpPr>
          <p:nvPr>
            <p:ph type="pic" sz="quarter" idx="13"/>
          </p:nvPr>
        </p:nvSpPr>
        <p:spPr>
          <a:xfrm>
            <a:off x="8734803" y="793750"/>
            <a:ext cx="2675454" cy="2781300"/>
          </a:xfrm>
          <a:custGeom>
            <a:avLst/>
            <a:gdLst>
              <a:gd name="connsiteX0" fmla="*/ 0 w 5351604"/>
              <a:gd name="connsiteY0" fmla="*/ 0 h 5562600"/>
              <a:gd name="connsiteX1" fmla="*/ 5351604 w 5351604"/>
              <a:gd name="connsiteY1" fmla="*/ 0 h 5562600"/>
              <a:gd name="connsiteX2" fmla="*/ 5351604 w 5351604"/>
              <a:gd name="connsiteY2" fmla="*/ 5562600 h 5562600"/>
              <a:gd name="connsiteX3" fmla="*/ 0 w 5351604"/>
              <a:gd name="connsiteY3" fmla="*/ 5562600 h 5562600"/>
            </a:gdLst>
            <a:ahLst/>
            <a:cxnLst>
              <a:cxn ang="0">
                <a:pos x="connsiteX0" y="connsiteY0"/>
              </a:cxn>
              <a:cxn ang="0">
                <a:pos x="connsiteX1" y="connsiteY1"/>
              </a:cxn>
              <a:cxn ang="0">
                <a:pos x="connsiteX2" y="connsiteY2"/>
              </a:cxn>
              <a:cxn ang="0">
                <a:pos x="connsiteX3" y="connsiteY3"/>
              </a:cxn>
            </a:cxnLst>
            <a:rect l="l" t="t" r="r" b="b"/>
            <a:pathLst>
              <a:path w="5351604" h="5562600">
                <a:moveTo>
                  <a:pt x="0" y="0"/>
                </a:moveTo>
                <a:lnTo>
                  <a:pt x="5351604" y="0"/>
                </a:lnTo>
                <a:lnTo>
                  <a:pt x="5351604" y="5562600"/>
                </a:lnTo>
                <a:lnTo>
                  <a:pt x="0" y="5562600"/>
                </a:ln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Tree>
    <p:extLst>
      <p:ext uri="{BB962C8B-B14F-4D97-AF65-F5344CB8AC3E}">
        <p14:creationId xmlns:p14="http://schemas.microsoft.com/office/powerpoint/2010/main" val="1572625856"/>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4" dur="2200" decel="10000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2200" fill="hold"/>
                                        <p:tgtEl>
                                          <p:spTgt spid="8"/>
                                        </p:tgtEl>
                                        <p:attrNameLst>
                                          <p:attrName>ppt_x</p:attrName>
                                        </p:attrNameLst>
                                      </p:cBhvr>
                                      <p:tavLst>
                                        <p:tav tm="0">
                                          <p:val>
                                            <p:strVal val="#ppt_x"/>
                                          </p:val>
                                        </p:tav>
                                        <p:tav tm="100000">
                                          <p:val>
                                            <p:strVal val="#ppt_x"/>
                                          </p:val>
                                        </p:tav>
                                      </p:tavLst>
                                    </p:anim>
                                    <p:anim calcmode="lin" valueType="num">
                                      <p:cBhvr additive="base">
                                        <p:cTn id="8" dur="2200" fill="hold"/>
                                        <p:tgtEl>
                                          <p:spTgt spid="8"/>
                                        </p:tgtEl>
                                        <p:attrNameLst>
                                          <p:attrName>ppt_y</p:attrName>
                                        </p:attrNameLst>
                                      </p:cBhvr>
                                      <p:tavLst>
                                        <p:tav tm="0">
                                          <p:val>
                                            <p:strVal val="1+#ppt_h/2"/>
                                          </p:val>
                                        </p:tav>
                                        <p:tav tm="100000">
                                          <p:val>
                                            <p:strVal val="#ppt_y"/>
                                          </p:val>
                                        </p:tav>
                                      </p:tavLst>
                                    </p:anim>
                                  </p:childTnLst>
                                </p:cTn>
                              </p:par>
                              <p:par>
                                <p:cTn id="9" presetID="2" presetClass="entr" presetSubtype="4" dur="2200" decel="100000"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2200" fill="hold"/>
                                        <p:tgtEl>
                                          <p:spTgt spid="9"/>
                                        </p:tgtEl>
                                        <p:attrNameLst>
                                          <p:attrName>ppt_x</p:attrName>
                                        </p:attrNameLst>
                                      </p:cBhvr>
                                      <p:tavLst>
                                        <p:tav tm="0">
                                          <p:val>
                                            <p:strVal val="#ppt_x"/>
                                          </p:val>
                                        </p:tav>
                                        <p:tav tm="100000">
                                          <p:val>
                                            <p:strVal val="#ppt_x"/>
                                          </p:val>
                                        </p:tav>
                                      </p:tavLst>
                                    </p:anim>
                                    <p:anim calcmode="lin" valueType="num">
                                      <p:cBhvr additive="base">
                                        <p:cTn id="12" dur="2200" fill="hold"/>
                                        <p:tgtEl>
                                          <p:spTgt spid="9"/>
                                        </p:tgtEl>
                                        <p:attrNameLst>
                                          <p:attrName>ppt_y</p:attrName>
                                        </p:attrNameLst>
                                      </p:cBhvr>
                                      <p:tavLst>
                                        <p:tav tm="0">
                                          <p:val>
                                            <p:strVal val="1+#ppt_h/2"/>
                                          </p:val>
                                        </p:tav>
                                        <p:tav tm="100000">
                                          <p:val>
                                            <p:strVal val="#ppt_y"/>
                                          </p:val>
                                        </p:tav>
                                      </p:tavLst>
                                    </p:anim>
                                  </p:childTnLst>
                                </p:cTn>
                              </p:par>
                              <p:par>
                                <p:cTn id="13" presetID="2" presetClass="entr" presetSubtype="4" dur="2200" decel="100000" fill="hold" grpId="0" nodeType="withEffect">
                                  <p:stCondLst>
                                    <p:cond delay="0"/>
                                  </p:stCondLst>
                                  <p:childTnLst>
                                    <p:set>
                                      <p:cBhvr>
                                        <p:cTn id="14" dur="1" fill="hold">
                                          <p:stCondLst>
                                            <p:cond delay="0"/>
                                          </p:stCondLst>
                                        </p:cTn>
                                        <p:tgtEl>
                                          <p:spTgt spid="11"/>
                                        </p:tgtEl>
                                        <p:attrNameLst>
                                          <p:attrName>style.visibility</p:attrName>
                                        </p:attrNameLst>
                                      </p:cBhvr>
                                      <p:to>
                                        <p:strVal val="visible"/>
                                      </p:to>
                                    </p:set>
                                    <p:anim calcmode="lin" valueType="num">
                                      <p:cBhvr additive="base">
                                        <p:cTn id="15" dur="2200" fill="hold"/>
                                        <p:tgtEl>
                                          <p:spTgt spid="11"/>
                                        </p:tgtEl>
                                        <p:attrNameLst>
                                          <p:attrName>ppt_x</p:attrName>
                                        </p:attrNameLst>
                                      </p:cBhvr>
                                      <p:tavLst>
                                        <p:tav tm="0">
                                          <p:val>
                                            <p:strVal val="#ppt_x"/>
                                          </p:val>
                                        </p:tav>
                                        <p:tav tm="100000">
                                          <p:val>
                                            <p:strVal val="#ppt_x"/>
                                          </p:val>
                                        </p:tav>
                                      </p:tavLst>
                                    </p:anim>
                                    <p:anim calcmode="lin" valueType="num">
                                      <p:cBhvr additive="base">
                                        <p:cTn id="16" dur="2200" fill="hold"/>
                                        <p:tgtEl>
                                          <p:spTgt spid="1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1" grpId="0" animBg="1"/>
    </p:bldLst>
  </p:timing>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267" name="Freihandform: Form 266">
            <a:extLst>
              <a:ext uri="{FF2B5EF4-FFF2-40B4-BE49-F238E27FC236}">
                <a16:creationId xmlns:a16="http://schemas.microsoft.com/office/drawing/2014/main" id="{919B2CD8-82FF-4BB7-9DCC-E8D32E59F274}"/>
              </a:ext>
            </a:extLst>
          </p:cNvPr>
          <p:cNvSpPr/>
          <p:nvPr userDrawn="1"/>
        </p:nvSpPr>
        <p:spPr>
          <a:xfrm>
            <a:off x="11841261" y="4050916"/>
            <a:ext cx="347243" cy="376374"/>
          </a:xfrm>
          <a:custGeom>
            <a:avLst/>
            <a:gdLst>
              <a:gd name="connsiteX0" fmla="*/ 158473 w 347243"/>
              <a:gd name="connsiteY0" fmla="*/ 376375 h 376374"/>
              <a:gd name="connsiteX1" fmla="*/ 0 w 347243"/>
              <a:gd name="connsiteY1" fmla="*/ 376375 h 376374"/>
              <a:gd name="connsiteX2" fmla="*/ 185274 w 347243"/>
              <a:gd name="connsiteY2" fmla="*/ 189935 h 376374"/>
              <a:gd name="connsiteX3" fmla="*/ 0 w 347243"/>
              <a:gd name="connsiteY3" fmla="*/ 0 h 376374"/>
              <a:gd name="connsiteX4" fmla="*/ 161969 w 347243"/>
              <a:gd name="connsiteY4" fmla="*/ 0 h 376374"/>
              <a:gd name="connsiteX5" fmla="*/ 347244 w 347243"/>
              <a:gd name="connsiteY5" fmla="*/ 185274 h 376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7243" h="376374">
                <a:moveTo>
                  <a:pt x="158473" y="376375"/>
                </a:moveTo>
                <a:lnTo>
                  <a:pt x="0" y="376375"/>
                </a:lnTo>
                <a:lnTo>
                  <a:pt x="185274" y="189935"/>
                </a:lnTo>
                <a:lnTo>
                  <a:pt x="0" y="0"/>
                </a:lnTo>
                <a:lnTo>
                  <a:pt x="161969" y="0"/>
                </a:lnTo>
                <a:lnTo>
                  <a:pt x="347244" y="185274"/>
                </a:lnTo>
                <a:close/>
              </a:path>
            </a:pathLst>
          </a:custGeom>
          <a:solidFill>
            <a:srgbClr val="EEF2F5"/>
          </a:solidFill>
          <a:ln w="11643" cap="flat">
            <a:noFill/>
            <a:prstDash val="solid"/>
            <a:miter/>
          </a:ln>
        </p:spPr>
        <p:txBody>
          <a:bodyPr rtlCol="0" anchor="ctr"/>
          <a:lstStyle/>
          <a:p>
            <a:endParaRPr lang="de-DE"/>
          </a:p>
        </p:txBody>
      </p:sp>
      <p:sp>
        <p:nvSpPr>
          <p:cNvPr id="268" name="Freihandform: Form 267">
            <a:extLst>
              <a:ext uri="{FF2B5EF4-FFF2-40B4-BE49-F238E27FC236}">
                <a16:creationId xmlns:a16="http://schemas.microsoft.com/office/drawing/2014/main" id="{98A7D4AE-9DAA-4684-913D-90B430C810F7}"/>
              </a:ext>
            </a:extLst>
          </p:cNvPr>
          <p:cNvSpPr/>
          <p:nvPr userDrawn="1"/>
        </p:nvSpPr>
        <p:spPr>
          <a:xfrm>
            <a:off x="11841261" y="4405152"/>
            <a:ext cx="347243" cy="377540"/>
          </a:xfrm>
          <a:custGeom>
            <a:avLst/>
            <a:gdLst>
              <a:gd name="connsiteX0" fmla="*/ 158473 w 347243"/>
              <a:gd name="connsiteY0" fmla="*/ 377540 h 377540"/>
              <a:gd name="connsiteX1" fmla="*/ 0 w 347243"/>
              <a:gd name="connsiteY1" fmla="*/ 377540 h 377540"/>
              <a:gd name="connsiteX2" fmla="*/ 185274 w 347243"/>
              <a:gd name="connsiteY2" fmla="*/ 189935 h 377540"/>
              <a:gd name="connsiteX3" fmla="*/ 0 w 347243"/>
              <a:gd name="connsiteY3" fmla="*/ 0 h 377540"/>
              <a:gd name="connsiteX4" fmla="*/ 161969 w 347243"/>
              <a:gd name="connsiteY4" fmla="*/ 0 h 377540"/>
              <a:gd name="connsiteX5" fmla="*/ 347244 w 347243"/>
              <a:gd name="connsiteY5" fmla="*/ 185274 h 377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7243" h="377540">
                <a:moveTo>
                  <a:pt x="158473" y="377540"/>
                </a:moveTo>
                <a:lnTo>
                  <a:pt x="0" y="377540"/>
                </a:lnTo>
                <a:lnTo>
                  <a:pt x="185274" y="189935"/>
                </a:lnTo>
                <a:lnTo>
                  <a:pt x="0" y="0"/>
                </a:lnTo>
                <a:lnTo>
                  <a:pt x="161969" y="0"/>
                </a:lnTo>
                <a:lnTo>
                  <a:pt x="347244" y="185274"/>
                </a:lnTo>
                <a:close/>
              </a:path>
            </a:pathLst>
          </a:custGeom>
          <a:solidFill>
            <a:srgbClr val="EEF2F5"/>
          </a:solidFill>
          <a:ln w="11643" cap="flat">
            <a:noFill/>
            <a:prstDash val="solid"/>
            <a:miter/>
          </a:ln>
        </p:spPr>
        <p:txBody>
          <a:bodyPr rtlCol="0" anchor="ctr"/>
          <a:lstStyle/>
          <a:p>
            <a:endParaRPr lang="de-DE"/>
          </a:p>
        </p:txBody>
      </p:sp>
      <p:sp>
        <p:nvSpPr>
          <p:cNvPr id="269" name="Freihandform: Form 268">
            <a:extLst>
              <a:ext uri="{FF2B5EF4-FFF2-40B4-BE49-F238E27FC236}">
                <a16:creationId xmlns:a16="http://schemas.microsoft.com/office/drawing/2014/main" id="{65205431-CA52-4417-B021-25FD0C1E33F9}"/>
              </a:ext>
            </a:extLst>
          </p:cNvPr>
          <p:cNvSpPr/>
          <p:nvPr userDrawn="1"/>
        </p:nvSpPr>
        <p:spPr>
          <a:xfrm>
            <a:off x="11494017" y="3704837"/>
            <a:ext cx="330930" cy="358896"/>
          </a:xfrm>
          <a:custGeom>
            <a:avLst/>
            <a:gdLst>
              <a:gd name="connsiteX0" fmla="*/ 151482 w 330930"/>
              <a:gd name="connsiteY0" fmla="*/ 358896 h 358896"/>
              <a:gd name="connsiteX1" fmla="*/ 0 w 330930"/>
              <a:gd name="connsiteY1" fmla="*/ 358896 h 358896"/>
              <a:gd name="connsiteX2" fmla="*/ 177118 w 330930"/>
              <a:gd name="connsiteY2" fmla="*/ 180613 h 358896"/>
              <a:gd name="connsiteX3" fmla="*/ 0 w 330930"/>
              <a:gd name="connsiteY3" fmla="*/ 0 h 358896"/>
              <a:gd name="connsiteX4" fmla="*/ 154979 w 330930"/>
              <a:gd name="connsiteY4" fmla="*/ 0 h 358896"/>
              <a:gd name="connsiteX5" fmla="*/ 330931 w 330930"/>
              <a:gd name="connsiteY5" fmla="*/ 175953 h 358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930" h="358896">
                <a:moveTo>
                  <a:pt x="151482" y="358896"/>
                </a:moveTo>
                <a:lnTo>
                  <a:pt x="0" y="358896"/>
                </a:lnTo>
                <a:lnTo>
                  <a:pt x="177118" y="180613"/>
                </a:lnTo>
                <a:lnTo>
                  <a:pt x="0" y="0"/>
                </a:lnTo>
                <a:lnTo>
                  <a:pt x="154979" y="0"/>
                </a:lnTo>
                <a:lnTo>
                  <a:pt x="330931" y="175953"/>
                </a:lnTo>
                <a:close/>
              </a:path>
            </a:pathLst>
          </a:custGeom>
          <a:solidFill>
            <a:srgbClr val="EEF2F5"/>
          </a:solidFill>
          <a:ln w="11643" cap="flat">
            <a:noFill/>
            <a:prstDash val="solid"/>
            <a:miter/>
          </a:ln>
        </p:spPr>
        <p:txBody>
          <a:bodyPr rtlCol="0" anchor="ctr"/>
          <a:lstStyle/>
          <a:p>
            <a:endParaRPr lang="de-DE"/>
          </a:p>
        </p:txBody>
      </p:sp>
      <p:sp>
        <p:nvSpPr>
          <p:cNvPr id="270" name="Freihandform: Form 269">
            <a:extLst>
              <a:ext uri="{FF2B5EF4-FFF2-40B4-BE49-F238E27FC236}">
                <a16:creationId xmlns:a16="http://schemas.microsoft.com/office/drawing/2014/main" id="{54C328D2-472D-4AAA-B765-01BBCF86507D}"/>
              </a:ext>
            </a:extLst>
          </p:cNvPr>
          <p:cNvSpPr/>
          <p:nvPr userDrawn="1"/>
        </p:nvSpPr>
        <p:spPr>
          <a:xfrm>
            <a:off x="11494017" y="4059073"/>
            <a:ext cx="330930" cy="360061"/>
          </a:xfrm>
          <a:custGeom>
            <a:avLst/>
            <a:gdLst>
              <a:gd name="connsiteX0" fmla="*/ 151482 w 330930"/>
              <a:gd name="connsiteY0" fmla="*/ 360062 h 360061"/>
              <a:gd name="connsiteX1" fmla="*/ 0 w 330930"/>
              <a:gd name="connsiteY1" fmla="*/ 360062 h 360061"/>
              <a:gd name="connsiteX2" fmla="*/ 177118 w 330930"/>
              <a:gd name="connsiteY2" fmla="*/ 181779 h 360061"/>
              <a:gd name="connsiteX3" fmla="*/ 0 w 330930"/>
              <a:gd name="connsiteY3" fmla="*/ 0 h 360061"/>
              <a:gd name="connsiteX4" fmla="*/ 154979 w 330930"/>
              <a:gd name="connsiteY4" fmla="*/ 0 h 360061"/>
              <a:gd name="connsiteX5" fmla="*/ 330931 w 330930"/>
              <a:gd name="connsiteY5" fmla="*/ 177118 h 360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930" h="360061">
                <a:moveTo>
                  <a:pt x="151482" y="360062"/>
                </a:moveTo>
                <a:lnTo>
                  <a:pt x="0" y="360062"/>
                </a:lnTo>
                <a:lnTo>
                  <a:pt x="177118" y="181779"/>
                </a:lnTo>
                <a:lnTo>
                  <a:pt x="0" y="0"/>
                </a:lnTo>
                <a:lnTo>
                  <a:pt x="154979" y="0"/>
                </a:lnTo>
                <a:lnTo>
                  <a:pt x="330931" y="177118"/>
                </a:lnTo>
                <a:close/>
              </a:path>
            </a:pathLst>
          </a:custGeom>
          <a:solidFill>
            <a:srgbClr val="EEF2F5"/>
          </a:solidFill>
          <a:ln w="11643" cap="flat">
            <a:noFill/>
            <a:prstDash val="solid"/>
            <a:miter/>
          </a:ln>
        </p:spPr>
        <p:txBody>
          <a:bodyPr rtlCol="0" anchor="ctr"/>
          <a:lstStyle/>
          <a:p>
            <a:endParaRPr lang="de-DE"/>
          </a:p>
        </p:txBody>
      </p:sp>
      <p:sp>
        <p:nvSpPr>
          <p:cNvPr id="271" name="Freihandform: Form 270">
            <a:extLst>
              <a:ext uri="{FF2B5EF4-FFF2-40B4-BE49-F238E27FC236}">
                <a16:creationId xmlns:a16="http://schemas.microsoft.com/office/drawing/2014/main" id="{58A1ADF4-67BB-4B4F-97A2-C8981295C28E}"/>
              </a:ext>
            </a:extLst>
          </p:cNvPr>
          <p:cNvSpPr/>
          <p:nvPr userDrawn="1"/>
        </p:nvSpPr>
        <p:spPr>
          <a:xfrm>
            <a:off x="11494017" y="4414474"/>
            <a:ext cx="330930" cy="358896"/>
          </a:xfrm>
          <a:custGeom>
            <a:avLst/>
            <a:gdLst>
              <a:gd name="connsiteX0" fmla="*/ 151482 w 330930"/>
              <a:gd name="connsiteY0" fmla="*/ 358896 h 358896"/>
              <a:gd name="connsiteX1" fmla="*/ 0 w 330930"/>
              <a:gd name="connsiteY1" fmla="*/ 358896 h 358896"/>
              <a:gd name="connsiteX2" fmla="*/ 177118 w 330930"/>
              <a:gd name="connsiteY2" fmla="*/ 180613 h 358896"/>
              <a:gd name="connsiteX3" fmla="*/ 0 w 330930"/>
              <a:gd name="connsiteY3" fmla="*/ 0 h 358896"/>
              <a:gd name="connsiteX4" fmla="*/ 154979 w 330930"/>
              <a:gd name="connsiteY4" fmla="*/ 0 h 358896"/>
              <a:gd name="connsiteX5" fmla="*/ 330931 w 330930"/>
              <a:gd name="connsiteY5" fmla="*/ 175952 h 358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930" h="358896">
                <a:moveTo>
                  <a:pt x="151482" y="358896"/>
                </a:moveTo>
                <a:lnTo>
                  <a:pt x="0" y="358896"/>
                </a:lnTo>
                <a:lnTo>
                  <a:pt x="177118" y="180613"/>
                </a:lnTo>
                <a:lnTo>
                  <a:pt x="0" y="0"/>
                </a:lnTo>
                <a:lnTo>
                  <a:pt x="154979" y="0"/>
                </a:lnTo>
                <a:lnTo>
                  <a:pt x="330931" y="175952"/>
                </a:lnTo>
                <a:close/>
              </a:path>
            </a:pathLst>
          </a:custGeom>
          <a:solidFill>
            <a:srgbClr val="EEF2F5"/>
          </a:solidFill>
          <a:ln w="11643" cap="flat">
            <a:noFill/>
            <a:prstDash val="solid"/>
            <a:miter/>
          </a:ln>
        </p:spPr>
        <p:txBody>
          <a:bodyPr rtlCol="0" anchor="ctr"/>
          <a:lstStyle/>
          <a:p>
            <a:endParaRPr lang="de-DE"/>
          </a:p>
        </p:txBody>
      </p:sp>
      <p:sp>
        <p:nvSpPr>
          <p:cNvPr id="272" name="Freihandform: Form 271">
            <a:extLst>
              <a:ext uri="{FF2B5EF4-FFF2-40B4-BE49-F238E27FC236}">
                <a16:creationId xmlns:a16="http://schemas.microsoft.com/office/drawing/2014/main" id="{03415443-3F41-49F3-B60C-1201D9A263D5}"/>
              </a:ext>
            </a:extLst>
          </p:cNvPr>
          <p:cNvSpPr/>
          <p:nvPr userDrawn="1"/>
        </p:nvSpPr>
        <p:spPr>
          <a:xfrm>
            <a:off x="11494017" y="4768709"/>
            <a:ext cx="330930" cy="360061"/>
          </a:xfrm>
          <a:custGeom>
            <a:avLst/>
            <a:gdLst>
              <a:gd name="connsiteX0" fmla="*/ 151482 w 330930"/>
              <a:gd name="connsiteY0" fmla="*/ 360062 h 360061"/>
              <a:gd name="connsiteX1" fmla="*/ 0 w 330930"/>
              <a:gd name="connsiteY1" fmla="*/ 360062 h 360061"/>
              <a:gd name="connsiteX2" fmla="*/ 177118 w 330930"/>
              <a:gd name="connsiteY2" fmla="*/ 181779 h 360061"/>
              <a:gd name="connsiteX3" fmla="*/ 0 w 330930"/>
              <a:gd name="connsiteY3" fmla="*/ 0 h 360061"/>
              <a:gd name="connsiteX4" fmla="*/ 154979 w 330930"/>
              <a:gd name="connsiteY4" fmla="*/ 0 h 360061"/>
              <a:gd name="connsiteX5" fmla="*/ 330931 w 330930"/>
              <a:gd name="connsiteY5" fmla="*/ 177118 h 360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930" h="360061">
                <a:moveTo>
                  <a:pt x="151482" y="360062"/>
                </a:moveTo>
                <a:lnTo>
                  <a:pt x="0" y="360062"/>
                </a:lnTo>
                <a:lnTo>
                  <a:pt x="177118" y="181779"/>
                </a:lnTo>
                <a:lnTo>
                  <a:pt x="0" y="0"/>
                </a:lnTo>
                <a:lnTo>
                  <a:pt x="154979" y="0"/>
                </a:lnTo>
                <a:lnTo>
                  <a:pt x="330931" y="177118"/>
                </a:lnTo>
                <a:close/>
              </a:path>
            </a:pathLst>
          </a:custGeom>
          <a:solidFill>
            <a:srgbClr val="EEF2F5"/>
          </a:solidFill>
          <a:ln w="11643" cap="flat">
            <a:noFill/>
            <a:prstDash val="solid"/>
            <a:miter/>
          </a:ln>
        </p:spPr>
        <p:txBody>
          <a:bodyPr rtlCol="0" anchor="ctr"/>
          <a:lstStyle/>
          <a:p>
            <a:endParaRPr lang="de-DE"/>
          </a:p>
        </p:txBody>
      </p:sp>
      <p:sp>
        <p:nvSpPr>
          <p:cNvPr id="273" name="Freihandform: Form 272">
            <a:extLst>
              <a:ext uri="{FF2B5EF4-FFF2-40B4-BE49-F238E27FC236}">
                <a16:creationId xmlns:a16="http://schemas.microsoft.com/office/drawing/2014/main" id="{B563676F-D202-4871-9820-0E475258CF51}"/>
              </a:ext>
            </a:extLst>
          </p:cNvPr>
          <p:cNvSpPr/>
          <p:nvPr userDrawn="1"/>
        </p:nvSpPr>
        <p:spPr>
          <a:xfrm>
            <a:off x="11147939" y="3358759"/>
            <a:ext cx="314616" cy="341417"/>
          </a:xfrm>
          <a:custGeom>
            <a:avLst/>
            <a:gdLst>
              <a:gd name="connsiteX0" fmla="*/ 143325 w 314616"/>
              <a:gd name="connsiteY0" fmla="*/ 341418 h 341417"/>
              <a:gd name="connsiteX1" fmla="*/ 0 w 314616"/>
              <a:gd name="connsiteY1" fmla="*/ 341418 h 341417"/>
              <a:gd name="connsiteX2" fmla="*/ 167795 w 314616"/>
              <a:gd name="connsiteY2" fmla="*/ 172457 h 341417"/>
              <a:gd name="connsiteX3" fmla="*/ 0 w 314616"/>
              <a:gd name="connsiteY3" fmla="*/ 0 h 341417"/>
              <a:gd name="connsiteX4" fmla="*/ 146821 w 314616"/>
              <a:gd name="connsiteY4" fmla="*/ 0 h 341417"/>
              <a:gd name="connsiteX5" fmla="*/ 314617 w 314616"/>
              <a:gd name="connsiteY5" fmla="*/ 167796 h 341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4616" h="341417">
                <a:moveTo>
                  <a:pt x="143325" y="341418"/>
                </a:moveTo>
                <a:lnTo>
                  <a:pt x="0" y="341418"/>
                </a:lnTo>
                <a:lnTo>
                  <a:pt x="167795" y="172457"/>
                </a:lnTo>
                <a:lnTo>
                  <a:pt x="0" y="0"/>
                </a:lnTo>
                <a:lnTo>
                  <a:pt x="146821" y="0"/>
                </a:lnTo>
                <a:lnTo>
                  <a:pt x="314617" y="167796"/>
                </a:lnTo>
                <a:close/>
              </a:path>
            </a:pathLst>
          </a:custGeom>
          <a:solidFill>
            <a:srgbClr val="EEF2F5"/>
          </a:solidFill>
          <a:ln w="11643" cap="flat">
            <a:noFill/>
            <a:prstDash val="solid"/>
            <a:miter/>
          </a:ln>
        </p:spPr>
        <p:txBody>
          <a:bodyPr rtlCol="0" anchor="ctr"/>
          <a:lstStyle/>
          <a:p>
            <a:endParaRPr lang="de-DE"/>
          </a:p>
        </p:txBody>
      </p:sp>
      <p:sp>
        <p:nvSpPr>
          <p:cNvPr id="274" name="Freihandform: Form 273">
            <a:extLst>
              <a:ext uri="{FF2B5EF4-FFF2-40B4-BE49-F238E27FC236}">
                <a16:creationId xmlns:a16="http://schemas.microsoft.com/office/drawing/2014/main" id="{5D770B4B-8FDA-4BEE-9FFB-F30316599C4D}"/>
              </a:ext>
            </a:extLst>
          </p:cNvPr>
          <p:cNvSpPr/>
          <p:nvPr userDrawn="1"/>
        </p:nvSpPr>
        <p:spPr>
          <a:xfrm>
            <a:off x="11147939" y="3714159"/>
            <a:ext cx="314616" cy="340252"/>
          </a:xfrm>
          <a:custGeom>
            <a:avLst/>
            <a:gdLst>
              <a:gd name="connsiteX0" fmla="*/ 143325 w 314616"/>
              <a:gd name="connsiteY0" fmla="*/ 340252 h 340252"/>
              <a:gd name="connsiteX1" fmla="*/ 0 w 314616"/>
              <a:gd name="connsiteY1" fmla="*/ 340252 h 340252"/>
              <a:gd name="connsiteX2" fmla="*/ 167795 w 314616"/>
              <a:gd name="connsiteY2" fmla="*/ 171291 h 340252"/>
              <a:gd name="connsiteX3" fmla="*/ 0 w 314616"/>
              <a:gd name="connsiteY3" fmla="*/ 0 h 340252"/>
              <a:gd name="connsiteX4" fmla="*/ 146821 w 314616"/>
              <a:gd name="connsiteY4" fmla="*/ 0 h 340252"/>
              <a:gd name="connsiteX5" fmla="*/ 314617 w 314616"/>
              <a:gd name="connsiteY5" fmla="*/ 166631 h 340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4616" h="340252">
                <a:moveTo>
                  <a:pt x="143325" y="340252"/>
                </a:moveTo>
                <a:lnTo>
                  <a:pt x="0" y="340252"/>
                </a:lnTo>
                <a:lnTo>
                  <a:pt x="167795" y="171291"/>
                </a:lnTo>
                <a:lnTo>
                  <a:pt x="0" y="0"/>
                </a:lnTo>
                <a:lnTo>
                  <a:pt x="146821" y="0"/>
                </a:lnTo>
                <a:lnTo>
                  <a:pt x="314617" y="166631"/>
                </a:lnTo>
                <a:close/>
              </a:path>
            </a:pathLst>
          </a:custGeom>
          <a:solidFill>
            <a:srgbClr val="EEF2F5"/>
          </a:solidFill>
          <a:ln w="11643" cap="flat">
            <a:noFill/>
            <a:prstDash val="solid"/>
            <a:miter/>
          </a:ln>
        </p:spPr>
        <p:txBody>
          <a:bodyPr rtlCol="0" anchor="ctr"/>
          <a:lstStyle/>
          <a:p>
            <a:endParaRPr lang="de-DE"/>
          </a:p>
        </p:txBody>
      </p:sp>
      <p:sp>
        <p:nvSpPr>
          <p:cNvPr id="275" name="Freihandform: Form 274">
            <a:extLst>
              <a:ext uri="{FF2B5EF4-FFF2-40B4-BE49-F238E27FC236}">
                <a16:creationId xmlns:a16="http://schemas.microsoft.com/office/drawing/2014/main" id="{81054F7A-CDD6-4293-8A5B-F202CD55CF17}"/>
              </a:ext>
            </a:extLst>
          </p:cNvPr>
          <p:cNvSpPr/>
          <p:nvPr userDrawn="1"/>
        </p:nvSpPr>
        <p:spPr>
          <a:xfrm>
            <a:off x="11147939" y="4068395"/>
            <a:ext cx="314616" cy="341417"/>
          </a:xfrm>
          <a:custGeom>
            <a:avLst/>
            <a:gdLst>
              <a:gd name="connsiteX0" fmla="*/ 143325 w 314616"/>
              <a:gd name="connsiteY0" fmla="*/ 341418 h 341417"/>
              <a:gd name="connsiteX1" fmla="*/ 0 w 314616"/>
              <a:gd name="connsiteY1" fmla="*/ 341418 h 341417"/>
              <a:gd name="connsiteX2" fmla="*/ 167795 w 314616"/>
              <a:gd name="connsiteY2" fmla="*/ 172457 h 341417"/>
              <a:gd name="connsiteX3" fmla="*/ 0 w 314616"/>
              <a:gd name="connsiteY3" fmla="*/ 0 h 341417"/>
              <a:gd name="connsiteX4" fmla="*/ 146821 w 314616"/>
              <a:gd name="connsiteY4" fmla="*/ 0 h 341417"/>
              <a:gd name="connsiteX5" fmla="*/ 314617 w 314616"/>
              <a:gd name="connsiteY5" fmla="*/ 167796 h 341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4616" h="341417">
                <a:moveTo>
                  <a:pt x="143325" y="341418"/>
                </a:moveTo>
                <a:lnTo>
                  <a:pt x="0" y="341418"/>
                </a:lnTo>
                <a:lnTo>
                  <a:pt x="167795" y="172457"/>
                </a:lnTo>
                <a:lnTo>
                  <a:pt x="0" y="0"/>
                </a:lnTo>
                <a:lnTo>
                  <a:pt x="146821" y="0"/>
                </a:lnTo>
                <a:lnTo>
                  <a:pt x="314617" y="167796"/>
                </a:lnTo>
                <a:close/>
              </a:path>
            </a:pathLst>
          </a:custGeom>
          <a:solidFill>
            <a:srgbClr val="EEF2F5"/>
          </a:solidFill>
          <a:ln w="11643" cap="flat">
            <a:noFill/>
            <a:prstDash val="solid"/>
            <a:miter/>
          </a:ln>
        </p:spPr>
        <p:txBody>
          <a:bodyPr rtlCol="0" anchor="ctr"/>
          <a:lstStyle/>
          <a:p>
            <a:endParaRPr lang="de-DE"/>
          </a:p>
        </p:txBody>
      </p:sp>
      <p:sp>
        <p:nvSpPr>
          <p:cNvPr id="276" name="Freihandform: Form 275">
            <a:extLst>
              <a:ext uri="{FF2B5EF4-FFF2-40B4-BE49-F238E27FC236}">
                <a16:creationId xmlns:a16="http://schemas.microsoft.com/office/drawing/2014/main" id="{AC7F4FB6-F7E9-413D-A12F-625B3C9B48F7}"/>
              </a:ext>
            </a:extLst>
          </p:cNvPr>
          <p:cNvSpPr/>
          <p:nvPr userDrawn="1"/>
        </p:nvSpPr>
        <p:spPr>
          <a:xfrm>
            <a:off x="11147939" y="4423796"/>
            <a:ext cx="314616" cy="340252"/>
          </a:xfrm>
          <a:custGeom>
            <a:avLst/>
            <a:gdLst>
              <a:gd name="connsiteX0" fmla="*/ 143325 w 314616"/>
              <a:gd name="connsiteY0" fmla="*/ 340252 h 340252"/>
              <a:gd name="connsiteX1" fmla="*/ 0 w 314616"/>
              <a:gd name="connsiteY1" fmla="*/ 340252 h 340252"/>
              <a:gd name="connsiteX2" fmla="*/ 167795 w 314616"/>
              <a:gd name="connsiteY2" fmla="*/ 171291 h 340252"/>
              <a:gd name="connsiteX3" fmla="*/ 0 w 314616"/>
              <a:gd name="connsiteY3" fmla="*/ 0 h 340252"/>
              <a:gd name="connsiteX4" fmla="*/ 146821 w 314616"/>
              <a:gd name="connsiteY4" fmla="*/ 0 h 340252"/>
              <a:gd name="connsiteX5" fmla="*/ 314617 w 314616"/>
              <a:gd name="connsiteY5" fmla="*/ 167796 h 340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4616" h="340252">
                <a:moveTo>
                  <a:pt x="143325" y="340252"/>
                </a:moveTo>
                <a:lnTo>
                  <a:pt x="0" y="340252"/>
                </a:lnTo>
                <a:lnTo>
                  <a:pt x="167795" y="171291"/>
                </a:lnTo>
                <a:lnTo>
                  <a:pt x="0" y="0"/>
                </a:lnTo>
                <a:lnTo>
                  <a:pt x="146821" y="0"/>
                </a:lnTo>
                <a:lnTo>
                  <a:pt x="314617" y="167796"/>
                </a:lnTo>
                <a:close/>
              </a:path>
            </a:pathLst>
          </a:custGeom>
          <a:solidFill>
            <a:srgbClr val="EEF2F5"/>
          </a:solidFill>
          <a:ln w="11643" cap="flat">
            <a:noFill/>
            <a:prstDash val="solid"/>
            <a:miter/>
          </a:ln>
        </p:spPr>
        <p:txBody>
          <a:bodyPr rtlCol="0" anchor="ctr"/>
          <a:lstStyle/>
          <a:p>
            <a:endParaRPr lang="de-DE"/>
          </a:p>
        </p:txBody>
      </p:sp>
      <p:sp>
        <p:nvSpPr>
          <p:cNvPr id="277" name="Freihandform: Form 276">
            <a:extLst>
              <a:ext uri="{FF2B5EF4-FFF2-40B4-BE49-F238E27FC236}">
                <a16:creationId xmlns:a16="http://schemas.microsoft.com/office/drawing/2014/main" id="{E0FCE453-708E-4F94-ABB2-11D8FE79AB20}"/>
              </a:ext>
            </a:extLst>
          </p:cNvPr>
          <p:cNvSpPr/>
          <p:nvPr userDrawn="1"/>
        </p:nvSpPr>
        <p:spPr>
          <a:xfrm>
            <a:off x="11147939" y="4778031"/>
            <a:ext cx="314616" cy="341417"/>
          </a:xfrm>
          <a:custGeom>
            <a:avLst/>
            <a:gdLst>
              <a:gd name="connsiteX0" fmla="*/ 143325 w 314616"/>
              <a:gd name="connsiteY0" fmla="*/ 341418 h 341417"/>
              <a:gd name="connsiteX1" fmla="*/ 0 w 314616"/>
              <a:gd name="connsiteY1" fmla="*/ 341418 h 341417"/>
              <a:gd name="connsiteX2" fmla="*/ 167795 w 314616"/>
              <a:gd name="connsiteY2" fmla="*/ 172457 h 341417"/>
              <a:gd name="connsiteX3" fmla="*/ 0 w 314616"/>
              <a:gd name="connsiteY3" fmla="*/ 0 h 341417"/>
              <a:gd name="connsiteX4" fmla="*/ 146821 w 314616"/>
              <a:gd name="connsiteY4" fmla="*/ 0 h 341417"/>
              <a:gd name="connsiteX5" fmla="*/ 314617 w 314616"/>
              <a:gd name="connsiteY5" fmla="*/ 167796 h 341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4616" h="341417">
                <a:moveTo>
                  <a:pt x="143325" y="341418"/>
                </a:moveTo>
                <a:lnTo>
                  <a:pt x="0" y="341418"/>
                </a:lnTo>
                <a:lnTo>
                  <a:pt x="167795" y="172457"/>
                </a:lnTo>
                <a:lnTo>
                  <a:pt x="0" y="0"/>
                </a:lnTo>
                <a:lnTo>
                  <a:pt x="146821" y="0"/>
                </a:lnTo>
                <a:lnTo>
                  <a:pt x="314617" y="167796"/>
                </a:lnTo>
                <a:close/>
              </a:path>
            </a:pathLst>
          </a:custGeom>
          <a:solidFill>
            <a:srgbClr val="EEF2F5"/>
          </a:solidFill>
          <a:ln w="11643" cap="flat">
            <a:noFill/>
            <a:prstDash val="solid"/>
            <a:miter/>
          </a:ln>
        </p:spPr>
        <p:txBody>
          <a:bodyPr rtlCol="0" anchor="ctr"/>
          <a:lstStyle/>
          <a:p>
            <a:endParaRPr lang="de-DE"/>
          </a:p>
        </p:txBody>
      </p:sp>
      <p:sp>
        <p:nvSpPr>
          <p:cNvPr id="278" name="Freihandform: Form 277">
            <a:extLst>
              <a:ext uri="{FF2B5EF4-FFF2-40B4-BE49-F238E27FC236}">
                <a16:creationId xmlns:a16="http://schemas.microsoft.com/office/drawing/2014/main" id="{1688DC58-ADCC-47C8-9C44-0BF9CDA63828}"/>
              </a:ext>
            </a:extLst>
          </p:cNvPr>
          <p:cNvSpPr/>
          <p:nvPr userDrawn="1"/>
        </p:nvSpPr>
        <p:spPr>
          <a:xfrm>
            <a:off x="11147939" y="5133432"/>
            <a:ext cx="314616" cy="341417"/>
          </a:xfrm>
          <a:custGeom>
            <a:avLst/>
            <a:gdLst>
              <a:gd name="connsiteX0" fmla="*/ 143325 w 314616"/>
              <a:gd name="connsiteY0" fmla="*/ 341418 h 341417"/>
              <a:gd name="connsiteX1" fmla="*/ 0 w 314616"/>
              <a:gd name="connsiteY1" fmla="*/ 341418 h 341417"/>
              <a:gd name="connsiteX2" fmla="*/ 167795 w 314616"/>
              <a:gd name="connsiteY2" fmla="*/ 171292 h 341417"/>
              <a:gd name="connsiteX3" fmla="*/ 0 w 314616"/>
              <a:gd name="connsiteY3" fmla="*/ 0 h 341417"/>
              <a:gd name="connsiteX4" fmla="*/ 146821 w 314616"/>
              <a:gd name="connsiteY4" fmla="*/ 0 h 341417"/>
              <a:gd name="connsiteX5" fmla="*/ 314617 w 314616"/>
              <a:gd name="connsiteY5" fmla="*/ 167796 h 341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4616" h="341417">
                <a:moveTo>
                  <a:pt x="143325" y="341418"/>
                </a:moveTo>
                <a:lnTo>
                  <a:pt x="0" y="341418"/>
                </a:lnTo>
                <a:lnTo>
                  <a:pt x="167795" y="171292"/>
                </a:lnTo>
                <a:lnTo>
                  <a:pt x="0" y="0"/>
                </a:lnTo>
                <a:lnTo>
                  <a:pt x="146821" y="0"/>
                </a:lnTo>
                <a:lnTo>
                  <a:pt x="314617" y="167796"/>
                </a:lnTo>
                <a:close/>
              </a:path>
            </a:pathLst>
          </a:custGeom>
          <a:solidFill>
            <a:srgbClr val="EEF2F5"/>
          </a:solidFill>
          <a:ln w="11643" cap="flat">
            <a:noFill/>
            <a:prstDash val="solid"/>
            <a:miter/>
          </a:ln>
        </p:spPr>
        <p:txBody>
          <a:bodyPr rtlCol="0" anchor="ctr"/>
          <a:lstStyle/>
          <a:p>
            <a:endParaRPr lang="de-DE"/>
          </a:p>
        </p:txBody>
      </p:sp>
      <p:sp>
        <p:nvSpPr>
          <p:cNvPr id="279" name="Freihandform: Form 278">
            <a:extLst>
              <a:ext uri="{FF2B5EF4-FFF2-40B4-BE49-F238E27FC236}">
                <a16:creationId xmlns:a16="http://schemas.microsoft.com/office/drawing/2014/main" id="{4BBABDFE-BB76-4C3E-8755-4E50356E6B42}"/>
              </a:ext>
            </a:extLst>
          </p:cNvPr>
          <p:cNvSpPr/>
          <p:nvPr userDrawn="1"/>
        </p:nvSpPr>
        <p:spPr>
          <a:xfrm>
            <a:off x="10801860" y="3012680"/>
            <a:ext cx="297138" cy="323938"/>
          </a:xfrm>
          <a:custGeom>
            <a:avLst/>
            <a:gdLst>
              <a:gd name="connsiteX0" fmla="*/ 135168 w 297138"/>
              <a:gd name="connsiteY0" fmla="*/ 323939 h 323938"/>
              <a:gd name="connsiteX1" fmla="*/ 0 w 297138"/>
              <a:gd name="connsiteY1" fmla="*/ 323939 h 323938"/>
              <a:gd name="connsiteX2" fmla="*/ 158473 w 297138"/>
              <a:gd name="connsiteY2" fmla="*/ 163135 h 323938"/>
              <a:gd name="connsiteX3" fmla="*/ 0 w 297138"/>
              <a:gd name="connsiteY3" fmla="*/ 0 h 323938"/>
              <a:gd name="connsiteX4" fmla="*/ 138664 w 297138"/>
              <a:gd name="connsiteY4" fmla="*/ 0 h 323938"/>
              <a:gd name="connsiteX5" fmla="*/ 297138 w 297138"/>
              <a:gd name="connsiteY5" fmla="*/ 159639 h 323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3938">
                <a:moveTo>
                  <a:pt x="135168" y="323939"/>
                </a:moveTo>
                <a:lnTo>
                  <a:pt x="0" y="323939"/>
                </a:lnTo>
                <a:lnTo>
                  <a:pt x="158473" y="163135"/>
                </a:lnTo>
                <a:lnTo>
                  <a:pt x="0" y="0"/>
                </a:lnTo>
                <a:lnTo>
                  <a:pt x="138664" y="0"/>
                </a:lnTo>
                <a:lnTo>
                  <a:pt x="297138" y="159639"/>
                </a:lnTo>
                <a:close/>
              </a:path>
            </a:pathLst>
          </a:custGeom>
          <a:solidFill>
            <a:srgbClr val="EEF2F5"/>
          </a:solidFill>
          <a:ln w="11643" cap="flat">
            <a:noFill/>
            <a:prstDash val="solid"/>
            <a:miter/>
          </a:ln>
        </p:spPr>
        <p:txBody>
          <a:bodyPr rtlCol="0" anchor="ctr"/>
          <a:lstStyle/>
          <a:p>
            <a:endParaRPr lang="de-DE"/>
          </a:p>
        </p:txBody>
      </p:sp>
      <p:sp>
        <p:nvSpPr>
          <p:cNvPr id="280" name="Freihandform: Form 279">
            <a:extLst>
              <a:ext uri="{FF2B5EF4-FFF2-40B4-BE49-F238E27FC236}">
                <a16:creationId xmlns:a16="http://schemas.microsoft.com/office/drawing/2014/main" id="{98875BAD-35D6-4908-B226-48D549F12C09}"/>
              </a:ext>
            </a:extLst>
          </p:cNvPr>
          <p:cNvSpPr/>
          <p:nvPr userDrawn="1"/>
        </p:nvSpPr>
        <p:spPr>
          <a:xfrm>
            <a:off x="10801860" y="3368081"/>
            <a:ext cx="297138" cy="322773"/>
          </a:xfrm>
          <a:custGeom>
            <a:avLst/>
            <a:gdLst>
              <a:gd name="connsiteX0" fmla="*/ 135168 w 297138"/>
              <a:gd name="connsiteY0" fmla="*/ 322774 h 322773"/>
              <a:gd name="connsiteX1" fmla="*/ 0 w 297138"/>
              <a:gd name="connsiteY1" fmla="*/ 322774 h 322773"/>
              <a:gd name="connsiteX2" fmla="*/ 158473 w 297138"/>
              <a:gd name="connsiteY2" fmla="*/ 163135 h 322773"/>
              <a:gd name="connsiteX3" fmla="*/ 0 w 297138"/>
              <a:gd name="connsiteY3" fmla="*/ 0 h 322773"/>
              <a:gd name="connsiteX4" fmla="*/ 138664 w 297138"/>
              <a:gd name="connsiteY4" fmla="*/ 0 h 322773"/>
              <a:gd name="connsiteX5" fmla="*/ 297138 w 297138"/>
              <a:gd name="connsiteY5" fmla="*/ 158474 h 322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2773">
                <a:moveTo>
                  <a:pt x="135168" y="322774"/>
                </a:moveTo>
                <a:lnTo>
                  <a:pt x="0" y="322774"/>
                </a:lnTo>
                <a:lnTo>
                  <a:pt x="158473" y="163135"/>
                </a:lnTo>
                <a:lnTo>
                  <a:pt x="0" y="0"/>
                </a:lnTo>
                <a:lnTo>
                  <a:pt x="138664" y="0"/>
                </a:lnTo>
                <a:lnTo>
                  <a:pt x="297138" y="158474"/>
                </a:lnTo>
                <a:close/>
              </a:path>
            </a:pathLst>
          </a:custGeom>
          <a:solidFill>
            <a:srgbClr val="EEF2F5"/>
          </a:solidFill>
          <a:ln w="11643" cap="flat">
            <a:noFill/>
            <a:prstDash val="solid"/>
            <a:miter/>
          </a:ln>
        </p:spPr>
        <p:txBody>
          <a:bodyPr rtlCol="0" anchor="ctr"/>
          <a:lstStyle/>
          <a:p>
            <a:endParaRPr lang="de-DE"/>
          </a:p>
        </p:txBody>
      </p:sp>
      <p:sp>
        <p:nvSpPr>
          <p:cNvPr id="281" name="Freihandform: Form 280">
            <a:extLst>
              <a:ext uri="{FF2B5EF4-FFF2-40B4-BE49-F238E27FC236}">
                <a16:creationId xmlns:a16="http://schemas.microsoft.com/office/drawing/2014/main" id="{A3786D8D-2CF9-4026-A5B0-E8C239DB08E8}"/>
              </a:ext>
            </a:extLst>
          </p:cNvPr>
          <p:cNvSpPr/>
          <p:nvPr userDrawn="1"/>
        </p:nvSpPr>
        <p:spPr>
          <a:xfrm>
            <a:off x="10801860" y="3722316"/>
            <a:ext cx="297138" cy="323938"/>
          </a:xfrm>
          <a:custGeom>
            <a:avLst/>
            <a:gdLst>
              <a:gd name="connsiteX0" fmla="*/ 135168 w 297138"/>
              <a:gd name="connsiteY0" fmla="*/ 323939 h 323938"/>
              <a:gd name="connsiteX1" fmla="*/ 0 w 297138"/>
              <a:gd name="connsiteY1" fmla="*/ 323939 h 323938"/>
              <a:gd name="connsiteX2" fmla="*/ 158473 w 297138"/>
              <a:gd name="connsiteY2" fmla="*/ 163135 h 323938"/>
              <a:gd name="connsiteX3" fmla="*/ 0 w 297138"/>
              <a:gd name="connsiteY3" fmla="*/ 0 h 323938"/>
              <a:gd name="connsiteX4" fmla="*/ 138664 w 297138"/>
              <a:gd name="connsiteY4" fmla="*/ 0 h 323938"/>
              <a:gd name="connsiteX5" fmla="*/ 297138 w 297138"/>
              <a:gd name="connsiteY5" fmla="*/ 159639 h 323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3938">
                <a:moveTo>
                  <a:pt x="135168" y="323939"/>
                </a:moveTo>
                <a:lnTo>
                  <a:pt x="0" y="323939"/>
                </a:lnTo>
                <a:lnTo>
                  <a:pt x="158473" y="163135"/>
                </a:lnTo>
                <a:lnTo>
                  <a:pt x="0" y="0"/>
                </a:lnTo>
                <a:lnTo>
                  <a:pt x="138664" y="0"/>
                </a:lnTo>
                <a:lnTo>
                  <a:pt x="297138" y="159639"/>
                </a:lnTo>
                <a:close/>
              </a:path>
            </a:pathLst>
          </a:custGeom>
          <a:solidFill>
            <a:srgbClr val="EEF2F5"/>
          </a:solidFill>
          <a:ln w="11643" cap="flat">
            <a:noFill/>
            <a:prstDash val="solid"/>
            <a:miter/>
          </a:ln>
        </p:spPr>
        <p:txBody>
          <a:bodyPr rtlCol="0" anchor="ctr"/>
          <a:lstStyle/>
          <a:p>
            <a:endParaRPr lang="de-DE"/>
          </a:p>
        </p:txBody>
      </p:sp>
      <p:sp>
        <p:nvSpPr>
          <p:cNvPr id="282" name="Freihandform: Form 281">
            <a:extLst>
              <a:ext uri="{FF2B5EF4-FFF2-40B4-BE49-F238E27FC236}">
                <a16:creationId xmlns:a16="http://schemas.microsoft.com/office/drawing/2014/main" id="{AEC1ECE3-8272-4B6A-A4AD-2D7BCC4A4396}"/>
              </a:ext>
            </a:extLst>
          </p:cNvPr>
          <p:cNvSpPr/>
          <p:nvPr userDrawn="1"/>
        </p:nvSpPr>
        <p:spPr>
          <a:xfrm>
            <a:off x="10801860" y="4077717"/>
            <a:ext cx="297138" cy="322773"/>
          </a:xfrm>
          <a:custGeom>
            <a:avLst/>
            <a:gdLst>
              <a:gd name="connsiteX0" fmla="*/ 135168 w 297138"/>
              <a:gd name="connsiteY0" fmla="*/ 322774 h 322773"/>
              <a:gd name="connsiteX1" fmla="*/ 0 w 297138"/>
              <a:gd name="connsiteY1" fmla="*/ 322774 h 322773"/>
              <a:gd name="connsiteX2" fmla="*/ 158473 w 297138"/>
              <a:gd name="connsiteY2" fmla="*/ 163135 h 322773"/>
              <a:gd name="connsiteX3" fmla="*/ 0 w 297138"/>
              <a:gd name="connsiteY3" fmla="*/ 0 h 322773"/>
              <a:gd name="connsiteX4" fmla="*/ 138664 w 297138"/>
              <a:gd name="connsiteY4" fmla="*/ 0 h 322773"/>
              <a:gd name="connsiteX5" fmla="*/ 297138 w 297138"/>
              <a:gd name="connsiteY5" fmla="*/ 158474 h 322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2773">
                <a:moveTo>
                  <a:pt x="135168" y="322774"/>
                </a:moveTo>
                <a:lnTo>
                  <a:pt x="0" y="322774"/>
                </a:lnTo>
                <a:lnTo>
                  <a:pt x="158473" y="163135"/>
                </a:lnTo>
                <a:lnTo>
                  <a:pt x="0" y="0"/>
                </a:lnTo>
                <a:lnTo>
                  <a:pt x="138664" y="0"/>
                </a:lnTo>
                <a:lnTo>
                  <a:pt x="297138" y="158474"/>
                </a:lnTo>
                <a:close/>
              </a:path>
            </a:pathLst>
          </a:custGeom>
          <a:solidFill>
            <a:srgbClr val="EEF2F5"/>
          </a:solidFill>
          <a:ln w="11643" cap="flat">
            <a:noFill/>
            <a:prstDash val="solid"/>
            <a:miter/>
          </a:ln>
        </p:spPr>
        <p:txBody>
          <a:bodyPr rtlCol="0" anchor="ctr"/>
          <a:lstStyle/>
          <a:p>
            <a:endParaRPr lang="de-DE"/>
          </a:p>
        </p:txBody>
      </p:sp>
      <p:sp>
        <p:nvSpPr>
          <p:cNvPr id="283" name="Freihandform: Form 282">
            <a:extLst>
              <a:ext uri="{FF2B5EF4-FFF2-40B4-BE49-F238E27FC236}">
                <a16:creationId xmlns:a16="http://schemas.microsoft.com/office/drawing/2014/main" id="{AE0C999C-538B-4F36-A290-CBF6573F3D46}"/>
              </a:ext>
            </a:extLst>
          </p:cNvPr>
          <p:cNvSpPr/>
          <p:nvPr userDrawn="1"/>
        </p:nvSpPr>
        <p:spPr>
          <a:xfrm>
            <a:off x="10801860" y="4431952"/>
            <a:ext cx="297138" cy="323938"/>
          </a:xfrm>
          <a:custGeom>
            <a:avLst/>
            <a:gdLst>
              <a:gd name="connsiteX0" fmla="*/ 135168 w 297138"/>
              <a:gd name="connsiteY0" fmla="*/ 323939 h 323938"/>
              <a:gd name="connsiteX1" fmla="*/ 0 w 297138"/>
              <a:gd name="connsiteY1" fmla="*/ 323939 h 323938"/>
              <a:gd name="connsiteX2" fmla="*/ 158473 w 297138"/>
              <a:gd name="connsiteY2" fmla="*/ 163135 h 323938"/>
              <a:gd name="connsiteX3" fmla="*/ 0 w 297138"/>
              <a:gd name="connsiteY3" fmla="*/ 0 h 323938"/>
              <a:gd name="connsiteX4" fmla="*/ 138664 w 297138"/>
              <a:gd name="connsiteY4" fmla="*/ 0 h 323938"/>
              <a:gd name="connsiteX5" fmla="*/ 297138 w 297138"/>
              <a:gd name="connsiteY5" fmla="*/ 159639 h 323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3938">
                <a:moveTo>
                  <a:pt x="135168" y="323939"/>
                </a:moveTo>
                <a:lnTo>
                  <a:pt x="0" y="323939"/>
                </a:lnTo>
                <a:lnTo>
                  <a:pt x="158473" y="163135"/>
                </a:lnTo>
                <a:lnTo>
                  <a:pt x="0" y="0"/>
                </a:lnTo>
                <a:lnTo>
                  <a:pt x="138664" y="0"/>
                </a:lnTo>
                <a:lnTo>
                  <a:pt x="297138" y="159639"/>
                </a:lnTo>
                <a:close/>
              </a:path>
            </a:pathLst>
          </a:custGeom>
          <a:solidFill>
            <a:srgbClr val="EEF2F5"/>
          </a:solidFill>
          <a:ln w="11643" cap="flat">
            <a:noFill/>
            <a:prstDash val="solid"/>
            <a:miter/>
          </a:ln>
        </p:spPr>
        <p:txBody>
          <a:bodyPr rtlCol="0" anchor="ctr"/>
          <a:lstStyle/>
          <a:p>
            <a:endParaRPr lang="de-DE"/>
          </a:p>
        </p:txBody>
      </p:sp>
      <p:sp>
        <p:nvSpPr>
          <p:cNvPr id="284" name="Freihandform: Form 283">
            <a:extLst>
              <a:ext uri="{FF2B5EF4-FFF2-40B4-BE49-F238E27FC236}">
                <a16:creationId xmlns:a16="http://schemas.microsoft.com/office/drawing/2014/main" id="{9674E7D6-971D-46D3-B314-1208718A631D}"/>
              </a:ext>
            </a:extLst>
          </p:cNvPr>
          <p:cNvSpPr/>
          <p:nvPr userDrawn="1"/>
        </p:nvSpPr>
        <p:spPr>
          <a:xfrm>
            <a:off x="10801860" y="4787353"/>
            <a:ext cx="297138" cy="322773"/>
          </a:xfrm>
          <a:custGeom>
            <a:avLst/>
            <a:gdLst>
              <a:gd name="connsiteX0" fmla="*/ 135168 w 297138"/>
              <a:gd name="connsiteY0" fmla="*/ 322774 h 322773"/>
              <a:gd name="connsiteX1" fmla="*/ 0 w 297138"/>
              <a:gd name="connsiteY1" fmla="*/ 322774 h 322773"/>
              <a:gd name="connsiteX2" fmla="*/ 158473 w 297138"/>
              <a:gd name="connsiteY2" fmla="*/ 163135 h 322773"/>
              <a:gd name="connsiteX3" fmla="*/ 0 w 297138"/>
              <a:gd name="connsiteY3" fmla="*/ 0 h 322773"/>
              <a:gd name="connsiteX4" fmla="*/ 138664 w 297138"/>
              <a:gd name="connsiteY4" fmla="*/ 0 h 322773"/>
              <a:gd name="connsiteX5" fmla="*/ 297138 w 297138"/>
              <a:gd name="connsiteY5" fmla="*/ 158474 h 322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2773">
                <a:moveTo>
                  <a:pt x="135168" y="322774"/>
                </a:moveTo>
                <a:lnTo>
                  <a:pt x="0" y="322774"/>
                </a:lnTo>
                <a:lnTo>
                  <a:pt x="158473" y="163135"/>
                </a:lnTo>
                <a:lnTo>
                  <a:pt x="0" y="0"/>
                </a:lnTo>
                <a:lnTo>
                  <a:pt x="138664" y="0"/>
                </a:lnTo>
                <a:lnTo>
                  <a:pt x="297138" y="158474"/>
                </a:lnTo>
                <a:close/>
              </a:path>
            </a:pathLst>
          </a:custGeom>
          <a:solidFill>
            <a:srgbClr val="EEF2F5"/>
          </a:solidFill>
          <a:ln w="11643" cap="flat">
            <a:noFill/>
            <a:prstDash val="solid"/>
            <a:miter/>
          </a:ln>
        </p:spPr>
        <p:txBody>
          <a:bodyPr rtlCol="0" anchor="ctr"/>
          <a:lstStyle/>
          <a:p>
            <a:endParaRPr lang="de-DE"/>
          </a:p>
        </p:txBody>
      </p:sp>
      <p:sp>
        <p:nvSpPr>
          <p:cNvPr id="285" name="Freihandform: Form 284">
            <a:extLst>
              <a:ext uri="{FF2B5EF4-FFF2-40B4-BE49-F238E27FC236}">
                <a16:creationId xmlns:a16="http://schemas.microsoft.com/office/drawing/2014/main" id="{C0A29B2A-FB03-4D46-B29E-FADF405DF664}"/>
              </a:ext>
            </a:extLst>
          </p:cNvPr>
          <p:cNvSpPr/>
          <p:nvPr userDrawn="1"/>
        </p:nvSpPr>
        <p:spPr>
          <a:xfrm>
            <a:off x="10801860" y="5141588"/>
            <a:ext cx="297138" cy="323938"/>
          </a:xfrm>
          <a:custGeom>
            <a:avLst/>
            <a:gdLst>
              <a:gd name="connsiteX0" fmla="*/ 135168 w 297138"/>
              <a:gd name="connsiteY0" fmla="*/ 323939 h 323938"/>
              <a:gd name="connsiteX1" fmla="*/ 0 w 297138"/>
              <a:gd name="connsiteY1" fmla="*/ 323939 h 323938"/>
              <a:gd name="connsiteX2" fmla="*/ 158473 w 297138"/>
              <a:gd name="connsiteY2" fmla="*/ 163135 h 323938"/>
              <a:gd name="connsiteX3" fmla="*/ 0 w 297138"/>
              <a:gd name="connsiteY3" fmla="*/ 0 h 323938"/>
              <a:gd name="connsiteX4" fmla="*/ 138664 w 297138"/>
              <a:gd name="connsiteY4" fmla="*/ 0 h 323938"/>
              <a:gd name="connsiteX5" fmla="*/ 297138 w 297138"/>
              <a:gd name="connsiteY5" fmla="*/ 159639 h 323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3938">
                <a:moveTo>
                  <a:pt x="135168" y="323939"/>
                </a:moveTo>
                <a:lnTo>
                  <a:pt x="0" y="323939"/>
                </a:lnTo>
                <a:lnTo>
                  <a:pt x="158473" y="163135"/>
                </a:lnTo>
                <a:lnTo>
                  <a:pt x="0" y="0"/>
                </a:lnTo>
                <a:lnTo>
                  <a:pt x="138664" y="0"/>
                </a:lnTo>
                <a:lnTo>
                  <a:pt x="297138" y="159639"/>
                </a:lnTo>
                <a:close/>
              </a:path>
            </a:pathLst>
          </a:custGeom>
          <a:solidFill>
            <a:srgbClr val="EEF2F5"/>
          </a:solidFill>
          <a:ln w="11643" cap="flat">
            <a:noFill/>
            <a:prstDash val="solid"/>
            <a:miter/>
          </a:ln>
        </p:spPr>
        <p:txBody>
          <a:bodyPr rtlCol="0" anchor="ctr"/>
          <a:lstStyle/>
          <a:p>
            <a:endParaRPr lang="de-DE"/>
          </a:p>
        </p:txBody>
      </p:sp>
      <p:sp>
        <p:nvSpPr>
          <p:cNvPr id="286" name="Freihandform: Form 285">
            <a:extLst>
              <a:ext uri="{FF2B5EF4-FFF2-40B4-BE49-F238E27FC236}">
                <a16:creationId xmlns:a16="http://schemas.microsoft.com/office/drawing/2014/main" id="{76B80CB3-70F6-43A2-8457-55ED0DB8131D}"/>
              </a:ext>
            </a:extLst>
          </p:cNvPr>
          <p:cNvSpPr/>
          <p:nvPr userDrawn="1"/>
        </p:nvSpPr>
        <p:spPr>
          <a:xfrm>
            <a:off x="10801860" y="5496989"/>
            <a:ext cx="297138" cy="322773"/>
          </a:xfrm>
          <a:custGeom>
            <a:avLst/>
            <a:gdLst>
              <a:gd name="connsiteX0" fmla="*/ 135168 w 297138"/>
              <a:gd name="connsiteY0" fmla="*/ 322773 h 322773"/>
              <a:gd name="connsiteX1" fmla="*/ 0 w 297138"/>
              <a:gd name="connsiteY1" fmla="*/ 322773 h 322773"/>
              <a:gd name="connsiteX2" fmla="*/ 158473 w 297138"/>
              <a:gd name="connsiteY2" fmla="*/ 163135 h 322773"/>
              <a:gd name="connsiteX3" fmla="*/ 0 w 297138"/>
              <a:gd name="connsiteY3" fmla="*/ 0 h 322773"/>
              <a:gd name="connsiteX4" fmla="*/ 138664 w 297138"/>
              <a:gd name="connsiteY4" fmla="*/ 0 h 322773"/>
              <a:gd name="connsiteX5" fmla="*/ 297138 w 297138"/>
              <a:gd name="connsiteY5" fmla="*/ 158473 h 322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2773">
                <a:moveTo>
                  <a:pt x="135168" y="322773"/>
                </a:moveTo>
                <a:lnTo>
                  <a:pt x="0" y="322773"/>
                </a:lnTo>
                <a:lnTo>
                  <a:pt x="158473" y="163135"/>
                </a:lnTo>
                <a:lnTo>
                  <a:pt x="0" y="0"/>
                </a:lnTo>
                <a:lnTo>
                  <a:pt x="138664" y="0"/>
                </a:lnTo>
                <a:lnTo>
                  <a:pt x="297138" y="158473"/>
                </a:lnTo>
                <a:close/>
              </a:path>
            </a:pathLst>
          </a:custGeom>
          <a:solidFill>
            <a:srgbClr val="EEF2F5"/>
          </a:solidFill>
          <a:ln w="11643" cap="flat">
            <a:noFill/>
            <a:prstDash val="solid"/>
            <a:miter/>
          </a:ln>
        </p:spPr>
        <p:txBody>
          <a:bodyPr rtlCol="0" anchor="ctr"/>
          <a:lstStyle/>
          <a:p>
            <a:endParaRPr lang="de-DE"/>
          </a:p>
        </p:txBody>
      </p:sp>
      <p:sp>
        <p:nvSpPr>
          <p:cNvPr id="287" name="Freihandform: Form 286">
            <a:extLst>
              <a:ext uri="{FF2B5EF4-FFF2-40B4-BE49-F238E27FC236}">
                <a16:creationId xmlns:a16="http://schemas.microsoft.com/office/drawing/2014/main" id="{51E8753E-88FE-4F15-A45C-78FC0A40E063}"/>
              </a:ext>
            </a:extLst>
          </p:cNvPr>
          <p:cNvSpPr/>
          <p:nvPr userDrawn="1"/>
        </p:nvSpPr>
        <p:spPr>
          <a:xfrm>
            <a:off x="10454616" y="2667767"/>
            <a:ext cx="280824" cy="304129"/>
          </a:xfrm>
          <a:custGeom>
            <a:avLst/>
            <a:gdLst>
              <a:gd name="connsiteX0" fmla="*/ 129343 w 280824"/>
              <a:gd name="connsiteY0" fmla="*/ 304130 h 304129"/>
              <a:gd name="connsiteX1" fmla="*/ 0 w 280824"/>
              <a:gd name="connsiteY1" fmla="*/ 304130 h 304129"/>
              <a:gd name="connsiteX2" fmla="*/ 150317 w 280824"/>
              <a:gd name="connsiteY2" fmla="*/ 153813 h 304129"/>
              <a:gd name="connsiteX3" fmla="*/ 0 w 280824"/>
              <a:gd name="connsiteY3" fmla="*/ 0 h 304129"/>
              <a:gd name="connsiteX4" fmla="*/ 131673 w 280824"/>
              <a:gd name="connsiteY4" fmla="*/ 0 h 304129"/>
              <a:gd name="connsiteX5" fmla="*/ 280825 w 280824"/>
              <a:gd name="connsiteY5" fmla="*/ 149152 h 304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4129">
                <a:moveTo>
                  <a:pt x="129343" y="304130"/>
                </a:moveTo>
                <a:lnTo>
                  <a:pt x="0" y="304130"/>
                </a:lnTo>
                <a:lnTo>
                  <a:pt x="150317" y="153813"/>
                </a:lnTo>
                <a:lnTo>
                  <a:pt x="0" y="0"/>
                </a:lnTo>
                <a:lnTo>
                  <a:pt x="131673" y="0"/>
                </a:lnTo>
                <a:lnTo>
                  <a:pt x="280825" y="149152"/>
                </a:lnTo>
                <a:close/>
              </a:path>
            </a:pathLst>
          </a:custGeom>
          <a:solidFill>
            <a:srgbClr val="EEF2F5"/>
          </a:solidFill>
          <a:ln w="11643" cap="flat">
            <a:noFill/>
            <a:prstDash val="solid"/>
            <a:miter/>
          </a:ln>
        </p:spPr>
        <p:txBody>
          <a:bodyPr rtlCol="0" anchor="ctr"/>
          <a:lstStyle/>
          <a:p>
            <a:endParaRPr lang="de-DE"/>
          </a:p>
        </p:txBody>
      </p:sp>
      <p:sp>
        <p:nvSpPr>
          <p:cNvPr id="288" name="Freihandform: Form 287">
            <a:extLst>
              <a:ext uri="{FF2B5EF4-FFF2-40B4-BE49-F238E27FC236}">
                <a16:creationId xmlns:a16="http://schemas.microsoft.com/office/drawing/2014/main" id="{DDA6218D-1A23-4223-8FA4-6C66FF0014BF}"/>
              </a:ext>
            </a:extLst>
          </p:cNvPr>
          <p:cNvSpPr/>
          <p:nvPr userDrawn="1"/>
        </p:nvSpPr>
        <p:spPr>
          <a:xfrm>
            <a:off x="10454616" y="3022002"/>
            <a:ext cx="280824" cy="305294"/>
          </a:xfrm>
          <a:custGeom>
            <a:avLst/>
            <a:gdLst>
              <a:gd name="connsiteX0" fmla="*/ 129343 w 280824"/>
              <a:gd name="connsiteY0" fmla="*/ 305295 h 305294"/>
              <a:gd name="connsiteX1" fmla="*/ 0 w 280824"/>
              <a:gd name="connsiteY1" fmla="*/ 305295 h 305294"/>
              <a:gd name="connsiteX2" fmla="*/ 150317 w 280824"/>
              <a:gd name="connsiteY2" fmla="*/ 153813 h 305294"/>
              <a:gd name="connsiteX3" fmla="*/ 0 w 280824"/>
              <a:gd name="connsiteY3" fmla="*/ 0 h 305294"/>
              <a:gd name="connsiteX4" fmla="*/ 131673 w 280824"/>
              <a:gd name="connsiteY4" fmla="*/ 0 h 305294"/>
              <a:gd name="connsiteX5" fmla="*/ 280825 w 280824"/>
              <a:gd name="connsiteY5" fmla="*/ 150317 h 305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5294">
                <a:moveTo>
                  <a:pt x="129343" y="305295"/>
                </a:moveTo>
                <a:lnTo>
                  <a:pt x="0" y="305295"/>
                </a:lnTo>
                <a:lnTo>
                  <a:pt x="150317" y="153813"/>
                </a:lnTo>
                <a:lnTo>
                  <a:pt x="0" y="0"/>
                </a:lnTo>
                <a:lnTo>
                  <a:pt x="131673" y="0"/>
                </a:lnTo>
                <a:lnTo>
                  <a:pt x="280825" y="150317"/>
                </a:lnTo>
                <a:close/>
              </a:path>
            </a:pathLst>
          </a:custGeom>
          <a:solidFill>
            <a:srgbClr val="EEF2F5"/>
          </a:solidFill>
          <a:ln w="11643" cap="flat">
            <a:noFill/>
            <a:prstDash val="solid"/>
            <a:miter/>
          </a:ln>
        </p:spPr>
        <p:txBody>
          <a:bodyPr rtlCol="0" anchor="ctr"/>
          <a:lstStyle/>
          <a:p>
            <a:endParaRPr lang="de-DE"/>
          </a:p>
        </p:txBody>
      </p:sp>
      <p:sp>
        <p:nvSpPr>
          <p:cNvPr id="289" name="Freihandform: Form 288">
            <a:extLst>
              <a:ext uri="{FF2B5EF4-FFF2-40B4-BE49-F238E27FC236}">
                <a16:creationId xmlns:a16="http://schemas.microsoft.com/office/drawing/2014/main" id="{CA02237A-C045-4677-A7CD-4AE467EBE9F6}"/>
              </a:ext>
            </a:extLst>
          </p:cNvPr>
          <p:cNvSpPr/>
          <p:nvPr userDrawn="1"/>
        </p:nvSpPr>
        <p:spPr>
          <a:xfrm>
            <a:off x="10454616" y="3377403"/>
            <a:ext cx="280824" cy="304129"/>
          </a:xfrm>
          <a:custGeom>
            <a:avLst/>
            <a:gdLst>
              <a:gd name="connsiteX0" fmla="*/ 129343 w 280824"/>
              <a:gd name="connsiteY0" fmla="*/ 304130 h 304129"/>
              <a:gd name="connsiteX1" fmla="*/ 0 w 280824"/>
              <a:gd name="connsiteY1" fmla="*/ 304130 h 304129"/>
              <a:gd name="connsiteX2" fmla="*/ 150317 w 280824"/>
              <a:gd name="connsiteY2" fmla="*/ 153813 h 304129"/>
              <a:gd name="connsiteX3" fmla="*/ 0 w 280824"/>
              <a:gd name="connsiteY3" fmla="*/ 0 h 304129"/>
              <a:gd name="connsiteX4" fmla="*/ 131673 w 280824"/>
              <a:gd name="connsiteY4" fmla="*/ 0 h 304129"/>
              <a:gd name="connsiteX5" fmla="*/ 280825 w 280824"/>
              <a:gd name="connsiteY5" fmla="*/ 149152 h 304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4129">
                <a:moveTo>
                  <a:pt x="129343" y="304130"/>
                </a:moveTo>
                <a:lnTo>
                  <a:pt x="0" y="304130"/>
                </a:lnTo>
                <a:lnTo>
                  <a:pt x="150317" y="153813"/>
                </a:lnTo>
                <a:lnTo>
                  <a:pt x="0" y="0"/>
                </a:lnTo>
                <a:lnTo>
                  <a:pt x="131673" y="0"/>
                </a:lnTo>
                <a:lnTo>
                  <a:pt x="280825" y="149152"/>
                </a:lnTo>
                <a:close/>
              </a:path>
            </a:pathLst>
          </a:custGeom>
          <a:solidFill>
            <a:srgbClr val="EEF2F5"/>
          </a:solidFill>
          <a:ln w="11643" cap="flat">
            <a:noFill/>
            <a:prstDash val="solid"/>
            <a:miter/>
          </a:ln>
        </p:spPr>
        <p:txBody>
          <a:bodyPr rtlCol="0" anchor="ctr"/>
          <a:lstStyle/>
          <a:p>
            <a:endParaRPr lang="de-DE"/>
          </a:p>
        </p:txBody>
      </p:sp>
      <p:sp>
        <p:nvSpPr>
          <p:cNvPr id="290" name="Freihandform: Form 289">
            <a:extLst>
              <a:ext uri="{FF2B5EF4-FFF2-40B4-BE49-F238E27FC236}">
                <a16:creationId xmlns:a16="http://schemas.microsoft.com/office/drawing/2014/main" id="{48D1FA81-8ADF-4419-B180-C2A93B810128}"/>
              </a:ext>
            </a:extLst>
          </p:cNvPr>
          <p:cNvSpPr/>
          <p:nvPr userDrawn="1"/>
        </p:nvSpPr>
        <p:spPr>
          <a:xfrm>
            <a:off x="10454616" y="3731638"/>
            <a:ext cx="280824" cy="305294"/>
          </a:xfrm>
          <a:custGeom>
            <a:avLst/>
            <a:gdLst>
              <a:gd name="connsiteX0" fmla="*/ 129343 w 280824"/>
              <a:gd name="connsiteY0" fmla="*/ 305295 h 305294"/>
              <a:gd name="connsiteX1" fmla="*/ 0 w 280824"/>
              <a:gd name="connsiteY1" fmla="*/ 305295 h 305294"/>
              <a:gd name="connsiteX2" fmla="*/ 150317 w 280824"/>
              <a:gd name="connsiteY2" fmla="*/ 153813 h 305294"/>
              <a:gd name="connsiteX3" fmla="*/ 0 w 280824"/>
              <a:gd name="connsiteY3" fmla="*/ 0 h 305294"/>
              <a:gd name="connsiteX4" fmla="*/ 131673 w 280824"/>
              <a:gd name="connsiteY4" fmla="*/ 0 h 305294"/>
              <a:gd name="connsiteX5" fmla="*/ 280825 w 280824"/>
              <a:gd name="connsiteY5" fmla="*/ 150317 h 305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5294">
                <a:moveTo>
                  <a:pt x="129343" y="305295"/>
                </a:moveTo>
                <a:lnTo>
                  <a:pt x="0" y="305295"/>
                </a:lnTo>
                <a:lnTo>
                  <a:pt x="150317" y="153813"/>
                </a:lnTo>
                <a:lnTo>
                  <a:pt x="0" y="0"/>
                </a:lnTo>
                <a:lnTo>
                  <a:pt x="131673" y="0"/>
                </a:lnTo>
                <a:lnTo>
                  <a:pt x="280825" y="150317"/>
                </a:lnTo>
                <a:close/>
              </a:path>
            </a:pathLst>
          </a:custGeom>
          <a:solidFill>
            <a:srgbClr val="EEF2F5"/>
          </a:solidFill>
          <a:ln w="11643" cap="flat">
            <a:noFill/>
            <a:prstDash val="solid"/>
            <a:miter/>
          </a:ln>
        </p:spPr>
        <p:txBody>
          <a:bodyPr rtlCol="0" anchor="ctr"/>
          <a:lstStyle/>
          <a:p>
            <a:endParaRPr lang="de-DE"/>
          </a:p>
        </p:txBody>
      </p:sp>
      <p:sp>
        <p:nvSpPr>
          <p:cNvPr id="291" name="Freihandform: Form 290">
            <a:extLst>
              <a:ext uri="{FF2B5EF4-FFF2-40B4-BE49-F238E27FC236}">
                <a16:creationId xmlns:a16="http://schemas.microsoft.com/office/drawing/2014/main" id="{2227A2BB-D536-4940-8682-81393A39BE65}"/>
              </a:ext>
            </a:extLst>
          </p:cNvPr>
          <p:cNvSpPr/>
          <p:nvPr userDrawn="1"/>
        </p:nvSpPr>
        <p:spPr>
          <a:xfrm>
            <a:off x="10454616" y="4087039"/>
            <a:ext cx="280824" cy="304129"/>
          </a:xfrm>
          <a:custGeom>
            <a:avLst/>
            <a:gdLst>
              <a:gd name="connsiteX0" fmla="*/ 129343 w 280824"/>
              <a:gd name="connsiteY0" fmla="*/ 304130 h 304129"/>
              <a:gd name="connsiteX1" fmla="*/ 0 w 280824"/>
              <a:gd name="connsiteY1" fmla="*/ 304130 h 304129"/>
              <a:gd name="connsiteX2" fmla="*/ 150317 w 280824"/>
              <a:gd name="connsiteY2" fmla="*/ 153813 h 304129"/>
              <a:gd name="connsiteX3" fmla="*/ 0 w 280824"/>
              <a:gd name="connsiteY3" fmla="*/ 0 h 304129"/>
              <a:gd name="connsiteX4" fmla="*/ 131673 w 280824"/>
              <a:gd name="connsiteY4" fmla="*/ 0 h 304129"/>
              <a:gd name="connsiteX5" fmla="*/ 280825 w 280824"/>
              <a:gd name="connsiteY5" fmla="*/ 149152 h 304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4129">
                <a:moveTo>
                  <a:pt x="129343" y="304130"/>
                </a:moveTo>
                <a:lnTo>
                  <a:pt x="0" y="304130"/>
                </a:lnTo>
                <a:lnTo>
                  <a:pt x="150317" y="153813"/>
                </a:lnTo>
                <a:lnTo>
                  <a:pt x="0" y="0"/>
                </a:lnTo>
                <a:lnTo>
                  <a:pt x="131673" y="0"/>
                </a:lnTo>
                <a:lnTo>
                  <a:pt x="280825" y="149152"/>
                </a:lnTo>
                <a:close/>
              </a:path>
            </a:pathLst>
          </a:custGeom>
          <a:solidFill>
            <a:srgbClr val="EEF2F5"/>
          </a:solidFill>
          <a:ln w="11643" cap="flat">
            <a:noFill/>
            <a:prstDash val="solid"/>
            <a:miter/>
          </a:ln>
        </p:spPr>
        <p:txBody>
          <a:bodyPr rtlCol="0" anchor="ctr"/>
          <a:lstStyle/>
          <a:p>
            <a:endParaRPr lang="de-DE"/>
          </a:p>
        </p:txBody>
      </p:sp>
      <p:sp>
        <p:nvSpPr>
          <p:cNvPr id="292" name="Freihandform: Form 291">
            <a:extLst>
              <a:ext uri="{FF2B5EF4-FFF2-40B4-BE49-F238E27FC236}">
                <a16:creationId xmlns:a16="http://schemas.microsoft.com/office/drawing/2014/main" id="{7E206ED0-5D6B-4CC8-968C-782E0C2238F3}"/>
              </a:ext>
            </a:extLst>
          </p:cNvPr>
          <p:cNvSpPr/>
          <p:nvPr userDrawn="1"/>
        </p:nvSpPr>
        <p:spPr>
          <a:xfrm>
            <a:off x="10454616" y="4441274"/>
            <a:ext cx="280824" cy="305294"/>
          </a:xfrm>
          <a:custGeom>
            <a:avLst/>
            <a:gdLst>
              <a:gd name="connsiteX0" fmla="*/ 129343 w 280824"/>
              <a:gd name="connsiteY0" fmla="*/ 305295 h 305294"/>
              <a:gd name="connsiteX1" fmla="*/ 0 w 280824"/>
              <a:gd name="connsiteY1" fmla="*/ 305295 h 305294"/>
              <a:gd name="connsiteX2" fmla="*/ 150317 w 280824"/>
              <a:gd name="connsiteY2" fmla="*/ 153813 h 305294"/>
              <a:gd name="connsiteX3" fmla="*/ 0 w 280824"/>
              <a:gd name="connsiteY3" fmla="*/ 0 h 305294"/>
              <a:gd name="connsiteX4" fmla="*/ 131673 w 280824"/>
              <a:gd name="connsiteY4" fmla="*/ 0 h 305294"/>
              <a:gd name="connsiteX5" fmla="*/ 280825 w 280824"/>
              <a:gd name="connsiteY5" fmla="*/ 150317 h 305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5294">
                <a:moveTo>
                  <a:pt x="129343" y="305295"/>
                </a:moveTo>
                <a:lnTo>
                  <a:pt x="0" y="305295"/>
                </a:lnTo>
                <a:lnTo>
                  <a:pt x="150317" y="153813"/>
                </a:lnTo>
                <a:lnTo>
                  <a:pt x="0" y="0"/>
                </a:lnTo>
                <a:lnTo>
                  <a:pt x="131673" y="0"/>
                </a:lnTo>
                <a:lnTo>
                  <a:pt x="280825" y="150317"/>
                </a:lnTo>
                <a:close/>
              </a:path>
            </a:pathLst>
          </a:custGeom>
          <a:solidFill>
            <a:srgbClr val="EEF2F5"/>
          </a:solidFill>
          <a:ln w="11643" cap="flat">
            <a:noFill/>
            <a:prstDash val="solid"/>
            <a:miter/>
          </a:ln>
        </p:spPr>
        <p:txBody>
          <a:bodyPr rtlCol="0" anchor="ctr"/>
          <a:lstStyle/>
          <a:p>
            <a:endParaRPr lang="de-DE"/>
          </a:p>
        </p:txBody>
      </p:sp>
      <p:sp>
        <p:nvSpPr>
          <p:cNvPr id="293" name="Freihandform: Form 292">
            <a:extLst>
              <a:ext uri="{FF2B5EF4-FFF2-40B4-BE49-F238E27FC236}">
                <a16:creationId xmlns:a16="http://schemas.microsoft.com/office/drawing/2014/main" id="{F9570349-C376-4459-9BE6-66E1EB720F97}"/>
              </a:ext>
            </a:extLst>
          </p:cNvPr>
          <p:cNvSpPr/>
          <p:nvPr userDrawn="1"/>
        </p:nvSpPr>
        <p:spPr>
          <a:xfrm>
            <a:off x="10454616" y="4796675"/>
            <a:ext cx="280824" cy="304129"/>
          </a:xfrm>
          <a:custGeom>
            <a:avLst/>
            <a:gdLst>
              <a:gd name="connsiteX0" fmla="*/ 129343 w 280824"/>
              <a:gd name="connsiteY0" fmla="*/ 304130 h 304129"/>
              <a:gd name="connsiteX1" fmla="*/ 0 w 280824"/>
              <a:gd name="connsiteY1" fmla="*/ 304130 h 304129"/>
              <a:gd name="connsiteX2" fmla="*/ 150317 w 280824"/>
              <a:gd name="connsiteY2" fmla="*/ 153813 h 304129"/>
              <a:gd name="connsiteX3" fmla="*/ 0 w 280824"/>
              <a:gd name="connsiteY3" fmla="*/ 0 h 304129"/>
              <a:gd name="connsiteX4" fmla="*/ 131673 w 280824"/>
              <a:gd name="connsiteY4" fmla="*/ 0 h 304129"/>
              <a:gd name="connsiteX5" fmla="*/ 280825 w 280824"/>
              <a:gd name="connsiteY5" fmla="*/ 149152 h 304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4129">
                <a:moveTo>
                  <a:pt x="129343" y="304130"/>
                </a:moveTo>
                <a:lnTo>
                  <a:pt x="0" y="304130"/>
                </a:lnTo>
                <a:lnTo>
                  <a:pt x="150317" y="153813"/>
                </a:lnTo>
                <a:lnTo>
                  <a:pt x="0" y="0"/>
                </a:lnTo>
                <a:lnTo>
                  <a:pt x="131673" y="0"/>
                </a:lnTo>
                <a:lnTo>
                  <a:pt x="280825" y="149152"/>
                </a:lnTo>
                <a:close/>
              </a:path>
            </a:pathLst>
          </a:custGeom>
          <a:solidFill>
            <a:srgbClr val="EEF2F5"/>
          </a:solidFill>
          <a:ln w="11643" cap="flat">
            <a:noFill/>
            <a:prstDash val="solid"/>
            <a:miter/>
          </a:ln>
        </p:spPr>
        <p:txBody>
          <a:bodyPr rtlCol="0" anchor="ctr"/>
          <a:lstStyle/>
          <a:p>
            <a:endParaRPr lang="de-DE"/>
          </a:p>
        </p:txBody>
      </p:sp>
      <p:sp>
        <p:nvSpPr>
          <p:cNvPr id="294" name="Freihandform: Form 293">
            <a:extLst>
              <a:ext uri="{FF2B5EF4-FFF2-40B4-BE49-F238E27FC236}">
                <a16:creationId xmlns:a16="http://schemas.microsoft.com/office/drawing/2014/main" id="{CE3FF337-B168-4B08-BAF8-FBBA6DDEF4B3}"/>
              </a:ext>
            </a:extLst>
          </p:cNvPr>
          <p:cNvSpPr/>
          <p:nvPr userDrawn="1"/>
        </p:nvSpPr>
        <p:spPr>
          <a:xfrm>
            <a:off x="10454616" y="5150910"/>
            <a:ext cx="280824" cy="305295"/>
          </a:xfrm>
          <a:custGeom>
            <a:avLst/>
            <a:gdLst>
              <a:gd name="connsiteX0" fmla="*/ 129343 w 280824"/>
              <a:gd name="connsiteY0" fmla="*/ 305295 h 305295"/>
              <a:gd name="connsiteX1" fmla="*/ 0 w 280824"/>
              <a:gd name="connsiteY1" fmla="*/ 305295 h 305295"/>
              <a:gd name="connsiteX2" fmla="*/ 150317 w 280824"/>
              <a:gd name="connsiteY2" fmla="*/ 153813 h 305295"/>
              <a:gd name="connsiteX3" fmla="*/ 0 w 280824"/>
              <a:gd name="connsiteY3" fmla="*/ 0 h 305295"/>
              <a:gd name="connsiteX4" fmla="*/ 131673 w 280824"/>
              <a:gd name="connsiteY4" fmla="*/ 0 h 305295"/>
              <a:gd name="connsiteX5" fmla="*/ 280825 w 280824"/>
              <a:gd name="connsiteY5" fmla="*/ 150317 h 305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5295">
                <a:moveTo>
                  <a:pt x="129343" y="305295"/>
                </a:moveTo>
                <a:lnTo>
                  <a:pt x="0" y="305295"/>
                </a:lnTo>
                <a:lnTo>
                  <a:pt x="150317" y="153813"/>
                </a:lnTo>
                <a:lnTo>
                  <a:pt x="0" y="0"/>
                </a:lnTo>
                <a:lnTo>
                  <a:pt x="131673" y="0"/>
                </a:lnTo>
                <a:lnTo>
                  <a:pt x="280825" y="150317"/>
                </a:lnTo>
                <a:close/>
              </a:path>
            </a:pathLst>
          </a:custGeom>
          <a:solidFill>
            <a:srgbClr val="EEF2F5"/>
          </a:solidFill>
          <a:ln w="11643" cap="flat">
            <a:noFill/>
            <a:prstDash val="solid"/>
            <a:miter/>
          </a:ln>
        </p:spPr>
        <p:txBody>
          <a:bodyPr rtlCol="0" anchor="ctr"/>
          <a:lstStyle/>
          <a:p>
            <a:endParaRPr lang="de-DE"/>
          </a:p>
        </p:txBody>
      </p:sp>
      <p:sp>
        <p:nvSpPr>
          <p:cNvPr id="295" name="Freihandform: Form 294">
            <a:extLst>
              <a:ext uri="{FF2B5EF4-FFF2-40B4-BE49-F238E27FC236}">
                <a16:creationId xmlns:a16="http://schemas.microsoft.com/office/drawing/2014/main" id="{C15D20DE-AD5C-488E-85D6-7F573CD6FEAE}"/>
              </a:ext>
            </a:extLst>
          </p:cNvPr>
          <p:cNvSpPr/>
          <p:nvPr userDrawn="1"/>
        </p:nvSpPr>
        <p:spPr>
          <a:xfrm>
            <a:off x="10454616" y="5506311"/>
            <a:ext cx="280824" cy="305295"/>
          </a:xfrm>
          <a:custGeom>
            <a:avLst/>
            <a:gdLst>
              <a:gd name="connsiteX0" fmla="*/ 129343 w 280824"/>
              <a:gd name="connsiteY0" fmla="*/ 305295 h 305295"/>
              <a:gd name="connsiteX1" fmla="*/ 0 w 280824"/>
              <a:gd name="connsiteY1" fmla="*/ 305295 h 305295"/>
              <a:gd name="connsiteX2" fmla="*/ 150317 w 280824"/>
              <a:gd name="connsiteY2" fmla="*/ 153813 h 305295"/>
              <a:gd name="connsiteX3" fmla="*/ 0 w 280824"/>
              <a:gd name="connsiteY3" fmla="*/ 0 h 305295"/>
              <a:gd name="connsiteX4" fmla="*/ 131673 w 280824"/>
              <a:gd name="connsiteY4" fmla="*/ 0 h 305295"/>
              <a:gd name="connsiteX5" fmla="*/ 280825 w 280824"/>
              <a:gd name="connsiteY5" fmla="*/ 149152 h 305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5295">
                <a:moveTo>
                  <a:pt x="129343" y="305295"/>
                </a:moveTo>
                <a:lnTo>
                  <a:pt x="0" y="305295"/>
                </a:lnTo>
                <a:lnTo>
                  <a:pt x="150317" y="153813"/>
                </a:lnTo>
                <a:lnTo>
                  <a:pt x="0" y="0"/>
                </a:lnTo>
                <a:lnTo>
                  <a:pt x="131673" y="0"/>
                </a:lnTo>
                <a:lnTo>
                  <a:pt x="280825" y="149152"/>
                </a:lnTo>
                <a:close/>
              </a:path>
            </a:pathLst>
          </a:custGeom>
          <a:solidFill>
            <a:srgbClr val="EEF2F5"/>
          </a:solidFill>
          <a:ln w="11643" cap="flat">
            <a:noFill/>
            <a:prstDash val="solid"/>
            <a:miter/>
          </a:ln>
        </p:spPr>
        <p:txBody>
          <a:bodyPr rtlCol="0" anchor="ctr"/>
          <a:lstStyle/>
          <a:p>
            <a:endParaRPr lang="de-DE"/>
          </a:p>
        </p:txBody>
      </p:sp>
      <p:sp>
        <p:nvSpPr>
          <p:cNvPr id="296" name="Freihandform: Form 295">
            <a:extLst>
              <a:ext uri="{FF2B5EF4-FFF2-40B4-BE49-F238E27FC236}">
                <a16:creationId xmlns:a16="http://schemas.microsoft.com/office/drawing/2014/main" id="{485159D9-1543-48AC-BE82-E6BC0D080E69}"/>
              </a:ext>
            </a:extLst>
          </p:cNvPr>
          <p:cNvSpPr/>
          <p:nvPr userDrawn="1"/>
        </p:nvSpPr>
        <p:spPr>
          <a:xfrm>
            <a:off x="10454616" y="5860546"/>
            <a:ext cx="280824" cy="305295"/>
          </a:xfrm>
          <a:custGeom>
            <a:avLst/>
            <a:gdLst>
              <a:gd name="connsiteX0" fmla="*/ 129343 w 280824"/>
              <a:gd name="connsiteY0" fmla="*/ 305295 h 305295"/>
              <a:gd name="connsiteX1" fmla="*/ 0 w 280824"/>
              <a:gd name="connsiteY1" fmla="*/ 305295 h 305295"/>
              <a:gd name="connsiteX2" fmla="*/ 150317 w 280824"/>
              <a:gd name="connsiteY2" fmla="*/ 153813 h 305295"/>
              <a:gd name="connsiteX3" fmla="*/ 0 w 280824"/>
              <a:gd name="connsiteY3" fmla="*/ 0 h 305295"/>
              <a:gd name="connsiteX4" fmla="*/ 131673 w 280824"/>
              <a:gd name="connsiteY4" fmla="*/ 0 h 305295"/>
              <a:gd name="connsiteX5" fmla="*/ 280825 w 280824"/>
              <a:gd name="connsiteY5" fmla="*/ 150317 h 305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5295">
                <a:moveTo>
                  <a:pt x="129343" y="305295"/>
                </a:moveTo>
                <a:lnTo>
                  <a:pt x="0" y="305295"/>
                </a:lnTo>
                <a:lnTo>
                  <a:pt x="150317" y="153813"/>
                </a:lnTo>
                <a:lnTo>
                  <a:pt x="0" y="0"/>
                </a:lnTo>
                <a:lnTo>
                  <a:pt x="131673" y="0"/>
                </a:lnTo>
                <a:lnTo>
                  <a:pt x="280825" y="150317"/>
                </a:lnTo>
                <a:close/>
              </a:path>
            </a:pathLst>
          </a:custGeom>
          <a:solidFill>
            <a:srgbClr val="EEF2F5"/>
          </a:solidFill>
          <a:ln w="11643" cap="flat">
            <a:noFill/>
            <a:prstDash val="solid"/>
            <a:miter/>
          </a:ln>
        </p:spPr>
        <p:txBody>
          <a:bodyPr rtlCol="0" anchor="ctr"/>
          <a:lstStyle/>
          <a:p>
            <a:endParaRPr lang="de-DE"/>
          </a:p>
        </p:txBody>
      </p:sp>
      <p:sp>
        <p:nvSpPr>
          <p:cNvPr id="297" name="Freihandform: Form 296">
            <a:extLst>
              <a:ext uri="{FF2B5EF4-FFF2-40B4-BE49-F238E27FC236}">
                <a16:creationId xmlns:a16="http://schemas.microsoft.com/office/drawing/2014/main" id="{36EBE8A7-57A4-4F1C-8091-CAEE9CB87988}"/>
              </a:ext>
            </a:extLst>
          </p:cNvPr>
          <p:cNvSpPr/>
          <p:nvPr userDrawn="1"/>
        </p:nvSpPr>
        <p:spPr>
          <a:xfrm>
            <a:off x="10108537" y="2321688"/>
            <a:ext cx="264511" cy="286650"/>
          </a:xfrm>
          <a:custGeom>
            <a:avLst/>
            <a:gdLst>
              <a:gd name="connsiteX0" fmla="*/ 121186 w 264511"/>
              <a:gd name="connsiteY0" fmla="*/ 286651 h 286650"/>
              <a:gd name="connsiteX1" fmla="*/ 0 w 264511"/>
              <a:gd name="connsiteY1" fmla="*/ 286651 h 286650"/>
              <a:gd name="connsiteX2" fmla="*/ 140995 w 264511"/>
              <a:gd name="connsiteY2" fmla="*/ 144491 h 286650"/>
              <a:gd name="connsiteX3" fmla="*/ 0 w 264511"/>
              <a:gd name="connsiteY3" fmla="*/ 0 h 286650"/>
              <a:gd name="connsiteX4" fmla="*/ 123516 w 264511"/>
              <a:gd name="connsiteY4" fmla="*/ 0 h 286650"/>
              <a:gd name="connsiteX5" fmla="*/ 264511 w 264511"/>
              <a:gd name="connsiteY5" fmla="*/ 140995 h 28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0">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298" name="Freihandform: Form 297">
            <a:extLst>
              <a:ext uri="{FF2B5EF4-FFF2-40B4-BE49-F238E27FC236}">
                <a16:creationId xmlns:a16="http://schemas.microsoft.com/office/drawing/2014/main" id="{12914A54-FA8E-4B49-A2DE-518D9ADF7310}"/>
              </a:ext>
            </a:extLst>
          </p:cNvPr>
          <p:cNvSpPr/>
          <p:nvPr userDrawn="1"/>
        </p:nvSpPr>
        <p:spPr>
          <a:xfrm>
            <a:off x="10108537" y="2675924"/>
            <a:ext cx="264511" cy="286650"/>
          </a:xfrm>
          <a:custGeom>
            <a:avLst/>
            <a:gdLst>
              <a:gd name="connsiteX0" fmla="*/ 121186 w 264511"/>
              <a:gd name="connsiteY0" fmla="*/ 286651 h 286650"/>
              <a:gd name="connsiteX1" fmla="*/ 0 w 264511"/>
              <a:gd name="connsiteY1" fmla="*/ 286651 h 286650"/>
              <a:gd name="connsiteX2" fmla="*/ 140995 w 264511"/>
              <a:gd name="connsiteY2" fmla="*/ 144491 h 286650"/>
              <a:gd name="connsiteX3" fmla="*/ 0 w 264511"/>
              <a:gd name="connsiteY3" fmla="*/ 0 h 286650"/>
              <a:gd name="connsiteX4" fmla="*/ 123516 w 264511"/>
              <a:gd name="connsiteY4" fmla="*/ 0 h 286650"/>
              <a:gd name="connsiteX5" fmla="*/ 264511 w 264511"/>
              <a:gd name="connsiteY5" fmla="*/ 140995 h 28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0">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299" name="Freihandform: Form 298">
            <a:extLst>
              <a:ext uri="{FF2B5EF4-FFF2-40B4-BE49-F238E27FC236}">
                <a16:creationId xmlns:a16="http://schemas.microsoft.com/office/drawing/2014/main" id="{97E9631F-C090-4F92-B4E6-D6A88933B227}"/>
              </a:ext>
            </a:extLst>
          </p:cNvPr>
          <p:cNvSpPr/>
          <p:nvPr userDrawn="1"/>
        </p:nvSpPr>
        <p:spPr>
          <a:xfrm>
            <a:off x="10108537" y="3031324"/>
            <a:ext cx="264511" cy="286650"/>
          </a:xfrm>
          <a:custGeom>
            <a:avLst/>
            <a:gdLst>
              <a:gd name="connsiteX0" fmla="*/ 121186 w 264511"/>
              <a:gd name="connsiteY0" fmla="*/ 286651 h 286650"/>
              <a:gd name="connsiteX1" fmla="*/ 0 w 264511"/>
              <a:gd name="connsiteY1" fmla="*/ 286651 h 286650"/>
              <a:gd name="connsiteX2" fmla="*/ 140995 w 264511"/>
              <a:gd name="connsiteY2" fmla="*/ 144491 h 286650"/>
              <a:gd name="connsiteX3" fmla="*/ 0 w 264511"/>
              <a:gd name="connsiteY3" fmla="*/ 0 h 286650"/>
              <a:gd name="connsiteX4" fmla="*/ 123516 w 264511"/>
              <a:gd name="connsiteY4" fmla="*/ 0 h 286650"/>
              <a:gd name="connsiteX5" fmla="*/ 264511 w 264511"/>
              <a:gd name="connsiteY5" fmla="*/ 140995 h 28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0">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300" name="Freihandform: Form 299">
            <a:extLst>
              <a:ext uri="{FF2B5EF4-FFF2-40B4-BE49-F238E27FC236}">
                <a16:creationId xmlns:a16="http://schemas.microsoft.com/office/drawing/2014/main" id="{D1807030-A146-49E6-AB2C-56E585B0AEE6}"/>
              </a:ext>
            </a:extLst>
          </p:cNvPr>
          <p:cNvSpPr/>
          <p:nvPr userDrawn="1"/>
        </p:nvSpPr>
        <p:spPr>
          <a:xfrm>
            <a:off x="10108537" y="3385560"/>
            <a:ext cx="264511" cy="287816"/>
          </a:xfrm>
          <a:custGeom>
            <a:avLst/>
            <a:gdLst>
              <a:gd name="connsiteX0" fmla="*/ 121186 w 264511"/>
              <a:gd name="connsiteY0" fmla="*/ 287816 h 287816"/>
              <a:gd name="connsiteX1" fmla="*/ 0 w 264511"/>
              <a:gd name="connsiteY1" fmla="*/ 287816 h 287816"/>
              <a:gd name="connsiteX2" fmla="*/ 140995 w 264511"/>
              <a:gd name="connsiteY2" fmla="*/ 145656 h 287816"/>
              <a:gd name="connsiteX3" fmla="*/ 0 w 264511"/>
              <a:gd name="connsiteY3" fmla="*/ 0 h 287816"/>
              <a:gd name="connsiteX4" fmla="*/ 123516 w 264511"/>
              <a:gd name="connsiteY4" fmla="*/ 0 h 287816"/>
              <a:gd name="connsiteX5" fmla="*/ 264511 w 264511"/>
              <a:gd name="connsiteY5" fmla="*/ 140995 h 287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7816">
                <a:moveTo>
                  <a:pt x="121186" y="287816"/>
                </a:moveTo>
                <a:lnTo>
                  <a:pt x="0" y="287816"/>
                </a:lnTo>
                <a:lnTo>
                  <a:pt x="140995" y="145656"/>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301" name="Freihandform: Form 300">
            <a:extLst>
              <a:ext uri="{FF2B5EF4-FFF2-40B4-BE49-F238E27FC236}">
                <a16:creationId xmlns:a16="http://schemas.microsoft.com/office/drawing/2014/main" id="{CCFC5FBA-0587-4C1B-8639-CB3CC05103F5}"/>
              </a:ext>
            </a:extLst>
          </p:cNvPr>
          <p:cNvSpPr/>
          <p:nvPr userDrawn="1"/>
        </p:nvSpPr>
        <p:spPr>
          <a:xfrm>
            <a:off x="10108537" y="3740960"/>
            <a:ext cx="264511" cy="286651"/>
          </a:xfrm>
          <a:custGeom>
            <a:avLst/>
            <a:gdLst>
              <a:gd name="connsiteX0" fmla="*/ 121186 w 264511"/>
              <a:gd name="connsiteY0" fmla="*/ 286651 h 286651"/>
              <a:gd name="connsiteX1" fmla="*/ 0 w 264511"/>
              <a:gd name="connsiteY1" fmla="*/ 286651 h 286651"/>
              <a:gd name="connsiteX2" fmla="*/ 140995 w 264511"/>
              <a:gd name="connsiteY2" fmla="*/ 144491 h 286651"/>
              <a:gd name="connsiteX3" fmla="*/ 0 w 264511"/>
              <a:gd name="connsiteY3" fmla="*/ 0 h 286651"/>
              <a:gd name="connsiteX4" fmla="*/ 123516 w 264511"/>
              <a:gd name="connsiteY4" fmla="*/ 0 h 286651"/>
              <a:gd name="connsiteX5" fmla="*/ 264511 w 264511"/>
              <a:gd name="connsiteY5" fmla="*/ 140995 h 286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1">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302" name="Freihandform: Form 301">
            <a:extLst>
              <a:ext uri="{FF2B5EF4-FFF2-40B4-BE49-F238E27FC236}">
                <a16:creationId xmlns:a16="http://schemas.microsoft.com/office/drawing/2014/main" id="{393FFB20-CDB2-4370-BF23-8869FAE8F232}"/>
              </a:ext>
            </a:extLst>
          </p:cNvPr>
          <p:cNvSpPr/>
          <p:nvPr userDrawn="1"/>
        </p:nvSpPr>
        <p:spPr>
          <a:xfrm>
            <a:off x="10108537" y="4095195"/>
            <a:ext cx="264511" cy="287816"/>
          </a:xfrm>
          <a:custGeom>
            <a:avLst/>
            <a:gdLst>
              <a:gd name="connsiteX0" fmla="*/ 121186 w 264511"/>
              <a:gd name="connsiteY0" fmla="*/ 287816 h 287816"/>
              <a:gd name="connsiteX1" fmla="*/ 0 w 264511"/>
              <a:gd name="connsiteY1" fmla="*/ 287816 h 287816"/>
              <a:gd name="connsiteX2" fmla="*/ 140995 w 264511"/>
              <a:gd name="connsiteY2" fmla="*/ 145656 h 287816"/>
              <a:gd name="connsiteX3" fmla="*/ 0 w 264511"/>
              <a:gd name="connsiteY3" fmla="*/ 0 h 287816"/>
              <a:gd name="connsiteX4" fmla="*/ 123516 w 264511"/>
              <a:gd name="connsiteY4" fmla="*/ 0 h 287816"/>
              <a:gd name="connsiteX5" fmla="*/ 264511 w 264511"/>
              <a:gd name="connsiteY5" fmla="*/ 140995 h 287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7816">
                <a:moveTo>
                  <a:pt x="121186" y="287816"/>
                </a:moveTo>
                <a:lnTo>
                  <a:pt x="0" y="287816"/>
                </a:lnTo>
                <a:lnTo>
                  <a:pt x="140995" y="145656"/>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303" name="Freihandform: Form 302">
            <a:extLst>
              <a:ext uri="{FF2B5EF4-FFF2-40B4-BE49-F238E27FC236}">
                <a16:creationId xmlns:a16="http://schemas.microsoft.com/office/drawing/2014/main" id="{9A02CBB0-C3FE-4C5B-8752-F2E84565BB37}"/>
              </a:ext>
            </a:extLst>
          </p:cNvPr>
          <p:cNvSpPr/>
          <p:nvPr userDrawn="1"/>
        </p:nvSpPr>
        <p:spPr>
          <a:xfrm>
            <a:off x="10108537" y="4450596"/>
            <a:ext cx="264511" cy="286651"/>
          </a:xfrm>
          <a:custGeom>
            <a:avLst/>
            <a:gdLst>
              <a:gd name="connsiteX0" fmla="*/ 121186 w 264511"/>
              <a:gd name="connsiteY0" fmla="*/ 286651 h 286651"/>
              <a:gd name="connsiteX1" fmla="*/ 0 w 264511"/>
              <a:gd name="connsiteY1" fmla="*/ 286651 h 286651"/>
              <a:gd name="connsiteX2" fmla="*/ 140995 w 264511"/>
              <a:gd name="connsiteY2" fmla="*/ 144491 h 286651"/>
              <a:gd name="connsiteX3" fmla="*/ 0 w 264511"/>
              <a:gd name="connsiteY3" fmla="*/ 0 h 286651"/>
              <a:gd name="connsiteX4" fmla="*/ 123516 w 264511"/>
              <a:gd name="connsiteY4" fmla="*/ 0 h 286651"/>
              <a:gd name="connsiteX5" fmla="*/ 264511 w 264511"/>
              <a:gd name="connsiteY5" fmla="*/ 140995 h 286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1">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304" name="Freihandform: Form 303">
            <a:extLst>
              <a:ext uri="{FF2B5EF4-FFF2-40B4-BE49-F238E27FC236}">
                <a16:creationId xmlns:a16="http://schemas.microsoft.com/office/drawing/2014/main" id="{1C43B92A-432B-470A-ABA2-5D306B91CF22}"/>
              </a:ext>
            </a:extLst>
          </p:cNvPr>
          <p:cNvSpPr/>
          <p:nvPr userDrawn="1"/>
        </p:nvSpPr>
        <p:spPr>
          <a:xfrm>
            <a:off x="10108537" y="4805997"/>
            <a:ext cx="264511" cy="286651"/>
          </a:xfrm>
          <a:custGeom>
            <a:avLst/>
            <a:gdLst>
              <a:gd name="connsiteX0" fmla="*/ 121186 w 264511"/>
              <a:gd name="connsiteY0" fmla="*/ 286651 h 286651"/>
              <a:gd name="connsiteX1" fmla="*/ 0 w 264511"/>
              <a:gd name="connsiteY1" fmla="*/ 286651 h 286651"/>
              <a:gd name="connsiteX2" fmla="*/ 140995 w 264511"/>
              <a:gd name="connsiteY2" fmla="*/ 144491 h 286651"/>
              <a:gd name="connsiteX3" fmla="*/ 0 w 264511"/>
              <a:gd name="connsiteY3" fmla="*/ 0 h 286651"/>
              <a:gd name="connsiteX4" fmla="*/ 123516 w 264511"/>
              <a:gd name="connsiteY4" fmla="*/ 0 h 286651"/>
              <a:gd name="connsiteX5" fmla="*/ 264511 w 264511"/>
              <a:gd name="connsiteY5" fmla="*/ 139830 h 286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1">
                <a:moveTo>
                  <a:pt x="121186" y="286651"/>
                </a:moveTo>
                <a:lnTo>
                  <a:pt x="0" y="286651"/>
                </a:lnTo>
                <a:lnTo>
                  <a:pt x="140995" y="144491"/>
                </a:lnTo>
                <a:lnTo>
                  <a:pt x="0" y="0"/>
                </a:lnTo>
                <a:lnTo>
                  <a:pt x="123516" y="0"/>
                </a:lnTo>
                <a:lnTo>
                  <a:pt x="264511" y="139830"/>
                </a:lnTo>
                <a:close/>
              </a:path>
            </a:pathLst>
          </a:custGeom>
          <a:solidFill>
            <a:srgbClr val="EEF2F5"/>
          </a:solidFill>
          <a:ln w="11643" cap="flat">
            <a:noFill/>
            <a:prstDash val="solid"/>
            <a:miter/>
          </a:ln>
        </p:spPr>
        <p:txBody>
          <a:bodyPr rtlCol="0" anchor="ctr"/>
          <a:lstStyle/>
          <a:p>
            <a:endParaRPr lang="de-DE"/>
          </a:p>
        </p:txBody>
      </p:sp>
      <p:sp>
        <p:nvSpPr>
          <p:cNvPr id="305" name="Freihandform: Form 304">
            <a:extLst>
              <a:ext uri="{FF2B5EF4-FFF2-40B4-BE49-F238E27FC236}">
                <a16:creationId xmlns:a16="http://schemas.microsoft.com/office/drawing/2014/main" id="{CF1224C7-9BEE-46A0-BB68-D697A73A4963}"/>
              </a:ext>
            </a:extLst>
          </p:cNvPr>
          <p:cNvSpPr/>
          <p:nvPr userDrawn="1"/>
        </p:nvSpPr>
        <p:spPr>
          <a:xfrm>
            <a:off x="10108537" y="5160232"/>
            <a:ext cx="264511" cy="286651"/>
          </a:xfrm>
          <a:custGeom>
            <a:avLst/>
            <a:gdLst>
              <a:gd name="connsiteX0" fmla="*/ 121186 w 264511"/>
              <a:gd name="connsiteY0" fmla="*/ 286651 h 286651"/>
              <a:gd name="connsiteX1" fmla="*/ 0 w 264511"/>
              <a:gd name="connsiteY1" fmla="*/ 286651 h 286651"/>
              <a:gd name="connsiteX2" fmla="*/ 140995 w 264511"/>
              <a:gd name="connsiteY2" fmla="*/ 144491 h 286651"/>
              <a:gd name="connsiteX3" fmla="*/ 0 w 264511"/>
              <a:gd name="connsiteY3" fmla="*/ 0 h 286651"/>
              <a:gd name="connsiteX4" fmla="*/ 123516 w 264511"/>
              <a:gd name="connsiteY4" fmla="*/ 0 h 286651"/>
              <a:gd name="connsiteX5" fmla="*/ 264511 w 264511"/>
              <a:gd name="connsiteY5" fmla="*/ 140995 h 286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1">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306" name="Freihandform: Form 305">
            <a:extLst>
              <a:ext uri="{FF2B5EF4-FFF2-40B4-BE49-F238E27FC236}">
                <a16:creationId xmlns:a16="http://schemas.microsoft.com/office/drawing/2014/main" id="{ADBF69A7-DE39-4CA9-B0E6-95F65333D170}"/>
              </a:ext>
            </a:extLst>
          </p:cNvPr>
          <p:cNvSpPr/>
          <p:nvPr userDrawn="1"/>
        </p:nvSpPr>
        <p:spPr>
          <a:xfrm>
            <a:off x="10108537" y="5515633"/>
            <a:ext cx="264511" cy="286651"/>
          </a:xfrm>
          <a:custGeom>
            <a:avLst/>
            <a:gdLst>
              <a:gd name="connsiteX0" fmla="*/ 121186 w 264511"/>
              <a:gd name="connsiteY0" fmla="*/ 286651 h 286651"/>
              <a:gd name="connsiteX1" fmla="*/ 0 w 264511"/>
              <a:gd name="connsiteY1" fmla="*/ 286651 h 286651"/>
              <a:gd name="connsiteX2" fmla="*/ 140995 w 264511"/>
              <a:gd name="connsiteY2" fmla="*/ 144491 h 286651"/>
              <a:gd name="connsiteX3" fmla="*/ 0 w 264511"/>
              <a:gd name="connsiteY3" fmla="*/ 0 h 286651"/>
              <a:gd name="connsiteX4" fmla="*/ 123516 w 264511"/>
              <a:gd name="connsiteY4" fmla="*/ 0 h 286651"/>
              <a:gd name="connsiteX5" fmla="*/ 264511 w 264511"/>
              <a:gd name="connsiteY5" fmla="*/ 140995 h 286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1">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307" name="Freihandform: Form 306">
            <a:extLst>
              <a:ext uri="{FF2B5EF4-FFF2-40B4-BE49-F238E27FC236}">
                <a16:creationId xmlns:a16="http://schemas.microsoft.com/office/drawing/2014/main" id="{7D9BE8A4-E861-44BD-82FB-0C83AE43E3F5}"/>
              </a:ext>
            </a:extLst>
          </p:cNvPr>
          <p:cNvSpPr/>
          <p:nvPr userDrawn="1"/>
        </p:nvSpPr>
        <p:spPr>
          <a:xfrm>
            <a:off x="10108537" y="5869868"/>
            <a:ext cx="264511" cy="286650"/>
          </a:xfrm>
          <a:custGeom>
            <a:avLst/>
            <a:gdLst>
              <a:gd name="connsiteX0" fmla="*/ 121186 w 264511"/>
              <a:gd name="connsiteY0" fmla="*/ 286651 h 286650"/>
              <a:gd name="connsiteX1" fmla="*/ 0 w 264511"/>
              <a:gd name="connsiteY1" fmla="*/ 286651 h 286650"/>
              <a:gd name="connsiteX2" fmla="*/ 140995 w 264511"/>
              <a:gd name="connsiteY2" fmla="*/ 144491 h 286650"/>
              <a:gd name="connsiteX3" fmla="*/ 0 w 264511"/>
              <a:gd name="connsiteY3" fmla="*/ 0 h 286650"/>
              <a:gd name="connsiteX4" fmla="*/ 123516 w 264511"/>
              <a:gd name="connsiteY4" fmla="*/ 0 h 286650"/>
              <a:gd name="connsiteX5" fmla="*/ 264511 w 264511"/>
              <a:gd name="connsiteY5" fmla="*/ 140995 h 28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0">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308" name="Freihandform: Form 307">
            <a:extLst>
              <a:ext uri="{FF2B5EF4-FFF2-40B4-BE49-F238E27FC236}">
                <a16:creationId xmlns:a16="http://schemas.microsoft.com/office/drawing/2014/main" id="{5F752DD3-B30C-4D0A-944E-3ED3945D0A70}"/>
              </a:ext>
            </a:extLst>
          </p:cNvPr>
          <p:cNvSpPr/>
          <p:nvPr userDrawn="1"/>
        </p:nvSpPr>
        <p:spPr>
          <a:xfrm>
            <a:off x="10108537" y="6225269"/>
            <a:ext cx="264511" cy="286650"/>
          </a:xfrm>
          <a:custGeom>
            <a:avLst/>
            <a:gdLst>
              <a:gd name="connsiteX0" fmla="*/ 121186 w 264511"/>
              <a:gd name="connsiteY0" fmla="*/ 286651 h 286650"/>
              <a:gd name="connsiteX1" fmla="*/ 0 w 264511"/>
              <a:gd name="connsiteY1" fmla="*/ 286651 h 286650"/>
              <a:gd name="connsiteX2" fmla="*/ 140995 w 264511"/>
              <a:gd name="connsiteY2" fmla="*/ 144491 h 286650"/>
              <a:gd name="connsiteX3" fmla="*/ 0 w 264511"/>
              <a:gd name="connsiteY3" fmla="*/ 0 h 286650"/>
              <a:gd name="connsiteX4" fmla="*/ 123516 w 264511"/>
              <a:gd name="connsiteY4" fmla="*/ 0 h 286650"/>
              <a:gd name="connsiteX5" fmla="*/ 264511 w 264511"/>
              <a:gd name="connsiteY5" fmla="*/ 140995 h 28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0">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309" name="Freihandform: Form 308">
            <a:extLst>
              <a:ext uri="{FF2B5EF4-FFF2-40B4-BE49-F238E27FC236}">
                <a16:creationId xmlns:a16="http://schemas.microsoft.com/office/drawing/2014/main" id="{B2C8C5D0-33C1-4654-B293-E6B9182B14E5}"/>
              </a:ext>
            </a:extLst>
          </p:cNvPr>
          <p:cNvSpPr/>
          <p:nvPr userDrawn="1"/>
        </p:nvSpPr>
        <p:spPr>
          <a:xfrm>
            <a:off x="4909201" y="2101456"/>
            <a:ext cx="16313" cy="17478"/>
          </a:xfrm>
          <a:custGeom>
            <a:avLst/>
            <a:gdLst>
              <a:gd name="connsiteX0" fmla="*/ 8157 w 16313"/>
              <a:gd name="connsiteY0" fmla="*/ 17479 h 17478"/>
              <a:gd name="connsiteX1" fmla="*/ 0 w 16313"/>
              <a:gd name="connsiteY1" fmla="*/ 17479 h 17478"/>
              <a:gd name="connsiteX2" fmla="*/ 9322 w 16313"/>
              <a:gd name="connsiteY2" fmla="*/ 8157 h 17478"/>
              <a:gd name="connsiteX3" fmla="*/ 0 w 16313"/>
              <a:gd name="connsiteY3" fmla="*/ 0 h 17478"/>
              <a:gd name="connsiteX4" fmla="*/ 8157 w 16313"/>
              <a:gd name="connsiteY4" fmla="*/ 0 h 17478"/>
              <a:gd name="connsiteX5" fmla="*/ 16313 w 16313"/>
              <a:gd name="connsiteY5" fmla="*/ 8157 h 17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13" h="17478">
                <a:moveTo>
                  <a:pt x="8157" y="17479"/>
                </a:moveTo>
                <a:lnTo>
                  <a:pt x="0" y="17479"/>
                </a:lnTo>
                <a:lnTo>
                  <a:pt x="9322" y="8157"/>
                </a:lnTo>
                <a:lnTo>
                  <a:pt x="0" y="0"/>
                </a:lnTo>
                <a:lnTo>
                  <a:pt x="8157" y="0"/>
                </a:lnTo>
                <a:lnTo>
                  <a:pt x="16313" y="8157"/>
                </a:lnTo>
                <a:close/>
              </a:path>
            </a:pathLst>
          </a:custGeom>
          <a:solidFill>
            <a:srgbClr val="EEF2F5"/>
          </a:solidFill>
          <a:ln w="11643" cap="flat">
            <a:noFill/>
            <a:prstDash val="solid"/>
            <a:miter/>
          </a:ln>
        </p:spPr>
        <p:txBody>
          <a:bodyPr rtlCol="0" anchor="ctr"/>
          <a:lstStyle/>
          <a:p>
            <a:endParaRPr lang="de-DE"/>
          </a:p>
        </p:txBody>
      </p:sp>
      <p:sp>
        <p:nvSpPr>
          <p:cNvPr id="310" name="Freihandform: Form 309">
            <a:extLst>
              <a:ext uri="{FF2B5EF4-FFF2-40B4-BE49-F238E27FC236}">
                <a16:creationId xmlns:a16="http://schemas.microsoft.com/office/drawing/2014/main" id="{329A36A9-5A2C-4AC1-96F3-AFA20EF6DDEB}"/>
              </a:ext>
            </a:extLst>
          </p:cNvPr>
          <p:cNvSpPr/>
          <p:nvPr userDrawn="1"/>
        </p:nvSpPr>
        <p:spPr>
          <a:xfrm>
            <a:off x="4909201" y="2455692"/>
            <a:ext cx="16313" cy="18643"/>
          </a:xfrm>
          <a:custGeom>
            <a:avLst/>
            <a:gdLst>
              <a:gd name="connsiteX0" fmla="*/ 8157 w 16313"/>
              <a:gd name="connsiteY0" fmla="*/ 18644 h 18643"/>
              <a:gd name="connsiteX1" fmla="*/ 0 w 16313"/>
              <a:gd name="connsiteY1" fmla="*/ 18644 h 18643"/>
              <a:gd name="connsiteX2" fmla="*/ 9322 w 16313"/>
              <a:gd name="connsiteY2" fmla="*/ 9322 h 18643"/>
              <a:gd name="connsiteX3" fmla="*/ 0 w 16313"/>
              <a:gd name="connsiteY3" fmla="*/ 0 h 18643"/>
              <a:gd name="connsiteX4" fmla="*/ 8157 w 16313"/>
              <a:gd name="connsiteY4" fmla="*/ 0 h 18643"/>
              <a:gd name="connsiteX5" fmla="*/ 16313 w 16313"/>
              <a:gd name="connsiteY5" fmla="*/ 9322 h 18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13" h="18643">
                <a:moveTo>
                  <a:pt x="8157" y="18644"/>
                </a:moveTo>
                <a:lnTo>
                  <a:pt x="0" y="18644"/>
                </a:lnTo>
                <a:lnTo>
                  <a:pt x="9322" y="9322"/>
                </a:lnTo>
                <a:lnTo>
                  <a:pt x="0" y="0"/>
                </a:lnTo>
                <a:lnTo>
                  <a:pt x="8157" y="0"/>
                </a:lnTo>
                <a:lnTo>
                  <a:pt x="16313" y="9322"/>
                </a:lnTo>
                <a:close/>
              </a:path>
            </a:pathLst>
          </a:custGeom>
          <a:solidFill>
            <a:srgbClr val="EEF2F5"/>
          </a:solidFill>
          <a:ln w="11643" cap="flat">
            <a:noFill/>
            <a:prstDash val="solid"/>
            <a:miter/>
          </a:ln>
        </p:spPr>
        <p:txBody>
          <a:bodyPr rtlCol="0" anchor="ctr"/>
          <a:lstStyle/>
          <a:p>
            <a:endParaRPr lang="de-DE"/>
          </a:p>
        </p:txBody>
      </p:sp>
      <p:sp>
        <p:nvSpPr>
          <p:cNvPr id="311" name="Freihandform: Form 310">
            <a:extLst>
              <a:ext uri="{FF2B5EF4-FFF2-40B4-BE49-F238E27FC236}">
                <a16:creationId xmlns:a16="http://schemas.microsoft.com/office/drawing/2014/main" id="{84957465-0B73-4E55-8E53-1C8F5B558178}"/>
              </a:ext>
            </a:extLst>
          </p:cNvPr>
          <p:cNvSpPr/>
          <p:nvPr userDrawn="1"/>
        </p:nvSpPr>
        <p:spPr>
          <a:xfrm>
            <a:off x="4909201" y="2811092"/>
            <a:ext cx="16313" cy="17478"/>
          </a:xfrm>
          <a:custGeom>
            <a:avLst/>
            <a:gdLst>
              <a:gd name="connsiteX0" fmla="*/ 8157 w 16313"/>
              <a:gd name="connsiteY0" fmla="*/ 17479 h 17478"/>
              <a:gd name="connsiteX1" fmla="*/ 0 w 16313"/>
              <a:gd name="connsiteY1" fmla="*/ 17479 h 17478"/>
              <a:gd name="connsiteX2" fmla="*/ 9322 w 16313"/>
              <a:gd name="connsiteY2" fmla="*/ 8157 h 17478"/>
              <a:gd name="connsiteX3" fmla="*/ 0 w 16313"/>
              <a:gd name="connsiteY3" fmla="*/ 0 h 17478"/>
              <a:gd name="connsiteX4" fmla="*/ 8157 w 16313"/>
              <a:gd name="connsiteY4" fmla="*/ 0 h 17478"/>
              <a:gd name="connsiteX5" fmla="*/ 16313 w 16313"/>
              <a:gd name="connsiteY5" fmla="*/ 8157 h 17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13" h="17478">
                <a:moveTo>
                  <a:pt x="8157" y="17479"/>
                </a:moveTo>
                <a:lnTo>
                  <a:pt x="0" y="17479"/>
                </a:lnTo>
                <a:lnTo>
                  <a:pt x="9322" y="8157"/>
                </a:lnTo>
                <a:lnTo>
                  <a:pt x="0" y="0"/>
                </a:lnTo>
                <a:lnTo>
                  <a:pt x="8157" y="0"/>
                </a:lnTo>
                <a:lnTo>
                  <a:pt x="16313" y="8157"/>
                </a:lnTo>
                <a:close/>
              </a:path>
            </a:pathLst>
          </a:custGeom>
          <a:solidFill>
            <a:srgbClr val="EEF2F5"/>
          </a:solidFill>
          <a:ln w="11643" cap="flat">
            <a:noFill/>
            <a:prstDash val="solid"/>
            <a:miter/>
          </a:ln>
        </p:spPr>
        <p:txBody>
          <a:bodyPr rtlCol="0" anchor="ctr"/>
          <a:lstStyle/>
          <a:p>
            <a:endParaRPr lang="de-DE"/>
          </a:p>
        </p:txBody>
      </p:sp>
      <p:sp>
        <p:nvSpPr>
          <p:cNvPr id="312" name="Freihandform: Form 311">
            <a:extLst>
              <a:ext uri="{FF2B5EF4-FFF2-40B4-BE49-F238E27FC236}">
                <a16:creationId xmlns:a16="http://schemas.microsoft.com/office/drawing/2014/main" id="{87FB61E4-1ACD-4B14-BC93-A9AC520FBB33}"/>
              </a:ext>
            </a:extLst>
          </p:cNvPr>
          <p:cNvSpPr/>
          <p:nvPr userDrawn="1"/>
        </p:nvSpPr>
        <p:spPr>
          <a:xfrm>
            <a:off x="4909201" y="6359273"/>
            <a:ext cx="16313" cy="18643"/>
          </a:xfrm>
          <a:custGeom>
            <a:avLst/>
            <a:gdLst>
              <a:gd name="connsiteX0" fmla="*/ 8157 w 16313"/>
              <a:gd name="connsiteY0" fmla="*/ 18644 h 18643"/>
              <a:gd name="connsiteX1" fmla="*/ 0 w 16313"/>
              <a:gd name="connsiteY1" fmla="*/ 18644 h 18643"/>
              <a:gd name="connsiteX2" fmla="*/ 9322 w 16313"/>
              <a:gd name="connsiteY2" fmla="*/ 9322 h 18643"/>
              <a:gd name="connsiteX3" fmla="*/ 0 w 16313"/>
              <a:gd name="connsiteY3" fmla="*/ 0 h 18643"/>
              <a:gd name="connsiteX4" fmla="*/ 8157 w 16313"/>
              <a:gd name="connsiteY4" fmla="*/ 0 h 18643"/>
              <a:gd name="connsiteX5" fmla="*/ 16313 w 16313"/>
              <a:gd name="connsiteY5" fmla="*/ 9322 h 18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13" h="18643">
                <a:moveTo>
                  <a:pt x="8157" y="18644"/>
                </a:moveTo>
                <a:lnTo>
                  <a:pt x="0" y="18644"/>
                </a:lnTo>
                <a:lnTo>
                  <a:pt x="9322" y="9322"/>
                </a:lnTo>
                <a:lnTo>
                  <a:pt x="0" y="0"/>
                </a:lnTo>
                <a:lnTo>
                  <a:pt x="8157" y="0"/>
                </a:lnTo>
                <a:lnTo>
                  <a:pt x="16313" y="9322"/>
                </a:lnTo>
                <a:close/>
              </a:path>
            </a:pathLst>
          </a:custGeom>
          <a:solidFill>
            <a:srgbClr val="EEF2F5"/>
          </a:solidFill>
          <a:ln w="11643" cap="flat">
            <a:noFill/>
            <a:prstDash val="solid"/>
            <a:miter/>
          </a:ln>
        </p:spPr>
        <p:txBody>
          <a:bodyPr rtlCol="0" anchor="ctr"/>
          <a:lstStyle/>
          <a:p>
            <a:endParaRPr lang="de-DE"/>
          </a:p>
        </p:txBody>
      </p:sp>
      <p:sp>
        <p:nvSpPr>
          <p:cNvPr id="313" name="Freihandform: Form 312">
            <a:extLst>
              <a:ext uri="{FF2B5EF4-FFF2-40B4-BE49-F238E27FC236}">
                <a16:creationId xmlns:a16="http://schemas.microsoft.com/office/drawing/2014/main" id="{FF52D444-9AC4-4068-BEAF-D99296A51975}"/>
              </a:ext>
            </a:extLst>
          </p:cNvPr>
          <p:cNvSpPr/>
          <p:nvPr userDrawn="1"/>
        </p:nvSpPr>
        <p:spPr>
          <a:xfrm>
            <a:off x="4909201" y="6714673"/>
            <a:ext cx="16313" cy="17478"/>
          </a:xfrm>
          <a:custGeom>
            <a:avLst/>
            <a:gdLst>
              <a:gd name="connsiteX0" fmla="*/ 8157 w 16313"/>
              <a:gd name="connsiteY0" fmla="*/ 17479 h 17478"/>
              <a:gd name="connsiteX1" fmla="*/ 0 w 16313"/>
              <a:gd name="connsiteY1" fmla="*/ 17479 h 17478"/>
              <a:gd name="connsiteX2" fmla="*/ 9322 w 16313"/>
              <a:gd name="connsiteY2" fmla="*/ 8157 h 17478"/>
              <a:gd name="connsiteX3" fmla="*/ 0 w 16313"/>
              <a:gd name="connsiteY3" fmla="*/ 0 h 17478"/>
              <a:gd name="connsiteX4" fmla="*/ 8157 w 16313"/>
              <a:gd name="connsiteY4" fmla="*/ 0 h 17478"/>
              <a:gd name="connsiteX5" fmla="*/ 16313 w 16313"/>
              <a:gd name="connsiteY5" fmla="*/ 8157 h 17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13" h="17478">
                <a:moveTo>
                  <a:pt x="8157" y="17479"/>
                </a:moveTo>
                <a:lnTo>
                  <a:pt x="0" y="17479"/>
                </a:lnTo>
                <a:lnTo>
                  <a:pt x="9322" y="8157"/>
                </a:lnTo>
                <a:lnTo>
                  <a:pt x="0" y="0"/>
                </a:lnTo>
                <a:lnTo>
                  <a:pt x="8157" y="0"/>
                </a:lnTo>
                <a:lnTo>
                  <a:pt x="16313" y="8157"/>
                </a:lnTo>
                <a:close/>
              </a:path>
            </a:pathLst>
          </a:custGeom>
          <a:solidFill>
            <a:srgbClr val="EEF2F5"/>
          </a:solidFill>
          <a:ln w="11643" cap="flat">
            <a:noFill/>
            <a:prstDash val="solid"/>
            <a:miter/>
          </a:ln>
        </p:spPr>
        <p:txBody>
          <a:bodyPr rtlCol="0" anchor="ctr"/>
          <a:lstStyle/>
          <a:p>
            <a:endParaRPr lang="de-DE"/>
          </a:p>
        </p:txBody>
      </p:sp>
      <p:sp>
        <p:nvSpPr>
          <p:cNvPr id="314" name="Freihandform: Form 313">
            <a:extLst>
              <a:ext uri="{FF2B5EF4-FFF2-40B4-BE49-F238E27FC236}">
                <a16:creationId xmlns:a16="http://schemas.microsoft.com/office/drawing/2014/main" id="{3F69FE79-2706-4C30-8966-0A2EC1910BF0}"/>
              </a:ext>
            </a:extLst>
          </p:cNvPr>
          <p:cNvSpPr/>
          <p:nvPr userDrawn="1"/>
        </p:nvSpPr>
        <p:spPr>
          <a:xfrm>
            <a:off x="5255279" y="2092134"/>
            <a:ext cx="33792" cy="36122"/>
          </a:xfrm>
          <a:custGeom>
            <a:avLst/>
            <a:gdLst>
              <a:gd name="connsiteX0" fmla="*/ 15148 w 33792"/>
              <a:gd name="connsiteY0" fmla="*/ 36123 h 36122"/>
              <a:gd name="connsiteX1" fmla="*/ 0 w 33792"/>
              <a:gd name="connsiteY1" fmla="*/ 36123 h 36122"/>
              <a:gd name="connsiteX2" fmla="*/ 18644 w 33792"/>
              <a:gd name="connsiteY2" fmla="*/ 17479 h 36122"/>
              <a:gd name="connsiteX3" fmla="*/ 0 w 33792"/>
              <a:gd name="connsiteY3" fmla="*/ 0 h 36122"/>
              <a:gd name="connsiteX4" fmla="*/ 16313 w 33792"/>
              <a:gd name="connsiteY4" fmla="*/ 0 h 36122"/>
              <a:gd name="connsiteX5" fmla="*/ 33792 w 33792"/>
              <a:gd name="connsiteY5" fmla="*/ 17479 h 3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92" h="36122">
                <a:moveTo>
                  <a:pt x="15148" y="36123"/>
                </a:moveTo>
                <a:lnTo>
                  <a:pt x="0" y="36123"/>
                </a:lnTo>
                <a:lnTo>
                  <a:pt x="18644" y="17479"/>
                </a:lnTo>
                <a:lnTo>
                  <a:pt x="0" y="0"/>
                </a:lnTo>
                <a:lnTo>
                  <a:pt x="16313" y="0"/>
                </a:lnTo>
                <a:lnTo>
                  <a:pt x="33792" y="17479"/>
                </a:lnTo>
                <a:close/>
              </a:path>
            </a:pathLst>
          </a:custGeom>
          <a:solidFill>
            <a:srgbClr val="EEF2F5"/>
          </a:solidFill>
          <a:ln w="11643" cap="flat">
            <a:noFill/>
            <a:prstDash val="solid"/>
            <a:miter/>
          </a:ln>
        </p:spPr>
        <p:txBody>
          <a:bodyPr rtlCol="0" anchor="ctr"/>
          <a:lstStyle/>
          <a:p>
            <a:endParaRPr lang="de-DE"/>
          </a:p>
        </p:txBody>
      </p:sp>
      <p:sp>
        <p:nvSpPr>
          <p:cNvPr id="315" name="Freihandform: Form 314">
            <a:extLst>
              <a:ext uri="{FF2B5EF4-FFF2-40B4-BE49-F238E27FC236}">
                <a16:creationId xmlns:a16="http://schemas.microsoft.com/office/drawing/2014/main" id="{F4B53603-3712-42FD-9602-D38612E562AF}"/>
              </a:ext>
            </a:extLst>
          </p:cNvPr>
          <p:cNvSpPr/>
          <p:nvPr userDrawn="1"/>
        </p:nvSpPr>
        <p:spPr>
          <a:xfrm>
            <a:off x="5255279" y="2446370"/>
            <a:ext cx="33792" cy="36122"/>
          </a:xfrm>
          <a:custGeom>
            <a:avLst/>
            <a:gdLst>
              <a:gd name="connsiteX0" fmla="*/ 15148 w 33792"/>
              <a:gd name="connsiteY0" fmla="*/ 36123 h 36122"/>
              <a:gd name="connsiteX1" fmla="*/ 0 w 33792"/>
              <a:gd name="connsiteY1" fmla="*/ 36123 h 36122"/>
              <a:gd name="connsiteX2" fmla="*/ 18644 w 33792"/>
              <a:gd name="connsiteY2" fmla="*/ 18644 h 36122"/>
              <a:gd name="connsiteX3" fmla="*/ 0 w 33792"/>
              <a:gd name="connsiteY3" fmla="*/ 0 h 36122"/>
              <a:gd name="connsiteX4" fmla="*/ 16313 w 33792"/>
              <a:gd name="connsiteY4" fmla="*/ 0 h 36122"/>
              <a:gd name="connsiteX5" fmla="*/ 33792 w 33792"/>
              <a:gd name="connsiteY5" fmla="*/ 18644 h 3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92" h="36122">
                <a:moveTo>
                  <a:pt x="15148" y="36123"/>
                </a:moveTo>
                <a:lnTo>
                  <a:pt x="0" y="36123"/>
                </a:lnTo>
                <a:lnTo>
                  <a:pt x="18644" y="18644"/>
                </a:lnTo>
                <a:lnTo>
                  <a:pt x="0" y="0"/>
                </a:lnTo>
                <a:lnTo>
                  <a:pt x="16313" y="0"/>
                </a:lnTo>
                <a:lnTo>
                  <a:pt x="33792" y="18644"/>
                </a:lnTo>
                <a:close/>
              </a:path>
            </a:pathLst>
          </a:custGeom>
          <a:solidFill>
            <a:srgbClr val="EEF2F5"/>
          </a:solidFill>
          <a:ln w="11643" cap="flat">
            <a:noFill/>
            <a:prstDash val="solid"/>
            <a:miter/>
          </a:ln>
        </p:spPr>
        <p:txBody>
          <a:bodyPr rtlCol="0" anchor="ctr"/>
          <a:lstStyle/>
          <a:p>
            <a:endParaRPr lang="de-DE"/>
          </a:p>
        </p:txBody>
      </p:sp>
      <p:sp>
        <p:nvSpPr>
          <p:cNvPr id="316" name="Freihandform: Form 315">
            <a:extLst>
              <a:ext uri="{FF2B5EF4-FFF2-40B4-BE49-F238E27FC236}">
                <a16:creationId xmlns:a16="http://schemas.microsoft.com/office/drawing/2014/main" id="{4E782172-F80C-4F0D-9EAC-FB60DC8E79B1}"/>
              </a:ext>
            </a:extLst>
          </p:cNvPr>
          <p:cNvSpPr/>
          <p:nvPr userDrawn="1"/>
        </p:nvSpPr>
        <p:spPr>
          <a:xfrm>
            <a:off x="5255279" y="2801770"/>
            <a:ext cx="33792" cy="36122"/>
          </a:xfrm>
          <a:custGeom>
            <a:avLst/>
            <a:gdLst>
              <a:gd name="connsiteX0" fmla="*/ 15148 w 33792"/>
              <a:gd name="connsiteY0" fmla="*/ 36123 h 36122"/>
              <a:gd name="connsiteX1" fmla="*/ 0 w 33792"/>
              <a:gd name="connsiteY1" fmla="*/ 36123 h 36122"/>
              <a:gd name="connsiteX2" fmla="*/ 18644 w 33792"/>
              <a:gd name="connsiteY2" fmla="*/ 17479 h 36122"/>
              <a:gd name="connsiteX3" fmla="*/ 0 w 33792"/>
              <a:gd name="connsiteY3" fmla="*/ 0 h 36122"/>
              <a:gd name="connsiteX4" fmla="*/ 16313 w 33792"/>
              <a:gd name="connsiteY4" fmla="*/ 0 h 36122"/>
              <a:gd name="connsiteX5" fmla="*/ 33792 w 33792"/>
              <a:gd name="connsiteY5" fmla="*/ 17479 h 3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92" h="36122">
                <a:moveTo>
                  <a:pt x="15148" y="36123"/>
                </a:moveTo>
                <a:lnTo>
                  <a:pt x="0" y="36123"/>
                </a:lnTo>
                <a:lnTo>
                  <a:pt x="18644" y="17479"/>
                </a:lnTo>
                <a:lnTo>
                  <a:pt x="0" y="0"/>
                </a:lnTo>
                <a:lnTo>
                  <a:pt x="16313" y="0"/>
                </a:lnTo>
                <a:lnTo>
                  <a:pt x="33792" y="17479"/>
                </a:lnTo>
                <a:close/>
              </a:path>
            </a:pathLst>
          </a:custGeom>
          <a:solidFill>
            <a:srgbClr val="EEF2F5"/>
          </a:solidFill>
          <a:ln w="11643" cap="flat">
            <a:noFill/>
            <a:prstDash val="solid"/>
            <a:miter/>
          </a:ln>
        </p:spPr>
        <p:txBody>
          <a:bodyPr rtlCol="0" anchor="ctr"/>
          <a:lstStyle/>
          <a:p>
            <a:endParaRPr lang="de-DE"/>
          </a:p>
        </p:txBody>
      </p:sp>
      <p:sp>
        <p:nvSpPr>
          <p:cNvPr id="317" name="Freihandform: Form 316">
            <a:extLst>
              <a:ext uri="{FF2B5EF4-FFF2-40B4-BE49-F238E27FC236}">
                <a16:creationId xmlns:a16="http://schemas.microsoft.com/office/drawing/2014/main" id="{5AC89AEE-3E21-479D-AFC6-890140A3CE25}"/>
              </a:ext>
            </a:extLst>
          </p:cNvPr>
          <p:cNvSpPr/>
          <p:nvPr userDrawn="1"/>
        </p:nvSpPr>
        <p:spPr>
          <a:xfrm>
            <a:off x="5255279" y="3156006"/>
            <a:ext cx="33792" cy="36122"/>
          </a:xfrm>
          <a:custGeom>
            <a:avLst/>
            <a:gdLst>
              <a:gd name="connsiteX0" fmla="*/ 15148 w 33792"/>
              <a:gd name="connsiteY0" fmla="*/ 36123 h 36122"/>
              <a:gd name="connsiteX1" fmla="*/ 0 w 33792"/>
              <a:gd name="connsiteY1" fmla="*/ 36123 h 36122"/>
              <a:gd name="connsiteX2" fmla="*/ 18644 w 33792"/>
              <a:gd name="connsiteY2" fmla="*/ 18644 h 36122"/>
              <a:gd name="connsiteX3" fmla="*/ 0 w 33792"/>
              <a:gd name="connsiteY3" fmla="*/ 0 h 36122"/>
              <a:gd name="connsiteX4" fmla="*/ 16313 w 33792"/>
              <a:gd name="connsiteY4" fmla="*/ 0 h 36122"/>
              <a:gd name="connsiteX5" fmla="*/ 33792 w 33792"/>
              <a:gd name="connsiteY5" fmla="*/ 18644 h 3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92" h="36122">
                <a:moveTo>
                  <a:pt x="15148" y="36123"/>
                </a:moveTo>
                <a:lnTo>
                  <a:pt x="0" y="36123"/>
                </a:lnTo>
                <a:lnTo>
                  <a:pt x="18644" y="18644"/>
                </a:lnTo>
                <a:lnTo>
                  <a:pt x="0" y="0"/>
                </a:lnTo>
                <a:lnTo>
                  <a:pt x="16313" y="0"/>
                </a:lnTo>
                <a:lnTo>
                  <a:pt x="33792" y="18644"/>
                </a:lnTo>
                <a:close/>
              </a:path>
            </a:pathLst>
          </a:custGeom>
          <a:solidFill>
            <a:srgbClr val="EEF2F5"/>
          </a:solidFill>
          <a:ln w="11643" cap="flat">
            <a:noFill/>
            <a:prstDash val="solid"/>
            <a:miter/>
          </a:ln>
        </p:spPr>
        <p:txBody>
          <a:bodyPr rtlCol="0" anchor="ctr"/>
          <a:lstStyle/>
          <a:p>
            <a:endParaRPr lang="de-DE"/>
          </a:p>
        </p:txBody>
      </p:sp>
      <p:sp>
        <p:nvSpPr>
          <p:cNvPr id="318" name="Freihandform: Form 317">
            <a:extLst>
              <a:ext uri="{FF2B5EF4-FFF2-40B4-BE49-F238E27FC236}">
                <a16:creationId xmlns:a16="http://schemas.microsoft.com/office/drawing/2014/main" id="{B49D284A-3754-4334-8ECC-958A57DEF1F2}"/>
              </a:ext>
            </a:extLst>
          </p:cNvPr>
          <p:cNvSpPr/>
          <p:nvPr userDrawn="1"/>
        </p:nvSpPr>
        <p:spPr>
          <a:xfrm>
            <a:off x="5255279" y="5995715"/>
            <a:ext cx="33792" cy="36122"/>
          </a:xfrm>
          <a:custGeom>
            <a:avLst/>
            <a:gdLst>
              <a:gd name="connsiteX0" fmla="*/ 15148 w 33792"/>
              <a:gd name="connsiteY0" fmla="*/ 36123 h 36122"/>
              <a:gd name="connsiteX1" fmla="*/ 0 w 33792"/>
              <a:gd name="connsiteY1" fmla="*/ 36123 h 36122"/>
              <a:gd name="connsiteX2" fmla="*/ 18644 w 33792"/>
              <a:gd name="connsiteY2" fmla="*/ 17479 h 36122"/>
              <a:gd name="connsiteX3" fmla="*/ 0 w 33792"/>
              <a:gd name="connsiteY3" fmla="*/ 0 h 36122"/>
              <a:gd name="connsiteX4" fmla="*/ 16313 w 33792"/>
              <a:gd name="connsiteY4" fmla="*/ 0 h 36122"/>
              <a:gd name="connsiteX5" fmla="*/ 33792 w 33792"/>
              <a:gd name="connsiteY5" fmla="*/ 17479 h 3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92" h="36122">
                <a:moveTo>
                  <a:pt x="15148" y="36123"/>
                </a:moveTo>
                <a:lnTo>
                  <a:pt x="0" y="36123"/>
                </a:lnTo>
                <a:lnTo>
                  <a:pt x="18644" y="17479"/>
                </a:lnTo>
                <a:lnTo>
                  <a:pt x="0" y="0"/>
                </a:lnTo>
                <a:lnTo>
                  <a:pt x="16313" y="0"/>
                </a:lnTo>
                <a:lnTo>
                  <a:pt x="33792" y="17479"/>
                </a:lnTo>
                <a:close/>
              </a:path>
            </a:pathLst>
          </a:custGeom>
          <a:solidFill>
            <a:srgbClr val="EEF2F5"/>
          </a:solidFill>
          <a:ln w="11643" cap="flat">
            <a:noFill/>
            <a:prstDash val="solid"/>
            <a:miter/>
          </a:ln>
        </p:spPr>
        <p:txBody>
          <a:bodyPr rtlCol="0" anchor="ctr"/>
          <a:lstStyle/>
          <a:p>
            <a:endParaRPr lang="de-DE"/>
          </a:p>
        </p:txBody>
      </p:sp>
      <p:sp>
        <p:nvSpPr>
          <p:cNvPr id="319" name="Freihandform: Form 318">
            <a:extLst>
              <a:ext uri="{FF2B5EF4-FFF2-40B4-BE49-F238E27FC236}">
                <a16:creationId xmlns:a16="http://schemas.microsoft.com/office/drawing/2014/main" id="{A69B0409-A733-4EE2-98C0-896F38B72165}"/>
              </a:ext>
            </a:extLst>
          </p:cNvPr>
          <p:cNvSpPr/>
          <p:nvPr userDrawn="1"/>
        </p:nvSpPr>
        <p:spPr>
          <a:xfrm>
            <a:off x="5255279" y="6349950"/>
            <a:ext cx="33792" cy="36122"/>
          </a:xfrm>
          <a:custGeom>
            <a:avLst/>
            <a:gdLst>
              <a:gd name="connsiteX0" fmla="*/ 15148 w 33792"/>
              <a:gd name="connsiteY0" fmla="*/ 36123 h 36122"/>
              <a:gd name="connsiteX1" fmla="*/ 0 w 33792"/>
              <a:gd name="connsiteY1" fmla="*/ 36123 h 36122"/>
              <a:gd name="connsiteX2" fmla="*/ 18644 w 33792"/>
              <a:gd name="connsiteY2" fmla="*/ 18644 h 36122"/>
              <a:gd name="connsiteX3" fmla="*/ 0 w 33792"/>
              <a:gd name="connsiteY3" fmla="*/ 0 h 36122"/>
              <a:gd name="connsiteX4" fmla="*/ 16313 w 33792"/>
              <a:gd name="connsiteY4" fmla="*/ 0 h 36122"/>
              <a:gd name="connsiteX5" fmla="*/ 33792 w 33792"/>
              <a:gd name="connsiteY5" fmla="*/ 17479 h 3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92" h="36122">
                <a:moveTo>
                  <a:pt x="15148" y="36123"/>
                </a:moveTo>
                <a:lnTo>
                  <a:pt x="0" y="36123"/>
                </a:lnTo>
                <a:lnTo>
                  <a:pt x="18644" y="18644"/>
                </a:lnTo>
                <a:lnTo>
                  <a:pt x="0" y="0"/>
                </a:lnTo>
                <a:lnTo>
                  <a:pt x="16313" y="0"/>
                </a:lnTo>
                <a:lnTo>
                  <a:pt x="33792" y="17479"/>
                </a:lnTo>
                <a:close/>
              </a:path>
            </a:pathLst>
          </a:custGeom>
          <a:solidFill>
            <a:srgbClr val="EEF2F5"/>
          </a:solidFill>
          <a:ln w="11643" cap="flat">
            <a:noFill/>
            <a:prstDash val="solid"/>
            <a:miter/>
          </a:ln>
        </p:spPr>
        <p:txBody>
          <a:bodyPr rtlCol="0" anchor="ctr"/>
          <a:lstStyle/>
          <a:p>
            <a:endParaRPr lang="de-DE"/>
          </a:p>
        </p:txBody>
      </p:sp>
      <p:sp>
        <p:nvSpPr>
          <p:cNvPr id="320" name="Freihandform: Form 319">
            <a:extLst>
              <a:ext uri="{FF2B5EF4-FFF2-40B4-BE49-F238E27FC236}">
                <a16:creationId xmlns:a16="http://schemas.microsoft.com/office/drawing/2014/main" id="{CF4A57C6-D03C-4435-9ADC-6B2A2369F87E}"/>
              </a:ext>
            </a:extLst>
          </p:cNvPr>
          <p:cNvSpPr/>
          <p:nvPr userDrawn="1"/>
        </p:nvSpPr>
        <p:spPr>
          <a:xfrm>
            <a:off x="5255279" y="6705351"/>
            <a:ext cx="33792" cy="36122"/>
          </a:xfrm>
          <a:custGeom>
            <a:avLst/>
            <a:gdLst>
              <a:gd name="connsiteX0" fmla="*/ 15148 w 33792"/>
              <a:gd name="connsiteY0" fmla="*/ 36123 h 36122"/>
              <a:gd name="connsiteX1" fmla="*/ 0 w 33792"/>
              <a:gd name="connsiteY1" fmla="*/ 36123 h 36122"/>
              <a:gd name="connsiteX2" fmla="*/ 18644 w 33792"/>
              <a:gd name="connsiteY2" fmla="*/ 17479 h 36122"/>
              <a:gd name="connsiteX3" fmla="*/ 0 w 33792"/>
              <a:gd name="connsiteY3" fmla="*/ 0 h 36122"/>
              <a:gd name="connsiteX4" fmla="*/ 16313 w 33792"/>
              <a:gd name="connsiteY4" fmla="*/ 0 h 36122"/>
              <a:gd name="connsiteX5" fmla="*/ 33792 w 33792"/>
              <a:gd name="connsiteY5" fmla="*/ 17479 h 3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92" h="36122">
                <a:moveTo>
                  <a:pt x="15148" y="36123"/>
                </a:moveTo>
                <a:lnTo>
                  <a:pt x="0" y="36123"/>
                </a:lnTo>
                <a:lnTo>
                  <a:pt x="18644" y="17479"/>
                </a:lnTo>
                <a:lnTo>
                  <a:pt x="0" y="0"/>
                </a:lnTo>
                <a:lnTo>
                  <a:pt x="16313" y="0"/>
                </a:lnTo>
                <a:lnTo>
                  <a:pt x="33792" y="17479"/>
                </a:lnTo>
                <a:close/>
              </a:path>
            </a:pathLst>
          </a:custGeom>
          <a:solidFill>
            <a:srgbClr val="EEF2F5"/>
          </a:solidFill>
          <a:ln w="11643" cap="flat">
            <a:noFill/>
            <a:prstDash val="solid"/>
            <a:miter/>
          </a:ln>
        </p:spPr>
        <p:txBody>
          <a:bodyPr rtlCol="0" anchor="ctr"/>
          <a:lstStyle/>
          <a:p>
            <a:endParaRPr lang="de-DE"/>
          </a:p>
        </p:txBody>
      </p:sp>
      <p:sp>
        <p:nvSpPr>
          <p:cNvPr id="321" name="Freihandform: Form 320">
            <a:extLst>
              <a:ext uri="{FF2B5EF4-FFF2-40B4-BE49-F238E27FC236}">
                <a16:creationId xmlns:a16="http://schemas.microsoft.com/office/drawing/2014/main" id="{1807184F-5BFC-46A4-B573-61D79451EAFB}"/>
              </a:ext>
            </a:extLst>
          </p:cNvPr>
          <p:cNvSpPr/>
          <p:nvPr userDrawn="1"/>
        </p:nvSpPr>
        <p:spPr>
          <a:xfrm>
            <a:off x="5602523" y="2082812"/>
            <a:ext cx="50105" cy="54766"/>
          </a:xfrm>
          <a:custGeom>
            <a:avLst/>
            <a:gdLst>
              <a:gd name="connsiteX0" fmla="*/ 22140 w 50105"/>
              <a:gd name="connsiteY0" fmla="*/ 54767 h 54766"/>
              <a:gd name="connsiteX1" fmla="*/ 0 w 50105"/>
              <a:gd name="connsiteY1" fmla="*/ 54767 h 54766"/>
              <a:gd name="connsiteX2" fmla="*/ 26801 w 50105"/>
              <a:gd name="connsiteY2" fmla="*/ 27966 h 54766"/>
              <a:gd name="connsiteX3" fmla="*/ 0 w 50105"/>
              <a:gd name="connsiteY3" fmla="*/ 0 h 54766"/>
              <a:gd name="connsiteX4" fmla="*/ 23305 w 50105"/>
              <a:gd name="connsiteY4" fmla="*/ 0 h 54766"/>
              <a:gd name="connsiteX5" fmla="*/ 50106 w 50105"/>
              <a:gd name="connsiteY5" fmla="*/ 26801 h 5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4765">
                <a:moveTo>
                  <a:pt x="22140" y="54767"/>
                </a:moveTo>
                <a:lnTo>
                  <a:pt x="0" y="54767"/>
                </a:lnTo>
                <a:lnTo>
                  <a:pt x="26801" y="27966"/>
                </a:lnTo>
                <a:lnTo>
                  <a:pt x="0" y="0"/>
                </a:lnTo>
                <a:lnTo>
                  <a:pt x="23305" y="0"/>
                </a:lnTo>
                <a:lnTo>
                  <a:pt x="50106" y="26801"/>
                </a:lnTo>
                <a:close/>
              </a:path>
            </a:pathLst>
          </a:custGeom>
          <a:solidFill>
            <a:srgbClr val="EEF2F5"/>
          </a:solidFill>
          <a:ln w="11643" cap="flat">
            <a:noFill/>
            <a:prstDash val="solid"/>
            <a:miter/>
          </a:ln>
        </p:spPr>
        <p:txBody>
          <a:bodyPr rtlCol="0" anchor="ctr"/>
          <a:lstStyle/>
          <a:p>
            <a:endParaRPr lang="de-DE"/>
          </a:p>
        </p:txBody>
      </p:sp>
      <p:sp>
        <p:nvSpPr>
          <p:cNvPr id="322" name="Freihandform: Form 321">
            <a:extLst>
              <a:ext uri="{FF2B5EF4-FFF2-40B4-BE49-F238E27FC236}">
                <a16:creationId xmlns:a16="http://schemas.microsoft.com/office/drawing/2014/main" id="{C0D0B83B-4824-46BE-8996-93D859654DAF}"/>
              </a:ext>
            </a:extLst>
          </p:cNvPr>
          <p:cNvSpPr/>
          <p:nvPr userDrawn="1"/>
        </p:nvSpPr>
        <p:spPr>
          <a:xfrm>
            <a:off x="5602523" y="2438213"/>
            <a:ext cx="50105" cy="53601"/>
          </a:xfrm>
          <a:custGeom>
            <a:avLst/>
            <a:gdLst>
              <a:gd name="connsiteX0" fmla="*/ 22140 w 50105"/>
              <a:gd name="connsiteY0" fmla="*/ 53601 h 53601"/>
              <a:gd name="connsiteX1" fmla="*/ 0 w 50105"/>
              <a:gd name="connsiteY1" fmla="*/ 53601 h 53601"/>
              <a:gd name="connsiteX2" fmla="*/ 26801 w 50105"/>
              <a:gd name="connsiteY2" fmla="*/ 26801 h 53601"/>
              <a:gd name="connsiteX3" fmla="*/ 0 w 50105"/>
              <a:gd name="connsiteY3" fmla="*/ 0 h 53601"/>
              <a:gd name="connsiteX4" fmla="*/ 23305 w 50105"/>
              <a:gd name="connsiteY4" fmla="*/ 0 h 53601"/>
              <a:gd name="connsiteX5" fmla="*/ 50106 w 50105"/>
              <a:gd name="connsiteY5" fmla="*/ 25635 h 53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3601">
                <a:moveTo>
                  <a:pt x="22140" y="53601"/>
                </a:moveTo>
                <a:lnTo>
                  <a:pt x="0" y="53601"/>
                </a:lnTo>
                <a:lnTo>
                  <a:pt x="26801" y="26801"/>
                </a:lnTo>
                <a:lnTo>
                  <a:pt x="0" y="0"/>
                </a:lnTo>
                <a:lnTo>
                  <a:pt x="23305" y="0"/>
                </a:lnTo>
                <a:lnTo>
                  <a:pt x="50106" y="25635"/>
                </a:lnTo>
                <a:close/>
              </a:path>
            </a:pathLst>
          </a:custGeom>
          <a:solidFill>
            <a:srgbClr val="EEF2F5"/>
          </a:solidFill>
          <a:ln w="11643" cap="flat">
            <a:noFill/>
            <a:prstDash val="solid"/>
            <a:miter/>
          </a:ln>
        </p:spPr>
        <p:txBody>
          <a:bodyPr rtlCol="0" anchor="ctr"/>
          <a:lstStyle/>
          <a:p>
            <a:endParaRPr lang="de-DE"/>
          </a:p>
        </p:txBody>
      </p:sp>
      <p:sp>
        <p:nvSpPr>
          <p:cNvPr id="323" name="Freihandform: Form 322">
            <a:extLst>
              <a:ext uri="{FF2B5EF4-FFF2-40B4-BE49-F238E27FC236}">
                <a16:creationId xmlns:a16="http://schemas.microsoft.com/office/drawing/2014/main" id="{12E80D0E-DA88-4D3B-A304-2437DDA9D26E}"/>
              </a:ext>
            </a:extLst>
          </p:cNvPr>
          <p:cNvSpPr/>
          <p:nvPr userDrawn="1"/>
        </p:nvSpPr>
        <p:spPr>
          <a:xfrm>
            <a:off x="5602523" y="2792448"/>
            <a:ext cx="50105" cy="54766"/>
          </a:xfrm>
          <a:custGeom>
            <a:avLst/>
            <a:gdLst>
              <a:gd name="connsiteX0" fmla="*/ 22140 w 50105"/>
              <a:gd name="connsiteY0" fmla="*/ 54767 h 54766"/>
              <a:gd name="connsiteX1" fmla="*/ 0 w 50105"/>
              <a:gd name="connsiteY1" fmla="*/ 54767 h 54766"/>
              <a:gd name="connsiteX2" fmla="*/ 26801 w 50105"/>
              <a:gd name="connsiteY2" fmla="*/ 27966 h 54766"/>
              <a:gd name="connsiteX3" fmla="*/ 0 w 50105"/>
              <a:gd name="connsiteY3" fmla="*/ 0 h 54766"/>
              <a:gd name="connsiteX4" fmla="*/ 23305 w 50105"/>
              <a:gd name="connsiteY4" fmla="*/ 0 h 54766"/>
              <a:gd name="connsiteX5" fmla="*/ 50106 w 50105"/>
              <a:gd name="connsiteY5" fmla="*/ 26801 h 5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4765">
                <a:moveTo>
                  <a:pt x="22140" y="54767"/>
                </a:moveTo>
                <a:lnTo>
                  <a:pt x="0" y="54767"/>
                </a:lnTo>
                <a:lnTo>
                  <a:pt x="26801" y="27966"/>
                </a:lnTo>
                <a:lnTo>
                  <a:pt x="0" y="0"/>
                </a:lnTo>
                <a:lnTo>
                  <a:pt x="23305" y="0"/>
                </a:lnTo>
                <a:lnTo>
                  <a:pt x="50106" y="26801"/>
                </a:lnTo>
                <a:close/>
              </a:path>
            </a:pathLst>
          </a:custGeom>
          <a:solidFill>
            <a:srgbClr val="EEF2F5"/>
          </a:solidFill>
          <a:ln w="11643" cap="flat">
            <a:noFill/>
            <a:prstDash val="solid"/>
            <a:miter/>
          </a:ln>
        </p:spPr>
        <p:txBody>
          <a:bodyPr rtlCol="0" anchor="ctr"/>
          <a:lstStyle/>
          <a:p>
            <a:endParaRPr lang="de-DE"/>
          </a:p>
        </p:txBody>
      </p:sp>
      <p:sp>
        <p:nvSpPr>
          <p:cNvPr id="324" name="Freihandform: Form 323">
            <a:extLst>
              <a:ext uri="{FF2B5EF4-FFF2-40B4-BE49-F238E27FC236}">
                <a16:creationId xmlns:a16="http://schemas.microsoft.com/office/drawing/2014/main" id="{75F4BC4C-9ADA-43B5-9F89-F834BAC4C3C6}"/>
              </a:ext>
            </a:extLst>
          </p:cNvPr>
          <p:cNvSpPr/>
          <p:nvPr userDrawn="1"/>
        </p:nvSpPr>
        <p:spPr>
          <a:xfrm>
            <a:off x="5602523" y="3147849"/>
            <a:ext cx="50105" cy="53601"/>
          </a:xfrm>
          <a:custGeom>
            <a:avLst/>
            <a:gdLst>
              <a:gd name="connsiteX0" fmla="*/ 22140 w 50105"/>
              <a:gd name="connsiteY0" fmla="*/ 53601 h 53601"/>
              <a:gd name="connsiteX1" fmla="*/ 0 w 50105"/>
              <a:gd name="connsiteY1" fmla="*/ 53601 h 53601"/>
              <a:gd name="connsiteX2" fmla="*/ 26801 w 50105"/>
              <a:gd name="connsiteY2" fmla="*/ 26801 h 53601"/>
              <a:gd name="connsiteX3" fmla="*/ 0 w 50105"/>
              <a:gd name="connsiteY3" fmla="*/ 0 h 53601"/>
              <a:gd name="connsiteX4" fmla="*/ 23305 w 50105"/>
              <a:gd name="connsiteY4" fmla="*/ 0 h 53601"/>
              <a:gd name="connsiteX5" fmla="*/ 50106 w 50105"/>
              <a:gd name="connsiteY5" fmla="*/ 26801 h 53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3601">
                <a:moveTo>
                  <a:pt x="22140" y="53601"/>
                </a:moveTo>
                <a:lnTo>
                  <a:pt x="0" y="53601"/>
                </a:lnTo>
                <a:lnTo>
                  <a:pt x="26801" y="26801"/>
                </a:lnTo>
                <a:lnTo>
                  <a:pt x="0" y="0"/>
                </a:lnTo>
                <a:lnTo>
                  <a:pt x="23305" y="0"/>
                </a:lnTo>
                <a:lnTo>
                  <a:pt x="50106" y="26801"/>
                </a:lnTo>
                <a:close/>
              </a:path>
            </a:pathLst>
          </a:custGeom>
          <a:solidFill>
            <a:srgbClr val="EEF2F5"/>
          </a:solidFill>
          <a:ln w="11643" cap="flat">
            <a:noFill/>
            <a:prstDash val="solid"/>
            <a:miter/>
          </a:ln>
        </p:spPr>
        <p:txBody>
          <a:bodyPr rtlCol="0" anchor="ctr"/>
          <a:lstStyle/>
          <a:p>
            <a:endParaRPr lang="de-DE"/>
          </a:p>
        </p:txBody>
      </p:sp>
      <p:sp>
        <p:nvSpPr>
          <p:cNvPr id="325" name="Freihandform: Form 324">
            <a:extLst>
              <a:ext uri="{FF2B5EF4-FFF2-40B4-BE49-F238E27FC236}">
                <a16:creationId xmlns:a16="http://schemas.microsoft.com/office/drawing/2014/main" id="{D89D440D-BCDF-43E7-B3AD-4B1C9D100423}"/>
              </a:ext>
            </a:extLst>
          </p:cNvPr>
          <p:cNvSpPr/>
          <p:nvPr userDrawn="1"/>
        </p:nvSpPr>
        <p:spPr>
          <a:xfrm>
            <a:off x="5602523" y="3502084"/>
            <a:ext cx="50105" cy="54766"/>
          </a:xfrm>
          <a:custGeom>
            <a:avLst/>
            <a:gdLst>
              <a:gd name="connsiteX0" fmla="*/ 22140 w 50105"/>
              <a:gd name="connsiteY0" fmla="*/ 54767 h 54766"/>
              <a:gd name="connsiteX1" fmla="*/ 0 w 50105"/>
              <a:gd name="connsiteY1" fmla="*/ 54767 h 54766"/>
              <a:gd name="connsiteX2" fmla="*/ 26801 w 50105"/>
              <a:gd name="connsiteY2" fmla="*/ 27966 h 54766"/>
              <a:gd name="connsiteX3" fmla="*/ 0 w 50105"/>
              <a:gd name="connsiteY3" fmla="*/ 0 h 54766"/>
              <a:gd name="connsiteX4" fmla="*/ 23305 w 50105"/>
              <a:gd name="connsiteY4" fmla="*/ 0 h 54766"/>
              <a:gd name="connsiteX5" fmla="*/ 50106 w 50105"/>
              <a:gd name="connsiteY5" fmla="*/ 26801 h 5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4765">
                <a:moveTo>
                  <a:pt x="22140" y="54767"/>
                </a:moveTo>
                <a:lnTo>
                  <a:pt x="0" y="54767"/>
                </a:lnTo>
                <a:lnTo>
                  <a:pt x="26801" y="27966"/>
                </a:lnTo>
                <a:lnTo>
                  <a:pt x="0" y="0"/>
                </a:lnTo>
                <a:lnTo>
                  <a:pt x="23305" y="0"/>
                </a:lnTo>
                <a:lnTo>
                  <a:pt x="50106" y="26801"/>
                </a:lnTo>
                <a:close/>
              </a:path>
            </a:pathLst>
          </a:custGeom>
          <a:solidFill>
            <a:srgbClr val="EEF2F5"/>
          </a:solidFill>
          <a:ln w="11643" cap="flat">
            <a:noFill/>
            <a:prstDash val="solid"/>
            <a:miter/>
          </a:ln>
        </p:spPr>
        <p:txBody>
          <a:bodyPr rtlCol="0" anchor="ctr"/>
          <a:lstStyle/>
          <a:p>
            <a:endParaRPr lang="de-DE"/>
          </a:p>
        </p:txBody>
      </p:sp>
      <p:sp>
        <p:nvSpPr>
          <p:cNvPr id="326" name="Freihandform: Form 325">
            <a:extLst>
              <a:ext uri="{FF2B5EF4-FFF2-40B4-BE49-F238E27FC236}">
                <a16:creationId xmlns:a16="http://schemas.microsoft.com/office/drawing/2014/main" id="{95E32A0E-3A5A-4B5B-A0A6-86D6905C4904}"/>
              </a:ext>
            </a:extLst>
          </p:cNvPr>
          <p:cNvSpPr/>
          <p:nvPr userDrawn="1"/>
        </p:nvSpPr>
        <p:spPr>
          <a:xfrm>
            <a:off x="5602523" y="5630993"/>
            <a:ext cx="50105" cy="54766"/>
          </a:xfrm>
          <a:custGeom>
            <a:avLst/>
            <a:gdLst>
              <a:gd name="connsiteX0" fmla="*/ 22140 w 50105"/>
              <a:gd name="connsiteY0" fmla="*/ 54766 h 54766"/>
              <a:gd name="connsiteX1" fmla="*/ 0 w 50105"/>
              <a:gd name="connsiteY1" fmla="*/ 54766 h 54766"/>
              <a:gd name="connsiteX2" fmla="*/ 26801 w 50105"/>
              <a:gd name="connsiteY2" fmla="*/ 27966 h 54766"/>
              <a:gd name="connsiteX3" fmla="*/ 0 w 50105"/>
              <a:gd name="connsiteY3" fmla="*/ 0 h 54766"/>
              <a:gd name="connsiteX4" fmla="*/ 23305 w 50105"/>
              <a:gd name="connsiteY4" fmla="*/ 0 h 54766"/>
              <a:gd name="connsiteX5" fmla="*/ 50106 w 50105"/>
              <a:gd name="connsiteY5" fmla="*/ 26801 h 5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4765">
                <a:moveTo>
                  <a:pt x="22140" y="54766"/>
                </a:moveTo>
                <a:lnTo>
                  <a:pt x="0" y="54766"/>
                </a:lnTo>
                <a:lnTo>
                  <a:pt x="26801" y="27966"/>
                </a:lnTo>
                <a:lnTo>
                  <a:pt x="0" y="0"/>
                </a:lnTo>
                <a:lnTo>
                  <a:pt x="23305" y="0"/>
                </a:lnTo>
                <a:lnTo>
                  <a:pt x="50106" y="26801"/>
                </a:lnTo>
                <a:close/>
              </a:path>
            </a:pathLst>
          </a:custGeom>
          <a:solidFill>
            <a:srgbClr val="EEF2F5"/>
          </a:solidFill>
          <a:ln w="11643" cap="flat">
            <a:noFill/>
            <a:prstDash val="solid"/>
            <a:miter/>
          </a:ln>
        </p:spPr>
        <p:txBody>
          <a:bodyPr rtlCol="0" anchor="ctr"/>
          <a:lstStyle/>
          <a:p>
            <a:endParaRPr lang="de-DE"/>
          </a:p>
        </p:txBody>
      </p:sp>
      <p:sp>
        <p:nvSpPr>
          <p:cNvPr id="327" name="Freihandform: Form 326">
            <a:extLst>
              <a:ext uri="{FF2B5EF4-FFF2-40B4-BE49-F238E27FC236}">
                <a16:creationId xmlns:a16="http://schemas.microsoft.com/office/drawing/2014/main" id="{85895A0B-5B7D-4040-8BB1-5C871FAB6EE7}"/>
              </a:ext>
            </a:extLst>
          </p:cNvPr>
          <p:cNvSpPr/>
          <p:nvPr userDrawn="1"/>
        </p:nvSpPr>
        <p:spPr>
          <a:xfrm>
            <a:off x="5602523" y="5986393"/>
            <a:ext cx="50105" cy="54766"/>
          </a:xfrm>
          <a:custGeom>
            <a:avLst/>
            <a:gdLst>
              <a:gd name="connsiteX0" fmla="*/ 22140 w 50105"/>
              <a:gd name="connsiteY0" fmla="*/ 54766 h 54766"/>
              <a:gd name="connsiteX1" fmla="*/ 0 w 50105"/>
              <a:gd name="connsiteY1" fmla="*/ 54766 h 54766"/>
              <a:gd name="connsiteX2" fmla="*/ 26801 w 50105"/>
              <a:gd name="connsiteY2" fmla="*/ 26801 h 54766"/>
              <a:gd name="connsiteX3" fmla="*/ 0 w 50105"/>
              <a:gd name="connsiteY3" fmla="*/ 0 h 54766"/>
              <a:gd name="connsiteX4" fmla="*/ 23305 w 50105"/>
              <a:gd name="connsiteY4" fmla="*/ 0 h 54766"/>
              <a:gd name="connsiteX5" fmla="*/ 50106 w 50105"/>
              <a:gd name="connsiteY5" fmla="*/ 26801 h 5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4765">
                <a:moveTo>
                  <a:pt x="22140" y="54766"/>
                </a:moveTo>
                <a:lnTo>
                  <a:pt x="0" y="54766"/>
                </a:lnTo>
                <a:lnTo>
                  <a:pt x="26801" y="26801"/>
                </a:lnTo>
                <a:lnTo>
                  <a:pt x="0" y="0"/>
                </a:lnTo>
                <a:lnTo>
                  <a:pt x="23305" y="0"/>
                </a:lnTo>
                <a:lnTo>
                  <a:pt x="50106" y="26801"/>
                </a:lnTo>
                <a:close/>
              </a:path>
            </a:pathLst>
          </a:custGeom>
          <a:solidFill>
            <a:srgbClr val="EEF2F5"/>
          </a:solidFill>
          <a:ln w="11643" cap="flat">
            <a:noFill/>
            <a:prstDash val="solid"/>
            <a:miter/>
          </a:ln>
        </p:spPr>
        <p:txBody>
          <a:bodyPr rtlCol="0" anchor="ctr"/>
          <a:lstStyle/>
          <a:p>
            <a:endParaRPr lang="de-DE"/>
          </a:p>
        </p:txBody>
      </p:sp>
      <p:sp>
        <p:nvSpPr>
          <p:cNvPr id="328" name="Freihandform: Form 327">
            <a:extLst>
              <a:ext uri="{FF2B5EF4-FFF2-40B4-BE49-F238E27FC236}">
                <a16:creationId xmlns:a16="http://schemas.microsoft.com/office/drawing/2014/main" id="{F82EB456-ACBE-4744-9452-8F06AAB03489}"/>
              </a:ext>
            </a:extLst>
          </p:cNvPr>
          <p:cNvSpPr/>
          <p:nvPr userDrawn="1"/>
        </p:nvSpPr>
        <p:spPr>
          <a:xfrm>
            <a:off x="5602523" y="6340628"/>
            <a:ext cx="50105" cy="54766"/>
          </a:xfrm>
          <a:custGeom>
            <a:avLst/>
            <a:gdLst>
              <a:gd name="connsiteX0" fmla="*/ 22140 w 50105"/>
              <a:gd name="connsiteY0" fmla="*/ 54766 h 54766"/>
              <a:gd name="connsiteX1" fmla="*/ 0 w 50105"/>
              <a:gd name="connsiteY1" fmla="*/ 54766 h 54766"/>
              <a:gd name="connsiteX2" fmla="*/ 26801 w 50105"/>
              <a:gd name="connsiteY2" fmla="*/ 27966 h 54766"/>
              <a:gd name="connsiteX3" fmla="*/ 0 w 50105"/>
              <a:gd name="connsiteY3" fmla="*/ 0 h 54766"/>
              <a:gd name="connsiteX4" fmla="*/ 23305 w 50105"/>
              <a:gd name="connsiteY4" fmla="*/ 0 h 54766"/>
              <a:gd name="connsiteX5" fmla="*/ 50106 w 50105"/>
              <a:gd name="connsiteY5" fmla="*/ 26801 h 5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4765">
                <a:moveTo>
                  <a:pt x="22140" y="54766"/>
                </a:moveTo>
                <a:lnTo>
                  <a:pt x="0" y="54766"/>
                </a:lnTo>
                <a:lnTo>
                  <a:pt x="26801" y="27966"/>
                </a:lnTo>
                <a:lnTo>
                  <a:pt x="0" y="0"/>
                </a:lnTo>
                <a:lnTo>
                  <a:pt x="23305" y="0"/>
                </a:lnTo>
                <a:lnTo>
                  <a:pt x="50106" y="26801"/>
                </a:lnTo>
                <a:close/>
              </a:path>
            </a:pathLst>
          </a:custGeom>
          <a:solidFill>
            <a:srgbClr val="EEF2F5"/>
          </a:solidFill>
          <a:ln w="11643" cap="flat">
            <a:noFill/>
            <a:prstDash val="solid"/>
            <a:miter/>
          </a:ln>
        </p:spPr>
        <p:txBody>
          <a:bodyPr rtlCol="0" anchor="ctr"/>
          <a:lstStyle/>
          <a:p>
            <a:endParaRPr lang="de-DE"/>
          </a:p>
        </p:txBody>
      </p:sp>
      <p:sp>
        <p:nvSpPr>
          <p:cNvPr id="329" name="Freihandform: Form 328">
            <a:extLst>
              <a:ext uri="{FF2B5EF4-FFF2-40B4-BE49-F238E27FC236}">
                <a16:creationId xmlns:a16="http://schemas.microsoft.com/office/drawing/2014/main" id="{4FED52AE-417D-492D-96F2-E2A5734595A3}"/>
              </a:ext>
            </a:extLst>
          </p:cNvPr>
          <p:cNvSpPr/>
          <p:nvPr userDrawn="1"/>
        </p:nvSpPr>
        <p:spPr>
          <a:xfrm>
            <a:off x="5602523" y="6696029"/>
            <a:ext cx="50105" cy="54766"/>
          </a:xfrm>
          <a:custGeom>
            <a:avLst/>
            <a:gdLst>
              <a:gd name="connsiteX0" fmla="*/ 22140 w 50105"/>
              <a:gd name="connsiteY0" fmla="*/ 54766 h 54766"/>
              <a:gd name="connsiteX1" fmla="*/ 0 w 50105"/>
              <a:gd name="connsiteY1" fmla="*/ 54766 h 54766"/>
              <a:gd name="connsiteX2" fmla="*/ 26801 w 50105"/>
              <a:gd name="connsiteY2" fmla="*/ 27966 h 54766"/>
              <a:gd name="connsiteX3" fmla="*/ 0 w 50105"/>
              <a:gd name="connsiteY3" fmla="*/ 0 h 54766"/>
              <a:gd name="connsiteX4" fmla="*/ 23305 w 50105"/>
              <a:gd name="connsiteY4" fmla="*/ 0 h 54766"/>
              <a:gd name="connsiteX5" fmla="*/ 50106 w 50105"/>
              <a:gd name="connsiteY5" fmla="*/ 26801 h 5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4765">
                <a:moveTo>
                  <a:pt x="22140" y="54766"/>
                </a:moveTo>
                <a:lnTo>
                  <a:pt x="0" y="54766"/>
                </a:lnTo>
                <a:lnTo>
                  <a:pt x="26801" y="27966"/>
                </a:lnTo>
                <a:lnTo>
                  <a:pt x="0" y="0"/>
                </a:lnTo>
                <a:lnTo>
                  <a:pt x="23305" y="0"/>
                </a:lnTo>
                <a:lnTo>
                  <a:pt x="50106" y="26801"/>
                </a:lnTo>
                <a:close/>
              </a:path>
            </a:pathLst>
          </a:custGeom>
          <a:solidFill>
            <a:srgbClr val="EEF2F5"/>
          </a:solidFill>
          <a:ln w="11643" cap="flat">
            <a:noFill/>
            <a:prstDash val="solid"/>
            <a:miter/>
          </a:ln>
        </p:spPr>
        <p:txBody>
          <a:bodyPr rtlCol="0" anchor="ctr"/>
          <a:lstStyle/>
          <a:p>
            <a:endParaRPr lang="de-DE"/>
          </a:p>
        </p:txBody>
      </p:sp>
      <p:sp>
        <p:nvSpPr>
          <p:cNvPr id="330" name="Freihandform: Form 329">
            <a:extLst>
              <a:ext uri="{FF2B5EF4-FFF2-40B4-BE49-F238E27FC236}">
                <a16:creationId xmlns:a16="http://schemas.microsoft.com/office/drawing/2014/main" id="{BA0E4B54-661A-44F6-9401-68AED3542315}"/>
              </a:ext>
            </a:extLst>
          </p:cNvPr>
          <p:cNvSpPr/>
          <p:nvPr userDrawn="1"/>
        </p:nvSpPr>
        <p:spPr>
          <a:xfrm>
            <a:off x="5948602" y="2073490"/>
            <a:ext cx="66419" cy="72245"/>
          </a:xfrm>
          <a:custGeom>
            <a:avLst/>
            <a:gdLst>
              <a:gd name="connsiteX0" fmla="*/ 30297 w 66419"/>
              <a:gd name="connsiteY0" fmla="*/ 72245 h 72245"/>
              <a:gd name="connsiteX1" fmla="*/ 0 w 66419"/>
              <a:gd name="connsiteY1" fmla="*/ 72245 h 72245"/>
              <a:gd name="connsiteX2" fmla="*/ 36123 w 66419"/>
              <a:gd name="connsiteY2" fmla="*/ 37288 h 72245"/>
              <a:gd name="connsiteX3" fmla="*/ 0 w 66419"/>
              <a:gd name="connsiteY3" fmla="*/ 0 h 72245"/>
              <a:gd name="connsiteX4" fmla="*/ 31462 w 66419"/>
              <a:gd name="connsiteY4" fmla="*/ 0 h 72245"/>
              <a:gd name="connsiteX5" fmla="*/ 66419 w 66419"/>
              <a:gd name="connsiteY5" fmla="*/ 36123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5"/>
                </a:moveTo>
                <a:lnTo>
                  <a:pt x="0" y="72245"/>
                </a:lnTo>
                <a:lnTo>
                  <a:pt x="36123" y="37288"/>
                </a:lnTo>
                <a:lnTo>
                  <a:pt x="0" y="0"/>
                </a:lnTo>
                <a:lnTo>
                  <a:pt x="31462" y="0"/>
                </a:lnTo>
                <a:lnTo>
                  <a:pt x="66419" y="36123"/>
                </a:lnTo>
                <a:close/>
              </a:path>
            </a:pathLst>
          </a:custGeom>
          <a:solidFill>
            <a:srgbClr val="EEF2F5"/>
          </a:solidFill>
          <a:ln w="11643" cap="flat">
            <a:noFill/>
            <a:prstDash val="solid"/>
            <a:miter/>
          </a:ln>
        </p:spPr>
        <p:txBody>
          <a:bodyPr rtlCol="0" anchor="ctr"/>
          <a:lstStyle/>
          <a:p>
            <a:endParaRPr lang="de-DE"/>
          </a:p>
        </p:txBody>
      </p:sp>
      <p:sp>
        <p:nvSpPr>
          <p:cNvPr id="331" name="Freihandform: Form 330">
            <a:extLst>
              <a:ext uri="{FF2B5EF4-FFF2-40B4-BE49-F238E27FC236}">
                <a16:creationId xmlns:a16="http://schemas.microsoft.com/office/drawing/2014/main" id="{AF09B959-FEBB-4D08-B203-97FE6AE60305}"/>
              </a:ext>
            </a:extLst>
          </p:cNvPr>
          <p:cNvSpPr/>
          <p:nvPr userDrawn="1"/>
        </p:nvSpPr>
        <p:spPr>
          <a:xfrm>
            <a:off x="5948602" y="2428891"/>
            <a:ext cx="66419" cy="72245"/>
          </a:xfrm>
          <a:custGeom>
            <a:avLst/>
            <a:gdLst>
              <a:gd name="connsiteX0" fmla="*/ 30297 w 66419"/>
              <a:gd name="connsiteY0" fmla="*/ 72245 h 72245"/>
              <a:gd name="connsiteX1" fmla="*/ 0 w 66419"/>
              <a:gd name="connsiteY1" fmla="*/ 72245 h 72245"/>
              <a:gd name="connsiteX2" fmla="*/ 36123 w 66419"/>
              <a:gd name="connsiteY2" fmla="*/ 36123 h 72245"/>
              <a:gd name="connsiteX3" fmla="*/ 0 w 66419"/>
              <a:gd name="connsiteY3" fmla="*/ 0 h 72245"/>
              <a:gd name="connsiteX4" fmla="*/ 31462 w 66419"/>
              <a:gd name="connsiteY4" fmla="*/ 0 h 72245"/>
              <a:gd name="connsiteX5" fmla="*/ 66419 w 66419"/>
              <a:gd name="connsiteY5" fmla="*/ 34957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5"/>
                </a:moveTo>
                <a:lnTo>
                  <a:pt x="0" y="72245"/>
                </a:lnTo>
                <a:lnTo>
                  <a:pt x="36123" y="36123"/>
                </a:lnTo>
                <a:lnTo>
                  <a:pt x="0" y="0"/>
                </a:lnTo>
                <a:lnTo>
                  <a:pt x="31462" y="0"/>
                </a:lnTo>
                <a:lnTo>
                  <a:pt x="66419" y="34957"/>
                </a:lnTo>
                <a:close/>
              </a:path>
            </a:pathLst>
          </a:custGeom>
          <a:solidFill>
            <a:srgbClr val="EEF2F5"/>
          </a:solidFill>
          <a:ln w="11643" cap="flat">
            <a:noFill/>
            <a:prstDash val="solid"/>
            <a:miter/>
          </a:ln>
        </p:spPr>
        <p:txBody>
          <a:bodyPr rtlCol="0" anchor="ctr"/>
          <a:lstStyle/>
          <a:p>
            <a:endParaRPr lang="de-DE"/>
          </a:p>
        </p:txBody>
      </p:sp>
      <p:sp>
        <p:nvSpPr>
          <p:cNvPr id="332" name="Freihandform: Form 331">
            <a:extLst>
              <a:ext uri="{FF2B5EF4-FFF2-40B4-BE49-F238E27FC236}">
                <a16:creationId xmlns:a16="http://schemas.microsoft.com/office/drawing/2014/main" id="{8BDF68B8-5B5A-4BE8-90ED-91D64FF78D61}"/>
              </a:ext>
            </a:extLst>
          </p:cNvPr>
          <p:cNvSpPr/>
          <p:nvPr userDrawn="1"/>
        </p:nvSpPr>
        <p:spPr>
          <a:xfrm>
            <a:off x="5948602" y="2783126"/>
            <a:ext cx="66419" cy="72245"/>
          </a:xfrm>
          <a:custGeom>
            <a:avLst/>
            <a:gdLst>
              <a:gd name="connsiteX0" fmla="*/ 30297 w 66419"/>
              <a:gd name="connsiteY0" fmla="*/ 72245 h 72245"/>
              <a:gd name="connsiteX1" fmla="*/ 0 w 66419"/>
              <a:gd name="connsiteY1" fmla="*/ 72245 h 72245"/>
              <a:gd name="connsiteX2" fmla="*/ 36123 w 66419"/>
              <a:gd name="connsiteY2" fmla="*/ 37288 h 72245"/>
              <a:gd name="connsiteX3" fmla="*/ 0 w 66419"/>
              <a:gd name="connsiteY3" fmla="*/ 0 h 72245"/>
              <a:gd name="connsiteX4" fmla="*/ 31462 w 66419"/>
              <a:gd name="connsiteY4" fmla="*/ 0 h 72245"/>
              <a:gd name="connsiteX5" fmla="*/ 66419 w 66419"/>
              <a:gd name="connsiteY5" fmla="*/ 36123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5"/>
                </a:moveTo>
                <a:lnTo>
                  <a:pt x="0" y="72245"/>
                </a:lnTo>
                <a:lnTo>
                  <a:pt x="36123" y="37288"/>
                </a:lnTo>
                <a:lnTo>
                  <a:pt x="0" y="0"/>
                </a:lnTo>
                <a:lnTo>
                  <a:pt x="31462" y="0"/>
                </a:lnTo>
                <a:lnTo>
                  <a:pt x="66419" y="36123"/>
                </a:lnTo>
                <a:close/>
              </a:path>
            </a:pathLst>
          </a:custGeom>
          <a:solidFill>
            <a:srgbClr val="EEF2F5"/>
          </a:solidFill>
          <a:ln w="11643" cap="flat">
            <a:noFill/>
            <a:prstDash val="solid"/>
            <a:miter/>
          </a:ln>
        </p:spPr>
        <p:txBody>
          <a:bodyPr rtlCol="0" anchor="ctr"/>
          <a:lstStyle/>
          <a:p>
            <a:endParaRPr lang="de-DE"/>
          </a:p>
        </p:txBody>
      </p:sp>
      <p:sp>
        <p:nvSpPr>
          <p:cNvPr id="333" name="Freihandform: Form 332">
            <a:extLst>
              <a:ext uri="{FF2B5EF4-FFF2-40B4-BE49-F238E27FC236}">
                <a16:creationId xmlns:a16="http://schemas.microsoft.com/office/drawing/2014/main" id="{EC037E08-87A0-4AFA-8BB8-AF8BC0B89644}"/>
              </a:ext>
            </a:extLst>
          </p:cNvPr>
          <p:cNvSpPr/>
          <p:nvPr userDrawn="1"/>
        </p:nvSpPr>
        <p:spPr>
          <a:xfrm>
            <a:off x="5948602" y="3138527"/>
            <a:ext cx="66419" cy="72245"/>
          </a:xfrm>
          <a:custGeom>
            <a:avLst/>
            <a:gdLst>
              <a:gd name="connsiteX0" fmla="*/ 30297 w 66419"/>
              <a:gd name="connsiteY0" fmla="*/ 72245 h 72245"/>
              <a:gd name="connsiteX1" fmla="*/ 0 w 66419"/>
              <a:gd name="connsiteY1" fmla="*/ 72245 h 72245"/>
              <a:gd name="connsiteX2" fmla="*/ 36123 w 66419"/>
              <a:gd name="connsiteY2" fmla="*/ 36123 h 72245"/>
              <a:gd name="connsiteX3" fmla="*/ 0 w 66419"/>
              <a:gd name="connsiteY3" fmla="*/ 0 h 72245"/>
              <a:gd name="connsiteX4" fmla="*/ 31462 w 66419"/>
              <a:gd name="connsiteY4" fmla="*/ 0 h 72245"/>
              <a:gd name="connsiteX5" fmla="*/ 66419 w 66419"/>
              <a:gd name="connsiteY5" fmla="*/ 34957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5"/>
                </a:moveTo>
                <a:lnTo>
                  <a:pt x="0" y="72245"/>
                </a:lnTo>
                <a:lnTo>
                  <a:pt x="36123" y="36123"/>
                </a:lnTo>
                <a:lnTo>
                  <a:pt x="0" y="0"/>
                </a:lnTo>
                <a:lnTo>
                  <a:pt x="31462" y="0"/>
                </a:lnTo>
                <a:lnTo>
                  <a:pt x="66419" y="34957"/>
                </a:lnTo>
                <a:close/>
              </a:path>
            </a:pathLst>
          </a:custGeom>
          <a:solidFill>
            <a:srgbClr val="EEF2F5"/>
          </a:solidFill>
          <a:ln w="11643" cap="flat">
            <a:noFill/>
            <a:prstDash val="solid"/>
            <a:miter/>
          </a:ln>
        </p:spPr>
        <p:txBody>
          <a:bodyPr rtlCol="0" anchor="ctr"/>
          <a:lstStyle/>
          <a:p>
            <a:endParaRPr lang="de-DE"/>
          </a:p>
        </p:txBody>
      </p:sp>
      <p:sp>
        <p:nvSpPr>
          <p:cNvPr id="334" name="Freihandform: Form 333">
            <a:extLst>
              <a:ext uri="{FF2B5EF4-FFF2-40B4-BE49-F238E27FC236}">
                <a16:creationId xmlns:a16="http://schemas.microsoft.com/office/drawing/2014/main" id="{296B3953-1098-4657-B23B-8935F1D2DAB8}"/>
              </a:ext>
            </a:extLst>
          </p:cNvPr>
          <p:cNvSpPr/>
          <p:nvPr userDrawn="1"/>
        </p:nvSpPr>
        <p:spPr>
          <a:xfrm>
            <a:off x="5948602" y="3492762"/>
            <a:ext cx="66419" cy="73410"/>
          </a:xfrm>
          <a:custGeom>
            <a:avLst/>
            <a:gdLst>
              <a:gd name="connsiteX0" fmla="*/ 30297 w 66419"/>
              <a:gd name="connsiteY0" fmla="*/ 73411 h 73410"/>
              <a:gd name="connsiteX1" fmla="*/ 0 w 66419"/>
              <a:gd name="connsiteY1" fmla="*/ 73411 h 73410"/>
              <a:gd name="connsiteX2" fmla="*/ 36123 w 66419"/>
              <a:gd name="connsiteY2" fmla="*/ 37288 h 73410"/>
              <a:gd name="connsiteX3" fmla="*/ 0 w 66419"/>
              <a:gd name="connsiteY3" fmla="*/ 0 h 73410"/>
              <a:gd name="connsiteX4" fmla="*/ 31462 w 66419"/>
              <a:gd name="connsiteY4" fmla="*/ 0 h 73410"/>
              <a:gd name="connsiteX5" fmla="*/ 66419 w 66419"/>
              <a:gd name="connsiteY5" fmla="*/ 36123 h 73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3410">
                <a:moveTo>
                  <a:pt x="30297" y="73411"/>
                </a:moveTo>
                <a:lnTo>
                  <a:pt x="0" y="73411"/>
                </a:lnTo>
                <a:lnTo>
                  <a:pt x="36123" y="37288"/>
                </a:lnTo>
                <a:lnTo>
                  <a:pt x="0" y="0"/>
                </a:lnTo>
                <a:lnTo>
                  <a:pt x="31462" y="0"/>
                </a:lnTo>
                <a:lnTo>
                  <a:pt x="66419" y="36123"/>
                </a:lnTo>
                <a:close/>
              </a:path>
            </a:pathLst>
          </a:custGeom>
          <a:solidFill>
            <a:srgbClr val="EEF2F5"/>
          </a:solidFill>
          <a:ln w="11643" cap="flat">
            <a:noFill/>
            <a:prstDash val="solid"/>
            <a:miter/>
          </a:ln>
        </p:spPr>
        <p:txBody>
          <a:bodyPr rtlCol="0" anchor="ctr"/>
          <a:lstStyle/>
          <a:p>
            <a:endParaRPr lang="de-DE"/>
          </a:p>
        </p:txBody>
      </p:sp>
      <p:sp>
        <p:nvSpPr>
          <p:cNvPr id="335" name="Freihandform: Form 334">
            <a:extLst>
              <a:ext uri="{FF2B5EF4-FFF2-40B4-BE49-F238E27FC236}">
                <a16:creationId xmlns:a16="http://schemas.microsoft.com/office/drawing/2014/main" id="{C606BDC9-DBDE-4ACF-8BF9-ACC957E4520D}"/>
              </a:ext>
            </a:extLst>
          </p:cNvPr>
          <p:cNvSpPr/>
          <p:nvPr userDrawn="1"/>
        </p:nvSpPr>
        <p:spPr>
          <a:xfrm>
            <a:off x="5948602" y="3848163"/>
            <a:ext cx="66419" cy="72245"/>
          </a:xfrm>
          <a:custGeom>
            <a:avLst/>
            <a:gdLst>
              <a:gd name="connsiteX0" fmla="*/ 30297 w 66419"/>
              <a:gd name="connsiteY0" fmla="*/ 72245 h 72245"/>
              <a:gd name="connsiteX1" fmla="*/ 0 w 66419"/>
              <a:gd name="connsiteY1" fmla="*/ 72245 h 72245"/>
              <a:gd name="connsiteX2" fmla="*/ 36123 w 66419"/>
              <a:gd name="connsiteY2" fmla="*/ 36123 h 72245"/>
              <a:gd name="connsiteX3" fmla="*/ 0 w 66419"/>
              <a:gd name="connsiteY3" fmla="*/ 0 h 72245"/>
              <a:gd name="connsiteX4" fmla="*/ 31462 w 66419"/>
              <a:gd name="connsiteY4" fmla="*/ 0 h 72245"/>
              <a:gd name="connsiteX5" fmla="*/ 66419 w 66419"/>
              <a:gd name="connsiteY5" fmla="*/ 34957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5"/>
                </a:moveTo>
                <a:lnTo>
                  <a:pt x="0" y="72245"/>
                </a:lnTo>
                <a:lnTo>
                  <a:pt x="36123" y="36123"/>
                </a:lnTo>
                <a:lnTo>
                  <a:pt x="0" y="0"/>
                </a:lnTo>
                <a:lnTo>
                  <a:pt x="31462" y="0"/>
                </a:lnTo>
                <a:lnTo>
                  <a:pt x="66419" y="34957"/>
                </a:lnTo>
                <a:close/>
              </a:path>
            </a:pathLst>
          </a:custGeom>
          <a:solidFill>
            <a:srgbClr val="EEF2F5"/>
          </a:solidFill>
          <a:ln w="11643" cap="flat">
            <a:noFill/>
            <a:prstDash val="solid"/>
            <a:miter/>
          </a:ln>
        </p:spPr>
        <p:txBody>
          <a:bodyPr rtlCol="0" anchor="ctr"/>
          <a:lstStyle/>
          <a:p>
            <a:endParaRPr lang="de-DE"/>
          </a:p>
        </p:txBody>
      </p:sp>
      <p:sp>
        <p:nvSpPr>
          <p:cNvPr id="336" name="Freihandform: Form 335">
            <a:extLst>
              <a:ext uri="{FF2B5EF4-FFF2-40B4-BE49-F238E27FC236}">
                <a16:creationId xmlns:a16="http://schemas.microsoft.com/office/drawing/2014/main" id="{57A6FA3E-F4B9-4859-84E1-85F5F21681EC}"/>
              </a:ext>
            </a:extLst>
          </p:cNvPr>
          <p:cNvSpPr/>
          <p:nvPr userDrawn="1"/>
        </p:nvSpPr>
        <p:spPr>
          <a:xfrm>
            <a:off x="5948602" y="5267435"/>
            <a:ext cx="66419" cy="72245"/>
          </a:xfrm>
          <a:custGeom>
            <a:avLst/>
            <a:gdLst>
              <a:gd name="connsiteX0" fmla="*/ 30297 w 66419"/>
              <a:gd name="connsiteY0" fmla="*/ 72246 h 72245"/>
              <a:gd name="connsiteX1" fmla="*/ 0 w 66419"/>
              <a:gd name="connsiteY1" fmla="*/ 72246 h 72245"/>
              <a:gd name="connsiteX2" fmla="*/ 36123 w 66419"/>
              <a:gd name="connsiteY2" fmla="*/ 36123 h 72245"/>
              <a:gd name="connsiteX3" fmla="*/ 0 w 66419"/>
              <a:gd name="connsiteY3" fmla="*/ 0 h 72245"/>
              <a:gd name="connsiteX4" fmla="*/ 31462 w 66419"/>
              <a:gd name="connsiteY4" fmla="*/ 0 h 72245"/>
              <a:gd name="connsiteX5" fmla="*/ 66419 w 66419"/>
              <a:gd name="connsiteY5" fmla="*/ 36123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6"/>
                </a:moveTo>
                <a:lnTo>
                  <a:pt x="0" y="72246"/>
                </a:lnTo>
                <a:lnTo>
                  <a:pt x="36123" y="36123"/>
                </a:lnTo>
                <a:lnTo>
                  <a:pt x="0" y="0"/>
                </a:lnTo>
                <a:lnTo>
                  <a:pt x="31462" y="0"/>
                </a:lnTo>
                <a:lnTo>
                  <a:pt x="66419" y="36123"/>
                </a:lnTo>
                <a:close/>
              </a:path>
            </a:pathLst>
          </a:custGeom>
          <a:solidFill>
            <a:srgbClr val="EEF2F5"/>
          </a:solidFill>
          <a:ln w="11643" cap="flat">
            <a:noFill/>
            <a:prstDash val="solid"/>
            <a:miter/>
          </a:ln>
        </p:spPr>
        <p:txBody>
          <a:bodyPr rtlCol="0" anchor="ctr"/>
          <a:lstStyle/>
          <a:p>
            <a:endParaRPr lang="de-DE"/>
          </a:p>
        </p:txBody>
      </p:sp>
      <p:sp>
        <p:nvSpPr>
          <p:cNvPr id="337" name="Freihandform: Form 336">
            <a:extLst>
              <a:ext uri="{FF2B5EF4-FFF2-40B4-BE49-F238E27FC236}">
                <a16:creationId xmlns:a16="http://schemas.microsoft.com/office/drawing/2014/main" id="{D4B1D857-1C19-4BB3-BEDF-7C0AF8F86DAA}"/>
              </a:ext>
            </a:extLst>
          </p:cNvPr>
          <p:cNvSpPr/>
          <p:nvPr userDrawn="1"/>
        </p:nvSpPr>
        <p:spPr>
          <a:xfrm>
            <a:off x="5948602" y="5622836"/>
            <a:ext cx="66419" cy="72245"/>
          </a:xfrm>
          <a:custGeom>
            <a:avLst/>
            <a:gdLst>
              <a:gd name="connsiteX0" fmla="*/ 30297 w 66419"/>
              <a:gd name="connsiteY0" fmla="*/ 72246 h 72245"/>
              <a:gd name="connsiteX1" fmla="*/ 0 w 66419"/>
              <a:gd name="connsiteY1" fmla="*/ 72246 h 72245"/>
              <a:gd name="connsiteX2" fmla="*/ 36123 w 66419"/>
              <a:gd name="connsiteY2" fmla="*/ 36123 h 72245"/>
              <a:gd name="connsiteX3" fmla="*/ 0 w 66419"/>
              <a:gd name="connsiteY3" fmla="*/ 0 h 72245"/>
              <a:gd name="connsiteX4" fmla="*/ 31462 w 66419"/>
              <a:gd name="connsiteY4" fmla="*/ 0 h 72245"/>
              <a:gd name="connsiteX5" fmla="*/ 66419 w 66419"/>
              <a:gd name="connsiteY5" fmla="*/ 34957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6"/>
                </a:moveTo>
                <a:lnTo>
                  <a:pt x="0" y="72246"/>
                </a:lnTo>
                <a:lnTo>
                  <a:pt x="36123" y="36123"/>
                </a:lnTo>
                <a:lnTo>
                  <a:pt x="0" y="0"/>
                </a:lnTo>
                <a:lnTo>
                  <a:pt x="31462" y="0"/>
                </a:lnTo>
                <a:lnTo>
                  <a:pt x="66419" y="34957"/>
                </a:lnTo>
                <a:close/>
              </a:path>
            </a:pathLst>
          </a:custGeom>
          <a:solidFill>
            <a:srgbClr val="EEF2F5"/>
          </a:solidFill>
          <a:ln w="11643" cap="flat">
            <a:noFill/>
            <a:prstDash val="solid"/>
            <a:miter/>
          </a:ln>
        </p:spPr>
        <p:txBody>
          <a:bodyPr rtlCol="0" anchor="ctr"/>
          <a:lstStyle/>
          <a:p>
            <a:endParaRPr lang="de-DE"/>
          </a:p>
        </p:txBody>
      </p:sp>
      <p:sp>
        <p:nvSpPr>
          <p:cNvPr id="338" name="Freihandform: Form 337">
            <a:extLst>
              <a:ext uri="{FF2B5EF4-FFF2-40B4-BE49-F238E27FC236}">
                <a16:creationId xmlns:a16="http://schemas.microsoft.com/office/drawing/2014/main" id="{4A0625DC-FF7E-46FA-85B3-D78075F3A91C}"/>
              </a:ext>
            </a:extLst>
          </p:cNvPr>
          <p:cNvSpPr/>
          <p:nvPr userDrawn="1"/>
        </p:nvSpPr>
        <p:spPr>
          <a:xfrm>
            <a:off x="5948602" y="5977071"/>
            <a:ext cx="66419" cy="72245"/>
          </a:xfrm>
          <a:custGeom>
            <a:avLst/>
            <a:gdLst>
              <a:gd name="connsiteX0" fmla="*/ 30297 w 66419"/>
              <a:gd name="connsiteY0" fmla="*/ 72246 h 72245"/>
              <a:gd name="connsiteX1" fmla="*/ 0 w 66419"/>
              <a:gd name="connsiteY1" fmla="*/ 72246 h 72245"/>
              <a:gd name="connsiteX2" fmla="*/ 36123 w 66419"/>
              <a:gd name="connsiteY2" fmla="*/ 36123 h 72245"/>
              <a:gd name="connsiteX3" fmla="*/ 0 w 66419"/>
              <a:gd name="connsiteY3" fmla="*/ 0 h 72245"/>
              <a:gd name="connsiteX4" fmla="*/ 31462 w 66419"/>
              <a:gd name="connsiteY4" fmla="*/ 0 h 72245"/>
              <a:gd name="connsiteX5" fmla="*/ 66419 w 66419"/>
              <a:gd name="connsiteY5" fmla="*/ 36123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6"/>
                </a:moveTo>
                <a:lnTo>
                  <a:pt x="0" y="72246"/>
                </a:lnTo>
                <a:lnTo>
                  <a:pt x="36123" y="36123"/>
                </a:lnTo>
                <a:lnTo>
                  <a:pt x="0" y="0"/>
                </a:lnTo>
                <a:lnTo>
                  <a:pt x="31462" y="0"/>
                </a:lnTo>
                <a:lnTo>
                  <a:pt x="66419" y="36123"/>
                </a:lnTo>
                <a:close/>
              </a:path>
            </a:pathLst>
          </a:custGeom>
          <a:solidFill>
            <a:srgbClr val="EEF2F5"/>
          </a:solidFill>
          <a:ln w="11643" cap="flat">
            <a:noFill/>
            <a:prstDash val="solid"/>
            <a:miter/>
          </a:ln>
        </p:spPr>
        <p:txBody>
          <a:bodyPr rtlCol="0" anchor="ctr"/>
          <a:lstStyle/>
          <a:p>
            <a:endParaRPr lang="de-DE"/>
          </a:p>
        </p:txBody>
      </p:sp>
      <p:sp>
        <p:nvSpPr>
          <p:cNvPr id="339" name="Freihandform: Form 338">
            <a:extLst>
              <a:ext uri="{FF2B5EF4-FFF2-40B4-BE49-F238E27FC236}">
                <a16:creationId xmlns:a16="http://schemas.microsoft.com/office/drawing/2014/main" id="{7BDD0DFC-6E9A-4DFD-896C-269B9F75D87D}"/>
              </a:ext>
            </a:extLst>
          </p:cNvPr>
          <p:cNvSpPr/>
          <p:nvPr userDrawn="1"/>
        </p:nvSpPr>
        <p:spPr>
          <a:xfrm>
            <a:off x="5948602" y="6332472"/>
            <a:ext cx="66419" cy="72245"/>
          </a:xfrm>
          <a:custGeom>
            <a:avLst/>
            <a:gdLst>
              <a:gd name="connsiteX0" fmla="*/ 30297 w 66419"/>
              <a:gd name="connsiteY0" fmla="*/ 72246 h 72245"/>
              <a:gd name="connsiteX1" fmla="*/ 0 w 66419"/>
              <a:gd name="connsiteY1" fmla="*/ 72246 h 72245"/>
              <a:gd name="connsiteX2" fmla="*/ 36123 w 66419"/>
              <a:gd name="connsiteY2" fmla="*/ 36123 h 72245"/>
              <a:gd name="connsiteX3" fmla="*/ 0 w 66419"/>
              <a:gd name="connsiteY3" fmla="*/ 0 h 72245"/>
              <a:gd name="connsiteX4" fmla="*/ 31462 w 66419"/>
              <a:gd name="connsiteY4" fmla="*/ 0 h 72245"/>
              <a:gd name="connsiteX5" fmla="*/ 66419 w 66419"/>
              <a:gd name="connsiteY5" fmla="*/ 34957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6"/>
                </a:moveTo>
                <a:lnTo>
                  <a:pt x="0" y="72246"/>
                </a:lnTo>
                <a:lnTo>
                  <a:pt x="36123" y="36123"/>
                </a:lnTo>
                <a:lnTo>
                  <a:pt x="0" y="0"/>
                </a:lnTo>
                <a:lnTo>
                  <a:pt x="31462" y="0"/>
                </a:lnTo>
                <a:lnTo>
                  <a:pt x="66419" y="34957"/>
                </a:lnTo>
                <a:close/>
              </a:path>
            </a:pathLst>
          </a:custGeom>
          <a:solidFill>
            <a:srgbClr val="EEF2F5"/>
          </a:solidFill>
          <a:ln w="11643" cap="flat">
            <a:noFill/>
            <a:prstDash val="solid"/>
            <a:miter/>
          </a:ln>
        </p:spPr>
        <p:txBody>
          <a:bodyPr rtlCol="0" anchor="ctr"/>
          <a:lstStyle/>
          <a:p>
            <a:endParaRPr lang="de-DE"/>
          </a:p>
        </p:txBody>
      </p:sp>
      <p:sp>
        <p:nvSpPr>
          <p:cNvPr id="340" name="Freihandform: Form 339">
            <a:extLst>
              <a:ext uri="{FF2B5EF4-FFF2-40B4-BE49-F238E27FC236}">
                <a16:creationId xmlns:a16="http://schemas.microsoft.com/office/drawing/2014/main" id="{CAC3908E-B3D7-4D15-B42A-11C8334C3FAE}"/>
              </a:ext>
            </a:extLst>
          </p:cNvPr>
          <p:cNvSpPr/>
          <p:nvPr userDrawn="1"/>
        </p:nvSpPr>
        <p:spPr>
          <a:xfrm>
            <a:off x="5948602" y="6686707"/>
            <a:ext cx="66419" cy="72245"/>
          </a:xfrm>
          <a:custGeom>
            <a:avLst/>
            <a:gdLst>
              <a:gd name="connsiteX0" fmla="*/ 30297 w 66419"/>
              <a:gd name="connsiteY0" fmla="*/ 72246 h 72245"/>
              <a:gd name="connsiteX1" fmla="*/ 0 w 66419"/>
              <a:gd name="connsiteY1" fmla="*/ 72246 h 72245"/>
              <a:gd name="connsiteX2" fmla="*/ 36123 w 66419"/>
              <a:gd name="connsiteY2" fmla="*/ 37288 h 72245"/>
              <a:gd name="connsiteX3" fmla="*/ 0 w 66419"/>
              <a:gd name="connsiteY3" fmla="*/ 0 h 72245"/>
              <a:gd name="connsiteX4" fmla="*/ 31462 w 66419"/>
              <a:gd name="connsiteY4" fmla="*/ 0 h 72245"/>
              <a:gd name="connsiteX5" fmla="*/ 66419 w 66419"/>
              <a:gd name="connsiteY5" fmla="*/ 36123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6"/>
                </a:moveTo>
                <a:lnTo>
                  <a:pt x="0" y="72246"/>
                </a:lnTo>
                <a:lnTo>
                  <a:pt x="36123" y="37288"/>
                </a:lnTo>
                <a:lnTo>
                  <a:pt x="0" y="0"/>
                </a:lnTo>
                <a:lnTo>
                  <a:pt x="31462" y="0"/>
                </a:lnTo>
                <a:lnTo>
                  <a:pt x="66419" y="36123"/>
                </a:lnTo>
                <a:close/>
              </a:path>
            </a:pathLst>
          </a:custGeom>
          <a:solidFill>
            <a:srgbClr val="EEF2F5"/>
          </a:solidFill>
          <a:ln w="11643" cap="flat">
            <a:noFill/>
            <a:prstDash val="solid"/>
            <a:miter/>
          </a:ln>
        </p:spPr>
        <p:txBody>
          <a:bodyPr rtlCol="0" anchor="ctr"/>
          <a:lstStyle/>
          <a:p>
            <a:endParaRPr lang="de-DE"/>
          </a:p>
        </p:txBody>
      </p:sp>
      <p:sp>
        <p:nvSpPr>
          <p:cNvPr id="341" name="Freihandform: Form 340">
            <a:extLst>
              <a:ext uri="{FF2B5EF4-FFF2-40B4-BE49-F238E27FC236}">
                <a16:creationId xmlns:a16="http://schemas.microsoft.com/office/drawing/2014/main" id="{A7FA91F1-E227-486C-9E3D-701B7ECBD358}"/>
              </a:ext>
            </a:extLst>
          </p:cNvPr>
          <p:cNvSpPr/>
          <p:nvPr userDrawn="1"/>
        </p:nvSpPr>
        <p:spPr>
          <a:xfrm>
            <a:off x="6294680" y="2064168"/>
            <a:ext cx="83897" cy="90889"/>
          </a:xfrm>
          <a:custGeom>
            <a:avLst/>
            <a:gdLst>
              <a:gd name="connsiteX0" fmla="*/ 38453 w 83897"/>
              <a:gd name="connsiteY0" fmla="*/ 90889 h 90889"/>
              <a:gd name="connsiteX1" fmla="*/ 0 w 83897"/>
              <a:gd name="connsiteY1" fmla="*/ 90889 h 90889"/>
              <a:gd name="connsiteX2" fmla="*/ 45445 w 83897"/>
              <a:gd name="connsiteY2" fmla="*/ 46610 h 90889"/>
              <a:gd name="connsiteX3" fmla="*/ 0 w 83897"/>
              <a:gd name="connsiteY3" fmla="*/ 0 h 90889"/>
              <a:gd name="connsiteX4" fmla="*/ 39618 w 83897"/>
              <a:gd name="connsiteY4" fmla="*/ 0 h 90889"/>
              <a:gd name="connsiteX5" fmla="*/ 83898 w 83897"/>
              <a:gd name="connsiteY5" fmla="*/ 45445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6610"/>
                </a:lnTo>
                <a:lnTo>
                  <a:pt x="0" y="0"/>
                </a:lnTo>
                <a:lnTo>
                  <a:pt x="39618" y="0"/>
                </a:lnTo>
                <a:lnTo>
                  <a:pt x="83898" y="45445"/>
                </a:lnTo>
                <a:close/>
              </a:path>
            </a:pathLst>
          </a:custGeom>
          <a:solidFill>
            <a:srgbClr val="EEF2F5"/>
          </a:solidFill>
          <a:ln w="11643" cap="flat">
            <a:noFill/>
            <a:prstDash val="solid"/>
            <a:miter/>
          </a:ln>
        </p:spPr>
        <p:txBody>
          <a:bodyPr rtlCol="0" anchor="ctr"/>
          <a:lstStyle/>
          <a:p>
            <a:endParaRPr lang="de-DE"/>
          </a:p>
        </p:txBody>
      </p:sp>
      <p:sp>
        <p:nvSpPr>
          <p:cNvPr id="342" name="Freihandform: Form 341">
            <a:extLst>
              <a:ext uri="{FF2B5EF4-FFF2-40B4-BE49-F238E27FC236}">
                <a16:creationId xmlns:a16="http://schemas.microsoft.com/office/drawing/2014/main" id="{84476B35-4E31-4636-A104-EFCF30564C85}"/>
              </a:ext>
            </a:extLst>
          </p:cNvPr>
          <p:cNvSpPr/>
          <p:nvPr userDrawn="1"/>
        </p:nvSpPr>
        <p:spPr>
          <a:xfrm>
            <a:off x="6294680" y="2419569"/>
            <a:ext cx="83897" cy="90889"/>
          </a:xfrm>
          <a:custGeom>
            <a:avLst/>
            <a:gdLst>
              <a:gd name="connsiteX0" fmla="*/ 38453 w 83897"/>
              <a:gd name="connsiteY0" fmla="*/ 90889 h 90889"/>
              <a:gd name="connsiteX1" fmla="*/ 0 w 83897"/>
              <a:gd name="connsiteY1" fmla="*/ 90889 h 90889"/>
              <a:gd name="connsiteX2" fmla="*/ 45445 w 83897"/>
              <a:gd name="connsiteY2" fmla="*/ 45445 h 90889"/>
              <a:gd name="connsiteX3" fmla="*/ 0 w 83897"/>
              <a:gd name="connsiteY3" fmla="*/ 0 h 90889"/>
              <a:gd name="connsiteX4" fmla="*/ 39618 w 83897"/>
              <a:gd name="connsiteY4" fmla="*/ 0 h 90889"/>
              <a:gd name="connsiteX5" fmla="*/ 83898 w 83897"/>
              <a:gd name="connsiteY5" fmla="*/ 44279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endParaRPr lang="de-DE"/>
          </a:p>
        </p:txBody>
      </p:sp>
      <p:sp>
        <p:nvSpPr>
          <p:cNvPr id="343" name="Freihandform: Form 342">
            <a:extLst>
              <a:ext uri="{FF2B5EF4-FFF2-40B4-BE49-F238E27FC236}">
                <a16:creationId xmlns:a16="http://schemas.microsoft.com/office/drawing/2014/main" id="{6E4C3BE2-5614-4053-AD7A-02597CC57C7F}"/>
              </a:ext>
            </a:extLst>
          </p:cNvPr>
          <p:cNvSpPr/>
          <p:nvPr userDrawn="1"/>
        </p:nvSpPr>
        <p:spPr>
          <a:xfrm>
            <a:off x="6294680" y="2773804"/>
            <a:ext cx="83897" cy="90889"/>
          </a:xfrm>
          <a:custGeom>
            <a:avLst/>
            <a:gdLst>
              <a:gd name="connsiteX0" fmla="*/ 38453 w 83897"/>
              <a:gd name="connsiteY0" fmla="*/ 90889 h 90889"/>
              <a:gd name="connsiteX1" fmla="*/ 0 w 83897"/>
              <a:gd name="connsiteY1" fmla="*/ 90889 h 90889"/>
              <a:gd name="connsiteX2" fmla="*/ 45445 w 83897"/>
              <a:gd name="connsiteY2" fmla="*/ 46610 h 90889"/>
              <a:gd name="connsiteX3" fmla="*/ 0 w 83897"/>
              <a:gd name="connsiteY3" fmla="*/ 0 h 90889"/>
              <a:gd name="connsiteX4" fmla="*/ 39618 w 83897"/>
              <a:gd name="connsiteY4" fmla="*/ 0 h 90889"/>
              <a:gd name="connsiteX5" fmla="*/ 83898 w 83897"/>
              <a:gd name="connsiteY5" fmla="*/ 45445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6610"/>
                </a:lnTo>
                <a:lnTo>
                  <a:pt x="0" y="0"/>
                </a:lnTo>
                <a:lnTo>
                  <a:pt x="39618" y="0"/>
                </a:lnTo>
                <a:lnTo>
                  <a:pt x="83898" y="45445"/>
                </a:lnTo>
                <a:close/>
              </a:path>
            </a:pathLst>
          </a:custGeom>
          <a:solidFill>
            <a:srgbClr val="EEF2F5"/>
          </a:solidFill>
          <a:ln w="11643" cap="flat">
            <a:noFill/>
            <a:prstDash val="solid"/>
            <a:miter/>
          </a:ln>
        </p:spPr>
        <p:txBody>
          <a:bodyPr rtlCol="0" anchor="ctr"/>
          <a:lstStyle/>
          <a:p>
            <a:endParaRPr lang="de-DE"/>
          </a:p>
        </p:txBody>
      </p:sp>
      <p:sp>
        <p:nvSpPr>
          <p:cNvPr id="344" name="Freihandform: Form 343">
            <a:extLst>
              <a:ext uri="{FF2B5EF4-FFF2-40B4-BE49-F238E27FC236}">
                <a16:creationId xmlns:a16="http://schemas.microsoft.com/office/drawing/2014/main" id="{6DD9ED1D-820B-4357-A470-36FDDF21B3EF}"/>
              </a:ext>
            </a:extLst>
          </p:cNvPr>
          <p:cNvSpPr/>
          <p:nvPr userDrawn="1"/>
        </p:nvSpPr>
        <p:spPr>
          <a:xfrm>
            <a:off x="6294680" y="3129205"/>
            <a:ext cx="83897" cy="90889"/>
          </a:xfrm>
          <a:custGeom>
            <a:avLst/>
            <a:gdLst>
              <a:gd name="connsiteX0" fmla="*/ 38453 w 83897"/>
              <a:gd name="connsiteY0" fmla="*/ 90889 h 90889"/>
              <a:gd name="connsiteX1" fmla="*/ 0 w 83897"/>
              <a:gd name="connsiteY1" fmla="*/ 90889 h 90889"/>
              <a:gd name="connsiteX2" fmla="*/ 45445 w 83897"/>
              <a:gd name="connsiteY2" fmla="*/ 45445 h 90889"/>
              <a:gd name="connsiteX3" fmla="*/ 0 w 83897"/>
              <a:gd name="connsiteY3" fmla="*/ 0 h 90889"/>
              <a:gd name="connsiteX4" fmla="*/ 39618 w 83897"/>
              <a:gd name="connsiteY4" fmla="*/ 0 h 90889"/>
              <a:gd name="connsiteX5" fmla="*/ 83898 w 83897"/>
              <a:gd name="connsiteY5" fmla="*/ 44279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endParaRPr lang="de-DE"/>
          </a:p>
        </p:txBody>
      </p:sp>
      <p:sp>
        <p:nvSpPr>
          <p:cNvPr id="345" name="Freihandform: Form 344">
            <a:extLst>
              <a:ext uri="{FF2B5EF4-FFF2-40B4-BE49-F238E27FC236}">
                <a16:creationId xmlns:a16="http://schemas.microsoft.com/office/drawing/2014/main" id="{AB5439D2-89C7-4CE8-94B8-29C5545E1F13}"/>
              </a:ext>
            </a:extLst>
          </p:cNvPr>
          <p:cNvSpPr/>
          <p:nvPr userDrawn="1"/>
        </p:nvSpPr>
        <p:spPr>
          <a:xfrm>
            <a:off x="6294680" y="3484606"/>
            <a:ext cx="83897" cy="89724"/>
          </a:xfrm>
          <a:custGeom>
            <a:avLst/>
            <a:gdLst>
              <a:gd name="connsiteX0" fmla="*/ 38453 w 83897"/>
              <a:gd name="connsiteY0" fmla="*/ 89724 h 89724"/>
              <a:gd name="connsiteX1" fmla="*/ 0 w 83897"/>
              <a:gd name="connsiteY1" fmla="*/ 89724 h 89724"/>
              <a:gd name="connsiteX2" fmla="*/ 45445 w 83897"/>
              <a:gd name="connsiteY2" fmla="*/ 45445 h 89724"/>
              <a:gd name="connsiteX3" fmla="*/ 0 w 83897"/>
              <a:gd name="connsiteY3" fmla="*/ 0 h 89724"/>
              <a:gd name="connsiteX4" fmla="*/ 39618 w 83897"/>
              <a:gd name="connsiteY4" fmla="*/ 0 h 89724"/>
              <a:gd name="connsiteX5" fmla="*/ 83898 w 83897"/>
              <a:gd name="connsiteY5" fmla="*/ 44279 h 89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89724">
                <a:moveTo>
                  <a:pt x="38453" y="89724"/>
                </a:moveTo>
                <a:lnTo>
                  <a:pt x="0" y="89724"/>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endParaRPr lang="de-DE"/>
          </a:p>
        </p:txBody>
      </p:sp>
      <p:sp>
        <p:nvSpPr>
          <p:cNvPr id="346" name="Freihandform: Form 345">
            <a:extLst>
              <a:ext uri="{FF2B5EF4-FFF2-40B4-BE49-F238E27FC236}">
                <a16:creationId xmlns:a16="http://schemas.microsoft.com/office/drawing/2014/main" id="{AF1E6C46-91F7-46BE-B34D-0F8FF181944E}"/>
              </a:ext>
            </a:extLst>
          </p:cNvPr>
          <p:cNvSpPr/>
          <p:nvPr userDrawn="1"/>
        </p:nvSpPr>
        <p:spPr>
          <a:xfrm>
            <a:off x="6294680" y="3838841"/>
            <a:ext cx="83897" cy="90889"/>
          </a:xfrm>
          <a:custGeom>
            <a:avLst/>
            <a:gdLst>
              <a:gd name="connsiteX0" fmla="*/ 38453 w 83897"/>
              <a:gd name="connsiteY0" fmla="*/ 90889 h 90889"/>
              <a:gd name="connsiteX1" fmla="*/ 0 w 83897"/>
              <a:gd name="connsiteY1" fmla="*/ 90889 h 90889"/>
              <a:gd name="connsiteX2" fmla="*/ 45445 w 83897"/>
              <a:gd name="connsiteY2" fmla="*/ 45445 h 90889"/>
              <a:gd name="connsiteX3" fmla="*/ 0 w 83897"/>
              <a:gd name="connsiteY3" fmla="*/ 0 h 90889"/>
              <a:gd name="connsiteX4" fmla="*/ 39618 w 83897"/>
              <a:gd name="connsiteY4" fmla="*/ 0 h 90889"/>
              <a:gd name="connsiteX5" fmla="*/ 83898 w 83897"/>
              <a:gd name="connsiteY5" fmla="*/ 44279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endParaRPr lang="de-DE"/>
          </a:p>
        </p:txBody>
      </p:sp>
      <p:sp>
        <p:nvSpPr>
          <p:cNvPr id="347" name="Freihandform: Form 346">
            <a:extLst>
              <a:ext uri="{FF2B5EF4-FFF2-40B4-BE49-F238E27FC236}">
                <a16:creationId xmlns:a16="http://schemas.microsoft.com/office/drawing/2014/main" id="{098A75FB-3BEC-4A6C-8897-8E57891AACC2}"/>
              </a:ext>
            </a:extLst>
          </p:cNvPr>
          <p:cNvSpPr/>
          <p:nvPr userDrawn="1"/>
        </p:nvSpPr>
        <p:spPr>
          <a:xfrm>
            <a:off x="6294680" y="4194242"/>
            <a:ext cx="83897" cy="89724"/>
          </a:xfrm>
          <a:custGeom>
            <a:avLst/>
            <a:gdLst>
              <a:gd name="connsiteX0" fmla="*/ 38453 w 83897"/>
              <a:gd name="connsiteY0" fmla="*/ 89724 h 89724"/>
              <a:gd name="connsiteX1" fmla="*/ 0 w 83897"/>
              <a:gd name="connsiteY1" fmla="*/ 89724 h 89724"/>
              <a:gd name="connsiteX2" fmla="*/ 45445 w 83897"/>
              <a:gd name="connsiteY2" fmla="*/ 45445 h 89724"/>
              <a:gd name="connsiteX3" fmla="*/ 0 w 83897"/>
              <a:gd name="connsiteY3" fmla="*/ 0 h 89724"/>
              <a:gd name="connsiteX4" fmla="*/ 39618 w 83897"/>
              <a:gd name="connsiteY4" fmla="*/ 0 h 89724"/>
              <a:gd name="connsiteX5" fmla="*/ 83898 w 83897"/>
              <a:gd name="connsiteY5" fmla="*/ 44279 h 89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89724">
                <a:moveTo>
                  <a:pt x="38453" y="89724"/>
                </a:moveTo>
                <a:lnTo>
                  <a:pt x="0" y="89724"/>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endParaRPr lang="de-DE"/>
          </a:p>
        </p:txBody>
      </p:sp>
      <p:sp>
        <p:nvSpPr>
          <p:cNvPr id="348" name="Freihandform: Form 347">
            <a:extLst>
              <a:ext uri="{FF2B5EF4-FFF2-40B4-BE49-F238E27FC236}">
                <a16:creationId xmlns:a16="http://schemas.microsoft.com/office/drawing/2014/main" id="{FB969AF5-A3F7-4A67-927C-8CDA08440EEA}"/>
              </a:ext>
            </a:extLst>
          </p:cNvPr>
          <p:cNvSpPr/>
          <p:nvPr userDrawn="1"/>
        </p:nvSpPr>
        <p:spPr>
          <a:xfrm>
            <a:off x="6294680" y="4903878"/>
            <a:ext cx="83897" cy="89724"/>
          </a:xfrm>
          <a:custGeom>
            <a:avLst/>
            <a:gdLst>
              <a:gd name="connsiteX0" fmla="*/ 38453 w 83897"/>
              <a:gd name="connsiteY0" fmla="*/ 89724 h 89724"/>
              <a:gd name="connsiteX1" fmla="*/ 0 w 83897"/>
              <a:gd name="connsiteY1" fmla="*/ 89724 h 89724"/>
              <a:gd name="connsiteX2" fmla="*/ 45445 w 83897"/>
              <a:gd name="connsiteY2" fmla="*/ 45445 h 89724"/>
              <a:gd name="connsiteX3" fmla="*/ 0 w 83897"/>
              <a:gd name="connsiteY3" fmla="*/ 0 h 89724"/>
              <a:gd name="connsiteX4" fmla="*/ 39618 w 83897"/>
              <a:gd name="connsiteY4" fmla="*/ 0 h 89724"/>
              <a:gd name="connsiteX5" fmla="*/ 83898 w 83897"/>
              <a:gd name="connsiteY5" fmla="*/ 44279 h 89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89724">
                <a:moveTo>
                  <a:pt x="38453" y="89724"/>
                </a:moveTo>
                <a:lnTo>
                  <a:pt x="0" y="89724"/>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endParaRPr lang="de-DE"/>
          </a:p>
        </p:txBody>
      </p:sp>
      <p:sp>
        <p:nvSpPr>
          <p:cNvPr id="349" name="Freihandform: Form 348">
            <a:extLst>
              <a:ext uri="{FF2B5EF4-FFF2-40B4-BE49-F238E27FC236}">
                <a16:creationId xmlns:a16="http://schemas.microsoft.com/office/drawing/2014/main" id="{2E6C2156-0A71-415E-B4B6-B6F43E9327C4}"/>
              </a:ext>
            </a:extLst>
          </p:cNvPr>
          <p:cNvSpPr/>
          <p:nvPr userDrawn="1"/>
        </p:nvSpPr>
        <p:spPr>
          <a:xfrm>
            <a:off x="6294680" y="5258113"/>
            <a:ext cx="83897" cy="90889"/>
          </a:xfrm>
          <a:custGeom>
            <a:avLst/>
            <a:gdLst>
              <a:gd name="connsiteX0" fmla="*/ 38453 w 83897"/>
              <a:gd name="connsiteY0" fmla="*/ 90889 h 90889"/>
              <a:gd name="connsiteX1" fmla="*/ 0 w 83897"/>
              <a:gd name="connsiteY1" fmla="*/ 90889 h 90889"/>
              <a:gd name="connsiteX2" fmla="*/ 45445 w 83897"/>
              <a:gd name="connsiteY2" fmla="*/ 45445 h 90889"/>
              <a:gd name="connsiteX3" fmla="*/ 0 w 83897"/>
              <a:gd name="connsiteY3" fmla="*/ 0 h 90889"/>
              <a:gd name="connsiteX4" fmla="*/ 39618 w 83897"/>
              <a:gd name="connsiteY4" fmla="*/ 0 h 90889"/>
              <a:gd name="connsiteX5" fmla="*/ 83898 w 83897"/>
              <a:gd name="connsiteY5" fmla="*/ 44279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endParaRPr lang="de-DE"/>
          </a:p>
        </p:txBody>
      </p:sp>
      <p:sp>
        <p:nvSpPr>
          <p:cNvPr id="350" name="Freihandform: Form 349">
            <a:extLst>
              <a:ext uri="{FF2B5EF4-FFF2-40B4-BE49-F238E27FC236}">
                <a16:creationId xmlns:a16="http://schemas.microsoft.com/office/drawing/2014/main" id="{ACCECFFB-F7F0-4072-9DC2-02D68E9052B1}"/>
              </a:ext>
            </a:extLst>
          </p:cNvPr>
          <p:cNvSpPr/>
          <p:nvPr userDrawn="1"/>
        </p:nvSpPr>
        <p:spPr>
          <a:xfrm>
            <a:off x="6294680" y="5613514"/>
            <a:ext cx="83897" cy="90889"/>
          </a:xfrm>
          <a:custGeom>
            <a:avLst/>
            <a:gdLst>
              <a:gd name="connsiteX0" fmla="*/ 38453 w 83897"/>
              <a:gd name="connsiteY0" fmla="*/ 90889 h 90889"/>
              <a:gd name="connsiteX1" fmla="*/ 0 w 83897"/>
              <a:gd name="connsiteY1" fmla="*/ 90889 h 90889"/>
              <a:gd name="connsiteX2" fmla="*/ 45445 w 83897"/>
              <a:gd name="connsiteY2" fmla="*/ 45445 h 90889"/>
              <a:gd name="connsiteX3" fmla="*/ 0 w 83897"/>
              <a:gd name="connsiteY3" fmla="*/ 0 h 90889"/>
              <a:gd name="connsiteX4" fmla="*/ 39618 w 83897"/>
              <a:gd name="connsiteY4" fmla="*/ 0 h 90889"/>
              <a:gd name="connsiteX5" fmla="*/ 83898 w 83897"/>
              <a:gd name="connsiteY5" fmla="*/ 44279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endParaRPr lang="de-DE"/>
          </a:p>
        </p:txBody>
      </p:sp>
      <p:sp>
        <p:nvSpPr>
          <p:cNvPr id="351" name="Freihandform: Form 350">
            <a:extLst>
              <a:ext uri="{FF2B5EF4-FFF2-40B4-BE49-F238E27FC236}">
                <a16:creationId xmlns:a16="http://schemas.microsoft.com/office/drawing/2014/main" id="{30860A54-535E-40E9-96AA-34D99A547843}"/>
              </a:ext>
            </a:extLst>
          </p:cNvPr>
          <p:cNvSpPr/>
          <p:nvPr userDrawn="1"/>
        </p:nvSpPr>
        <p:spPr>
          <a:xfrm>
            <a:off x="6294680" y="5967749"/>
            <a:ext cx="83897" cy="90889"/>
          </a:xfrm>
          <a:custGeom>
            <a:avLst/>
            <a:gdLst>
              <a:gd name="connsiteX0" fmla="*/ 38453 w 83897"/>
              <a:gd name="connsiteY0" fmla="*/ 90889 h 90889"/>
              <a:gd name="connsiteX1" fmla="*/ 0 w 83897"/>
              <a:gd name="connsiteY1" fmla="*/ 90889 h 90889"/>
              <a:gd name="connsiteX2" fmla="*/ 45445 w 83897"/>
              <a:gd name="connsiteY2" fmla="*/ 46610 h 90889"/>
              <a:gd name="connsiteX3" fmla="*/ 0 w 83897"/>
              <a:gd name="connsiteY3" fmla="*/ 0 h 90889"/>
              <a:gd name="connsiteX4" fmla="*/ 39618 w 83897"/>
              <a:gd name="connsiteY4" fmla="*/ 0 h 90889"/>
              <a:gd name="connsiteX5" fmla="*/ 83898 w 83897"/>
              <a:gd name="connsiteY5" fmla="*/ 45445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6610"/>
                </a:lnTo>
                <a:lnTo>
                  <a:pt x="0" y="0"/>
                </a:lnTo>
                <a:lnTo>
                  <a:pt x="39618" y="0"/>
                </a:lnTo>
                <a:lnTo>
                  <a:pt x="83898" y="45445"/>
                </a:lnTo>
                <a:close/>
              </a:path>
            </a:pathLst>
          </a:custGeom>
          <a:solidFill>
            <a:srgbClr val="EEF2F5"/>
          </a:solidFill>
          <a:ln w="11643" cap="flat">
            <a:noFill/>
            <a:prstDash val="solid"/>
            <a:miter/>
          </a:ln>
        </p:spPr>
        <p:txBody>
          <a:bodyPr rtlCol="0" anchor="ctr"/>
          <a:lstStyle/>
          <a:p>
            <a:endParaRPr lang="de-DE"/>
          </a:p>
        </p:txBody>
      </p:sp>
      <p:sp>
        <p:nvSpPr>
          <p:cNvPr id="352" name="Freihandform: Form 351">
            <a:extLst>
              <a:ext uri="{FF2B5EF4-FFF2-40B4-BE49-F238E27FC236}">
                <a16:creationId xmlns:a16="http://schemas.microsoft.com/office/drawing/2014/main" id="{74EA2C5C-043C-43FC-82F8-EBCDC51C4FFE}"/>
              </a:ext>
            </a:extLst>
          </p:cNvPr>
          <p:cNvSpPr/>
          <p:nvPr userDrawn="1"/>
        </p:nvSpPr>
        <p:spPr>
          <a:xfrm>
            <a:off x="6294680" y="6323150"/>
            <a:ext cx="83897" cy="90889"/>
          </a:xfrm>
          <a:custGeom>
            <a:avLst/>
            <a:gdLst>
              <a:gd name="connsiteX0" fmla="*/ 38453 w 83897"/>
              <a:gd name="connsiteY0" fmla="*/ 90889 h 90889"/>
              <a:gd name="connsiteX1" fmla="*/ 0 w 83897"/>
              <a:gd name="connsiteY1" fmla="*/ 90889 h 90889"/>
              <a:gd name="connsiteX2" fmla="*/ 45445 w 83897"/>
              <a:gd name="connsiteY2" fmla="*/ 45445 h 90889"/>
              <a:gd name="connsiteX3" fmla="*/ 0 w 83897"/>
              <a:gd name="connsiteY3" fmla="*/ 0 h 90889"/>
              <a:gd name="connsiteX4" fmla="*/ 39618 w 83897"/>
              <a:gd name="connsiteY4" fmla="*/ 0 h 90889"/>
              <a:gd name="connsiteX5" fmla="*/ 83898 w 83897"/>
              <a:gd name="connsiteY5" fmla="*/ 44279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endParaRPr lang="de-DE"/>
          </a:p>
        </p:txBody>
      </p:sp>
      <p:sp>
        <p:nvSpPr>
          <p:cNvPr id="353" name="Freihandform: Form 352">
            <a:extLst>
              <a:ext uri="{FF2B5EF4-FFF2-40B4-BE49-F238E27FC236}">
                <a16:creationId xmlns:a16="http://schemas.microsoft.com/office/drawing/2014/main" id="{C8CACB49-436D-4574-8377-C753156738F1}"/>
              </a:ext>
            </a:extLst>
          </p:cNvPr>
          <p:cNvSpPr/>
          <p:nvPr userDrawn="1"/>
        </p:nvSpPr>
        <p:spPr>
          <a:xfrm>
            <a:off x="6294680" y="6677385"/>
            <a:ext cx="83897" cy="90889"/>
          </a:xfrm>
          <a:custGeom>
            <a:avLst/>
            <a:gdLst>
              <a:gd name="connsiteX0" fmla="*/ 38453 w 83897"/>
              <a:gd name="connsiteY0" fmla="*/ 90889 h 90889"/>
              <a:gd name="connsiteX1" fmla="*/ 0 w 83897"/>
              <a:gd name="connsiteY1" fmla="*/ 90889 h 90889"/>
              <a:gd name="connsiteX2" fmla="*/ 45445 w 83897"/>
              <a:gd name="connsiteY2" fmla="*/ 46610 h 90889"/>
              <a:gd name="connsiteX3" fmla="*/ 0 w 83897"/>
              <a:gd name="connsiteY3" fmla="*/ 0 h 90889"/>
              <a:gd name="connsiteX4" fmla="*/ 39618 w 83897"/>
              <a:gd name="connsiteY4" fmla="*/ 0 h 90889"/>
              <a:gd name="connsiteX5" fmla="*/ 83898 w 83897"/>
              <a:gd name="connsiteY5" fmla="*/ 45445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6610"/>
                </a:lnTo>
                <a:lnTo>
                  <a:pt x="0" y="0"/>
                </a:lnTo>
                <a:lnTo>
                  <a:pt x="39618" y="0"/>
                </a:lnTo>
                <a:lnTo>
                  <a:pt x="83898" y="45445"/>
                </a:lnTo>
                <a:close/>
              </a:path>
            </a:pathLst>
          </a:custGeom>
          <a:solidFill>
            <a:srgbClr val="EEF2F5"/>
          </a:solidFill>
          <a:ln w="11643" cap="flat">
            <a:noFill/>
            <a:prstDash val="solid"/>
            <a:miter/>
          </a:ln>
        </p:spPr>
        <p:txBody>
          <a:bodyPr rtlCol="0" anchor="ctr"/>
          <a:lstStyle/>
          <a:p>
            <a:endParaRPr lang="de-DE"/>
          </a:p>
        </p:txBody>
      </p:sp>
      <p:sp>
        <p:nvSpPr>
          <p:cNvPr id="354" name="Freihandform: Form 353">
            <a:extLst>
              <a:ext uri="{FF2B5EF4-FFF2-40B4-BE49-F238E27FC236}">
                <a16:creationId xmlns:a16="http://schemas.microsoft.com/office/drawing/2014/main" id="{B29013A0-BCBB-40DB-8B64-C13F7A006ED1}"/>
              </a:ext>
            </a:extLst>
          </p:cNvPr>
          <p:cNvSpPr/>
          <p:nvPr userDrawn="1"/>
        </p:nvSpPr>
        <p:spPr>
          <a:xfrm>
            <a:off x="6641924" y="2056012"/>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3601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355" name="Freihandform: Form 354">
            <a:extLst>
              <a:ext uri="{FF2B5EF4-FFF2-40B4-BE49-F238E27FC236}">
                <a16:creationId xmlns:a16="http://schemas.microsoft.com/office/drawing/2014/main" id="{CFF769E7-83E6-4FFF-B7B6-43CAC363AE64}"/>
              </a:ext>
            </a:extLst>
          </p:cNvPr>
          <p:cNvSpPr/>
          <p:nvPr userDrawn="1"/>
        </p:nvSpPr>
        <p:spPr>
          <a:xfrm>
            <a:off x="6641924" y="2410247"/>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3601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356" name="Freihandform: Form 355">
            <a:extLst>
              <a:ext uri="{FF2B5EF4-FFF2-40B4-BE49-F238E27FC236}">
                <a16:creationId xmlns:a16="http://schemas.microsoft.com/office/drawing/2014/main" id="{B4DC8A4E-265A-423E-AB7E-52089C97E7ED}"/>
              </a:ext>
            </a:extLst>
          </p:cNvPr>
          <p:cNvSpPr/>
          <p:nvPr userDrawn="1"/>
        </p:nvSpPr>
        <p:spPr>
          <a:xfrm>
            <a:off x="6641924" y="2765648"/>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3601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357" name="Freihandform: Form 356">
            <a:extLst>
              <a:ext uri="{FF2B5EF4-FFF2-40B4-BE49-F238E27FC236}">
                <a16:creationId xmlns:a16="http://schemas.microsoft.com/office/drawing/2014/main" id="{8229E235-012D-4068-9887-186727B34CE4}"/>
              </a:ext>
            </a:extLst>
          </p:cNvPr>
          <p:cNvSpPr/>
          <p:nvPr userDrawn="1"/>
        </p:nvSpPr>
        <p:spPr>
          <a:xfrm>
            <a:off x="6641924" y="3119883"/>
            <a:ext cx="100211" cy="109533"/>
          </a:xfrm>
          <a:custGeom>
            <a:avLst/>
            <a:gdLst>
              <a:gd name="connsiteX0" fmla="*/ 45445 w 100211"/>
              <a:gd name="connsiteY0" fmla="*/ 109533 h 109533"/>
              <a:gd name="connsiteX1" fmla="*/ 0 w 100211"/>
              <a:gd name="connsiteY1" fmla="*/ 109533 h 109533"/>
              <a:gd name="connsiteX2" fmla="*/ 53601 w 100211"/>
              <a:gd name="connsiteY2" fmla="*/ 54767 h 109533"/>
              <a:gd name="connsiteX3" fmla="*/ 0 w 100211"/>
              <a:gd name="connsiteY3" fmla="*/ 0 h 109533"/>
              <a:gd name="connsiteX4" fmla="*/ 46610 w 100211"/>
              <a:gd name="connsiteY4" fmla="*/ 0 h 109533"/>
              <a:gd name="connsiteX5" fmla="*/ 100211 w 100211"/>
              <a:gd name="connsiteY5" fmla="*/ 53601 h 109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9533">
                <a:moveTo>
                  <a:pt x="45445" y="109533"/>
                </a:moveTo>
                <a:lnTo>
                  <a:pt x="0" y="109533"/>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358" name="Freihandform: Form 357">
            <a:extLst>
              <a:ext uri="{FF2B5EF4-FFF2-40B4-BE49-F238E27FC236}">
                <a16:creationId xmlns:a16="http://schemas.microsoft.com/office/drawing/2014/main" id="{984E28EA-AC69-4530-BB08-379D156F0B5F}"/>
              </a:ext>
            </a:extLst>
          </p:cNvPr>
          <p:cNvSpPr/>
          <p:nvPr userDrawn="1"/>
        </p:nvSpPr>
        <p:spPr>
          <a:xfrm>
            <a:off x="6641924" y="3475284"/>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3601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359" name="Freihandform: Form 358">
            <a:extLst>
              <a:ext uri="{FF2B5EF4-FFF2-40B4-BE49-F238E27FC236}">
                <a16:creationId xmlns:a16="http://schemas.microsoft.com/office/drawing/2014/main" id="{FEDFDF1D-F996-436D-95F7-5BE574FD9E43}"/>
              </a:ext>
            </a:extLst>
          </p:cNvPr>
          <p:cNvSpPr/>
          <p:nvPr userDrawn="1"/>
        </p:nvSpPr>
        <p:spPr>
          <a:xfrm>
            <a:off x="6641924" y="3829519"/>
            <a:ext cx="100211" cy="109533"/>
          </a:xfrm>
          <a:custGeom>
            <a:avLst/>
            <a:gdLst>
              <a:gd name="connsiteX0" fmla="*/ 45445 w 100211"/>
              <a:gd name="connsiteY0" fmla="*/ 109533 h 109533"/>
              <a:gd name="connsiteX1" fmla="*/ 0 w 100211"/>
              <a:gd name="connsiteY1" fmla="*/ 109533 h 109533"/>
              <a:gd name="connsiteX2" fmla="*/ 53601 w 100211"/>
              <a:gd name="connsiteY2" fmla="*/ 54767 h 109533"/>
              <a:gd name="connsiteX3" fmla="*/ 0 w 100211"/>
              <a:gd name="connsiteY3" fmla="*/ 0 h 109533"/>
              <a:gd name="connsiteX4" fmla="*/ 46610 w 100211"/>
              <a:gd name="connsiteY4" fmla="*/ 0 h 109533"/>
              <a:gd name="connsiteX5" fmla="*/ 100211 w 100211"/>
              <a:gd name="connsiteY5" fmla="*/ 53601 h 109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9533">
                <a:moveTo>
                  <a:pt x="45445" y="109533"/>
                </a:moveTo>
                <a:lnTo>
                  <a:pt x="0" y="109533"/>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360" name="Freihandform: Form 359">
            <a:extLst>
              <a:ext uri="{FF2B5EF4-FFF2-40B4-BE49-F238E27FC236}">
                <a16:creationId xmlns:a16="http://schemas.microsoft.com/office/drawing/2014/main" id="{8685CC1C-42AB-4B1F-A9DB-BA63AF39AC62}"/>
              </a:ext>
            </a:extLst>
          </p:cNvPr>
          <p:cNvSpPr/>
          <p:nvPr userDrawn="1"/>
        </p:nvSpPr>
        <p:spPr>
          <a:xfrm>
            <a:off x="6641924" y="4184920"/>
            <a:ext cx="100211" cy="108367"/>
          </a:xfrm>
          <a:custGeom>
            <a:avLst/>
            <a:gdLst>
              <a:gd name="connsiteX0" fmla="*/ 45445 w 100211"/>
              <a:gd name="connsiteY0" fmla="*/ 108368 h 108367"/>
              <a:gd name="connsiteX1" fmla="*/ 0 w 100211"/>
              <a:gd name="connsiteY1" fmla="*/ 108368 h 108367"/>
              <a:gd name="connsiteX2" fmla="*/ 53601 w 100211"/>
              <a:gd name="connsiteY2" fmla="*/ 54767 h 108367"/>
              <a:gd name="connsiteX3" fmla="*/ 0 w 100211"/>
              <a:gd name="connsiteY3" fmla="*/ 0 h 108367"/>
              <a:gd name="connsiteX4" fmla="*/ 46610 w 100211"/>
              <a:gd name="connsiteY4" fmla="*/ 0 h 108367"/>
              <a:gd name="connsiteX5" fmla="*/ 100211 w 100211"/>
              <a:gd name="connsiteY5" fmla="*/ 53601 h 108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7">
                <a:moveTo>
                  <a:pt x="45445" y="108368"/>
                </a:moveTo>
                <a:lnTo>
                  <a:pt x="0" y="108368"/>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361" name="Freihandform: Form 360">
            <a:extLst>
              <a:ext uri="{FF2B5EF4-FFF2-40B4-BE49-F238E27FC236}">
                <a16:creationId xmlns:a16="http://schemas.microsoft.com/office/drawing/2014/main" id="{48EE8789-AAA0-46DB-896E-70EAB25AAE92}"/>
              </a:ext>
            </a:extLst>
          </p:cNvPr>
          <p:cNvSpPr/>
          <p:nvPr userDrawn="1"/>
        </p:nvSpPr>
        <p:spPr>
          <a:xfrm>
            <a:off x="6641924" y="4539155"/>
            <a:ext cx="100211" cy="109533"/>
          </a:xfrm>
          <a:custGeom>
            <a:avLst/>
            <a:gdLst>
              <a:gd name="connsiteX0" fmla="*/ 45445 w 100211"/>
              <a:gd name="connsiteY0" fmla="*/ 109533 h 109533"/>
              <a:gd name="connsiteX1" fmla="*/ 0 w 100211"/>
              <a:gd name="connsiteY1" fmla="*/ 109533 h 109533"/>
              <a:gd name="connsiteX2" fmla="*/ 53601 w 100211"/>
              <a:gd name="connsiteY2" fmla="*/ 54767 h 109533"/>
              <a:gd name="connsiteX3" fmla="*/ 0 w 100211"/>
              <a:gd name="connsiteY3" fmla="*/ 0 h 109533"/>
              <a:gd name="connsiteX4" fmla="*/ 46610 w 100211"/>
              <a:gd name="connsiteY4" fmla="*/ 0 h 109533"/>
              <a:gd name="connsiteX5" fmla="*/ 100211 w 100211"/>
              <a:gd name="connsiteY5" fmla="*/ 53601 h 109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9533">
                <a:moveTo>
                  <a:pt x="45445" y="109533"/>
                </a:moveTo>
                <a:lnTo>
                  <a:pt x="0" y="109533"/>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362" name="Freihandform: Form 361">
            <a:extLst>
              <a:ext uri="{FF2B5EF4-FFF2-40B4-BE49-F238E27FC236}">
                <a16:creationId xmlns:a16="http://schemas.microsoft.com/office/drawing/2014/main" id="{102A4279-5E98-4085-A63D-1DC589536896}"/>
              </a:ext>
            </a:extLst>
          </p:cNvPr>
          <p:cNvSpPr/>
          <p:nvPr userDrawn="1"/>
        </p:nvSpPr>
        <p:spPr>
          <a:xfrm>
            <a:off x="6641924" y="4894556"/>
            <a:ext cx="100211" cy="108367"/>
          </a:xfrm>
          <a:custGeom>
            <a:avLst/>
            <a:gdLst>
              <a:gd name="connsiteX0" fmla="*/ 45445 w 100211"/>
              <a:gd name="connsiteY0" fmla="*/ 108368 h 108367"/>
              <a:gd name="connsiteX1" fmla="*/ 0 w 100211"/>
              <a:gd name="connsiteY1" fmla="*/ 108368 h 108367"/>
              <a:gd name="connsiteX2" fmla="*/ 53601 w 100211"/>
              <a:gd name="connsiteY2" fmla="*/ 54767 h 108367"/>
              <a:gd name="connsiteX3" fmla="*/ 0 w 100211"/>
              <a:gd name="connsiteY3" fmla="*/ 0 h 108367"/>
              <a:gd name="connsiteX4" fmla="*/ 46610 w 100211"/>
              <a:gd name="connsiteY4" fmla="*/ 0 h 108367"/>
              <a:gd name="connsiteX5" fmla="*/ 100211 w 100211"/>
              <a:gd name="connsiteY5" fmla="*/ 53601 h 108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7">
                <a:moveTo>
                  <a:pt x="45445" y="108368"/>
                </a:moveTo>
                <a:lnTo>
                  <a:pt x="0" y="108368"/>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363" name="Freihandform: Form 362">
            <a:extLst>
              <a:ext uri="{FF2B5EF4-FFF2-40B4-BE49-F238E27FC236}">
                <a16:creationId xmlns:a16="http://schemas.microsoft.com/office/drawing/2014/main" id="{F159DC3D-E9B7-40DC-80A5-80705CE3B859}"/>
              </a:ext>
            </a:extLst>
          </p:cNvPr>
          <p:cNvSpPr/>
          <p:nvPr userDrawn="1"/>
        </p:nvSpPr>
        <p:spPr>
          <a:xfrm>
            <a:off x="6641924" y="5249956"/>
            <a:ext cx="100211" cy="108367"/>
          </a:xfrm>
          <a:custGeom>
            <a:avLst/>
            <a:gdLst>
              <a:gd name="connsiteX0" fmla="*/ 45445 w 100211"/>
              <a:gd name="connsiteY0" fmla="*/ 108368 h 108367"/>
              <a:gd name="connsiteX1" fmla="*/ 0 w 100211"/>
              <a:gd name="connsiteY1" fmla="*/ 108368 h 108367"/>
              <a:gd name="connsiteX2" fmla="*/ 53601 w 100211"/>
              <a:gd name="connsiteY2" fmla="*/ 54767 h 108367"/>
              <a:gd name="connsiteX3" fmla="*/ 0 w 100211"/>
              <a:gd name="connsiteY3" fmla="*/ 0 h 108367"/>
              <a:gd name="connsiteX4" fmla="*/ 46610 w 100211"/>
              <a:gd name="connsiteY4" fmla="*/ 0 h 108367"/>
              <a:gd name="connsiteX5" fmla="*/ 100211 w 100211"/>
              <a:gd name="connsiteY5" fmla="*/ 52436 h 108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7">
                <a:moveTo>
                  <a:pt x="45445" y="108368"/>
                </a:moveTo>
                <a:lnTo>
                  <a:pt x="0" y="108368"/>
                </a:lnTo>
                <a:lnTo>
                  <a:pt x="53601" y="54767"/>
                </a:lnTo>
                <a:lnTo>
                  <a:pt x="0" y="0"/>
                </a:lnTo>
                <a:lnTo>
                  <a:pt x="46610" y="0"/>
                </a:lnTo>
                <a:lnTo>
                  <a:pt x="100211" y="52436"/>
                </a:lnTo>
                <a:close/>
              </a:path>
            </a:pathLst>
          </a:custGeom>
          <a:solidFill>
            <a:srgbClr val="EEF2F5"/>
          </a:solidFill>
          <a:ln w="11643" cap="flat">
            <a:noFill/>
            <a:prstDash val="solid"/>
            <a:miter/>
          </a:ln>
        </p:spPr>
        <p:txBody>
          <a:bodyPr rtlCol="0" anchor="ctr"/>
          <a:lstStyle/>
          <a:p>
            <a:endParaRPr lang="de-DE"/>
          </a:p>
        </p:txBody>
      </p:sp>
      <p:sp>
        <p:nvSpPr>
          <p:cNvPr id="364" name="Freihandform: Form 363">
            <a:extLst>
              <a:ext uri="{FF2B5EF4-FFF2-40B4-BE49-F238E27FC236}">
                <a16:creationId xmlns:a16="http://schemas.microsoft.com/office/drawing/2014/main" id="{72A08ED3-7BD7-47B4-8793-76366AD64EE4}"/>
              </a:ext>
            </a:extLst>
          </p:cNvPr>
          <p:cNvSpPr/>
          <p:nvPr userDrawn="1"/>
        </p:nvSpPr>
        <p:spPr>
          <a:xfrm>
            <a:off x="6641924" y="5604192"/>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3601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365" name="Freihandform: Form 364">
            <a:extLst>
              <a:ext uri="{FF2B5EF4-FFF2-40B4-BE49-F238E27FC236}">
                <a16:creationId xmlns:a16="http://schemas.microsoft.com/office/drawing/2014/main" id="{C895AAFE-E256-4007-9B16-BC9198849207}"/>
              </a:ext>
            </a:extLst>
          </p:cNvPr>
          <p:cNvSpPr/>
          <p:nvPr userDrawn="1"/>
        </p:nvSpPr>
        <p:spPr>
          <a:xfrm>
            <a:off x="6641924" y="5959592"/>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2436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2436"/>
                </a:lnTo>
                <a:close/>
              </a:path>
            </a:pathLst>
          </a:custGeom>
          <a:solidFill>
            <a:srgbClr val="EEF2F5"/>
          </a:solidFill>
          <a:ln w="11643" cap="flat">
            <a:noFill/>
            <a:prstDash val="solid"/>
            <a:miter/>
          </a:ln>
        </p:spPr>
        <p:txBody>
          <a:bodyPr rtlCol="0" anchor="ctr"/>
          <a:lstStyle/>
          <a:p>
            <a:endParaRPr lang="de-DE"/>
          </a:p>
        </p:txBody>
      </p:sp>
      <p:sp>
        <p:nvSpPr>
          <p:cNvPr id="366" name="Freihandform: Form 365">
            <a:extLst>
              <a:ext uri="{FF2B5EF4-FFF2-40B4-BE49-F238E27FC236}">
                <a16:creationId xmlns:a16="http://schemas.microsoft.com/office/drawing/2014/main" id="{6C173860-BF8F-4E2F-BCFC-7F292BAC3A01}"/>
              </a:ext>
            </a:extLst>
          </p:cNvPr>
          <p:cNvSpPr/>
          <p:nvPr userDrawn="1"/>
        </p:nvSpPr>
        <p:spPr>
          <a:xfrm>
            <a:off x="6641924" y="6313828"/>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3601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367" name="Freihandform: Form 366">
            <a:extLst>
              <a:ext uri="{FF2B5EF4-FFF2-40B4-BE49-F238E27FC236}">
                <a16:creationId xmlns:a16="http://schemas.microsoft.com/office/drawing/2014/main" id="{73853278-27BF-4E81-94D6-486931097CE6}"/>
              </a:ext>
            </a:extLst>
          </p:cNvPr>
          <p:cNvSpPr/>
          <p:nvPr userDrawn="1"/>
        </p:nvSpPr>
        <p:spPr>
          <a:xfrm>
            <a:off x="6641924" y="6669228"/>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2436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2436"/>
                </a:lnTo>
                <a:close/>
              </a:path>
            </a:pathLst>
          </a:custGeom>
          <a:solidFill>
            <a:srgbClr val="EEF2F5"/>
          </a:solidFill>
          <a:ln w="11643" cap="flat">
            <a:noFill/>
            <a:prstDash val="solid"/>
            <a:miter/>
          </a:ln>
        </p:spPr>
        <p:txBody>
          <a:bodyPr rtlCol="0" anchor="ctr"/>
          <a:lstStyle/>
          <a:p>
            <a:endParaRPr lang="de-DE"/>
          </a:p>
        </p:txBody>
      </p:sp>
      <p:sp>
        <p:nvSpPr>
          <p:cNvPr id="368" name="Freihandform: Form 367">
            <a:extLst>
              <a:ext uri="{FF2B5EF4-FFF2-40B4-BE49-F238E27FC236}">
                <a16:creationId xmlns:a16="http://schemas.microsoft.com/office/drawing/2014/main" id="{94E5B3F3-1943-4AAC-A8E5-78E273FC1825}"/>
              </a:ext>
            </a:extLst>
          </p:cNvPr>
          <p:cNvSpPr/>
          <p:nvPr userDrawn="1"/>
        </p:nvSpPr>
        <p:spPr>
          <a:xfrm>
            <a:off x="6988003" y="2046690"/>
            <a:ext cx="117690" cy="127012"/>
          </a:xfrm>
          <a:custGeom>
            <a:avLst/>
            <a:gdLst>
              <a:gd name="connsiteX0" fmla="*/ 53601 w 117690"/>
              <a:gd name="connsiteY0" fmla="*/ 127012 h 127012"/>
              <a:gd name="connsiteX1" fmla="*/ 0 w 117690"/>
              <a:gd name="connsiteY1" fmla="*/ 127012 h 127012"/>
              <a:gd name="connsiteX2" fmla="*/ 62924 w 117690"/>
              <a:gd name="connsiteY2" fmla="*/ 64089 h 127012"/>
              <a:gd name="connsiteX3" fmla="*/ 0 w 117690"/>
              <a:gd name="connsiteY3" fmla="*/ 0 h 127012"/>
              <a:gd name="connsiteX4" fmla="*/ 54767 w 117690"/>
              <a:gd name="connsiteY4" fmla="*/ 0 h 127012"/>
              <a:gd name="connsiteX5" fmla="*/ 117690 w 117690"/>
              <a:gd name="connsiteY5" fmla="*/ 61758 h 12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2">
                <a:moveTo>
                  <a:pt x="53601" y="127012"/>
                </a:moveTo>
                <a:lnTo>
                  <a:pt x="0" y="127012"/>
                </a:lnTo>
                <a:lnTo>
                  <a:pt x="62924" y="64089"/>
                </a:lnTo>
                <a:lnTo>
                  <a:pt x="0" y="0"/>
                </a:lnTo>
                <a:lnTo>
                  <a:pt x="54767" y="0"/>
                </a:lnTo>
                <a:lnTo>
                  <a:pt x="117690" y="61758"/>
                </a:lnTo>
                <a:close/>
              </a:path>
            </a:pathLst>
          </a:custGeom>
          <a:solidFill>
            <a:srgbClr val="EEF2F5"/>
          </a:solidFill>
          <a:ln w="11643" cap="flat">
            <a:noFill/>
            <a:prstDash val="solid"/>
            <a:miter/>
          </a:ln>
        </p:spPr>
        <p:txBody>
          <a:bodyPr rtlCol="0" anchor="ctr"/>
          <a:lstStyle/>
          <a:p>
            <a:endParaRPr lang="de-DE"/>
          </a:p>
        </p:txBody>
      </p:sp>
      <p:sp>
        <p:nvSpPr>
          <p:cNvPr id="369" name="Freihandform: Form 368">
            <a:extLst>
              <a:ext uri="{FF2B5EF4-FFF2-40B4-BE49-F238E27FC236}">
                <a16:creationId xmlns:a16="http://schemas.microsoft.com/office/drawing/2014/main" id="{EDD934F7-8866-497B-BDDF-333CE12CC342}"/>
              </a:ext>
            </a:extLst>
          </p:cNvPr>
          <p:cNvSpPr/>
          <p:nvPr userDrawn="1"/>
        </p:nvSpPr>
        <p:spPr>
          <a:xfrm>
            <a:off x="6988003" y="2400925"/>
            <a:ext cx="117690" cy="127012"/>
          </a:xfrm>
          <a:custGeom>
            <a:avLst/>
            <a:gdLst>
              <a:gd name="connsiteX0" fmla="*/ 53601 w 117690"/>
              <a:gd name="connsiteY0" fmla="*/ 127012 h 127012"/>
              <a:gd name="connsiteX1" fmla="*/ 0 w 117690"/>
              <a:gd name="connsiteY1" fmla="*/ 127012 h 127012"/>
              <a:gd name="connsiteX2" fmla="*/ 62924 w 117690"/>
              <a:gd name="connsiteY2" fmla="*/ 64089 h 127012"/>
              <a:gd name="connsiteX3" fmla="*/ 0 w 117690"/>
              <a:gd name="connsiteY3" fmla="*/ 0 h 127012"/>
              <a:gd name="connsiteX4" fmla="*/ 54767 w 117690"/>
              <a:gd name="connsiteY4" fmla="*/ 0 h 127012"/>
              <a:gd name="connsiteX5" fmla="*/ 117690 w 117690"/>
              <a:gd name="connsiteY5" fmla="*/ 62923 h 12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2">
                <a:moveTo>
                  <a:pt x="53601" y="127012"/>
                </a:moveTo>
                <a:lnTo>
                  <a:pt x="0" y="127012"/>
                </a:lnTo>
                <a:lnTo>
                  <a:pt x="62924" y="64089"/>
                </a:lnTo>
                <a:lnTo>
                  <a:pt x="0" y="0"/>
                </a:lnTo>
                <a:lnTo>
                  <a:pt x="54767" y="0"/>
                </a:lnTo>
                <a:lnTo>
                  <a:pt x="117690" y="62923"/>
                </a:lnTo>
                <a:close/>
              </a:path>
            </a:pathLst>
          </a:custGeom>
          <a:solidFill>
            <a:srgbClr val="EEF2F5"/>
          </a:solidFill>
          <a:ln w="11643" cap="flat">
            <a:noFill/>
            <a:prstDash val="solid"/>
            <a:miter/>
          </a:ln>
        </p:spPr>
        <p:txBody>
          <a:bodyPr rtlCol="0" anchor="ctr"/>
          <a:lstStyle/>
          <a:p>
            <a:endParaRPr lang="de-DE"/>
          </a:p>
        </p:txBody>
      </p:sp>
      <p:sp>
        <p:nvSpPr>
          <p:cNvPr id="370" name="Freihandform: Form 369">
            <a:extLst>
              <a:ext uri="{FF2B5EF4-FFF2-40B4-BE49-F238E27FC236}">
                <a16:creationId xmlns:a16="http://schemas.microsoft.com/office/drawing/2014/main" id="{56DAFA73-B8F0-4EB9-8D0E-120ABAAAC29F}"/>
              </a:ext>
            </a:extLst>
          </p:cNvPr>
          <p:cNvSpPr/>
          <p:nvPr userDrawn="1"/>
        </p:nvSpPr>
        <p:spPr>
          <a:xfrm>
            <a:off x="6988003" y="2756326"/>
            <a:ext cx="117690" cy="127012"/>
          </a:xfrm>
          <a:custGeom>
            <a:avLst/>
            <a:gdLst>
              <a:gd name="connsiteX0" fmla="*/ 53601 w 117690"/>
              <a:gd name="connsiteY0" fmla="*/ 127012 h 127012"/>
              <a:gd name="connsiteX1" fmla="*/ 0 w 117690"/>
              <a:gd name="connsiteY1" fmla="*/ 127012 h 127012"/>
              <a:gd name="connsiteX2" fmla="*/ 62924 w 117690"/>
              <a:gd name="connsiteY2" fmla="*/ 64089 h 127012"/>
              <a:gd name="connsiteX3" fmla="*/ 0 w 117690"/>
              <a:gd name="connsiteY3" fmla="*/ 0 h 127012"/>
              <a:gd name="connsiteX4" fmla="*/ 54767 w 117690"/>
              <a:gd name="connsiteY4" fmla="*/ 0 h 127012"/>
              <a:gd name="connsiteX5" fmla="*/ 117690 w 117690"/>
              <a:gd name="connsiteY5" fmla="*/ 61758 h 12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2">
                <a:moveTo>
                  <a:pt x="53601" y="127012"/>
                </a:moveTo>
                <a:lnTo>
                  <a:pt x="0" y="127012"/>
                </a:lnTo>
                <a:lnTo>
                  <a:pt x="62924" y="64089"/>
                </a:lnTo>
                <a:lnTo>
                  <a:pt x="0" y="0"/>
                </a:lnTo>
                <a:lnTo>
                  <a:pt x="54767" y="0"/>
                </a:lnTo>
                <a:lnTo>
                  <a:pt x="117690" y="61758"/>
                </a:lnTo>
                <a:close/>
              </a:path>
            </a:pathLst>
          </a:custGeom>
          <a:solidFill>
            <a:srgbClr val="EEF2F5"/>
          </a:solidFill>
          <a:ln w="11643" cap="flat">
            <a:noFill/>
            <a:prstDash val="solid"/>
            <a:miter/>
          </a:ln>
        </p:spPr>
        <p:txBody>
          <a:bodyPr rtlCol="0" anchor="ctr"/>
          <a:lstStyle/>
          <a:p>
            <a:endParaRPr lang="de-DE"/>
          </a:p>
        </p:txBody>
      </p:sp>
      <p:sp>
        <p:nvSpPr>
          <p:cNvPr id="371" name="Freihandform: Form 370">
            <a:extLst>
              <a:ext uri="{FF2B5EF4-FFF2-40B4-BE49-F238E27FC236}">
                <a16:creationId xmlns:a16="http://schemas.microsoft.com/office/drawing/2014/main" id="{240F5A60-B565-4874-BFA1-B6F0B7F354EE}"/>
              </a:ext>
            </a:extLst>
          </p:cNvPr>
          <p:cNvSpPr/>
          <p:nvPr userDrawn="1"/>
        </p:nvSpPr>
        <p:spPr>
          <a:xfrm>
            <a:off x="6988003" y="3111726"/>
            <a:ext cx="117690" cy="125846"/>
          </a:xfrm>
          <a:custGeom>
            <a:avLst/>
            <a:gdLst>
              <a:gd name="connsiteX0" fmla="*/ 53601 w 117690"/>
              <a:gd name="connsiteY0" fmla="*/ 125847 h 125846"/>
              <a:gd name="connsiteX1" fmla="*/ 0 w 117690"/>
              <a:gd name="connsiteY1" fmla="*/ 125847 h 125846"/>
              <a:gd name="connsiteX2" fmla="*/ 62924 w 117690"/>
              <a:gd name="connsiteY2" fmla="*/ 62923 h 125846"/>
              <a:gd name="connsiteX3" fmla="*/ 0 w 117690"/>
              <a:gd name="connsiteY3" fmla="*/ 0 h 125846"/>
              <a:gd name="connsiteX4" fmla="*/ 54767 w 117690"/>
              <a:gd name="connsiteY4" fmla="*/ 0 h 125846"/>
              <a:gd name="connsiteX5" fmla="*/ 117690 w 117690"/>
              <a:gd name="connsiteY5" fmla="*/ 61758 h 125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5846">
                <a:moveTo>
                  <a:pt x="53601" y="125847"/>
                </a:moveTo>
                <a:lnTo>
                  <a:pt x="0" y="125847"/>
                </a:lnTo>
                <a:lnTo>
                  <a:pt x="62924" y="62923"/>
                </a:lnTo>
                <a:lnTo>
                  <a:pt x="0" y="0"/>
                </a:lnTo>
                <a:lnTo>
                  <a:pt x="54767" y="0"/>
                </a:lnTo>
                <a:lnTo>
                  <a:pt x="117690" y="61758"/>
                </a:lnTo>
                <a:close/>
              </a:path>
            </a:pathLst>
          </a:custGeom>
          <a:solidFill>
            <a:srgbClr val="EEF2F5"/>
          </a:solidFill>
          <a:ln w="11643" cap="flat">
            <a:noFill/>
            <a:prstDash val="solid"/>
            <a:miter/>
          </a:ln>
        </p:spPr>
        <p:txBody>
          <a:bodyPr rtlCol="0" anchor="ctr"/>
          <a:lstStyle/>
          <a:p>
            <a:endParaRPr lang="de-DE"/>
          </a:p>
        </p:txBody>
      </p:sp>
      <p:sp>
        <p:nvSpPr>
          <p:cNvPr id="372" name="Freihandform: Form 371">
            <a:extLst>
              <a:ext uri="{FF2B5EF4-FFF2-40B4-BE49-F238E27FC236}">
                <a16:creationId xmlns:a16="http://schemas.microsoft.com/office/drawing/2014/main" id="{3C037353-0135-47CD-AF22-880B75EBAC3E}"/>
              </a:ext>
            </a:extLst>
          </p:cNvPr>
          <p:cNvSpPr/>
          <p:nvPr userDrawn="1"/>
        </p:nvSpPr>
        <p:spPr>
          <a:xfrm>
            <a:off x="6988003" y="3465962"/>
            <a:ext cx="117690" cy="127012"/>
          </a:xfrm>
          <a:custGeom>
            <a:avLst/>
            <a:gdLst>
              <a:gd name="connsiteX0" fmla="*/ 53601 w 117690"/>
              <a:gd name="connsiteY0" fmla="*/ 127012 h 127012"/>
              <a:gd name="connsiteX1" fmla="*/ 0 w 117690"/>
              <a:gd name="connsiteY1" fmla="*/ 127012 h 127012"/>
              <a:gd name="connsiteX2" fmla="*/ 62924 w 117690"/>
              <a:gd name="connsiteY2" fmla="*/ 64089 h 127012"/>
              <a:gd name="connsiteX3" fmla="*/ 0 w 117690"/>
              <a:gd name="connsiteY3" fmla="*/ 0 h 127012"/>
              <a:gd name="connsiteX4" fmla="*/ 54767 w 117690"/>
              <a:gd name="connsiteY4" fmla="*/ 0 h 127012"/>
              <a:gd name="connsiteX5" fmla="*/ 117690 w 117690"/>
              <a:gd name="connsiteY5" fmla="*/ 62923 h 12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2">
                <a:moveTo>
                  <a:pt x="53601" y="127012"/>
                </a:moveTo>
                <a:lnTo>
                  <a:pt x="0" y="127012"/>
                </a:lnTo>
                <a:lnTo>
                  <a:pt x="62924" y="64089"/>
                </a:lnTo>
                <a:lnTo>
                  <a:pt x="0" y="0"/>
                </a:lnTo>
                <a:lnTo>
                  <a:pt x="54767" y="0"/>
                </a:lnTo>
                <a:lnTo>
                  <a:pt x="117690" y="62923"/>
                </a:lnTo>
                <a:close/>
              </a:path>
            </a:pathLst>
          </a:custGeom>
          <a:solidFill>
            <a:srgbClr val="EEF2F5"/>
          </a:solidFill>
          <a:ln w="11643" cap="flat">
            <a:noFill/>
            <a:prstDash val="solid"/>
            <a:miter/>
          </a:ln>
        </p:spPr>
        <p:txBody>
          <a:bodyPr rtlCol="0" anchor="ctr"/>
          <a:lstStyle/>
          <a:p>
            <a:endParaRPr lang="de-DE"/>
          </a:p>
        </p:txBody>
      </p:sp>
      <p:sp>
        <p:nvSpPr>
          <p:cNvPr id="373" name="Freihandform: Form 372">
            <a:extLst>
              <a:ext uri="{FF2B5EF4-FFF2-40B4-BE49-F238E27FC236}">
                <a16:creationId xmlns:a16="http://schemas.microsoft.com/office/drawing/2014/main" id="{213D6103-FD9E-4D62-B7C4-1F08EA89236E}"/>
              </a:ext>
            </a:extLst>
          </p:cNvPr>
          <p:cNvSpPr/>
          <p:nvPr userDrawn="1"/>
        </p:nvSpPr>
        <p:spPr>
          <a:xfrm>
            <a:off x="6988003" y="3821362"/>
            <a:ext cx="117690" cy="125846"/>
          </a:xfrm>
          <a:custGeom>
            <a:avLst/>
            <a:gdLst>
              <a:gd name="connsiteX0" fmla="*/ 53601 w 117690"/>
              <a:gd name="connsiteY0" fmla="*/ 125847 h 125846"/>
              <a:gd name="connsiteX1" fmla="*/ 0 w 117690"/>
              <a:gd name="connsiteY1" fmla="*/ 125847 h 125846"/>
              <a:gd name="connsiteX2" fmla="*/ 62924 w 117690"/>
              <a:gd name="connsiteY2" fmla="*/ 62923 h 125846"/>
              <a:gd name="connsiteX3" fmla="*/ 0 w 117690"/>
              <a:gd name="connsiteY3" fmla="*/ 0 h 125846"/>
              <a:gd name="connsiteX4" fmla="*/ 54767 w 117690"/>
              <a:gd name="connsiteY4" fmla="*/ 0 h 125846"/>
              <a:gd name="connsiteX5" fmla="*/ 117690 w 117690"/>
              <a:gd name="connsiteY5" fmla="*/ 61758 h 125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5846">
                <a:moveTo>
                  <a:pt x="53601" y="125847"/>
                </a:moveTo>
                <a:lnTo>
                  <a:pt x="0" y="125847"/>
                </a:lnTo>
                <a:lnTo>
                  <a:pt x="62924" y="62923"/>
                </a:lnTo>
                <a:lnTo>
                  <a:pt x="0" y="0"/>
                </a:lnTo>
                <a:lnTo>
                  <a:pt x="54767" y="0"/>
                </a:lnTo>
                <a:lnTo>
                  <a:pt x="117690" y="61758"/>
                </a:lnTo>
                <a:close/>
              </a:path>
            </a:pathLst>
          </a:custGeom>
          <a:solidFill>
            <a:srgbClr val="EEF2F5"/>
          </a:solidFill>
          <a:ln w="11643" cap="flat">
            <a:noFill/>
            <a:prstDash val="solid"/>
            <a:miter/>
          </a:ln>
        </p:spPr>
        <p:txBody>
          <a:bodyPr rtlCol="0" anchor="ctr"/>
          <a:lstStyle/>
          <a:p>
            <a:endParaRPr lang="de-DE"/>
          </a:p>
        </p:txBody>
      </p:sp>
      <p:sp>
        <p:nvSpPr>
          <p:cNvPr id="374" name="Freihandform: Form 373">
            <a:extLst>
              <a:ext uri="{FF2B5EF4-FFF2-40B4-BE49-F238E27FC236}">
                <a16:creationId xmlns:a16="http://schemas.microsoft.com/office/drawing/2014/main" id="{BFE4BB97-0A78-4555-A56A-0CE8A922BBB4}"/>
              </a:ext>
            </a:extLst>
          </p:cNvPr>
          <p:cNvSpPr/>
          <p:nvPr userDrawn="1"/>
        </p:nvSpPr>
        <p:spPr>
          <a:xfrm>
            <a:off x="6988003" y="4175598"/>
            <a:ext cx="117690" cy="127011"/>
          </a:xfrm>
          <a:custGeom>
            <a:avLst/>
            <a:gdLst>
              <a:gd name="connsiteX0" fmla="*/ 53601 w 117690"/>
              <a:gd name="connsiteY0" fmla="*/ 127012 h 127011"/>
              <a:gd name="connsiteX1" fmla="*/ 0 w 117690"/>
              <a:gd name="connsiteY1" fmla="*/ 127012 h 127011"/>
              <a:gd name="connsiteX2" fmla="*/ 62924 w 117690"/>
              <a:gd name="connsiteY2" fmla="*/ 64089 h 127011"/>
              <a:gd name="connsiteX3" fmla="*/ 0 w 117690"/>
              <a:gd name="connsiteY3" fmla="*/ 0 h 127011"/>
              <a:gd name="connsiteX4" fmla="*/ 54767 w 117690"/>
              <a:gd name="connsiteY4" fmla="*/ 0 h 127011"/>
              <a:gd name="connsiteX5" fmla="*/ 117690 w 117690"/>
              <a:gd name="connsiteY5" fmla="*/ 62923 h 12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1">
                <a:moveTo>
                  <a:pt x="53601" y="127012"/>
                </a:moveTo>
                <a:lnTo>
                  <a:pt x="0" y="127012"/>
                </a:lnTo>
                <a:lnTo>
                  <a:pt x="62924" y="64089"/>
                </a:lnTo>
                <a:lnTo>
                  <a:pt x="0" y="0"/>
                </a:lnTo>
                <a:lnTo>
                  <a:pt x="54767" y="0"/>
                </a:lnTo>
                <a:lnTo>
                  <a:pt x="117690" y="62923"/>
                </a:lnTo>
                <a:close/>
              </a:path>
            </a:pathLst>
          </a:custGeom>
          <a:solidFill>
            <a:srgbClr val="EEF2F5"/>
          </a:solidFill>
          <a:ln w="11643" cap="flat">
            <a:noFill/>
            <a:prstDash val="solid"/>
            <a:miter/>
          </a:ln>
        </p:spPr>
        <p:txBody>
          <a:bodyPr rtlCol="0" anchor="ctr"/>
          <a:lstStyle/>
          <a:p>
            <a:endParaRPr lang="de-DE"/>
          </a:p>
        </p:txBody>
      </p:sp>
      <p:sp>
        <p:nvSpPr>
          <p:cNvPr id="375" name="Freihandform: Form 374">
            <a:extLst>
              <a:ext uri="{FF2B5EF4-FFF2-40B4-BE49-F238E27FC236}">
                <a16:creationId xmlns:a16="http://schemas.microsoft.com/office/drawing/2014/main" id="{A1B20E53-2B21-486E-9646-2EC1DD80CFC0}"/>
              </a:ext>
            </a:extLst>
          </p:cNvPr>
          <p:cNvSpPr/>
          <p:nvPr userDrawn="1"/>
        </p:nvSpPr>
        <p:spPr>
          <a:xfrm>
            <a:off x="6988003" y="4530998"/>
            <a:ext cx="117690" cy="125846"/>
          </a:xfrm>
          <a:custGeom>
            <a:avLst/>
            <a:gdLst>
              <a:gd name="connsiteX0" fmla="*/ 53601 w 117690"/>
              <a:gd name="connsiteY0" fmla="*/ 125847 h 125846"/>
              <a:gd name="connsiteX1" fmla="*/ 0 w 117690"/>
              <a:gd name="connsiteY1" fmla="*/ 125847 h 125846"/>
              <a:gd name="connsiteX2" fmla="*/ 62924 w 117690"/>
              <a:gd name="connsiteY2" fmla="*/ 64089 h 125846"/>
              <a:gd name="connsiteX3" fmla="*/ 0 w 117690"/>
              <a:gd name="connsiteY3" fmla="*/ 0 h 125846"/>
              <a:gd name="connsiteX4" fmla="*/ 54767 w 117690"/>
              <a:gd name="connsiteY4" fmla="*/ 0 h 125846"/>
              <a:gd name="connsiteX5" fmla="*/ 117690 w 117690"/>
              <a:gd name="connsiteY5" fmla="*/ 61758 h 125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5846">
                <a:moveTo>
                  <a:pt x="53601" y="125847"/>
                </a:moveTo>
                <a:lnTo>
                  <a:pt x="0" y="125847"/>
                </a:lnTo>
                <a:lnTo>
                  <a:pt x="62924" y="64089"/>
                </a:lnTo>
                <a:lnTo>
                  <a:pt x="0" y="0"/>
                </a:lnTo>
                <a:lnTo>
                  <a:pt x="54767" y="0"/>
                </a:lnTo>
                <a:lnTo>
                  <a:pt x="117690" y="61758"/>
                </a:lnTo>
                <a:close/>
              </a:path>
            </a:pathLst>
          </a:custGeom>
          <a:solidFill>
            <a:srgbClr val="EEF2F5"/>
          </a:solidFill>
          <a:ln w="11643" cap="flat">
            <a:noFill/>
            <a:prstDash val="solid"/>
            <a:miter/>
          </a:ln>
        </p:spPr>
        <p:txBody>
          <a:bodyPr rtlCol="0" anchor="ctr"/>
          <a:lstStyle/>
          <a:p>
            <a:endParaRPr lang="de-DE"/>
          </a:p>
        </p:txBody>
      </p:sp>
      <p:sp>
        <p:nvSpPr>
          <p:cNvPr id="376" name="Freihandform: Form 375">
            <a:extLst>
              <a:ext uri="{FF2B5EF4-FFF2-40B4-BE49-F238E27FC236}">
                <a16:creationId xmlns:a16="http://schemas.microsoft.com/office/drawing/2014/main" id="{4147BD00-94B9-4CCC-BFE6-30FC48042AA5}"/>
              </a:ext>
            </a:extLst>
          </p:cNvPr>
          <p:cNvSpPr/>
          <p:nvPr userDrawn="1"/>
        </p:nvSpPr>
        <p:spPr>
          <a:xfrm>
            <a:off x="6988003" y="4885234"/>
            <a:ext cx="117690" cy="127012"/>
          </a:xfrm>
          <a:custGeom>
            <a:avLst/>
            <a:gdLst>
              <a:gd name="connsiteX0" fmla="*/ 53601 w 117690"/>
              <a:gd name="connsiteY0" fmla="*/ 127012 h 127012"/>
              <a:gd name="connsiteX1" fmla="*/ 0 w 117690"/>
              <a:gd name="connsiteY1" fmla="*/ 127012 h 127012"/>
              <a:gd name="connsiteX2" fmla="*/ 62924 w 117690"/>
              <a:gd name="connsiteY2" fmla="*/ 64089 h 127012"/>
              <a:gd name="connsiteX3" fmla="*/ 0 w 117690"/>
              <a:gd name="connsiteY3" fmla="*/ 0 h 127012"/>
              <a:gd name="connsiteX4" fmla="*/ 54767 w 117690"/>
              <a:gd name="connsiteY4" fmla="*/ 0 h 127012"/>
              <a:gd name="connsiteX5" fmla="*/ 117690 w 117690"/>
              <a:gd name="connsiteY5" fmla="*/ 62923 h 12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2">
                <a:moveTo>
                  <a:pt x="53601" y="127012"/>
                </a:moveTo>
                <a:lnTo>
                  <a:pt x="0" y="127012"/>
                </a:lnTo>
                <a:lnTo>
                  <a:pt x="62924" y="64089"/>
                </a:lnTo>
                <a:lnTo>
                  <a:pt x="0" y="0"/>
                </a:lnTo>
                <a:lnTo>
                  <a:pt x="54767" y="0"/>
                </a:lnTo>
                <a:lnTo>
                  <a:pt x="117690" y="62923"/>
                </a:lnTo>
                <a:close/>
              </a:path>
            </a:pathLst>
          </a:custGeom>
          <a:solidFill>
            <a:srgbClr val="EEF2F5"/>
          </a:solidFill>
          <a:ln w="11643" cap="flat">
            <a:noFill/>
            <a:prstDash val="solid"/>
            <a:miter/>
          </a:ln>
        </p:spPr>
        <p:txBody>
          <a:bodyPr rtlCol="0" anchor="ctr"/>
          <a:lstStyle/>
          <a:p>
            <a:endParaRPr lang="de-DE"/>
          </a:p>
        </p:txBody>
      </p:sp>
      <p:sp>
        <p:nvSpPr>
          <p:cNvPr id="377" name="Freihandform: Form 376">
            <a:extLst>
              <a:ext uri="{FF2B5EF4-FFF2-40B4-BE49-F238E27FC236}">
                <a16:creationId xmlns:a16="http://schemas.microsoft.com/office/drawing/2014/main" id="{6FD55161-C60E-4123-94C6-998E3F0CBDAE}"/>
              </a:ext>
            </a:extLst>
          </p:cNvPr>
          <p:cNvSpPr/>
          <p:nvPr userDrawn="1"/>
        </p:nvSpPr>
        <p:spPr>
          <a:xfrm>
            <a:off x="6988003" y="5240634"/>
            <a:ext cx="117690" cy="127011"/>
          </a:xfrm>
          <a:custGeom>
            <a:avLst/>
            <a:gdLst>
              <a:gd name="connsiteX0" fmla="*/ 53601 w 117690"/>
              <a:gd name="connsiteY0" fmla="*/ 127012 h 127011"/>
              <a:gd name="connsiteX1" fmla="*/ 0 w 117690"/>
              <a:gd name="connsiteY1" fmla="*/ 127012 h 127011"/>
              <a:gd name="connsiteX2" fmla="*/ 62924 w 117690"/>
              <a:gd name="connsiteY2" fmla="*/ 64089 h 127011"/>
              <a:gd name="connsiteX3" fmla="*/ 0 w 117690"/>
              <a:gd name="connsiteY3" fmla="*/ 0 h 127011"/>
              <a:gd name="connsiteX4" fmla="*/ 54767 w 117690"/>
              <a:gd name="connsiteY4" fmla="*/ 0 h 127011"/>
              <a:gd name="connsiteX5" fmla="*/ 117690 w 117690"/>
              <a:gd name="connsiteY5" fmla="*/ 61758 h 12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1">
                <a:moveTo>
                  <a:pt x="53601" y="127012"/>
                </a:moveTo>
                <a:lnTo>
                  <a:pt x="0" y="127012"/>
                </a:lnTo>
                <a:lnTo>
                  <a:pt x="62924" y="64089"/>
                </a:lnTo>
                <a:lnTo>
                  <a:pt x="0" y="0"/>
                </a:lnTo>
                <a:lnTo>
                  <a:pt x="54767" y="0"/>
                </a:lnTo>
                <a:lnTo>
                  <a:pt x="117690" y="61758"/>
                </a:lnTo>
                <a:close/>
              </a:path>
            </a:pathLst>
          </a:custGeom>
          <a:solidFill>
            <a:srgbClr val="EEF2F5"/>
          </a:solidFill>
          <a:ln w="11643" cap="flat">
            <a:noFill/>
            <a:prstDash val="solid"/>
            <a:miter/>
          </a:ln>
        </p:spPr>
        <p:txBody>
          <a:bodyPr rtlCol="0" anchor="ctr"/>
          <a:lstStyle/>
          <a:p>
            <a:endParaRPr lang="de-DE"/>
          </a:p>
        </p:txBody>
      </p:sp>
      <p:sp>
        <p:nvSpPr>
          <p:cNvPr id="378" name="Freihandform: Form 377">
            <a:extLst>
              <a:ext uri="{FF2B5EF4-FFF2-40B4-BE49-F238E27FC236}">
                <a16:creationId xmlns:a16="http://schemas.microsoft.com/office/drawing/2014/main" id="{F3C8ECE6-A2EF-41DE-A87C-3FB86FCA1031}"/>
              </a:ext>
            </a:extLst>
          </p:cNvPr>
          <p:cNvSpPr/>
          <p:nvPr userDrawn="1"/>
        </p:nvSpPr>
        <p:spPr>
          <a:xfrm>
            <a:off x="6988003" y="5594870"/>
            <a:ext cx="117690" cy="127011"/>
          </a:xfrm>
          <a:custGeom>
            <a:avLst/>
            <a:gdLst>
              <a:gd name="connsiteX0" fmla="*/ 53601 w 117690"/>
              <a:gd name="connsiteY0" fmla="*/ 127012 h 127011"/>
              <a:gd name="connsiteX1" fmla="*/ 0 w 117690"/>
              <a:gd name="connsiteY1" fmla="*/ 127012 h 127011"/>
              <a:gd name="connsiteX2" fmla="*/ 62924 w 117690"/>
              <a:gd name="connsiteY2" fmla="*/ 64089 h 127011"/>
              <a:gd name="connsiteX3" fmla="*/ 0 w 117690"/>
              <a:gd name="connsiteY3" fmla="*/ 0 h 127011"/>
              <a:gd name="connsiteX4" fmla="*/ 54767 w 117690"/>
              <a:gd name="connsiteY4" fmla="*/ 0 h 127011"/>
              <a:gd name="connsiteX5" fmla="*/ 117690 w 117690"/>
              <a:gd name="connsiteY5" fmla="*/ 62923 h 12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1">
                <a:moveTo>
                  <a:pt x="53601" y="127012"/>
                </a:moveTo>
                <a:lnTo>
                  <a:pt x="0" y="127012"/>
                </a:lnTo>
                <a:lnTo>
                  <a:pt x="62924" y="64089"/>
                </a:lnTo>
                <a:lnTo>
                  <a:pt x="0" y="0"/>
                </a:lnTo>
                <a:lnTo>
                  <a:pt x="54767" y="0"/>
                </a:lnTo>
                <a:lnTo>
                  <a:pt x="117690" y="62923"/>
                </a:lnTo>
                <a:close/>
              </a:path>
            </a:pathLst>
          </a:custGeom>
          <a:solidFill>
            <a:srgbClr val="EEF2F5"/>
          </a:solidFill>
          <a:ln w="11643" cap="flat">
            <a:noFill/>
            <a:prstDash val="solid"/>
            <a:miter/>
          </a:ln>
        </p:spPr>
        <p:txBody>
          <a:bodyPr rtlCol="0" anchor="ctr"/>
          <a:lstStyle/>
          <a:p>
            <a:endParaRPr lang="de-DE"/>
          </a:p>
        </p:txBody>
      </p:sp>
      <p:sp>
        <p:nvSpPr>
          <p:cNvPr id="379" name="Freihandform: Form 378">
            <a:extLst>
              <a:ext uri="{FF2B5EF4-FFF2-40B4-BE49-F238E27FC236}">
                <a16:creationId xmlns:a16="http://schemas.microsoft.com/office/drawing/2014/main" id="{B757F792-E71A-486E-A79E-007A9729854D}"/>
              </a:ext>
            </a:extLst>
          </p:cNvPr>
          <p:cNvSpPr/>
          <p:nvPr userDrawn="1"/>
        </p:nvSpPr>
        <p:spPr>
          <a:xfrm>
            <a:off x="6988003" y="5950270"/>
            <a:ext cx="117690" cy="127011"/>
          </a:xfrm>
          <a:custGeom>
            <a:avLst/>
            <a:gdLst>
              <a:gd name="connsiteX0" fmla="*/ 53601 w 117690"/>
              <a:gd name="connsiteY0" fmla="*/ 127012 h 127011"/>
              <a:gd name="connsiteX1" fmla="*/ 0 w 117690"/>
              <a:gd name="connsiteY1" fmla="*/ 127012 h 127011"/>
              <a:gd name="connsiteX2" fmla="*/ 62924 w 117690"/>
              <a:gd name="connsiteY2" fmla="*/ 64089 h 127011"/>
              <a:gd name="connsiteX3" fmla="*/ 0 w 117690"/>
              <a:gd name="connsiteY3" fmla="*/ 0 h 127011"/>
              <a:gd name="connsiteX4" fmla="*/ 54767 w 117690"/>
              <a:gd name="connsiteY4" fmla="*/ 0 h 127011"/>
              <a:gd name="connsiteX5" fmla="*/ 117690 w 117690"/>
              <a:gd name="connsiteY5" fmla="*/ 61758 h 12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1">
                <a:moveTo>
                  <a:pt x="53601" y="127012"/>
                </a:moveTo>
                <a:lnTo>
                  <a:pt x="0" y="127012"/>
                </a:lnTo>
                <a:lnTo>
                  <a:pt x="62924" y="64089"/>
                </a:lnTo>
                <a:lnTo>
                  <a:pt x="0" y="0"/>
                </a:lnTo>
                <a:lnTo>
                  <a:pt x="54767" y="0"/>
                </a:lnTo>
                <a:lnTo>
                  <a:pt x="117690" y="61758"/>
                </a:lnTo>
                <a:close/>
              </a:path>
            </a:pathLst>
          </a:custGeom>
          <a:solidFill>
            <a:srgbClr val="EEF2F5"/>
          </a:solidFill>
          <a:ln w="11643" cap="flat">
            <a:noFill/>
            <a:prstDash val="solid"/>
            <a:miter/>
          </a:ln>
        </p:spPr>
        <p:txBody>
          <a:bodyPr rtlCol="0" anchor="ctr"/>
          <a:lstStyle/>
          <a:p>
            <a:endParaRPr lang="de-DE"/>
          </a:p>
        </p:txBody>
      </p:sp>
      <p:sp>
        <p:nvSpPr>
          <p:cNvPr id="380" name="Freihandform: Form 379">
            <a:extLst>
              <a:ext uri="{FF2B5EF4-FFF2-40B4-BE49-F238E27FC236}">
                <a16:creationId xmlns:a16="http://schemas.microsoft.com/office/drawing/2014/main" id="{15F4D627-864D-47BE-9457-2AFE1454DAE3}"/>
              </a:ext>
            </a:extLst>
          </p:cNvPr>
          <p:cNvSpPr/>
          <p:nvPr userDrawn="1"/>
        </p:nvSpPr>
        <p:spPr>
          <a:xfrm>
            <a:off x="6988003" y="6304506"/>
            <a:ext cx="117690" cy="127011"/>
          </a:xfrm>
          <a:custGeom>
            <a:avLst/>
            <a:gdLst>
              <a:gd name="connsiteX0" fmla="*/ 53601 w 117690"/>
              <a:gd name="connsiteY0" fmla="*/ 127012 h 127011"/>
              <a:gd name="connsiteX1" fmla="*/ 0 w 117690"/>
              <a:gd name="connsiteY1" fmla="*/ 127012 h 127011"/>
              <a:gd name="connsiteX2" fmla="*/ 62924 w 117690"/>
              <a:gd name="connsiteY2" fmla="*/ 64089 h 127011"/>
              <a:gd name="connsiteX3" fmla="*/ 0 w 117690"/>
              <a:gd name="connsiteY3" fmla="*/ 0 h 127011"/>
              <a:gd name="connsiteX4" fmla="*/ 54767 w 117690"/>
              <a:gd name="connsiteY4" fmla="*/ 0 h 127011"/>
              <a:gd name="connsiteX5" fmla="*/ 117690 w 117690"/>
              <a:gd name="connsiteY5" fmla="*/ 62923 h 12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1">
                <a:moveTo>
                  <a:pt x="53601" y="127012"/>
                </a:moveTo>
                <a:lnTo>
                  <a:pt x="0" y="127012"/>
                </a:lnTo>
                <a:lnTo>
                  <a:pt x="62924" y="64089"/>
                </a:lnTo>
                <a:lnTo>
                  <a:pt x="0" y="0"/>
                </a:lnTo>
                <a:lnTo>
                  <a:pt x="54767" y="0"/>
                </a:lnTo>
                <a:lnTo>
                  <a:pt x="117690" y="62923"/>
                </a:lnTo>
                <a:close/>
              </a:path>
            </a:pathLst>
          </a:custGeom>
          <a:solidFill>
            <a:srgbClr val="EEF2F5"/>
          </a:solidFill>
          <a:ln w="11643" cap="flat">
            <a:noFill/>
            <a:prstDash val="solid"/>
            <a:miter/>
          </a:ln>
        </p:spPr>
        <p:txBody>
          <a:bodyPr rtlCol="0" anchor="ctr"/>
          <a:lstStyle/>
          <a:p>
            <a:endParaRPr lang="de-DE"/>
          </a:p>
        </p:txBody>
      </p:sp>
      <p:sp>
        <p:nvSpPr>
          <p:cNvPr id="381" name="Freihandform: Form 380">
            <a:extLst>
              <a:ext uri="{FF2B5EF4-FFF2-40B4-BE49-F238E27FC236}">
                <a16:creationId xmlns:a16="http://schemas.microsoft.com/office/drawing/2014/main" id="{5B9A1A98-26A6-4C1D-928E-D24F433024ED}"/>
              </a:ext>
            </a:extLst>
          </p:cNvPr>
          <p:cNvSpPr/>
          <p:nvPr userDrawn="1"/>
        </p:nvSpPr>
        <p:spPr>
          <a:xfrm>
            <a:off x="6988003" y="6659906"/>
            <a:ext cx="117690" cy="127011"/>
          </a:xfrm>
          <a:custGeom>
            <a:avLst/>
            <a:gdLst>
              <a:gd name="connsiteX0" fmla="*/ 53601 w 117690"/>
              <a:gd name="connsiteY0" fmla="*/ 127012 h 127011"/>
              <a:gd name="connsiteX1" fmla="*/ 0 w 117690"/>
              <a:gd name="connsiteY1" fmla="*/ 127012 h 127011"/>
              <a:gd name="connsiteX2" fmla="*/ 62924 w 117690"/>
              <a:gd name="connsiteY2" fmla="*/ 64089 h 127011"/>
              <a:gd name="connsiteX3" fmla="*/ 0 w 117690"/>
              <a:gd name="connsiteY3" fmla="*/ 0 h 127011"/>
              <a:gd name="connsiteX4" fmla="*/ 54767 w 117690"/>
              <a:gd name="connsiteY4" fmla="*/ 0 h 127011"/>
              <a:gd name="connsiteX5" fmla="*/ 117690 w 117690"/>
              <a:gd name="connsiteY5" fmla="*/ 61758 h 12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1">
                <a:moveTo>
                  <a:pt x="53601" y="127012"/>
                </a:moveTo>
                <a:lnTo>
                  <a:pt x="0" y="127012"/>
                </a:lnTo>
                <a:lnTo>
                  <a:pt x="62924" y="64089"/>
                </a:lnTo>
                <a:lnTo>
                  <a:pt x="0" y="0"/>
                </a:lnTo>
                <a:lnTo>
                  <a:pt x="54767" y="0"/>
                </a:lnTo>
                <a:lnTo>
                  <a:pt x="117690" y="61758"/>
                </a:lnTo>
                <a:close/>
              </a:path>
            </a:pathLst>
          </a:custGeom>
          <a:solidFill>
            <a:srgbClr val="EEF2F5"/>
          </a:solidFill>
          <a:ln w="11643" cap="flat">
            <a:noFill/>
            <a:prstDash val="solid"/>
            <a:miter/>
          </a:ln>
        </p:spPr>
        <p:txBody>
          <a:bodyPr rtlCol="0" anchor="ctr"/>
          <a:lstStyle/>
          <a:p>
            <a:endParaRPr lang="de-DE"/>
          </a:p>
        </p:txBody>
      </p:sp>
      <p:sp>
        <p:nvSpPr>
          <p:cNvPr id="382" name="Freihandform: Form 381">
            <a:extLst>
              <a:ext uri="{FF2B5EF4-FFF2-40B4-BE49-F238E27FC236}">
                <a16:creationId xmlns:a16="http://schemas.microsoft.com/office/drawing/2014/main" id="{82A4EEA7-5CFB-4E90-9AD2-D5ED8D09BC3C}"/>
              </a:ext>
            </a:extLst>
          </p:cNvPr>
          <p:cNvSpPr/>
          <p:nvPr userDrawn="1"/>
        </p:nvSpPr>
        <p:spPr>
          <a:xfrm>
            <a:off x="7335247" y="2038533"/>
            <a:ext cx="132838" cy="143325"/>
          </a:xfrm>
          <a:custGeom>
            <a:avLst/>
            <a:gdLst>
              <a:gd name="connsiteX0" fmla="*/ 60593 w 132838"/>
              <a:gd name="connsiteY0" fmla="*/ 143326 h 143325"/>
              <a:gd name="connsiteX1" fmla="*/ 0 w 132838"/>
              <a:gd name="connsiteY1" fmla="*/ 143326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6"/>
                </a:moveTo>
                <a:lnTo>
                  <a:pt x="0" y="143326"/>
                </a:lnTo>
                <a:lnTo>
                  <a:pt x="71080" y="72245"/>
                </a:lnTo>
                <a:lnTo>
                  <a:pt x="0" y="0"/>
                </a:lnTo>
                <a:lnTo>
                  <a:pt x="61758" y="0"/>
                </a:lnTo>
                <a:lnTo>
                  <a:pt x="132838" y="69915"/>
                </a:lnTo>
                <a:close/>
              </a:path>
            </a:pathLst>
          </a:custGeom>
          <a:solidFill>
            <a:srgbClr val="EEF2F5"/>
          </a:solidFill>
          <a:ln w="11643" cap="flat">
            <a:noFill/>
            <a:prstDash val="solid"/>
            <a:miter/>
          </a:ln>
        </p:spPr>
        <p:txBody>
          <a:bodyPr rtlCol="0" anchor="ctr"/>
          <a:lstStyle/>
          <a:p>
            <a:endParaRPr lang="de-DE"/>
          </a:p>
        </p:txBody>
      </p:sp>
      <p:sp>
        <p:nvSpPr>
          <p:cNvPr id="383" name="Freihandform: Form 382">
            <a:extLst>
              <a:ext uri="{FF2B5EF4-FFF2-40B4-BE49-F238E27FC236}">
                <a16:creationId xmlns:a16="http://schemas.microsoft.com/office/drawing/2014/main" id="{6C9D3BF2-6E80-41A7-A83F-18F86CB24C49}"/>
              </a:ext>
            </a:extLst>
          </p:cNvPr>
          <p:cNvSpPr/>
          <p:nvPr userDrawn="1"/>
        </p:nvSpPr>
        <p:spPr>
          <a:xfrm>
            <a:off x="7335247" y="2392768"/>
            <a:ext cx="132838" cy="143325"/>
          </a:xfrm>
          <a:custGeom>
            <a:avLst/>
            <a:gdLst>
              <a:gd name="connsiteX0" fmla="*/ 60593 w 132838"/>
              <a:gd name="connsiteY0" fmla="*/ 143325 h 143325"/>
              <a:gd name="connsiteX1" fmla="*/ 0 w 132838"/>
              <a:gd name="connsiteY1" fmla="*/ 143325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71080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5"/>
                </a:moveTo>
                <a:lnTo>
                  <a:pt x="0" y="143325"/>
                </a:lnTo>
                <a:lnTo>
                  <a:pt x="71080" y="72245"/>
                </a:lnTo>
                <a:lnTo>
                  <a:pt x="0" y="0"/>
                </a:lnTo>
                <a:lnTo>
                  <a:pt x="61758" y="0"/>
                </a:lnTo>
                <a:lnTo>
                  <a:pt x="132838" y="71080"/>
                </a:lnTo>
                <a:close/>
              </a:path>
            </a:pathLst>
          </a:custGeom>
          <a:solidFill>
            <a:srgbClr val="EEF2F5"/>
          </a:solidFill>
          <a:ln w="11643" cap="flat">
            <a:noFill/>
            <a:prstDash val="solid"/>
            <a:miter/>
          </a:ln>
        </p:spPr>
        <p:txBody>
          <a:bodyPr rtlCol="0" anchor="ctr"/>
          <a:lstStyle/>
          <a:p>
            <a:endParaRPr lang="de-DE"/>
          </a:p>
        </p:txBody>
      </p:sp>
      <p:sp>
        <p:nvSpPr>
          <p:cNvPr id="384" name="Freihandform: Form 383">
            <a:extLst>
              <a:ext uri="{FF2B5EF4-FFF2-40B4-BE49-F238E27FC236}">
                <a16:creationId xmlns:a16="http://schemas.microsoft.com/office/drawing/2014/main" id="{DBA45F13-8F61-4402-AA92-16AA0BF673F4}"/>
              </a:ext>
            </a:extLst>
          </p:cNvPr>
          <p:cNvSpPr/>
          <p:nvPr userDrawn="1"/>
        </p:nvSpPr>
        <p:spPr>
          <a:xfrm>
            <a:off x="7335247" y="2748169"/>
            <a:ext cx="132838" cy="143325"/>
          </a:xfrm>
          <a:custGeom>
            <a:avLst/>
            <a:gdLst>
              <a:gd name="connsiteX0" fmla="*/ 60593 w 132838"/>
              <a:gd name="connsiteY0" fmla="*/ 143325 h 143325"/>
              <a:gd name="connsiteX1" fmla="*/ 0 w 132838"/>
              <a:gd name="connsiteY1" fmla="*/ 143325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5"/>
                </a:moveTo>
                <a:lnTo>
                  <a:pt x="0" y="143325"/>
                </a:lnTo>
                <a:lnTo>
                  <a:pt x="71080" y="72245"/>
                </a:lnTo>
                <a:lnTo>
                  <a:pt x="0" y="0"/>
                </a:lnTo>
                <a:lnTo>
                  <a:pt x="61758" y="0"/>
                </a:lnTo>
                <a:lnTo>
                  <a:pt x="132838" y="69915"/>
                </a:lnTo>
                <a:close/>
              </a:path>
            </a:pathLst>
          </a:custGeom>
          <a:solidFill>
            <a:srgbClr val="EEF2F5"/>
          </a:solidFill>
          <a:ln w="11643" cap="flat">
            <a:noFill/>
            <a:prstDash val="solid"/>
            <a:miter/>
          </a:ln>
        </p:spPr>
        <p:txBody>
          <a:bodyPr rtlCol="0" anchor="ctr"/>
          <a:lstStyle/>
          <a:p>
            <a:endParaRPr lang="de-DE"/>
          </a:p>
        </p:txBody>
      </p:sp>
      <p:sp>
        <p:nvSpPr>
          <p:cNvPr id="385" name="Freihandform: Form 384">
            <a:extLst>
              <a:ext uri="{FF2B5EF4-FFF2-40B4-BE49-F238E27FC236}">
                <a16:creationId xmlns:a16="http://schemas.microsoft.com/office/drawing/2014/main" id="{C75C3C28-90BF-4A16-BD17-5BEF223EA73E}"/>
              </a:ext>
            </a:extLst>
          </p:cNvPr>
          <p:cNvSpPr/>
          <p:nvPr userDrawn="1"/>
        </p:nvSpPr>
        <p:spPr>
          <a:xfrm>
            <a:off x="7335247" y="3102404"/>
            <a:ext cx="132838" cy="143325"/>
          </a:xfrm>
          <a:custGeom>
            <a:avLst/>
            <a:gdLst>
              <a:gd name="connsiteX0" fmla="*/ 60593 w 132838"/>
              <a:gd name="connsiteY0" fmla="*/ 143326 h 143325"/>
              <a:gd name="connsiteX1" fmla="*/ 0 w 132838"/>
              <a:gd name="connsiteY1" fmla="*/ 143326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71080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6"/>
                </a:moveTo>
                <a:lnTo>
                  <a:pt x="0" y="143326"/>
                </a:lnTo>
                <a:lnTo>
                  <a:pt x="71080" y="72245"/>
                </a:lnTo>
                <a:lnTo>
                  <a:pt x="0" y="0"/>
                </a:lnTo>
                <a:lnTo>
                  <a:pt x="61758" y="0"/>
                </a:lnTo>
                <a:lnTo>
                  <a:pt x="132838" y="71080"/>
                </a:lnTo>
                <a:close/>
              </a:path>
            </a:pathLst>
          </a:custGeom>
          <a:solidFill>
            <a:srgbClr val="EEF2F5"/>
          </a:solidFill>
          <a:ln w="11643" cap="flat">
            <a:noFill/>
            <a:prstDash val="solid"/>
            <a:miter/>
          </a:ln>
        </p:spPr>
        <p:txBody>
          <a:bodyPr rtlCol="0" anchor="ctr"/>
          <a:lstStyle/>
          <a:p>
            <a:endParaRPr lang="de-DE"/>
          </a:p>
        </p:txBody>
      </p:sp>
      <p:sp>
        <p:nvSpPr>
          <p:cNvPr id="386" name="Freihandform: Form 385">
            <a:extLst>
              <a:ext uri="{FF2B5EF4-FFF2-40B4-BE49-F238E27FC236}">
                <a16:creationId xmlns:a16="http://schemas.microsoft.com/office/drawing/2014/main" id="{1170380C-68A1-44F1-B1A8-DF05F90C065C}"/>
              </a:ext>
            </a:extLst>
          </p:cNvPr>
          <p:cNvSpPr/>
          <p:nvPr userDrawn="1"/>
        </p:nvSpPr>
        <p:spPr>
          <a:xfrm>
            <a:off x="7335247" y="3457805"/>
            <a:ext cx="132838" cy="143325"/>
          </a:xfrm>
          <a:custGeom>
            <a:avLst/>
            <a:gdLst>
              <a:gd name="connsiteX0" fmla="*/ 60593 w 132838"/>
              <a:gd name="connsiteY0" fmla="*/ 143326 h 143325"/>
              <a:gd name="connsiteX1" fmla="*/ 0 w 132838"/>
              <a:gd name="connsiteY1" fmla="*/ 143326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6"/>
                </a:moveTo>
                <a:lnTo>
                  <a:pt x="0" y="143326"/>
                </a:lnTo>
                <a:lnTo>
                  <a:pt x="71080" y="72245"/>
                </a:lnTo>
                <a:lnTo>
                  <a:pt x="0" y="0"/>
                </a:lnTo>
                <a:lnTo>
                  <a:pt x="61758" y="0"/>
                </a:lnTo>
                <a:lnTo>
                  <a:pt x="132838" y="69915"/>
                </a:lnTo>
                <a:close/>
              </a:path>
            </a:pathLst>
          </a:custGeom>
          <a:solidFill>
            <a:srgbClr val="EEF2F5"/>
          </a:solidFill>
          <a:ln w="11643" cap="flat">
            <a:noFill/>
            <a:prstDash val="solid"/>
            <a:miter/>
          </a:ln>
        </p:spPr>
        <p:txBody>
          <a:bodyPr rtlCol="0" anchor="ctr"/>
          <a:lstStyle/>
          <a:p>
            <a:endParaRPr lang="de-DE"/>
          </a:p>
        </p:txBody>
      </p:sp>
      <p:sp>
        <p:nvSpPr>
          <p:cNvPr id="387" name="Freihandform: Form 386">
            <a:extLst>
              <a:ext uri="{FF2B5EF4-FFF2-40B4-BE49-F238E27FC236}">
                <a16:creationId xmlns:a16="http://schemas.microsoft.com/office/drawing/2014/main" id="{553EF259-97B4-4E0D-B27F-A6E4D2E18BEB}"/>
              </a:ext>
            </a:extLst>
          </p:cNvPr>
          <p:cNvSpPr/>
          <p:nvPr userDrawn="1"/>
        </p:nvSpPr>
        <p:spPr>
          <a:xfrm>
            <a:off x="7335247" y="3812040"/>
            <a:ext cx="132838" cy="144490"/>
          </a:xfrm>
          <a:custGeom>
            <a:avLst/>
            <a:gdLst>
              <a:gd name="connsiteX0" fmla="*/ 60593 w 132838"/>
              <a:gd name="connsiteY0" fmla="*/ 144491 h 144490"/>
              <a:gd name="connsiteX1" fmla="*/ 0 w 132838"/>
              <a:gd name="connsiteY1" fmla="*/ 144491 h 144490"/>
              <a:gd name="connsiteX2" fmla="*/ 71080 w 132838"/>
              <a:gd name="connsiteY2" fmla="*/ 73410 h 144490"/>
              <a:gd name="connsiteX3" fmla="*/ 0 w 132838"/>
              <a:gd name="connsiteY3" fmla="*/ 0 h 144490"/>
              <a:gd name="connsiteX4" fmla="*/ 61758 w 132838"/>
              <a:gd name="connsiteY4" fmla="*/ 0 h 144490"/>
              <a:gd name="connsiteX5" fmla="*/ 132838 w 132838"/>
              <a:gd name="connsiteY5" fmla="*/ 71080 h 144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4490">
                <a:moveTo>
                  <a:pt x="60593" y="144491"/>
                </a:moveTo>
                <a:lnTo>
                  <a:pt x="0" y="144491"/>
                </a:lnTo>
                <a:lnTo>
                  <a:pt x="71080" y="73410"/>
                </a:lnTo>
                <a:lnTo>
                  <a:pt x="0" y="0"/>
                </a:lnTo>
                <a:lnTo>
                  <a:pt x="61758" y="0"/>
                </a:lnTo>
                <a:lnTo>
                  <a:pt x="132838" y="71080"/>
                </a:lnTo>
                <a:close/>
              </a:path>
            </a:pathLst>
          </a:custGeom>
          <a:solidFill>
            <a:srgbClr val="EEF2F5"/>
          </a:solidFill>
          <a:ln w="11643" cap="flat">
            <a:noFill/>
            <a:prstDash val="solid"/>
            <a:miter/>
          </a:ln>
        </p:spPr>
        <p:txBody>
          <a:bodyPr rtlCol="0" anchor="ctr"/>
          <a:lstStyle/>
          <a:p>
            <a:endParaRPr lang="de-DE"/>
          </a:p>
        </p:txBody>
      </p:sp>
      <p:sp>
        <p:nvSpPr>
          <p:cNvPr id="388" name="Freihandform: Form 387">
            <a:extLst>
              <a:ext uri="{FF2B5EF4-FFF2-40B4-BE49-F238E27FC236}">
                <a16:creationId xmlns:a16="http://schemas.microsoft.com/office/drawing/2014/main" id="{EB5F5B5A-9CB5-47D1-91FC-556189A9F9A6}"/>
              </a:ext>
            </a:extLst>
          </p:cNvPr>
          <p:cNvSpPr/>
          <p:nvPr userDrawn="1"/>
        </p:nvSpPr>
        <p:spPr>
          <a:xfrm>
            <a:off x="7335247" y="4167441"/>
            <a:ext cx="132838" cy="143325"/>
          </a:xfrm>
          <a:custGeom>
            <a:avLst/>
            <a:gdLst>
              <a:gd name="connsiteX0" fmla="*/ 60593 w 132838"/>
              <a:gd name="connsiteY0" fmla="*/ 143325 h 143325"/>
              <a:gd name="connsiteX1" fmla="*/ 0 w 132838"/>
              <a:gd name="connsiteY1" fmla="*/ 143325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5"/>
                </a:moveTo>
                <a:lnTo>
                  <a:pt x="0" y="143325"/>
                </a:lnTo>
                <a:lnTo>
                  <a:pt x="71080" y="72245"/>
                </a:lnTo>
                <a:lnTo>
                  <a:pt x="0" y="0"/>
                </a:lnTo>
                <a:lnTo>
                  <a:pt x="61758" y="0"/>
                </a:lnTo>
                <a:lnTo>
                  <a:pt x="132838" y="69915"/>
                </a:lnTo>
                <a:close/>
              </a:path>
            </a:pathLst>
          </a:custGeom>
          <a:solidFill>
            <a:srgbClr val="EEF2F5"/>
          </a:solidFill>
          <a:ln w="11643" cap="flat">
            <a:noFill/>
            <a:prstDash val="solid"/>
            <a:miter/>
          </a:ln>
        </p:spPr>
        <p:txBody>
          <a:bodyPr rtlCol="0" anchor="ctr"/>
          <a:lstStyle/>
          <a:p>
            <a:endParaRPr lang="de-DE"/>
          </a:p>
        </p:txBody>
      </p:sp>
      <p:sp>
        <p:nvSpPr>
          <p:cNvPr id="389" name="Freihandform: Form 388">
            <a:extLst>
              <a:ext uri="{FF2B5EF4-FFF2-40B4-BE49-F238E27FC236}">
                <a16:creationId xmlns:a16="http://schemas.microsoft.com/office/drawing/2014/main" id="{01DDC0E0-D1C4-4A00-B92F-DF0D19F49DE5}"/>
              </a:ext>
            </a:extLst>
          </p:cNvPr>
          <p:cNvSpPr/>
          <p:nvPr userDrawn="1"/>
        </p:nvSpPr>
        <p:spPr>
          <a:xfrm>
            <a:off x="7335247" y="4522842"/>
            <a:ext cx="132838" cy="143325"/>
          </a:xfrm>
          <a:custGeom>
            <a:avLst/>
            <a:gdLst>
              <a:gd name="connsiteX0" fmla="*/ 60593 w 132838"/>
              <a:gd name="connsiteY0" fmla="*/ 143325 h 143325"/>
              <a:gd name="connsiteX1" fmla="*/ 0 w 132838"/>
              <a:gd name="connsiteY1" fmla="*/ 143325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5"/>
                </a:moveTo>
                <a:lnTo>
                  <a:pt x="0" y="143325"/>
                </a:lnTo>
                <a:lnTo>
                  <a:pt x="71080" y="72245"/>
                </a:lnTo>
                <a:lnTo>
                  <a:pt x="0" y="0"/>
                </a:lnTo>
                <a:lnTo>
                  <a:pt x="61758" y="0"/>
                </a:lnTo>
                <a:lnTo>
                  <a:pt x="132838" y="69915"/>
                </a:lnTo>
                <a:close/>
              </a:path>
            </a:pathLst>
          </a:custGeom>
          <a:solidFill>
            <a:srgbClr val="EEF2F5"/>
          </a:solidFill>
          <a:ln w="11643" cap="flat">
            <a:noFill/>
            <a:prstDash val="solid"/>
            <a:miter/>
          </a:ln>
        </p:spPr>
        <p:txBody>
          <a:bodyPr rtlCol="0" anchor="ctr"/>
          <a:lstStyle/>
          <a:p>
            <a:endParaRPr lang="de-DE"/>
          </a:p>
        </p:txBody>
      </p:sp>
      <p:sp>
        <p:nvSpPr>
          <p:cNvPr id="390" name="Freihandform: Form 389">
            <a:extLst>
              <a:ext uri="{FF2B5EF4-FFF2-40B4-BE49-F238E27FC236}">
                <a16:creationId xmlns:a16="http://schemas.microsoft.com/office/drawing/2014/main" id="{F05542B7-5A13-43F4-A6B6-3D91FBE8F247}"/>
              </a:ext>
            </a:extLst>
          </p:cNvPr>
          <p:cNvSpPr/>
          <p:nvPr userDrawn="1"/>
        </p:nvSpPr>
        <p:spPr>
          <a:xfrm>
            <a:off x="7335247" y="4877077"/>
            <a:ext cx="132838" cy="143325"/>
          </a:xfrm>
          <a:custGeom>
            <a:avLst/>
            <a:gdLst>
              <a:gd name="connsiteX0" fmla="*/ 60593 w 132838"/>
              <a:gd name="connsiteY0" fmla="*/ 143325 h 143325"/>
              <a:gd name="connsiteX1" fmla="*/ 0 w 132838"/>
              <a:gd name="connsiteY1" fmla="*/ 143325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71080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5"/>
                </a:moveTo>
                <a:lnTo>
                  <a:pt x="0" y="143325"/>
                </a:lnTo>
                <a:lnTo>
                  <a:pt x="71080" y="72245"/>
                </a:lnTo>
                <a:lnTo>
                  <a:pt x="0" y="0"/>
                </a:lnTo>
                <a:lnTo>
                  <a:pt x="61758" y="0"/>
                </a:lnTo>
                <a:lnTo>
                  <a:pt x="132838" y="71080"/>
                </a:lnTo>
                <a:close/>
              </a:path>
            </a:pathLst>
          </a:custGeom>
          <a:solidFill>
            <a:srgbClr val="EEF2F5"/>
          </a:solidFill>
          <a:ln w="11643" cap="flat">
            <a:noFill/>
            <a:prstDash val="solid"/>
            <a:miter/>
          </a:ln>
        </p:spPr>
        <p:txBody>
          <a:bodyPr rtlCol="0" anchor="ctr"/>
          <a:lstStyle/>
          <a:p>
            <a:endParaRPr lang="de-DE"/>
          </a:p>
        </p:txBody>
      </p:sp>
      <p:sp>
        <p:nvSpPr>
          <p:cNvPr id="391" name="Freihandform: Form 390">
            <a:extLst>
              <a:ext uri="{FF2B5EF4-FFF2-40B4-BE49-F238E27FC236}">
                <a16:creationId xmlns:a16="http://schemas.microsoft.com/office/drawing/2014/main" id="{4A5DEDF6-969D-405A-A7AC-2CF3502C1348}"/>
              </a:ext>
            </a:extLst>
          </p:cNvPr>
          <p:cNvSpPr/>
          <p:nvPr userDrawn="1"/>
        </p:nvSpPr>
        <p:spPr>
          <a:xfrm>
            <a:off x="7335247" y="5232478"/>
            <a:ext cx="132838" cy="143325"/>
          </a:xfrm>
          <a:custGeom>
            <a:avLst/>
            <a:gdLst>
              <a:gd name="connsiteX0" fmla="*/ 60593 w 132838"/>
              <a:gd name="connsiteY0" fmla="*/ 143325 h 143325"/>
              <a:gd name="connsiteX1" fmla="*/ 0 w 132838"/>
              <a:gd name="connsiteY1" fmla="*/ 143325 h 143325"/>
              <a:gd name="connsiteX2" fmla="*/ 71080 w 132838"/>
              <a:gd name="connsiteY2" fmla="*/ 72246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5"/>
                </a:moveTo>
                <a:lnTo>
                  <a:pt x="0" y="143325"/>
                </a:lnTo>
                <a:lnTo>
                  <a:pt x="71080" y="72246"/>
                </a:lnTo>
                <a:lnTo>
                  <a:pt x="0" y="0"/>
                </a:lnTo>
                <a:lnTo>
                  <a:pt x="61758" y="0"/>
                </a:lnTo>
                <a:lnTo>
                  <a:pt x="132838" y="69915"/>
                </a:lnTo>
                <a:close/>
              </a:path>
            </a:pathLst>
          </a:custGeom>
          <a:solidFill>
            <a:srgbClr val="EEF2F5"/>
          </a:solidFill>
          <a:ln w="11643" cap="flat">
            <a:noFill/>
            <a:prstDash val="solid"/>
            <a:miter/>
          </a:ln>
        </p:spPr>
        <p:txBody>
          <a:bodyPr rtlCol="0" anchor="ctr"/>
          <a:lstStyle/>
          <a:p>
            <a:endParaRPr lang="de-DE"/>
          </a:p>
        </p:txBody>
      </p:sp>
      <p:sp>
        <p:nvSpPr>
          <p:cNvPr id="392" name="Freihandform: Form 391">
            <a:extLst>
              <a:ext uri="{FF2B5EF4-FFF2-40B4-BE49-F238E27FC236}">
                <a16:creationId xmlns:a16="http://schemas.microsoft.com/office/drawing/2014/main" id="{992F37D0-9AF3-405A-84A6-76CAAC63FCC5}"/>
              </a:ext>
            </a:extLst>
          </p:cNvPr>
          <p:cNvSpPr/>
          <p:nvPr userDrawn="1"/>
        </p:nvSpPr>
        <p:spPr>
          <a:xfrm>
            <a:off x="7335247" y="5586713"/>
            <a:ext cx="132838" cy="143325"/>
          </a:xfrm>
          <a:custGeom>
            <a:avLst/>
            <a:gdLst>
              <a:gd name="connsiteX0" fmla="*/ 60593 w 132838"/>
              <a:gd name="connsiteY0" fmla="*/ 143326 h 143325"/>
              <a:gd name="connsiteX1" fmla="*/ 0 w 132838"/>
              <a:gd name="connsiteY1" fmla="*/ 143326 h 143325"/>
              <a:gd name="connsiteX2" fmla="*/ 71080 w 132838"/>
              <a:gd name="connsiteY2" fmla="*/ 72246 h 143325"/>
              <a:gd name="connsiteX3" fmla="*/ 0 w 132838"/>
              <a:gd name="connsiteY3" fmla="*/ 0 h 143325"/>
              <a:gd name="connsiteX4" fmla="*/ 61758 w 132838"/>
              <a:gd name="connsiteY4" fmla="*/ 0 h 143325"/>
              <a:gd name="connsiteX5" fmla="*/ 132838 w 132838"/>
              <a:gd name="connsiteY5" fmla="*/ 71080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6"/>
                </a:moveTo>
                <a:lnTo>
                  <a:pt x="0" y="143326"/>
                </a:lnTo>
                <a:lnTo>
                  <a:pt x="71080" y="72246"/>
                </a:lnTo>
                <a:lnTo>
                  <a:pt x="0" y="0"/>
                </a:lnTo>
                <a:lnTo>
                  <a:pt x="61758" y="0"/>
                </a:lnTo>
                <a:lnTo>
                  <a:pt x="132838" y="71080"/>
                </a:lnTo>
                <a:close/>
              </a:path>
            </a:pathLst>
          </a:custGeom>
          <a:solidFill>
            <a:srgbClr val="EEF2F5"/>
          </a:solidFill>
          <a:ln w="11643" cap="flat">
            <a:noFill/>
            <a:prstDash val="solid"/>
            <a:miter/>
          </a:ln>
        </p:spPr>
        <p:txBody>
          <a:bodyPr rtlCol="0" anchor="ctr"/>
          <a:lstStyle/>
          <a:p>
            <a:endParaRPr lang="de-DE"/>
          </a:p>
        </p:txBody>
      </p:sp>
      <p:sp>
        <p:nvSpPr>
          <p:cNvPr id="393" name="Freihandform: Form 392">
            <a:extLst>
              <a:ext uri="{FF2B5EF4-FFF2-40B4-BE49-F238E27FC236}">
                <a16:creationId xmlns:a16="http://schemas.microsoft.com/office/drawing/2014/main" id="{A123B81C-0D5B-44AC-9677-41B2CE41672D}"/>
              </a:ext>
            </a:extLst>
          </p:cNvPr>
          <p:cNvSpPr/>
          <p:nvPr userDrawn="1"/>
        </p:nvSpPr>
        <p:spPr>
          <a:xfrm>
            <a:off x="7335247" y="5942114"/>
            <a:ext cx="132838" cy="143325"/>
          </a:xfrm>
          <a:custGeom>
            <a:avLst/>
            <a:gdLst>
              <a:gd name="connsiteX0" fmla="*/ 60593 w 132838"/>
              <a:gd name="connsiteY0" fmla="*/ 143326 h 143325"/>
              <a:gd name="connsiteX1" fmla="*/ 0 w 132838"/>
              <a:gd name="connsiteY1" fmla="*/ 143326 h 143325"/>
              <a:gd name="connsiteX2" fmla="*/ 71080 w 132838"/>
              <a:gd name="connsiteY2" fmla="*/ 72246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6"/>
                </a:moveTo>
                <a:lnTo>
                  <a:pt x="0" y="143326"/>
                </a:lnTo>
                <a:lnTo>
                  <a:pt x="71080" y="72246"/>
                </a:lnTo>
                <a:lnTo>
                  <a:pt x="0" y="0"/>
                </a:lnTo>
                <a:lnTo>
                  <a:pt x="61758" y="0"/>
                </a:lnTo>
                <a:lnTo>
                  <a:pt x="132838" y="69915"/>
                </a:lnTo>
                <a:close/>
              </a:path>
            </a:pathLst>
          </a:custGeom>
          <a:solidFill>
            <a:srgbClr val="EEF2F5"/>
          </a:solidFill>
          <a:ln w="11643" cap="flat">
            <a:noFill/>
            <a:prstDash val="solid"/>
            <a:miter/>
          </a:ln>
        </p:spPr>
        <p:txBody>
          <a:bodyPr rtlCol="0" anchor="ctr"/>
          <a:lstStyle/>
          <a:p>
            <a:endParaRPr lang="de-DE"/>
          </a:p>
        </p:txBody>
      </p:sp>
      <p:sp>
        <p:nvSpPr>
          <p:cNvPr id="394" name="Freihandform: Form 393">
            <a:extLst>
              <a:ext uri="{FF2B5EF4-FFF2-40B4-BE49-F238E27FC236}">
                <a16:creationId xmlns:a16="http://schemas.microsoft.com/office/drawing/2014/main" id="{10F8A7E4-CB0C-4156-A180-E4F1A603A10E}"/>
              </a:ext>
            </a:extLst>
          </p:cNvPr>
          <p:cNvSpPr/>
          <p:nvPr userDrawn="1"/>
        </p:nvSpPr>
        <p:spPr>
          <a:xfrm>
            <a:off x="7335247" y="6296349"/>
            <a:ext cx="132838" cy="143325"/>
          </a:xfrm>
          <a:custGeom>
            <a:avLst/>
            <a:gdLst>
              <a:gd name="connsiteX0" fmla="*/ 60593 w 132838"/>
              <a:gd name="connsiteY0" fmla="*/ 143326 h 143325"/>
              <a:gd name="connsiteX1" fmla="*/ 0 w 132838"/>
              <a:gd name="connsiteY1" fmla="*/ 143326 h 143325"/>
              <a:gd name="connsiteX2" fmla="*/ 71080 w 132838"/>
              <a:gd name="connsiteY2" fmla="*/ 72246 h 143325"/>
              <a:gd name="connsiteX3" fmla="*/ 0 w 132838"/>
              <a:gd name="connsiteY3" fmla="*/ 0 h 143325"/>
              <a:gd name="connsiteX4" fmla="*/ 61758 w 132838"/>
              <a:gd name="connsiteY4" fmla="*/ 0 h 143325"/>
              <a:gd name="connsiteX5" fmla="*/ 132838 w 132838"/>
              <a:gd name="connsiteY5" fmla="*/ 71080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6"/>
                </a:moveTo>
                <a:lnTo>
                  <a:pt x="0" y="143326"/>
                </a:lnTo>
                <a:lnTo>
                  <a:pt x="71080" y="72246"/>
                </a:lnTo>
                <a:lnTo>
                  <a:pt x="0" y="0"/>
                </a:lnTo>
                <a:lnTo>
                  <a:pt x="61758" y="0"/>
                </a:lnTo>
                <a:lnTo>
                  <a:pt x="132838" y="71080"/>
                </a:lnTo>
                <a:close/>
              </a:path>
            </a:pathLst>
          </a:custGeom>
          <a:solidFill>
            <a:srgbClr val="EEF2F5"/>
          </a:solidFill>
          <a:ln w="11643" cap="flat">
            <a:noFill/>
            <a:prstDash val="solid"/>
            <a:miter/>
          </a:ln>
        </p:spPr>
        <p:txBody>
          <a:bodyPr rtlCol="0" anchor="ctr"/>
          <a:lstStyle/>
          <a:p>
            <a:endParaRPr lang="de-DE"/>
          </a:p>
        </p:txBody>
      </p:sp>
      <p:sp>
        <p:nvSpPr>
          <p:cNvPr id="395" name="Freihandform: Form 394">
            <a:extLst>
              <a:ext uri="{FF2B5EF4-FFF2-40B4-BE49-F238E27FC236}">
                <a16:creationId xmlns:a16="http://schemas.microsoft.com/office/drawing/2014/main" id="{2595AD4F-3613-411F-AF5E-490AA23115BA}"/>
              </a:ext>
            </a:extLst>
          </p:cNvPr>
          <p:cNvSpPr/>
          <p:nvPr userDrawn="1"/>
        </p:nvSpPr>
        <p:spPr>
          <a:xfrm>
            <a:off x="7335247" y="6651749"/>
            <a:ext cx="132838" cy="143325"/>
          </a:xfrm>
          <a:custGeom>
            <a:avLst/>
            <a:gdLst>
              <a:gd name="connsiteX0" fmla="*/ 60593 w 132838"/>
              <a:gd name="connsiteY0" fmla="*/ 143326 h 143325"/>
              <a:gd name="connsiteX1" fmla="*/ 0 w 132838"/>
              <a:gd name="connsiteY1" fmla="*/ 143326 h 143325"/>
              <a:gd name="connsiteX2" fmla="*/ 71080 w 132838"/>
              <a:gd name="connsiteY2" fmla="*/ 72246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6"/>
                </a:moveTo>
                <a:lnTo>
                  <a:pt x="0" y="143326"/>
                </a:lnTo>
                <a:lnTo>
                  <a:pt x="71080" y="72246"/>
                </a:lnTo>
                <a:lnTo>
                  <a:pt x="0" y="0"/>
                </a:lnTo>
                <a:lnTo>
                  <a:pt x="61758" y="0"/>
                </a:lnTo>
                <a:lnTo>
                  <a:pt x="132838" y="69915"/>
                </a:lnTo>
                <a:close/>
              </a:path>
            </a:pathLst>
          </a:custGeom>
          <a:solidFill>
            <a:srgbClr val="EEF2F5"/>
          </a:solidFill>
          <a:ln w="11643" cap="flat">
            <a:noFill/>
            <a:prstDash val="solid"/>
            <a:miter/>
          </a:ln>
        </p:spPr>
        <p:txBody>
          <a:bodyPr rtlCol="0" anchor="ctr"/>
          <a:lstStyle/>
          <a:p>
            <a:endParaRPr lang="de-DE"/>
          </a:p>
        </p:txBody>
      </p:sp>
      <p:sp>
        <p:nvSpPr>
          <p:cNvPr id="396" name="Freihandform: Form 395">
            <a:extLst>
              <a:ext uri="{FF2B5EF4-FFF2-40B4-BE49-F238E27FC236}">
                <a16:creationId xmlns:a16="http://schemas.microsoft.com/office/drawing/2014/main" id="{9EBD3A98-044D-4031-AC35-3BF914F7302F}"/>
              </a:ext>
            </a:extLst>
          </p:cNvPr>
          <p:cNvSpPr/>
          <p:nvPr userDrawn="1"/>
        </p:nvSpPr>
        <p:spPr>
          <a:xfrm>
            <a:off x="7682491" y="2029211"/>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397" name="Freihandform: Form 396">
            <a:extLst>
              <a:ext uri="{FF2B5EF4-FFF2-40B4-BE49-F238E27FC236}">
                <a16:creationId xmlns:a16="http://schemas.microsoft.com/office/drawing/2014/main" id="{43C53F6D-4828-4940-97F4-B626CD126756}"/>
              </a:ext>
            </a:extLst>
          </p:cNvPr>
          <p:cNvSpPr/>
          <p:nvPr userDrawn="1"/>
        </p:nvSpPr>
        <p:spPr>
          <a:xfrm>
            <a:off x="7682491" y="2384612"/>
            <a:ext cx="147986" cy="160804"/>
          </a:xfrm>
          <a:custGeom>
            <a:avLst/>
            <a:gdLst>
              <a:gd name="connsiteX0" fmla="*/ 67584 w 147986"/>
              <a:gd name="connsiteY0" fmla="*/ 160804 h 160804"/>
              <a:gd name="connsiteX1" fmla="*/ 0 w 147986"/>
              <a:gd name="connsiteY1" fmla="*/ 160804 h 160804"/>
              <a:gd name="connsiteX2" fmla="*/ 79237 w 147986"/>
              <a:gd name="connsiteY2" fmla="*/ 80402 h 160804"/>
              <a:gd name="connsiteX3" fmla="*/ 0 w 147986"/>
              <a:gd name="connsiteY3" fmla="*/ 0 h 160804"/>
              <a:gd name="connsiteX4" fmla="*/ 68750 w 147986"/>
              <a:gd name="connsiteY4" fmla="*/ 0 h 160804"/>
              <a:gd name="connsiteX5" fmla="*/ 147986 w 147986"/>
              <a:gd name="connsiteY5" fmla="*/ 79237 h 160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0804">
                <a:moveTo>
                  <a:pt x="67584" y="160804"/>
                </a:moveTo>
                <a:lnTo>
                  <a:pt x="0" y="160804"/>
                </a:lnTo>
                <a:lnTo>
                  <a:pt x="79237" y="80402"/>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398" name="Freihandform: Form 397">
            <a:extLst>
              <a:ext uri="{FF2B5EF4-FFF2-40B4-BE49-F238E27FC236}">
                <a16:creationId xmlns:a16="http://schemas.microsoft.com/office/drawing/2014/main" id="{120E8F27-6892-406B-90DB-A43FCDE80878}"/>
              </a:ext>
            </a:extLst>
          </p:cNvPr>
          <p:cNvSpPr/>
          <p:nvPr userDrawn="1"/>
        </p:nvSpPr>
        <p:spPr>
          <a:xfrm>
            <a:off x="7682491" y="2738847"/>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399" name="Freihandform: Form 398">
            <a:extLst>
              <a:ext uri="{FF2B5EF4-FFF2-40B4-BE49-F238E27FC236}">
                <a16:creationId xmlns:a16="http://schemas.microsoft.com/office/drawing/2014/main" id="{5C717E3E-F6BC-42B4-A350-C1DEE9C442C9}"/>
              </a:ext>
            </a:extLst>
          </p:cNvPr>
          <p:cNvSpPr/>
          <p:nvPr userDrawn="1"/>
        </p:nvSpPr>
        <p:spPr>
          <a:xfrm>
            <a:off x="7682491" y="3094248"/>
            <a:ext cx="147986" cy="160804"/>
          </a:xfrm>
          <a:custGeom>
            <a:avLst/>
            <a:gdLst>
              <a:gd name="connsiteX0" fmla="*/ 67584 w 147986"/>
              <a:gd name="connsiteY0" fmla="*/ 160804 h 160804"/>
              <a:gd name="connsiteX1" fmla="*/ 0 w 147986"/>
              <a:gd name="connsiteY1" fmla="*/ 160804 h 160804"/>
              <a:gd name="connsiteX2" fmla="*/ 79237 w 147986"/>
              <a:gd name="connsiteY2" fmla="*/ 81567 h 160804"/>
              <a:gd name="connsiteX3" fmla="*/ 0 w 147986"/>
              <a:gd name="connsiteY3" fmla="*/ 0 h 160804"/>
              <a:gd name="connsiteX4" fmla="*/ 68750 w 147986"/>
              <a:gd name="connsiteY4" fmla="*/ 0 h 160804"/>
              <a:gd name="connsiteX5" fmla="*/ 147986 w 147986"/>
              <a:gd name="connsiteY5" fmla="*/ 79237 h 160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0804">
                <a:moveTo>
                  <a:pt x="67584" y="160804"/>
                </a:moveTo>
                <a:lnTo>
                  <a:pt x="0" y="160804"/>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400" name="Freihandform: Form 399">
            <a:extLst>
              <a:ext uri="{FF2B5EF4-FFF2-40B4-BE49-F238E27FC236}">
                <a16:creationId xmlns:a16="http://schemas.microsoft.com/office/drawing/2014/main" id="{4F410CDD-2620-4397-B84B-BC98C66C7973}"/>
              </a:ext>
            </a:extLst>
          </p:cNvPr>
          <p:cNvSpPr/>
          <p:nvPr userDrawn="1"/>
        </p:nvSpPr>
        <p:spPr>
          <a:xfrm>
            <a:off x="7682491" y="3448483"/>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401" name="Freihandform: Form 400">
            <a:extLst>
              <a:ext uri="{FF2B5EF4-FFF2-40B4-BE49-F238E27FC236}">
                <a16:creationId xmlns:a16="http://schemas.microsoft.com/office/drawing/2014/main" id="{02172315-7916-4D70-BD29-FC5BB87983F8}"/>
              </a:ext>
            </a:extLst>
          </p:cNvPr>
          <p:cNvSpPr/>
          <p:nvPr userDrawn="1"/>
        </p:nvSpPr>
        <p:spPr>
          <a:xfrm>
            <a:off x="7682491" y="3803883"/>
            <a:ext cx="147986" cy="160804"/>
          </a:xfrm>
          <a:custGeom>
            <a:avLst/>
            <a:gdLst>
              <a:gd name="connsiteX0" fmla="*/ 67584 w 147986"/>
              <a:gd name="connsiteY0" fmla="*/ 160804 h 160804"/>
              <a:gd name="connsiteX1" fmla="*/ 0 w 147986"/>
              <a:gd name="connsiteY1" fmla="*/ 160804 h 160804"/>
              <a:gd name="connsiteX2" fmla="*/ 79237 w 147986"/>
              <a:gd name="connsiteY2" fmla="*/ 81567 h 160804"/>
              <a:gd name="connsiteX3" fmla="*/ 0 w 147986"/>
              <a:gd name="connsiteY3" fmla="*/ 0 h 160804"/>
              <a:gd name="connsiteX4" fmla="*/ 68750 w 147986"/>
              <a:gd name="connsiteY4" fmla="*/ 0 h 160804"/>
              <a:gd name="connsiteX5" fmla="*/ 147986 w 147986"/>
              <a:gd name="connsiteY5" fmla="*/ 79237 h 160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0804">
                <a:moveTo>
                  <a:pt x="67584" y="160804"/>
                </a:moveTo>
                <a:lnTo>
                  <a:pt x="0" y="160804"/>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402" name="Freihandform: Form 401">
            <a:extLst>
              <a:ext uri="{FF2B5EF4-FFF2-40B4-BE49-F238E27FC236}">
                <a16:creationId xmlns:a16="http://schemas.microsoft.com/office/drawing/2014/main" id="{675200BF-627C-42A4-9F53-4A172D52E39B}"/>
              </a:ext>
            </a:extLst>
          </p:cNvPr>
          <p:cNvSpPr/>
          <p:nvPr userDrawn="1"/>
        </p:nvSpPr>
        <p:spPr>
          <a:xfrm>
            <a:off x="7682491" y="4158119"/>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403" name="Freihandform: Form 402">
            <a:extLst>
              <a:ext uri="{FF2B5EF4-FFF2-40B4-BE49-F238E27FC236}">
                <a16:creationId xmlns:a16="http://schemas.microsoft.com/office/drawing/2014/main" id="{CAF5CE73-97E8-49F4-906D-4FDA8880D376}"/>
              </a:ext>
            </a:extLst>
          </p:cNvPr>
          <p:cNvSpPr/>
          <p:nvPr userDrawn="1"/>
        </p:nvSpPr>
        <p:spPr>
          <a:xfrm>
            <a:off x="7682491" y="4513520"/>
            <a:ext cx="147986" cy="160804"/>
          </a:xfrm>
          <a:custGeom>
            <a:avLst/>
            <a:gdLst>
              <a:gd name="connsiteX0" fmla="*/ 67584 w 147986"/>
              <a:gd name="connsiteY0" fmla="*/ 160804 h 160804"/>
              <a:gd name="connsiteX1" fmla="*/ 0 w 147986"/>
              <a:gd name="connsiteY1" fmla="*/ 160804 h 160804"/>
              <a:gd name="connsiteX2" fmla="*/ 79237 w 147986"/>
              <a:gd name="connsiteY2" fmla="*/ 81567 h 160804"/>
              <a:gd name="connsiteX3" fmla="*/ 0 w 147986"/>
              <a:gd name="connsiteY3" fmla="*/ 0 h 160804"/>
              <a:gd name="connsiteX4" fmla="*/ 68750 w 147986"/>
              <a:gd name="connsiteY4" fmla="*/ 0 h 160804"/>
              <a:gd name="connsiteX5" fmla="*/ 147986 w 147986"/>
              <a:gd name="connsiteY5" fmla="*/ 79237 h 160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0804">
                <a:moveTo>
                  <a:pt x="67584" y="160804"/>
                </a:moveTo>
                <a:lnTo>
                  <a:pt x="0" y="160804"/>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404" name="Freihandform: Form 403">
            <a:extLst>
              <a:ext uri="{FF2B5EF4-FFF2-40B4-BE49-F238E27FC236}">
                <a16:creationId xmlns:a16="http://schemas.microsoft.com/office/drawing/2014/main" id="{218DF139-4DC1-4BCB-9F4E-581AFD9F6331}"/>
              </a:ext>
            </a:extLst>
          </p:cNvPr>
          <p:cNvSpPr/>
          <p:nvPr userDrawn="1"/>
        </p:nvSpPr>
        <p:spPr>
          <a:xfrm>
            <a:off x="7682491" y="4867755"/>
            <a:ext cx="147986" cy="161969"/>
          </a:xfrm>
          <a:custGeom>
            <a:avLst/>
            <a:gdLst>
              <a:gd name="connsiteX0" fmla="*/ 67584 w 147986"/>
              <a:gd name="connsiteY0" fmla="*/ 161970 h 161969"/>
              <a:gd name="connsiteX1" fmla="*/ 0 w 147986"/>
              <a:gd name="connsiteY1" fmla="*/ 161970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70"/>
                </a:moveTo>
                <a:lnTo>
                  <a:pt x="0" y="161970"/>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405" name="Freihandform: Form 404">
            <a:extLst>
              <a:ext uri="{FF2B5EF4-FFF2-40B4-BE49-F238E27FC236}">
                <a16:creationId xmlns:a16="http://schemas.microsoft.com/office/drawing/2014/main" id="{0A37C202-DA7A-49FE-8C7A-70FAA46867C6}"/>
              </a:ext>
            </a:extLst>
          </p:cNvPr>
          <p:cNvSpPr/>
          <p:nvPr userDrawn="1"/>
        </p:nvSpPr>
        <p:spPr>
          <a:xfrm>
            <a:off x="7682491" y="5223156"/>
            <a:ext cx="147986" cy="160804"/>
          </a:xfrm>
          <a:custGeom>
            <a:avLst/>
            <a:gdLst>
              <a:gd name="connsiteX0" fmla="*/ 67584 w 147986"/>
              <a:gd name="connsiteY0" fmla="*/ 160804 h 160804"/>
              <a:gd name="connsiteX1" fmla="*/ 0 w 147986"/>
              <a:gd name="connsiteY1" fmla="*/ 160804 h 160804"/>
              <a:gd name="connsiteX2" fmla="*/ 79237 w 147986"/>
              <a:gd name="connsiteY2" fmla="*/ 81567 h 160804"/>
              <a:gd name="connsiteX3" fmla="*/ 0 w 147986"/>
              <a:gd name="connsiteY3" fmla="*/ 0 h 160804"/>
              <a:gd name="connsiteX4" fmla="*/ 68750 w 147986"/>
              <a:gd name="connsiteY4" fmla="*/ 0 h 160804"/>
              <a:gd name="connsiteX5" fmla="*/ 147986 w 147986"/>
              <a:gd name="connsiteY5" fmla="*/ 79237 h 160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0804">
                <a:moveTo>
                  <a:pt x="67584" y="160804"/>
                </a:moveTo>
                <a:lnTo>
                  <a:pt x="0" y="160804"/>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406" name="Freihandform: Form 405">
            <a:extLst>
              <a:ext uri="{FF2B5EF4-FFF2-40B4-BE49-F238E27FC236}">
                <a16:creationId xmlns:a16="http://schemas.microsoft.com/office/drawing/2014/main" id="{9C4CC063-F063-49A1-A191-445FCAA404F3}"/>
              </a:ext>
            </a:extLst>
          </p:cNvPr>
          <p:cNvSpPr/>
          <p:nvPr userDrawn="1"/>
        </p:nvSpPr>
        <p:spPr>
          <a:xfrm>
            <a:off x="7682491" y="5577391"/>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407" name="Freihandform: Form 406">
            <a:extLst>
              <a:ext uri="{FF2B5EF4-FFF2-40B4-BE49-F238E27FC236}">
                <a16:creationId xmlns:a16="http://schemas.microsoft.com/office/drawing/2014/main" id="{E4A5A0CA-718E-4526-8905-36FE802C3C3C}"/>
              </a:ext>
            </a:extLst>
          </p:cNvPr>
          <p:cNvSpPr/>
          <p:nvPr userDrawn="1"/>
        </p:nvSpPr>
        <p:spPr>
          <a:xfrm>
            <a:off x="7682491" y="5932792"/>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408" name="Freihandform: Form 407">
            <a:extLst>
              <a:ext uri="{FF2B5EF4-FFF2-40B4-BE49-F238E27FC236}">
                <a16:creationId xmlns:a16="http://schemas.microsoft.com/office/drawing/2014/main" id="{F21B4889-030D-4F50-9502-7C167A1D25E3}"/>
              </a:ext>
            </a:extLst>
          </p:cNvPr>
          <p:cNvSpPr/>
          <p:nvPr userDrawn="1"/>
        </p:nvSpPr>
        <p:spPr>
          <a:xfrm>
            <a:off x="7682491" y="6287027"/>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80402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80402"/>
                </a:lnTo>
                <a:close/>
              </a:path>
            </a:pathLst>
          </a:custGeom>
          <a:solidFill>
            <a:srgbClr val="EEF2F5"/>
          </a:solidFill>
          <a:ln w="11643" cap="flat">
            <a:noFill/>
            <a:prstDash val="solid"/>
            <a:miter/>
          </a:ln>
        </p:spPr>
        <p:txBody>
          <a:bodyPr rtlCol="0" anchor="ctr"/>
          <a:lstStyle/>
          <a:p>
            <a:endParaRPr lang="de-DE"/>
          </a:p>
        </p:txBody>
      </p:sp>
      <p:sp>
        <p:nvSpPr>
          <p:cNvPr id="409" name="Freihandform: Form 408">
            <a:extLst>
              <a:ext uri="{FF2B5EF4-FFF2-40B4-BE49-F238E27FC236}">
                <a16:creationId xmlns:a16="http://schemas.microsoft.com/office/drawing/2014/main" id="{F20E497A-F5DB-4F96-B341-3DF47EDCD66D}"/>
              </a:ext>
            </a:extLst>
          </p:cNvPr>
          <p:cNvSpPr/>
          <p:nvPr userDrawn="1"/>
        </p:nvSpPr>
        <p:spPr>
          <a:xfrm>
            <a:off x="7682491" y="6642428"/>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410" name="Freihandform: Form 409">
            <a:extLst>
              <a:ext uri="{FF2B5EF4-FFF2-40B4-BE49-F238E27FC236}">
                <a16:creationId xmlns:a16="http://schemas.microsoft.com/office/drawing/2014/main" id="{20D583A8-A99E-46DB-A41A-3E08431963F8}"/>
              </a:ext>
            </a:extLst>
          </p:cNvPr>
          <p:cNvSpPr/>
          <p:nvPr userDrawn="1"/>
        </p:nvSpPr>
        <p:spPr>
          <a:xfrm>
            <a:off x="8028570" y="2019889"/>
            <a:ext cx="165465" cy="179448"/>
          </a:xfrm>
          <a:custGeom>
            <a:avLst/>
            <a:gdLst>
              <a:gd name="connsiteX0" fmla="*/ 75741 w 165465"/>
              <a:gd name="connsiteY0" fmla="*/ 179448 h 179448"/>
              <a:gd name="connsiteX1" fmla="*/ 0 w 165465"/>
              <a:gd name="connsiteY1" fmla="*/ 179448 h 179448"/>
              <a:gd name="connsiteX2" fmla="*/ 88559 w 165465"/>
              <a:gd name="connsiteY2" fmla="*/ 90889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411" name="Freihandform: Form 410">
            <a:extLst>
              <a:ext uri="{FF2B5EF4-FFF2-40B4-BE49-F238E27FC236}">
                <a16:creationId xmlns:a16="http://schemas.microsoft.com/office/drawing/2014/main" id="{09B60DC3-4079-4CF1-9FA2-3667E3169BE5}"/>
              </a:ext>
            </a:extLst>
          </p:cNvPr>
          <p:cNvSpPr/>
          <p:nvPr userDrawn="1"/>
        </p:nvSpPr>
        <p:spPr>
          <a:xfrm>
            <a:off x="8028570" y="2375290"/>
            <a:ext cx="165465" cy="179448"/>
          </a:xfrm>
          <a:custGeom>
            <a:avLst/>
            <a:gdLst>
              <a:gd name="connsiteX0" fmla="*/ 75741 w 165465"/>
              <a:gd name="connsiteY0" fmla="*/ 179448 h 179448"/>
              <a:gd name="connsiteX1" fmla="*/ 0 w 165465"/>
              <a:gd name="connsiteY1" fmla="*/ 179448 h 179448"/>
              <a:gd name="connsiteX2" fmla="*/ 88559 w 165465"/>
              <a:gd name="connsiteY2" fmla="*/ 90889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412" name="Freihandform: Form 411">
            <a:extLst>
              <a:ext uri="{FF2B5EF4-FFF2-40B4-BE49-F238E27FC236}">
                <a16:creationId xmlns:a16="http://schemas.microsoft.com/office/drawing/2014/main" id="{A28ECBD0-0C03-43BC-B913-C56FBFD468AD}"/>
              </a:ext>
            </a:extLst>
          </p:cNvPr>
          <p:cNvSpPr/>
          <p:nvPr userDrawn="1"/>
        </p:nvSpPr>
        <p:spPr>
          <a:xfrm>
            <a:off x="8028570" y="2729525"/>
            <a:ext cx="165465" cy="179448"/>
          </a:xfrm>
          <a:custGeom>
            <a:avLst/>
            <a:gdLst>
              <a:gd name="connsiteX0" fmla="*/ 75741 w 165465"/>
              <a:gd name="connsiteY0" fmla="*/ 179448 h 179448"/>
              <a:gd name="connsiteX1" fmla="*/ 0 w 165465"/>
              <a:gd name="connsiteY1" fmla="*/ 179448 h 179448"/>
              <a:gd name="connsiteX2" fmla="*/ 88559 w 165465"/>
              <a:gd name="connsiteY2" fmla="*/ 90889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413" name="Freihandform: Form 412">
            <a:extLst>
              <a:ext uri="{FF2B5EF4-FFF2-40B4-BE49-F238E27FC236}">
                <a16:creationId xmlns:a16="http://schemas.microsoft.com/office/drawing/2014/main" id="{81865AF8-BEB5-4A5A-A20B-57F13A2AC867}"/>
              </a:ext>
            </a:extLst>
          </p:cNvPr>
          <p:cNvSpPr/>
          <p:nvPr userDrawn="1"/>
        </p:nvSpPr>
        <p:spPr>
          <a:xfrm>
            <a:off x="8028570" y="3084926"/>
            <a:ext cx="165465" cy="179448"/>
          </a:xfrm>
          <a:custGeom>
            <a:avLst/>
            <a:gdLst>
              <a:gd name="connsiteX0" fmla="*/ 75741 w 165465"/>
              <a:gd name="connsiteY0" fmla="*/ 179448 h 179448"/>
              <a:gd name="connsiteX1" fmla="*/ 0 w 165465"/>
              <a:gd name="connsiteY1" fmla="*/ 179448 h 179448"/>
              <a:gd name="connsiteX2" fmla="*/ 88559 w 165465"/>
              <a:gd name="connsiteY2" fmla="*/ 90889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414" name="Freihandform: Form 413">
            <a:extLst>
              <a:ext uri="{FF2B5EF4-FFF2-40B4-BE49-F238E27FC236}">
                <a16:creationId xmlns:a16="http://schemas.microsoft.com/office/drawing/2014/main" id="{A77752D8-E05F-4500-BE69-EE4B76C596D4}"/>
              </a:ext>
            </a:extLst>
          </p:cNvPr>
          <p:cNvSpPr/>
          <p:nvPr userDrawn="1"/>
        </p:nvSpPr>
        <p:spPr>
          <a:xfrm>
            <a:off x="8028570" y="3439161"/>
            <a:ext cx="165465" cy="180613"/>
          </a:xfrm>
          <a:custGeom>
            <a:avLst/>
            <a:gdLst>
              <a:gd name="connsiteX0" fmla="*/ 75741 w 165465"/>
              <a:gd name="connsiteY0" fmla="*/ 180614 h 180613"/>
              <a:gd name="connsiteX1" fmla="*/ 0 w 165465"/>
              <a:gd name="connsiteY1" fmla="*/ 180614 h 180613"/>
              <a:gd name="connsiteX2" fmla="*/ 88559 w 165465"/>
              <a:gd name="connsiteY2" fmla="*/ 90889 h 180613"/>
              <a:gd name="connsiteX3" fmla="*/ 0 w 165465"/>
              <a:gd name="connsiteY3" fmla="*/ 0 h 180613"/>
              <a:gd name="connsiteX4" fmla="*/ 76906 w 165465"/>
              <a:gd name="connsiteY4" fmla="*/ 0 h 180613"/>
              <a:gd name="connsiteX5" fmla="*/ 165465 w 165465"/>
              <a:gd name="connsiteY5" fmla="*/ 88559 h 180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80613">
                <a:moveTo>
                  <a:pt x="75741" y="180614"/>
                </a:moveTo>
                <a:lnTo>
                  <a:pt x="0" y="180614"/>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415" name="Freihandform: Form 414">
            <a:extLst>
              <a:ext uri="{FF2B5EF4-FFF2-40B4-BE49-F238E27FC236}">
                <a16:creationId xmlns:a16="http://schemas.microsoft.com/office/drawing/2014/main" id="{5946384E-284D-4976-A3EC-765399D6C96E}"/>
              </a:ext>
            </a:extLst>
          </p:cNvPr>
          <p:cNvSpPr/>
          <p:nvPr userDrawn="1"/>
        </p:nvSpPr>
        <p:spPr>
          <a:xfrm>
            <a:off x="8028570" y="3794562"/>
            <a:ext cx="165465" cy="179448"/>
          </a:xfrm>
          <a:custGeom>
            <a:avLst/>
            <a:gdLst>
              <a:gd name="connsiteX0" fmla="*/ 75741 w 165465"/>
              <a:gd name="connsiteY0" fmla="*/ 179448 h 179448"/>
              <a:gd name="connsiteX1" fmla="*/ 0 w 165465"/>
              <a:gd name="connsiteY1" fmla="*/ 179448 h 179448"/>
              <a:gd name="connsiteX2" fmla="*/ 88559 w 165465"/>
              <a:gd name="connsiteY2" fmla="*/ 90889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416" name="Freihandform: Form 415">
            <a:extLst>
              <a:ext uri="{FF2B5EF4-FFF2-40B4-BE49-F238E27FC236}">
                <a16:creationId xmlns:a16="http://schemas.microsoft.com/office/drawing/2014/main" id="{90800565-457C-44CA-B5C7-654275474468}"/>
              </a:ext>
            </a:extLst>
          </p:cNvPr>
          <p:cNvSpPr/>
          <p:nvPr userDrawn="1"/>
        </p:nvSpPr>
        <p:spPr>
          <a:xfrm>
            <a:off x="8028570" y="4148797"/>
            <a:ext cx="165465" cy="180613"/>
          </a:xfrm>
          <a:custGeom>
            <a:avLst/>
            <a:gdLst>
              <a:gd name="connsiteX0" fmla="*/ 75741 w 165465"/>
              <a:gd name="connsiteY0" fmla="*/ 180613 h 180613"/>
              <a:gd name="connsiteX1" fmla="*/ 0 w 165465"/>
              <a:gd name="connsiteY1" fmla="*/ 180613 h 180613"/>
              <a:gd name="connsiteX2" fmla="*/ 88559 w 165465"/>
              <a:gd name="connsiteY2" fmla="*/ 90889 h 180613"/>
              <a:gd name="connsiteX3" fmla="*/ 0 w 165465"/>
              <a:gd name="connsiteY3" fmla="*/ 0 h 180613"/>
              <a:gd name="connsiteX4" fmla="*/ 76906 w 165465"/>
              <a:gd name="connsiteY4" fmla="*/ 0 h 180613"/>
              <a:gd name="connsiteX5" fmla="*/ 165465 w 165465"/>
              <a:gd name="connsiteY5" fmla="*/ 88559 h 180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80613">
                <a:moveTo>
                  <a:pt x="75741" y="180613"/>
                </a:moveTo>
                <a:lnTo>
                  <a:pt x="0" y="180613"/>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417" name="Freihandform: Form 416">
            <a:extLst>
              <a:ext uri="{FF2B5EF4-FFF2-40B4-BE49-F238E27FC236}">
                <a16:creationId xmlns:a16="http://schemas.microsoft.com/office/drawing/2014/main" id="{F42B60A2-B724-49DF-B9C1-DF590E07CED7}"/>
              </a:ext>
            </a:extLst>
          </p:cNvPr>
          <p:cNvSpPr/>
          <p:nvPr userDrawn="1"/>
        </p:nvSpPr>
        <p:spPr>
          <a:xfrm>
            <a:off x="8028570" y="4504198"/>
            <a:ext cx="165465" cy="179448"/>
          </a:xfrm>
          <a:custGeom>
            <a:avLst/>
            <a:gdLst>
              <a:gd name="connsiteX0" fmla="*/ 75741 w 165465"/>
              <a:gd name="connsiteY0" fmla="*/ 179448 h 179448"/>
              <a:gd name="connsiteX1" fmla="*/ 0 w 165465"/>
              <a:gd name="connsiteY1" fmla="*/ 179448 h 179448"/>
              <a:gd name="connsiteX2" fmla="*/ 88559 w 165465"/>
              <a:gd name="connsiteY2" fmla="*/ 90889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418" name="Freihandform: Form 417">
            <a:extLst>
              <a:ext uri="{FF2B5EF4-FFF2-40B4-BE49-F238E27FC236}">
                <a16:creationId xmlns:a16="http://schemas.microsoft.com/office/drawing/2014/main" id="{918786C3-E0C0-40D3-AEEC-2B0928087F67}"/>
              </a:ext>
            </a:extLst>
          </p:cNvPr>
          <p:cNvSpPr/>
          <p:nvPr userDrawn="1"/>
        </p:nvSpPr>
        <p:spPr>
          <a:xfrm>
            <a:off x="8028570" y="4859598"/>
            <a:ext cx="165465" cy="179448"/>
          </a:xfrm>
          <a:custGeom>
            <a:avLst/>
            <a:gdLst>
              <a:gd name="connsiteX0" fmla="*/ 75741 w 165465"/>
              <a:gd name="connsiteY0" fmla="*/ 179448 h 179448"/>
              <a:gd name="connsiteX1" fmla="*/ 0 w 165465"/>
              <a:gd name="connsiteY1" fmla="*/ 179448 h 179448"/>
              <a:gd name="connsiteX2" fmla="*/ 88559 w 165465"/>
              <a:gd name="connsiteY2" fmla="*/ 89724 h 179448"/>
              <a:gd name="connsiteX3" fmla="*/ 0 w 165465"/>
              <a:gd name="connsiteY3" fmla="*/ 0 h 179448"/>
              <a:gd name="connsiteX4" fmla="*/ 76906 w 165465"/>
              <a:gd name="connsiteY4" fmla="*/ 0 h 179448"/>
              <a:gd name="connsiteX5" fmla="*/ 165465 w 165465"/>
              <a:gd name="connsiteY5" fmla="*/ 87394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89724"/>
                </a:lnTo>
                <a:lnTo>
                  <a:pt x="0" y="0"/>
                </a:lnTo>
                <a:lnTo>
                  <a:pt x="76906" y="0"/>
                </a:lnTo>
                <a:lnTo>
                  <a:pt x="165465" y="87394"/>
                </a:lnTo>
                <a:close/>
              </a:path>
            </a:pathLst>
          </a:custGeom>
          <a:solidFill>
            <a:srgbClr val="EEF2F5"/>
          </a:solidFill>
          <a:ln w="11643" cap="flat">
            <a:noFill/>
            <a:prstDash val="solid"/>
            <a:miter/>
          </a:ln>
        </p:spPr>
        <p:txBody>
          <a:bodyPr rtlCol="0" anchor="ctr"/>
          <a:lstStyle/>
          <a:p>
            <a:endParaRPr lang="de-DE"/>
          </a:p>
        </p:txBody>
      </p:sp>
      <p:sp>
        <p:nvSpPr>
          <p:cNvPr id="419" name="Freihandform: Form 418">
            <a:extLst>
              <a:ext uri="{FF2B5EF4-FFF2-40B4-BE49-F238E27FC236}">
                <a16:creationId xmlns:a16="http://schemas.microsoft.com/office/drawing/2014/main" id="{5A95C5AF-A7DE-46D9-BD81-B38E5EE66F36}"/>
              </a:ext>
            </a:extLst>
          </p:cNvPr>
          <p:cNvSpPr/>
          <p:nvPr userDrawn="1"/>
        </p:nvSpPr>
        <p:spPr>
          <a:xfrm>
            <a:off x="8028570" y="5213834"/>
            <a:ext cx="165465" cy="179448"/>
          </a:xfrm>
          <a:custGeom>
            <a:avLst/>
            <a:gdLst>
              <a:gd name="connsiteX0" fmla="*/ 75741 w 165465"/>
              <a:gd name="connsiteY0" fmla="*/ 179448 h 179448"/>
              <a:gd name="connsiteX1" fmla="*/ 0 w 165465"/>
              <a:gd name="connsiteY1" fmla="*/ 179448 h 179448"/>
              <a:gd name="connsiteX2" fmla="*/ 88559 w 165465"/>
              <a:gd name="connsiteY2" fmla="*/ 90890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90"/>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420" name="Freihandform: Form 419">
            <a:extLst>
              <a:ext uri="{FF2B5EF4-FFF2-40B4-BE49-F238E27FC236}">
                <a16:creationId xmlns:a16="http://schemas.microsoft.com/office/drawing/2014/main" id="{E84E62F6-ABA2-4007-8DEC-26ABA65D4FD4}"/>
              </a:ext>
            </a:extLst>
          </p:cNvPr>
          <p:cNvSpPr/>
          <p:nvPr userDrawn="1"/>
        </p:nvSpPr>
        <p:spPr>
          <a:xfrm>
            <a:off x="8028570" y="5569234"/>
            <a:ext cx="165465" cy="179448"/>
          </a:xfrm>
          <a:custGeom>
            <a:avLst/>
            <a:gdLst>
              <a:gd name="connsiteX0" fmla="*/ 75741 w 165465"/>
              <a:gd name="connsiteY0" fmla="*/ 179448 h 179448"/>
              <a:gd name="connsiteX1" fmla="*/ 0 w 165465"/>
              <a:gd name="connsiteY1" fmla="*/ 179448 h 179448"/>
              <a:gd name="connsiteX2" fmla="*/ 88559 w 165465"/>
              <a:gd name="connsiteY2" fmla="*/ 89724 h 179448"/>
              <a:gd name="connsiteX3" fmla="*/ 0 w 165465"/>
              <a:gd name="connsiteY3" fmla="*/ 0 h 179448"/>
              <a:gd name="connsiteX4" fmla="*/ 76906 w 165465"/>
              <a:gd name="connsiteY4" fmla="*/ 0 h 179448"/>
              <a:gd name="connsiteX5" fmla="*/ 165465 w 165465"/>
              <a:gd name="connsiteY5" fmla="*/ 87394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89724"/>
                </a:lnTo>
                <a:lnTo>
                  <a:pt x="0" y="0"/>
                </a:lnTo>
                <a:lnTo>
                  <a:pt x="76906" y="0"/>
                </a:lnTo>
                <a:lnTo>
                  <a:pt x="165465" y="87394"/>
                </a:lnTo>
                <a:close/>
              </a:path>
            </a:pathLst>
          </a:custGeom>
          <a:solidFill>
            <a:srgbClr val="EEF2F5"/>
          </a:solidFill>
          <a:ln w="11643" cap="flat">
            <a:noFill/>
            <a:prstDash val="solid"/>
            <a:miter/>
          </a:ln>
        </p:spPr>
        <p:txBody>
          <a:bodyPr rtlCol="0" anchor="ctr"/>
          <a:lstStyle/>
          <a:p>
            <a:endParaRPr lang="de-DE"/>
          </a:p>
        </p:txBody>
      </p:sp>
      <p:sp>
        <p:nvSpPr>
          <p:cNvPr id="421" name="Freihandform: Form 420">
            <a:extLst>
              <a:ext uri="{FF2B5EF4-FFF2-40B4-BE49-F238E27FC236}">
                <a16:creationId xmlns:a16="http://schemas.microsoft.com/office/drawing/2014/main" id="{BA0B5D5D-DD77-4EAC-9B17-FCAA6E650A70}"/>
              </a:ext>
            </a:extLst>
          </p:cNvPr>
          <p:cNvSpPr/>
          <p:nvPr userDrawn="1"/>
        </p:nvSpPr>
        <p:spPr>
          <a:xfrm>
            <a:off x="8028570" y="5923469"/>
            <a:ext cx="165465" cy="179448"/>
          </a:xfrm>
          <a:custGeom>
            <a:avLst/>
            <a:gdLst>
              <a:gd name="connsiteX0" fmla="*/ 75741 w 165465"/>
              <a:gd name="connsiteY0" fmla="*/ 179448 h 179448"/>
              <a:gd name="connsiteX1" fmla="*/ 0 w 165465"/>
              <a:gd name="connsiteY1" fmla="*/ 179448 h 179448"/>
              <a:gd name="connsiteX2" fmla="*/ 88559 w 165465"/>
              <a:gd name="connsiteY2" fmla="*/ 90890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90"/>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422" name="Freihandform: Form 421">
            <a:extLst>
              <a:ext uri="{FF2B5EF4-FFF2-40B4-BE49-F238E27FC236}">
                <a16:creationId xmlns:a16="http://schemas.microsoft.com/office/drawing/2014/main" id="{5ED5F732-E2A1-428A-B725-5499FA571055}"/>
              </a:ext>
            </a:extLst>
          </p:cNvPr>
          <p:cNvSpPr/>
          <p:nvPr userDrawn="1"/>
        </p:nvSpPr>
        <p:spPr>
          <a:xfrm>
            <a:off x="8028570" y="6278870"/>
            <a:ext cx="165465" cy="179448"/>
          </a:xfrm>
          <a:custGeom>
            <a:avLst/>
            <a:gdLst>
              <a:gd name="connsiteX0" fmla="*/ 75741 w 165465"/>
              <a:gd name="connsiteY0" fmla="*/ 179448 h 179448"/>
              <a:gd name="connsiteX1" fmla="*/ 0 w 165465"/>
              <a:gd name="connsiteY1" fmla="*/ 179448 h 179448"/>
              <a:gd name="connsiteX2" fmla="*/ 88559 w 165465"/>
              <a:gd name="connsiteY2" fmla="*/ 89724 h 179448"/>
              <a:gd name="connsiteX3" fmla="*/ 0 w 165465"/>
              <a:gd name="connsiteY3" fmla="*/ 0 h 179448"/>
              <a:gd name="connsiteX4" fmla="*/ 76906 w 165465"/>
              <a:gd name="connsiteY4" fmla="*/ 0 h 179448"/>
              <a:gd name="connsiteX5" fmla="*/ 165465 w 165465"/>
              <a:gd name="connsiteY5" fmla="*/ 87394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89724"/>
                </a:lnTo>
                <a:lnTo>
                  <a:pt x="0" y="0"/>
                </a:lnTo>
                <a:lnTo>
                  <a:pt x="76906" y="0"/>
                </a:lnTo>
                <a:lnTo>
                  <a:pt x="165465" y="87394"/>
                </a:lnTo>
                <a:close/>
              </a:path>
            </a:pathLst>
          </a:custGeom>
          <a:solidFill>
            <a:srgbClr val="EEF2F5"/>
          </a:solidFill>
          <a:ln w="11643" cap="flat">
            <a:noFill/>
            <a:prstDash val="solid"/>
            <a:miter/>
          </a:ln>
        </p:spPr>
        <p:txBody>
          <a:bodyPr rtlCol="0" anchor="ctr"/>
          <a:lstStyle/>
          <a:p>
            <a:endParaRPr lang="de-DE"/>
          </a:p>
        </p:txBody>
      </p:sp>
      <p:sp>
        <p:nvSpPr>
          <p:cNvPr id="423" name="Freihandform: Form 422">
            <a:extLst>
              <a:ext uri="{FF2B5EF4-FFF2-40B4-BE49-F238E27FC236}">
                <a16:creationId xmlns:a16="http://schemas.microsoft.com/office/drawing/2014/main" id="{7CB387CA-4891-4983-8E5A-E36398952292}"/>
              </a:ext>
            </a:extLst>
          </p:cNvPr>
          <p:cNvSpPr/>
          <p:nvPr userDrawn="1"/>
        </p:nvSpPr>
        <p:spPr>
          <a:xfrm>
            <a:off x="8028570" y="6633106"/>
            <a:ext cx="165465" cy="179448"/>
          </a:xfrm>
          <a:custGeom>
            <a:avLst/>
            <a:gdLst>
              <a:gd name="connsiteX0" fmla="*/ 75741 w 165465"/>
              <a:gd name="connsiteY0" fmla="*/ 179448 h 179448"/>
              <a:gd name="connsiteX1" fmla="*/ 0 w 165465"/>
              <a:gd name="connsiteY1" fmla="*/ 179448 h 179448"/>
              <a:gd name="connsiteX2" fmla="*/ 88559 w 165465"/>
              <a:gd name="connsiteY2" fmla="*/ 90889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424" name="Freihandform: Form 423">
            <a:extLst>
              <a:ext uri="{FF2B5EF4-FFF2-40B4-BE49-F238E27FC236}">
                <a16:creationId xmlns:a16="http://schemas.microsoft.com/office/drawing/2014/main" id="{12CEA374-A1E4-4EDF-A88E-97BA00CE075E}"/>
              </a:ext>
            </a:extLst>
          </p:cNvPr>
          <p:cNvSpPr/>
          <p:nvPr userDrawn="1"/>
        </p:nvSpPr>
        <p:spPr>
          <a:xfrm>
            <a:off x="8375813" y="2011732"/>
            <a:ext cx="180613" cy="196926"/>
          </a:xfrm>
          <a:custGeom>
            <a:avLst/>
            <a:gdLst>
              <a:gd name="connsiteX0" fmla="*/ 82733 w 180613"/>
              <a:gd name="connsiteY0" fmla="*/ 196927 h 196926"/>
              <a:gd name="connsiteX1" fmla="*/ 0 w 180613"/>
              <a:gd name="connsiteY1" fmla="*/ 196927 h 196926"/>
              <a:gd name="connsiteX2" fmla="*/ 96715 w 180613"/>
              <a:gd name="connsiteY2" fmla="*/ 99046 h 196926"/>
              <a:gd name="connsiteX3" fmla="*/ 0 w 180613"/>
              <a:gd name="connsiteY3" fmla="*/ 0 h 196926"/>
              <a:gd name="connsiteX4" fmla="*/ 83898 w 180613"/>
              <a:gd name="connsiteY4" fmla="*/ 0 h 196926"/>
              <a:gd name="connsiteX5" fmla="*/ 180613 w 180613"/>
              <a:gd name="connsiteY5" fmla="*/ 96716 h 196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6926">
                <a:moveTo>
                  <a:pt x="82733" y="196927"/>
                </a:moveTo>
                <a:lnTo>
                  <a:pt x="0" y="196927"/>
                </a:lnTo>
                <a:lnTo>
                  <a:pt x="96715" y="99046"/>
                </a:lnTo>
                <a:lnTo>
                  <a:pt x="0" y="0"/>
                </a:lnTo>
                <a:lnTo>
                  <a:pt x="83898" y="0"/>
                </a:lnTo>
                <a:lnTo>
                  <a:pt x="180613" y="96716"/>
                </a:lnTo>
                <a:close/>
              </a:path>
            </a:pathLst>
          </a:custGeom>
          <a:solidFill>
            <a:srgbClr val="EEF2F5"/>
          </a:solidFill>
          <a:ln w="11643" cap="flat">
            <a:noFill/>
            <a:prstDash val="solid"/>
            <a:miter/>
          </a:ln>
        </p:spPr>
        <p:txBody>
          <a:bodyPr rtlCol="0" anchor="ctr"/>
          <a:lstStyle/>
          <a:p>
            <a:endParaRPr lang="de-DE"/>
          </a:p>
        </p:txBody>
      </p:sp>
      <p:sp>
        <p:nvSpPr>
          <p:cNvPr id="425" name="Freihandform: Form 424">
            <a:extLst>
              <a:ext uri="{FF2B5EF4-FFF2-40B4-BE49-F238E27FC236}">
                <a16:creationId xmlns:a16="http://schemas.microsoft.com/office/drawing/2014/main" id="{56C3244B-93A0-4C8E-AF15-1B7B4B778A1C}"/>
              </a:ext>
            </a:extLst>
          </p:cNvPr>
          <p:cNvSpPr/>
          <p:nvPr userDrawn="1"/>
        </p:nvSpPr>
        <p:spPr>
          <a:xfrm>
            <a:off x="8375813" y="2367133"/>
            <a:ext cx="180613" cy="195761"/>
          </a:xfrm>
          <a:custGeom>
            <a:avLst/>
            <a:gdLst>
              <a:gd name="connsiteX0" fmla="*/ 82733 w 180613"/>
              <a:gd name="connsiteY0" fmla="*/ 195762 h 195761"/>
              <a:gd name="connsiteX1" fmla="*/ 0 w 180613"/>
              <a:gd name="connsiteY1" fmla="*/ 195762 h 195761"/>
              <a:gd name="connsiteX2" fmla="*/ 96715 w 180613"/>
              <a:gd name="connsiteY2" fmla="*/ 99046 h 195761"/>
              <a:gd name="connsiteX3" fmla="*/ 0 w 180613"/>
              <a:gd name="connsiteY3" fmla="*/ 0 h 195761"/>
              <a:gd name="connsiteX4" fmla="*/ 83898 w 180613"/>
              <a:gd name="connsiteY4" fmla="*/ 0 h 195761"/>
              <a:gd name="connsiteX5" fmla="*/ 180613 w 180613"/>
              <a:gd name="connsiteY5" fmla="*/ 95550 h 19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5761">
                <a:moveTo>
                  <a:pt x="82733" y="195762"/>
                </a:moveTo>
                <a:lnTo>
                  <a:pt x="0" y="195762"/>
                </a:lnTo>
                <a:lnTo>
                  <a:pt x="96715" y="99046"/>
                </a:lnTo>
                <a:lnTo>
                  <a:pt x="0" y="0"/>
                </a:lnTo>
                <a:lnTo>
                  <a:pt x="83898" y="0"/>
                </a:lnTo>
                <a:lnTo>
                  <a:pt x="180613" y="95550"/>
                </a:lnTo>
                <a:close/>
              </a:path>
            </a:pathLst>
          </a:custGeom>
          <a:solidFill>
            <a:srgbClr val="EEF2F5"/>
          </a:solidFill>
          <a:ln w="11643" cap="flat">
            <a:noFill/>
            <a:prstDash val="solid"/>
            <a:miter/>
          </a:ln>
        </p:spPr>
        <p:txBody>
          <a:bodyPr rtlCol="0" anchor="ctr"/>
          <a:lstStyle/>
          <a:p>
            <a:endParaRPr lang="de-DE"/>
          </a:p>
        </p:txBody>
      </p:sp>
      <p:sp>
        <p:nvSpPr>
          <p:cNvPr id="426" name="Freihandform: Form 425">
            <a:extLst>
              <a:ext uri="{FF2B5EF4-FFF2-40B4-BE49-F238E27FC236}">
                <a16:creationId xmlns:a16="http://schemas.microsoft.com/office/drawing/2014/main" id="{5EF2422E-3B65-405D-A92A-FC38539348AE}"/>
              </a:ext>
            </a:extLst>
          </p:cNvPr>
          <p:cNvSpPr/>
          <p:nvPr userDrawn="1"/>
        </p:nvSpPr>
        <p:spPr>
          <a:xfrm>
            <a:off x="8375813" y="2721368"/>
            <a:ext cx="180613" cy="196926"/>
          </a:xfrm>
          <a:custGeom>
            <a:avLst/>
            <a:gdLst>
              <a:gd name="connsiteX0" fmla="*/ 82733 w 180613"/>
              <a:gd name="connsiteY0" fmla="*/ 196927 h 196926"/>
              <a:gd name="connsiteX1" fmla="*/ 0 w 180613"/>
              <a:gd name="connsiteY1" fmla="*/ 196927 h 196926"/>
              <a:gd name="connsiteX2" fmla="*/ 96715 w 180613"/>
              <a:gd name="connsiteY2" fmla="*/ 99046 h 196926"/>
              <a:gd name="connsiteX3" fmla="*/ 0 w 180613"/>
              <a:gd name="connsiteY3" fmla="*/ 0 h 196926"/>
              <a:gd name="connsiteX4" fmla="*/ 83898 w 180613"/>
              <a:gd name="connsiteY4" fmla="*/ 0 h 196926"/>
              <a:gd name="connsiteX5" fmla="*/ 180613 w 180613"/>
              <a:gd name="connsiteY5" fmla="*/ 96716 h 196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6926">
                <a:moveTo>
                  <a:pt x="82733" y="196927"/>
                </a:moveTo>
                <a:lnTo>
                  <a:pt x="0" y="196927"/>
                </a:lnTo>
                <a:lnTo>
                  <a:pt x="96715" y="99046"/>
                </a:lnTo>
                <a:lnTo>
                  <a:pt x="0" y="0"/>
                </a:lnTo>
                <a:lnTo>
                  <a:pt x="83898" y="0"/>
                </a:lnTo>
                <a:lnTo>
                  <a:pt x="180613" y="96716"/>
                </a:lnTo>
                <a:close/>
              </a:path>
            </a:pathLst>
          </a:custGeom>
          <a:solidFill>
            <a:srgbClr val="EEF2F5"/>
          </a:solidFill>
          <a:ln w="11643" cap="flat">
            <a:noFill/>
            <a:prstDash val="solid"/>
            <a:miter/>
          </a:ln>
        </p:spPr>
        <p:txBody>
          <a:bodyPr rtlCol="0" anchor="ctr"/>
          <a:lstStyle/>
          <a:p>
            <a:endParaRPr lang="de-DE"/>
          </a:p>
        </p:txBody>
      </p:sp>
      <p:sp>
        <p:nvSpPr>
          <p:cNvPr id="427" name="Freihandform: Form 426">
            <a:extLst>
              <a:ext uri="{FF2B5EF4-FFF2-40B4-BE49-F238E27FC236}">
                <a16:creationId xmlns:a16="http://schemas.microsoft.com/office/drawing/2014/main" id="{7C3432CB-7D40-43FB-A958-E3C261C7469F}"/>
              </a:ext>
            </a:extLst>
          </p:cNvPr>
          <p:cNvSpPr/>
          <p:nvPr userDrawn="1"/>
        </p:nvSpPr>
        <p:spPr>
          <a:xfrm>
            <a:off x="8375813" y="3076769"/>
            <a:ext cx="180613" cy="195761"/>
          </a:xfrm>
          <a:custGeom>
            <a:avLst/>
            <a:gdLst>
              <a:gd name="connsiteX0" fmla="*/ 82733 w 180613"/>
              <a:gd name="connsiteY0" fmla="*/ 195762 h 195761"/>
              <a:gd name="connsiteX1" fmla="*/ 0 w 180613"/>
              <a:gd name="connsiteY1" fmla="*/ 195762 h 195761"/>
              <a:gd name="connsiteX2" fmla="*/ 96715 w 180613"/>
              <a:gd name="connsiteY2" fmla="*/ 99046 h 195761"/>
              <a:gd name="connsiteX3" fmla="*/ 0 w 180613"/>
              <a:gd name="connsiteY3" fmla="*/ 0 h 195761"/>
              <a:gd name="connsiteX4" fmla="*/ 83898 w 180613"/>
              <a:gd name="connsiteY4" fmla="*/ 0 h 195761"/>
              <a:gd name="connsiteX5" fmla="*/ 180613 w 180613"/>
              <a:gd name="connsiteY5" fmla="*/ 95550 h 19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5761">
                <a:moveTo>
                  <a:pt x="82733" y="195762"/>
                </a:moveTo>
                <a:lnTo>
                  <a:pt x="0" y="195762"/>
                </a:lnTo>
                <a:lnTo>
                  <a:pt x="96715" y="99046"/>
                </a:lnTo>
                <a:lnTo>
                  <a:pt x="0" y="0"/>
                </a:lnTo>
                <a:lnTo>
                  <a:pt x="83898" y="0"/>
                </a:lnTo>
                <a:lnTo>
                  <a:pt x="180613" y="95550"/>
                </a:lnTo>
                <a:close/>
              </a:path>
            </a:pathLst>
          </a:custGeom>
          <a:solidFill>
            <a:srgbClr val="EEF2F5"/>
          </a:solidFill>
          <a:ln w="11643" cap="flat">
            <a:noFill/>
            <a:prstDash val="solid"/>
            <a:miter/>
          </a:ln>
        </p:spPr>
        <p:txBody>
          <a:bodyPr rtlCol="0" anchor="ctr"/>
          <a:lstStyle/>
          <a:p>
            <a:endParaRPr lang="de-DE"/>
          </a:p>
        </p:txBody>
      </p:sp>
      <p:sp>
        <p:nvSpPr>
          <p:cNvPr id="428" name="Freihandform: Form 427">
            <a:extLst>
              <a:ext uri="{FF2B5EF4-FFF2-40B4-BE49-F238E27FC236}">
                <a16:creationId xmlns:a16="http://schemas.microsoft.com/office/drawing/2014/main" id="{95CDAEC0-EF92-40D9-B669-FB01CC74ECF7}"/>
              </a:ext>
            </a:extLst>
          </p:cNvPr>
          <p:cNvSpPr/>
          <p:nvPr userDrawn="1"/>
        </p:nvSpPr>
        <p:spPr>
          <a:xfrm>
            <a:off x="8375813" y="3431004"/>
            <a:ext cx="180613" cy="196926"/>
          </a:xfrm>
          <a:custGeom>
            <a:avLst/>
            <a:gdLst>
              <a:gd name="connsiteX0" fmla="*/ 82733 w 180613"/>
              <a:gd name="connsiteY0" fmla="*/ 196927 h 196926"/>
              <a:gd name="connsiteX1" fmla="*/ 0 w 180613"/>
              <a:gd name="connsiteY1" fmla="*/ 196927 h 196926"/>
              <a:gd name="connsiteX2" fmla="*/ 96715 w 180613"/>
              <a:gd name="connsiteY2" fmla="*/ 99046 h 196926"/>
              <a:gd name="connsiteX3" fmla="*/ 0 w 180613"/>
              <a:gd name="connsiteY3" fmla="*/ 0 h 196926"/>
              <a:gd name="connsiteX4" fmla="*/ 83898 w 180613"/>
              <a:gd name="connsiteY4" fmla="*/ 0 h 196926"/>
              <a:gd name="connsiteX5" fmla="*/ 180613 w 180613"/>
              <a:gd name="connsiteY5" fmla="*/ 96716 h 196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6926">
                <a:moveTo>
                  <a:pt x="82733" y="196927"/>
                </a:moveTo>
                <a:lnTo>
                  <a:pt x="0" y="196927"/>
                </a:lnTo>
                <a:lnTo>
                  <a:pt x="96715" y="99046"/>
                </a:lnTo>
                <a:lnTo>
                  <a:pt x="0" y="0"/>
                </a:lnTo>
                <a:lnTo>
                  <a:pt x="83898" y="0"/>
                </a:lnTo>
                <a:lnTo>
                  <a:pt x="180613" y="96716"/>
                </a:lnTo>
                <a:close/>
              </a:path>
            </a:pathLst>
          </a:custGeom>
          <a:solidFill>
            <a:srgbClr val="EEF2F5"/>
          </a:solidFill>
          <a:ln w="11643" cap="flat">
            <a:noFill/>
            <a:prstDash val="solid"/>
            <a:miter/>
          </a:ln>
        </p:spPr>
        <p:txBody>
          <a:bodyPr rtlCol="0" anchor="ctr"/>
          <a:lstStyle/>
          <a:p>
            <a:endParaRPr lang="de-DE"/>
          </a:p>
        </p:txBody>
      </p:sp>
      <p:sp>
        <p:nvSpPr>
          <p:cNvPr id="429" name="Freihandform: Form 428">
            <a:extLst>
              <a:ext uri="{FF2B5EF4-FFF2-40B4-BE49-F238E27FC236}">
                <a16:creationId xmlns:a16="http://schemas.microsoft.com/office/drawing/2014/main" id="{B918A736-A720-49F8-86AD-DB321FB14B75}"/>
              </a:ext>
            </a:extLst>
          </p:cNvPr>
          <p:cNvSpPr/>
          <p:nvPr userDrawn="1"/>
        </p:nvSpPr>
        <p:spPr>
          <a:xfrm>
            <a:off x="8375813" y="3786405"/>
            <a:ext cx="180613" cy="195761"/>
          </a:xfrm>
          <a:custGeom>
            <a:avLst/>
            <a:gdLst>
              <a:gd name="connsiteX0" fmla="*/ 82733 w 180613"/>
              <a:gd name="connsiteY0" fmla="*/ 195762 h 195761"/>
              <a:gd name="connsiteX1" fmla="*/ 0 w 180613"/>
              <a:gd name="connsiteY1" fmla="*/ 195762 h 195761"/>
              <a:gd name="connsiteX2" fmla="*/ 96715 w 180613"/>
              <a:gd name="connsiteY2" fmla="*/ 99046 h 195761"/>
              <a:gd name="connsiteX3" fmla="*/ 0 w 180613"/>
              <a:gd name="connsiteY3" fmla="*/ 0 h 195761"/>
              <a:gd name="connsiteX4" fmla="*/ 83898 w 180613"/>
              <a:gd name="connsiteY4" fmla="*/ 0 h 195761"/>
              <a:gd name="connsiteX5" fmla="*/ 180613 w 180613"/>
              <a:gd name="connsiteY5" fmla="*/ 96716 h 19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5761">
                <a:moveTo>
                  <a:pt x="82733" y="195762"/>
                </a:moveTo>
                <a:lnTo>
                  <a:pt x="0" y="195762"/>
                </a:lnTo>
                <a:lnTo>
                  <a:pt x="96715" y="99046"/>
                </a:lnTo>
                <a:lnTo>
                  <a:pt x="0" y="0"/>
                </a:lnTo>
                <a:lnTo>
                  <a:pt x="83898" y="0"/>
                </a:lnTo>
                <a:lnTo>
                  <a:pt x="180613" y="96716"/>
                </a:lnTo>
                <a:close/>
              </a:path>
            </a:pathLst>
          </a:custGeom>
          <a:solidFill>
            <a:srgbClr val="EEF2F5"/>
          </a:solidFill>
          <a:ln w="11643" cap="flat">
            <a:noFill/>
            <a:prstDash val="solid"/>
            <a:miter/>
          </a:ln>
        </p:spPr>
        <p:txBody>
          <a:bodyPr rtlCol="0" anchor="ctr"/>
          <a:lstStyle/>
          <a:p>
            <a:endParaRPr lang="de-DE"/>
          </a:p>
        </p:txBody>
      </p:sp>
      <p:sp>
        <p:nvSpPr>
          <p:cNvPr id="430" name="Freihandform: Form 429">
            <a:extLst>
              <a:ext uri="{FF2B5EF4-FFF2-40B4-BE49-F238E27FC236}">
                <a16:creationId xmlns:a16="http://schemas.microsoft.com/office/drawing/2014/main" id="{CC0A0D46-E810-4C74-8A3D-EF4F2E9D55A7}"/>
              </a:ext>
            </a:extLst>
          </p:cNvPr>
          <p:cNvSpPr/>
          <p:nvPr userDrawn="1"/>
        </p:nvSpPr>
        <p:spPr>
          <a:xfrm>
            <a:off x="8375813" y="4140640"/>
            <a:ext cx="180613" cy="196926"/>
          </a:xfrm>
          <a:custGeom>
            <a:avLst/>
            <a:gdLst>
              <a:gd name="connsiteX0" fmla="*/ 82733 w 180613"/>
              <a:gd name="connsiteY0" fmla="*/ 196927 h 196926"/>
              <a:gd name="connsiteX1" fmla="*/ 0 w 180613"/>
              <a:gd name="connsiteY1" fmla="*/ 196927 h 196926"/>
              <a:gd name="connsiteX2" fmla="*/ 96715 w 180613"/>
              <a:gd name="connsiteY2" fmla="*/ 99046 h 196926"/>
              <a:gd name="connsiteX3" fmla="*/ 0 w 180613"/>
              <a:gd name="connsiteY3" fmla="*/ 0 h 196926"/>
              <a:gd name="connsiteX4" fmla="*/ 83898 w 180613"/>
              <a:gd name="connsiteY4" fmla="*/ 0 h 196926"/>
              <a:gd name="connsiteX5" fmla="*/ 180613 w 180613"/>
              <a:gd name="connsiteY5" fmla="*/ 96716 h 196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6926">
                <a:moveTo>
                  <a:pt x="82733" y="196927"/>
                </a:moveTo>
                <a:lnTo>
                  <a:pt x="0" y="196927"/>
                </a:lnTo>
                <a:lnTo>
                  <a:pt x="96715" y="99046"/>
                </a:lnTo>
                <a:lnTo>
                  <a:pt x="0" y="0"/>
                </a:lnTo>
                <a:lnTo>
                  <a:pt x="83898" y="0"/>
                </a:lnTo>
                <a:lnTo>
                  <a:pt x="180613" y="96716"/>
                </a:lnTo>
                <a:close/>
              </a:path>
            </a:pathLst>
          </a:custGeom>
          <a:solidFill>
            <a:srgbClr val="EEF2F5"/>
          </a:solidFill>
          <a:ln w="11643" cap="flat">
            <a:noFill/>
            <a:prstDash val="solid"/>
            <a:miter/>
          </a:ln>
        </p:spPr>
        <p:txBody>
          <a:bodyPr rtlCol="0" anchor="ctr"/>
          <a:lstStyle/>
          <a:p>
            <a:endParaRPr lang="de-DE"/>
          </a:p>
        </p:txBody>
      </p:sp>
      <p:sp>
        <p:nvSpPr>
          <p:cNvPr id="431" name="Freihandform: Form 430">
            <a:extLst>
              <a:ext uri="{FF2B5EF4-FFF2-40B4-BE49-F238E27FC236}">
                <a16:creationId xmlns:a16="http://schemas.microsoft.com/office/drawing/2014/main" id="{34C0EB52-123E-44D9-9EC9-7D7BEF0ABD80}"/>
              </a:ext>
            </a:extLst>
          </p:cNvPr>
          <p:cNvSpPr/>
          <p:nvPr userDrawn="1"/>
        </p:nvSpPr>
        <p:spPr>
          <a:xfrm>
            <a:off x="8375813" y="4496041"/>
            <a:ext cx="180613" cy="195761"/>
          </a:xfrm>
          <a:custGeom>
            <a:avLst/>
            <a:gdLst>
              <a:gd name="connsiteX0" fmla="*/ 82733 w 180613"/>
              <a:gd name="connsiteY0" fmla="*/ 195762 h 195761"/>
              <a:gd name="connsiteX1" fmla="*/ 0 w 180613"/>
              <a:gd name="connsiteY1" fmla="*/ 195762 h 195761"/>
              <a:gd name="connsiteX2" fmla="*/ 96715 w 180613"/>
              <a:gd name="connsiteY2" fmla="*/ 99046 h 195761"/>
              <a:gd name="connsiteX3" fmla="*/ 0 w 180613"/>
              <a:gd name="connsiteY3" fmla="*/ 0 h 195761"/>
              <a:gd name="connsiteX4" fmla="*/ 83898 w 180613"/>
              <a:gd name="connsiteY4" fmla="*/ 0 h 195761"/>
              <a:gd name="connsiteX5" fmla="*/ 180613 w 180613"/>
              <a:gd name="connsiteY5" fmla="*/ 96716 h 19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5761">
                <a:moveTo>
                  <a:pt x="82733" y="195762"/>
                </a:moveTo>
                <a:lnTo>
                  <a:pt x="0" y="195762"/>
                </a:lnTo>
                <a:lnTo>
                  <a:pt x="96715" y="99046"/>
                </a:lnTo>
                <a:lnTo>
                  <a:pt x="0" y="0"/>
                </a:lnTo>
                <a:lnTo>
                  <a:pt x="83898" y="0"/>
                </a:lnTo>
                <a:lnTo>
                  <a:pt x="180613" y="96716"/>
                </a:lnTo>
                <a:close/>
              </a:path>
            </a:pathLst>
          </a:custGeom>
          <a:solidFill>
            <a:srgbClr val="EEF2F5"/>
          </a:solidFill>
          <a:ln w="11643" cap="flat">
            <a:noFill/>
            <a:prstDash val="solid"/>
            <a:miter/>
          </a:ln>
        </p:spPr>
        <p:txBody>
          <a:bodyPr rtlCol="0" anchor="ctr"/>
          <a:lstStyle/>
          <a:p>
            <a:endParaRPr lang="de-DE"/>
          </a:p>
        </p:txBody>
      </p:sp>
      <p:sp>
        <p:nvSpPr>
          <p:cNvPr id="432" name="Freihandform: Form 431">
            <a:extLst>
              <a:ext uri="{FF2B5EF4-FFF2-40B4-BE49-F238E27FC236}">
                <a16:creationId xmlns:a16="http://schemas.microsoft.com/office/drawing/2014/main" id="{5219E8F1-626A-4690-864E-3909F2395641}"/>
              </a:ext>
            </a:extLst>
          </p:cNvPr>
          <p:cNvSpPr/>
          <p:nvPr userDrawn="1"/>
        </p:nvSpPr>
        <p:spPr>
          <a:xfrm>
            <a:off x="8375813" y="4850276"/>
            <a:ext cx="180613" cy="196927"/>
          </a:xfrm>
          <a:custGeom>
            <a:avLst/>
            <a:gdLst>
              <a:gd name="connsiteX0" fmla="*/ 82733 w 180613"/>
              <a:gd name="connsiteY0" fmla="*/ 196927 h 196927"/>
              <a:gd name="connsiteX1" fmla="*/ 0 w 180613"/>
              <a:gd name="connsiteY1" fmla="*/ 196927 h 196927"/>
              <a:gd name="connsiteX2" fmla="*/ 96715 w 180613"/>
              <a:gd name="connsiteY2" fmla="*/ 99046 h 196927"/>
              <a:gd name="connsiteX3" fmla="*/ 0 w 180613"/>
              <a:gd name="connsiteY3" fmla="*/ 0 h 196927"/>
              <a:gd name="connsiteX4" fmla="*/ 83898 w 180613"/>
              <a:gd name="connsiteY4" fmla="*/ 0 h 196927"/>
              <a:gd name="connsiteX5" fmla="*/ 180613 w 180613"/>
              <a:gd name="connsiteY5" fmla="*/ 96716 h 196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6927">
                <a:moveTo>
                  <a:pt x="82733" y="196927"/>
                </a:moveTo>
                <a:lnTo>
                  <a:pt x="0" y="196927"/>
                </a:lnTo>
                <a:lnTo>
                  <a:pt x="96715" y="99046"/>
                </a:lnTo>
                <a:lnTo>
                  <a:pt x="0" y="0"/>
                </a:lnTo>
                <a:lnTo>
                  <a:pt x="83898" y="0"/>
                </a:lnTo>
                <a:lnTo>
                  <a:pt x="180613" y="96716"/>
                </a:lnTo>
                <a:close/>
              </a:path>
            </a:pathLst>
          </a:custGeom>
          <a:solidFill>
            <a:srgbClr val="EEF2F5"/>
          </a:solidFill>
          <a:ln w="11643" cap="flat">
            <a:noFill/>
            <a:prstDash val="solid"/>
            <a:miter/>
          </a:ln>
        </p:spPr>
        <p:txBody>
          <a:bodyPr rtlCol="0" anchor="ctr"/>
          <a:lstStyle/>
          <a:p>
            <a:endParaRPr lang="de-DE"/>
          </a:p>
        </p:txBody>
      </p:sp>
      <p:sp>
        <p:nvSpPr>
          <p:cNvPr id="433" name="Freihandform: Form 432">
            <a:extLst>
              <a:ext uri="{FF2B5EF4-FFF2-40B4-BE49-F238E27FC236}">
                <a16:creationId xmlns:a16="http://schemas.microsoft.com/office/drawing/2014/main" id="{D51309D8-1401-412C-AF26-DDF972F4A03F}"/>
              </a:ext>
            </a:extLst>
          </p:cNvPr>
          <p:cNvSpPr/>
          <p:nvPr userDrawn="1"/>
        </p:nvSpPr>
        <p:spPr>
          <a:xfrm>
            <a:off x="8375813" y="5205677"/>
            <a:ext cx="180613" cy="195761"/>
          </a:xfrm>
          <a:custGeom>
            <a:avLst/>
            <a:gdLst>
              <a:gd name="connsiteX0" fmla="*/ 82733 w 180613"/>
              <a:gd name="connsiteY0" fmla="*/ 195762 h 195761"/>
              <a:gd name="connsiteX1" fmla="*/ 0 w 180613"/>
              <a:gd name="connsiteY1" fmla="*/ 195762 h 195761"/>
              <a:gd name="connsiteX2" fmla="*/ 96715 w 180613"/>
              <a:gd name="connsiteY2" fmla="*/ 99046 h 195761"/>
              <a:gd name="connsiteX3" fmla="*/ 0 w 180613"/>
              <a:gd name="connsiteY3" fmla="*/ 0 h 195761"/>
              <a:gd name="connsiteX4" fmla="*/ 83898 w 180613"/>
              <a:gd name="connsiteY4" fmla="*/ 0 h 195761"/>
              <a:gd name="connsiteX5" fmla="*/ 180613 w 180613"/>
              <a:gd name="connsiteY5" fmla="*/ 96715 h 19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5761">
                <a:moveTo>
                  <a:pt x="82733" y="195762"/>
                </a:moveTo>
                <a:lnTo>
                  <a:pt x="0" y="195762"/>
                </a:lnTo>
                <a:lnTo>
                  <a:pt x="96715" y="99046"/>
                </a:lnTo>
                <a:lnTo>
                  <a:pt x="0" y="0"/>
                </a:lnTo>
                <a:lnTo>
                  <a:pt x="83898" y="0"/>
                </a:lnTo>
                <a:lnTo>
                  <a:pt x="180613" y="96715"/>
                </a:lnTo>
                <a:close/>
              </a:path>
            </a:pathLst>
          </a:custGeom>
          <a:solidFill>
            <a:srgbClr val="EEF2F5"/>
          </a:solidFill>
          <a:ln w="11643" cap="flat">
            <a:noFill/>
            <a:prstDash val="solid"/>
            <a:miter/>
          </a:ln>
        </p:spPr>
        <p:txBody>
          <a:bodyPr rtlCol="0" anchor="ctr"/>
          <a:lstStyle/>
          <a:p>
            <a:endParaRPr lang="de-DE"/>
          </a:p>
        </p:txBody>
      </p:sp>
      <p:sp>
        <p:nvSpPr>
          <p:cNvPr id="434" name="Freihandform: Form 433">
            <a:extLst>
              <a:ext uri="{FF2B5EF4-FFF2-40B4-BE49-F238E27FC236}">
                <a16:creationId xmlns:a16="http://schemas.microsoft.com/office/drawing/2014/main" id="{18C115C5-2AC9-4E5E-BDA3-03481CD7237E}"/>
              </a:ext>
            </a:extLst>
          </p:cNvPr>
          <p:cNvSpPr/>
          <p:nvPr userDrawn="1"/>
        </p:nvSpPr>
        <p:spPr>
          <a:xfrm>
            <a:off x="8375813" y="5559912"/>
            <a:ext cx="180613" cy="196926"/>
          </a:xfrm>
          <a:custGeom>
            <a:avLst/>
            <a:gdLst>
              <a:gd name="connsiteX0" fmla="*/ 82733 w 180613"/>
              <a:gd name="connsiteY0" fmla="*/ 196927 h 196926"/>
              <a:gd name="connsiteX1" fmla="*/ 0 w 180613"/>
              <a:gd name="connsiteY1" fmla="*/ 196927 h 196926"/>
              <a:gd name="connsiteX2" fmla="*/ 96715 w 180613"/>
              <a:gd name="connsiteY2" fmla="*/ 99046 h 196926"/>
              <a:gd name="connsiteX3" fmla="*/ 0 w 180613"/>
              <a:gd name="connsiteY3" fmla="*/ 0 h 196926"/>
              <a:gd name="connsiteX4" fmla="*/ 83898 w 180613"/>
              <a:gd name="connsiteY4" fmla="*/ 0 h 196926"/>
              <a:gd name="connsiteX5" fmla="*/ 180613 w 180613"/>
              <a:gd name="connsiteY5" fmla="*/ 96715 h 196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6926">
                <a:moveTo>
                  <a:pt x="82733" y="196927"/>
                </a:moveTo>
                <a:lnTo>
                  <a:pt x="0" y="196927"/>
                </a:lnTo>
                <a:lnTo>
                  <a:pt x="96715" y="99046"/>
                </a:lnTo>
                <a:lnTo>
                  <a:pt x="0" y="0"/>
                </a:lnTo>
                <a:lnTo>
                  <a:pt x="83898" y="0"/>
                </a:lnTo>
                <a:lnTo>
                  <a:pt x="180613" y="96715"/>
                </a:lnTo>
                <a:close/>
              </a:path>
            </a:pathLst>
          </a:custGeom>
          <a:solidFill>
            <a:srgbClr val="EEF2F5"/>
          </a:solidFill>
          <a:ln w="11643" cap="flat">
            <a:noFill/>
            <a:prstDash val="solid"/>
            <a:miter/>
          </a:ln>
        </p:spPr>
        <p:txBody>
          <a:bodyPr rtlCol="0" anchor="ctr"/>
          <a:lstStyle/>
          <a:p>
            <a:endParaRPr lang="de-DE"/>
          </a:p>
        </p:txBody>
      </p:sp>
      <p:sp>
        <p:nvSpPr>
          <p:cNvPr id="435" name="Freihandform: Form 434">
            <a:extLst>
              <a:ext uri="{FF2B5EF4-FFF2-40B4-BE49-F238E27FC236}">
                <a16:creationId xmlns:a16="http://schemas.microsoft.com/office/drawing/2014/main" id="{6AF44250-C7AA-4392-96AF-9FBE14A0A151}"/>
              </a:ext>
            </a:extLst>
          </p:cNvPr>
          <p:cNvSpPr/>
          <p:nvPr userDrawn="1"/>
        </p:nvSpPr>
        <p:spPr>
          <a:xfrm>
            <a:off x="8375813" y="5915313"/>
            <a:ext cx="180613" cy="195761"/>
          </a:xfrm>
          <a:custGeom>
            <a:avLst/>
            <a:gdLst>
              <a:gd name="connsiteX0" fmla="*/ 82733 w 180613"/>
              <a:gd name="connsiteY0" fmla="*/ 195762 h 195761"/>
              <a:gd name="connsiteX1" fmla="*/ 0 w 180613"/>
              <a:gd name="connsiteY1" fmla="*/ 195762 h 195761"/>
              <a:gd name="connsiteX2" fmla="*/ 96715 w 180613"/>
              <a:gd name="connsiteY2" fmla="*/ 99046 h 195761"/>
              <a:gd name="connsiteX3" fmla="*/ 0 w 180613"/>
              <a:gd name="connsiteY3" fmla="*/ 0 h 195761"/>
              <a:gd name="connsiteX4" fmla="*/ 83898 w 180613"/>
              <a:gd name="connsiteY4" fmla="*/ 0 h 195761"/>
              <a:gd name="connsiteX5" fmla="*/ 180613 w 180613"/>
              <a:gd name="connsiteY5" fmla="*/ 96715 h 19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5761">
                <a:moveTo>
                  <a:pt x="82733" y="195762"/>
                </a:moveTo>
                <a:lnTo>
                  <a:pt x="0" y="195762"/>
                </a:lnTo>
                <a:lnTo>
                  <a:pt x="96715" y="99046"/>
                </a:lnTo>
                <a:lnTo>
                  <a:pt x="0" y="0"/>
                </a:lnTo>
                <a:lnTo>
                  <a:pt x="83898" y="0"/>
                </a:lnTo>
                <a:lnTo>
                  <a:pt x="180613" y="96715"/>
                </a:lnTo>
                <a:close/>
              </a:path>
            </a:pathLst>
          </a:custGeom>
          <a:solidFill>
            <a:srgbClr val="EEF2F5"/>
          </a:solidFill>
          <a:ln w="11643" cap="flat">
            <a:noFill/>
            <a:prstDash val="solid"/>
            <a:miter/>
          </a:ln>
        </p:spPr>
        <p:txBody>
          <a:bodyPr rtlCol="0" anchor="ctr"/>
          <a:lstStyle/>
          <a:p>
            <a:endParaRPr lang="de-DE"/>
          </a:p>
        </p:txBody>
      </p:sp>
      <p:sp>
        <p:nvSpPr>
          <p:cNvPr id="436" name="Freihandform: Form 435">
            <a:extLst>
              <a:ext uri="{FF2B5EF4-FFF2-40B4-BE49-F238E27FC236}">
                <a16:creationId xmlns:a16="http://schemas.microsoft.com/office/drawing/2014/main" id="{FC7422D5-7BFD-49F1-8CF8-41977E51E586}"/>
              </a:ext>
            </a:extLst>
          </p:cNvPr>
          <p:cNvSpPr/>
          <p:nvPr userDrawn="1"/>
        </p:nvSpPr>
        <p:spPr>
          <a:xfrm>
            <a:off x="8375813" y="6270714"/>
            <a:ext cx="180613" cy="195761"/>
          </a:xfrm>
          <a:custGeom>
            <a:avLst/>
            <a:gdLst>
              <a:gd name="connsiteX0" fmla="*/ 82733 w 180613"/>
              <a:gd name="connsiteY0" fmla="*/ 195762 h 195761"/>
              <a:gd name="connsiteX1" fmla="*/ 0 w 180613"/>
              <a:gd name="connsiteY1" fmla="*/ 195762 h 195761"/>
              <a:gd name="connsiteX2" fmla="*/ 96715 w 180613"/>
              <a:gd name="connsiteY2" fmla="*/ 97881 h 195761"/>
              <a:gd name="connsiteX3" fmla="*/ 0 w 180613"/>
              <a:gd name="connsiteY3" fmla="*/ 0 h 195761"/>
              <a:gd name="connsiteX4" fmla="*/ 83898 w 180613"/>
              <a:gd name="connsiteY4" fmla="*/ 0 h 195761"/>
              <a:gd name="connsiteX5" fmla="*/ 180613 w 180613"/>
              <a:gd name="connsiteY5" fmla="*/ 95550 h 19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5761">
                <a:moveTo>
                  <a:pt x="82733" y="195762"/>
                </a:moveTo>
                <a:lnTo>
                  <a:pt x="0" y="195762"/>
                </a:lnTo>
                <a:lnTo>
                  <a:pt x="96715" y="97881"/>
                </a:lnTo>
                <a:lnTo>
                  <a:pt x="0" y="0"/>
                </a:lnTo>
                <a:lnTo>
                  <a:pt x="83898" y="0"/>
                </a:lnTo>
                <a:lnTo>
                  <a:pt x="180613" y="95550"/>
                </a:lnTo>
                <a:close/>
              </a:path>
            </a:pathLst>
          </a:custGeom>
          <a:solidFill>
            <a:srgbClr val="EEF2F5"/>
          </a:solidFill>
          <a:ln w="11643" cap="flat">
            <a:noFill/>
            <a:prstDash val="solid"/>
            <a:miter/>
          </a:ln>
        </p:spPr>
        <p:txBody>
          <a:bodyPr rtlCol="0" anchor="ctr"/>
          <a:lstStyle/>
          <a:p>
            <a:endParaRPr lang="de-DE"/>
          </a:p>
        </p:txBody>
      </p:sp>
      <p:sp>
        <p:nvSpPr>
          <p:cNvPr id="437" name="Freihandform: Form 436">
            <a:extLst>
              <a:ext uri="{FF2B5EF4-FFF2-40B4-BE49-F238E27FC236}">
                <a16:creationId xmlns:a16="http://schemas.microsoft.com/office/drawing/2014/main" id="{E943456F-C9D7-440F-BAE7-3340B9DC6330}"/>
              </a:ext>
            </a:extLst>
          </p:cNvPr>
          <p:cNvSpPr/>
          <p:nvPr userDrawn="1"/>
        </p:nvSpPr>
        <p:spPr>
          <a:xfrm>
            <a:off x="8375813" y="6624949"/>
            <a:ext cx="180613" cy="196926"/>
          </a:xfrm>
          <a:custGeom>
            <a:avLst/>
            <a:gdLst>
              <a:gd name="connsiteX0" fmla="*/ 82733 w 180613"/>
              <a:gd name="connsiteY0" fmla="*/ 196927 h 196926"/>
              <a:gd name="connsiteX1" fmla="*/ 0 w 180613"/>
              <a:gd name="connsiteY1" fmla="*/ 196927 h 196926"/>
              <a:gd name="connsiteX2" fmla="*/ 96715 w 180613"/>
              <a:gd name="connsiteY2" fmla="*/ 99046 h 196926"/>
              <a:gd name="connsiteX3" fmla="*/ 0 w 180613"/>
              <a:gd name="connsiteY3" fmla="*/ 0 h 196926"/>
              <a:gd name="connsiteX4" fmla="*/ 83898 w 180613"/>
              <a:gd name="connsiteY4" fmla="*/ 0 h 196926"/>
              <a:gd name="connsiteX5" fmla="*/ 180613 w 180613"/>
              <a:gd name="connsiteY5" fmla="*/ 96715 h 196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6926">
                <a:moveTo>
                  <a:pt x="82733" y="196927"/>
                </a:moveTo>
                <a:lnTo>
                  <a:pt x="0" y="196927"/>
                </a:lnTo>
                <a:lnTo>
                  <a:pt x="96715" y="99046"/>
                </a:lnTo>
                <a:lnTo>
                  <a:pt x="0" y="0"/>
                </a:lnTo>
                <a:lnTo>
                  <a:pt x="83898" y="0"/>
                </a:lnTo>
                <a:lnTo>
                  <a:pt x="180613" y="96715"/>
                </a:lnTo>
                <a:close/>
              </a:path>
            </a:pathLst>
          </a:custGeom>
          <a:solidFill>
            <a:srgbClr val="EEF2F5"/>
          </a:solidFill>
          <a:ln w="11643" cap="flat">
            <a:noFill/>
            <a:prstDash val="solid"/>
            <a:miter/>
          </a:ln>
        </p:spPr>
        <p:txBody>
          <a:bodyPr rtlCol="0" anchor="ctr"/>
          <a:lstStyle/>
          <a:p>
            <a:endParaRPr lang="de-DE"/>
          </a:p>
        </p:txBody>
      </p:sp>
      <p:sp>
        <p:nvSpPr>
          <p:cNvPr id="438" name="Freihandform: Form 437">
            <a:extLst>
              <a:ext uri="{FF2B5EF4-FFF2-40B4-BE49-F238E27FC236}">
                <a16:creationId xmlns:a16="http://schemas.microsoft.com/office/drawing/2014/main" id="{51CAB98F-4CBB-4D06-A263-949D791C9F0B}"/>
              </a:ext>
            </a:extLst>
          </p:cNvPr>
          <p:cNvSpPr/>
          <p:nvPr userDrawn="1"/>
        </p:nvSpPr>
        <p:spPr>
          <a:xfrm>
            <a:off x="8721892" y="2002410"/>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6038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6038"/>
                </a:lnTo>
                <a:close/>
              </a:path>
            </a:pathLst>
          </a:custGeom>
          <a:solidFill>
            <a:srgbClr val="EEF2F5"/>
          </a:solidFill>
          <a:ln w="11643" cap="flat">
            <a:noFill/>
            <a:prstDash val="solid"/>
            <a:miter/>
          </a:ln>
        </p:spPr>
        <p:txBody>
          <a:bodyPr rtlCol="0" anchor="ctr"/>
          <a:lstStyle/>
          <a:p>
            <a:endParaRPr lang="de-DE"/>
          </a:p>
        </p:txBody>
      </p:sp>
      <p:sp>
        <p:nvSpPr>
          <p:cNvPr id="439" name="Freihandform: Form 438">
            <a:extLst>
              <a:ext uri="{FF2B5EF4-FFF2-40B4-BE49-F238E27FC236}">
                <a16:creationId xmlns:a16="http://schemas.microsoft.com/office/drawing/2014/main" id="{62F4C308-3870-47E2-8215-AAF8FAAB7155}"/>
              </a:ext>
            </a:extLst>
          </p:cNvPr>
          <p:cNvSpPr/>
          <p:nvPr userDrawn="1"/>
        </p:nvSpPr>
        <p:spPr>
          <a:xfrm>
            <a:off x="8721892" y="2357811"/>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4872"/>
                </a:lnTo>
                <a:close/>
              </a:path>
            </a:pathLst>
          </a:custGeom>
          <a:solidFill>
            <a:srgbClr val="EEF2F5"/>
          </a:solidFill>
          <a:ln w="11643" cap="flat">
            <a:noFill/>
            <a:prstDash val="solid"/>
            <a:miter/>
          </a:ln>
        </p:spPr>
        <p:txBody>
          <a:bodyPr rtlCol="0" anchor="ctr"/>
          <a:lstStyle/>
          <a:p>
            <a:endParaRPr lang="de-DE"/>
          </a:p>
        </p:txBody>
      </p:sp>
      <p:sp>
        <p:nvSpPr>
          <p:cNvPr id="440" name="Freihandform: Form 439">
            <a:extLst>
              <a:ext uri="{FF2B5EF4-FFF2-40B4-BE49-F238E27FC236}">
                <a16:creationId xmlns:a16="http://schemas.microsoft.com/office/drawing/2014/main" id="{D7322EBB-EAEE-4A42-9AD7-53B76C52A248}"/>
              </a:ext>
            </a:extLst>
          </p:cNvPr>
          <p:cNvSpPr/>
          <p:nvPr userDrawn="1"/>
        </p:nvSpPr>
        <p:spPr>
          <a:xfrm>
            <a:off x="8721892" y="2712046"/>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6038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6038"/>
                </a:lnTo>
                <a:close/>
              </a:path>
            </a:pathLst>
          </a:custGeom>
          <a:solidFill>
            <a:srgbClr val="EEF2F5"/>
          </a:solidFill>
          <a:ln w="11643" cap="flat">
            <a:noFill/>
            <a:prstDash val="solid"/>
            <a:miter/>
          </a:ln>
        </p:spPr>
        <p:txBody>
          <a:bodyPr rtlCol="0" anchor="ctr"/>
          <a:lstStyle/>
          <a:p>
            <a:endParaRPr lang="de-DE"/>
          </a:p>
        </p:txBody>
      </p:sp>
      <p:sp>
        <p:nvSpPr>
          <p:cNvPr id="441" name="Freihandform: Form 440">
            <a:extLst>
              <a:ext uri="{FF2B5EF4-FFF2-40B4-BE49-F238E27FC236}">
                <a16:creationId xmlns:a16="http://schemas.microsoft.com/office/drawing/2014/main" id="{2F1B8135-9A4E-476E-8711-64C2C031A7D4}"/>
              </a:ext>
            </a:extLst>
          </p:cNvPr>
          <p:cNvSpPr/>
          <p:nvPr userDrawn="1"/>
        </p:nvSpPr>
        <p:spPr>
          <a:xfrm>
            <a:off x="8721892" y="3067447"/>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4872"/>
                </a:lnTo>
                <a:close/>
              </a:path>
            </a:pathLst>
          </a:custGeom>
          <a:solidFill>
            <a:srgbClr val="EEF2F5"/>
          </a:solidFill>
          <a:ln w="11643" cap="flat">
            <a:noFill/>
            <a:prstDash val="solid"/>
            <a:miter/>
          </a:ln>
        </p:spPr>
        <p:txBody>
          <a:bodyPr rtlCol="0" anchor="ctr"/>
          <a:lstStyle/>
          <a:p>
            <a:endParaRPr lang="de-DE"/>
          </a:p>
        </p:txBody>
      </p:sp>
      <p:sp>
        <p:nvSpPr>
          <p:cNvPr id="442" name="Freihandform: Form 441">
            <a:extLst>
              <a:ext uri="{FF2B5EF4-FFF2-40B4-BE49-F238E27FC236}">
                <a16:creationId xmlns:a16="http://schemas.microsoft.com/office/drawing/2014/main" id="{6FC17601-18E6-4BF7-A8D1-2826F0BE14DB}"/>
              </a:ext>
            </a:extLst>
          </p:cNvPr>
          <p:cNvSpPr/>
          <p:nvPr userDrawn="1"/>
        </p:nvSpPr>
        <p:spPr>
          <a:xfrm>
            <a:off x="8721892" y="3421682"/>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6038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6038"/>
                </a:lnTo>
                <a:close/>
              </a:path>
            </a:pathLst>
          </a:custGeom>
          <a:solidFill>
            <a:srgbClr val="EEF2F5"/>
          </a:solidFill>
          <a:ln w="11643" cap="flat">
            <a:noFill/>
            <a:prstDash val="solid"/>
            <a:miter/>
          </a:ln>
        </p:spPr>
        <p:txBody>
          <a:bodyPr rtlCol="0" anchor="ctr"/>
          <a:lstStyle/>
          <a:p>
            <a:endParaRPr lang="de-DE"/>
          </a:p>
        </p:txBody>
      </p:sp>
      <p:sp>
        <p:nvSpPr>
          <p:cNvPr id="443" name="Freihandform: Form 442">
            <a:extLst>
              <a:ext uri="{FF2B5EF4-FFF2-40B4-BE49-F238E27FC236}">
                <a16:creationId xmlns:a16="http://schemas.microsoft.com/office/drawing/2014/main" id="{14285465-FDDA-4690-A394-8C87D559E31D}"/>
              </a:ext>
            </a:extLst>
          </p:cNvPr>
          <p:cNvSpPr/>
          <p:nvPr userDrawn="1"/>
        </p:nvSpPr>
        <p:spPr>
          <a:xfrm>
            <a:off x="8721892" y="3777083"/>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4872"/>
                </a:lnTo>
                <a:close/>
              </a:path>
            </a:pathLst>
          </a:custGeom>
          <a:solidFill>
            <a:srgbClr val="EEF2F5"/>
          </a:solidFill>
          <a:ln w="11643" cap="flat">
            <a:noFill/>
            <a:prstDash val="solid"/>
            <a:miter/>
          </a:ln>
        </p:spPr>
        <p:txBody>
          <a:bodyPr rtlCol="0" anchor="ctr"/>
          <a:lstStyle/>
          <a:p>
            <a:endParaRPr lang="de-DE"/>
          </a:p>
        </p:txBody>
      </p:sp>
      <p:sp>
        <p:nvSpPr>
          <p:cNvPr id="444" name="Freihandform: Form 443">
            <a:extLst>
              <a:ext uri="{FF2B5EF4-FFF2-40B4-BE49-F238E27FC236}">
                <a16:creationId xmlns:a16="http://schemas.microsoft.com/office/drawing/2014/main" id="{EF5CE05F-09D9-4E8A-A64E-CC6C5BB6F1A5}"/>
              </a:ext>
            </a:extLst>
          </p:cNvPr>
          <p:cNvSpPr/>
          <p:nvPr userDrawn="1"/>
        </p:nvSpPr>
        <p:spPr>
          <a:xfrm>
            <a:off x="8721892" y="4132484"/>
            <a:ext cx="198092" cy="214405"/>
          </a:xfrm>
          <a:custGeom>
            <a:avLst/>
            <a:gdLst>
              <a:gd name="connsiteX0" fmla="*/ 90889 w 198092"/>
              <a:gd name="connsiteY0" fmla="*/ 214406 h 214405"/>
              <a:gd name="connsiteX1" fmla="*/ 0 w 198092"/>
              <a:gd name="connsiteY1" fmla="*/ 214406 h 214405"/>
              <a:gd name="connsiteX2" fmla="*/ 106037 w 198092"/>
              <a:gd name="connsiteY2" fmla="*/ 107203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7203"/>
                </a:lnTo>
                <a:lnTo>
                  <a:pt x="0" y="0"/>
                </a:lnTo>
                <a:lnTo>
                  <a:pt x="92055" y="0"/>
                </a:lnTo>
                <a:lnTo>
                  <a:pt x="198092" y="104872"/>
                </a:lnTo>
                <a:close/>
              </a:path>
            </a:pathLst>
          </a:custGeom>
          <a:solidFill>
            <a:srgbClr val="EEF2F5"/>
          </a:solidFill>
          <a:ln w="11643" cap="flat">
            <a:noFill/>
            <a:prstDash val="solid"/>
            <a:miter/>
          </a:ln>
        </p:spPr>
        <p:txBody>
          <a:bodyPr rtlCol="0" anchor="ctr"/>
          <a:lstStyle/>
          <a:p>
            <a:endParaRPr lang="de-DE"/>
          </a:p>
        </p:txBody>
      </p:sp>
      <p:sp>
        <p:nvSpPr>
          <p:cNvPr id="445" name="Freihandform: Form 444">
            <a:extLst>
              <a:ext uri="{FF2B5EF4-FFF2-40B4-BE49-F238E27FC236}">
                <a16:creationId xmlns:a16="http://schemas.microsoft.com/office/drawing/2014/main" id="{252B6EA4-1D20-403F-A67B-8BCEBA7181EA}"/>
              </a:ext>
            </a:extLst>
          </p:cNvPr>
          <p:cNvSpPr/>
          <p:nvPr userDrawn="1"/>
        </p:nvSpPr>
        <p:spPr>
          <a:xfrm>
            <a:off x="8721892" y="4486719"/>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4872"/>
                </a:lnTo>
                <a:close/>
              </a:path>
            </a:pathLst>
          </a:custGeom>
          <a:solidFill>
            <a:srgbClr val="EEF2F5"/>
          </a:solidFill>
          <a:ln w="11643" cap="flat">
            <a:noFill/>
            <a:prstDash val="solid"/>
            <a:miter/>
          </a:ln>
        </p:spPr>
        <p:txBody>
          <a:bodyPr rtlCol="0" anchor="ctr"/>
          <a:lstStyle/>
          <a:p>
            <a:endParaRPr lang="de-DE"/>
          </a:p>
        </p:txBody>
      </p:sp>
      <p:sp>
        <p:nvSpPr>
          <p:cNvPr id="446" name="Freihandform: Form 445">
            <a:extLst>
              <a:ext uri="{FF2B5EF4-FFF2-40B4-BE49-F238E27FC236}">
                <a16:creationId xmlns:a16="http://schemas.microsoft.com/office/drawing/2014/main" id="{B34E7EF8-659D-41D0-A7E6-F80D2A72E4F5}"/>
              </a:ext>
            </a:extLst>
          </p:cNvPr>
          <p:cNvSpPr/>
          <p:nvPr userDrawn="1"/>
        </p:nvSpPr>
        <p:spPr>
          <a:xfrm>
            <a:off x="8721892" y="4842120"/>
            <a:ext cx="198092" cy="214405"/>
          </a:xfrm>
          <a:custGeom>
            <a:avLst/>
            <a:gdLst>
              <a:gd name="connsiteX0" fmla="*/ 90889 w 198092"/>
              <a:gd name="connsiteY0" fmla="*/ 214406 h 214405"/>
              <a:gd name="connsiteX1" fmla="*/ 0 w 198092"/>
              <a:gd name="connsiteY1" fmla="*/ 214406 h 214405"/>
              <a:gd name="connsiteX2" fmla="*/ 106037 w 198092"/>
              <a:gd name="connsiteY2" fmla="*/ 107203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7203"/>
                </a:lnTo>
                <a:lnTo>
                  <a:pt x="0" y="0"/>
                </a:lnTo>
                <a:lnTo>
                  <a:pt x="92055" y="0"/>
                </a:lnTo>
                <a:lnTo>
                  <a:pt x="198092" y="104872"/>
                </a:lnTo>
                <a:close/>
              </a:path>
            </a:pathLst>
          </a:custGeom>
          <a:solidFill>
            <a:srgbClr val="EEF2F5"/>
          </a:solidFill>
          <a:ln w="11643" cap="flat">
            <a:noFill/>
            <a:prstDash val="solid"/>
            <a:miter/>
          </a:ln>
        </p:spPr>
        <p:txBody>
          <a:bodyPr rtlCol="0" anchor="ctr"/>
          <a:lstStyle/>
          <a:p>
            <a:endParaRPr lang="de-DE"/>
          </a:p>
        </p:txBody>
      </p:sp>
      <p:sp>
        <p:nvSpPr>
          <p:cNvPr id="447" name="Freihandform: Form 446">
            <a:extLst>
              <a:ext uri="{FF2B5EF4-FFF2-40B4-BE49-F238E27FC236}">
                <a16:creationId xmlns:a16="http://schemas.microsoft.com/office/drawing/2014/main" id="{0755A084-00C6-4064-9BC1-07F7BB9E8B25}"/>
              </a:ext>
            </a:extLst>
          </p:cNvPr>
          <p:cNvSpPr/>
          <p:nvPr userDrawn="1"/>
        </p:nvSpPr>
        <p:spPr>
          <a:xfrm>
            <a:off x="8721892" y="5196355"/>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6038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6038"/>
                </a:lnTo>
                <a:close/>
              </a:path>
            </a:pathLst>
          </a:custGeom>
          <a:solidFill>
            <a:srgbClr val="EEF2F5"/>
          </a:solidFill>
          <a:ln w="11643" cap="flat">
            <a:noFill/>
            <a:prstDash val="solid"/>
            <a:miter/>
          </a:ln>
        </p:spPr>
        <p:txBody>
          <a:bodyPr rtlCol="0" anchor="ctr"/>
          <a:lstStyle/>
          <a:p>
            <a:endParaRPr lang="de-DE"/>
          </a:p>
        </p:txBody>
      </p:sp>
      <p:sp>
        <p:nvSpPr>
          <p:cNvPr id="448" name="Freihandform: Form 447">
            <a:extLst>
              <a:ext uri="{FF2B5EF4-FFF2-40B4-BE49-F238E27FC236}">
                <a16:creationId xmlns:a16="http://schemas.microsoft.com/office/drawing/2014/main" id="{EC6887F2-DD05-4AFE-B004-C0A73966DD5E}"/>
              </a:ext>
            </a:extLst>
          </p:cNvPr>
          <p:cNvSpPr/>
          <p:nvPr userDrawn="1"/>
        </p:nvSpPr>
        <p:spPr>
          <a:xfrm>
            <a:off x="8721892" y="5551755"/>
            <a:ext cx="198092" cy="214405"/>
          </a:xfrm>
          <a:custGeom>
            <a:avLst/>
            <a:gdLst>
              <a:gd name="connsiteX0" fmla="*/ 90889 w 198092"/>
              <a:gd name="connsiteY0" fmla="*/ 214406 h 214405"/>
              <a:gd name="connsiteX1" fmla="*/ 0 w 198092"/>
              <a:gd name="connsiteY1" fmla="*/ 214406 h 214405"/>
              <a:gd name="connsiteX2" fmla="*/ 106037 w 198092"/>
              <a:gd name="connsiteY2" fmla="*/ 107203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7203"/>
                </a:lnTo>
                <a:lnTo>
                  <a:pt x="0" y="0"/>
                </a:lnTo>
                <a:lnTo>
                  <a:pt x="92055" y="0"/>
                </a:lnTo>
                <a:lnTo>
                  <a:pt x="198092" y="104872"/>
                </a:lnTo>
                <a:close/>
              </a:path>
            </a:pathLst>
          </a:custGeom>
          <a:solidFill>
            <a:srgbClr val="EEF2F5"/>
          </a:solidFill>
          <a:ln w="11643" cap="flat">
            <a:noFill/>
            <a:prstDash val="solid"/>
            <a:miter/>
          </a:ln>
        </p:spPr>
        <p:txBody>
          <a:bodyPr rtlCol="0" anchor="ctr"/>
          <a:lstStyle/>
          <a:p>
            <a:endParaRPr lang="de-DE"/>
          </a:p>
        </p:txBody>
      </p:sp>
      <p:sp>
        <p:nvSpPr>
          <p:cNvPr id="449" name="Freihandform: Form 448">
            <a:extLst>
              <a:ext uri="{FF2B5EF4-FFF2-40B4-BE49-F238E27FC236}">
                <a16:creationId xmlns:a16="http://schemas.microsoft.com/office/drawing/2014/main" id="{A49E266A-420E-492F-9080-574F846C1DBD}"/>
              </a:ext>
            </a:extLst>
          </p:cNvPr>
          <p:cNvSpPr/>
          <p:nvPr userDrawn="1"/>
        </p:nvSpPr>
        <p:spPr>
          <a:xfrm>
            <a:off x="8721892" y="5905991"/>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6038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6038"/>
                </a:lnTo>
                <a:close/>
              </a:path>
            </a:pathLst>
          </a:custGeom>
          <a:solidFill>
            <a:srgbClr val="EEF2F5"/>
          </a:solidFill>
          <a:ln w="11643" cap="flat">
            <a:noFill/>
            <a:prstDash val="solid"/>
            <a:miter/>
          </a:ln>
        </p:spPr>
        <p:txBody>
          <a:bodyPr rtlCol="0" anchor="ctr"/>
          <a:lstStyle/>
          <a:p>
            <a:endParaRPr lang="de-DE"/>
          </a:p>
        </p:txBody>
      </p:sp>
      <p:sp>
        <p:nvSpPr>
          <p:cNvPr id="450" name="Freihandform: Form 449">
            <a:extLst>
              <a:ext uri="{FF2B5EF4-FFF2-40B4-BE49-F238E27FC236}">
                <a16:creationId xmlns:a16="http://schemas.microsoft.com/office/drawing/2014/main" id="{AEC0C683-94C7-4C89-B770-8C0D416A44C7}"/>
              </a:ext>
            </a:extLst>
          </p:cNvPr>
          <p:cNvSpPr/>
          <p:nvPr userDrawn="1"/>
        </p:nvSpPr>
        <p:spPr>
          <a:xfrm>
            <a:off x="8721892" y="6261391"/>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4872"/>
                </a:lnTo>
                <a:close/>
              </a:path>
            </a:pathLst>
          </a:custGeom>
          <a:solidFill>
            <a:srgbClr val="EEF2F5"/>
          </a:solidFill>
          <a:ln w="11643" cap="flat">
            <a:noFill/>
            <a:prstDash val="solid"/>
            <a:miter/>
          </a:ln>
        </p:spPr>
        <p:txBody>
          <a:bodyPr rtlCol="0" anchor="ctr"/>
          <a:lstStyle/>
          <a:p>
            <a:endParaRPr lang="de-DE"/>
          </a:p>
        </p:txBody>
      </p:sp>
      <p:sp>
        <p:nvSpPr>
          <p:cNvPr id="451" name="Freihandform: Form 450">
            <a:extLst>
              <a:ext uri="{FF2B5EF4-FFF2-40B4-BE49-F238E27FC236}">
                <a16:creationId xmlns:a16="http://schemas.microsoft.com/office/drawing/2014/main" id="{3270C365-CF3A-47A7-889C-ADD47E29F3FB}"/>
              </a:ext>
            </a:extLst>
          </p:cNvPr>
          <p:cNvSpPr/>
          <p:nvPr userDrawn="1"/>
        </p:nvSpPr>
        <p:spPr>
          <a:xfrm>
            <a:off x="8721892" y="6615627"/>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6037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6037"/>
                </a:lnTo>
                <a:close/>
              </a:path>
            </a:pathLst>
          </a:custGeom>
          <a:solidFill>
            <a:srgbClr val="EEF2F5"/>
          </a:solidFill>
          <a:ln w="11643" cap="flat">
            <a:noFill/>
            <a:prstDash val="solid"/>
            <a:miter/>
          </a:ln>
        </p:spPr>
        <p:txBody>
          <a:bodyPr rtlCol="0" anchor="ctr"/>
          <a:lstStyle/>
          <a:p>
            <a:endParaRPr lang="de-DE"/>
          </a:p>
        </p:txBody>
      </p:sp>
      <p:sp>
        <p:nvSpPr>
          <p:cNvPr id="452" name="Freihandform: Form 451">
            <a:extLst>
              <a:ext uri="{FF2B5EF4-FFF2-40B4-BE49-F238E27FC236}">
                <a16:creationId xmlns:a16="http://schemas.microsoft.com/office/drawing/2014/main" id="{26027323-4EC1-4CE3-A800-FC54F6FA3CC5}"/>
              </a:ext>
            </a:extLst>
          </p:cNvPr>
          <p:cNvSpPr/>
          <p:nvPr userDrawn="1"/>
        </p:nvSpPr>
        <p:spPr>
          <a:xfrm>
            <a:off x="9069136" y="1994253"/>
            <a:ext cx="214405" cy="231884"/>
          </a:xfrm>
          <a:custGeom>
            <a:avLst/>
            <a:gdLst>
              <a:gd name="connsiteX0" fmla="*/ 97881 w 214405"/>
              <a:gd name="connsiteY0" fmla="*/ 231884 h 231884"/>
              <a:gd name="connsiteX1" fmla="*/ 0 w 214405"/>
              <a:gd name="connsiteY1" fmla="*/ 231884 h 231884"/>
              <a:gd name="connsiteX2" fmla="*/ 114194 w 214405"/>
              <a:gd name="connsiteY2" fmla="*/ 116525 h 231884"/>
              <a:gd name="connsiteX3" fmla="*/ 0 w 214405"/>
              <a:gd name="connsiteY3" fmla="*/ 0 h 231884"/>
              <a:gd name="connsiteX4" fmla="*/ 100211 w 214405"/>
              <a:gd name="connsiteY4" fmla="*/ 0 h 231884"/>
              <a:gd name="connsiteX5" fmla="*/ 214406 w 214405"/>
              <a:gd name="connsiteY5" fmla="*/ 114194 h 23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1884">
                <a:moveTo>
                  <a:pt x="97881" y="231884"/>
                </a:moveTo>
                <a:lnTo>
                  <a:pt x="0" y="231884"/>
                </a:lnTo>
                <a:lnTo>
                  <a:pt x="114194" y="116525"/>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453" name="Freihandform: Form 452">
            <a:extLst>
              <a:ext uri="{FF2B5EF4-FFF2-40B4-BE49-F238E27FC236}">
                <a16:creationId xmlns:a16="http://schemas.microsoft.com/office/drawing/2014/main" id="{FEAF7BFB-37DF-46E2-B375-619668E31A63}"/>
              </a:ext>
            </a:extLst>
          </p:cNvPr>
          <p:cNvSpPr/>
          <p:nvPr userDrawn="1"/>
        </p:nvSpPr>
        <p:spPr>
          <a:xfrm>
            <a:off x="9069136" y="2348489"/>
            <a:ext cx="214405" cy="233049"/>
          </a:xfrm>
          <a:custGeom>
            <a:avLst/>
            <a:gdLst>
              <a:gd name="connsiteX0" fmla="*/ 97881 w 214405"/>
              <a:gd name="connsiteY0" fmla="*/ 233050 h 233049"/>
              <a:gd name="connsiteX1" fmla="*/ 0 w 214405"/>
              <a:gd name="connsiteY1" fmla="*/ 233050 h 233049"/>
              <a:gd name="connsiteX2" fmla="*/ 114194 w 214405"/>
              <a:gd name="connsiteY2" fmla="*/ 117690 h 233049"/>
              <a:gd name="connsiteX3" fmla="*/ 0 w 214405"/>
              <a:gd name="connsiteY3" fmla="*/ 0 h 233049"/>
              <a:gd name="connsiteX4" fmla="*/ 100211 w 214405"/>
              <a:gd name="connsiteY4" fmla="*/ 0 h 233049"/>
              <a:gd name="connsiteX5" fmla="*/ 214406 w 214405"/>
              <a:gd name="connsiteY5" fmla="*/ 114194 h 23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3048">
                <a:moveTo>
                  <a:pt x="97881" y="233050"/>
                </a:moveTo>
                <a:lnTo>
                  <a:pt x="0" y="233050"/>
                </a:lnTo>
                <a:lnTo>
                  <a:pt x="114194" y="117690"/>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454" name="Freihandform: Form 453">
            <a:extLst>
              <a:ext uri="{FF2B5EF4-FFF2-40B4-BE49-F238E27FC236}">
                <a16:creationId xmlns:a16="http://schemas.microsoft.com/office/drawing/2014/main" id="{FD5C6D0C-1BC8-4A1C-B6D3-6B1F2F12554E}"/>
              </a:ext>
            </a:extLst>
          </p:cNvPr>
          <p:cNvSpPr/>
          <p:nvPr userDrawn="1"/>
        </p:nvSpPr>
        <p:spPr>
          <a:xfrm>
            <a:off x="9069136" y="2703889"/>
            <a:ext cx="214405" cy="231884"/>
          </a:xfrm>
          <a:custGeom>
            <a:avLst/>
            <a:gdLst>
              <a:gd name="connsiteX0" fmla="*/ 97881 w 214405"/>
              <a:gd name="connsiteY0" fmla="*/ 231884 h 231884"/>
              <a:gd name="connsiteX1" fmla="*/ 0 w 214405"/>
              <a:gd name="connsiteY1" fmla="*/ 231884 h 231884"/>
              <a:gd name="connsiteX2" fmla="*/ 114194 w 214405"/>
              <a:gd name="connsiteY2" fmla="*/ 116525 h 231884"/>
              <a:gd name="connsiteX3" fmla="*/ 0 w 214405"/>
              <a:gd name="connsiteY3" fmla="*/ 0 h 231884"/>
              <a:gd name="connsiteX4" fmla="*/ 100211 w 214405"/>
              <a:gd name="connsiteY4" fmla="*/ 0 h 231884"/>
              <a:gd name="connsiteX5" fmla="*/ 214406 w 214405"/>
              <a:gd name="connsiteY5" fmla="*/ 114194 h 23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1884">
                <a:moveTo>
                  <a:pt x="97881" y="231884"/>
                </a:moveTo>
                <a:lnTo>
                  <a:pt x="0" y="231884"/>
                </a:lnTo>
                <a:lnTo>
                  <a:pt x="114194" y="116525"/>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455" name="Freihandform: Form 454">
            <a:extLst>
              <a:ext uri="{FF2B5EF4-FFF2-40B4-BE49-F238E27FC236}">
                <a16:creationId xmlns:a16="http://schemas.microsoft.com/office/drawing/2014/main" id="{A78779BD-37D4-49F3-88CC-B8EBBFCA2551}"/>
              </a:ext>
            </a:extLst>
          </p:cNvPr>
          <p:cNvSpPr/>
          <p:nvPr userDrawn="1"/>
        </p:nvSpPr>
        <p:spPr>
          <a:xfrm>
            <a:off x="9069136" y="3058125"/>
            <a:ext cx="214405" cy="233049"/>
          </a:xfrm>
          <a:custGeom>
            <a:avLst/>
            <a:gdLst>
              <a:gd name="connsiteX0" fmla="*/ 97881 w 214405"/>
              <a:gd name="connsiteY0" fmla="*/ 233050 h 233049"/>
              <a:gd name="connsiteX1" fmla="*/ 0 w 214405"/>
              <a:gd name="connsiteY1" fmla="*/ 233050 h 233049"/>
              <a:gd name="connsiteX2" fmla="*/ 114194 w 214405"/>
              <a:gd name="connsiteY2" fmla="*/ 117690 h 233049"/>
              <a:gd name="connsiteX3" fmla="*/ 0 w 214405"/>
              <a:gd name="connsiteY3" fmla="*/ 0 h 233049"/>
              <a:gd name="connsiteX4" fmla="*/ 100211 w 214405"/>
              <a:gd name="connsiteY4" fmla="*/ 0 h 233049"/>
              <a:gd name="connsiteX5" fmla="*/ 214406 w 214405"/>
              <a:gd name="connsiteY5" fmla="*/ 114194 h 23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3048">
                <a:moveTo>
                  <a:pt x="97881" y="233050"/>
                </a:moveTo>
                <a:lnTo>
                  <a:pt x="0" y="233050"/>
                </a:lnTo>
                <a:lnTo>
                  <a:pt x="114194" y="117690"/>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456" name="Freihandform: Form 455">
            <a:extLst>
              <a:ext uri="{FF2B5EF4-FFF2-40B4-BE49-F238E27FC236}">
                <a16:creationId xmlns:a16="http://schemas.microsoft.com/office/drawing/2014/main" id="{ADF13FA3-CD5F-4BCC-8A70-81E183EC3EB7}"/>
              </a:ext>
            </a:extLst>
          </p:cNvPr>
          <p:cNvSpPr/>
          <p:nvPr userDrawn="1"/>
        </p:nvSpPr>
        <p:spPr>
          <a:xfrm>
            <a:off x="9069136" y="3413526"/>
            <a:ext cx="214405" cy="231884"/>
          </a:xfrm>
          <a:custGeom>
            <a:avLst/>
            <a:gdLst>
              <a:gd name="connsiteX0" fmla="*/ 97881 w 214405"/>
              <a:gd name="connsiteY0" fmla="*/ 231884 h 231884"/>
              <a:gd name="connsiteX1" fmla="*/ 0 w 214405"/>
              <a:gd name="connsiteY1" fmla="*/ 231884 h 231884"/>
              <a:gd name="connsiteX2" fmla="*/ 114194 w 214405"/>
              <a:gd name="connsiteY2" fmla="*/ 116525 h 231884"/>
              <a:gd name="connsiteX3" fmla="*/ 0 w 214405"/>
              <a:gd name="connsiteY3" fmla="*/ 0 h 231884"/>
              <a:gd name="connsiteX4" fmla="*/ 100211 w 214405"/>
              <a:gd name="connsiteY4" fmla="*/ 0 h 231884"/>
              <a:gd name="connsiteX5" fmla="*/ 214406 w 214405"/>
              <a:gd name="connsiteY5" fmla="*/ 114194 h 23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1884">
                <a:moveTo>
                  <a:pt x="97881" y="231884"/>
                </a:moveTo>
                <a:lnTo>
                  <a:pt x="0" y="231884"/>
                </a:lnTo>
                <a:lnTo>
                  <a:pt x="114194" y="116525"/>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457" name="Freihandform: Form 456">
            <a:extLst>
              <a:ext uri="{FF2B5EF4-FFF2-40B4-BE49-F238E27FC236}">
                <a16:creationId xmlns:a16="http://schemas.microsoft.com/office/drawing/2014/main" id="{C201908D-C044-4D76-8D1A-438321DC7D12}"/>
              </a:ext>
            </a:extLst>
          </p:cNvPr>
          <p:cNvSpPr/>
          <p:nvPr userDrawn="1"/>
        </p:nvSpPr>
        <p:spPr>
          <a:xfrm>
            <a:off x="9069136" y="3767761"/>
            <a:ext cx="214405" cy="233049"/>
          </a:xfrm>
          <a:custGeom>
            <a:avLst/>
            <a:gdLst>
              <a:gd name="connsiteX0" fmla="*/ 97881 w 214405"/>
              <a:gd name="connsiteY0" fmla="*/ 233050 h 233049"/>
              <a:gd name="connsiteX1" fmla="*/ 0 w 214405"/>
              <a:gd name="connsiteY1" fmla="*/ 233050 h 233049"/>
              <a:gd name="connsiteX2" fmla="*/ 114194 w 214405"/>
              <a:gd name="connsiteY2" fmla="*/ 117690 h 233049"/>
              <a:gd name="connsiteX3" fmla="*/ 0 w 214405"/>
              <a:gd name="connsiteY3" fmla="*/ 0 h 233049"/>
              <a:gd name="connsiteX4" fmla="*/ 100211 w 214405"/>
              <a:gd name="connsiteY4" fmla="*/ 0 h 233049"/>
              <a:gd name="connsiteX5" fmla="*/ 214406 w 214405"/>
              <a:gd name="connsiteY5" fmla="*/ 114194 h 23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3048">
                <a:moveTo>
                  <a:pt x="97881" y="233050"/>
                </a:moveTo>
                <a:lnTo>
                  <a:pt x="0" y="233050"/>
                </a:lnTo>
                <a:lnTo>
                  <a:pt x="114194" y="117690"/>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458" name="Freihandform: Form 457">
            <a:extLst>
              <a:ext uri="{FF2B5EF4-FFF2-40B4-BE49-F238E27FC236}">
                <a16:creationId xmlns:a16="http://schemas.microsoft.com/office/drawing/2014/main" id="{D66CA348-96DF-49E0-9A09-19D76A480531}"/>
              </a:ext>
            </a:extLst>
          </p:cNvPr>
          <p:cNvSpPr/>
          <p:nvPr userDrawn="1"/>
        </p:nvSpPr>
        <p:spPr>
          <a:xfrm>
            <a:off x="9069136" y="4123162"/>
            <a:ext cx="214405" cy="231884"/>
          </a:xfrm>
          <a:custGeom>
            <a:avLst/>
            <a:gdLst>
              <a:gd name="connsiteX0" fmla="*/ 97881 w 214405"/>
              <a:gd name="connsiteY0" fmla="*/ 231884 h 231884"/>
              <a:gd name="connsiteX1" fmla="*/ 0 w 214405"/>
              <a:gd name="connsiteY1" fmla="*/ 231884 h 231884"/>
              <a:gd name="connsiteX2" fmla="*/ 114194 w 214405"/>
              <a:gd name="connsiteY2" fmla="*/ 116525 h 231884"/>
              <a:gd name="connsiteX3" fmla="*/ 0 w 214405"/>
              <a:gd name="connsiteY3" fmla="*/ 0 h 231884"/>
              <a:gd name="connsiteX4" fmla="*/ 100211 w 214405"/>
              <a:gd name="connsiteY4" fmla="*/ 0 h 231884"/>
              <a:gd name="connsiteX5" fmla="*/ 214406 w 214405"/>
              <a:gd name="connsiteY5" fmla="*/ 114194 h 23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1884">
                <a:moveTo>
                  <a:pt x="97881" y="231884"/>
                </a:moveTo>
                <a:lnTo>
                  <a:pt x="0" y="231884"/>
                </a:lnTo>
                <a:lnTo>
                  <a:pt x="114194" y="116525"/>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459" name="Freihandform: Form 458">
            <a:extLst>
              <a:ext uri="{FF2B5EF4-FFF2-40B4-BE49-F238E27FC236}">
                <a16:creationId xmlns:a16="http://schemas.microsoft.com/office/drawing/2014/main" id="{73DB73DF-6673-48E9-B28E-8EC17635427D}"/>
              </a:ext>
            </a:extLst>
          </p:cNvPr>
          <p:cNvSpPr/>
          <p:nvPr userDrawn="1"/>
        </p:nvSpPr>
        <p:spPr>
          <a:xfrm>
            <a:off x="9069136" y="4477397"/>
            <a:ext cx="214405" cy="233049"/>
          </a:xfrm>
          <a:custGeom>
            <a:avLst/>
            <a:gdLst>
              <a:gd name="connsiteX0" fmla="*/ 97881 w 214405"/>
              <a:gd name="connsiteY0" fmla="*/ 233050 h 233049"/>
              <a:gd name="connsiteX1" fmla="*/ 0 w 214405"/>
              <a:gd name="connsiteY1" fmla="*/ 233050 h 233049"/>
              <a:gd name="connsiteX2" fmla="*/ 114194 w 214405"/>
              <a:gd name="connsiteY2" fmla="*/ 117690 h 233049"/>
              <a:gd name="connsiteX3" fmla="*/ 0 w 214405"/>
              <a:gd name="connsiteY3" fmla="*/ 0 h 233049"/>
              <a:gd name="connsiteX4" fmla="*/ 100211 w 214405"/>
              <a:gd name="connsiteY4" fmla="*/ 0 h 233049"/>
              <a:gd name="connsiteX5" fmla="*/ 214406 w 214405"/>
              <a:gd name="connsiteY5" fmla="*/ 114194 h 23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3048">
                <a:moveTo>
                  <a:pt x="97881" y="233050"/>
                </a:moveTo>
                <a:lnTo>
                  <a:pt x="0" y="233050"/>
                </a:lnTo>
                <a:lnTo>
                  <a:pt x="114194" y="117690"/>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460" name="Freihandform: Form 459">
            <a:extLst>
              <a:ext uri="{FF2B5EF4-FFF2-40B4-BE49-F238E27FC236}">
                <a16:creationId xmlns:a16="http://schemas.microsoft.com/office/drawing/2014/main" id="{2AC000E1-63D7-4436-A71E-7F6A5657A1C6}"/>
              </a:ext>
            </a:extLst>
          </p:cNvPr>
          <p:cNvSpPr/>
          <p:nvPr userDrawn="1"/>
        </p:nvSpPr>
        <p:spPr>
          <a:xfrm>
            <a:off x="9069136" y="4832797"/>
            <a:ext cx="214405" cy="231884"/>
          </a:xfrm>
          <a:custGeom>
            <a:avLst/>
            <a:gdLst>
              <a:gd name="connsiteX0" fmla="*/ 97881 w 214405"/>
              <a:gd name="connsiteY0" fmla="*/ 231884 h 231884"/>
              <a:gd name="connsiteX1" fmla="*/ 0 w 214405"/>
              <a:gd name="connsiteY1" fmla="*/ 231884 h 231884"/>
              <a:gd name="connsiteX2" fmla="*/ 114194 w 214405"/>
              <a:gd name="connsiteY2" fmla="*/ 116525 h 231884"/>
              <a:gd name="connsiteX3" fmla="*/ 0 w 214405"/>
              <a:gd name="connsiteY3" fmla="*/ 0 h 231884"/>
              <a:gd name="connsiteX4" fmla="*/ 100211 w 214405"/>
              <a:gd name="connsiteY4" fmla="*/ 0 h 231884"/>
              <a:gd name="connsiteX5" fmla="*/ 214406 w 214405"/>
              <a:gd name="connsiteY5" fmla="*/ 114194 h 23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1884">
                <a:moveTo>
                  <a:pt x="97881" y="231884"/>
                </a:moveTo>
                <a:lnTo>
                  <a:pt x="0" y="231884"/>
                </a:lnTo>
                <a:lnTo>
                  <a:pt x="114194" y="116525"/>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461" name="Freihandform: Form 460">
            <a:extLst>
              <a:ext uri="{FF2B5EF4-FFF2-40B4-BE49-F238E27FC236}">
                <a16:creationId xmlns:a16="http://schemas.microsoft.com/office/drawing/2014/main" id="{D1CABC6A-77D1-495C-8BC3-9779693109C5}"/>
              </a:ext>
            </a:extLst>
          </p:cNvPr>
          <p:cNvSpPr/>
          <p:nvPr userDrawn="1"/>
        </p:nvSpPr>
        <p:spPr>
          <a:xfrm>
            <a:off x="9069136" y="5187033"/>
            <a:ext cx="214405" cy="233049"/>
          </a:xfrm>
          <a:custGeom>
            <a:avLst/>
            <a:gdLst>
              <a:gd name="connsiteX0" fmla="*/ 97881 w 214405"/>
              <a:gd name="connsiteY0" fmla="*/ 233050 h 233049"/>
              <a:gd name="connsiteX1" fmla="*/ 0 w 214405"/>
              <a:gd name="connsiteY1" fmla="*/ 233050 h 233049"/>
              <a:gd name="connsiteX2" fmla="*/ 114194 w 214405"/>
              <a:gd name="connsiteY2" fmla="*/ 117690 h 233049"/>
              <a:gd name="connsiteX3" fmla="*/ 0 w 214405"/>
              <a:gd name="connsiteY3" fmla="*/ 0 h 233049"/>
              <a:gd name="connsiteX4" fmla="*/ 100211 w 214405"/>
              <a:gd name="connsiteY4" fmla="*/ 0 h 233049"/>
              <a:gd name="connsiteX5" fmla="*/ 214406 w 214405"/>
              <a:gd name="connsiteY5" fmla="*/ 114194 h 23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3048">
                <a:moveTo>
                  <a:pt x="97881" y="233050"/>
                </a:moveTo>
                <a:lnTo>
                  <a:pt x="0" y="233050"/>
                </a:lnTo>
                <a:lnTo>
                  <a:pt x="114194" y="117690"/>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462" name="Freihandform: Form 461">
            <a:extLst>
              <a:ext uri="{FF2B5EF4-FFF2-40B4-BE49-F238E27FC236}">
                <a16:creationId xmlns:a16="http://schemas.microsoft.com/office/drawing/2014/main" id="{7EAB2106-7444-47F6-AF61-2FC7C13BD6CC}"/>
              </a:ext>
            </a:extLst>
          </p:cNvPr>
          <p:cNvSpPr/>
          <p:nvPr userDrawn="1"/>
        </p:nvSpPr>
        <p:spPr>
          <a:xfrm>
            <a:off x="9069136" y="5542434"/>
            <a:ext cx="214405" cy="231884"/>
          </a:xfrm>
          <a:custGeom>
            <a:avLst/>
            <a:gdLst>
              <a:gd name="connsiteX0" fmla="*/ 97881 w 214405"/>
              <a:gd name="connsiteY0" fmla="*/ 231884 h 231884"/>
              <a:gd name="connsiteX1" fmla="*/ 0 w 214405"/>
              <a:gd name="connsiteY1" fmla="*/ 231884 h 231884"/>
              <a:gd name="connsiteX2" fmla="*/ 114194 w 214405"/>
              <a:gd name="connsiteY2" fmla="*/ 117690 h 231884"/>
              <a:gd name="connsiteX3" fmla="*/ 0 w 214405"/>
              <a:gd name="connsiteY3" fmla="*/ 0 h 231884"/>
              <a:gd name="connsiteX4" fmla="*/ 100211 w 214405"/>
              <a:gd name="connsiteY4" fmla="*/ 0 h 231884"/>
              <a:gd name="connsiteX5" fmla="*/ 214406 w 214405"/>
              <a:gd name="connsiteY5" fmla="*/ 114194 h 23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1884">
                <a:moveTo>
                  <a:pt x="97881" y="231884"/>
                </a:moveTo>
                <a:lnTo>
                  <a:pt x="0" y="231884"/>
                </a:lnTo>
                <a:lnTo>
                  <a:pt x="114194" y="117690"/>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463" name="Freihandform: Form 462">
            <a:extLst>
              <a:ext uri="{FF2B5EF4-FFF2-40B4-BE49-F238E27FC236}">
                <a16:creationId xmlns:a16="http://schemas.microsoft.com/office/drawing/2014/main" id="{3AB53398-93E1-4699-9310-0395816CB2E8}"/>
              </a:ext>
            </a:extLst>
          </p:cNvPr>
          <p:cNvSpPr/>
          <p:nvPr userDrawn="1"/>
        </p:nvSpPr>
        <p:spPr>
          <a:xfrm>
            <a:off x="9069136" y="5896669"/>
            <a:ext cx="214405" cy="233049"/>
          </a:xfrm>
          <a:custGeom>
            <a:avLst/>
            <a:gdLst>
              <a:gd name="connsiteX0" fmla="*/ 97881 w 214405"/>
              <a:gd name="connsiteY0" fmla="*/ 233050 h 233049"/>
              <a:gd name="connsiteX1" fmla="*/ 0 w 214405"/>
              <a:gd name="connsiteY1" fmla="*/ 233050 h 233049"/>
              <a:gd name="connsiteX2" fmla="*/ 114194 w 214405"/>
              <a:gd name="connsiteY2" fmla="*/ 117690 h 233049"/>
              <a:gd name="connsiteX3" fmla="*/ 0 w 214405"/>
              <a:gd name="connsiteY3" fmla="*/ 0 h 233049"/>
              <a:gd name="connsiteX4" fmla="*/ 100211 w 214405"/>
              <a:gd name="connsiteY4" fmla="*/ 0 h 233049"/>
              <a:gd name="connsiteX5" fmla="*/ 214406 w 214405"/>
              <a:gd name="connsiteY5" fmla="*/ 114194 h 23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3048">
                <a:moveTo>
                  <a:pt x="97881" y="233050"/>
                </a:moveTo>
                <a:lnTo>
                  <a:pt x="0" y="233050"/>
                </a:lnTo>
                <a:lnTo>
                  <a:pt x="114194" y="117690"/>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464" name="Freihandform: Form 463">
            <a:extLst>
              <a:ext uri="{FF2B5EF4-FFF2-40B4-BE49-F238E27FC236}">
                <a16:creationId xmlns:a16="http://schemas.microsoft.com/office/drawing/2014/main" id="{4CCB3846-2B55-4B55-BF75-8867C7C59B82}"/>
              </a:ext>
            </a:extLst>
          </p:cNvPr>
          <p:cNvSpPr/>
          <p:nvPr userDrawn="1"/>
        </p:nvSpPr>
        <p:spPr>
          <a:xfrm>
            <a:off x="9069136" y="6252070"/>
            <a:ext cx="214405" cy="233049"/>
          </a:xfrm>
          <a:custGeom>
            <a:avLst/>
            <a:gdLst>
              <a:gd name="connsiteX0" fmla="*/ 97881 w 214405"/>
              <a:gd name="connsiteY0" fmla="*/ 233050 h 233049"/>
              <a:gd name="connsiteX1" fmla="*/ 0 w 214405"/>
              <a:gd name="connsiteY1" fmla="*/ 233050 h 233049"/>
              <a:gd name="connsiteX2" fmla="*/ 114194 w 214405"/>
              <a:gd name="connsiteY2" fmla="*/ 117690 h 233049"/>
              <a:gd name="connsiteX3" fmla="*/ 0 w 214405"/>
              <a:gd name="connsiteY3" fmla="*/ 0 h 233049"/>
              <a:gd name="connsiteX4" fmla="*/ 100211 w 214405"/>
              <a:gd name="connsiteY4" fmla="*/ 0 h 233049"/>
              <a:gd name="connsiteX5" fmla="*/ 214406 w 214405"/>
              <a:gd name="connsiteY5" fmla="*/ 114194 h 23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3048">
                <a:moveTo>
                  <a:pt x="97881" y="233050"/>
                </a:moveTo>
                <a:lnTo>
                  <a:pt x="0" y="233050"/>
                </a:lnTo>
                <a:lnTo>
                  <a:pt x="114194" y="117690"/>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465" name="Freihandform: Form 464">
            <a:extLst>
              <a:ext uri="{FF2B5EF4-FFF2-40B4-BE49-F238E27FC236}">
                <a16:creationId xmlns:a16="http://schemas.microsoft.com/office/drawing/2014/main" id="{40A79061-F4B0-42D9-9BD3-FD4BCED5445B}"/>
              </a:ext>
            </a:extLst>
          </p:cNvPr>
          <p:cNvSpPr/>
          <p:nvPr userDrawn="1"/>
        </p:nvSpPr>
        <p:spPr>
          <a:xfrm>
            <a:off x="9069136" y="6607470"/>
            <a:ext cx="214405" cy="231884"/>
          </a:xfrm>
          <a:custGeom>
            <a:avLst/>
            <a:gdLst>
              <a:gd name="connsiteX0" fmla="*/ 97881 w 214405"/>
              <a:gd name="connsiteY0" fmla="*/ 231884 h 231884"/>
              <a:gd name="connsiteX1" fmla="*/ 0 w 214405"/>
              <a:gd name="connsiteY1" fmla="*/ 231884 h 231884"/>
              <a:gd name="connsiteX2" fmla="*/ 114194 w 214405"/>
              <a:gd name="connsiteY2" fmla="*/ 116525 h 231884"/>
              <a:gd name="connsiteX3" fmla="*/ 0 w 214405"/>
              <a:gd name="connsiteY3" fmla="*/ 0 h 231884"/>
              <a:gd name="connsiteX4" fmla="*/ 100211 w 214405"/>
              <a:gd name="connsiteY4" fmla="*/ 0 h 231884"/>
              <a:gd name="connsiteX5" fmla="*/ 214406 w 214405"/>
              <a:gd name="connsiteY5" fmla="*/ 114194 h 23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1884">
                <a:moveTo>
                  <a:pt x="97881" y="231884"/>
                </a:moveTo>
                <a:lnTo>
                  <a:pt x="0" y="231884"/>
                </a:lnTo>
                <a:lnTo>
                  <a:pt x="114194" y="116525"/>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466" name="Freihandform: Form 465">
            <a:extLst>
              <a:ext uri="{FF2B5EF4-FFF2-40B4-BE49-F238E27FC236}">
                <a16:creationId xmlns:a16="http://schemas.microsoft.com/office/drawing/2014/main" id="{943EE673-B8FD-4F26-8BD5-4324C5F8C0F6}"/>
              </a:ext>
            </a:extLst>
          </p:cNvPr>
          <p:cNvSpPr/>
          <p:nvPr userDrawn="1"/>
        </p:nvSpPr>
        <p:spPr>
          <a:xfrm>
            <a:off x="9415215" y="1984931"/>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2351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5847"/>
                </a:lnTo>
                <a:lnTo>
                  <a:pt x="0" y="0"/>
                </a:lnTo>
                <a:lnTo>
                  <a:pt x="108368" y="0"/>
                </a:lnTo>
                <a:lnTo>
                  <a:pt x="230719" y="122351"/>
                </a:lnTo>
                <a:close/>
              </a:path>
            </a:pathLst>
          </a:custGeom>
          <a:solidFill>
            <a:srgbClr val="EEF2F5"/>
          </a:solidFill>
          <a:ln w="11643" cap="flat">
            <a:noFill/>
            <a:prstDash val="solid"/>
            <a:miter/>
          </a:ln>
        </p:spPr>
        <p:txBody>
          <a:bodyPr rtlCol="0" anchor="ctr"/>
          <a:lstStyle/>
          <a:p>
            <a:endParaRPr lang="de-DE"/>
          </a:p>
        </p:txBody>
      </p:sp>
      <p:sp>
        <p:nvSpPr>
          <p:cNvPr id="467" name="Freihandform: Form 466">
            <a:extLst>
              <a:ext uri="{FF2B5EF4-FFF2-40B4-BE49-F238E27FC236}">
                <a16:creationId xmlns:a16="http://schemas.microsoft.com/office/drawing/2014/main" id="{87A53D99-9883-4DF3-8F12-7929E8D22C53}"/>
              </a:ext>
            </a:extLst>
          </p:cNvPr>
          <p:cNvSpPr/>
          <p:nvPr userDrawn="1"/>
        </p:nvSpPr>
        <p:spPr>
          <a:xfrm>
            <a:off x="9415215" y="2339167"/>
            <a:ext cx="230718" cy="250528"/>
          </a:xfrm>
          <a:custGeom>
            <a:avLst/>
            <a:gdLst>
              <a:gd name="connsiteX0" fmla="*/ 106037 w 230718"/>
              <a:gd name="connsiteY0" fmla="*/ 250528 h 250528"/>
              <a:gd name="connsiteX1" fmla="*/ 0 w 230718"/>
              <a:gd name="connsiteY1" fmla="*/ 250528 h 250528"/>
              <a:gd name="connsiteX2" fmla="*/ 123516 w 230718"/>
              <a:gd name="connsiteY2" fmla="*/ 127012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7012"/>
                </a:lnTo>
                <a:lnTo>
                  <a:pt x="0" y="0"/>
                </a:lnTo>
                <a:lnTo>
                  <a:pt x="108368" y="0"/>
                </a:lnTo>
                <a:lnTo>
                  <a:pt x="230719" y="123516"/>
                </a:lnTo>
                <a:close/>
              </a:path>
            </a:pathLst>
          </a:custGeom>
          <a:solidFill>
            <a:srgbClr val="EEF2F5"/>
          </a:solidFill>
          <a:ln w="11643" cap="flat">
            <a:noFill/>
            <a:prstDash val="solid"/>
            <a:miter/>
          </a:ln>
        </p:spPr>
        <p:txBody>
          <a:bodyPr rtlCol="0" anchor="ctr"/>
          <a:lstStyle/>
          <a:p>
            <a:endParaRPr lang="de-DE"/>
          </a:p>
        </p:txBody>
      </p:sp>
      <p:sp>
        <p:nvSpPr>
          <p:cNvPr id="468" name="Freihandform: Form 467">
            <a:extLst>
              <a:ext uri="{FF2B5EF4-FFF2-40B4-BE49-F238E27FC236}">
                <a16:creationId xmlns:a16="http://schemas.microsoft.com/office/drawing/2014/main" id="{63252D08-D82D-4E5D-B69D-3C692A2048C4}"/>
              </a:ext>
            </a:extLst>
          </p:cNvPr>
          <p:cNvSpPr/>
          <p:nvPr userDrawn="1"/>
        </p:nvSpPr>
        <p:spPr>
          <a:xfrm>
            <a:off x="9415215" y="2694568"/>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5847"/>
                </a:lnTo>
                <a:lnTo>
                  <a:pt x="0" y="0"/>
                </a:lnTo>
                <a:lnTo>
                  <a:pt x="108368" y="0"/>
                </a:lnTo>
                <a:lnTo>
                  <a:pt x="230719" y="123516"/>
                </a:lnTo>
                <a:close/>
              </a:path>
            </a:pathLst>
          </a:custGeom>
          <a:solidFill>
            <a:srgbClr val="EEF2F5"/>
          </a:solidFill>
          <a:ln w="11643" cap="flat">
            <a:noFill/>
            <a:prstDash val="solid"/>
            <a:miter/>
          </a:ln>
        </p:spPr>
        <p:txBody>
          <a:bodyPr rtlCol="0" anchor="ctr"/>
          <a:lstStyle/>
          <a:p>
            <a:endParaRPr lang="de-DE"/>
          </a:p>
        </p:txBody>
      </p:sp>
      <p:sp>
        <p:nvSpPr>
          <p:cNvPr id="469" name="Freihandform: Form 468">
            <a:extLst>
              <a:ext uri="{FF2B5EF4-FFF2-40B4-BE49-F238E27FC236}">
                <a16:creationId xmlns:a16="http://schemas.microsoft.com/office/drawing/2014/main" id="{2D96FD4E-6BD4-4E95-B758-5237E3AF6CAC}"/>
              </a:ext>
            </a:extLst>
          </p:cNvPr>
          <p:cNvSpPr/>
          <p:nvPr userDrawn="1"/>
        </p:nvSpPr>
        <p:spPr>
          <a:xfrm>
            <a:off x="9415215" y="3048803"/>
            <a:ext cx="230718" cy="250528"/>
          </a:xfrm>
          <a:custGeom>
            <a:avLst/>
            <a:gdLst>
              <a:gd name="connsiteX0" fmla="*/ 106037 w 230718"/>
              <a:gd name="connsiteY0" fmla="*/ 250528 h 250528"/>
              <a:gd name="connsiteX1" fmla="*/ 0 w 230718"/>
              <a:gd name="connsiteY1" fmla="*/ 250528 h 250528"/>
              <a:gd name="connsiteX2" fmla="*/ 123516 w 230718"/>
              <a:gd name="connsiteY2" fmla="*/ 127012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7012"/>
                </a:lnTo>
                <a:lnTo>
                  <a:pt x="0" y="0"/>
                </a:lnTo>
                <a:lnTo>
                  <a:pt x="108368" y="0"/>
                </a:lnTo>
                <a:lnTo>
                  <a:pt x="230719" y="123516"/>
                </a:lnTo>
                <a:close/>
              </a:path>
            </a:pathLst>
          </a:custGeom>
          <a:solidFill>
            <a:srgbClr val="EEF2F5"/>
          </a:solidFill>
          <a:ln w="11643" cap="flat">
            <a:noFill/>
            <a:prstDash val="solid"/>
            <a:miter/>
          </a:ln>
        </p:spPr>
        <p:txBody>
          <a:bodyPr rtlCol="0" anchor="ctr"/>
          <a:lstStyle/>
          <a:p>
            <a:endParaRPr lang="de-DE"/>
          </a:p>
        </p:txBody>
      </p:sp>
      <p:sp>
        <p:nvSpPr>
          <p:cNvPr id="470" name="Freihandform: Form 469">
            <a:extLst>
              <a:ext uri="{FF2B5EF4-FFF2-40B4-BE49-F238E27FC236}">
                <a16:creationId xmlns:a16="http://schemas.microsoft.com/office/drawing/2014/main" id="{E226C185-80E2-4945-B19A-87F6D324436B}"/>
              </a:ext>
            </a:extLst>
          </p:cNvPr>
          <p:cNvSpPr/>
          <p:nvPr userDrawn="1"/>
        </p:nvSpPr>
        <p:spPr>
          <a:xfrm>
            <a:off x="9415215" y="3404203"/>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5847"/>
                </a:lnTo>
                <a:lnTo>
                  <a:pt x="0" y="0"/>
                </a:lnTo>
                <a:lnTo>
                  <a:pt x="108368" y="0"/>
                </a:lnTo>
                <a:lnTo>
                  <a:pt x="230719" y="123516"/>
                </a:lnTo>
                <a:close/>
              </a:path>
            </a:pathLst>
          </a:custGeom>
          <a:solidFill>
            <a:srgbClr val="EEF2F5"/>
          </a:solidFill>
          <a:ln w="11643" cap="flat">
            <a:noFill/>
            <a:prstDash val="solid"/>
            <a:miter/>
          </a:ln>
        </p:spPr>
        <p:txBody>
          <a:bodyPr rtlCol="0" anchor="ctr"/>
          <a:lstStyle/>
          <a:p>
            <a:endParaRPr lang="de-DE"/>
          </a:p>
        </p:txBody>
      </p:sp>
      <p:sp>
        <p:nvSpPr>
          <p:cNvPr id="471" name="Freihandform: Form 470">
            <a:extLst>
              <a:ext uri="{FF2B5EF4-FFF2-40B4-BE49-F238E27FC236}">
                <a16:creationId xmlns:a16="http://schemas.microsoft.com/office/drawing/2014/main" id="{8216F4B4-E4AF-4EE5-A82E-249143E44EB1}"/>
              </a:ext>
            </a:extLst>
          </p:cNvPr>
          <p:cNvSpPr/>
          <p:nvPr userDrawn="1"/>
        </p:nvSpPr>
        <p:spPr>
          <a:xfrm>
            <a:off x="9415215" y="3758439"/>
            <a:ext cx="230718" cy="251693"/>
          </a:xfrm>
          <a:custGeom>
            <a:avLst/>
            <a:gdLst>
              <a:gd name="connsiteX0" fmla="*/ 106037 w 230718"/>
              <a:gd name="connsiteY0" fmla="*/ 251694 h 251693"/>
              <a:gd name="connsiteX1" fmla="*/ 0 w 230718"/>
              <a:gd name="connsiteY1" fmla="*/ 251694 h 251693"/>
              <a:gd name="connsiteX2" fmla="*/ 123516 w 230718"/>
              <a:gd name="connsiteY2" fmla="*/ 127012 h 251693"/>
              <a:gd name="connsiteX3" fmla="*/ 0 w 230718"/>
              <a:gd name="connsiteY3" fmla="*/ 0 h 251693"/>
              <a:gd name="connsiteX4" fmla="*/ 108368 w 230718"/>
              <a:gd name="connsiteY4" fmla="*/ 0 h 251693"/>
              <a:gd name="connsiteX5" fmla="*/ 230719 w 230718"/>
              <a:gd name="connsiteY5" fmla="*/ 123516 h 251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1693">
                <a:moveTo>
                  <a:pt x="106037" y="251694"/>
                </a:moveTo>
                <a:lnTo>
                  <a:pt x="0" y="251694"/>
                </a:lnTo>
                <a:lnTo>
                  <a:pt x="123516" y="127012"/>
                </a:lnTo>
                <a:lnTo>
                  <a:pt x="0" y="0"/>
                </a:lnTo>
                <a:lnTo>
                  <a:pt x="108368" y="0"/>
                </a:lnTo>
                <a:lnTo>
                  <a:pt x="230719" y="123516"/>
                </a:lnTo>
                <a:close/>
              </a:path>
            </a:pathLst>
          </a:custGeom>
          <a:solidFill>
            <a:srgbClr val="EEF2F5"/>
          </a:solidFill>
          <a:ln w="11643" cap="flat">
            <a:noFill/>
            <a:prstDash val="solid"/>
            <a:miter/>
          </a:ln>
        </p:spPr>
        <p:txBody>
          <a:bodyPr rtlCol="0" anchor="ctr"/>
          <a:lstStyle/>
          <a:p>
            <a:endParaRPr lang="de-DE"/>
          </a:p>
        </p:txBody>
      </p:sp>
      <p:sp>
        <p:nvSpPr>
          <p:cNvPr id="472" name="Freihandform: Form 471">
            <a:extLst>
              <a:ext uri="{FF2B5EF4-FFF2-40B4-BE49-F238E27FC236}">
                <a16:creationId xmlns:a16="http://schemas.microsoft.com/office/drawing/2014/main" id="{C3611650-5A39-417A-8E28-06A016589A86}"/>
              </a:ext>
            </a:extLst>
          </p:cNvPr>
          <p:cNvSpPr/>
          <p:nvPr userDrawn="1"/>
        </p:nvSpPr>
        <p:spPr>
          <a:xfrm>
            <a:off x="9415215" y="4113840"/>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5847"/>
                </a:lnTo>
                <a:lnTo>
                  <a:pt x="0" y="0"/>
                </a:lnTo>
                <a:lnTo>
                  <a:pt x="108368" y="0"/>
                </a:lnTo>
                <a:lnTo>
                  <a:pt x="230719" y="123516"/>
                </a:lnTo>
                <a:close/>
              </a:path>
            </a:pathLst>
          </a:custGeom>
          <a:solidFill>
            <a:srgbClr val="EEF2F5"/>
          </a:solidFill>
          <a:ln w="11643" cap="flat">
            <a:noFill/>
            <a:prstDash val="solid"/>
            <a:miter/>
          </a:ln>
        </p:spPr>
        <p:txBody>
          <a:bodyPr rtlCol="0" anchor="ctr"/>
          <a:lstStyle/>
          <a:p>
            <a:endParaRPr lang="de-DE"/>
          </a:p>
        </p:txBody>
      </p:sp>
      <p:sp>
        <p:nvSpPr>
          <p:cNvPr id="473" name="Freihandform: Form 472">
            <a:extLst>
              <a:ext uri="{FF2B5EF4-FFF2-40B4-BE49-F238E27FC236}">
                <a16:creationId xmlns:a16="http://schemas.microsoft.com/office/drawing/2014/main" id="{A4834F6A-C40A-4A2D-BB8B-EF97775C175E}"/>
              </a:ext>
            </a:extLst>
          </p:cNvPr>
          <p:cNvSpPr/>
          <p:nvPr userDrawn="1"/>
        </p:nvSpPr>
        <p:spPr>
          <a:xfrm>
            <a:off x="9415215" y="4469240"/>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2351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5847"/>
                </a:lnTo>
                <a:lnTo>
                  <a:pt x="0" y="0"/>
                </a:lnTo>
                <a:lnTo>
                  <a:pt x="108368" y="0"/>
                </a:lnTo>
                <a:lnTo>
                  <a:pt x="230719" y="122351"/>
                </a:lnTo>
                <a:close/>
              </a:path>
            </a:pathLst>
          </a:custGeom>
          <a:solidFill>
            <a:srgbClr val="EEF2F5"/>
          </a:solidFill>
          <a:ln w="11643" cap="flat">
            <a:noFill/>
            <a:prstDash val="solid"/>
            <a:miter/>
          </a:ln>
        </p:spPr>
        <p:txBody>
          <a:bodyPr rtlCol="0" anchor="ctr"/>
          <a:lstStyle/>
          <a:p>
            <a:endParaRPr lang="de-DE"/>
          </a:p>
        </p:txBody>
      </p:sp>
      <p:sp>
        <p:nvSpPr>
          <p:cNvPr id="474" name="Freihandform: Form 473">
            <a:extLst>
              <a:ext uri="{FF2B5EF4-FFF2-40B4-BE49-F238E27FC236}">
                <a16:creationId xmlns:a16="http://schemas.microsoft.com/office/drawing/2014/main" id="{BD3150AE-B016-44F0-AD8A-CC24BB0B8DCC}"/>
              </a:ext>
            </a:extLst>
          </p:cNvPr>
          <p:cNvSpPr/>
          <p:nvPr userDrawn="1"/>
        </p:nvSpPr>
        <p:spPr>
          <a:xfrm>
            <a:off x="9415215" y="4823475"/>
            <a:ext cx="230718" cy="250528"/>
          </a:xfrm>
          <a:custGeom>
            <a:avLst/>
            <a:gdLst>
              <a:gd name="connsiteX0" fmla="*/ 106037 w 230718"/>
              <a:gd name="connsiteY0" fmla="*/ 250528 h 250528"/>
              <a:gd name="connsiteX1" fmla="*/ 0 w 230718"/>
              <a:gd name="connsiteY1" fmla="*/ 250528 h 250528"/>
              <a:gd name="connsiteX2" fmla="*/ 123516 w 230718"/>
              <a:gd name="connsiteY2" fmla="*/ 127012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7012"/>
                </a:lnTo>
                <a:lnTo>
                  <a:pt x="0" y="0"/>
                </a:lnTo>
                <a:lnTo>
                  <a:pt x="108368" y="0"/>
                </a:lnTo>
                <a:lnTo>
                  <a:pt x="230719" y="123516"/>
                </a:lnTo>
                <a:close/>
              </a:path>
            </a:pathLst>
          </a:custGeom>
          <a:solidFill>
            <a:srgbClr val="EEF2F5"/>
          </a:solidFill>
          <a:ln w="11643" cap="flat">
            <a:noFill/>
            <a:prstDash val="solid"/>
            <a:miter/>
          </a:ln>
        </p:spPr>
        <p:txBody>
          <a:bodyPr rtlCol="0" anchor="ctr"/>
          <a:lstStyle/>
          <a:p>
            <a:endParaRPr lang="de-DE"/>
          </a:p>
        </p:txBody>
      </p:sp>
      <p:sp>
        <p:nvSpPr>
          <p:cNvPr id="475" name="Freihandform: Form 474">
            <a:extLst>
              <a:ext uri="{FF2B5EF4-FFF2-40B4-BE49-F238E27FC236}">
                <a16:creationId xmlns:a16="http://schemas.microsoft.com/office/drawing/2014/main" id="{8F46F2FC-CCE2-4282-AA26-153D1EA218A1}"/>
              </a:ext>
            </a:extLst>
          </p:cNvPr>
          <p:cNvSpPr/>
          <p:nvPr userDrawn="1"/>
        </p:nvSpPr>
        <p:spPr>
          <a:xfrm>
            <a:off x="9415215" y="5178876"/>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2351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5847"/>
                </a:lnTo>
                <a:lnTo>
                  <a:pt x="0" y="0"/>
                </a:lnTo>
                <a:lnTo>
                  <a:pt x="108368" y="0"/>
                </a:lnTo>
                <a:lnTo>
                  <a:pt x="230719" y="122351"/>
                </a:lnTo>
                <a:close/>
              </a:path>
            </a:pathLst>
          </a:custGeom>
          <a:solidFill>
            <a:srgbClr val="EEF2F5"/>
          </a:solidFill>
          <a:ln w="11643" cap="flat">
            <a:noFill/>
            <a:prstDash val="solid"/>
            <a:miter/>
          </a:ln>
        </p:spPr>
        <p:txBody>
          <a:bodyPr rtlCol="0" anchor="ctr"/>
          <a:lstStyle/>
          <a:p>
            <a:endParaRPr lang="de-DE"/>
          </a:p>
        </p:txBody>
      </p:sp>
      <p:sp>
        <p:nvSpPr>
          <p:cNvPr id="476" name="Freihandform: Form 475">
            <a:extLst>
              <a:ext uri="{FF2B5EF4-FFF2-40B4-BE49-F238E27FC236}">
                <a16:creationId xmlns:a16="http://schemas.microsoft.com/office/drawing/2014/main" id="{A29055BD-1B52-4B46-A495-DD92BB1DBC0E}"/>
              </a:ext>
            </a:extLst>
          </p:cNvPr>
          <p:cNvSpPr/>
          <p:nvPr userDrawn="1"/>
        </p:nvSpPr>
        <p:spPr>
          <a:xfrm>
            <a:off x="9415215" y="5533111"/>
            <a:ext cx="230718" cy="250528"/>
          </a:xfrm>
          <a:custGeom>
            <a:avLst/>
            <a:gdLst>
              <a:gd name="connsiteX0" fmla="*/ 106037 w 230718"/>
              <a:gd name="connsiteY0" fmla="*/ 250528 h 250528"/>
              <a:gd name="connsiteX1" fmla="*/ 0 w 230718"/>
              <a:gd name="connsiteY1" fmla="*/ 250528 h 250528"/>
              <a:gd name="connsiteX2" fmla="*/ 123516 w 230718"/>
              <a:gd name="connsiteY2" fmla="*/ 127012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7012"/>
                </a:lnTo>
                <a:lnTo>
                  <a:pt x="0" y="0"/>
                </a:lnTo>
                <a:lnTo>
                  <a:pt x="108368" y="0"/>
                </a:lnTo>
                <a:lnTo>
                  <a:pt x="230719" y="123516"/>
                </a:lnTo>
                <a:close/>
              </a:path>
            </a:pathLst>
          </a:custGeom>
          <a:solidFill>
            <a:srgbClr val="EEF2F5"/>
          </a:solidFill>
          <a:ln w="11643" cap="flat">
            <a:noFill/>
            <a:prstDash val="solid"/>
            <a:miter/>
          </a:ln>
        </p:spPr>
        <p:txBody>
          <a:bodyPr rtlCol="0" anchor="ctr"/>
          <a:lstStyle/>
          <a:p>
            <a:endParaRPr lang="de-DE"/>
          </a:p>
        </p:txBody>
      </p:sp>
      <p:sp>
        <p:nvSpPr>
          <p:cNvPr id="477" name="Freihandform: Form 476">
            <a:extLst>
              <a:ext uri="{FF2B5EF4-FFF2-40B4-BE49-F238E27FC236}">
                <a16:creationId xmlns:a16="http://schemas.microsoft.com/office/drawing/2014/main" id="{D44339B8-50B8-4AC9-8B2C-02D44C591DF6}"/>
              </a:ext>
            </a:extLst>
          </p:cNvPr>
          <p:cNvSpPr/>
          <p:nvPr userDrawn="1"/>
        </p:nvSpPr>
        <p:spPr>
          <a:xfrm>
            <a:off x="9415215" y="5888512"/>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2351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5847"/>
                </a:lnTo>
                <a:lnTo>
                  <a:pt x="0" y="0"/>
                </a:lnTo>
                <a:lnTo>
                  <a:pt x="108368" y="0"/>
                </a:lnTo>
                <a:lnTo>
                  <a:pt x="230719" y="122351"/>
                </a:lnTo>
                <a:close/>
              </a:path>
            </a:pathLst>
          </a:custGeom>
          <a:solidFill>
            <a:srgbClr val="EEF2F5"/>
          </a:solidFill>
          <a:ln w="11643" cap="flat">
            <a:noFill/>
            <a:prstDash val="solid"/>
            <a:miter/>
          </a:ln>
        </p:spPr>
        <p:txBody>
          <a:bodyPr rtlCol="0" anchor="ctr"/>
          <a:lstStyle/>
          <a:p>
            <a:endParaRPr lang="de-DE"/>
          </a:p>
        </p:txBody>
      </p:sp>
      <p:sp>
        <p:nvSpPr>
          <p:cNvPr id="478" name="Freihandform: Form 477">
            <a:extLst>
              <a:ext uri="{FF2B5EF4-FFF2-40B4-BE49-F238E27FC236}">
                <a16:creationId xmlns:a16="http://schemas.microsoft.com/office/drawing/2014/main" id="{66AF7D49-3A28-449B-B645-34567CF2F4E2}"/>
              </a:ext>
            </a:extLst>
          </p:cNvPr>
          <p:cNvSpPr/>
          <p:nvPr userDrawn="1"/>
        </p:nvSpPr>
        <p:spPr>
          <a:xfrm>
            <a:off x="9415215" y="6242748"/>
            <a:ext cx="230718" cy="250528"/>
          </a:xfrm>
          <a:custGeom>
            <a:avLst/>
            <a:gdLst>
              <a:gd name="connsiteX0" fmla="*/ 106037 w 230718"/>
              <a:gd name="connsiteY0" fmla="*/ 250528 h 250528"/>
              <a:gd name="connsiteX1" fmla="*/ 0 w 230718"/>
              <a:gd name="connsiteY1" fmla="*/ 250528 h 250528"/>
              <a:gd name="connsiteX2" fmla="*/ 123516 w 230718"/>
              <a:gd name="connsiteY2" fmla="*/ 127012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7012"/>
                </a:lnTo>
                <a:lnTo>
                  <a:pt x="0" y="0"/>
                </a:lnTo>
                <a:lnTo>
                  <a:pt x="108368" y="0"/>
                </a:lnTo>
                <a:lnTo>
                  <a:pt x="230719" y="123516"/>
                </a:lnTo>
                <a:close/>
              </a:path>
            </a:pathLst>
          </a:custGeom>
          <a:solidFill>
            <a:srgbClr val="EEF2F5"/>
          </a:solidFill>
          <a:ln w="11643" cap="flat">
            <a:noFill/>
            <a:prstDash val="solid"/>
            <a:miter/>
          </a:ln>
        </p:spPr>
        <p:txBody>
          <a:bodyPr rtlCol="0" anchor="ctr"/>
          <a:lstStyle/>
          <a:p>
            <a:endParaRPr lang="de-DE"/>
          </a:p>
        </p:txBody>
      </p:sp>
      <p:sp>
        <p:nvSpPr>
          <p:cNvPr id="479" name="Freihandform: Form 478">
            <a:extLst>
              <a:ext uri="{FF2B5EF4-FFF2-40B4-BE49-F238E27FC236}">
                <a16:creationId xmlns:a16="http://schemas.microsoft.com/office/drawing/2014/main" id="{F2247E83-ADCA-4D56-80E1-AFB3483E8B0F}"/>
              </a:ext>
            </a:extLst>
          </p:cNvPr>
          <p:cNvSpPr/>
          <p:nvPr userDrawn="1"/>
        </p:nvSpPr>
        <p:spPr>
          <a:xfrm>
            <a:off x="9415215" y="6598148"/>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2351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5847"/>
                </a:lnTo>
                <a:lnTo>
                  <a:pt x="0" y="0"/>
                </a:lnTo>
                <a:lnTo>
                  <a:pt x="108368" y="0"/>
                </a:lnTo>
                <a:lnTo>
                  <a:pt x="230719" y="122351"/>
                </a:lnTo>
                <a:close/>
              </a:path>
            </a:pathLst>
          </a:custGeom>
          <a:solidFill>
            <a:srgbClr val="EEF2F5"/>
          </a:solidFill>
          <a:ln w="11643" cap="flat">
            <a:noFill/>
            <a:prstDash val="solid"/>
            <a:miter/>
          </a:ln>
        </p:spPr>
        <p:txBody>
          <a:bodyPr rtlCol="0" anchor="ctr"/>
          <a:lstStyle/>
          <a:p>
            <a:endParaRPr lang="de-DE"/>
          </a:p>
        </p:txBody>
      </p:sp>
      <p:sp>
        <p:nvSpPr>
          <p:cNvPr id="480" name="Freihandform: Form 479">
            <a:extLst>
              <a:ext uri="{FF2B5EF4-FFF2-40B4-BE49-F238E27FC236}">
                <a16:creationId xmlns:a16="http://schemas.microsoft.com/office/drawing/2014/main" id="{2A4D62B8-F7F3-4271-9A21-481EA11F2C07}"/>
              </a:ext>
            </a:extLst>
          </p:cNvPr>
          <p:cNvSpPr/>
          <p:nvPr userDrawn="1"/>
        </p:nvSpPr>
        <p:spPr>
          <a:xfrm>
            <a:off x="9761293" y="1975610"/>
            <a:ext cx="248198" cy="269172"/>
          </a:xfrm>
          <a:custGeom>
            <a:avLst/>
            <a:gdLst>
              <a:gd name="connsiteX0" fmla="*/ 114195 w 248198"/>
              <a:gd name="connsiteY0" fmla="*/ 269172 h 269172"/>
              <a:gd name="connsiteX1" fmla="*/ 0 w 248198"/>
              <a:gd name="connsiteY1" fmla="*/ 269172 h 269172"/>
              <a:gd name="connsiteX2" fmla="*/ 132838 w 248198"/>
              <a:gd name="connsiteY2" fmla="*/ 135169 h 269172"/>
              <a:gd name="connsiteX3" fmla="*/ 0 w 248198"/>
              <a:gd name="connsiteY3" fmla="*/ 0 h 269172"/>
              <a:gd name="connsiteX4" fmla="*/ 116525 w 248198"/>
              <a:gd name="connsiteY4" fmla="*/ 0 h 269172"/>
              <a:gd name="connsiteX5" fmla="*/ 248198 w 248198"/>
              <a:gd name="connsiteY5" fmla="*/ 131673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endParaRPr lang="de-DE"/>
          </a:p>
        </p:txBody>
      </p:sp>
      <p:sp>
        <p:nvSpPr>
          <p:cNvPr id="481" name="Freihandform: Form 480">
            <a:extLst>
              <a:ext uri="{FF2B5EF4-FFF2-40B4-BE49-F238E27FC236}">
                <a16:creationId xmlns:a16="http://schemas.microsoft.com/office/drawing/2014/main" id="{4DF1C417-D96B-403C-8543-89A9B26955F5}"/>
              </a:ext>
            </a:extLst>
          </p:cNvPr>
          <p:cNvSpPr/>
          <p:nvPr userDrawn="1"/>
        </p:nvSpPr>
        <p:spPr>
          <a:xfrm>
            <a:off x="9761293" y="2331010"/>
            <a:ext cx="248198" cy="268007"/>
          </a:xfrm>
          <a:custGeom>
            <a:avLst/>
            <a:gdLst>
              <a:gd name="connsiteX0" fmla="*/ 114195 w 248198"/>
              <a:gd name="connsiteY0" fmla="*/ 268007 h 268007"/>
              <a:gd name="connsiteX1" fmla="*/ 0 w 248198"/>
              <a:gd name="connsiteY1" fmla="*/ 268007 h 268007"/>
              <a:gd name="connsiteX2" fmla="*/ 132838 w 248198"/>
              <a:gd name="connsiteY2" fmla="*/ 135169 h 268007"/>
              <a:gd name="connsiteX3" fmla="*/ 0 w 248198"/>
              <a:gd name="connsiteY3" fmla="*/ 0 h 268007"/>
              <a:gd name="connsiteX4" fmla="*/ 116525 w 248198"/>
              <a:gd name="connsiteY4" fmla="*/ 0 h 268007"/>
              <a:gd name="connsiteX5" fmla="*/ 248198 w 248198"/>
              <a:gd name="connsiteY5" fmla="*/ 131673 h 268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8007">
                <a:moveTo>
                  <a:pt x="114195" y="268007"/>
                </a:moveTo>
                <a:lnTo>
                  <a:pt x="0" y="268007"/>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endParaRPr lang="de-DE"/>
          </a:p>
        </p:txBody>
      </p:sp>
      <p:sp>
        <p:nvSpPr>
          <p:cNvPr id="482" name="Freihandform: Form 481">
            <a:extLst>
              <a:ext uri="{FF2B5EF4-FFF2-40B4-BE49-F238E27FC236}">
                <a16:creationId xmlns:a16="http://schemas.microsoft.com/office/drawing/2014/main" id="{88DE78C6-B3E8-4EA0-AC89-A5BAEF371677}"/>
              </a:ext>
            </a:extLst>
          </p:cNvPr>
          <p:cNvSpPr/>
          <p:nvPr userDrawn="1"/>
        </p:nvSpPr>
        <p:spPr>
          <a:xfrm>
            <a:off x="9761293" y="2685246"/>
            <a:ext cx="248198" cy="269172"/>
          </a:xfrm>
          <a:custGeom>
            <a:avLst/>
            <a:gdLst>
              <a:gd name="connsiteX0" fmla="*/ 114195 w 248198"/>
              <a:gd name="connsiteY0" fmla="*/ 269172 h 269172"/>
              <a:gd name="connsiteX1" fmla="*/ 0 w 248198"/>
              <a:gd name="connsiteY1" fmla="*/ 269172 h 269172"/>
              <a:gd name="connsiteX2" fmla="*/ 132838 w 248198"/>
              <a:gd name="connsiteY2" fmla="*/ 135169 h 269172"/>
              <a:gd name="connsiteX3" fmla="*/ 0 w 248198"/>
              <a:gd name="connsiteY3" fmla="*/ 0 h 269172"/>
              <a:gd name="connsiteX4" fmla="*/ 116525 w 248198"/>
              <a:gd name="connsiteY4" fmla="*/ 0 h 269172"/>
              <a:gd name="connsiteX5" fmla="*/ 248198 w 248198"/>
              <a:gd name="connsiteY5" fmla="*/ 131673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endParaRPr lang="de-DE"/>
          </a:p>
        </p:txBody>
      </p:sp>
      <p:sp>
        <p:nvSpPr>
          <p:cNvPr id="483" name="Freihandform: Form 482">
            <a:extLst>
              <a:ext uri="{FF2B5EF4-FFF2-40B4-BE49-F238E27FC236}">
                <a16:creationId xmlns:a16="http://schemas.microsoft.com/office/drawing/2014/main" id="{7E5B19BA-DB7F-4287-886F-9833AAC59D5F}"/>
              </a:ext>
            </a:extLst>
          </p:cNvPr>
          <p:cNvSpPr/>
          <p:nvPr userDrawn="1"/>
        </p:nvSpPr>
        <p:spPr>
          <a:xfrm>
            <a:off x="9761293" y="3040646"/>
            <a:ext cx="248198" cy="268007"/>
          </a:xfrm>
          <a:custGeom>
            <a:avLst/>
            <a:gdLst>
              <a:gd name="connsiteX0" fmla="*/ 114195 w 248198"/>
              <a:gd name="connsiteY0" fmla="*/ 268007 h 268007"/>
              <a:gd name="connsiteX1" fmla="*/ 0 w 248198"/>
              <a:gd name="connsiteY1" fmla="*/ 268007 h 268007"/>
              <a:gd name="connsiteX2" fmla="*/ 132838 w 248198"/>
              <a:gd name="connsiteY2" fmla="*/ 135169 h 268007"/>
              <a:gd name="connsiteX3" fmla="*/ 0 w 248198"/>
              <a:gd name="connsiteY3" fmla="*/ 0 h 268007"/>
              <a:gd name="connsiteX4" fmla="*/ 116525 w 248198"/>
              <a:gd name="connsiteY4" fmla="*/ 0 h 268007"/>
              <a:gd name="connsiteX5" fmla="*/ 248198 w 248198"/>
              <a:gd name="connsiteY5" fmla="*/ 131673 h 268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8007">
                <a:moveTo>
                  <a:pt x="114195" y="268007"/>
                </a:moveTo>
                <a:lnTo>
                  <a:pt x="0" y="268007"/>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endParaRPr lang="de-DE"/>
          </a:p>
        </p:txBody>
      </p:sp>
      <p:sp>
        <p:nvSpPr>
          <p:cNvPr id="484" name="Freihandform: Form 483">
            <a:extLst>
              <a:ext uri="{FF2B5EF4-FFF2-40B4-BE49-F238E27FC236}">
                <a16:creationId xmlns:a16="http://schemas.microsoft.com/office/drawing/2014/main" id="{292EFE73-2F46-4190-B4FC-3E703117A105}"/>
              </a:ext>
            </a:extLst>
          </p:cNvPr>
          <p:cNvSpPr/>
          <p:nvPr userDrawn="1"/>
        </p:nvSpPr>
        <p:spPr>
          <a:xfrm>
            <a:off x="9761293" y="3394882"/>
            <a:ext cx="248198" cy="269172"/>
          </a:xfrm>
          <a:custGeom>
            <a:avLst/>
            <a:gdLst>
              <a:gd name="connsiteX0" fmla="*/ 114195 w 248198"/>
              <a:gd name="connsiteY0" fmla="*/ 269172 h 269172"/>
              <a:gd name="connsiteX1" fmla="*/ 0 w 248198"/>
              <a:gd name="connsiteY1" fmla="*/ 269172 h 269172"/>
              <a:gd name="connsiteX2" fmla="*/ 132838 w 248198"/>
              <a:gd name="connsiteY2" fmla="*/ 135169 h 269172"/>
              <a:gd name="connsiteX3" fmla="*/ 0 w 248198"/>
              <a:gd name="connsiteY3" fmla="*/ 0 h 269172"/>
              <a:gd name="connsiteX4" fmla="*/ 116525 w 248198"/>
              <a:gd name="connsiteY4" fmla="*/ 0 h 269172"/>
              <a:gd name="connsiteX5" fmla="*/ 248198 w 248198"/>
              <a:gd name="connsiteY5" fmla="*/ 131673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endParaRPr lang="de-DE"/>
          </a:p>
        </p:txBody>
      </p:sp>
      <p:sp>
        <p:nvSpPr>
          <p:cNvPr id="485" name="Freihandform: Form 484">
            <a:extLst>
              <a:ext uri="{FF2B5EF4-FFF2-40B4-BE49-F238E27FC236}">
                <a16:creationId xmlns:a16="http://schemas.microsoft.com/office/drawing/2014/main" id="{8200EA12-ED68-4A99-80A6-A22CF802AF1C}"/>
              </a:ext>
            </a:extLst>
          </p:cNvPr>
          <p:cNvSpPr/>
          <p:nvPr userDrawn="1"/>
        </p:nvSpPr>
        <p:spPr>
          <a:xfrm>
            <a:off x="9761293" y="3750282"/>
            <a:ext cx="248198" cy="268007"/>
          </a:xfrm>
          <a:custGeom>
            <a:avLst/>
            <a:gdLst>
              <a:gd name="connsiteX0" fmla="*/ 114195 w 248198"/>
              <a:gd name="connsiteY0" fmla="*/ 268007 h 268007"/>
              <a:gd name="connsiteX1" fmla="*/ 0 w 248198"/>
              <a:gd name="connsiteY1" fmla="*/ 268007 h 268007"/>
              <a:gd name="connsiteX2" fmla="*/ 132838 w 248198"/>
              <a:gd name="connsiteY2" fmla="*/ 135169 h 268007"/>
              <a:gd name="connsiteX3" fmla="*/ 0 w 248198"/>
              <a:gd name="connsiteY3" fmla="*/ 0 h 268007"/>
              <a:gd name="connsiteX4" fmla="*/ 116525 w 248198"/>
              <a:gd name="connsiteY4" fmla="*/ 0 h 268007"/>
              <a:gd name="connsiteX5" fmla="*/ 248198 w 248198"/>
              <a:gd name="connsiteY5" fmla="*/ 131673 h 268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8007">
                <a:moveTo>
                  <a:pt x="114195" y="268007"/>
                </a:moveTo>
                <a:lnTo>
                  <a:pt x="0" y="268007"/>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endParaRPr lang="de-DE"/>
          </a:p>
        </p:txBody>
      </p:sp>
      <p:sp>
        <p:nvSpPr>
          <p:cNvPr id="486" name="Freihandform: Form 485">
            <a:extLst>
              <a:ext uri="{FF2B5EF4-FFF2-40B4-BE49-F238E27FC236}">
                <a16:creationId xmlns:a16="http://schemas.microsoft.com/office/drawing/2014/main" id="{F786CFD9-D7C8-441E-B62F-0EB92655CAFC}"/>
              </a:ext>
            </a:extLst>
          </p:cNvPr>
          <p:cNvSpPr/>
          <p:nvPr userDrawn="1"/>
        </p:nvSpPr>
        <p:spPr>
          <a:xfrm>
            <a:off x="9761293" y="4104518"/>
            <a:ext cx="248198" cy="269172"/>
          </a:xfrm>
          <a:custGeom>
            <a:avLst/>
            <a:gdLst>
              <a:gd name="connsiteX0" fmla="*/ 114195 w 248198"/>
              <a:gd name="connsiteY0" fmla="*/ 269172 h 269172"/>
              <a:gd name="connsiteX1" fmla="*/ 0 w 248198"/>
              <a:gd name="connsiteY1" fmla="*/ 269172 h 269172"/>
              <a:gd name="connsiteX2" fmla="*/ 132838 w 248198"/>
              <a:gd name="connsiteY2" fmla="*/ 136334 h 269172"/>
              <a:gd name="connsiteX3" fmla="*/ 0 w 248198"/>
              <a:gd name="connsiteY3" fmla="*/ 0 h 269172"/>
              <a:gd name="connsiteX4" fmla="*/ 116525 w 248198"/>
              <a:gd name="connsiteY4" fmla="*/ 0 h 269172"/>
              <a:gd name="connsiteX5" fmla="*/ 248198 w 248198"/>
              <a:gd name="connsiteY5" fmla="*/ 132838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6334"/>
                </a:lnTo>
                <a:lnTo>
                  <a:pt x="0" y="0"/>
                </a:lnTo>
                <a:lnTo>
                  <a:pt x="116525" y="0"/>
                </a:lnTo>
                <a:lnTo>
                  <a:pt x="248198" y="132838"/>
                </a:lnTo>
                <a:close/>
              </a:path>
            </a:pathLst>
          </a:custGeom>
          <a:solidFill>
            <a:srgbClr val="EEF2F5"/>
          </a:solidFill>
          <a:ln w="11643" cap="flat">
            <a:noFill/>
            <a:prstDash val="solid"/>
            <a:miter/>
          </a:ln>
        </p:spPr>
        <p:txBody>
          <a:bodyPr rtlCol="0" anchor="ctr"/>
          <a:lstStyle/>
          <a:p>
            <a:endParaRPr lang="de-DE"/>
          </a:p>
        </p:txBody>
      </p:sp>
      <p:sp>
        <p:nvSpPr>
          <p:cNvPr id="487" name="Freihandform: Form 486">
            <a:extLst>
              <a:ext uri="{FF2B5EF4-FFF2-40B4-BE49-F238E27FC236}">
                <a16:creationId xmlns:a16="http://schemas.microsoft.com/office/drawing/2014/main" id="{01FD0002-F436-4142-A628-D55068EAF9A4}"/>
              </a:ext>
            </a:extLst>
          </p:cNvPr>
          <p:cNvSpPr/>
          <p:nvPr userDrawn="1"/>
        </p:nvSpPr>
        <p:spPr>
          <a:xfrm>
            <a:off x="9761293" y="4459918"/>
            <a:ext cx="248198" cy="268007"/>
          </a:xfrm>
          <a:custGeom>
            <a:avLst/>
            <a:gdLst>
              <a:gd name="connsiteX0" fmla="*/ 114195 w 248198"/>
              <a:gd name="connsiteY0" fmla="*/ 268007 h 268007"/>
              <a:gd name="connsiteX1" fmla="*/ 0 w 248198"/>
              <a:gd name="connsiteY1" fmla="*/ 268007 h 268007"/>
              <a:gd name="connsiteX2" fmla="*/ 132838 w 248198"/>
              <a:gd name="connsiteY2" fmla="*/ 135169 h 268007"/>
              <a:gd name="connsiteX3" fmla="*/ 0 w 248198"/>
              <a:gd name="connsiteY3" fmla="*/ 0 h 268007"/>
              <a:gd name="connsiteX4" fmla="*/ 116525 w 248198"/>
              <a:gd name="connsiteY4" fmla="*/ 0 h 268007"/>
              <a:gd name="connsiteX5" fmla="*/ 248198 w 248198"/>
              <a:gd name="connsiteY5" fmla="*/ 131673 h 268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8007">
                <a:moveTo>
                  <a:pt x="114195" y="268007"/>
                </a:moveTo>
                <a:lnTo>
                  <a:pt x="0" y="268007"/>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endParaRPr lang="de-DE"/>
          </a:p>
        </p:txBody>
      </p:sp>
      <p:sp>
        <p:nvSpPr>
          <p:cNvPr id="488" name="Freihandform: Form 487">
            <a:extLst>
              <a:ext uri="{FF2B5EF4-FFF2-40B4-BE49-F238E27FC236}">
                <a16:creationId xmlns:a16="http://schemas.microsoft.com/office/drawing/2014/main" id="{06660CCF-FEE4-4A5F-8E5C-895C66A8B07F}"/>
              </a:ext>
            </a:extLst>
          </p:cNvPr>
          <p:cNvSpPr/>
          <p:nvPr userDrawn="1"/>
        </p:nvSpPr>
        <p:spPr>
          <a:xfrm>
            <a:off x="9761293" y="4814154"/>
            <a:ext cx="248198" cy="269172"/>
          </a:xfrm>
          <a:custGeom>
            <a:avLst/>
            <a:gdLst>
              <a:gd name="connsiteX0" fmla="*/ 114195 w 248198"/>
              <a:gd name="connsiteY0" fmla="*/ 269172 h 269172"/>
              <a:gd name="connsiteX1" fmla="*/ 0 w 248198"/>
              <a:gd name="connsiteY1" fmla="*/ 269172 h 269172"/>
              <a:gd name="connsiteX2" fmla="*/ 132838 w 248198"/>
              <a:gd name="connsiteY2" fmla="*/ 136334 h 269172"/>
              <a:gd name="connsiteX3" fmla="*/ 0 w 248198"/>
              <a:gd name="connsiteY3" fmla="*/ 0 h 269172"/>
              <a:gd name="connsiteX4" fmla="*/ 116525 w 248198"/>
              <a:gd name="connsiteY4" fmla="*/ 0 h 269172"/>
              <a:gd name="connsiteX5" fmla="*/ 248198 w 248198"/>
              <a:gd name="connsiteY5" fmla="*/ 132838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6334"/>
                </a:lnTo>
                <a:lnTo>
                  <a:pt x="0" y="0"/>
                </a:lnTo>
                <a:lnTo>
                  <a:pt x="116525" y="0"/>
                </a:lnTo>
                <a:lnTo>
                  <a:pt x="248198" y="132838"/>
                </a:lnTo>
                <a:close/>
              </a:path>
            </a:pathLst>
          </a:custGeom>
          <a:solidFill>
            <a:srgbClr val="EEF2F5"/>
          </a:solidFill>
          <a:ln w="11643" cap="flat">
            <a:noFill/>
            <a:prstDash val="solid"/>
            <a:miter/>
          </a:ln>
        </p:spPr>
        <p:txBody>
          <a:bodyPr rtlCol="0" anchor="ctr"/>
          <a:lstStyle/>
          <a:p>
            <a:endParaRPr lang="de-DE"/>
          </a:p>
        </p:txBody>
      </p:sp>
      <p:sp>
        <p:nvSpPr>
          <p:cNvPr id="489" name="Freihandform: Form 488">
            <a:extLst>
              <a:ext uri="{FF2B5EF4-FFF2-40B4-BE49-F238E27FC236}">
                <a16:creationId xmlns:a16="http://schemas.microsoft.com/office/drawing/2014/main" id="{6E41AC2D-718A-468C-AC62-C1169CCB8D98}"/>
              </a:ext>
            </a:extLst>
          </p:cNvPr>
          <p:cNvSpPr/>
          <p:nvPr userDrawn="1"/>
        </p:nvSpPr>
        <p:spPr>
          <a:xfrm>
            <a:off x="9761293" y="5169554"/>
            <a:ext cx="248198" cy="268007"/>
          </a:xfrm>
          <a:custGeom>
            <a:avLst/>
            <a:gdLst>
              <a:gd name="connsiteX0" fmla="*/ 114195 w 248198"/>
              <a:gd name="connsiteY0" fmla="*/ 268007 h 268007"/>
              <a:gd name="connsiteX1" fmla="*/ 0 w 248198"/>
              <a:gd name="connsiteY1" fmla="*/ 268007 h 268007"/>
              <a:gd name="connsiteX2" fmla="*/ 132838 w 248198"/>
              <a:gd name="connsiteY2" fmla="*/ 135169 h 268007"/>
              <a:gd name="connsiteX3" fmla="*/ 0 w 248198"/>
              <a:gd name="connsiteY3" fmla="*/ 0 h 268007"/>
              <a:gd name="connsiteX4" fmla="*/ 116525 w 248198"/>
              <a:gd name="connsiteY4" fmla="*/ 0 h 268007"/>
              <a:gd name="connsiteX5" fmla="*/ 248198 w 248198"/>
              <a:gd name="connsiteY5" fmla="*/ 131673 h 268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8007">
                <a:moveTo>
                  <a:pt x="114195" y="268007"/>
                </a:moveTo>
                <a:lnTo>
                  <a:pt x="0" y="268007"/>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endParaRPr lang="de-DE"/>
          </a:p>
        </p:txBody>
      </p:sp>
      <p:sp>
        <p:nvSpPr>
          <p:cNvPr id="490" name="Freihandform: Form 489">
            <a:extLst>
              <a:ext uri="{FF2B5EF4-FFF2-40B4-BE49-F238E27FC236}">
                <a16:creationId xmlns:a16="http://schemas.microsoft.com/office/drawing/2014/main" id="{4BE823B6-3CF5-4C0A-8FBC-8BF3D89E62E6}"/>
              </a:ext>
            </a:extLst>
          </p:cNvPr>
          <p:cNvSpPr/>
          <p:nvPr userDrawn="1"/>
        </p:nvSpPr>
        <p:spPr>
          <a:xfrm>
            <a:off x="9761293" y="5523790"/>
            <a:ext cx="248198" cy="269172"/>
          </a:xfrm>
          <a:custGeom>
            <a:avLst/>
            <a:gdLst>
              <a:gd name="connsiteX0" fmla="*/ 114195 w 248198"/>
              <a:gd name="connsiteY0" fmla="*/ 269172 h 269172"/>
              <a:gd name="connsiteX1" fmla="*/ 0 w 248198"/>
              <a:gd name="connsiteY1" fmla="*/ 269172 h 269172"/>
              <a:gd name="connsiteX2" fmla="*/ 132838 w 248198"/>
              <a:gd name="connsiteY2" fmla="*/ 136334 h 269172"/>
              <a:gd name="connsiteX3" fmla="*/ 0 w 248198"/>
              <a:gd name="connsiteY3" fmla="*/ 0 h 269172"/>
              <a:gd name="connsiteX4" fmla="*/ 116525 w 248198"/>
              <a:gd name="connsiteY4" fmla="*/ 0 h 269172"/>
              <a:gd name="connsiteX5" fmla="*/ 248198 w 248198"/>
              <a:gd name="connsiteY5" fmla="*/ 132838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6334"/>
                </a:lnTo>
                <a:lnTo>
                  <a:pt x="0" y="0"/>
                </a:lnTo>
                <a:lnTo>
                  <a:pt x="116525" y="0"/>
                </a:lnTo>
                <a:lnTo>
                  <a:pt x="248198" y="132838"/>
                </a:lnTo>
                <a:close/>
              </a:path>
            </a:pathLst>
          </a:custGeom>
          <a:solidFill>
            <a:srgbClr val="EEF2F5"/>
          </a:solidFill>
          <a:ln w="11643" cap="flat">
            <a:noFill/>
            <a:prstDash val="solid"/>
            <a:miter/>
          </a:ln>
        </p:spPr>
        <p:txBody>
          <a:bodyPr rtlCol="0" anchor="ctr"/>
          <a:lstStyle/>
          <a:p>
            <a:endParaRPr lang="de-DE"/>
          </a:p>
        </p:txBody>
      </p:sp>
      <p:sp>
        <p:nvSpPr>
          <p:cNvPr id="491" name="Freihandform: Form 490">
            <a:extLst>
              <a:ext uri="{FF2B5EF4-FFF2-40B4-BE49-F238E27FC236}">
                <a16:creationId xmlns:a16="http://schemas.microsoft.com/office/drawing/2014/main" id="{B0586C0A-D3A9-43C8-BC22-E34DC9A911FC}"/>
              </a:ext>
            </a:extLst>
          </p:cNvPr>
          <p:cNvSpPr/>
          <p:nvPr userDrawn="1"/>
        </p:nvSpPr>
        <p:spPr>
          <a:xfrm>
            <a:off x="9761293" y="5879190"/>
            <a:ext cx="248198" cy="269172"/>
          </a:xfrm>
          <a:custGeom>
            <a:avLst/>
            <a:gdLst>
              <a:gd name="connsiteX0" fmla="*/ 114195 w 248198"/>
              <a:gd name="connsiteY0" fmla="*/ 269172 h 269172"/>
              <a:gd name="connsiteX1" fmla="*/ 0 w 248198"/>
              <a:gd name="connsiteY1" fmla="*/ 269172 h 269172"/>
              <a:gd name="connsiteX2" fmla="*/ 132838 w 248198"/>
              <a:gd name="connsiteY2" fmla="*/ 135169 h 269172"/>
              <a:gd name="connsiteX3" fmla="*/ 0 w 248198"/>
              <a:gd name="connsiteY3" fmla="*/ 0 h 269172"/>
              <a:gd name="connsiteX4" fmla="*/ 116525 w 248198"/>
              <a:gd name="connsiteY4" fmla="*/ 0 h 269172"/>
              <a:gd name="connsiteX5" fmla="*/ 248198 w 248198"/>
              <a:gd name="connsiteY5" fmla="*/ 131673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endParaRPr lang="de-DE"/>
          </a:p>
        </p:txBody>
      </p:sp>
      <p:sp>
        <p:nvSpPr>
          <p:cNvPr id="492" name="Freihandform: Form 491">
            <a:extLst>
              <a:ext uri="{FF2B5EF4-FFF2-40B4-BE49-F238E27FC236}">
                <a16:creationId xmlns:a16="http://schemas.microsoft.com/office/drawing/2014/main" id="{BAA83463-E746-448C-AEF2-15F032667EAD}"/>
              </a:ext>
            </a:extLst>
          </p:cNvPr>
          <p:cNvSpPr/>
          <p:nvPr userDrawn="1"/>
        </p:nvSpPr>
        <p:spPr>
          <a:xfrm>
            <a:off x="9761293" y="6233426"/>
            <a:ext cx="248198" cy="269172"/>
          </a:xfrm>
          <a:custGeom>
            <a:avLst/>
            <a:gdLst>
              <a:gd name="connsiteX0" fmla="*/ 114195 w 248198"/>
              <a:gd name="connsiteY0" fmla="*/ 269172 h 269172"/>
              <a:gd name="connsiteX1" fmla="*/ 0 w 248198"/>
              <a:gd name="connsiteY1" fmla="*/ 269172 h 269172"/>
              <a:gd name="connsiteX2" fmla="*/ 132838 w 248198"/>
              <a:gd name="connsiteY2" fmla="*/ 136334 h 269172"/>
              <a:gd name="connsiteX3" fmla="*/ 0 w 248198"/>
              <a:gd name="connsiteY3" fmla="*/ 0 h 269172"/>
              <a:gd name="connsiteX4" fmla="*/ 116525 w 248198"/>
              <a:gd name="connsiteY4" fmla="*/ 0 h 269172"/>
              <a:gd name="connsiteX5" fmla="*/ 248198 w 248198"/>
              <a:gd name="connsiteY5" fmla="*/ 132838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6334"/>
                </a:lnTo>
                <a:lnTo>
                  <a:pt x="0" y="0"/>
                </a:lnTo>
                <a:lnTo>
                  <a:pt x="116525" y="0"/>
                </a:lnTo>
                <a:lnTo>
                  <a:pt x="248198" y="132838"/>
                </a:lnTo>
                <a:close/>
              </a:path>
            </a:pathLst>
          </a:custGeom>
          <a:solidFill>
            <a:srgbClr val="EEF2F5"/>
          </a:solidFill>
          <a:ln w="11643" cap="flat">
            <a:noFill/>
            <a:prstDash val="solid"/>
            <a:miter/>
          </a:ln>
        </p:spPr>
        <p:txBody>
          <a:bodyPr rtlCol="0" anchor="ctr"/>
          <a:lstStyle/>
          <a:p>
            <a:endParaRPr lang="de-DE"/>
          </a:p>
        </p:txBody>
      </p:sp>
      <p:sp>
        <p:nvSpPr>
          <p:cNvPr id="493" name="Freihandform: Form 492">
            <a:extLst>
              <a:ext uri="{FF2B5EF4-FFF2-40B4-BE49-F238E27FC236}">
                <a16:creationId xmlns:a16="http://schemas.microsoft.com/office/drawing/2014/main" id="{630922BC-26BD-42F2-898F-FEDC66EF3731}"/>
              </a:ext>
            </a:extLst>
          </p:cNvPr>
          <p:cNvSpPr/>
          <p:nvPr userDrawn="1"/>
        </p:nvSpPr>
        <p:spPr>
          <a:xfrm>
            <a:off x="9761293" y="6588826"/>
            <a:ext cx="248198" cy="269172"/>
          </a:xfrm>
          <a:custGeom>
            <a:avLst/>
            <a:gdLst>
              <a:gd name="connsiteX0" fmla="*/ 114195 w 248198"/>
              <a:gd name="connsiteY0" fmla="*/ 269172 h 269172"/>
              <a:gd name="connsiteX1" fmla="*/ 0 w 248198"/>
              <a:gd name="connsiteY1" fmla="*/ 269172 h 269172"/>
              <a:gd name="connsiteX2" fmla="*/ 132838 w 248198"/>
              <a:gd name="connsiteY2" fmla="*/ 135169 h 269172"/>
              <a:gd name="connsiteX3" fmla="*/ 0 w 248198"/>
              <a:gd name="connsiteY3" fmla="*/ 0 h 269172"/>
              <a:gd name="connsiteX4" fmla="*/ 116525 w 248198"/>
              <a:gd name="connsiteY4" fmla="*/ 0 h 269172"/>
              <a:gd name="connsiteX5" fmla="*/ 248198 w 248198"/>
              <a:gd name="connsiteY5" fmla="*/ 131673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endParaRPr lang="de-DE"/>
          </a:p>
        </p:txBody>
      </p:sp>
      <p:grpSp>
        <p:nvGrpSpPr>
          <p:cNvPr id="39" name="Gruppieren 38">
            <a:extLst>
              <a:ext uri="{FF2B5EF4-FFF2-40B4-BE49-F238E27FC236}">
                <a16:creationId xmlns:a16="http://schemas.microsoft.com/office/drawing/2014/main" id="{AA666764-7F63-4EE2-87ED-D1E80C7F6AA1}"/>
              </a:ext>
            </a:extLst>
          </p:cNvPr>
          <p:cNvGrpSpPr/>
          <p:nvPr userDrawn="1"/>
        </p:nvGrpSpPr>
        <p:grpSpPr>
          <a:xfrm>
            <a:off x="4814318" y="4632993"/>
            <a:ext cx="421976" cy="421976"/>
            <a:chOff x="4991839" y="5657214"/>
            <a:chExt cx="203835" cy="203835"/>
          </a:xfrm>
        </p:grpSpPr>
        <p:sp>
          <p:nvSpPr>
            <p:cNvPr id="38" name="Grafik 3">
              <a:extLst>
                <a:ext uri="{FF2B5EF4-FFF2-40B4-BE49-F238E27FC236}">
                  <a16:creationId xmlns:a16="http://schemas.microsoft.com/office/drawing/2014/main" id="{3ACBFD09-2BCE-47C1-82F9-F67E69F50CD5}"/>
                </a:ext>
              </a:extLst>
            </p:cNvPr>
            <p:cNvSpPr/>
            <p:nvPr/>
          </p:nvSpPr>
          <p:spPr>
            <a:xfrm>
              <a:off x="4991839" y="5657214"/>
              <a:ext cx="203835" cy="203835"/>
            </a:xfrm>
            <a:custGeom>
              <a:avLst/>
              <a:gdLst>
                <a:gd name="connsiteX0" fmla="*/ 203835 w 203835"/>
                <a:gd name="connsiteY0" fmla="*/ 101918 h 203835"/>
                <a:gd name="connsiteX1" fmla="*/ 101918 w 203835"/>
                <a:gd name="connsiteY1" fmla="*/ 203835 h 203835"/>
                <a:gd name="connsiteX2" fmla="*/ 0 w 203835"/>
                <a:gd name="connsiteY2" fmla="*/ 101918 h 203835"/>
                <a:gd name="connsiteX3" fmla="*/ 101918 w 203835"/>
                <a:gd name="connsiteY3" fmla="*/ 0 h 203835"/>
                <a:gd name="connsiteX4" fmla="*/ 203835 w 203835"/>
                <a:gd name="connsiteY4" fmla="*/ 101918 h 2038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3835" h="203835">
                  <a:moveTo>
                    <a:pt x="203835" y="101918"/>
                  </a:moveTo>
                  <a:cubicBezTo>
                    <a:pt x="203835" y="158205"/>
                    <a:pt x="158205" y="203835"/>
                    <a:pt x="101918" y="203835"/>
                  </a:cubicBezTo>
                  <a:cubicBezTo>
                    <a:pt x="45630" y="203835"/>
                    <a:pt x="0" y="158205"/>
                    <a:pt x="0" y="101918"/>
                  </a:cubicBezTo>
                  <a:cubicBezTo>
                    <a:pt x="0" y="45630"/>
                    <a:pt x="45630" y="0"/>
                    <a:pt x="101918" y="0"/>
                  </a:cubicBezTo>
                  <a:cubicBezTo>
                    <a:pt x="158205" y="0"/>
                    <a:pt x="203835" y="45630"/>
                    <a:pt x="203835" y="101918"/>
                  </a:cubicBezTo>
                  <a:close/>
                </a:path>
              </a:pathLst>
            </a:custGeom>
            <a:solidFill>
              <a:srgbClr val="ECF0F4"/>
            </a:solidFill>
            <a:ln w="9525" cap="flat">
              <a:noFill/>
              <a:prstDash val="solid"/>
              <a:miter/>
            </a:ln>
          </p:spPr>
          <p:txBody>
            <a:bodyPr rtlCol="0" anchor="ctr"/>
            <a:lstStyle/>
            <a:p>
              <a:endParaRPr lang="de-DE"/>
            </a:p>
          </p:txBody>
        </p:sp>
        <p:sp>
          <p:nvSpPr>
            <p:cNvPr id="37" name="Grafik 30">
              <a:extLst>
                <a:ext uri="{FF2B5EF4-FFF2-40B4-BE49-F238E27FC236}">
                  <a16:creationId xmlns:a16="http://schemas.microsoft.com/office/drawing/2014/main" id="{0F7F147F-AAE3-4BE1-B657-9037D1087DC9}"/>
                </a:ext>
              </a:extLst>
            </p:cNvPr>
            <p:cNvSpPr/>
            <p:nvPr/>
          </p:nvSpPr>
          <p:spPr>
            <a:xfrm>
              <a:off x="5039940" y="5721508"/>
              <a:ext cx="107632" cy="75247"/>
            </a:xfrm>
            <a:custGeom>
              <a:avLst/>
              <a:gdLst>
                <a:gd name="connsiteX0" fmla="*/ 98108 w 107632"/>
                <a:gd name="connsiteY0" fmla="*/ 0 h 75247"/>
                <a:gd name="connsiteX1" fmla="*/ 9525 w 107632"/>
                <a:gd name="connsiteY1" fmla="*/ 0 h 75247"/>
                <a:gd name="connsiteX2" fmla="*/ 0 w 107632"/>
                <a:gd name="connsiteY2" fmla="*/ 9525 h 75247"/>
                <a:gd name="connsiteX3" fmla="*/ 0 w 107632"/>
                <a:gd name="connsiteY3" fmla="*/ 65723 h 75247"/>
                <a:gd name="connsiteX4" fmla="*/ 9525 w 107632"/>
                <a:gd name="connsiteY4" fmla="*/ 75248 h 75247"/>
                <a:gd name="connsiteX5" fmla="*/ 98108 w 107632"/>
                <a:gd name="connsiteY5" fmla="*/ 75248 h 75247"/>
                <a:gd name="connsiteX6" fmla="*/ 107633 w 107632"/>
                <a:gd name="connsiteY6" fmla="*/ 65723 h 75247"/>
                <a:gd name="connsiteX7" fmla="*/ 107633 w 107632"/>
                <a:gd name="connsiteY7" fmla="*/ 9525 h 75247"/>
                <a:gd name="connsiteX8" fmla="*/ 98108 w 107632"/>
                <a:gd name="connsiteY8" fmla="*/ 0 h 75247"/>
                <a:gd name="connsiteX9" fmla="*/ 96203 w 107632"/>
                <a:gd name="connsiteY9" fmla="*/ 6668 h 75247"/>
                <a:gd name="connsiteX10" fmla="*/ 60008 w 107632"/>
                <a:gd name="connsiteY10" fmla="*/ 41910 h 75247"/>
                <a:gd name="connsiteX11" fmla="*/ 53340 w 107632"/>
                <a:gd name="connsiteY11" fmla="*/ 44768 h 75247"/>
                <a:gd name="connsiteX12" fmla="*/ 46673 w 107632"/>
                <a:gd name="connsiteY12" fmla="*/ 41910 h 75247"/>
                <a:gd name="connsiteX13" fmla="*/ 10478 w 107632"/>
                <a:gd name="connsiteY13" fmla="*/ 6668 h 75247"/>
                <a:gd name="connsiteX14" fmla="*/ 96203 w 107632"/>
                <a:gd name="connsiteY14" fmla="*/ 6668 h 75247"/>
                <a:gd name="connsiteX15" fmla="*/ 6668 w 107632"/>
                <a:gd name="connsiteY15" fmla="*/ 64770 h 75247"/>
                <a:gd name="connsiteX16" fmla="*/ 6668 w 107632"/>
                <a:gd name="connsiteY16" fmla="*/ 10478 h 75247"/>
                <a:gd name="connsiteX17" fmla="*/ 33338 w 107632"/>
                <a:gd name="connsiteY17" fmla="*/ 38100 h 75247"/>
                <a:gd name="connsiteX18" fmla="*/ 6668 w 107632"/>
                <a:gd name="connsiteY18" fmla="*/ 64770 h 75247"/>
                <a:gd name="connsiteX19" fmla="*/ 10478 w 107632"/>
                <a:gd name="connsiteY19" fmla="*/ 68580 h 75247"/>
                <a:gd name="connsiteX20" fmla="*/ 38100 w 107632"/>
                <a:gd name="connsiteY20" fmla="*/ 41910 h 75247"/>
                <a:gd name="connsiteX21" fmla="*/ 42863 w 107632"/>
                <a:gd name="connsiteY21" fmla="*/ 46673 h 75247"/>
                <a:gd name="connsiteX22" fmla="*/ 54293 w 107632"/>
                <a:gd name="connsiteY22" fmla="*/ 51435 h 75247"/>
                <a:gd name="connsiteX23" fmla="*/ 65723 w 107632"/>
                <a:gd name="connsiteY23" fmla="*/ 46673 h 75247"/>
                <a:gd name="connsiteX24" fmla="*/ 70485 w 107632"/>
                <a:gd name="connsiteY24" fmla="*/ 41910 h 75247"/>
                <a:gd name="connsiteX25" fmla="*/ 97155 w 107632"/>
                <a:gd name="connsiteY25" fmla="*/ 68580 h 75247"/>
                <a:gd name="connsiteX26" fmla="*/ 10478 w 107632"/>
                <a:gd name="connsiteY26" fmla="*/ 68580 h 75247"/>
                <a:gd name="connsiteX27" fmla="*/ 100965 w 107632"/>
                <a:gd name="connsiteY27" fmla="*/ 64770 h 75247"/>
                <a:gd name="connsiteX28" fmla="*/ 73343 w 107632"/>
                <a:gd name="connsiteY28" fmla="*/ 38100 h 75247"/>
                <a:gd name="connsiteX29" fmla="*/ 100013 w 107632"/>
                <a:gd name="connsiteY29" fmla="*/ 11430 h 75247"/>
                <a:gd name="connsiteX30" fmla="*/ 100013 w 107632"/>
                <a:gd name="connsiteY30" fmla="*/ 64770 h 75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07632" h="75247">
                  <a:moveTo>
                    <a:pt x="98108" y="0"/>
                  </a:moveTo>
                  <a:lnTo>
                    <a:pt x="9525" y="0"/>
                  </a:lnTo>
                  <a:cubicBezTo>
                    <a:pt x="3810" y="0"/>
                    <a:pt x="0" y="3810"/>
                    <a:pt x="0" y="9525"/>
                  </a:cubicBezTo>
                  <a:lnTo>
                    <a:pt x="0" y="65723"/>
                  </a:lnTo>
                  <a:cubicBezTo>
                    <a:pt x="0" y="70485"/>
                    <a:pt x="3810" y="75248"/>
                    <a:pt x="9525" y="75248"/>
                  </a:cubicBezTo>
                  <a:lnTo>
                    <a:pt x="98108" y="75248"/>
                  </a:lnTo>
                  <a:cubicBezTo>
                    <a:pt x="102870" y="75248"/>
                    <a:pt x="107633" y="71438"/>
                    <a:pt x="107633" y="65723"/>
                  </a:cubicBezTo>
                  <a:lnTo>
                    <a:pt x="107633" y="9525"/>
                  </a:lnTo>
                  <a:cubicBezTo>
                    <a:pt x="106680" y="3810"/>
                    <a:pt x="102870" y="0"/>
                    <a:pt x="98108" y="0"/>
                  </a:cubicBezTo>
                  <a:close/>
                  <a:moveTo>
                    <a:pt x="96203" y="6668"/>
                  </a:moveTo>
                  <a:cubicBezTo>
                    <a:pt x="94298" y="8573"/>
                    <a:pt x="60960" y="40958"/>
                    <a:pt x="60008" y="41910"/>
                  </a:cubicBezTo>
                  <a:cubicBezTo>
                    <a:pt x="58103" y="43815"/>
                    <a:pt x="56198" y="44768"/>
                    <a:pt x="53340" y="44768"/>
                  </a:cubicBezTo>
                  <a:cubicBezTo>
                    <a:pt x="50483" y="44768"/>
                    <a:pt x="48578" y="43815"/>
                    <a:pt x="46673" y="41910"/>
                  </a:cubicBezTo>
                  <a:cubicBezTo>
                    <a:pt x="45720" y="41910"/>
                    <a:pt x="13335" y="8573"/>
                    <a:pt x="10478" y="6668"/>
                  </a:cubicBezTo>
                  <a:lnTo>
                    <a:pt x="96203" y="6668"/>
                  </a:lnTo>
                  <a:close/>
                  <a:moveTo>
                    <a:pt x="6668" y="64770"/>
                  </a:moveTo>
                  <a:lnTo>
                    <a:pt x="6668" y="10478"/>
                  </a:lnTo>
                  <a:lnTo>
                    <a:pt x="33338" y="38100"/>
                  </a:lnTo>
                  <a:lnTo>
                    <a:pt x="6668" y="64770"/>
                  </a:lnTo>
                  <a:close/>
                  <a:moveTo>
                    <a:pt x="10478" y="68580"/>
                  </a:moveTo>
                  <a:lnTo>
                    <a:pt x="38100" y="41910"/>
                  </a:lnTo>
                  <a:lnTo>
                    <a:pt x="42863" y="46673"/>
                  </a:lnTo>
                  <a:cubicBezTo>
                    <a:pt x="45720" y="49530"/>
                    <a:pt x="49530" y="51435"/>
                    <a:pt x="54293" y="51435"/>
                  </a:cubicBezTo>
                  <a:cubicBezTo>
                    <a:pt x="58103" y="51435"/>
                    <a:pt x="62865" y="49530"/>
                    <a:pt x="65723" y="46673"/>
                  </a:cubicBezTo>
                  <a:lnTo>
                    <a:pt x="70485" y="41910"/>
                  </a:lnTo>
                  <a:lnTo>
                    <a:pt x="97155" y="68580"/>
                  </a:lnTo>
                  <a:lnTo>
                    <a:pt x="10478" y="68580"/>
                  </a:lnTo>
                  <a:close/>
                  <a:moveTo>
                    <a:pt x="100965" y="64770"/>
                  </a:moveTo>
                  <a:lnTo>
                    <a:pt x="73343" y="38100"/>
                  </a:lnTo>
                  <a:lnTo>
                    <a:pt x="100013" y="11430"/>
                  </a:lnTo>
                  <a:lnTo>
                    <a:pt x="100013" y="64770"/>
                  </a:lnTo>
                  <a:close/>
                </a:path>
              </a:pathLst>
            </a:custGeom>
            <a:solidFill>
              <a:srgbClr val="3A5C7D"/>
            </a:solidFill>
            <a:ln w="9525" cap="flat">
              <a:noFill/>
              <a:prstDash val="solid"/>
              <a:miter/>
            </a:ln>
          </p:spPr>
          <p:txBody>
            <a:bodyPr rtlCol="0" anchor="ctr"/>
            <a:lstStyle/>
            <a:p>
              <a:endParaRPr lang="de-DE"/>
            </a:p>
          </p:txBody>
        </p:sp>
      </p:grpSp>
      <p:grpSp>
        <p:nvGrpSpPr>
          <p:cNvPr id="36" name="Gruppieren 35">
            <a:extLst>
              <a:ext uri="{FF2B5EF4-FFF2-40B4-BE49-F238E27FC236}">
                <a16:creationId xmlns:a16="http://schemas.microsoft.com/office/drawing/2014/main" id="{66A2E61D-F083-418F-919D-66394DC26082}"/>
              </a:ext>
            </a:extLst>
          </p:cNvPr>
          <p:cNvGrpSpPr/>
          <p:nvPr userDrawn="1"/>
        </p:nvGrpSpPr>
        <p:grpSpPr>
          <a:xfrm>
            <a:off x="4812959" y="4085094"/>
            <a:ext cx="424694" cy="424694"/>
            <a:chOff x="4702667" y="5218499"/>
            <a:chExt cx="203835" cy="203835"/>
          </a:xfrm>
        </p:grpSpPr>
        <p:sp>
          <p:nvSpPr>
            <p:cNvPr id="34" name="Grafik 31">
              <a:extLst>
                <a:ext uri="{FF2B5EF4-FFF2-40B4-BE49-F238E27FC236}">
                  <a16:creationId xmlns:a16="http://schemas.microsoft.com/office/drawing/2014/main" id="{E92F21DB-71AC-49E2-A5A9-E6D54A01D532}"/>
                </a:ext>
              </a:extLst>
            </p:cNvPr>
            <p:cNvSpPr/>
            <p:nvPr/>
          </p:nvSpPr>
          <p:spPr>
            <a:xfrm>
              <a:off x="4702667" y="5218499"/>
              <a:ext cx="203835" cy="203835"/>
            </a:xfrm>
            <a:custGeom>
              <a:avLst/>
              <a:gdLst>
                <a:gd name="connsiteX0" fmla="*/ 203835 w 203835"/>
                <a:gd name="connsiteY0" fmla="*/ 101918 h 203835"/>
                <a:gd name="connsiteX1" fmla="*/ 101918 w 203835"/>
                <a:gd name="connsiteY1" fmla="*/ 203835 h 203835"/>
                <a:gd name="connsiteX2" fmla="*/ 0 w 203835"/>
                <a:gd name="connsiteY2" fmla="*/ 101918 h 203835"/>
                <a:gd name="connsiteX3" fmla="*/ 101918 w 203835"/>
                <a:gd name="connsiteY3" fmla="*/ 0 h 203835"/>
                <a:gd name="connsiteX4" fmla="*/ 203835 w 203835"/>
                <a:gd name="connsiteY4" fmla="*/ 101918 h 2038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3835" h="203835">
                  <a:moveTo>
                    <a:pt x="203835" y="101918"/>
                  </a:moveTo>
                  <a:cubicBezTo>
                    <a:pt x="203835" y="158205"/>
                    <a:pt x="158205" y="203835"/>
                    <a:pt x="101918" y="203835"/>
                  </a:cubicBezTo>
                  <a:cubicBezTo>
                    <a:pt x="45630" y="203835"/>
                    <a:pt x="0" y="158205"/>
                    <a:pt x="0" y="101918"/>
                  </a:cubicBezTo>
                  <a:cubicBezTo>
                    <a:pt x="0" y="45630"/>
                    <a:pt x="45630" y="0"/>
                    <a:pt x="101918" y="0"/>
                  </a:cubicBezTo>
                  <a:cubicBezTo>
                    <a:pt x="158205" y="0"/>
                    <a:pt x="203835" y="45630"/>
                    <a:pt x="203835" y="101918"/>
                  </a:cubicBezTo>
                  <a:close/>
                </a:path>
              </a:pathLst>
            </a:custGeom>
            <a:solidFill>
              <a:srgbClr val="ECF0F4"/>
            </a:solidFill>
            <a:ln w="9525" cap="flat">
              <a:noFill/>
              <a:prstDash val="solid"/>
              <a:miter/>
            </a:ln>
          </p:spPr>
          <p:txBody>
            <a:bodyPr rtlCol="0" anchor="ctr"/>
            <a:lstStyle/>
            <a:p>
              <a:endParaRPr lang="de-DE"/>
            </a:p>
          </p:txBody>
        </p:sp>
        <p:sp>
          <p:nvSpPr>
            <p:cNvPr id="33" name="Grafik 29">
              <a:extLst>
                <a:ext uri="{FF2B5EF4-FFF2-40B4-BE49-F238E27FC236}">
                  <a16:creationId xmlns:a16="http://schemas.microsoft.com/office/drawing/2014/main" id="{C5CDD651-6752-43FB-B542-3447DAD562C2}"/>
                </a:ext>
              </a:extLst>
            </p:cNvPr>
            <p:cNvSpPr/>
            <p:nvPr/>
          </p:nvSpPr>
          <p:spPr>
            <a:xfrm>
              <a:off x="4749870" y="5265171"/>
              <a:ext cx="109428" cy="110490"/>
            </a:xfrm>
            <a:custGeom>
              <a:avLst/>
              <a:gdLst>
                <a:gd name="connsiteX0" fmla="*/ 105728 w 109428"/>
                <a:gd name="connsiteY0" fmla="*/ 80010 h 110490"/>
                <a:gd name="connsiteX1" fmla="*/ 92393 w 109428"/>
                <a:gd name="connsiteY1" fmla="*/ 65723 h 110490"/>
                <a:gd name="connsiteX2" fmla="*/ 83820 w 109428"/>
                <a:gd name="connsiteY2" fmla="*/ 62865 h 110490"/>
                <a:gd name="connsiteX3" fmla="*/ 76200 w 109428"/>
                <a:gd name="connsiteY3" fmla="*/ 65723 h 110490"/>
                <a:gd name="connsiteX4" fmla="*/ 67628 w 109428"/>
                <a:gd name="connsiteY4" fmla="*/ 74295 h 110490"/>
                <a:gd name="connsiteX5" fmla="*/ 65723 w 109428"/>
                <a:gd name="connsiteY5" fmla="*/ 73343 h 110490"/>
                <a:gd name="connsiteX6" fmla="*/ 62865 w 109428"/>
                <a:gd name="connsiteY6" fmla="*/ 72390 h 110490"/>
                <a:gd name="connsiteX7" fmla="*/ 42863 w 109428"/>
                <a:gd name="connsiteY7" fmla="*/ 53340 h 110490"/>
                <a:gd name="connsiteX8" fmla="*/ 35243 w 109428"/>
                <a:gd name="connsiteY8" fmla="*/ 41910 h 110490"/>
                <a:gd name="connsiteX9" fmla="*/ 41910 w 109428"/>
                <a:gd name="connsiteY9" fmla="*/ 36195 h 110490"/>
                <a:gd name="connsiteX10" fmla="*/ 43815 w 109428"/>
                <a:gd name="connsiteY10" fmla="*/ 34290 h 110490"/>
                <a:gd name="connsiteX11" fmla="*/ 47625 w 109428"/>
                <a:gd name="connsiteY11" fmla="*/ 25718 h 110490"/>
                <a:gd name="connsiteX12" fmla="*/ 43815 w 109428"/>
                <a:gd name="connsiteY12" fmla="*/ 17145 h 110490"/>
                <a:gd name="connsiteX13" fmla="*/ 37148 w 109428"/>
                <a:gd name="connsiteY13" fmla="*/ 10478 h 110490"/>
                <a:gd name="connsiteX14" fmla="*/ 34290 w 109428"/>
                <a:gd name="connsiteY14" fmla="*/ 8573 h 110490"/>
                <a:gd name="connsiteX15" fmla="*/ 29528 w 109428"/>
                <a:gd name="connsiteY15" fmla="*/ 3810 h 110490"/>
                <a:gd name="connsiteX16" fmla="*/ 21908 w 109428"/>
                <a:gd name="connsiteY16" fmla="*/ 0 h 110490"/>
                <a:gd name="connsiteX17" fmla="*/ 14288 w 109428"/>
                <a:gd name="connsiteY17" fmla="*/ 3810 h 110490"/>
                <a:gd name="connsiteX18" fmla="*/ 5715 w 109428"/>
                <a:gd name="connsiteY18" fmla="*/ 12383 h 110490"/>
                <a:gd name="connsiteX19" fmla="*/ 0 w 109428"/>
                <a:gd name="connsiteY19" fmla="*/ 22860 h 110490"/>
                <a:gd name="connsiteX20" fmla="*/ 2858 w 109428"/>
                <a:gd name="connsiteY20" fmla="*/ 41910 h 110490"/>
                <a:gd name="connsiteX21" fmla="*/ 21908 w 109428"/>
                <a:gd name="connsiteY21" fmla="*/ 73343 h 110490"/>
                <a:gd name="connsiteX22" fmla="*/ 60960 w 109428"/>
                <a:gd name="connsiteY22" fmla="*/ 103823 h 110490"/>
                <a:gd name="connsiteX23" fmla="*/ 82868 w 109428"/>
                <a:gd name="connsiteY23" fmla="*/ 110490 h 110490"/>
                <a:gd name="connsiteX24" fmla="*/ 84773 w 109428"/>
                <a:gd name="connsiteY24" fmla="*/ 110490 h 110490"/>
                <a:gd name="connsiteX25" fmla="*/ 99060 w 109428"/>
                <a:gd name="connsiteY25" fmla="*/ 104775 h 110490"/>
                <a:gd name="connsiteX26" fmla="*/ 99060 w 109428"/>
                <a:gd name="connsiteY26" fmla="*/ 104775 h 110490"/>
                <a:gd name="connsiteX27" fmla="*/ 103823 w 109428"/>
                <a:gd name="connsiteY27" fmla="*/ 100013 h 110490"/>
                <a:gd name="connsiteX28" fmla="*/ 106680 w 109428"/>
                <a:gd name="connsiteY28" fmla="*/ 97155 h 110490"/>
                <a:gd name="connsiteX29" fmla="*/ 105728 w 109428"/>
                <a:gd name="connsiteY29" fmla="*/ 80010 h 110490"/>
                <a:gd name="connsiteX30" fmla="*/ 101918 w 109428"/>
                <a:gd name="connsiteY30" fmla="*/ 92393 h 110490"/>
                <a:gd name="connsiteX31" fmla="*/ 99060 w 109428"/>
                <a:gd name="connsiteY31" fmla="*/ 95250 h 110490"/>
                <a:gd name="connsiteX32" fmla="*/ 94298 w 109428"/>
                <a:gd name="connsiteY32" fmla="*/ 100013 h 110490"/>
                <a:gd name="connsiteX33" fmla="*/ 84773 w 109428"/>
                <a:gd name="connsiteY33" fmla="*/ 103823 h 110490"/>
                <a:gd name="connsiteX34" fmla="*/ 83820 w 109428"/>
                <a:gd name="connsiteY34" fmla="*/ 103823 h 110490"/>
                <a:gd name="connsiteX35" fmla="*/ 63818 w 109428"/>
                <a:gd name="connsiteY35" fmla="*/ 98108 h 110490"/>
                <a:gd name="connsiteX36" fmla="*/ 26670 w 109428"/>
                <a:gd name="connsiteY36" fmla="*/ 69533 h 110490"/>
                <a:gd name="connsiteX37" fmla="*/ 8573 w 109428"/>
                <a:gd name="connsiteY37" fmla="*/ 40005 h 110490"/>
                <a:gd name="connsiteX38" fmla="*/ 5715 w 109428"/>
                <a:gd name="connsiteY38" fmla="*/ 23813 h 110490"/>
                <a:gd name="connsiteX39" fmla="*/ 9525 w 109428"/>
                <a:gd name="connsiteY39" fmla="*/ 16193 h 110490"/>
                <a:gd name="connsiteX40" fmla="*/ 18098 w 109428"/>
                <a:gd name="connsiteY40" fmla="*/ 7620 h 110490"/>
                <a:gd name="connsiteX41" fmla="*/ 21908 w 109428"/>
                <a:gd name="connsiteY41" fmla="*/ 5715 h 110490"/>
                <a:gd name="connsiteX42" fmla="*/ 25718 w 109428"/>
                <a:gd name="connsiteY42" fmla="*/ 7620 h 110490"/>
                <a:gd name="connsiteX43" fmla="*/ 30480 w 109428"/>
                <a:gd name="connsiteY43" fmla="*/ 12383 h 110490"/>
                <a:gd name="connsiteX44" fmla="*/ 32385 w 109428"/>
                <a:gd name="connsiteY44" fmla="*/ 15240 h 110490"/>
                <a:gd name="connsiteX45" fmla="*/ 39053 w 109428"/>
                <a:gd name="connsiteY45" fmla="*/ 21908 h 110490"/>
                <a:gd name="connsiteX46" fmla="*/ 40958 w 109428"/>
                <a:gd name="connsiteY46" fmla="*/ 25718 h 110490"/>
                <a:gd name="connsiteX47" fmla="*/ 39053 w 109428"/>
                <a:gd name="connsiteY47" fmla="*/ 29528 h 110490"/>
                <a:gd name="connsiteX48" fmla="*/ 38100 w 109428"/>
                <a:gd name="connsiteY48" fmla="*/ 32385 h 110490"/>
                <a:gd name="connsiteX49" fmla="*/ 31433 w 109428"/>
                <a:gd name="connsiteY49" fmla="*/ 38100 h 110490"/>
                <a:gd name="connsiteX50" fmla="*/ 31433 w 109428"/>
                <a:gd name="connsiteY50" fmla="*/ 38100 h 110490"/>
                <a:gd name="connsiteX51" fmla="*/ 30480 w 109428"/>
                <a:gd name="connsiteY51" fmla="*/ 42863 h 110490"/>
                <a:gd name="connsiteX52" fmla="*/ 30480 w 109428"/>
                <a:gd name="connsiteY52" fmla="*/ 42863 h 110490"/>
                <a:gd name="connsiteX53" fmla="*/ 38100 w 109428"/>
                <a:gd name="connsiteY53" fmla="*/ 56198 h 110490"/>
                <a:gd name="connsiteX54" fmla="*/ 60008 w 109428"/>
                <a:gd name="connsiteY54" fmla="*/ 76200 h 110490"/>
                <a:gd name="connsiteX55" fmla="*/ 62865 w 109428"/>
                <a:gd name="connsiteY55" fmla="*/ 78105 h 110490"/>
                <a:gd name="connsiteX56" fmla="*/ 65723 w 109428"/>
                <a:gd name="connsiteY56" fmla="*/ 79058 h 110490"/>
                <a:gd name="connsiteX57" fmla="*/ 65723 w 109428"/>
                <a:gd name="connsiteY57" fmla="*/ 79058 h 110490"/>
                <a:gd name="connsiteX58" fmla="*/ 67628 w 109428"/>
                <a:gd name="connsiteY58" fmla="*/ 80010 h 110490"/>
                <a:gd name="connsiteX59" fmla="*/ 71438 w 109428"/>
                <a:gd name="connsiteY59" fmla="*/ 78105 h 110490"/>
                <a:gd name="connsiteX60" fmla="*/ 80010 w 109428"/>
                <a:gd name="connsiteY60" fmla="*/ 69533 h 110490"/>
                <a:gd name="connsiteX61" fmla="*/ 83820 w 109428"/>
                <a:gd name="connsiteY61" fmla="*/ 67628 h 110490"/>
                <a:gd name="connsiteX62" fmla="*/ 87630 w 109428"/>
                <a:gd name="connsiteY62" fmla="*/ 69533 h 110490"/>
                <a:gd name="connsiteX63" fmla="*/ 100965 w 109428"/>
                <a:gd name="connsiteY63" fmla="*/ 82868 h 110490"/>
                <a:gd name="connsiteX64" fmla="*/ 101918 w 109428"/>
                <a:gd name="connsiteY64" fmla="*/ 92393 h 110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109428" h="110489">
                  <a:moveTo>
                    <a:pt x="105728" y="80010"/>
                  </a:moveTo>
                  <a:lnTo>
                    <a:pt x="92393" y="65723"/>
                  </a:lnTo>
                  <a:cubicBezTo>
                    <a:pt x="89535" y="63818"/>
                    <a:pt x="87630" y="62865"/>
                    <a:pt x="83820" y="62865"/>
                  </a:cubicBezTo>
                  <a:cubicBezTo>
                    <a:pt x="80963" y="62865"/>
                    <a:pt x="78105" y="63818"/>
                    <a:pt x="76200" y="65723"/>
                  </a:cubicBezTo>
                  <a:lnTo>
                    <a:pt x="67628" y="74295"/>
                  </a:lnTo>
                  <a:cubicBezTo>
                    <a:pt x="67628" y="73343"/>
                    <a:pt x="66675" y="73343"/>
                    <a:pt x="65723" y="73343"/>
                  </a:cubicBezTo>
                  <a:cubicBezTo>
                    <a:pt x="64770" y="73343"/>
                    <a:pt x="63818" y="72390"/>
                    <a:pt x="62865" y="72390"/>
                  </a:cubicBezTo>
                  <a:cubicBezTo>
                    <a:pt x="56198" y="66675"/>
                    <a:pt x="48578" y="60960"/>
                    <a:pt x="42863" y="53340"/>
                  </a:cubicBezTo>
                  <a:cubicBezTo>
                    <a:pt x="39053" y="48578"/>
                    <a:pt x="37148" y="45720"/>
                    <a:pt x="35243" y="41910"/>
                  </a:cubicBezTo>
                  <a:cubicBezTo>
                    <a:pt x="38100" y="40005"/>
                    <a:pt x="40005" y="38100"/>
                    <a:pt x="41910" y="36195"/>
                  </a:cubicBezTo>
                  <a:cubicBezTo>
                    <a:pt x="42863" y="35243"/>
                    <a:pt x="42863" y="35243"/>
                    <a:pt x="43815" y="34290"/>
                  </a:cubicBezTo>
                  <a:cubicBezTo>
                    <a:pt x="46673" y="31433"/>
                    <a:pt x="47625" y="28575"/>
                    <a:pt x="47625" y="25718"/>
                  </a:cubicBezTo>
                  <a:cubicBezTo>
                    <a:pt x="47625" y="22860"/>
                    <a:pt x="46673" y="20003"/>
                    <a:pt x="43815" y="17145"/>
                  </a:cubicBezTo>
                  <a:lnTo>
                    <a:pt x="37148" y="10478"/>
                  </a:lnTo>
                  <a:cubicBezTo>
                    <a:pt x="36195" y="9525"/>
                    <a:pt x="35243" y="8573"/>
                    <a:pt x="34290" y="8573"/>
                  </a:cubicBezTo>
                  <a:cubicBezTo>
                    <a:pt x="33338" y="6668"/>
                    <a:pt x="31433" y="4763"/>
                    <a:pt x="29528" y="3810"/>
                  </a:cubicBezTo>
                  <a:cubicBezTo>
                    <a:pt x="27623" y="953"/>
                    <a:pt x="24765" y="0"/>
                    <a:pt x="21908" y="0"/>
                  </a:cubicBezTo>
                  <a:cubicBezTo>
                    <a:pt x="19050" y="0"/>
                    <a:pt x="16193" y="953"/>
                    <a:pt x="14288" y="3810"/>
                  </a:cubicBezTo>
                  <a:lnTo>
                    <a:pt x="5715" y="12383"/>
                  </a:lnTo>
                  <a:cubicBezTo>
                    <a:pt x="1905" y="15240"/>
                    <a:pt x="0" y="19050"/>
                    <a:pt x="0" y="22860"/>
                  </a:cubicBezTo>
                  <a:cubicBezTo>
                    <a:pt x="0" y="28575"/>
                    <a:pt x="953" y="34290"/>
                    <a:pt x="2858" y="41910"/>
                  </a:cubicBezTo>
                  <a:cubicBezTo>
                    <a:pt x="6668" y="52388"/>
                    <a:pt x="13335" y="62865"/>
                    <a:pt x="21908" y="73343"/>
                  </a:cubicBezTo>
                  <a:cubicBezTo>
                    <a:pt x="32385" y="86678"/>
                    <a:pt x="45720" y="96203"/>
                    <a:pt x="60960" y="103823"/>
                  </a:cubicBezTo>
                  <a:cubicBezTo>
                    <a:pt x="66675" y="106680"/>
                    <a:pt x="74295" y="109538"/>
                    <a:pt x="82868" y="110490"/>
                  </a:cubicBezTo>
                  <a:cubicBezTo>
                    <a:pt x="83820" y="110490"/>
                    <a:pt x="83820" y="110490"/>
                    <a:pt x="84773" y="110490"/>
                  </a:cubicBezTo>
                  <a:cubicBezTo>
                    <a:pt x="90488" y="110490"/>
                    <a:pt x="95250" y="108585"/>
                    <a:pt x="99060" y="104775"/>
                  </a:cubicBezTo>
                  <a:cubicBezTo>
                    <a:pt x="99060" y="104775"/>
                    <a:pt x="99060" y="104775"/>
                    <a:pt x="99060" y="104775"/>
                  </a:cubicBezTo>
                  <a:cubicBezTo>
                    <a:pt x="100013" y="102870"/>
                    <a:pt x="101918" y="101918"/>
                    <a:pt x="103823" y="100013"/>
                  </a:cubicBezTo>
                  <a:cubicBezTo>
                    <a:pt x="104775" y="99060"/>
                    <a:pt x="105728" y="98108"/>
                    <a:pt x="106680" y="97155"/>
                  </a:cubicBezTo>
                  <a:cubicBezTo>
                    <a:pt x="110490" y="91440"/>
                    <a:pt x="110490" y="84773"/>
                    <a:pt x="105728" y="80010"/>
                  </a:cubicBezTo>
                  <a:close/>
                  <a:moveTo>
                    <a:pt x="101918" y="92393"/>
                  </a:moveTo>
                  <a:cubicBezTo>
                    <a:pt x="100965" y="93345"/>
                    <a:pt x="100013" y="94298"/>
                    <a:pt x="99060" y="95250"/>
                  </a:cubicBezTo>
                  <a:cubicBezTo>
                    <a:pt x="97155" y="97155"/>
                    <a:pt x="96203" y="98108"/>
                    <a:pt x="94298" y="100013"/>
                  </a:cubicBezTo>
                  <a:cubicBezTo>
                    <a:pt x="91440" y="102870"/>
                    <a:pt x="88583" y="103823"/>
                    <a:pt x="84773" y="103823"/>
                  </a:cubicBezTo>
                  <a:cubicBezTo>
                    <a:pt x="84773" y="103823"/>
                    <a:pt x="83820" y="103823"/>
                    <a:pt x="83820" y="103823"/>
                  </a:cubicBezTo>
                  <a:cubicBezTo>
                    <a:pt x="76200" y="102870"/>
                    <a:pt x="69533" y="100013"/>
                    <a:pt x="63818" y="98108"/>
                  </a:cubicBezTo>
                  <a:cubicBezTo>
                    <a:pt x="49530" y="91440"/>
                    <a:pt x="37148" y="81915"/>
                    <a:pt x="26670" y="69533"/>
                  </a:cubicBezTo>
                  <a:cubicBezTo>
                    <a:pt x="18098" y="59055"/>
                    <a:pt x="12383" y="49530"/>
                    <a:pt x="8573" y="40005"/>
                  </a:cubicBezTo>
                  <a:cubicBezTo>
                    <a:pt x="5715" y="33338"/>
                    <a:pt x="5715" y="28575"/>
                    <a:pt x="5715" y="23813"/>
                  </a:cubicBezTo>
                  <a:cubicBezTo>
                    <a:pt x="5715" y="20955"/>
                    <a:pt x="7620" y="18098"/>
                    <a:pt x="9525" y="16193"/>
                  </a:cubicBezTo>
                  <a:lnTo>
                    <a:pt x="18098" y="7620"/>
                  </a:lnTo>
                  <a:cubicBezTo>
                    <a:pt x="19050" y="6668"/>
                    <a:pt x="20955" y="5715"/>
                    <a:pt x="21908" y="5715"/>
                  </a:cubicBezTo>
                  <a:cubicBezTo>
                    <a:pt x="22860" y="5715"/>
                    <a:pt x="24765" y="6668"/>
                    <a:pt x="25718" y="7620"/>
                  </a:cubicBezTo>
                  <a:cubicBezTo>
                    <a:pt x="27623" y="8573"/>
                    <a:pt x="28575" y="10478"/>
                    <a:pt x="30480" y="12383"/>
                  </a:cubicBezTo>
                  <a:cubicBezTo>
                    <a:pt x="31433" y="13335"/>
                    <a:pt x="32385" y="14288"/>
                    <a:pt x="32385" y="15240"/>
                  </a:cubicBezTo>
                  <a:lnTo>
                    <a:pt x="39053" y="21908"/>
                  </a:lnTo>
                  <a:cubicBezTo>
                    <a:pt x="40005" y="22860"/>
                    <a:pt x="40958" y="24765"/>
                    <a:pt x="40958" y="25718"/>
                  </a:cubicBezTo>
                  <a:cubicBezTo>
                    <a:pt x="40958" y="26670"/>
                    <a:pt x="40005" y="28575"/>
                    <a:pt x="39053" y="29528"/>
                  </a:cubicBezTo>
                  <a:cubicBezTo>
                    <a:pt x="39053" y="30480"/>
                    <a:pt x="38100" y="31433"/>
                    <a:pt x="38100" y="32385"/>
                  </a:cubicBezTo>
                  <a:cubicBezTo>
                    <a:pt x="35243" y="34290"/>
                    <a:pt x="33338" y="36195"/>
                    <a:pt x="31433" y="38100"/>
                  </a:cubicBezTo>
                  <a:cubicBezTo>
                    <a:pt x="31433" y="38100"/>
                    <a:pt x="31433" y="38100"/>
                    <a:pt x="31433" y="38100"/>
                  </a:cubicBezTo>
                  <a:cubicBezTo>
                    <a:pt x="29528" y="40005"/>
                    <a:pt x="29528" y="41910"/>
                    <a:pt x="30480" y="42863"/>
                  </a:cubicBezTo>
                  <a:cubicBezTo>
                    <a:pt x="30480" y="42863"/>
                    <a:pt x="30480" y="42863"/>
                    <a:pt x="30480" y="42863"/>
                  </a:cubicBezTo>
                  <a:cubicBezTo>
                    <a:pt x="32385" y="47625"/>
                    <a:pt x="34290" y="51435"/>
                    <a:pt x="38100" y="56198"/>
                  </a:cubicBezTo>
                  <a:cubicBezTo>
                    <a:pt x="44768" y="64770"/>
                    <a:pt x="52388" y="71438"/>
                    <a:pt x="60008" y="76200"/>
                  </a:cubicBezTo>
                  <a:cubicBezTo>
                    <a:pt x="60960" y="77153"/>
                    <a:pt x="61913" y="77153"/>
                    <a:pt x="62865" y="78105"/>
                  </a:cubicBezTo>
                  <a:cubicBezTo>
                    <a:pt x="63818" y="78105"/>
                    <a:pt x="64770" y="79058"/>
                    <a:pt x="65723" y="79058"/>
                  </a:cubicBezTo>
                  <a:cubicBezTo>
                    <a:pt x="65723" y="79058"/>
                    <a:pt x="65723" y="79058"/>
                    <a:pt x="65723" y="79058"/>
                  </a:cubicBezTo>
                  <a:cubicBezTo>
                    <a:pt x="66675" y="79058"/>
                    <a:pt x="67628" y="80010"/>
                    <a:pt x="67628" y="80010"/>
                  </a:cubicBezTo>
                  <a:cubicBezTo>
                    <a:pt x="69533" y="80010"/>
                    <a:pt x="70485" y="79058"/>
                    <a:pt x="71438" y="78105"/>
                  </a:cubicBezTo>
                  <a:lnTo>
                    <a:pt x="80010" y="69533"/>
                  </a:lnTo>
                  <a:cubicBezTo>
                    <a:pt x="80963" y="68580"/>
                    <a:pt x="82868" y="67628"/>
                    <a:pt x="83820" y="67628"/>
                  </a:cubicBezTo>
                  <a:cubicBezTo>
                    <a:pt x="85725" y="67628"/>
                    <a:pt x="86678" y="68580"/>
                    <a:pt x="87630" y="69533"/>
                  </a:cubicBezTo>
                  <a:lnTo>
                    <a:pt x="100965" y="82868"/>
                  </a:lnTo>
                  <a:cubicBezTo>
                    <a:pt x="104775" y="86678"/>
                    <a:pt x="104775" y="89535"/>
                    <a:pt x="101918" y="92393"/>
                  </a:cubicBezTo>
                  <a:close/>
                </a:path>
              </a:pathLst>
            </a:custGeom>
            <a:solidFill>
              <a:srgbClr val="3A5C7D"/>
            </a:solidFill>
            <a:ln w="9525" cap="flat">
              <a:noFill/>
              <a:prstDash val="solid"/>
              <a:miter/>
            </a:ln>
          </p:spPr>
          <p:txBody>
            <a:bodyPr rtlCol="0" anchor="ctr"/>
            <a:lstStyle/>
            <a:p>
              <a:endParaRPr lang="de-DE"/>
            </a:p>
          </p:txBody>
        </p:sp>
      </p:grpSp>
      <p:sp>
        <p:nvSpPr>
          <p:cNvPr id="2" name="Titel 1">
            <a:extLst>
              <a:ext uri="{FF2B5EF4-FFF2-40B4-BE49-F238E27FC236}">
                <a16:creationId xmlns:a16="http://schemas.microsoft.com/office/drawing/2014/main" id="{0526DC72-FA1D-422D-8055-3374742D122B}"/>
              </a:ext>
            </a:extLst>
          </p:cNvPr>
          <p:cNvSpPr>
            <a:spLocks noGrp="1"/>
          </p:cNvSpPr>
          <p:nvPr>
            <p:ph type="title"/>
          </p:nvPr>
        </p:nvSpPr>
        <p:spPr/>
        <p:txBody>
          <a:bodyPr/>
          <a:lstStyle>
            <a:lvl1pPr>
              <a:lnSpc>
                <a:spcPct val="100000"/>
              </a:lnSpc>
              <a:defRPr/>
            </a:lvl1pPr>
          </a:lstStyle>
          <a:p>
            <a:r>
              <a:rPr lang="de-DE"/>
              <a:t>Mastertitelformat bearbeiten</a:t>
            </a:r>
          </a:p>
        </p:txBody>
      </p:sp>
      <p:sp>
        <p:nvSpPr>
          <p:cNvPr id="3" name="Foliennummernplatzhalter 2">
            <a:extLst>
              <a:ext uri="{FF2B5EF4-FFF2-40B4-BE49-F238E27FC236}">
                <a16:creationId xmlns:a16="http://schemas.microsoft.com/office/drawing/2014/main" id="{5B327254-466C-4606-8589-BCC72CBDADDF}"/>
              </a:ext>
            </a:extLst>
          </p:cNvPr>
          <p:cNvSpPr>
            <a:spLocks noGrp="1"/>
          </p:cNvSpPr>
          <p:nvPr>
            <p:ph type="sldNum" sz="quarter" idx="10"/>
          </p:nvPr>
        </p:nvSpPr>
        <p:spPr/>
        <p:txBody>
          <a:bodyPr/>
          <a:lstStyle/>
          <a:p>
            <a:fld id="{A04BEB4F-8CE1-4F18-986F-6CE0A0BE9470}" type="slidenum">
              <a:rPr lang="de-DE" smtClean="0"/>
              <a:t>‹#›</a:t>
            </a:fld>
            <a:endParaRPr lang="de-DE"/>
          </a:p>
        </p:txBody>
      </p:sp>
      <p:sp>
        <p:nvSpPr>
          <p:cNvPr id="244" name="Bildplatzhalter 243">
            <a:extLst>
              <a:ext uri="{FF2B5EF4-FFF2-40B4-BE49-F238E27FC236}">
                <a16:creationId xmlns:a16="http://schemas.microsoft.com/office/drawing/2014/main" id="{BEFA9F10-608F-4384-8CB7-67B15BA77E30}"/>
              </a:ext>
            </a:extLst>
          </p:cNvPr>
          <p:cNvSpPr>
            <a:spLocks noGrp="1"/>
          </p:cNvSpPr>
          <p:nvPr>
            <p:ph type="pic" sz="quarter" idx="11" hasCustomPrompt="1"/>
          </p:nvPr>
        </p:nvSpPr>
        <p:spPr>
          <a:xfrm>
            <a:off x="815952" y="1979612"/>
            <a:ext cx="3677602" cy="3677602"/>
          </a:xfrm>
          <a:custGeom>
            <a:avLst/>
            <a:gdLst>
              <a:gd name="connsiteX0" fmla="*/ 161297 w 3677602"/>
              <a:gd name="connsiteY0" fmla="*/ 0 h 3677602"/>
              <a:gd name="connsiteX1" fmla="*/ 3677602 w 3677602"/>
              <a:gd name="connsiteY1" fmla="*/ 0 h 3677602"/>
              <a:gd name="connsiteX2" fmla="*/ 3677602 w 3677602"/>
              <a:gd name="connsiteY2" fmla="*/ 1627609 h 3677602"/>
              <a:gd name="connsiteX3" fmla="*/ 3677602 w 3677602"/>
              <a:gd name="connsiteY3" fmla="*/ 1851070 h 3677602"/>
              <a:gd name="connsiteX4" fmla="*/ 3677602 w 3677602"/>
              <a:gd name="connsiteY4" fmla="*/ 3487700 h 3677602"/>
              <a:gd name="connsiteX5" fmla="*/ 3676079 w 3677602"/>
              <a:gd name="connsiteY5" fmla="*/ 3504386 h 3677602"/>
              <a:gd name="connsiteX6" fmla="*/ 3506882 w 3677602"/>
              <a:gd name="connsiteY6" fmla="*/ 3674433 h 3677602"/>
              <a:gd name="connsiteX7" fmla="*/ 3475439 w 3677602"/>
              <a:gd name="connsiteY7" fmla="*/ 3677602 h 3677602"/>
              <a:gd name="connsiteX8" fmla="*/ 0 w 3677602"/>
              <a:gd name="connsiteY8" fmla="*/ 3677602 h 3677602"/>
              <a:gd name="connsiteX9" fmla="*/ 0 w 3677602"/>
              <a:gd name="connsiteY9" fmla="*/ 1851070 h 3677602"/>
              <a:gd name="connsiteX10" fmla="*/ 0 w 3677602"/>
              <a:gd name="connsiteY10" fmla="*/ 1627609 h 3677602"/>
              <a:gd name="connsiteX11" fmla="*/ 0 w 3677602"/>
              <a:gd name="connsiteY11" fmla="*/ 166948 h 3677602"/>
              <a:gd name="connsiteX12" fmla="*/ 23 w 3677602"/>
              <a:gd name="connsiteY12" fmla="*/ 166723 h 3677602"/>
              <a:gd name="connsiteX13" fmla="*/ 128514 w 3677602"/>
              <a:gd name="connsiteY13" fmla="*/ 10240 h 3677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77601" h="3677601">
                <a:moveTo>
                  <a:pt x="161297" y="0"/>
                </a:moveTo>
                <a:lnTo>
                  <a:pt x="3677602" y="0"/>
                </a:lnTo>
                <a:lnTo>
                  <a:pt x="3677602" y="1627609"/>
                </a:lnTo>
                <a:lnTo>
                  <a:pt x="3677602" y="1851070"/>
                </a:lnTo>
                <a:lnTo>
                  <a:pt x="3677602" y="3487700"/>
                </a:lnTo>
                <a:lnTo>
                  <a:pt x="3676079" y="3504386"/>
                </a:lnTo>
                <a:cubicBezTo>
                  <a:pt x="3659344" y="3589744"/>
                  <a:pt x="3592225" y="3656968"/>
                  <a:pt x="3506882" y="3674433"/>
                </a:cubicBezTo>
                <a:lnTo>
                  <a:pt x="3475439" y="3677602"/>
                </a:lnTo>
                <a:lnTo>
                  <a:pt x="0" y="3677602"/>
                </a:lnTo>
                <a:lnTo>
                  <a:pt x="0" y="1851070"/>
                </a:lnTo>
                <a:lnTo>
                  <a:pt x="0" y="1627609"/>
                </a:lnTo>
                <a:lnTo>
                  <a:pt x="0" y="166948"/>
                </a:lnTo>
                <a:lnTo>
                  <a:pt x="23" y="166723"/>
                </a:lnTo>
                <a:cubicBezTo>
                  <a:pt x="14564" y="96199"/>
                  <a:pt x="63599" y="37834"/>
                  <a:pt x="128514" y="10240"/>
                </a:cubicBezTo>
                <a:close/>
              </a:path>
            </a:pathLst>
          </a:custGeom>
          <a:effectLst>
            <a:outerShdw blurRad="190500" dist="127000" algn="ctr" rotWithShape="0">
              <a:prstClr val="black">
                <a:alpha val="10000"/>
              </a:prstClr>
            </a:outerShdw>
          </a:effectLst>
        </p:spPr>
        <p:txBody>
          <a:bodyPr wrap="square">
            <a:noAutofit/>
          </a:bodyPr>
          <a:lstStyle>
            <a:lvl1pPr marL="0" marR="0" indent="0" algn="l" defTabSz="1644650" rtl="0" eaLnBrk="0" fontAlgn="base" latinLnBrk="0" hangingPunct="0">
              <a:lnSpc>
                <a:spcPct val="130000"/>
              </a:lnSpc>
              <a:spcBef>
                <a:spcPct val="0"/>
              </a:spcBef>
              <a:spcAft>
                <a:spcPts val="1200"/>
              </a:spcAft>
              <a:buClr>
                <a:srgbClr val="004C99"/>
              </a:buClr>
              <a:buSzPct val="120000"/>
              <a:buFontTx/>
              <a:buBlip>
                <a:blip r:embed="rId2"/>
              </a:buBlip>
              <a:defRPr/>
            </a:lvl1pPr>
            <a:lvl2pPr marL="344488" indent="0" algn="l">
              <a:buNone/>
              <a:defRPr/>
            </a:lvl2pPr>
            <a:lvl3pPr marL="990600" marR="0" indent="-285750" algn="l" defTabSz="1644650" rtl="0" eaLnBrk="0" fontAlgn="base" latinLnBrk="0" hangingPunct="0">
              <a:lnSpc>
                <a:spcPct val="130000"/>
              </a:lnSpc>
              <a:spcBef>
                <a:spcPct val="0"/>
              </a:spcBef>
              <a:spcAft>
                <a:spcPts val="1200"/>
              </a:spcAft>
              <a:buClr>
                <a:srgbClr val="004C99"/>
              </a:buClr>
              <a:buSzPct val="120000"/>
              <a:defRPr/>
            </a:lvl3pPr>
          </a:lstStyle>
          <a:p>
            <a:pPr marL="285750" marR="0" lvl="0" indent="-285750" algn="l" defTabSz="1644650" rtl="0" eaLnBrk="0" fontAlgn="base" latinLnBrk="0" hangingPunct="0">
              <a:lnSpc>
                <a:spcPct val="130000"/>
              </a:lnSpc>
              <a:spcBef>
                <a:spcPct val="0"/>
              </a:spcBef>
              <a:spcAft>
                <a:spcPts val="1200"/>
              </a:spcAft>
              <a:buClr>
                <a:srgbClr val="004C99"/>
              </a:buClr>
              <a:buSzPct val="120000"/>
              <a:defRPr/>
            </a:pPr>
            <a:r>
              <a:rPr lang="de-DE"/>
              <a:t>Please insert image</a:t>
            </a:r>
          </a:p>
        </p:txBody>
      </p:sp>
      <p:sp>
        <p:nvSpPr>
          <p:cNvPr id="19" name="Textplatzhalter 16">
            <a:extLst>
              <a:ext uri="{FF2B5EF4-FFF2-40B4-BE49-F238E27FC236}">
                <a16:creationId xmlns:a16="http://schemas.microsoft.com/office/drawing/2014/main" id="{93A96B82-B2E7-4ED9-BED8-958994003381}"/>
              </a:ext>
            </a:extLst>
          </p:cNvPr>
          <p:cNvSpPr>
            <a:spLocks noGrp="1"/>
          </p:cNvSpPr>
          <p:nvPr>
            <p:ph type="body" sz="quarter" idx="12" hasCustomPrompt="1"/>
          </p:nvPr>
        </p:nvSpPr>
        <p:spPr>
          <a:xfrm>
            <a:off x="4815065" y="1979612"/>
            <a:ext cx="6560982" cy="508000"/>
          </a:xfrm>
        </p:spPr>
        <p:txBody>
          <a:bodyPr/>
          <a:lstStyle>
            <a:lvl1pPr marL="0" indent="0">
              <a:buNone/>
              <a:defRPr b="0">
                <a:latin typeface="Roboto Medium" panose="02000000000000000000" pitchFamily="2" charset="0"/>
                <a:ea typeface="Roboto Medium" panose="02000000000000000000" pitchFamily="2" charset="0"/>
              </a:defRPr>
            </a:lvl1pPr>
          </a:lstStyle>
          <a:p>
            <a:pPr lvl="0"/>
            <a:r>
              <a:rPr lang="de-DE"/>
              <a:t>Enter name</a:t>
            </a:r>
          </a:p>
        </p:txBody>
      </p:sp>
      <p:sp>
        <p:nvSpPr>
          <p:cNvPr id="20" name="Textplatzhalter 16">
            <a:extLst>
              <a:ext uri="{FF2B5EF4-FFF2-40B4-BE49-F238E27FC236}">
                <a16:creationId xmlns:a16="http://schemas.microsoft.com/office/drawing/2014/main" id="{142F198E-1DB4-4E63-A2C7-0A4547AC0674}"/>
              </a:ext>
            </a:extLst>
          </p:cNvPr>
          <p:cNvSpPr>
            <a:spLocks noGrp="1"/>
          </p:cNvSpPr>
          <p:nvPr>
            <p:ph type="body" sz="quarter" idx="13" hasCustomPrompt="1"/>
          </p:nvPr>
        </p:nvSpPr>
        <p:spPr>
          <a:xfrm>
            <a:off x="4815065" y="2601912"/>
            <a:ext cx="6560982" cy="1250110"/>
          </a:xfrm>
        </p:spPr>
        <p:txBody>
          <a:bodyPr>
            <a:normAutofit/>
          </a:bodyPr>
          <a:lstStyle>
            <a:lvl1pPr marL="0" indent="0">
              <a:buNone/>
              <a:defRPr sz="1800" baseline="0">
                <a:solidFill>
                  <a:schemeClr val="tx1"/>
                </a:solidFill>
                <a:latin typeface="+mn-lt"/>
                <a:ea typeface="Roboto Medium" panose="02000000000000000000" pitchFamily="2" charset="0"/>
              </a:defRPr>
            </a:lvl1pPr>
          </a:lstStyle>
          <a:p>
            <a:pPr lvl="0"/>
            <a:r>
              <a:rPr lang="de-DE"/>
              <a:t>Enter job title and adress</a:t>
            </a:r>
          </a:p>
        </p:txBody>
      </p:sp>
      <p:sp>
        <p:nvSpPr>
          <p:cNvPr id="27" name="Textplatzhalter 16">
            <a:extLst>
              <a:ext uri="{FF2B5EF4-FFF2-40B4-BE49-F238E27FC236}">
                <a16:creationId xmlns:a16="http://schemas.microsoft.com/office/drawing/2014/main" id="{7014F03A-61A7-4B14-B49F-D025A3D18EC3}"/>
              </a:ext>
            </a:extLst>
          </p:cNvPr>
          <p:cNvSpPr>
            <a:spLocks noGrp="1"/>
          </p:cNvSpPr>
          <p:nvPr>
            <p:ph type="body" sz="quarter" idx="14" hasCustomPrompt="1"/>
          </p:nvPr>
        </p:nvSpPr>
        <p:spPr>
          <a:xfrm>
            <a:off x="5561269" y="4045011"/>
            <a:ext cx="5814777" cy="421976"/>
          </a:xfrm>
        </p:spPr>
        <p:txBody>
          <a:bodyPr anchor="ctr">
            <a:normAutofit/>
          </a:bodyPr>
          <a:lstStyle>
            <a:lvl1pPr marL="0" indent="0">
              <a:buNone/>
              <a:defRPr sz="1800">
                <a:solidFill>
                  <a:schemeClr val="tx1"/>
                </a:solidFill>
                <a:latin typeface="+mn-lt"/>
                <a:ea typeface="Roboto Medium" panose="02000000000000000000" pitchFamily="2" charset="0"/>
              </a:defRPr>
            </a:lvl1pPr>
          </a:lstStyle>
          <a:p>
            <a:pPr lvl="0"/>
            <a:r>
              <a:rPr lang="de-DE"/>
              <a:t>Enter phone</a:t>
            </a:r>
          </a:p>
        </p:txBody>
      </p:sp>
      <p:sp>
        <p:nvSpPr>
          <p:cNvPr id="28" name="Textplatzhalter 16">
            <a:extLst>
              <a:ext uri="{FF2B5EF4-FFF2-40B4-BE49-F238E27FC236}">
                <a16:creationId xmlns:a16="http://schemas.microsoft.com/office/drawing/2014/main" id="{903F4678-5805-4A88-8976-545B16AEBDEC}"/>
              </a:ext>
            </a:extLst>
          </p:cNvPr>
          <p:cNvSpPr>
            <a:spLocks noGrp="1"/>
          </p:cNvSpPr>
          <p:nvPr>
            <p:ph type="body" sz="quarter" idx="15" hasCustomPrompt="1"/>
          </p:nvPr>
        </p:nvSpPr>
        <p:spPr>
          <a:xfrm>
            <a:off x="5561270" y="4590192"/>
            <a:ext cx="5814776" cy="421976"/>
          </a:xfrm>
        </p:spPr>
        <p:txBody>
          <a:bodyPr anchor="ctr">
            <a:normAutofit/>
          </a:bodyPr>
          <a:lstStyle>
            <a:lvl1pPr marL="0" indent="0">
              <a:buNone/>
              <a:defRPr sz="1800">
                <a:solidFill>
                  <a:schemeClr val="tx1"/>
                </a:solidFill>
                <a:latin typeface="+mn-lt"/>
                <a:ea typeface="Roboto Medium" panose="02000000000000000000" pitchFamily="2" charset="0"/>
              </a:defRPr>
            </a:lvl1pPr>
          </a:lstStyle>
          <a:p>
            <a:pPr lvl="0"/>
            <a:r>
              <a:rPr lang="de-DE"/>
              <a:t>Enter email</a:t>
            </a:r>
          </a:p>
        </p:txBody>
      </p:sp>
    </p:spTree>
    <p:extLst>
      <p:ext uri="{BB962C8B-B14F-4D97-AF65-F5344CB8AC3E}">
        <p14:creationId xmlns:p14="http://schemas.microsoft.com/office/powerpoint/2010/main" val="4190598037"/>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8" dur="1000" decel="10000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0-#ppt_w/2"/>
                                          </p:val>
                                        </p:tav>
                                        <p:tav tm="100000">
                                          <p:val>
                                            <p:strVal val="#ppt_x"/>
                                          </p:val>
                                        </p:tav>
                                      </p:tavLst>
                                    </p:anim>
                                    <p:anim calcmode="lin" valueType="num">
                                      <p:cBhvr additive="base">
                                        <p:cTn id="8" dur="1000" fill="hold"/>
                                        <p:tgtEl>
                                          <p:spTgt spid="2"/>
                                        </p:tgtEl>
                                        <p:attrNameLst>
                                          <p:attrName>ppt_y</p:attrName>
                                        </p:attrNameLst>
                                      </p:cBhvr>
                                      <p:tavLst>
                                        <p:tav tm="0">
                                          <p:val>
                                            <p:strVal val="#ppt_y"/>
                                          </p:val>
                                        </p:tav>
                                        <p:tav tm="100000">
                                          <p:val>
                                            <p:strVal val="#ppt_y"/>
                                          </p:val>
                                        </p:tav>
                                      </p:tavLst>
                                    </p:anim>
                                  </p:childTnLst>
                                </p:cTn>
                              </p:par>
                              <p:par>
                                <p:cTn id="9" presetID="2" presetClass="entr" presetSubtype="2" dur="1000" decel="100000" fill="hold" grpId="0" nodeType="withEffect">
                                  <p:stCondLst>
                                    <p:cond delay="250"/>
                                  </p:stCondLst>
                                  <p:childTnLst>
                                    <p:set>
                                      <p:cBhvr>
                                        <p:cTn id="10" dur="1" fill="hold">
                                          <p:stCondLst>
                                            <p:cond delay="0"/>
                                          </p:stCondLst>
                                        </p:cTn>
                                        <p:tgtEl>
                                          <p:spTgt spid="19"/>
                                        </p:tgtEl>
                                        <p:attrNameLst>
                                          <p:attrName>style.visibility</p:attrName>
                                        </p:attrNameLst>
                                      </p:cBhvr>
                                      <p:to>
                                        <p:strVal val="visible"/>
                                      </p:to>
                                    </p:set>
                                    <p:anim calcmode="lin" valueType="num">
                                      <p:cBhvr additive="base">
                                        <p:cTn id="11" dur="1000" fill="hold"/>
                                        <p:tgtEl>
                                          <p:spTgt spid="19"/>
                                        </p:tgtEl>
                                        <p:attrNameLst>
                                          <p:attrName>ppt_x</p:attrName>
                                        </p:attrNameLst>
                                      </p:cBhvr>
                                      <p:tavLst>
                                        <p:tav tm="0">
                                          <p:val>
                                            <p:strVal val="1+#ppt_w/2"/>
                                          </p:val>
                                        </p:tav>
                                        <p:tav tm="100000">
                                          <p:val>
                                            <p:strVal val="#ppt_x"/>
                                          </p:val>
                                        </p:tav>
                                      </p:tavLst>
                                    </p:anim>
                                    <p:anim calcmode="lin" valueType="num">
                                      <p:cBhvr additive="base">
                                        <p:cTn id="12" dur="1000" fill="hold"/>
                                        <p:tgtEl>
                                          <p:spTgt spid="19"/>
                                        </p:tgtEl>
                                        <p:attrNameLst>
                                          <p:attrName>ppt_y</p:attrName>
                                        </p:attrNameLst>
                                      </p:cBhvr>
                                      <p:tavLst>
                                        <p:tav tm="0">
                                          <p:val>
                                            <p:strVal val="#ppt_y"/>
                                          </p:val>
                                        </p:tav>
                                        <p:tav tm="100000">
                                          <p:val>
                                            <p:strVal val="#ppt_y"/>
                                          </p:val>
                                        </p:tav>
                                      </p:tavLst>
                                    </p:anim>
                                  </p:childTnLst>
                                </p:cTn>
                              </p:par>
                              <p:par>
                                <p:cTn id="13" presetID="2" presetClass="entr" presetSubtype="2" dur="1000" decel="100000" fill="hold" grpId="0" nodeType="withEffect">
                                  <p:stCondLst>
                                    <p:cond delay="250"/>
                                  </p:stCondLst>
                                  <p:childTnLst>
                                    <p:set>
                                      <p:cBhvr>
                                        <p:cTn id="14" dur="1" fill="hold">
                                          <p:stCondLst>
                                            <p:cond delay="0"/>
                                          </p:stCondLst>
                                        </p:cTn>
                                        <p:tgtEl>
                                          <p:spTgt spid="20"/>
                                        </p:tgtEl>
                                        <p:attrNameLst>
                                          <p:attrName>style.visibility</p:attrName>
                                        </p:attrNameLst>
                                      </p:cBhvr>
                                      <p:to>
                                        <p:strVal val="visible"/>
                                      </p:to>
                                    </p:set>
                                    <p:anim calcmode="lin" valueType="num">
                                      <p:cBhvr additive="base">
                                        <p:cTn id="15" dur="1000" fill="hold"/>
                                        <p:tgtEl>
                                          <p:spTgt spid="20"/>
                                        </p:tgtEl>
                                        <p:attrNameLst>
                                          <p:attrName>ppt_x</p:attrName>
                                        </p:attrNameLst>
                                      </p:cBhvr>
                                      <p:tavLst>
                                        <p:tav tm="0">
                                          <p:val>
                                            <p:strVal val="1+#ppt_w/2"/>
                                          </p:val>
                                        </p:tav>
                                        <p:tav tm="100000">
                                          <p:val>
                                            <p:strVal val="#ppt_x"/>
                                          </p:val>
                                        </p:tav>
                                      </p:tavLst>
                                    </p:anim>
                                    <p:anim calcmode="lin" valueType="num">
                                      <p:cBhvr additive="base">
                                        <p:cTn id="16" dur="1000" fill="hold"/>
                                        <p:tgtEl>
                                          <p:spTgt spid="20"/>
                                        </p:tgtEl>
                                        <p:attrNameLst>
                                          <p:attrName>ppt_y</p:attrName>
                                        </p:attrNameLst>
                                      </p:cBhvr>
                                      <p:tavLst>
                                        <p:tav tm="0">
                                          <p:val>
                                            <p:strVal val="#ppt_y"/>
                                          </p:val>
                                        </p:tav>
                                        <p:tav tm="100000">
                                          <p:val>
                                            <p:strVal val="#ppt_y"/>
                                          </p:val>
                                        </p:tav>
                                      </p:tavLst>
                                    </p:anim>
                                  </p:childTnLst>
                                </p:cTn>
                              </p:par>
                              <p:par>
                                <p:cTn id="17" presetID="2" presetClass="entr" presetSubtype="2" dur="1000" decel="100000" fill="hold" nodeType="withEffect">
                                  <p:stCondLst>
                                    <p:cond delay="250"/>
                                  </p:stCondLst>
                                  <p:childTnLst>
                                    <p:set>
                                      <p:cBhvr>
                                        <p:cTn id="18" dur="1" fill="hold">
                                          <p:stCondLst>
                                            <p:cond delay="0"/>
                                          </p:stCondLst>
                                        </p:cTn>
                                        <p:tgtEl>
                                          <p:spTgt spid="36"/>
                                        </p:tgtEl>
                                        <p:attrNameLst>
                                          <p:attrName>style.visibility</p:attrName>
                                        </p:attrNameLst>
                                      </p:cBhvr>
                                      <p:to>
                                        <p:strVal val="visible"/>
                                      </p:to>
                                    </p:set>
                                    <p:anim calcmode="lin" valueType="num">
                                      <p:cBhvr additive="base">
                                        <p:cTn id="19" dur="1000" fill="hold"/>
                                        <p:tgtEl>
                                          <p:spTgt spid="36"/>
                                        </p:tgtEl>
                                        <p:attrNameLst>
                                          <p:attrName>ppt_x</p:attrName>
                                        </p:attrNameLst>
                                      </p:cBhvr>
                                      <p:tavLst>
                                        <p:tav tm="0">
                                          <p:val>
                                            <p:strVal val="1+#ppt_w/2"/>
                                          </p:val>
                                        </p:tav>
                                        <p:tav tm="100000">
                                          <p:val>
                                            <p:strVal val="#ppt_x"/>
                                          </p:val>
                                        </p:tav>
                                      </p:tavLst>
                                    </p:anim>
                                    <p:anim calcmode="lin" valueType="num">
                                      <p:cBhvr additive="base">
                                        <p:cTn id="20" dur="1000" fill="hold"/>
                                        <p:tgtEl>
                                          <p:spTgt spid="36"/>
                                        </p:tgtEl>
                                        <p:attrNameLst>
                                          <p:attrName>ppt_y</p:attrName>
                                        </p:attrNameLst>
                                      </p:cBhvr>
                                      <p:tavLst>
                                        <p:tav tm="0">
                                          <p:val>
                                            <p:strVal val="#ppt_y"/>
                                          </p:val>
                                        </p:tav>
                                        <p:tav tm="100000">
                                          <p:val>
                                            <p:strVal val="#ppt_y"/>
                                          </p:val>
                                        </p:tav>
                                      </p:tavLst>
                                    </p:anim>
                                  </p:childTnLst>
                                </p:cTn>
                              </p:par>
                              <p:par>
                                <p:cTn id="21" presetID="2" presetClass="entr" presetSubtype="2" dur="1000" decel="100000" fill="hold" nodeType="withEffect">
                                  <p:stCondLst>
                                    <p:cond delay="250"/>
                                  </p:stCondLst>
                                  <p:childTnLst>
                                    <p:set>
                                      <p:cBhvr>
                                        <p:cTn id="22" dur="1" fill="hold">
                                          <p:stCondLst>
                                            <p:cond delay="0"/>
                                          </p:stCondLst>
                                        </p:cTn>
                                        <p:tgtEl>
                                          <p:spTgt spid="39"/>
                                        </p:tgtEl>
                                        <p:attrNameLst>
                                          <p:attrName>style.visibility</p:attrName>
                                        </p:attrNameLst>
                                      </p:cBhvr>
                                      <p:to>
                                        <p:strVal val="visible"/>
                                      </p:to>
                                    </p:set>
                                    <p:anim calcmode="lin" valueType="num">
                                      <p:cBhvr additive="base">
                                        <p:cTn id="23" dur="1000" fill="hold"/>
                                        <p:tgtEl>
                                          <p:spTgt spid="39"/>
                                        </p:tgtEl>
                                        <p:attrNameLst>
                                          <p:attrName>ppt_x</p:attrName>
                                        </p:attrNameLst>
                                      </p:cBhvr>
                                      <p:tavLst>
                                        <p:tav tm="0">
                                          <p:val>
                                            <p:strVal val="1+#ppt_w/2"/>
                                          </p:val>
                                        </p:tav>
                                        <p:tav tm="100000">
                                          <p:val>
                                            <p:strVal val="#ppt_x"/>
                                          </p:val>
                                        </p:tav>
                                      </p:tavLst>
                                    </p:anim>
                                    <p:anim calcmode="lin" valueType="num">
                                      <p:cBhvr additive="base">
                                        <p:cTn id="24" dur="1000" fill="hold"/>
                                        <p:tgtEl>
                                          <p:spTgt spid="39"/>
                                        </p:tgtEl>
                                        <p:attrNameLst>
                                          <p:attrName>ppt_y</p:attrName>
                                        </p:attrNameLst>
                                      </p:cBhvr>
                                      <p:tavLst>
                                        <p:tav tm="0">
                                          <p:val>
                                            <p:strVal val="#ppt_y"/>
                                          </p:val>
                                        </p:tav>
                                        <p:tav tm="100000">
                                          <p:val>
                                            <p:strVal val="#ppt_y"/>
                                          </p:val>
                                        </p:tav>
                                      </p:tavLst>
                                    </p:anim>
                                  </p:childTnLst>
                                </p:cTn>
                              </p:par>
                              <p:par>
                                <p:cTn id="25" presetID="2" presetClass="entr" presetSubtype="2" dur="1000" decel="100000" fill="hold" grpId="0" nodeType="withEffect">
                                  <p:stCondLst>
                                    <p:cond delay="250"/>
                                  </p:stCondLst>
                                  <p:childTnLst>
                                    <p:set>
                                      <p:cBhvr>
                                        <p:cTn id="26" dur="1" fill="hold">
                                          <p:stCondLst>
                                            <p:cond delay="0"/>
                                          </p:stCondLst>
                                        </p:cTn>
                                        <p:tgtEl>
                                          <p:spTgt spid="27">
                                            <p:txEl>
                                              <p:pRg st="0" end="0"/>
                                            </p:txEl>
                                          </p:spTgt>
                                        </p:tgtEl>
                                        <p:attrNameLst>
                                          <p:attrName>style.visibility</p:attrName>
                                        </p:attrNameLst>
                                      </p:cBhvr>
                                      <p:to>
                                        <p:strVal val="visible"/>
                                      </p:to>
                                    </p:set>
                                    <p:anim calcmode="lin" valueType="num">
                                      <p:cBhvr additive="base">
                                        <p:cTn id="27" dur="1000" fill="hold"/>
                                        <p:tgtEl>
                                          <p:spTgt spid="27">
                                            <p:txEl>
                                              <p:pRg st="0" end="0"/>
                                            </p:txEl>
                                          </p:spTgt>
                                        </p:tgtEl>
                                        <p:attrNameLst>
                                          <p:attrName>ppt_x</p:attrName>
                                        </p:attrNameLst>
                                      </p:cBhvr>
                                      <p:tavLst>
                                        <p:tav tm="0">
                                          <p:val>
                                            <p:strVal val="1+#ppt_w/2"/>
                                          </p:val>
                                        </p:tav>
                                        <p:tav tm="100000">
                                          <p:val>
                                            <p:strVal val="#ppt_x"/>
                                          </p:val>
                                        </p:tav>
                                      </p:tavLst>
                                    </p:anim>
                                    <p:anim calcmode="lin" valueType="num">
                                      <p:cBhvr additive="base">
                                        <p:cTn id="28" dur="1000" fill="hold"/>
                                        <p:tgtEl>
                                          <p:spTgt spid="27">
                                            <p:txEl>
                                              <p:pRg st="0" end="0"/>
                                            </p:txEl>
                                          </p:spTgt>
                                        </p:tgtEl>
                                        <p:attrNameLst>
                                          <p:attrName>ppt_y</p:attrName>
                                        </p:attrNameLst>
                                      </p:cBhvr>
                                      <p:tavLst>
                                        <p:tav tm="0">
                                          <p:val>
                                            <p:strVal val="#ppt_y"/>
                                          </p:val>
                                        </p:tav>
                                        <p:tav tm="100000">
                                          <p:val>
                                            <p:strVal val="#ppt_y"/>
                                          </p:val>
                                        </p:tav>
                                      </p:tavLst>
                                    </p:anim>
                                  </p:childTnLst>
                                </p:cTn>
                              </p:par>
                              <p:par>
                                <p:cTn id="29" presetID="2" presetClass="entr" presetSubtype="2" dur="1000" decel="100000" fill="hold" grpId="0" nodeType="withEffect">
                                  <p:stCondLst>
                                    <p:cond delay="250"/>
                                  </p:stCondLst>
                                  <p:childTnLst>
                                    <p:set>
                                      <p:cBhvr>
                                        <p:cTn id="30" dur="1" fill="hold">
                                          <p:stCondLst>
                                            <p:cond delay="0"/>
                                          </p:stCondLst>
                                        </p:cTn>
                                        <p:tgtEl>
                                          <p:spTgt spid="28">
                                            <p:txEl>
                                              <p:pRg st="0" end="0"/>
                                            </p:txEl>
                                          </p:spTgt>
                                        </p:tgtEl>
                                        <p:attrNameLst>
                                          <p:attrName>style.visibility</p:attrName>
                                        </p:attrNameLst>
                                      </p:cBhvr>
                                      <p:to>
                                        <p:strVal val="visible"/>
                                      </p:to>
                                    </p:set>
                                    <p:anim calcmode="lin" valueType="num">
                                      <p:cBhvr additive="base">
                                        <p:cTn id="31" dur="1000" fill="hold"/>
                                        <p:tgtEl>
                                          <p:spTgt spid="28">
                                            <p:txEl>
                                              <p:pRg st="0" end="0"/>
                                            </p:txEl>
                                          </p:spTgt>
                                        </p:tgtEl>
                                        <p:attrNameLst>
                                          <p:attrName>ppt_x</p:attrName>
                                        </p:attrNameLst>
                                      </p:cBhvr>
                                      <p:tavLst>
                                        <p:tav tm="0">
                                          <p:val>
                                            <p:strVal val="1+#ppt_w/2"/>
                                          </p:val>
                                        </p:tav>
                                        <p:tav tm="100000">
                                          <p:val>
                                            <p:strVal val="#ppt_x"/>
                                          </p:val>
                                        </p:tav>
                                      </p:tavLst>
                                    </p:anim>
                                    <p:anim calcmode="lin" valueType="num">
                                      <p:cBhvr additive="base">
                                        <p:cTn id="32" dur="1000" fill="hold"/>
                                        <p:tgtEl>
                                          <p:spTgt spid="28">
                                            <p:txEl>
                                              <p:pRg st="0" end="0"/>
                                            </p:txEl>
                                          </p:spTgt>
                                        </p:tgtEl>
                                        <p:attrNameLst>
                                          <p:attrName>ppt_y</p:attrName>
                                        </p:attrNameLst>
                                      </p:cBhvr>
                                      <p:tavLst>
                                        <p:tav tm="0">
                                          <p:val>
                                            <p:strVal val="#ppt_y"/>
                                          </p:val>
                                        </p:tav>
                                        <p:tav tm="100000">
                                          <p:val>
                                            <p:strVal val="#ppt_y"/>
                                          </p:val>
                                        </p:tav>
                                      </p:tavLst>
                                    </p:anim>
                                  </p:childTnLst>
                                </p:cTn>
                              </p:par>
                              <p:par>
                                <p:cTn id="33" presetID="26" presetClass="emph" presetSubtype="0" dur="2000" repeatCount="indefinite" fill="hold" grpId="0" nodeType="withEffect">
                                  <p:stCondLst>
                                    <p:cond delay="0"/>
                                  </p:stCondLst>
                                  <p:childTnLst>
                                    <p:animEffect transition="out" filter="fade">
                                      <p:cBhvr>
                                        <p:cTn id="34" dur="2000" tmFilter="0, 0; .2, .5; .8, .5; 1, 0"/>
                                        <p:tgtEl>
                                          <p:spTgt spid="309"/>
                                        </p:tgtEl>
                                      </p:cBhvr>
                                    </p:animEffect>
                                    <p:animScale>
                                      <p:cBhvr>
                                        <p:cTn id="35" dur="1000" autoRev="1" fill="hold"/>
                                        <p:tgtEl>
                                          <p:spTgt spid="309"/>
                                        </p:tgtEl>
                                      </p:cBhvr>
                                      <p:by x="105000" y="105000"/>
                                    </p:animScale>
                                  </p:childTnLst>
                                </p:cTn>
                              </p:par>
                              <p:par>
                                <p:cTn id="36" presetID="26" presetClass="emph" presetSubtype="0" dur="2000" repeatCount="indefinite" fill="hold" grpId="0" nodeType="withEffect">
                                  <p:stCondLst>
                                    <p:cond delay="0"/>
                                  </p:stCondLst>
                                  <p:childTnLst>
                                    <p:animEffect transition="out" filter="fade">
                                      <p:cBhvr>
                                        <p:cTn id="37" dur="2000" tmFilter="0, 0; .2, .5; .8, .5; 1, 0"/>
                                        <p:tgtEl>
                                          <p:spTgt spid="310"/>
                                        </p:tgtEl>
                                      </p:cBhvr>
                                    </p:animEffect>
                                    <p:animScale>
                                      <p:cBhvr>
                                        <p:cTn id="38" dur="1000" autoRev="1" fill="hold"/>
                                        <p:tgtEl>
                                          <p:spTgt spid="310"/>
                                        </p:tgtEl>
                                      </p:cBhvr>
                                      <p:by x="105000" y="105000"/>
                                    </p:animScale>
                                  </p:childTnLst>
                                </p:cTn>
                              </p:par>
                              <p:par>
                                <p:cTn id="39" presetID="26" presetClass="emph" presetSubtype="0" dur="2000" repeatCount="indefinite" fill="hold" grpId="0" nodeType="withEffect">
                                  <p:stCondLst>
                                    <p:cond delay="0"/>
                                  </p:stCondLst>
                                  <p:childTnLst>
                                    <p:animEffect transition="out" filter="fade">
                                      <p:cBhvr>
                                        <p:cTn id="40" dur="2000" tmFilter="0, 0; .2, .5; .8, .5; 1, 0"/>
                                        <p:tgtEl>
                                          <p:spTgt spid="311"/>
                                        </p:tgtEl>
                                      </p:cBhvr>
                                    </p:animEffect>
                                    <p:animScale>
                                      <p:cBhvr>
                                        <p:cTn id="41" dur="1000" autoRev="1" fill="hold"/>
                                        <p:tgtEl>
                                          <p:spTgt spid="311"/>
                                        </p:tgtEl>
                                      </p:cBhvr>
                                      <p:by x="105000" y="105000"/>
                                    </p:animScale>
                                  </p:childTnLst>
                                </p:cTn>
                              </p:par>
                              <p:par>
                                <p:cTn id="42" presetID="26" presetClass="emph" presetSubtype="0" dur="2000" repeatCount="indefinite" fill="hold" grpId="0" nodeType="withEffect">
                                  <p:stCondLst>
                                    <p:cond delay="0"/>
                                  </p:stCondLst>
                                  <p:childTnLst>
                                    <p:animEffect transition="out" filter="fade">
                                      <p:cBhvr>
                                        <p:cTn id="43" dur="2000" tmFilter="0, 0; .2, .5; .8, .5; 1, 0"/>
                                        <p:tgtEl>
                                          <p:spTgt spid="312"/>
                                        </p:tgtEl>
                                      </p:cBhvr>
                                    </p:animEffect>
                                    <p:animScale>
                                      <p:cBhvr>
                                        <p:cTn id="44" dur="1000" autoRev="1" fill="hold"/>
                                        <p:tgtEl>
                                          <p:spTgt spid="312"/>
                                        </p:tgtEl>
                                      </p:cBhvr>
                                      <p:by x="105000" y="105000"/>
                                    </p:animScale>
                                  </p:childTnLst>
                                </p:cTn>
                              </p:par>
                              <p:par>
                                <p:cTn id="45" presetID="26" presetClass="emph" presetSubtype="0" dur="2000" repeatCount="indefinite" fill="hold" grpId="0" nodeType="withEffect">
                                  <p:stCondLst>
                                    <p:cond delay="0"/>
                                  </p:stCondLst>
                                  <p:childTnLst>
                                    <p:animEffect transition="out" filter="fade">
                                      <p:cBhvr>
                                        <p:cTn id="46" dur="2000" tmFilter="0, 0; .2, .5; .8, .5; 1, 0"/>
                                        <p:tgtEl>
                                          <p:spTgt spid="313"/>
                                        </p:tgtEl>
                                      </p:cBhvr>
                                    </p:animEffect>
                                    <p:animScale>
                                      <p:cBhvr>
                                        <p:cTn id="47" dur="1000" autoRev="1" fill="hold"/>
                                        <p:tgtEl>
                                          <p:spTgt spid="313"/>
                                        </p:tgtEl>
                                      </p:cBhvr>
                                      <p:by x="105000" y="105000"/>
                                    </p:animScale>
                                  </p:childTnLst>
                                </p:cTn>
                              </p:par>
                              <p:par>
                                <p:cTn id="48" presetID="26" presetClass="emph" presetSubtype="0" dur="2000" repeatCount="indefinite" fill="hold" grpId="0" nodeType="withEffect">
                                  <p:stCondLst>
                                    <p:cond delay="250"/>
                                  </p:stCondLst>
                                  <p:childTnLst>
                                    <p:animEffect transition="out" filter="fade">
                                      <p:cBhvr>
                                        <p:cTn id="49" dur="2000" tmFilter="0, 0; .2, .5; .8, .5; 1, 0"/>
                                        <p:tgtEl>
                                          <p:spTgt spid="314"/>
                                        </p:tgtEl>
                                      </p:cBhvr>
                                    </p:animEffect>
                                    <p:animScale>
                                      <p:cBhvr>
                                        <p:cTn id="50" dur="1000" autoRev="1" fill="hold"/>
                                        <p:tgtEl>
                                          <p:spTgt spid="314"/>
                                        </p:tgtEl>
                                      </p:cBhvr>
                                      <p:by x="105000" y="105000"/>
                                    </p:animScale>
                                  </p:childTnLst>
                                </p:cTn>
                              </p:par>
                              <p:par>
                                <p:cTn id="51" presetID="26" presetClass="emph" presetSubtype="0" dur="2000" repeatCount="indefinite" fill="hold" grpId="0" nodeType="withEffect">
                                  <p:stCondLst>
                                    <p:cond delay="250"/>
                                  </p:stCondLst>
                                  <p:childTnLst>
                                    <p:animEffect transition="out" filter="fade">
                                      <p:cBhvr>
                                        <p:cTn id="52" dur="2000" tmFilter="0, 0; .2, .5; .8, .5; 1, 0"/>
                                        <p:tgtEl>
                                          <p:spTgt spid="315"/>
                                        </p:tgtEl>
                                      </p:cBhvr>
                                    </p:animEffect>
                                    <p:animScale>
                                      <p:cBhvr>
                                        <p:cTn id="53" dur="1000" autoRev="1" fill="hold"/>
                                        <p:tgtEl>
                                          <p:spTgt spid="315"/>
                                        </p:tgtEl>
                                      </p:cBhvr>
                                      <p:by x="105000" y="105000"/>
                                    </p:animScale>
                                  </p:childTnLst>
                                </p:cTn>
                              </p:par>
                              <p:par>
                                <p:cTn id="54" presetID="26" presetClass="emph" presetSubtype="0" dur="2000" repeatCount="indefinite" fill="hold" grpId="0" nodeType="withEffect">
                                  <p:stCondLst>
                                    <p:cond delay="250"/>
                                  </p:stCondLst>
                                  <p:childTnLst>
                                    <p:animEffect transition="out" filter="fade">
                                      <p:cBhvr>
                                        <p:cTn id="55" dur="2000" tmFilter="0, 0; .2, .5; .8, .5; 1, 0"/>
                                        <p:tgtEl>
                                          <p:spTgt spid="316"/>
                                        </p:tgtEl>
                                      </p:cBhvr>
                                    </p:animEffect>
                                    <p:animScale>
                                      <p:cBhvr>
                                        <p:cTn id="56" dur="1000" autoRev="1" fill="hold"/>
                                        <p:tgtEl>
                                          <p:spTgt spid="316"/>
                                        </p:tgtEl>
                                      </p:cBhvr>
                                      <p:by x="105000" y="105000"/>
                                    </p:animScale>
                                  </p:childTnLst>
                                </p:cTn>
                              </p:par>
                              <p:par>
                                <p:cTn id="57" presetID="26" presetClass="emph" presetSubtype="0" dur="2000" repeatCount="indefinite" fill="hold" grpId="0" nodeType="withEffect">
                                  <p:stCondLst>
                                    <p:cond delay="250"/>
                                  </p:stCondLst>
                                  <p:childTnLst>
                                    <p:animEffect transition="out" filter="fade">
                                      <p:cBhvr>
                                        <p:cTn id="58" dur="2000" tmFilter="0, 0; .2, .5; .8, .5; 1, 0"/>
                                        <p:tgtEl>
                                          <p:spTgt spid="317"/>
                                        </p:tgtEl>
                                      </p:cBhvr>
                                    </p:animEffect>
                                    <p:animScale>
                                      <p:cBhvr>
                                        <p:cTn id="59" dur="1000" autoRev="1" fill="hold"/>
                                        <p:tgtEl>
                                          <p:spTgt spid="317"/>
                                        </p:tgtEl>
                                      </p:cBhvr>
                                      <p:by x="105000" y="105000"/>
                                    </p:animScale>
                                  </p:childTnLst>
                                </p:cTn>
                              </p:par>
                              <p:par>
                                <p:cTn id="60" presetID="26" presetClass="emph" presetSubtype="0" dur="2000" repeatCount="indefinite" fill="hold" grpId="0" nodeType="withEffect">
                                  <p:stCondLst>
                                    <p:cond delay="250"/>
                                  </p:stCondLst>
                                  <p:childTnLst>
                                    <p:animEffect transition="out" filter="fade">
                                      <p:cBhvr>
                                        <p:cTn id="61" dur="2000" tmFilter="0, 0; .2, .5; .8, .5; 1, 0"/>
                                        <p:tgtEl>
                                          <p:spTgt spid="318"/>
                                        </p:tgtEl>
                                      </p:cBhvr>
                                    </p:animEffect>
                                    <p:animScale>
                                      <p:cBhvr>
                                        <p:cTn id="62" dur="1000" autoRev="1" fill="hold"/>
                                        <p:tgtEl>
                                          <p:spTgt spid="318"/>
                                        </p:tgtEl>
                                      </p:cBhvr>
                                      <p:by x="105000" y="105000"/>
                                    </p:animScale>
                                  </p:childTnLst>
                                </p:cTn>
                              </p:par>
                              <p:par>
                                <p:cTn id="63" presetID="26" presetClass="emph" presetSubtype="0" dur="2000" repeatCount="indefinite" fill="hold" grpId="0" nodeType="withEffect">
                                  <p:stCondLst>
                                    <p:cond delay="250"/>
                                  </p:stCondLst>
                                  <p:childTnLst>
                                    <p:animEffect transition="out" filter="fade">
                                      <p:cBhvr>
                                        <p:cTn id="64" dur="2000" tmFilter="0, 0; .2, .5; .8, .5; 1, 0"/>
                                        <p:tgtEl>
                                          <p:spTgt spid="319"/>
                                        </p:tgtEl>
                                      </p:cBhvr>
                                    </p:animEffect>
                                    <p:animScale>
                                      <p:cBhvr>
                                        <p:cTn id="65" dur="1000" autoRev="1" fill="hold"/>
                                        <p:tgtEl>
                                          <p:spTgt spid="319"/>
                                        </p:tgtEl>
                                      </p:cBhvr>
                                      <p:by x="105000" y="105000"/>
                                    </p:animScale>
                                  </p:childTnLst>
                                </p:cTn>
                              </p:par>
                              <p:par>
                                <p:cTn id="66" presetID="26" presetClass="emph" presetSubtype="0" dur="2000" repeatCount="indefinite" fill="hold" grpId="0" nodeType="withEffect">
                                  <p:stCondLst>
                                    <p:cond delay="250"/>
                                  </p:stCondLst>
                                  <p:childTnLst>
                                    <p:animEffect transition="out" filter="fade">
                                      <p:cBhvr>
                                        <p:cTn id="67" dur="2000" tmFilter="0, 0; .2, .5; .8, .5; 1, 0"/>
                                        <p:tgtEl>
                                          <p:spTgt spid="320"/>
                                        </p:tgtEl>
                                      </p:cBhvr>
                                    </p:animEffect>
                                    <p:animScale>
                                      <p:cBhvr>
                                        <p:cTn id="68" dur="1000" autoRev="1" fill="hold"/>
                                        <p:tgtEl>
                                          <p:spTgt spid="320"/>
                                        </p:tgtEl>
                                      </p:cBhvr>
                                      <p:by x="105000" y="105000"/>
                                    </p:animScale>
                                  </p:childTnLst>
                                </p:cTn>
                              </p:par>
                              <p:par>
                                <p:cTn id="69" presetID="26" presetClass="emph" presetSubtype="0" dur="2000" repeatCount="indefinite" fill="hold" grpId="0" nodeType="withEffect">
                                  <p:stCondLst>
                                    <p:cond delay="500"/>
                                  </p:stCondLst>
                                  <p:childTnLst>
                                    <p:animEffect transition="out" filter="fade">
                                      <p:cBhvr>
                                        <p:cTn id="70" dur="2000" tmFilter="0, 0; .2, .5; .8, .5; 1, 0"/>
                                        <p:tgtEl>
                                          <p:spTgt spid="321"/>
                                        </p:tgtEl>
                                      </p:cBhvr>
                                    </p:animEffect>
                                    <p:animScale>
                                      <p:cBhvr>
                                        <p:cTn id="71" dur="1000" autoRev="1" fill="hold"/>
                                        <p:tgtEl>
                                          <p:spTgt spid="321"/>
                                        </p:tgtEl>
                                      </p:cBhvr>
                                      <p:by x="105000" y="105000"/>
                                    </p:animScale>
                                  </p:childTnLst>
                                </p:cTn>
                              </p:par>
                              <p:par>
                                <p:cTn id="72" presetID="26" presetClass="emph" presetSubtype="0" dur="2000" repeatCount="indefinite" fill="hold" grpId="0" nodeType="withEffect">
                                  <p:stCondLst>
                                    <p:cond delay="500"/>
                                  </p:stCondLst>
                                  <p:childTnLst>
                                    <p:animEffect transition="out" filter="fade">
                                      <p:cBhvr>
                                        <p:cTn id="73" dur="2000" tmFilter="0, 0; .2, .5; .8, .5; 1, 0"/>
                                        <p:tgtEl>
                                          <p:spTgt spid="322"/>
                                        </p:tgtEl>
                                      </p:cBhvr>
                                    </p:animEffect>
                                    <p:animScale>
                                      <p:cBhvr>
                                        <p:cTn id="74" dur="1000" autoRev="1" fill="hold"/>
                                        <p:tgtEl>
                                          <p:spTgt spid="322"/>
                                        </p:tgtEl>
                                      </p:cBhvr>
                                      <p:by x="105000" y="105000"/>
                                    </p:animScale>
                                  </p:childTnLst>
                                </p:cTn>
                              </p:par>
                              <p:par>
                                <p:cTn id="75" presetID="26" presetClass="emph" presetSubtype="0" dur="2000" repeatCount="indefinite" fill="hold" grpId="0" nodeType="withEffect">
                                  <p:stCondLst>
                                    <p:cond delay="500"/>
                                  </p:stCondLst>
                                  <p:childTnLst>
                                    <p:animEffect transition="out" filter="fade">
                                      <p:cBhvr>
                                        <p:cTn id="76" dur="2000" tmFilter="0, 0; .2, .5; .8, .5; 1, 0"/>
                                        <p:tgtEl>
                                          <p:spTgt spid="323"/>
                                        </p:tgtEl>
                                      </p:cBhvr>
                                    </p:animEffect>
                                    <p:animScale>
                                      <p:cBhvr>
                                        <p:cTn id="77" dur="1000" autoRev="1" fill="hold"/>
                                        <p:tgtEl>
                                          <p:spTgt spid="323"/>
                                        </p:tgtEl>
                                      </p:cBhvr>
                                      <p:by x="105000" y="105000"/>
                                    </p:animScale>
                                  </p:childTnLst>
                                </p:cTn>
                              </p:par>
                              <p:par>
                                <p:cTn id="78" presetID="26" presetClass="emph" presetSubtype="0" dur="2000" repeatCount="indefinite" fill="hold" grpId="0" nodeType="withEffect">
                                  <p:stCondLst>
                                    <p:cond delay="500"/>
                                  </p:stCondLst>
                                  <p:childTnLst>
                                    <p:animEffect transition="out" filter="fade">
                                      <p:cBhvr>
                                        <p:cTn id="79" dur="2000" tmFilter="0, 0; .2, .5; .8, .5; 1, 0"/>
                                        <p:tgtEl>
                                          <p:spTgt spid="324"/>
                                        </p:tgtEl>
                                      </p:cBhvr>
                                    </p:animEffect>
                                    <p:animScale>
                                      <p:cBhvr>
                                        <p:cTn id="80" dur="1000" autoRev="1" fill="hold"/>
                                        <p:tgtEl>
                                          <p:spTgt spid="324"/>
                                        </p:tgtEl>
                                      </p:cBhvr>
                                      <p:by x="105000" y="105000"/>
                                    </p:animScale>
                                  </p:childTnLst>
                                </p:cTn>
                              </p:par>
                              <p:par>
                                <p:cTn id="81" presetID="26" presetClass="emph" presetSubtype="0" dur="2000" repeatCount="indefinite" fill="hold" grpId="0" nodeType="withEffect">
                                  <p:stCondLst>
                                    <p:cond delay="500"/>
                                  </p:stCondLst>
                                  <p:childTnLst>
                                    <p:animEffect transition="out" filter="fade">
                                      <p:cBhvr>
                                        <p:cTn id="82" dur="2000" tmFilter="0, 0; .2, .5; .8, .5; 1, 0"/>
                                        <p:tgtEl>
                                          <p:spTgt spid="325"/>
                                        </p:tgtEl>
                                      </p:cBhvr>
                                    </p:animEffect>
                                    <p:animScale>
                                      <p:cBhvr>
                                        <p:cTn id="83" dur="1000" autoRev="1" fill="hold"/>
                                        <p:tgtEl>
                                          <p:spTgt spid="325"/>
                                        </p:tgtEl>
                                      </p:cBhvr>
                                      <p:by x="105000" y="105000"/>
                                    </p:animScale>
                                  </p:childTnLst>
                                </p:cTn>
                              </p:par>
                              <p:par>
                                <p:cTn id="84" presetID="26" presetClass="emph" presetSubtype="0" dur="2000" repeatCount="indefinite" fill="hold" grpId="0" nodeType="withEffect">
                                  <p:stCondLst>
                                    <p:cond delay="500"/>
                                  </p:stCondLst>
                                  <p:childTnLst>
                                    <p:animEffect transition="out" filter="fade">
                                      <p:cBhvr>
                                        <p:cTn id="85" dur="2000" tmFilter="0, 0; .2, .5; .8, .5; 1, 0"/>
                                        <p:tgtEl>
                                          <p:spTgt spid="326"/>
                                        </p:tgtEl>
                                      </p:cBhvr>
                                    </p:animEffect>
                                    <p:animScale>
                                      <p:cBhvr>
                                        <p:cTn id="86" dur="1000" autoRev="1" fill="hold"/>
                                        <p:tgtEl>
                                          <p:spTgt spid="326"/>
                                        </p:tgtEl>
                                      </p:cBhvr>
                                      <p:by x="105000" y="105000"/>
                                    </p:animScale>
                                  </p:childTnLst>
                                </p:cTn>
                              </p:par>
                              <p:par>
                                <p:cTn id="87" presetID="26" presetClass="emph" presetSubtype="0" dur="2000" repeatCount="indefinite" fill="hold" grpId="0" nodeType="withEffect">
                                  <p:stCondLst>
                                    <p:cond delay="500"/>
                                  </p:stCondLst>
                                  <p:childTnLst>
                                    <p:animEffect transition="out" filter="fade">
                                      <p:cBhvr>
                                        <p:cTn id="88" dur="2000" tmFilter="0, 0; .2, .5; .8, .5; 1, 0"/>
                                        <p:tgtEl>
                                          <p:spTgt spid="327"/>
                                        </p:tgtEl>
                                      </p:cBhvr>
                                    </p:animEffect>
                                    <p:animScale>
                                      <p:cBhvr>
                                        <p:cTn id="89" dur="1000" autoRev="1" fill="hold"/>
                                        <p:tgtEl>
                                          <p:spTgt spid="327"/>
                                        </p:tgtEl>
                                      </p:cBhvr>
                                      <p:by x="105000" y="105000"/>
                                    </p:animScale>
                                  </p:childTnLst>
                                </p:cTn>
                              </p:par>
                              <p:par>
                                <p:cTn id="90" presetID="26" presetClass="emph" presetSubtype="0" dur="2000" repeatCount="indefinite" fill="hold" grpId="0" nodeType="withEffect">
                                  <p:stCondLst>
                                    <p:cond delay="500"/>
                                  </p:stCondLst>
                                  <p:childTnLst>
                                    <p:animEffect transition="out" filter="fade">
                                      <p:cBhvr>
                                        <p:cTn id="91" dur="2000" tmFilter="0, 0; .2, .5; .8, .5; 1, 0"/>
                                        <p:tgtEl>
                                          <p:spTgt spid="328"/>
                                        </p:tgtEl>
                                      </p:cBhvr>
                                    </p:animEffect>
                                    <p:animScale>
                                      <p:cBhvr>
                                        <p:cTn id="92" dur="1000" autoRev="1" fill="hold"/>
                                        <p:tgtEl>
                                          <p:spTgt spid="328"/>
                                        </p:tgtEl>
                                      </p:cBhvr>
                                      <p:by x="105000" y="105000"/>
                                    </p:animScale>
                                  </p:childTnLst>
                                </p:cTn>
                              </p:par>
                              <p:par>
                                <p:cTn id="93" presetID="26" presetClass="emph" presetSubtype="0" dur="2000" repeatCount="indefinite" fill="hold" grpId="0" nodeType="withEffect">
                                  <p:stCondLst>
                                    <p:cond delay="500"/>
                                  </p:stCondLst>
                                  <p:childTnLst>
                                    <p:animEffect transition="out" filter="fade">
                                      <p:cBhvr>
                                        <p:cTn id="94" dur="2000" tmFilter="0, 0; .2, .5; .8, .5; 1, 0"/>
                                        <p:tgtEl>
                                          <p:spTgt spid="329"/>
                                        </p:tgtEl>
                                      </p:cBhvr>
                                    </p:animEffect>
                                    <p:animScale>
                                      <p:cBhvr>
                                        <p:cTn id="95" dur="1000" autoRev="1" fill="hold"/>
                                        <p:tgtEl>
                                          <p:spTgt spid="329"/>
                                        </p:tgtEl>
                                      </p:cBhvr>
                                      <p:by x="105000" y="105000"/>
                                    </p:animScale>
                                  </p:childTnLst>
                                </p:cTn>
                              </p:par>
                              <p:par>
                                <p:cTn id="96" presetID="26" presetClass="emph" presetSubtype="0" dur="2000" repeatCount="indefinite" fill="hold" grpId="0" nodeType="withEffect">
                                  <p:stCondLst>
                                    <p:cond delay="750"/>
                                  </p:stCondLst>
                                  <p:childTnLst>
                                    <p:animEffect transition="out" filter="fade">
                                      <p:cBhvr>
                                        <p:cTn id="97" dur="2000" tmFilter="0, 0; .2, .5; .8, .5; 1, 0"/>
                                        <p:tgtEl>
                                          <p:spTgt spid="330"/>
                                        </p:tgtEl>
                                      </p:cBhvr>
                                    </p:animEffect>
                                    <p:animScale>
                                      <p:cBhvr>
                                        <p:cTn id="98" dur="1000" autoRev="1" fill="hold"/>
                                        <p:tgtEl>
                                          <p:spTgt spid="330"/>
                                        </p:tgtEl>
                                      </p:cBhvr>
                                      <p:by x="105000" y="105000"/>
                                    </p:animScale>
                                  </p:childTnLst>
                                </p:cTn>
                              </p:par>
                              <p:par>
                                <p:cTn id="99" presetID="26" presetClass="emph" presetSubtype="0" dur="2000" repeatCount="indefinite" fill="hold" grpId="0" nodeType="withEffect">
                                  <p:stCondLst>
                                    <p:cond delay="750"/>
                                  </p:stCondLst>
                                  <p:childTnLst>
                                    <p:animEffect transition="out" filter="fade">
                                      <p:cBhvr>
                                        <p:cTn id="100" dur="2000" tmFilter="0, 0; .2, .5; .8, .5; 1, 0"/>
                                        <p:tgtEl>
                                          <p:spTgt spid="331"/>
                                        </p:tgtEl>
                                      </p:cBhvr>
                                    </p:animEffect>
                                    <p:animScale>
                                      <p:cBhvr>
                                        <p:cTn id="101" dur="1000" autoRev="1" fill="hold"/>
                                        <p:tgtEl>
                                          <p:spTgt spid="331"/>
                                        </p:tgtEl>
                                      </p:cBhvr>
                                      <p:by x="105000" y="105000"/>
                                    </p:animScale>
                                  </p:childTnLst>
                                </p:cTn>
                              </p:par>
                              <p:par>
                                <p:cTn id="102" presetID="26" presetClass="emph" presetSubtype="0" dur="2000" repeatCount="indefinite" fill="hold" grpId="0" nodeType="withEffect">
                                  <p:stCondLst>
                                    <p:cond delay="750"/>
                                  </p:stCondLst>
                                  <p:childTnLst>
                                    <p:animEffect transition="out" filter="fade">
                                      <p:cBhvr>
                                        <p:cTn id="103" dur="2000" tmFilter="0, 0; .2, .5; .8, .5; 1, 0"/>
                                        <p:tgtEl>
                                          <p:spTgt spid="332"/>
                                        </p:tgtEl>
                                      </p:cBhvr>
                                    </p:animEffect>
                                    <p:animScale>
                                      <p:cBhvr>
                                        <p:cTn id="104" dur="1000" autoRev="1" fill="hold"/>
                                        <p:tgtEl>
                                          <p:spTgt spid="332"/>
                                        </p:tgtEl>
                                      </p:cBhvr>
                                      <p:by x="105000" y="105000"/>
                                    </p:animScale>
                                  </p:childTnLst>
                                </p:cTn>
                              </p:par>
                              <p:par>
                                <p:cTn id="105" presetID="26" presetClass="emph" presetSubtype="0" dur="2000" repeatCount="indefinite" fill="hold" grpId="0" nodeType="withEffect">
                                  <p:stCondLst>
                                    <p:cond delay="750"/>
                                  </p:stCondLst>
                                  <p:childTnLst>
                                    <p:animEffect transition="out" filter="fade">
                                      <p:cBhvr>
                                        <p:cTn id="106" dur="2000" tmFilter="0, 0; .2, .5; .8, .5; 1, 0"/>
                                        <p:tgtEl>
                                          <p:spTgt spid="333"/>
                                        </p:tgtEl>
                                      </p:cBhvr>
                                    </p:animEffect>
                                    <p:animScale>
                                      <p:cBhvr>
                                        <p:cTn id="107" dur="1000" autoRev="1" fill="hold"/>
                                        <p:tgtEl>
                                          <p:spTgt spid="333"/>
                                        </p:tgtEl>
                                      </p:cBhvr>
                                      <p:by x="105000" y="105000"/>
                                    </p:animScale>
                                  </p:childTnLst>
                                </p:cTn>
                              </p:par>
                              <p:par>
                                <p:cTn id="108" presetID="26" presetClass="emph" presetSubtype="0" dur="2000" repeatCount="indefinite" fill="hold" grpId="0" nodeType="withEffect">
                                  <p:stCondLst>
                                    <p:cond delay="750"/>
                                  </p:stCondLst>
                                  <p:childTnLst>
                                    <p:animEffect transition="out" filter="fade">
                                      <p:cBhvr>
                                        <p:cTn id="109" dur="2000" tmFilter="0, 0; .2, .5; .8, .5; 1, 0"/>
                                        <p:tgtEl>
                                          <p:spTgt spid="334"/>
                                        </p:tgtEl>
                                      </p:cBhvr>
                                    </p:animEffect>
                                    <p:animScale>
                                      <p:cBhvr>
                                        <p:cTn id="110" dur="1000" autoRev="1" fill="hold"/>
                                        <p:tgtEl>
                                          <p:spTgt spid="334"/>
                                        </p:tgtEl>
                                      </p:cBhvr>
                                      <p:by x="105000" y="105000"/>
                                    </p:animScale>
                                  </p:childTnLst>
                                </p:cTn>
                              </p:par>
                              <p:par>
                                <p:cTn id="111" presetID="26" presetClass="emph" presetSubtype="0" dur="2000" repeatCount="indefinite" fill="hold" grpId="0" nodeType="withEffect">
                                  <p:stCondLst>
                                    <p:cond delay="750"/>
                                  </p:stCondLst>
                                  <p:childTnLst>
                                    <p:animEffect transition="out" filter="fade">
                                      <p:cBhvr>
                                        <p:cTn id="112" dur="2000" tmFilter="0, 0; .2, .5; .8, .5; 1, 0"/>
                                        <p:tgtEl>
                                          <p:spTgt spid="335"/>
                                        </p:tgtEl>
                                      </p:cBhvr>
                                    </p:animEffect>
                                    <p:animScale>
                                      <p:cBhvr>
                                        <p:cTn id="113" dur="1000" autoRev="1" fill="hold"/>
                                        <p:tgtEl>
                                          <p:spTgt spid="335"/>
                                        </p:tgtEl>
                                      </p:cBhvr>
                                      <p:by x="105000" y="105000"/>
                                    </p:animScale>
                                  </p:childTnLst>
                                </p:cTn>
                              </p:par>
                              <p:par>
                                <p:cTn id="114" presetID="26" presetClass="emph" presetSubtype="0" dur="2000" repeatCount="indefinite" fill="hold" grpId="0" nodeType="withEffect">
                                  <p:stCondLst>
                                    <p:cond delay="750"/>
                                  </p:stCondLst>
                                  <p:childTnLst>
                                    <p:animEffect transition="out" filter="fade">
                                      <p:cBhvr>
                                        <p:cTn id="115" dur="2000" tmFilter="0, 0; .2, .5; .8, .5; 1, 0"/>
                                        <p:tgtEl>
                                          <p:spTgt spid="336"/>
                                        </p:tgtEl>
                                      </p:cBhvr>
                                    </p:animEffect>
                                    <p:animScale>
                                      <p:cBhvr>
                                        <p:cTn id="116" dur="1000" autoRev="1" fill="hold"/>
                                        <p:tgtEl>
                                          <p:spTgt spid="336"/>
                                        </p:tgtEl>
                                      </p:cBhvr>
                                      <p:by x="105000" y="105000"/>
                                    </p:animScale>
                                  </p:childTnLst>
                                </p:cTn>
                              </p:par>
                              <p:par>
                                <p:cTn id="117" presetID="26" presetClass="emph" presetSubtype="0" dur="2000" repeatCount="indefinite" fill="hold" grpId="0" nodeType="withEffect">
                                  <p:stCondLst>
                                    <p:cond delay="750"/>
                                  </p:stCondLst>
                                  <p:childTnLst>
                                    <p:animEffect transition="out" filter="fade">
                                      <p:cBhvr>
                                        <p:cTn id="118" dur="2000" tmFilter="0, 0; .2, .5; .8, .5; 1, 0"/>
                                        <p:tgtEl>
                                          <p:spTgt spid="337"/>
                                        </p:tgtEl>
                                      </p:cBhvr>
                                    </p:animEffect>
                                    <p:animScale>
                                      <p:cBhvr>
                                        <p:cTn id="119" dur="1000" autoRev="1" fill="hold"/>
                                        <p:tgtEl>
                                          <p:spTgt spid="337"/>
                                        </p:tgtEl>
                                      </p:cBhvr>
                                      <p:by x="105000" y="105000"/>
                                    </p:animScale>
                                  </p:childTnLst>
                                </p:cTn>
                              </p:par>
                              <p:par>
                                <p:cTn id="120" presetID="26" presetClass="emph" presetSubtype="0" dur="2000" repeatCount="indefinite" fill="hold" grpId="0" nodeType="withEffect">
                                  <p:stCondLst>
                                    <p:cond delay="750"/>
                                  </p:stCondLst>
                                  <p:childTnLst>
                                    <p:animEffect transition="out" filter="fade">
                                      <p:cBhvr>
                                        <p:cTn id="121" dur="2000" tmFilter="0, 0; .2, .5; .8, .5; 1, 0"/>
                                        <p:tgtEl>
                                          <p:spTgt spid="338"/>
                                        </p:tgtEl>
                                      </p:cBhvr>
                                    </p:animEffect>
                                    <p:animScale>
                                      <p:cBhvr>
                                        <p:cTn id="122" dur="1000" autoRev="1" fill="hold"/>
                                        <p:tgtEl>
                                          <p:spTgt spid="338"/>
                                        </p:tgtEl>
                                      </p:cBhvr>
                                      <p:by x="105000" y="105000"/>
                                    </p:animScale>
                                  </p:childTnLst>
                                </p:cTn>
                              </p:par>
                              <p:par>
                                <p:cTn id="123" presetID="26" presetClass="emph" presetSubtype="0" dur="2000" repeatCount="indefinite" fill="hold" grpId="0" nodeType="withEffect">
                                  <p:stCondLst>
                                    <p:cond delay="750"/>
                                  </p:stCondLst>
                                  <p:childTnLst>
                                    <p:animEffect transition="out" filter="fade">
                                      <p:cBhvr>
                                        <p:cTn id="124" dur="2000" tmFilter="0, 0; .2, .5; .8, .5; 1, 0"/>
                                        <p:tgtEl>
                                          <p:spTgt spid="339"/>
                                        </p:tgtEl>
                                      </p:cBhvr>
                                    </p:animEffect>
                                    <p:animScale>
                                      <p:cBhvr>
                                        <p:cTn id="125" dur="1000" autoRev="1" fill="hold"/>
                                        <p:tgtEl>
                                          <p:spTgt spid="339"/>
                                        </p:tgtEl>
                                      </p:cBhvr>
                                      <p:by x="105000" y="105000"/>
                                    </p:animScale>
                                  </p:childTnLst>
                                </p:cTn>
                              </p:par>
                              <p:par>
                                <p:cTn id="126" presetID="26" presetClass="emph" presetSubtype="0" dur="2000" repeatCount="indefinite" fill="hold" grpId="0" nodeType="withEffect">
                                  <p:stCondLst>
                                    <p:cond delay="750"/>
                                  </p:stCondLst>
                                  <p:childTnLst>
                                    <p:animEffect transition="out" filter="fade">
                                      <p:cBhvr>
                                        <p:cTn id="127" dur="2000" tmFilter="0, 0; .2, .5; .8, .5; 1, 0"/>
                                        <p:tgtEl>
                                          <p:spTgt spid="340"/>
                                        </p:tgtEl>
                                      </p:cBhvr>
                                    </p:animEffect>
                                    <p:animScale>
                                      <p:cBhvr>
                                        <p:cTn id="128" dur="1000" autoRev="1" fill="hold"/>
                                        <p:tgtEl>
                                          <p:spTgt spid="340"/>
                                        </p:tgtEl>
                                      </p:cBhvr>
                                      <p:by x="105000" y="105000"/>
                                    </p:animScale>
                                  </p:childTnLst>
                                </p:cTn>
                              </p:par>
                              <p:par>
                                <p:cTn id="129" presetID="26" presetClass="emph" presetSubtype="0" dur="2000" repeatCount="indefinite" fill="hold" grpId="0" nodeType="withEffect">
                                  <p:stCondLst>
                                    <p:cond delay="1000"/>
                                  </p:stCondLst>
                                  <p:childTnLst>
                                    <p:animEffect transition="out" filter="fade">
                                      <p:cBhvr>
                                        <p:cTn id="130" dur="2000" tmFilter="0, 0; .2, .5; .8, .5; 1, 0"/>
                                        <p:tgtEl>
                                          <p:spTgt spid="341"/>
                                        </p:tgtEl>
                                      </p:cBhvr>
                                    </p:animEffect>
                                    <p:animScale>
                                      <p:cBhvr>
                                        <p:cTn id="131" dur="1000" autoRev="1" fill="hold"/>
                                        <p:tgtEl>
                                          <p:spTgt spid="341"/>
                                        </p:tgtEl>
                                      </p:cBhvr>
                                      <p:by x="105000" y="105000"/>
                                    </p:animScale>
                                  </p:childTnLst>
                                </p:cTn>
                              </p:par>
                              <p:par>
                                <p:cTn id="132" presetID="26" presetClass="emph" presetSubtype="0" dur="2000" repeatCount="indefinite" fill="hold" grpId="0" nodeType="withEffect">
                                  <p:stCondLst>
                                    <p:cond delay="1000"/>
                                  </p:stCondLst>
                                  <p:childTnLst>
                                    <p:animEffect transition="out" filter="fade">
                                      <p:cBhvr>
                                        <p:cTn id="133" dur="2000" tmFilter="0, 0; .2, .5; .8, .5; 1, 0"/>
                                        <p:tgtEl>
                                          <p:spTgt spid="342"/>
                                        </p:tgtEl>
                                      </p:cBhvr>
                                    </p:animEffect>
                                    <p:animScale>
                                      <p:cBhvr>
                                        <p:cTn id="134" dur="1000" autoRev="1" fill="hold"/>
                                        <p:tgtEl>
                                          <p:spTgt spid="342"/>
                                        </p:tgtEl>
                                      </p:cBhvr>
                                      <p:by x="105000" y="105000"/>
                                    </p:animScale>
                                  </p:childTnLst>
                                </p:cTn>
                              </p:par>
                              <p:par>
                                <p:cTn id="135" presetID="26" presetClass="emph" presetSubtype="0" dur="2000" repeatCount="indefinite" fill="hold" grpId="0" nodeType="withEffect">
                                  <p:stCondLst>
                                    <p:cond delay="1000"/>
                                  </p:stCondLst>
                                  <p:childTnLst>
                                    <p:animEffect transition="out" filter="fade">
                                      <p:cBhvr>
                                        <p:cTn id="136" dur="2000" tmFilter="0, 0; .2, .5; .8, .5; 1, 0"/>
                                        <p:tgtEl>
                                          <p:spTgt spid="343"/>
                                        </p:tgtEl>
                                      </p:cBhvr>
                                    </p:animEffect>
                                    <p:animScale>
                                      <p:cBhvr>
                                        <p:cTn id="137" dur="1000" autoRev="1" fill="hold"/>
                                        <p:tgtEl>
                                          <p:spTgt spid="343"/>
                                        </p:tgtEl>
                                      </p:cBhvr>
                                      <p:by x="105000" y="105000"/>
                                    </p:animScale>
                                  </p:childTnLst>
                                </p:cTn>
                              </p:par>
                              <p:par>
                                <p:cTn id="138" presetID="26" presetClass="emph" presetSubtype="0" dur="2000" repeatCount="indefinite" fill="hold" grpId="0" nodeType="withEffect">
                                  <p:stCondLst>
                                    <p:cond delay="1000"/>
                                  </p:stCondLst>
                                  <p:childTnLst>
                                    <p:animEffect transition="out" filter="fade">
                                      <p:cBhvr>
                                        <p:cTn id="139" dur="2000" tmFilter="0, 0; .2, .5; .8, .5; 1, 0"/>
                                        <p:tgtEl>
                                          <p:spTgt spid="344"/>
                                        </p:tgtEl>
                                      </p:cBhvr>
                                    </p:animEffect>
                                    <p:animScale>
                                      <p:cBhvr>
                                        <p:cTn id="140" dur="1000" autoRev="1" fill="hold"/>
                                        <p:tgtEl>
                                          <p:spTgt spid="344"/>
                                        </p:tgtEl>
                                      </p:cBhvr>
                                      <p:by x="105000" y="105000"/>
                                    </p:animScale>
                                  </p:childTnLst>
                                </p:cTn>
                              </p:par>
                              <p:par>
                                <p:cTn id="141" presetID="26" presetClass="emph" presetSubtype="0" dur="2000" repeatCount="indefinite" fill="hold" grpId="0" nodeType="withEffect">
                                  <p:stCondLst>
                                    <p:cond delay="1000"/>
                                  </p:stCondLst>
                                  <p:childTnLst>
                                    <p:animEffect transition="out" filter="fade">
                                      <p:cBhvr>
                                        <p:cTn id="142" dur="2000" tmFilter="0, 0; .2, .5; .8, .5; 1, 0"/>
                                        <p:tgtEl>
                                          <p:spTgt spid="345"/>
                                        </p:tgtEl>
                                      </p:cBhvr>
                                    </p:animEffect>
                                    <p:animScale>
                                      <p:cBhvr>
                                        <p:cTn id="143" dur="1000" autoRev="1" fill="hold"/>
                                        <p:tgtEl>
                                          <p:spTgt spid="345"/>
                                        </p:tgtEl>
                                      </p:cBhvr>
                                      <p:by x="105000" y="105000"/>
                                    </p:animScale>
                                  </p:childTnLst>
                                </p:cTn>
                              </p:par>
                              <p:par>
                                <p:cTn id="144" presetID="26" presetClass="emph" presetSubtype="0" dur="2000" repeatCount="indefinite" fill="hold" grpId="0" nodeType="withEffect">
                                  <p:stCondLst>
                                    <p:cond delay="1000"/>
                                  </p:stCondLst>
                                  <p:childTnLst>
                                    <p:animEffect transition="out" filter="fade">
                                      <p:cBhvr>
                                        <p:cTn id="145" dur="2000" tmFilter="0, 0; .2, .5; .8, .5; 1, 0"/>
                                        <p:tgtEl>
                                          <p:spTgt spid="346"/>
                                        </p:tgtEl>
                                      </p:cBhvr>
                                    </p:animEffect>
                                    <p:animScale>
                                      <p:cBhvr>
                                        <p:cTn id="146" dur="1000" autoRev="1" fill="hold"/>
                                        <p:tgtEl>
                                          <p:spTgt spid="346"/>
                                        </p:tgtEl>
                                      </p:cBhvr>
                                      <p:by x="105000" y="105000"/>
                                    </p:animScale>
                                  </p:childTnLst>
                                </p:cTn>
                              </p:par>
                              <p:par>
                                <p:cTn id="147" presetID="26" presetClass="emph" presetSubtype="0" dur="2000" repeatCount="indefinite" fill="hold" grpId="0" nodeType="withEffect">
                                  <p:stCondLst>
                                    <p:cond delay="1000"/>
                                  </p:stCondLst>
                                  <p:childTnLst>
                                    <p:animEffect transition="out" filter="fade">
                                      <p:cBhvr>
                                        <p:cTn id="148" dur="2000" tmFilter="0, 0; .2, .5; .8, .5; 1, 0"/>
                                        <p:tgtEl>
                                          <p:spTgt spid="347"/>
                                        </p:tgtEl>
                                      </p:cBhvr>
                                    </p:animEffect>
                                    <p:animScale>
                                      <p:cBhvr>
                                        <p:cTn id="149" dur="1000" autoRev="1" fill="hold"/>
                                        <p:tgtEl>
                                          <p:spTgt spid="347"/>
                                        </p:tgtEl>
                                      </p:cBhvr>
                                      <p:by x="105000" y="105000"/>
                                    </p:animScale>
                                  </p:childTnLst>
                                </p:cTn>
                              </p:par>
                              <p:par>
                                <p:cTn id="150" presetID="26" presetClass="emph" presetSubtype="0" dur="2000" repeatCount="indefinite" fill="hold" grpId="0" nodeType="withEffect">
                                  <p:stCondLst>
                                    <p:cond delay="1000"/>
                                  </p:stCondLst>
                                  <p:childTnLst>
                                    <p:animEffect transition="out" filter="fade">
                                      <p:cBhvr>
                                        <p:cTn id="151" dur="2000" tmFilter="0, 0; .2, .5; .8, .5; 1, 0"/>
                                        <p:tgtEl>
                                          <p:spTgt spid="348"/>
                                        </p:tgtEl>
                                      </p:cBhvr>
                                    </p:animEffect>
                                    <p:animScale>
                                      <p:cBhvr>
                                        <p:cTn id="152" dur="1000" autoRev="1" fill="hold"/>
                                        <p:tgtEl>
                                          <p:spTgt spid="348"/>
                                        </p:tgtEl>
                                      </p:cBhvr>
                                      <p:by x="105000" y="105000"/>
                                    </p:animScale>
                                  </p:childTnLst>
                                </p:cTn>
                              </p:par>
                              <p:par>
                                <p:cTn id="153" presetID="26" presetClass="emph" presetSubtype="0" dur="2000" repeatCount="indefinite" fill="hold" grpId="0" nodeType="withEffect">
                                  <p:stCondLst>
                                    <p:cond delay="1000"/>
                                  </p:stCondLst>
                                  <p:childTnLst>
                                    <p:animEffect transition="out" filter="fade">
                                      <p:cBhvr>
                                        <p:cTn id="154" dur="2000" tmFilter="0, 0; .2, .5; .8, .5; 1, 0"/>
                                        <p:tgtEl>
                                          <p:spTgt spid="349"/>
                                        </p:tgtEl>
                                      </p:cBhvr>
                                    </p:animEffect>
                                    <p:animScale>
                                      <p:cBhvr>
                                        <p:cTn id="155" dur="1000" autoRev="1" fill="hold"/>
                                        <p:tgtEl>
                                          <p:spTgt spid="349"/>
                                        </p:tgtEl>
                                      </p:cBhvr>
                                      <p:by x="105000" y="105000"/>
                                    </p:animScale>
                                  </p:childTnLst>
                                </p:cTn>
                              </p:par>
                              <p:par>
                                <p:cTn id="156" presetID="26" presetClass="emph" presetSubtype="0" dur="2000" repeatCount="indefinite" fill="hold" grpId="0" nodeType="withEffect">
                                  <p:stCondLst>
                                    <p:cond delay="1000"/>
                                  </p:stCondLst>
                                  <p:childTnLst>
                                    <p:animEffect transition="out" filter="fade">
                                      <p:cBhvr>
                                        <p:cTn id="157" dur="2000" tmFilter="0, 0; .2, .5; .8, .5; 1, 0"/>
                                        <p:tgtEl>
                                          <p:spTgt spid="350"/>
                                        </p:tgtEl>
                                      </p:cBhvr>
                                    </p:animEffect>
                                    <p:animScale>
                                      <p:cBhvr>
                                        <p:cTn id="158" dur="1000" autoRev="1" fill="hold"/>
                                        <p:tgtEl>
                                          <p:spTgt spid="350"/>
                                        </p:tgtEl>
                                      </p:cBhvr>
                                      <p:by x="105000" y="105000"/>
                                    </p:animScale>
                                  </p:childTnLst>
                                </p:cTn>
                              </p:par>
                              <p:par>
                                <p:cTn id="159" presetID="26" presetClass="emph" presetSubtype="0" dur="2000" repeatCount="indefinite" fill="hold" grpId="0" nodeType="withEffect">
                                  <p:stCondLst>
                                    <p:cond delay="1000"/>
                                  </p:stCondLst>
                                  <p:childTnLst>
                                    <p:animEffect transition="out" filter="fade">
                                      <p:cBhvr>
                                        <p:cTn id="160" dur="2000" tmFilter="0, 0; .2, .5; .8, .5; 1, 0"/>
                                        <p:tgtEl>
                                          <p:spTgt spid="351"/>
                                        </p:tgtEl>
                                      </p:cBhvr>
                                    </p:animEffect>
                                    <p:animScale>
                                      <p:cBhvr>
                                        <p:cTn id="161" dur="1000" autoRev="1" fill="hold"/>
                                        <p:tgtEl>
                                          <p:spTgt spid="351"/>
                                        </p:tgtEl>
                                      </p:cBhvr>
                                      <p:by x="105000" y="105000"/>
                                    </p:animScale>
                                  </p:childTnLst>
                                </p:cTn>
                              </p:par>
                              <p:par>
                                <p:cTn id="162" presetID="26" presetClass="emph" presetSubtype="0" dur="2000" repeatCount="indefinite" fill="hold" grpId="0" nodeType="withEffect">
                                  <p:stCondLst>
                                    <p:cond delay="1000"/>
                                  </p:stCondLst>
                                  <p:childTnLst>
                                    <p:animEffect transition="out" filter="fade">
                                      <p:cBhvr>
                                        <p:cTn id="163" dur="2000" tmFilter="0, 0; .2, .5; .8, .5; 1, 0"/>
                                        <p:tgtEl>
                                          <p:spTgt spid="352"/>
                                        </p:tgtEl>
                                      </p:cBhvr>
                                    </p:animEffect>
                                    <p:animScale>
                                      <p:cBhvr>
                                        <p:cTn id="164" dur="1000" autoRev="1" fill="hold"/>
                                        <p:tgtEl>
                                          <p:spTgt spid="352"/>
                                        </p:tgtEl>
                                      </p:cBhvr>
                                      <p:by x="105000" y="105000"/>
                                    </p:animScale>
                                  </p:childTnLst>
                                </p:cTn>
                              </p:par>
                              <p:par>
                                <p:cTn id="165" presetID="26" presetClass="emph" presetSubtype="0" dur="2000" repeatCount="indefinite" fill="hold" grpId="0" nodeType="withEffect">
                                  <p:stCondLst>
                                    <p:cond delay="1000"/>
                                  </p:stCondLst>
                                  <p:childTnLst>
                                    <p:animEffect transition="out" filter="fade">
                                      <p:cBhvr>
                                        <p:cTn id="166" dur="2000" tmFilter="0, 0; .2, .5; .8, .5; 1, 0"/>
                                        <p:tgtEl>
                                          <p:spTgt spid="353"/>
                                        </p:tgtEl>
                                      </p:cBhvr>
                                    </p:animEffect>
                                    <p:animScale>
                                      <p:cBhvr>
                                        <p:cTn id="167" dur="1000" autoRev="1" fill="hold"/>
                                        <p:tgtEl>
                                          <p:spTgt spid="353"/>
                                        </p:tgtEl>
                                      </p:cBhvr>
                                      <p:by x="105000" y="105000"/>
                                    </p:animScale>
                                  </p:childTnLst>
                                </p:cTn>
                              </p:par>
                              <p:par>
                                <p:cTn id="168" presetID="26" presetClass="emph" presetSubtype="0" dur="2000" repeatCount="indefinite" fill="hold" grpId="0" nodeType="withEffect">
                                  <p:stCondLst>
                                    <p:cond delay="1250"/>
                                  </p:stCondLst>
                                  <p:childTnLst>
                                    <p:animEffect transition="out" filter="fade">
                                      <p:cBhvr>
                                        <p:cTn id="169" dur="2000" tmFilter="0, 0; .2, .5; .8, .5; 1, 0"/>
                                        <p:tgtEl>
                                          <p:spTgt spid="354"/>
                                        </p:tgtEl>
                                      </p:cBhvr>
                                    </p:animEffect>
                                    <p:animScale>
                                      <p:cBhvr>
                                        <p:cTn id="170" dur="1000" autoRev="1" fill="hold"/>
                                        <p:tgtEl>
                                          <p:spTgt spid="354"/>
                                        </p:tgtEl>
                                      </p:cBhvr>
                                      <p:by x="105000" y="105000"/>
                                    </p:animScale>
                                  </p:childTnLst>
                                </p:cTn>
                              </p:par>
                              <p:par>
                                <p:cTn id="171" presetID="26" presetClass="emph" presetSubtype="0" dur="2000" repeatCount="indefinite" fill="hold" grpId="0" nodeType="withEffect">
                                  <p:stCondLst>
                                    <p:cond delay="1250"/>
                                  </p:stCondLst>
                                  <p:childTnLst>
                                    <p:animEffect transition="out" filter="fade">
                                      <p:cBhvr>
                                        <p:cTn id="172" dur="2000" tmFilter="0, 0; .2, .5; .8, .5; 1, 0"/>
                                        <p:tgtEl>
                                          <p:spTgt spid="355"/>
                                        </p:tgtEl>
                                      </p:cBhvr>
                                    </p:animEffect>
                                    <p:animScale>
                                      <p:cBhvr>
                                        <p:cTn id="173" dur="1000" autoRev="1" fill="hold"/>
                                        <p:tgtEl>
                                          <p:spTgt spid="355"/>
                                        </p:tgtEl>
                                      </p:cBhvr>
                                      <p:by x="105000" y="105000"/>
                                    </p:animScale>
                                  </p:childTnLst>
                                </p:cTn>
                              </p:par>
                              <p:par>
                                <p:cTn id="174" presetID="26" presetClass="emph" presetSubtype="0" dur="2000" repeatCount="indefinite" fill="hold" grpId="0" nodeType="withEffect">
                                  <p:stCondLst>
                                    <p:cond delay="1250"/>
                                  </p:stCondLst>
                                  <p:childTnLst>
                                    <p:animEffect transition="out" filter="fade">
                                      <p:cBhvr>
                                        <p:cTn id="175" dur="2000" tmFilter="0, 0; .2, .5; .8, .5; 1, 0"/>
                                        <p:tgtEl>
                                          <p:spTgt spid="356"/>
                                        </p:tgtEl>
                                      </p:cBhvr>
                                    </p:animEffect>
                                    <p:animScale>
                                      <p:cBhvr>
                                        <p:cTn id="176" dur="1000" autoRev="1" fill="hold"/>
                                        <p:tgtEl>
                                          <p:spTgt spid="356"/>
                                        </p:tgtEl>
                                      </p:cBhvr>
                                      <p:by x="105000" y="105000"/>
                                    </p:animScale>
                                  </p:childTnLst>
                                </p:cTn>
                              </p:par>
                              <p:par>
                                <p:cTn id="177" presetID="26" presetClass="emph" presetSubtype="0" dur="2000" repeatCount="indefinite" fill="hold" grpId="0" nodeType="withEffect">
                                  <p:stCondLst>
                                    <p:cond delay="1250"/>
                                  </p:stCondLst>
                                  <p:childTnLst>
                                    <p:animEffect transition="out" filter="fade">
                                      <p:cBhvr>
                                        <p:cTn id="178" dur="2000" tmFilter="0, 0; .2, .5; .8, .5; 1, 0"/>
                                        <p:tgtEl>
                                          <p:spTgt spid="357"/>
                                        </p:tgtEl>
                                      </p:cBhvr>
                                    </p:animEffect>
                                    <p:animScale>
                                      <p:cBhvr>
                                        <p:cTn id="179" dur="1000" autoRev="1" fill="hold"/>
                                        <p:tgtEl>
                                          <p:spTgt spid="357"/>
                                        </p:tgtEl>
                                      </p:cBhvr>
                                      <p:by x="105000" y="105000"/>
                                    </p:animScale>
                                  </p:childTnLst>
                                </p:cTn>
                              </p:par>
                              <p:par>
                                <p:cTn id="180" presetID="26" presetClass="emph" presetSubtype="0" dur="2000" repeatCount="indefinite" fill="hold" grpId="0" nodeType="withEffect">
                                  <p:stCondLst>
                                    <p:cond delay="1250"/>
                                  </p:stCondLst>
                                  <p:childTnLst>
                                    <p:animEffect transition="out" filter="fade">
                                      <p:cBhvr>
                                        <p:cTn id="181" dur="2000" tmFilter="0, 0; .2, .5; .8, .5; 1, 0"/>
                                        <p:tgtEl>
                                          <p:spTgt spid="358"/>
                                        </p:tgtEl>
                                      </p:cBhvr>
                                    </p:animEffect>
                                    <p:animScale>
                                      <p:cBhvr>
                                        <p:cTn id="182" dur="1000" autoRev="1" fill="hold"/>
                                        <p:tgtEl>
                                          <p:spTgt spid="358"/>
                                        </p:tgtEl>
                                      </p:cBhvr>
                                      <p:by x="105000" y="105000"/>
                                    </p:animScale>
                                  </p:childTnLst>
                                </p:cTn>
                              </p:par>
                              <p:par>
                                <p:cTn id="183" presetID="26" presetClass="emph" presetSubtype="0" dur="2000" repeatCount="indefinite" fill="hold" grpId="0" nodeType="withEffect">
                                  <p:stCondLst>
                                    <p:cond delay="1250"/>
                                  </p:stCondLst>
                                  <p:childTnLst>
                                    <p:animEffect transition="out" filter="fade">
                                      <p:cBhvr>
                                        <p:cTn id="184" dur="2000" tmFilter="0, 0; .2, .5; .8, .5; 1, 0"/>
                                        <p:tgtEl>
                                          <p:spTgt spid="359"/>
                                        </p:tgtEl>
                                      </p:cBhvr>
                                    </p:animEffect>
                                    <p:animScale>
                                      <p:cBhvr>
                                        <p:cTn id="185" dur="1000" autoRev="1" fill="hold"/>
                                        <p:tgtEl>
                                          <p:spTgt spid="359"/>
                                        </p:tgtEl>
                                      </p:cBhvr>
                                      <p:by x="105000" y="105000"/>
                                    </p:animScale>
                                  </p:childTnLst>
                                </p:cTn>
                              </p:par>
                              <p:par>
                                <p:cTn id="186" presetID="26" presetClass="emph" presetSubtype="0" dur="2000" repeatCount="indefinite" fill="hold" grpId="0" nodeType="withEffect">
                                  <p:stCondLst>
                                    <p:cond delay="1250"/>
                                  </p:stCondLst>
                                  <p:childTnLst>
                                    <p:animEffect transition="out" filter="fade">
                                      <p:cBhvr>
                                        <p:cTn id="187" dur="2000" tmFilter="0, 0; .2, .5; .8, .5; 1, 0"/>
                                        <p:tgtEl>
                                          <p:spTgt spid="360"/>
                                        </p:tgtEl>
                                      </p:cBhvr>
                                    </p:animEffect>
                                    <p:animScale>
                                      <p:cBhvr>
                                        <p:cTn id="188" dur="1000" autoRev="1" fill="hold"/>
                                        <p:tgtEl>
                                          <p:spTgt spid="360"/>
                                        </p:tgtEl>
                                      </p:cBhvr>
                                      <p:by x="105000" y="105000"/>
                                    </p:animScale>
                                  </p:childTnLst>
                                </p:cTn>
                              </p:par>
                              <p:par>
                                <p:cTn id="189" presetID="26" presetClass="emph" presetSubtype="0" dur="2000" repeatCount="indefinite" fill="hold" grpId="0" nodeType="withEffect">
                                  <p:stCondLst>
                                    <p:cond delay="1250"/>
                                  </p:stCondLst>
                                  <p:childTnLst>
                                    <p:animEffect transition="out" filter="fade">
                                      <p:cBhvr>
                                        <p:cTn id="190" dur="2000" tmFilter="0, 0; .2, .5; .8, .5; 1, 0"/>
                                        <p:tgtEl>
                                          <p:spTgt spid="361"/>
                                        </p:tgtEl>
                                      </p:cBhvr>
                                    </p:animEffect>
                                    <p:animScale>
                                      <p:cBhvr>
                                        <p:cTn id="191" dur="1000" autoRev="1" fill="hold"/>
                                        <p:tgtEl>
                                          <p:spTgt spid="361"/>
                                        </p:tgtEl>
                                      </p:cBhvr>
                                      <p:by x="105000" y="105000"/>
                                    </p:animScale>
                                  </p:childTnLst>
                                </p:cTn>
                              </p:par>
                              <p:par>
                                <p:cTn id="192" presetID="26" presetClass="emph" presetSubtype="0" dur="2000" repeatCount="indefinite" fill="hold" grpId="0" nodeType="withEffect">
                                  <p:stCondLst>
                                    <p:cond delay="1250"/>
                                  </p:stCondLst>
                                  <p:childTnLst>
                                    <p:animEffect transition="out" filter="fade">
                                      <p:cBhvr>
                                        <p:cTn id="193" dur="2000" tmFilter="0, 0; .2, .5; .8, .5; 1, 0"/>
                                        <p:tgtEl>
                                          <p:spTgt spid="362"/>
                                        </p:tgtEl>
                                      </p:cBhvr>
                                    </p:animEffect>
                                    <p:animScale>
                                      <p:cBhvr>
                                        <p:cTn id="194" dur="1000" autoRev="1" fill="hold"/>
                                        <p:tgtEl>
                                          <p:spTgt spid="362"/>
                                        </p:tgtEl>
                                      </p:cBhvr>
                                      <p:by x="105000" y="105000"/>
                                    </p:animScale>
                                  </p:childTnLst>
                                </p:cTn>
                              </p:par>
                              <p:par>
                                <p:cTn id="195" presetID="26" presetClass="emph" presetSubtype="0" dur="2000" repeatCount="indefinite" fill="hold" grpId="0" nodeType="withEffect">
                                  <p:stCondLst>
                                    <p:cond delay="1250"/>
                                  </p:stCondLst>
                                  <p:childTnLst>
                                    <p:animEffect transition="out" filter="fade">
                                      <p:cBhvr>
                                        <p:cTn id="196" dur="2000" tmFilter="0, 0; .2, .5; .8, .5; 1, 0"/>
                                        <p:tgtEl>
                                          <p:spTgt spid="363"/>
                                        </p:tgtEl>
                                      </p:cBhvr>
                                    </p:animEffect>
                                    <p:animScale>
                                      <p:cBhvr>
                                        <p:cTn id="197" dur="1000" autoRev="1" fill="hold"/>
                                        <p:tgtEl>
                                          <p:spTgt spid="363"/>
                                        </p:tgtEl>
                                      </p:cBhvr>
                                      <p:by x="105000" y="105000"/>
                                    </p:animScale>
                                  </p:childTnLst>
                                </p:cTn>
                              </p:par>
                              <p:par>
                                <p:cTn id="198" presetID="26" presetClass="emph" presetSubtype="0" dur="2000" repeatCount="indefinite" fill="hold" grpId="0" nodeType="withEffect">
                                  <p:stCondLst>
                                    <p:cond delay="1250"/>
                                  </p:stCondLst>
                                  <p:childTnLst>
                                    <p:animEffect transition="out" filter="fade">
                                      <p:cBhvr>
                                        <p:cTn id="199" dur="2000" tmFilter="0, 0; .2, .5; .8, .5; 1, 0"/>
                                        <p:tgtEl>
                                          <p:spTgt spid="364"/>
                                        </p:tgtEl>
                                      </p:cBhvr>
                                    </p:animEffect>
                                    <p:animScale>
                                      <p:cBhvr>
                                        <p:cTn id="200" dur="1000" autoRev="1" fill="hold"/>
                                        <p:tgtEl>
                                          <p:spTgt spid="364"/>
                                        </p:tgtEl>
                                      </p:cBhvr>
                                      <p:by x="105000" y="105000"/>
                                    </p:animScale>
                                  </p:childTnLst>
                                </p:cTn>
                              </p:par>
                              <p:par>
                                <p:cTn id="201" presetID="26" presetClass="emph" presetSubtype="0" dur="2000" repeatCount="indefinite" fill="hold" grpId="0" nodeType="withEffect">
                                  <p:stCondLst>
                                    <p:cond delay="1250"/>
                                  </p:stCondLst>
                                  <p:childTnLst>
                                    <p:animEffect transition="out" filter="fade">
                                      <p:cBhvr>
                                        <p:cTn id="202" dur="2000" tmFilter="0, 0; .2, .5; .8, .5; 1, 0"/>
                                        <p:tgtEl>
                                          <p:spTgt spid="365"/>
                                        </p:tgtEl>
                                      </p:cBhvr>
                                    </p:animEffect>
                                    <p:animScale>
                                      <p:cBhvr>
                                        <p:cTn id="203" dur="1000" autoRev="1" fill="hold"/>
                                        <p:tgtEl>
                                          <p:spTgt spid="365"/>
                                        </p:tgtEl>
                                      </p:cBhvr>
                                      <p:by x="105000" y="105000"/>
                                    </p:animScale>
                                  </p:childTnLst>
                                </p:cTn>
                              </p:par>
                              <p:par>
                                <p:cTn id="204" presetID="26" presetClass="emph" presetSubtype="0" dur="2000" repeatCount="indefinite" fill="hold" grpId="0" nodeType="withEffect">
                                  <p:stCondLst>
                                    <p:cond delay="1250"/>
                                  </p:stCondLst>
                                  <p:childTnLst>
                                    <p:animEffect transition="out" filter="fade">
                                      <p:cBhvr>
                                        <p:cTn id="205" dur="2000" tmFilter="0, 0; .2, .5; .8, .5; 1, 0"/>
                                        <p:tgtEl>
                                          <p:spTgt spid="366"/>
                                        </p:tgtEl>
                                      </p:cBhvr>
                                    </p:animEffect>
                                    <p:animScale>
                                      <p:cBhvr>
                                        <p:cTn id="206" dur="1000" autoRev="1" fill="hold"/>
                                        <p:tgtEl>
                                          <p:spTgt spid="366"/>
                                        </p:tgtEl>
                                      </p:cBhvr>
                                      <p:by x="105000" y="105000"/>
                                    </p:animScale>
                                  </p:childTnLst>
                                </p:cTn>
                              </p:par>
                              <p:par>
                                <p:cTn id="207" presetID="26" presetClass="emph" presetSubtype="0" dur="2000" repeatCount="indefinite" fill="hold" grpId="0" nodeType="withEffect">
                                  <p:stCondLst>
                                    <p:cond delay="1250"/>
                                  </p:stCondLst>
                                  <p:childTnLst>
                                    <p:animEffect transition="out" filter="fade">
                                      <p:cBhvr>
                                        <p:cTn id="208" dur="2000" tmFilter="0, 0; .2, .5; .8, .5; 1, 0"/>
                                        <p:tgtEl>
                                          <p:spTgt spid="367"/>
                                        </p:tgtEl>
                                      </p:cBhvr>
                                    </p:animEffect>
                                    <p:animScale>
                                      <p:cBhvr>
                                        <p:cTn id="209" dur="1000" autoRev="1" fill="hold"/>
                                        <p:tgtEl>
                                          <p:spTgt spid="367"/>
                                        </p:tgtEl>
                                      </p:cBhvr>
                                      <p:by x="105000" y="105000"/>
                                    </p:animScale>
                                  </p:childTnLst>
                                </p:cTn>
                              </p:par>
                              <p:par>
                                <p:cTn id="210" presetID="26" presetClass="emph" presetSubtype="0" dur="2000" repeatCount="indefinite" fill="hold" grpId="0" nodeType="withEffect">
                                  <p:stCondLst>
                                    <p:cond delay="1500"/>
                                  </p:stCondLst>
                                  <p:childTnLst>
                                    <p:animEffect transition="out" filter="fade">
                                      <p:cBhvr>
                                        <p:cTn id="211" dur="2000" tmFilter="0, 0; .2, .5; .8, .5; 1, 0"/>
                                        <p:tgtEl>
                                          <p:spTgt spid="368"/>
                                        </p:tgtEl>
                                      </p:cBhvr>
                                    </p:animEffect>
                                    <p:animScale>
                                      <p:cBhvr>
                                        <p:cTn id="212" dur="1000" autoRev="1" fill="hold"/>
                                        <p:tgtEl>
                                          <p:spTgt spid="368"/>
                                        </p:tgtEl>
                                      </p:cBhvr>
                                      <p:by x="105000" y="105000"/>
                                    </p:animScale>
                                  </p:childTnLst>
                                </p:cTn>
                              </p:par>
                              <p:par>
                                <p:cTn id="213" presetID="26" presetClass="emph" presetSubtype="0" dur="2000" repeatCount="indefinite" fill="hold" grpId="0" nodeType="withEffect">
                                  <p:stCondLst>
                                    <p:cond delay="1500"/>
                                  </p:stCondLst>
                                  <p:childTnLst>
                                    <p:animEffect transition="out" filter="fade">
                                      <p:cBhvr>
                                        <p:cTn id="214" dur="2000" tmFilter="0, 0; .2, .5; .8, .5; 1, 0"/>
                                        <p:tgtEl>
                                          <p:spTgt spid="369"/>
                                        </p:tgtEl>
                                      </p:cBhvr>
                                    </p:animEffect>
                                    <p:animScale>
                                      <p:cBhvr>
                                        <p:cTn id="215" dur="1000" autoRev="1" fill="hold"/>
                                        <p:tgtEl>
                                          <p:spTgt spid="369"/>
                                        </p:tgtEl>
                                      </p:cBhvr>
                                      <p:by x="105000" y="105000"/>
                                    </p:animScale>
                                  </p:childTnLst>
                                </p:cTn>
                              </p:par>
                              <p:par>
                                <p:cTn id="216" presetID="26" presetClass="emph" presetSubtype="0" dur="2000" repeatCount="indefinite" fill="hold" grpId="0" nodeType="withEffect">
                                  <p:stCondLst>
                                    <p:cond delay="1500"/>
                                  </p:stCondLst>
                                  <p:childTnLst>
                                    <p:animEffect transition="out" filter="fade">
                                      <p:cBhvr>
                                        <p:cTn id="217" dur="2000" tmFilter="0, 0; .2, .5; .8, .5; 1, 0"/>
                                        <p:tgtEl>
                                          <p:spTgt spid="370"/>
                                        </p:tgtEl>
                                      </p:cBhvr>
                                    </p:animEffect>
                                    <p:animScale>
                                      <p:cBhvr>
                                        <p:cTn id="218" dur="1000" autoRev="1" fill="hold"/>
                                        <p:tgtEl>
                                          <p:spTgt spid="370"/>
                                        </p:tgtEl>
                                      </p:cBhvr>
                                      <p:by x="105000" y="105000"/>
                                    </p:animScale>
                                  </p:childTnLst>
                                </p:cTn>
                              </p:par>
                              <p:par>
                                <p:cTn id="219" presetID="26" presetClass="emph" presetSubtype="0" dur="2000" repeatCount="indefinite" fill="hold" grpId="0" nodeType="withEffect">
                                  <p:stCondLst>
                                    <p:cond delay="1500"/>
                                  </p:stCondLst>
                                  <p:childTnLst>
                                    <p:animEffect transition="out" filter="fade">
                                      <p:cBhvr>
                                        <p:cTn id="220" dur="2000" tmFilter="0, 0; .2, .5; .8, .5; 1, 0"/>
                                        <p:tgtEl>
                                          <p:spTgt spid="371"/>
                                        </p:tgtEl>
                                      </p:cBhvr>
                                    </p:animEffect>
                                    <p:animScale>
                                      <p:cBhvr>
                                        <p:cTn id="221" dur="1000" autoRev="1" fill="hold"/>
                                        <p:tgtEl>
                                          <p:spTgt spid="371"/>
                                        </p:tgtEl>
                                      </p:cBhvr>
                                      <p:by x="105000" y="105000"/>
                                    </p:animScale>
                                  </p:childTnLst>
                                </p:cTn>
                              </p:par>
                              <p:par>
                                <p:cTn id="222" presetID="26" presetClass="emph" presetSubtype="0" dur="2000" repeatCount="indefinite" fill="hold" grpId="0" nodeType="withEffect">
                                  <p:stCondLst>
                                    <p:cond delay="1500"/>
                                  </p:stCondLst>
                                  <p:childTnLst>
                                    <p:animEffect transition="out" filter="fade">
                                      <p:cBhvr>
                                        <p:cTn id="223" dur="2000" tmFilter="0, 0; .2, .5; .8, .5; 1, 0"/>
                                        <p:tgtEl>
                                          <p:spTgt spid="372"/>
                                        </p:tgtEl>
                                      </p:cBhvr>
                                    </p:animEffect>
                                    <p:animScale>
                                      <p:cBhvr>
                                        <p:cTn id="224" dur="1000" autoRev="1" fill="hold"/>
                                        <p:tgtEl>
                                          <p:spTgt spid="372"/>
                                        </p:tgtEl>
                                      </p:cBhvr>
                                      <p:by x="105000" y="105000"/>
                                    </p:animScale>
                                  </p:childTnLst>
                                </p:cTn>
                              </p:par>
                              <p:par>
                                <p:cTn id="225" presetID="26" presetClass="emph" presetSubtype="0" dur="2000" repeatCount="indefinite" fill="hold" grpId="0" nodeType="withEffect">
                                  <p:stCondLst>
                                    <p:cond delay="1500"/>
                                  </p:stCondLst>
                                  <p:childTnLst>
                                    <p:animEffect transition="out" filter="fade">
                                      <p:cBhvr>
                                        <p:cTn id="226" dur="2000" tmFilter="0, 0; .2, .5; .8, .5; 1, 0"/>
                                        <p:tgtEl>
                                          <p:spTgt spid="373"/>
                                        </p:tgtEl>
                                      </p:cBhvr>
                                    </p:animEffect>
                                    <p:animScale>
                                      <p:cBhvr>
                                        <p:cTn id="227" dur="1000" autoRev="1" fill="hold"/>
                                        <p:tgtEl>
                                          <p:spTgt spid="373"/>
                                        </p:tgtEl>
                                      </p:cBhvr>
                                      <p:by x="105000" y="105000"/>
                                    </p:animScale>
                                  </p:childTnLst>
                                </p:cTn>
                              </p:par>
                              <p:par>
                                <p:cTn id="228" presetID="26" presetClass="emph" presetSubtype="0" dur="2000" repeatCount="indefinite" fill="hold" grpId="0" nodeType="withEffect">
                                  <p:stCondLst>
                                    <p:cond delay="1500"/>
                                  </p:stCondLst>
                                  <p:childTnLst>
                                    <p:animEffect transition="out" filter="fade">
                                      <p:cBhvr>
                                        <p:cTn id="229" dur="2000" tmFilter="0, 0; .2, .5; .8, .5; 1, 0"/>
                                        <p:tgtEl>
                                          <p:spTgt spid="374"/>
                                        </p:tgtEl>
                                      </p:cBhvr>
                                    </p:animEffect>
                                    <p:animScale>
                                      <p:cBhvr>
                                        <p:cTn id="230" dur="1000" autoRev="1" fill="hold"/>
                                        <p:tgtEl>
                                          <p:spTgt spid="374"/>
                                        </p:tgtEl>
                                      </p:cBhvr>
                                      <p:by x="105000" y="105000"/>
                                    </p:animScale>
                                  </p:childTnLst>
                                </p:cTn>
                              </p:par>
                              <p:par>
                                <p:cTn id="231" presetID="26" presetClass="emph" presetSubtype="0" dur="2000" repeatCount="indefinite" fill="hold" grpId="0" nodeType="withEffect">
                                  <p:stCondLst>
                                    <p:cond delay="1500"/>
                                  </p:stCondLst>
                                  <p:childTnLst>
                                    <p:animEffect transition="out" filter="fade">
                                      <p:cBhvr>
                                        <p:cTn id="232" dur="2000" tmFilter="0, 0; .2, .5; .8, .5; 1, 0"/>
                                        <p:tgtEl>
                                          <p:spTgt spid="375"/>
                                        </p:tgtEl>
                                      </p:cBhvr>
                                    </p:animEffect>
                                    <p:animScale>
                                      <p:cBhvr>
                                        <p:cTn id="233" dur="1000" autoRev="1" fill="hold"/>
                                        <p:tgtEl>
                                          <p:spTgt spid="375"/>
                                        </p:tgtEl>
                                      </p:cBhvr>
                                      <p:by x="105000" y="105000"/>
                                    </p:animScale>
                                  </p:childTnLst>
                                </p:cTn>
                              </p:par>
                              <p:par>
                                <p:cTn id="234" presetID="26" presetClass="emph" presetSubtype="0" dur="2000" repeatCount="indefinite" fill="hold" grpId="0" nodeType="withEffect">
                                  <p:stCondLst>
                                    <p:cond delay="1500"/>
                                  </p:stCondLst>
                                  <p:childTnLst>
                                    <p:animEffect transition="out" filter="fade">
                                      <p:cBhvr>
                                        <p:cTn id="235" dur="2000" tmFilter="0, 0; .2, .5; .8, .5; 1, 0"/>
                                        <p:tgtEl>
                                          <p:spTgt spid="376"/>
                                        </p:tgtEl>
                                      </p:cBhvr>
                                    </p:animEffect>
                                    <p:animScale>
                                      <p:cBhvr>
                                        <p:cTn id="236" dur="1000" autoRev="1" fill="hold"/>
                                        <p:tgtEl>
                                          <p:spTgt spid="376"/>
                                        </p:tgtEl>
                                      </p:cBhvr>
                                      <p:by x="105000" y="105000"/>
                                    </p:animScale>
                                  </p:childTnLst>
                                </p:cTn>
                              </p:par>
                              <p:par>
                                <p:cTn id="237" presetID="26" presetClass="emph" presetSubtype="0" dur="2000" repeatCount="indefinite" fill="hold" grpId="0" nodeType="withEffect">
                                  <p:stCondLst>
                                    <p:cond delay="1500"/>
                                  </p:stCondLst>
                                  <p:childTnLst>
                                    <p:animEffect transition="out" filter="fade">
                                      <p:cBhvr>
                                        <p:cTn id="238" dur="2000" tmFilter="0, 0; .2, .5; .8, .5; 1, 0"/>
                                        <p:tgtEl>
                                          <p:spTgt spid="377"/>
                                        </p:tgtEl>
                                      </p:cBhvr>
                                    </p:animEffect>
                                    <p:animScale>
                                      <p:cBhvr>
                                        <p:cTn id="239" dur="1000" autoRev="1" fill="hold"/>
                                        <p:tgtEl>
                                          <p:spTgt spid="377"/>
                                        </p:tgtEl>
                                      </p:cBhvr>
                                      <p:by x="105000" y="105000"/>
                                    </p:animScale>
                                  </p:childTnLst>
                                </p:cTn>
                              </p:par>
                              <p:par>
                                <p:cTn id="240" presetID="26" presetClass="emph" presetSubtype="0" dur="2000" repeatCount="indefinite" fill="hold" grpId="0" nodeType="withEffect">
                                  <p:stCondLst>
                                    <p:cond delay="1500"/>
                                  </p:stCondLst>
                                  <p:childTnLst>
                                    <p:animEffect transition="out" filter="fade">
                                      <p:cBhvr>
                                        <p:cTn id="241" dur="2000" tmFilter="0, 0; .2, .5; .8, .5; 1, 0"/>
                                        <p:tgtEl>
                                          <p:spTgt spid="378"/>
                                        </p:tgtEl>
                                      </p:cBhvr>
                                    </p:animEffect>
                                    <p:animScale>
                                      <p:cBhvr>
                                        <p:cTn id="242" dur="1000" autoRev="1" fill="hold"/>
                                        <p:tgtEl>
                                          <p:spTgt spid="378"/>
                                        </p:tgtEl>
                                      </p:cBhvr>
                                      <p:by x="105000" y="105000"/>
                                    </p:animScale>
                                  </p:childTnLst>
                                </p:cTn>
                              </p:par>
                              <p:par>
                                <p:cTn id="243" presetID="26" presetClass="emph" presetSubtype="0" dur="2000" repeatCount="indefinite" fill="hold" grpId="0" nodeType="withEffect">
                                  <p:stCondLst>
                                    <p:cond delay="1500"/>
                                  </p:stCondLst>
                                  <p:childTnLst>
                                    <p:animEffect transition="out" filter="fade">
                                      <p:cBhvr>
                                        <p:cTn id="244" dur="2000" tmFilter="0, 0; .2, .5; .8, .5; 1, 0"/>
                                        <p:tgtEl>
                                          <p:spTgt spid="379"/>
                                        </p:tgtEl>
                                      </p:cBhvr>
                                    </p:animEffect>
                                    <p:animScale>
                                      <p:cBhvr>
                                        <p:cTn id="245" dur="1000" autoRev="1" fill="hold"/>
                                        <p:tgtEl>
                                          <p:spTgt spid="379"/>
                                        </p:tgtEl>
                                      </p:cBhvr>
                                      <p:by x="105000" y="105000"/>
                                    </p:animScale>
                                  </p:childTnLst>
                                </p:cTn>
                              </p:par>
                              <p:par>
                                <p:cTn id="246" presetID="26" presetClass="emph" presetSubtype="0" dur="2000" repeatCount="indefinite" fill="hold" grpId="0" nodeType="withEffect">
                                  <p:stCondLst>
                                    <p:cond delay="1500"/>
                                  </p:stCondLst>
                                  <p:childTnLst>
                                    <p:animEffect transition="out" filter="fade">
                                      <p:cBhvr>
                                        <p:cTn id="247" dur="2000" tmFilter="0, 0; .2, .5; .8, .5; 1, 0"/>
                                        <p:tgtEl>
                                          <p:spTgt spid="380"/>
                                        </p:tgtEl>
                                      </p:cBhvr>
                                    </p:animEffect>
                                    <p:animScale>
                                      <p:cBhvr>
                                        <p:cTn id="248" dur="1000" autoRev="1" fill="hold"/>
                                        <p:tgtEl>
                                          <p:spTgt spid="380"/>
                                        </p:tgtEl>
                                      </p:cBhvr>
                                      <p:by x="105000" y="105000"/>
                                    </p:animScale>
                                  </p:childTnLst>
                                </p:cTn>
                              </p:par>
                              <p:par>
                                <p:cTn id="249" presetID="26" presetClass="emph" presetSubtype="0" dur="2000" repeatCount="indefinite" fill="hold" grpId="0" nodeType="withEffect">
                                  <p:stCondLst>
                                    <p:cond delay="1500"/>
                                  </p:stCondLst>
                                  <p:childTnLst>
                                    <p:animEffect transition="out" filter="fade">
                                      <p:cBhvr>
                                        <p:cTn id="250" dur="2000" tmFilter="0, 0; .2, .5; .8, .5; 1, 0"/>
                                        <p:tgtEl>
                                          <p:spTgt spid="381"/>
                                        </p:tgtEl>
                                      </p:cBhvr>
                                    </p:animEffect>
                                    <p:animScale>
                                      <p:cBhvr>
                                        <p:cTn id="251" dur="1000" autoRev="1" fill="hold"/>
                                        <p:tgtEl>
                                          <p:spTgt spid="381"/>
                                        </p:tgtEl>
                                      </p:cBhvr>
                                      <p:by x="105000" y="105000"/>
                                    </p:animScale>
                                  </p:childTnLst>
                                </p:cTn>
                              </p:par>
                              <p:par>
                                <p:cTn id="252" presetID="26" presetClass="emph" presetSubtype="0" dur="2000" repeatCount="indefinite" fill="hold" grpId="0" nodeType="withEffect">
                                  <p:stCondLst>
                                    <p:cond delay="1750"/>
                                  </p:stCondLst>
                                  <p:childTnLst>
                                    <p:animEffect transition="out" filter="fade">
                                      <p:cBhvr>
                                        <p:cTn id="253" dur="2000" tmFilter="0, 0; .2, .5; .8, .5; 1, 0"/>
                                        <p:tgtEl>
                                          <p:spTgt spid="382"/>
                                        </p:tgtEl>
                                      </p:cBhvr>
                                    </p:animEffect>
                                    <p:animScale>
                                      <p:cBhvr>
                                        <p:cTn id="254" dur="1000" autoRev="1" fill="hold"/>
                                        <p:tgtEl>
                                          <p:spTgt spid="382"/>
                                        </p:tgtEl>
                                      </p:cBhvr>
                                      <p:by x="105000" y="105000"/>
                                    </p:animScale>
                                  </p:childTnLst>
                                </p:cTn>
                              </p:par>
                              <p:par>
                                <p:cTn id="255" presetID="26" presetClass="emph" presetSubtype="0" dur="2000" repeatCount="indefinite" fill="hold" grpId="0" nodeType="withEffect">
                                  <p:stCondLst>
                                    <p:cond delay="1750"/>
                                  </p:stCondLst>
                                  <p:childTnLst>
                                    <p:animEffect transition="out" filter="fade">
                                      <p:cBhvr>
                                        <p:cTn id="256" dur="2000" tmFilter="0, 0; .2, .5; .8, .5; 1, 0"/>
                                        <p:tgtEl>
                                          <p:spTgt spid="383"/>
                                        </p:tgtEl>
                                      </p:cBhvr>
                                    </p:animEffect>
                                    <p:animScale>
                                      <p:cBhvr>
                                        <p:cTn id="257" dur="1000" autoRev="1" fill="hold"/>
                                        <p:tgtEl>
                                          <p:spTgt spid="383"/>
                                        </p:tgtEl>
                                      </p:cBhvr>
                                      <p:by x="105000" y="105000"/>
                                    </p:animScale>
                                  </p:childTnLst>
                                </p:cTn>
                              </p:par>
                              <p:par>
                                <p:cTn id="258" presetID="26" presetClass="emph" presetSubtype="0" dur="2000" repeatCount="indefinite" fill="hold" grpId="0" nodeType="withEffect">
                                  <p:stCondLst>
                                    <p:cond delay="1750"/>
                                  </p:stCondLst>
                                  <p:childTnLst>
                                    <p:animEffect transition="out" filter="fade">
                                      <p:cBhvr>
                                        <p:cTn id="259" dur="2000" tmFilter="0, 0; .2, .5; .8, .5; 1, 0"/>
                                        <p:tgtEl>
                                          <p:spTgt spid="384"/>
                                        </p:tgtEl>
                                      </p:cBhvr>
                                    </p:animEffect>
                                    <p:animScale>
                                      <p:cBhvr>
                                        <p:cTn id="260" dur="1000" autoRev="1" fill="hold"/>
                                        <p:tgtEl>
                                          <p:spTgt spid="384"/>
                                        </p:tgtEl>
                                      </p:cBhvr>
                                      <p:by x="105000" y="105000"/>
                                    </p:animScale>
                                  </p:childTnLst>
                                </p:cTn>
                              </p:par>
                              <p:par>
                                <p:cTn id="261" presetID="26" presetClass="emph" presetSubtype="0" dur="2000" repeatCount="indefinite" fill="hold" grpId="0" nodeType="withEffect">
                                  <p:stCondLst>
                                    <p:cond delay="1750"/>
                                  </p:stCondLst>
                                  <p:childTnLst>
                                    <p:animEffect transition="out" filter="fade">
                                      <p:cBhvr>
                                        <p:cTn id="262" dur="2000" tmFilter="0, 0; .2, .5; .8, .5; 1, 0"/>
                                        <p:tgtEl>
                                          <p:spTgt spid="385"/>
                                        </p:tgtEl>
                                      </p:cBhvr>
                                    </p:animEffect>
                                    <p:animScale>
                                      <p:cBhvr>
                                        <p:cTn id="263" dur="1000" autoRev="1" fill="hold"/>
                                        <p:tgtEl>
                                          <p:spTgt spid="385"/>
                                        </p:tgtEl>
                                      </p:cBhvr>
                                      <p:by x="105000" y="105000"/>
                                    </p:animScale>
                                  </p:childTnLst>
                                </p:cTn>
                              </p:par>
                              <p:par>
                                <p:cTn id="264" presetID="26" presetClass="emph" presetSubtype="0" dur="2000" repeatCount="indefinite" fill="hold" grpId="0" nodeType="withEffect">
                                  <p:stCondLst>
                                    <p:cond delay="1750"/>
                                  </p:stCondLst>
                                  <p:childTnLst>
                                    <p:animEffect transition="out" filter="fade">
                                      <p:cBhvr>
                                        <p:cTn id="265" dur="2000" tmFilter="0, 0; .2, .5; .8, .5; 1, 0"/>
                                        <p:tgtEl>
                                          <p:spTgt spid="386"/>
                                        </p:tgtEl>
                                      </p:cBhvr>
                                    </p:animEffect>
                                    <p:animScale>
                                      <p:cBhvr>
                                        <p:cTn id="266" dur="1000" autoRev="1" fill="hold"/>
                                        <p:tgtEl>
                                          <p:spTgt spid="386"/>
                                        </p:tgtEl>
                                      </p:cBhvr>
                                      <p:by x="105000" y="105000"/>
                                    </p:animScale>
                                  </p:childTnLst>
                                </p:cTn>
                              </p:par>
                              <p:par>
                                <p:cTn id="267" presetID="26" presetClass="emph" presetSubtype="0" dur="2000" repeatCount="indefinite" fill="hold" grpId="0" nodeType="withEffect">
                                  <p:stCondLst>
                                    <p:cond delay="1750"/>
                                  </p:stCondLst>
                                  <p:childTnLst>
                                    <p:animEffect transition="out" filter="fade">
                                      <p:cBhvr>
                                        <p:cTn id="268" dur="2000" tmFilter="0, 0; .2, .5; .8, .5; 1, 0"/>
                                        <p:tgtEl>
                                          <p:spTgt spid="387"/>
                                        </p:tgtEl>
                                      </p:cBhvr>
                                    </p:animEffect>
                                    <p:animScale>
                                      <p:cBhvr>
                                        <p:cTn id="269" dur="1000" autoRev="1" fill="hold"/>
                                        <p:tgtEl>
                                          <p:spTgt spid="387"/>
                                        </p:tgtEl>
                                      </p:cBhvr>
                                      <p:by x="105000" y="105000"/>
                                    </p:animScale>
                                  </p:childTnLst>
                                </p:cTn>
                              </p:par>
                              <p:par>
                                <p:cTn id="270" presetID="26" presetClass="emph" presetSubtype="0" dur="2000" repeatCount="indefinite" fill="hold" grpId="0" nodeType="withEffect">
                                  <p:stCondLst>
                                    <p:cond delay="1750"/>
                                  </p:stCondLst>
                                  <p:childTnLst>
                                    <p:animEffect transition="out" filter="fade">
                                      <p:cBhvr>
                                        <p:cTn id="271" dur="2000" tmFilter="0, 0; .2, .5; .8, .5; 1, 0"/>
                                        <p:tgtEl>
                                          <p:spTgt spid="388"/>
                                        </p:tgtEl>
                                      </p:cBhvr>
                                    </p:animEffect>
                                    <p:animScale>
                                      <p:cBhvr>
                                        <p:cTn id="272" dur="1000" autoRev="1" fill="hold"/>
                                        <p:tgtEl>
                                          <p:spTgt spid="388"/>
                                        </p:tgtEl>
                                      </p:cBhvr>
                                      <p:by x="105000" y="105000"/>
                                    </p:animScale>
                                  </p:childTnLst>
                                </p:cTn>
                              </p:par>
                              <p:par>
                                <p:cTn id="273" presetID="26" presetClass="emph" presetSubtype="0" dur="2000" repeatCount="indefinite" fill="hold" grpId="0" nodeType="withEffect">
                                  <p:stCondLst>
                                    <p:cond delay="1750"/>
                                  </p:stCondLst>
                                  <p:childTnLst>
                                    <p:animEffect transition="out" filter="fade">
                                      <p:cBhvr>
                                        <p:cTn id="274" dur="2000" tmFilter="0, 0; .2, .5; .8, .5; 1, 0"/>
                                        <p:tgtEl>
                                          <p:spTgt spid="389"/>
                                        </p:tgtEl>
                                      </p:cBhvr>
                                    </p:animEffect>
                                    <p:animScale>
                                      <p:cBhvr>
                                        <p:cTn id="275" dur="1000" autoRev="1" fill="hold"/>
                                        <p:tgtEl>
                                          <p:spTgt spid="389"/>
                                        </p:tgtEl>
                                      </p:cBhvr>
                                      <p:by x="105000" y="105000"/>
                                    </p:animScale>
                                  </p:childTnLst>
                                </p:cTn>
                              </p:par>
                              <p:par>
                                <p:cTn id="276" presetID="26" presetClass="emph" presetSubtype="0" dur="2000" repeatCount="indefinite" fill="hold" grpId="0" nodeType="withEffect">
                                  <p:stCondLst>
                                    <p:cond delay="1750"/>
                                  </p:stCondLst>
                                  <p:childTnLst>
                                    <p:animEffect transition="out" filter="fade">
                                      <p:cBhvr>
                                        <p:cTn id="277" dur="2000" tmFilter="0, 0; .2, .5; .8, .5; 1, 0"/>
                                        <p:tgtEl>
                                          <p:spTgt spid="390"/>
                                        </p:tgtEl>
                                      </p:cBhvr>
                                    </p:animEffect>
                                    <p:animScale>
                                      <p:cBhvr>
                                        <p:cTn id="278" dur="1000" autoRev="1" fill="hold"/>
                                        <p:tgtEl>
                                          <p:spTgt spid="390"/>
                                        </p:tgtEl>
                                      </p:cBhvr>
                                      <p:by x="105000" y="105000"/>
                                    </p:animScale>
                                  </p:childTnLst>
                                </p:cTn>
                              </p:par>
                              <p:par>
                                <p:cTn id="279" presetID="26" presetClass="emph" presetSubtype="0" dur="2000" repeatCount="indefinite" fill="hold" grpId="0" nodeType="withEffect">
                                  <p:stCondLst>
                                    <p:cond delay="1750"/>
                                  </p:stCondLst>
                                  <p:childTnLst>
                                    <p:animEffect transition="out" filter="fade">
                                      <p:cBhvr>
                                        <p:cTn id="280" dur="2000" tmFilter="0, 0; .2, .5; .8, .5; 1, 0"/>
                                        <p:tgtEl>
                                          <p:spTgt spid="391"/>
                                        </p:tgtEl>
                                      </p:cBhvr>
                                    </p:animEffect>
                                    <p:animScale>
                                      <p:cBhvr>
                                        <p:cTn id="281" dur="1000" autoRev="1" fill="hold"/>
                                        <p:tgtEl>
                                          <p:spTgt spid="391"/>
                                        </p:tgtEl>
                                      </p:cBhvr>
                                      <p:by x="105000" y="105000"/>
                                    </p:animScale>
                                  </p:childTnLst>
                                </p:cTn>
                              </p:par>
                              <p:par>
                                <p:cTn id="282" presetID="26" presetClass="emph" presetSubtype="0" dur="2000" repeatCount="indefinite" fill="hold" grpId="0" nodeType="withEffect">
                                  <p:stCondLst>
                                    <p:cond delay="1750"/>
                                  </p:stCondLst>
                                  <p:childTnLst>
                                    <p:animEffect transition="out" filter="fade">
                                      <p:cBhvr>
                                        <p:cTn id="283" dur="2000" tmFilter="0, 0; .2, .5; .8, .5; 1, 0"/>
                                        <p:tgtEl>
                                          <p:spTgt spid="392"/>
                                        </p:tgtEl>
                                      </p:cBhvr>
                                    </p:animEffect>
                                    <p:animScale>
                                      <p:cBhvr>
                                        <p:cTn id="284" dur="1000" autoRev="1" fill="hold"/>
                                        <p:tgtEl>
                                          <p:spTgt spid="392"/>
                                        </p:tgtEl>
                                      </p:cBhvr>
                                      <p:by x="105000" y="105000"/>
                                    </p:animScale>
                                  </p:childTnLst>
                                </p:cTn>
                              </p:par>
                              <p:par>
                                <p:cTn id="285" presetID="26" presetClass="emph" presetSubtype="0" dur="2000" repeatCount="indefinite" fill="hold" grpId="0" nodeType="withEffect">
                                  <p:stCondLst>
                                    <p:cond delay="1750"/>
                                  </p:stCondLst>
                                  <p:childTnLst>
                                    <p:animEffect transition="out" filter="fade">
                                      <p:cBhvr>
                                        <p:cTn id="286" dur="2000" tmFilter="0, 0; .2, .5; .8, .5; 1, 0"/>
                                        <p:tgtEl>
                                          <p:spTgt spid="393"/>
                                        </p:tgtEl>
                                      </p:cBhvr>
                                    </p:animEffect>
                                    <p:animScale>
                                      <p:cBhvr>
                                        <p:cTn id="287" dur="1000" autoRev="1" fill="hold"/>
                                        <p:tgtEl>
                                          <p:spTgt spid="393"/>
                                        </p:tgtEl>
                                      </p:cBhvr>
                                      <p:by x="105000" y="105000"/>
                                    </p:animScale>
                                  </p:childTnLst>
                                </p:cTn>
                              </p:par>
                              <p:par>
                                <p:cTn id="288" presetID="26" presetClass="emph" presetSubtype="0" dur="2000" repeatCount="indefinite" fill="hold" grpId="0" nodeType="withEffect">
                                  <p:stCondLst>
                                    <p:cond delay="1750"/>
                                  </p:stCondLst>
                                  <p:childTnLst>
                                    <p:animEffect transition="out" filter="fade">
                                      <p:cBhvr>
                                        <p:cTn id="289" dur="2000" tmFilter="0, 0; .2, .5; .8, .5; 1, 0"/>
                                        <p:tgtEl>
                                          <p:spTgt spid="394"/>
                                        </p:tgtEl>
                                      </p:cBhvr>
                                    </p:animEffect>
                                    <p:animScale>
                                      <p:cBhvr>
                                        <p:cTn id="290" dur="1000" autoRev="1" fill="hold"/>
                                        <p:tgtEl>
                                          <p:spTgt spid="394"/>
                                        </p:tgtEl>
                                      </p:cBhvr>
                                      <p:by x="105000" y="105000"/>
                                    </p:animScale>
                                  </p:childTnLst>
                                </p:cTn>
                              </p:par>
                              <p:par>
                                <p:cTn id="291" presetID="26" presetClass="emph" presetSubtype="0" dur="2000" repeatCount="indefinite" fill="hold" grpId="0" nodeType="withEffect">
                                  <p:stCondLst>
                                    <p:cond delay="1750"/>
                                  </p:stCondLst>
                                  <p:childTnLst>
                                    <p:animEffect transition="out" filter="fade">
                                      <p:cBhvr>
                                        <p:cTn id="292" dur="2000" tmFilter="0, 0; .2, .5; .8, .5; 1, 0"/>
                                        <p:tgtEl>
                                          <p:spTgt spid="395"/>
                                        </p:tgtEl>
                                      </p:cBhvr>
                                    </p:animEffect>
                                    <p:animScale>
                                      <p:cBhvr>
                                        <p:cTn id="293" dur="1000" autoRev="1" fill="hold"/>
                                        <p:tgtEl>
                                          <p:spTgt spid="395"/>
                                        </p:tgtEl>
                                      </p:cBhvr>
                                      <p:by x="105000" y="105000"/>
                                    </p:animScale>
                                  </p:childTnLst>
                                </p:cTn>
                              </p:par>
                              <p:par>
                                <p:cTn id="294" presetID="26" presetClass="emph" presetSubtype="0" dur="2000" repeatCount="indefinite" fill="hold" grpId="0" nodeType="withEffect">
                                  <p:stCondLst>
                                    <p:cond delay="2000"/>
                                  </p:stCondLst>
                                  <p:childTnLst>
                                    <p:animEffect transition="out" filter="fade">
                                      <p:cBhvr>
                                        <p:cTn id="295" dur="2000" tmFilter="0, 0; .2, .5; .8, .5; 1, 0"/>
                                        <p:tgtEl>
                                          <p:spTgt spid="396"/>
                                        </p:tgtEl>
                                      </p:cBhvr>
                                    </p:animEffect>
                                    <p:animScale>
                                      <p:cBhvr>
                                        <p:cTn id="296" dur="1000" autoRev="1" fill="hold"/>
                                        <p:tgtEl>
                                          <p:spTgt spid="396"/>
                                        </p:tgtEl>
                                      </p:cBhvr>
                                      <p:by x="105000" y="105000"/>
                                    </p:animScale>
                                  </p:childTnLst>
                                </p:cTn>
                              </p:par>
                              <p:par>
                                <p:cTn id="297" presetID="26" presetClass="emph" presetSubtype="0" dur="2000" repeatCount="indefinite" fill="hold" grpId="0" nodeType="withEffect">
                                  <p:stCondLst>
                                    <p:cond delay="2000"/>
                                  </p:stCondLst>
                                  <p:childTnLst>
                                    <p:animEffect transition="out" filter="fade">
                                      <p:cBhvr>
                                        <p:cTn id="298" dur="2000" tmFilter="0, 0; .2, .5; .8, .5; 1, 0"/>
                                        <p:tgtEl>
                                          <p:spTgt spid="397"/>
                                        </p:tgtEl>
                                      </p:cBhvr>
                                    </p:animEffect>
                                    <p:animScale>
                                      <p:cBhvr>
                                        <p:cTn id="299" dur="1000" autoRev="1" fill="hold"/>
                                        <p:tgtEl>
                                          <p:spTgt spid="397"/>
                                        </p:tgtEl>
                                      </p:cBhvr>
                                      <p:by x="105000" y="105000"/>
                                    </p:animScale>
                                  </p:childTnLst>
                                </p:cTn>
                              </p:par>
                              <p:par>
                                <p:cTn id="300" presetID="26" presetClass="emph" presetSubtype="0" dur="2000" repeatCount="indefinite" fill="hold" grpId="0" nodeType="withEffect">
                                  <p:stCondLst>
                                    <p:cond delay="2000"/>
                                  </p:stCondLst>
                                  <p:childTnLst>
                                    <p:animEffect transition="out" filter="fade">
                                      <p:cBhvr>
                                        <p:cTn id="301" dur="2000" tmFilter="0, 0; .2, .5; .8, .5; 1, 0"/>
                                        <p:tgtEl>
                                          <p:spTgt spid="398"/>
                                        </p:tgtEl>
                                      </p:cBhvr>
                                    </p:animEffect>
                                    <p:animScale>
                                      <p:cBhvr>
                                        <p:cTn id="302" dur="1000" autoRev="1" fill="hold"/>
                                        <p:tgtEl>
                                          <p:spTgt spid="398"/>
                                        </p:tgtEl>
                                      </p:cBhvr>
                                      <p:by x="105000" y="105000"/>
                                    </p:animScale>
                                  </p:childTnLst>
                                </p:cTn>
                              </p:par>
                              <p:par>
                                <p:cTn id="303" presetID="26" presetClass="emph" presetSubtype="0" dur="2000" repeatCount="indefinite" fill="hold" grpId="0" nodeType="withEffect">
                                  <p:stCondLst>
                                    <p:cond delay="2000"/>
                                  </p:stCondLst>
                                  <p:childTnLst>
                                    <p:animEffect transition="out" filter="fade">
                                      <p:cBhvr>
                                        <p:cTn id="304" dur="2000" tmFilter="0, 0; .2, .5; .8, .5; 1, 0"/>
                                        <p:tgtEl>
                                          <p:spTgt spid="399"/>
                                        </p:tgtEl>
                                      </p:cBhvr>
                                    </p:animEffect>
                                    <p:animScale>
                                      <p:cBhvr>
                                        <p:cTn id="305" dur="1000" autoRev="1" fill="hold"/>
                                        <p:tgtEl>
                                          <p:spTgt spid="399"/>
                                        </p:tgtEl>
                                      </p:cBhvr>
                                      <p:by x="105000" y="105000"/>
                                    </p:animScale>
                                  </p:childTnLst>
                                </p:cTn>
                              </p:par>
                              <p:par>
                                <p:cTn id="306" presetID="26" presetClass="emph" presetSubtype="0" dur="2000" repeatCount="indefinite" fill="hold" grpId="0" nodeType="withEffect">
                                  <p:stCondLst>
                                    <p:cond delay="2000"/>
                                  </p:stCondLst>
                                  <p:childTnLst>
                                    <p:animEffect transition="out" filter="fade">
                                      <p:cBhvr>
                                        <p:cTn id="307" dur="2000" tmFilter="0, 0; .2, .5; .8, .5; 1, 0"/>
                                        <p:tgtEl>
                                          <p:spTgt spid="400"/>
                                        </p:tgtEl>
                                      </p:cBhvr>
                                    </p:animEffect>
                                    <p:animScale>
                                      <p:cBhvr>
                                        <p:cTn id="308" dur="1000" autoRev="1" fill="hold"/>
                                        <p:tgtEl>
                                          <p:spTgt spid="400"/>
                                        </p:tgtEl>
                                      </p:cBhvr>
                                      <p:by x="105000" y="105000"/>
                                    </p:animScale>
                                  </p:childTnLst>
                                </p:cTn>
                              </p:par>
                              <p:par>
                                <p:cTn id="309" presetID="26" presetClass="emph" presetSubtype="0" dur="2000" repeatCount="indefinite" fill="hold" grpId="0" nodeType="withEffect">
                                  <p:stCondLst>
                                    <p:cond delay="2000"/>
                                  </p:stCondLst>
                                  <p:childTnLst>
                                    <p:animEffect transition="out" filter="fade">
                                      <p:cBhvr>
                                        <p:cTn id="310" dur="2000" tmFilter="0, 0; .2, .5; .8, .5; 1, 0"/>
                                        <p:tgtEl>
                                          <p:spTgt spid="401"/>
                                        </p:tgtEl>
                                      </p:cBhvr>
                                    </p:animEffect>
                                    <p:animScale>
                                      <p:cBhvr>
                                        <p:cTn id="311" dur="1000" autoRev="1" fill="hold"/>
                                        <p:tgtEl>
                                          <p:spTgt spid="401"/>
                                        </p:tgtEl>
                                      </p:cBhvr>
                                      <p:by x="105000" y="105000"/>
                                    </p:animScale>
                                  </p:childTnLst>
                                </p:cTn>
                              </p:par>
                              <p:par>
                                <p:cTn id="312" presetID="26" presetClass="emph" presetSubtype="0" dur="2000" repeatCount="indefinite" fill="hold" grpId="0" nodeType="withEffect">
                                  <p:stCondLst>
                                    <p:cond delay="2000"/>
                                  </p:stCondLst>
                                  <p:childTnLst>
                                    <p:animEffect transition="out" filter="fade">
                                      <p:cBhvr>
                                        <p:cTn id="313" dur="2000" tmFilter="0, 0; .2, .5; .8, .5; 1, 0"/>
                                        <p:tgtEl>
                                          <p:spTgt spid="402"/>
                                        </p:tgtEl>
                                      </p:cBhvr>
                                    </p:animEffect>
                                    <p:animScale>
                                      <p:cBhvr>
                                        <p:cTn id="314" dur="1000" autoRev="1" fill="hold"/>
                                        <p:tgtEl>
                                          <p:spTgt spid="402"/>
                                        </p:tgtEl>
                                      </p:cBhvr>
                                      <p:by x="105000" y="105000"/>
                                    </p:animScale>
                                  </p:childTnLst>
                                </p:cTn>
                              </p:par>
                              <p:par>
                                <p:cTn id="315" presetID="26" presetClass="emph" presetSubtype="0" dur="2000" repeatCount="indefinite" fill="hold" grpId="0" nodeType="withEffect">
                                  <p:stCondLst>
                                    <p:cond delay="2000"/>
                                  </p:stCondLst>
                                  <p:childTnLst>
                                    <p:animEffect transition="out" filter="fade">
                                      <p:cBhvr>
                                        <p:cTn id="316" dur="2000" tmFilter="0, 0; .2, .5; .8, .5; 1, 0"/>
                                        <p:tgtEl>
                                          <p:spTgt spid="403"/>
                                        </p:tgtEl>
                                      </p:cBhvr>
                                    </p:animEffect>
                                    <p:animScale>
                                      <p:cBhvr>
                                        <p:cTn id="317" dur="1000" autoRev="1" fill="hold"/>
                                        <p:tgtEl>
                                          <p:spTgt spid="403"/>
                                        </p:tgtEl>
                                      </p:cBhvr>
                                      <p:by x="105000" y="105000"/>
                                    </p:animScale>
                                  </p:childTnLst>
                                </p:cTn>
                              </p:par>
                              <p:par>
                                <p:cTn id="318" presetID="26" presetClass="emph" presetSubtype="0" dur="2000" repeatCount="indefinite" fill="hold" grpId="0" nodeType="withEffect">
                                  <p:stCondLst>
                                    <p:cond delay="2000"/>
                                  </p:stCondLst>
                                  <p:childTnLst>
                                    <p:animEffect transition="out" filter="fade">
                                      <p:cBhvr>
                                        <p:cTn id="319" dur="2000" tmFilter="0, 0; .2, .5; .8, .5; 1, 0"/>
                                        <p:tgtEl>
                                          <p:spTgt spid="404"/>
                                        </p:tgtEl>
                                      </p:cBhvr>
                                    </p:animEffect>
                                    <p:animScale>
                                      <p:cBhvr>
                                        <p:cTn id="320" dur="1000" autoRev="1" fill="hold"/>
                                        <p:tgtEl>
                                          <p:spTgt spid="404"/>
                                        </p:tgtEl>
                                      </p:cBhvr>
                                      <p:by x="105000" y="105000"/>
                                    </p:animScale>
                                  </p:childTnLst>
                                </p:cTn>
                              </p:par>
                              <p:par>
                                <p:cTn id="321" presetID="26" presetClass="emph" presetSubtype="0" dur="2000" repeatCount="indefinite" fill="hold" grpId="0" nodeType="withEffect">
                                  <p:stCondLst>
                                    <p:cond delay="2000"/>
                                  </p:stCondLst>
                                  <p:childTnLst>
                                    <p:animEffect transition="out" filter="fade">
                                      <p:cBhvr>
                                        <p:cTn id="322" dur="2000" tmFilter="0, 0; .2, .5; .8, .5; 1, 0"/>
                                        <p:tgtEl>
                                          <p:spTgt spid="405"/>
                                        </p:tgtEl>
                                      </p:cBhvr>
                                    </p:animEffect>
                                    <p:animScale>
                                      <p:cBhvr>
                                        <p:cTn id="323" dur="1000" autoRev="1" fill="hold"/>
                                        <p:tgtEl>
                                          <p:spTgt spid="405"/>
                                        </p:tgtEl>
                                      </p:cBhvr>
                                      <p:by x="105000" y="105000"/>
                                    </p:animScale>
                                  </p:childTnLst>
                                </p:cTn>
                              </p:par>
                              <p:par>
                                <p:cTn id="324" presetID="26" presetClass="emph" presetSubtype="0" dur="2000" repeatCount="indefinite" fill="hold" grpId="0" nodeType="withEffect">
                                  <p:stCondLst>
                                    <p:cond delay="2000"/>
                                  </p:stCondLst>
                                  <p:childTnLst>
                                    <p:animEffect transition="out" filter="fade">
                                      <p:cBhvr>
                                        <p:cTn id="325" dur="2000" tmFilter="0, 0; .2, .5; .8, .5; 1, 0"/>
                                        <p:tgtEl>
                                          <p:spTgt spid="406"/>
                                        </p:tgtEl>
                                      </p:cBhvr>
                                    </p:animEffect>
                                    <p:animScale>
                                      <p:cBhvr>
                                        <p:cTn id="326" dur="1000" autoRev="1" fill="hold"/>
                                        <p:tgtEl>
                                          <p:spTgt spid="406"/>
                                        </p:tgtEl>
                                      </p:cBhvr>
                                      <p:by x="105000" y="105000"/>
                                    </p:animScale>
                                  </p:childTnLst>
                                </p:cTn>
                              </p:par>
                              <p:par>
                                <p:cTn id="327" presetID="26" presetClass="emph" presetSubtype="0" dur="2000" repeatCount="indefinite" fill="hold" grpId="0" nodeType="withEffect">
                                  <p:stCondLst>
                                    <p:cond delay="2000"/>
                                  </p:stCondLst>
                                  <p:childTnLst>
                                    <p:animEffect transition="out" filter="fade">
                                      <p:cBhvr>
                                        <p:cTn id="328" dur="2000" tmFilter="0, 0; .2, .5; .8, .5; 1, 0"/>
                                        <p:tgtEl>
                                          <p:spTgt spid="407"/>
                                        </p:tgtEl>
                                      </p:cBhvr>
                                    </p:animEffect>
                                    <p:animScale>
                                      <p:cBhvr>
                                        <p:cTn id="329" dur="1000" autoRev="1" fill="hold"/>
                                        <p:tgtEl>
                                          <p:spTgt spid="407"/>
                                        </p:tgtEl>
                                      </p:cBhvr>
                                      <p:by x="105000" y="105000"/>
                                    </p:animScale>
                                  </p:childTnLst>
                                </p:cTn>
                              </p:par>
                              <p:par>
                                <p:cTn id="330" presetID="26" presetClass="emph" presetSubtype="0" dur="2000" repeatCount="indefinite" fill="hold" grpId="0" nodeType="withEffect">
                                  <p:stCondLst>
                                    <p:cond delay="2000"/>
                                  </p:stCondLst>
                                  <p:childTnLst>
                                    <p:animEffect transition="out" filter="fade">
                                      <p:cBhvr>
                                        <p:cTn id="331" dur="2000" tmFilter="0, 0; .2, .5; .8, .5; 1, 0"/>
                                        <p:tgtEl>
                                          <p:spTgt spid="408"/>
                                        </p:tgtEl>
                                      </p:cBhvr>
                                    </p:animEffect>
                                    <p:animScale>
                                      <p:cBhvr>
                                        <p:cTn id="332" dur="1000" autoRev="1" fill="hold"/>
                                        <p:tgtEl>
                                          <p:spTgt spid="408"/>
                                        </p:tgtEl>
                                      </p:cBhvr>
                                      <p:by x="105000" y="105000"/>
                                    </p:animScale>
                                  </p:childTnLst>
                                </p:cTn>
                              </p:par>
                              <p:par>
                                <p:cTn id="333" presetID="26" presetClass="emph" presetSubtype="0" dur="2000" repeatCount="indefinite" fill="hold" grpId="0" nodeType="withEffect">
                                  <p:stCondLst>
                                    <p:cond delay="2000"/>
                                  </p:stCondLst>
                                  <p:childTnLst>
                                    <p:animEffect transition="out" filter="fade">
                                      <p:cBhvr>
                                        <p:cTn id="334" dur="2000" tmFilter="0, 0; .2, .5; .8, .5; 1, 0"/>
                                        <p:tgtEl>
                                          <p:spTgt spid="409"/>
                                        </p:tgtEl>
                                      </p:cBhvr>
                                    </p:animEffect>
                                    <p:animScale>
                                      <p:cBhvr>
                                        <p:cTn id="335" dur="1000" autoRev="1" fill="hold"/>
                                        <p:tgtEl>
                                          <p:spTgt spid="409"/>
                                        </p:tgtEl>
                                      </p:cBhvr>
                                      <p:by x="105000" y="105000"/>
                                    </p:animScale>
                                  </p:childTnLst>
                                </p:cTn>
                              </p:par>
                              <p:par>
                                <p:cTn id="336" presetID="26" presetClass="emph" presetSubtype="0" dur="2000" repeatCount="indefinite" fill="hold" grpId="0" nodeType="withEffect">
                                  <p:stCondLst>
                                    <p:cond delay="2250"/>
                                  </p:stCondLst>
                                  <p:childTnLst>
                                    <p:animEffect transition="out" filter="fade">
                                      <p:cBhvr>
                                        <p:cTn id="337" dur="2000" tmFilter="0, 0; .2, .5; .8, .5; 1, 0"/>
                                        <p:tgtEl>
                                          <p:spTgt spid="410"/>
                                        </p:tgtEl>
                                      </p:cBhvr>
                                    </p:animEffect>
                                    <p:animScale>
                                      <p:cBhvr>
                                        <p:cTn id="338" dur="1000" autoRev="1" fill="hold"/>
                                        <p:tgtEl>
                                          <p:spTgt spid="410"/>
                                        </p:tgtEl>
                                      </p:cBhvr>
                                      <p:by x="105000" y="105000"/>
                                    </p:animScale>
                                  </p:childTnLst>
                                </p:cTn>
                              </p:par>
                              <p:par>
                                <p:cTn id="339" presetID="26" presetClass="emph" presetSubtype="0" dur="2000" repeatCount="indefinite" fill="hold" grpId="0" nodeType="withEffect">
                                  <p:stCondLst>
                                    <p:cond delay="2250"/>
                                  </p:stCondLst>
                                  <p:childTnLst>
                                    <p:animEffect transition="out" filter="fade">
                                      <p:cBhvr>
                                        <p:cTn id="340" dur="2000" tmFilter="0, 0; .2, .5; .8, .5; 1, 0"/>
                                        <p:tgtEl>
                                          <p:spTgt spid="411"/>
                                        </p:tgtEl>
                                      </p:cBhvr>
                                    </p:animEffect>
                                    <p:animScale>
                                      <p:cBhvr>
                                        <p:cTn id="341" dur="1000" autoRev="1" fill="hold"/>
                                        <p:tgtEl>
                                          <p:spTgt spid="411"/>
                                        </p:tgtEl>
                                      </p:cBhvr>
                                      <p:by x="105000" y="105000"/>
                                    </p:animScale>
                                  </p:childTnLst>
                                </p:cTn>
                              </p:par>
                              <p:par>
                                <p:cTn id="342" presetID="26" presetClass="emph" presetSubtype="0" dur="2000" repeatCount="indefinite" fill="hold" grpId="0" nodeType="withEffect">
                                  <p:stCondLst>
                                    <p:cond delay="2250"/>
                                  </p:stCondLst>
                                  <p:childTnLst>
                                    <p:animEffect transition="out" filter="fade">
                                      <p:cBhvr>
                                        <p:cTn id="343" dur="2000" tmFilter="0, 0; .2, .5; .8, .5; 1, 0"/>
                                        <p:tgtEl>
                                          <p:spTgt spid="412"/>
                                        </p:tgtEl>
                                      </p:cBhvr>
                                    </p:animEffect>
                                    <p:animScale>
                                      <p:cBhvr>
                                        <p:cTn id="344" dur="1000" autoRev="1" fill="hold"/>
                                        <p:tgtEl>
                                          <p:spTgt spid="412"/>
                                        </p:tgtEl>
                                      </p:cBhvr>
                                      <p:by x="105000" y="105000"/>
                                    </p:animScale>
                                  </p:childTnLst>
                                </p:cTn>
                              </p:par>
                              <p:par>
                                <p:cTn id="345" presetID="26" presetClass="emph" presetSubtype="0" dur="2000" repeatCount="indefinite" fill="hold" grpId="0" nodeType="withEffect">
                                  <p:stCondLst>
                                    <p:cond delay="2250"/>
                                  </p:stCondLst>
                                  <p:childTnLst>
                                    <p:animEffect transition="out" filter="fade">
                                      <p:cBhvr>
                                        <p:cTn id="346" dur="2000" tmFilter="0, 0; .2, .5; .8, .5; 1, 0"/>
                                        <p:tgtEl>
                                          <p:spTgt spid="413"/>
                                        </p:tgtEl>
                                      </p:cBhvr>
                                    </p:animEffect>
                                    <p:animScale>
                                      <p:cBhvr>
                                        <p:cTn id="347" dur="1000" autoRev="1" fill="hold"/>
                                        <p:tgtEl>
                                          <p:spTgt spid="413"/>
                                        </p:tgtEl>
                                      </p:cBhvr>
                                      <p:by x="105000" y="105000"/>
                                    </p:animScale>
                                  </p:childTnLst>
                                </p:cTn>
                              </p:par>
                              <p:par>
                                <p:cTn id="348" presetID="26" presetClass="emph" presetSubtype="0" dur="2000" repeatCount="indefinite" fill="hold" grpId="0" nodeType="withEffect">
                                  <p:stCondLst>
                                    <p:cond delay="2250"/>
                                  </p:stCondLst>
                                  <p:childTnLst>
                                    <p:animEffect transition="out" filter="fade">
                                      <p:cBhvr>
                                        <p:cTn id="349" dur="2000" tmFilter="0, 0; .2, .5; .8, .5; 1, 0"/>
                                        <p:tgtEl>
                                          <p:spTgt spid="414"/>
                                        </p:tgtEl>
                                      </p:cBhvr>
                                    </p:animEffect>
                                    <p:animScale>
                                      <p:cBhvr>
                                        <p:cTn id="350" dur="1000" autoRev="1" fill="hold"/>
                                        <p:tgtEl>
                                          <p:spTgt spid="414"/>
                                        </p:tgtEl>
                                      </p:cBhvr>
                                      <p:by x="105000" y="105000"/>
                                    </p:animScale>
                                  </p:childTnLst>
                                </p:cTn>
                              </p:par>
                              <p:par>
                                <p:cTn id="351" presetID="26" presetClass="emph" presetSubtype="0" dur="2000" repeatCount="indefinite" fill="hold" grpId="0" nodeType="withEffect">
                                  <p:stCondLst>
                                    <p:cond delay="2250"/>
                                  </p:stCondLst>
                                  <p:childTnLst>
                                    <p:animEffect transition="out" filter="fade">
                                      <p:cBhvr>
                                        <p:cTn id="352" dur="2000" tmFilter="0, 0; .2, .5; .8, .5; 1, 0"/>
                                        <p:tgtEl>
                                          <p:spTgt spid="415"/>
                                        </p:tgtEl>
                                      </p:cBhvr>
                                    </p:animEffect>
                                    <p:animScale>
                                      <p:cBhvr>
                                        <p:cTn id="353" dur="1000" autoRev="1" fill="hold"/>
                                        <p:tgtEl>
                                          <p:spTgt spid="415"/>
                                        </p:tgtEl>
                                      </p:cBhvr>
                                      <p:by x="105000" y="105000"/>
                                    </p:animScale>
                                  </p:childTnLst>
                                </p:cTn>
                              </p:par>
                              <p:par>
                                <p:cTn id="354" presetID="26" presetClass="emph" presetSubtype="0" dur="2000" repeatCount="indefinite" fill="hold" grpId="0" nodeType="withEffect">
                                  <p:stCondLst>
                                    <p:cond delay="2250"/>
                                  </p:stCondLst>
                                  <p:childTnLst>
                                    <p:animEffect transition="out" filter="fade">
                                      <p:cBhvr>
                                        <p:cTn id="355" dur="2000" tmFilter="0, 0; .2, .5; .8, .5; 1, 0"/>
                                        <p:tgtEl>
                                          <p:spTgt spid="416"/>
                                        </p:tgtEl>
                                      </p:cBhvr>
                                    </p:animEffect>
                                    <p:animScale>
                                      <p:cBhvr>
                                        <p:cTn id="356" dur="1000" autoRev="1" fill="hold"/>
                                        <p:tgtEl>
                                          <p:spTgt spid="416"/>
                                        </p:tgtEl>
                                      </p:cBhvr>
                                      <p:by x="105000" y="105000"/>
                                    </p:animScale>
                                  </p:childTnLst>
                                </p:cTn>
                              </p:par>
                              <p:par>
                                <p:cTn id="357" presetID="26" presetClass="emph" presetSubtype="0" dur="2000" repeatCount="indefinite" fill="hold" grpId="0" nodeType="withEffect">
                                  <p:stCondLst>
                                    <p:cond delay="2250"/>
                                  </p:stCondLst>
                                  <p:childTnLst>
                                    <p:animEffect transition="out" filter="fade">
                                      <p:cBhvr>
                                        <p:cTn id="358" dur="2000" tmFilter="0, 0; .2, .5; .8, .5; 1, 0"/>
                                        <p:tgtEl>
                                          <p:spTgt spid="417"/>
                                        </p:tgtEl>
                                      </p:cBhvr>
                                    </p:animEffect>
                                    <p:animScale>
                                      <p:cBhvr>
                                        <p:cTn id="359" dur="1000" autoRev="1" fill="hold"/>
                                        <p:tgtEl>
                                          <p:spTgt spid="417"/>
                                        </p:tgtEl>
                                      </p:cBhvr>
                                      <p:by x="105000" y="105000"/>
                                    </p:animScale>
                                  </p:childTnLst>
                                </p:cTn>
                              </p:par>
                              <p:par>
                                <p:cTn id="360" presetID="26" presetClass="emph" presetSubtype="0" dur="2000" repeatCount="indefinite" fill="hold" grpId="0" nodeType="withEffect">
                                  <p:stCondLst>
                                    <p:cond delay="2250"/>
                                  </p:stCondLst>
                                  <p:childTnLst>
                                    <p:animEffect transition="out" filter="fade">
                                      <p:cBhvr>
                                        <p:cTn id="361" dur="2000" tmFilter="0, 0; .2, .5; .8, .5; 1, 0"/>
                                        <p:tgtEl>
                                          <p:spTgt spid="418"/>
                                        </p:tgtEl>
                                      </p:cBhvr>
                                    </p:animEffect>
                                    <p:animScale>
                                      <p:cBhvr>
                                        <p:cTn id="362" dur="1000" autoRev="1" fill="hold"/>
                                        <p:tgtEl>
                                          <p:spTgt spid="418"/>
                                        </p:tgtEl>
                                      </p:cBhvr>
                                      <p:by x="105000" y="105000"/>
                                    </p:animScale>
                                  </p:childTnLst>
                                </p:cTn>
                              </p:par>
                              <p:par>
                                <p:cTn id="363" presetID="26" presetClass="emph" presetSubtype="0" dur="2000" repeatCount="indefinite" fill="hold" grpId="0" nodeType="withEffect">
                                  <p:stCondLst>
                                    <p:cond delay="2250"/>
                                  </p:stCondLst>
                                  <p:childTnLst>
                                    <p:animEffect transition="out" filter="fade">
                                      <p:cBhvr>
                                        <p:cTn id="364" dur="2000" tmFilter="0, 0; .2, .5; .8, .5; 1, 0"/>
                                        <p:tgtEl>
                                          <p:spTgt spid="419"/>
                                        </p:tgtEl>
                                      </p:cBhvr>
                                    </p:animEffect>
                                    <p:animScale>
                                      <p:cBhvr>
                                        <p:cTn id="365" dur="1000" autoRev="1" fill="hold"/>
                                        <p:tgtEl>
                                          <p:spTgt spid="419"/>
                                        </p:tgtEl>
                                      </p:cBhvr>
                                      <p:by x="105000" y="105000"/>
                                    </p:animScale>
                                  </p:childTnLst>
                                </p:cTn>
                              </p:par>
                              <p:par>
                                <p:cTn id="366" presetID="26" presetClass="emph" presetSubtype="0" dur="2000" repeatCount="indefinite" fill="hold" grpId="0" nodeType="withEffect">
                                  <p:stCondLst>
                                    <p:cond delay="2250"/>
                                  </p:stCondLst>
                                  <p:childTnLst>
                                    <p:animEffect transition="out" filter="fade">
                                      <p:cBhvr>
                                        <p:cTn id="367" dur="2000" tmFilter="0, 0; .2, .5; .8, .5; 1, 0"/>
                                        <p:tgtEl>
                                          <p:spTgt spid="420"/>
                                        </p:tgtEl>
                                      </p:cBhvr>
                                    </p:animEffect>
                                    <p:animScale>
                                      <p:cBhvr>
                                        <p:cTn id="368" dur="1000" autoRev="1" fill="hold"/>
                                        <p:tgtEl>
                                          <p:spTgt spid="420"/>
                                        </p:tgtEl>
                                      </p:cBhvr>
                                      <p:by x="105000" y="105000"/>
                                    </p:animScale>
                                  </p:childTnLst>
                                </p:cTn>
                              </p:par>
                              <p:par>
                                <p:cTn id="369" presetID="26" presetClass="emph" presetSubtype="0" dur="2000" repeatCount="indefinite" fill="hold" grpId="0" nodeType="withEffect">
                                  <p:stCondLst>
                                    <p:cond delay="2250"/>
                                  </p:stCondLst>
                                  <p:childTnLst>
                                    <p:animEffect transition="out" filter="fade">
                                      <p:cBhvr>
                                        <p:cTn id="370" dur="2000" tmFilter="0, 0; .2, .5; .8, .5; 1, 0"/>
                                        <p:tgtEl>
                                          <p:spTgt spid="421"/>
                                        </p:tgtEl>
                                      </p:cBhvr>
                                    </p:animEffect>
                                    <p:animScale>
                                      <p:cBhvr>
                                        <p:cTn id="371" dur="1000" autoRev="1" fill="hold"/>
                                        <p:tgtEl>
                                          <p:spTgt spid="421"/>
                                        </p:tgtEl>
                                      </p:cBhvr>
                                      <p:by x="105000" y="105000"/>
                                    </p:animScale>
                                  </p:childTnLst>
                                </p:cTn>
                              </p:par>
                              <p:par>
                                <p:cTn id="372" presetID="26" presetClass="emph" presetSubtype="0" dur="2000" repeatCount="indefinite" fill="hold" grpId="0" nodeType="withEffect">
                                  <p:stCondLst>
                                    <p:cond delay="2250"/>
                                  </p:stCondLst>
                                  <p:childTnLst>
                                    <p:animEffect transition="out" filter="fade">
                                      <p:cBhvr>
                                        <p:cTn id="373" dur="2000" tmFilter="0, 0; .2, .5; .8, .5; 1, 0"/>
                                        <p:tgtEl>
                                          <p:spTgt spid="422"/>
                                        </p:tgtEl>
                                      </p:cBhvr>
                                    </p:animEffect>
                                    <p:animScale>
                                      <p:cBhvr>
                                        <p:cTn id="374" dur="1000" autoRev="1" fill="hold"/>
                                        <p:tgtEl>
                                          <p:spTgt spid="422"/>
                                        </p:tgtEl>
                                      </p:cBhvr>
                                      <p:by x="105000" y="105000"/>
                                    </p:animScale>
                                  </p:childTnLst>
                                </p:cTn>
                              </p:par>
                              <p:par>
                                <p:cTn id="375" presetID="26" presetClass="emph" presetSubtype="0" dur="2000" repeatCount="indefinite" fill="hold" grpId="0" nodeType="withEffect">
                                  <p:stCondLst>
                                    <p:cond delay="2250"/>
                                  </p:stCondLst>
                                  <p:childTnLst>
                                    <p:animEffect transition="out" filter="fade">
                                      <p:cBhvr>
                                        <p:cTn id="376" dur="2000" tmFilter="0, 0; .2, .5; .8, .5; 1, 0"/>
                                        <p:tgtEl>
                                          <p:spTgt spid="423"/>
                                        </p:tgtEl>
                                      </p:cBhvr>
                                    </p:animEffect>
                                    <p:animScale>
                                      <p:cBhvr>
                                        <p:cTn id="377" dur="1000" autoRev="1" fill="hold"/>
                                        <p:tgtEl>
                                          <p:spTgt spid="423"/>
                                        </p:tgtEl>
                                      </p:cBhvr>
                                      <p:by x="105000" y="105000"/>
                                    </p:animScale>
                                  </p:childTnLst>
                                </p:cTn>
                              </p:par>
                              <p:par>
                                <p:cTn id="378" presetID="26" presetClass="emph" presetSubtype="0" dur="2000" repeatCount="indefinite" fill="hold" grpId="0" nodeType="withEffect">
                                  <p:stCondLst>
                                    <p:cond delay="2500"/>
                                  </p:stCondLst>
                                  <p:childTnLst>
                                    <p:animEffect transition="out" filter="fade">
                                      <p:cBhvr>
                                        <p:cTn id="379" dur="2000" tmFilter="0, 0; .2, .5; .8, .5; 1, 0"/>
                                        <p:tgtEl>
                                          <p:spTgt spid="424"/>
                                        </p:tgtEl>
                                      </p:cBhvr>
                                    </p:animEffect>
                                    <p:animScale>
                                      <p:cBhvr>
                                        <p:cTn id="380" dur="1000" autoRev="1" fill="hold"/>
                                        <p:tgtEl>
                                          <p:spTgt spid="424"/>
                                        </p:tgtEl>
                                      </p:cBhvr>
                                      <p:by x="105000" y="105000"/>
                                    </p:animScale>
                                  </p:childTnLst>
                                </p:cTn>
                              </p:par>
                              <p:par>
                                <p:cTn id="381" presetID="26" presetClass="emph" presetSubtype="0" dur="2000" repeatCount="indefinite" fill="hold" grpId="0" nodeType="withEffect">
                                  <p:stCondLst>
                                    <p:cond delay="2500"/>
                                  </p:stCondLst>
                                  <p:childTnLst>
                                    <p:animEffect transition="out" filter="fade">
                                      <p:cBhvr>
                                        <p:cTn id="382" dur="2000" tmFilter="0, 0; .2, .5; .8, .5; 1, 0"/>
                                        <p:tgtEl>
                                          <p:spTgt spid="425"/>
                                        </p:tgtEl>
                                      </p:cBhvr>
                                    </p:animEffect>
                                    <p:animScale>
                                      <p:cBhvr>
                                        <p:cTn id="383" dur="1000" autoRev="1" fill="hold"/>
                                        <p:tgtEl>
                                          <p:spTgt spid="425"/>
                                        </p:tgtEl>
                                      </p:cBhvr>
                                      <p:by x="105000" y="105000"/>
                                    </p:animScale>
                                  </p:childTnLst>
                                </p:cTn>
                              </p:par>
                              <p:par>
                                <p:cTn id="384" presetID="26" presetClass="emph" presetSubtype="0" dur="2000" repeatCount="indefinite" fill="hold" grpId="0" nodeType="withEffect">
                                  <p:stCondLst>
                                    <p:cond delay="2500"/>
                                  </p:stCondLst>
                                  <p:childTnLst>
                                    <p:animEffect transition="out" filter="fade">
                                      <p:cBhvr>
                                        <p:cTn id="385" dur="2000" tmFilter="0, 0; .2, .5; .8, .5; 1, 0"/>
                                        <p:tgtEl>
                                          <p:spTgt spid="426"/>
                                        </p:tgtEl>
                                      </p:cBhvr>
                                    </p:animEffect>
                                    <p:animScale>
                                      <p:cBhvr>
                                        <p:cTn id="386" dur="1000" autoRev="1" fill="hold"/>
                                        <p:tgtEl>
                                          <p:spTgt spid="426"/>
                                        </p:tgtEl>
                                      </p:cBhvr>
                                      <p:by x="105000" y="105000"/>
                                    </p:animScale>
                                  </p:childTnLst>
                                </p:cTn>
                              </p:par>
                              <p:par>
                                <p:cTn id="387" presetID="26" presetClass="emph" presetSubtype="0" dur="2000" repeatCount="indefinite" fill="hold" grpId="0" nodeType="withEffect">
                                  <p:stCondLst>
                                    <p:cond delay="2500"/>
                                  </p:stCondLst>
                                  <p:childTnLst>
                                    <p:animEffect transition="out" filter="fade">
                                      <p:cBhvr>
                                        <p:cTn id="388" dur="2000" tmFilter="0, 0; .2, .5; .8, .5; 1, 0"/>
                                        <p:tgtEl>
                                          <p:spTgt spid="427"/>
                                        </p:tgtEl>
                                      </p:cBhvr>
                                    </p:animEffect>
                                    <p:animScale>
                                      <p:cBhvr>
                                        <p:cTn id="389" dur="1000" autoRev="1" fill="hold"/>
                                        <p:tgtEl>
                                          <p:spTgt spid="427"/>
                                        </p:tgtEl>
                                      </p:cBhvr>
                                      <p:by x="105000" y="105000"/>
                                    </p:animScale>
                                  </p:childTnLst>
                                </p:cTn>
                              </p:par>
                              <p:par>
                                <p:cTn id="390" presetID="26" presetClass="emph" presetSubtype="0" dur="2000" repeatCount="indefinite" fill="hold" grpId="0" nodeType="withEffect">
                                  <p:stCondLst>
                                    <p:cond delay="2500"/>
                                  </p:stCondLst>
                                  <p:childTnLst>
                                    <p:animEffect transition="out" filter="fade">
                                      <p:cBhvr>
                                        <p:cTn id="391" dur="2000" tmFilter="0, 0; .2, .5; .8, .5; 1, 0"/>
                                        <p:tgtEl>
                                          <p:spTgt spid="428"/>
                                        </p:tgtEl>
                                      </p:cBhvr>
                                    </p:animEffect>
                                    <p:animScale>
                                      <p:cBhvr>
                                        <p:cTn id="392" dur="1000" autoRev="1" fill="hold"/>
                                        <p:tgtEl>
                                          <p:spTgt spid="428"/>
                                        </p:tgtEl>
                                      </p:cBhvr>
                                      <p:by x="105000" y="105000"/>
                                    </p:animScale>
                                  </p:childTnLst>
                                </p:cTn>
                              </p:par>
                              <p:par>
                                <p:cTn id="393" presetID="26" presetClass="emph" presetSubtype="0" dur="2000" repeatCount="indefinite" fill="hold" grpId="0" nodeType="withEffect">
                                  <p:stCondLst>
                                    <p:cond delay="2500"/>
                                  </p:stCondLst>
                                  <p:childTnLst>
                                    <p:animEffect transition="out" filter="fade">
                                      <p:cBhvr>
                                        <p:cTn id="394" dur="2000" tmFilter="0, 0; .2, .5; .8, .5; 1, 0"/>
                                        <p:tgtEl>
                                          <p:spTgt spid="429"/>
                                        </p:tgtEl>
                                      </p:cBhvr>
                                    </p:animEffect>
                                    <p:animScale>
                                      <p:cBhvr>
                                        <p:cTn id="395" dur="1000" autoRev="1" fill="hold"/>
                                        <p:tgtEl>
                                          <p:spTgt spid="429"/>
                                        </p:tgtEl>
                                      </p:cBhvr>
                                      <p:by x="105000" y="105000"/>
                                    </p:animScale>
                                  </p:childTnLst>
                                </p:cTn>
                              </p:par>
                              <p:par>
                                <p:cTn id="396" presetID="26" presetClass="emph" presetSubtype="0" dur="2000" repeatCount="indefinite" fill="hold" grpId="0" nodeType="withEffect">
                                  <p:stCondLst>
                                    <p:cond delay="2500"/>
                                  </p:stCondLst>
                                  <p:childTnLst>
                                    <p:animEffect transition="out" filter="fade">
                                      <p:cBhvr>
                                        <p:cTn id="397" dur="2000" tmFilter="0, 0; .2, .5; .8, .5; 1, 0"/>
                                        <p:tgtEl>
                                          <p:spTgt spid="430"/>
                                        </p:tgtEl>
                                      </p:cBhvr>
                                    </p:animEffect>
                                    <p:animScale>
                                      <p:cBhvr>
                                        <p:cTn id="398" dur="1000" autoRev="1" fill="hold"/>
                                        <p:tgtEl>
                                          <p:spTgt spid="430"/>
                                        </p:tgtEl>
                                      </p:cBhvr>
                                      <p:by x="105000" y="105000"/>
                                    </p:animScale>
                                  </p:childTnLst>
                                </p:cTn>
                              </p:par>
                              <p:par>
                                <p:cTn id="399" presetID="26" presetClass="emph" presetSubtype="0" dur="2000" repeatCount="indefinite" fill="hold" grpId="0" nodeType="withEffect">
                                  <p:stCondLst>
                                    <p:cond delay="2500"/>
                                  </p:stCondLst>
                                  <p:childTnLst>
                                    <p:animEffect transition="out" filter="fade">
                                      <p:cBhvr>
                                        <p:cTn id="400" dur="2000" tmFilter="0, 0; .2, .5; .8, .5; 1, 0"/>
                                        <p:tgtEl>
                                          <p:spTgt spid="431"/>
                                        </p:tgtEl>
                                      </p:cBhvr>
                                    </p:animEffect>
                                    <p:animScale>
                                      <p:cBhvr>
                                        <p:cTn id="401" dur="1000" autoRev="1" fill="hold"/>
                                        <p:tgtEl>
                                          <p:spTgt spid="431"/>
                                        </p:tgtEl>
                                      </p:cBhvr>
                                      <p:by x="105000" y="105000"/>
                                    </p:animScale>
                                  </p:childTnLst>
                                </p:cTn>
                              </p:par>
                              <p:par>
                                <p:cTn id="402" presetID="26" presetClass="emph" presetSubtype="0" dur="2000" repeatCount="indefinite" fill="hold" grpId="0" nodeType="withEffect">
                                  <p:stCondLst>
                                    <p:cond delay="2500"/>
                                  </p:stCondLst>
                                  <p:childTnLst>
                                    <p:animEffect transition="out" filter="fade">
                                      <p:cBhvr>
                                        <p:cTn id="403" dur="2000" tmFilter="0, 0; .2, .5; .8, .5; 1, 0"/>
                                        <p:tgtEl>
                                          <p:spTgt spid="432"/>
                                        </p:tgtEl>
                                      </p:cBhvr>
                                    </p:animEffect>
                                    <p:animScale>
                                      <p:cBhvr>
                                        <p:cTn id="404" dur="1000" autoRev="1" fill="hold"/>
                                        <p:tgtEl>
                                          <p:spTgt spid="432"/>
                                        </p:tgtEl>
                                      </p:cBhvr>
                                      <p:by x="105000" y="105000"/>
                                    </p:animScale>
                                  </p:childTnLst>
                                </p:cTn>
                              </p:par>
                              <p:par>
                                <p:cTn id="405" presetID="26" presetClass="emph" presetSubtype="0" dur="2000" repeatCount="indefinite" fill="hold" grpId="0" nodeType="withEffect">
                                  <p:stCondLst>
                                    <p:cond delay="2500"/>
                                  </p:stCondLst>
                                  <p:childTnLst>
                                    <p:animEffect transition="out" filter="fade">
                                      <p:cBhvr>
                                        <p:cTn id="406" dur="2000" tmFilter="0, 0; .2, .5; .8, .5; 1, 0"/>
                                        <p:tgtEl>
                                          <p:spTgt spid="433"/>
                                        </p:tgtEl>
                                      </p:cBhvr>
                                    </p:animEffect>
                                    <p:animScale>
                                      <p:cBhvr>
                                        <p:cTn id="407" dur="1000" autoRev="1" fill="hold"/>
                                        <p:tgtEl>
                                          <p:spTgt spid="433"/>
                                        </p:tgtEl>
                                      </p:cBhvr>
                                      <p:by x="105000" y="105000"/>
                                    </p:animScale>
                                  </p:childTnLst>
                                </p:cTn>
                              </p:par>
                              <p:par>
                                <p:cTn id="408" presetID="26" presetClass="emph" presetSubtype="0" dur="2000" repeatCount="indefinite" fill="hold" grpId="0" nodeType="withEffect">
                                  <p:stCondLst>
                                    <p:cond delay="2500"/>
                                  </p:stCondLst>
                                  <p:childTnLst>
                                    <p:animEffect transition="out" filter="fade">
                                      <p:cBhvr>
                                        <p:cTn id="409" dur="2000" tmFilter="0, 0; .2, .5; .8, .5; 1, 0"/>
                                        <p:tgtEl>
                                          <p:spTgt spid="434"/>
                                        </p:tgtEl>
                                      </p:cBhvr>
                                    </p:animEffect>
                                    <p:animScale>
                                      <p:cBhvr>
                                        <p:cTn id="410" dur="1000" autoRev="1" fill="hold"/>
                                        <p:tgtEl>
                                          <p:spTgt spid="434"/>
                                        </p:tgtEl>
                                      </p:cBhvr>
                                      <p:by x="105000" y="105000"/>
                                    </p:animScale>
                                  </p:childTnLst>
                                </p:cTn>
                              </p:par>
                              <p:par>
                                <p:cTn id="411" presetID="26" presetClass="emph" presetSubtype="0" dur="2000" repeatCount="indefinite" fill="hold" grpId="0" nodeType="withEffect">
                                  <p:stCondLst>
                                    <p:cond delay="2500"/>
                                  </p:stCondLst>
                                  <p:childTnLst>
                                    <p:animEffect transition="out" filter="fade">
                                      <p:cBhvr>
                                        <p:cTn id="412" dur="2000" tmFilter="0, 0; .2, .5; .8, .5; 1, 0"/>
                                        <p:tgtEl>
                                          <p:spTgt spid="435"/>
                                        </p:tgtEl>
                                      </p:cBhvr>
                                    </p:animEffect>
                                    <p:animScale>
                                      <p:cBhvr>
                                        <p:cTn id="413" dur="1000" autoRev="1" fill="hold"/>
                                        <p:tgtEl>
                                          <p:spTgt spid="435"/>
                                        </p:tgtEl>
                                      </p:cBhvr>
                                      <p:by x="105000" y="105000"/>
                                    </p:animScale>
                                  </p:childTnLst>
                                </p:cTn>
                              </p:par>
                              <p:par>
                                <p:cTn id="414" presetID="26" presetClass="emph" presetSubtype="0" dur="2000" repeatCount="indefinite" fill="hold" grpId="0" nodeType="withEffect">
                                  <p:stCondLst>
                                    <p:cond delay="2500"/>
                                  </p:stCondLst>
                                  <p:childTnLst>
                                    <p:animEffect transition="out" filter="fade">
                                      <p:cBhvr>
                                        <p:cTn id="415" dur="2000" tmFilter="0, 0; .2, .5; .8, .5; 1, 0"/>
                                        <p:tgtEl>
                                          <p:spTgt spid="436"/>
                                        </p:tgtEl>
                                      </p:cBhvr>
                                    </p:animEffect>
                                    <p:animScale>
                                      <p:cBhvr>
                                        <p:cTn id="416" dur="1000" autoRev="1" fill="hold"/>
                                        <p:tgtEl>
                                          <p:spTgt spid="436"/>
                                        </p:tgtEl>
                                      </p:cBhvr>
                                      <p:by x="105000" y="105000"/>
                                    </p:animScale>
                                  </p:childTnLst>
                                </p:cTn>
                              </p:par>
                              <p:par>
                                <p:cTn id="417" presetID="26" presetClass="emph" presetSubtype="0" dur="2000" repeatCount="indefinite" fill="hold" grpId="0" nodeType="withEffect">
                                  <p:stCondLst>
                                    <p:cond delay="2500"/>
                                  </p:stCondLst>
                                  <p:childTnLst>
                                    <p:animEffect transition="out" filter="fade">
                                      <p:cBhvr>
                                        <p:cTn id="418" dur="2000" tmFilter="0, 0; .2, .5; .8, .5; 1, 0"/>
                                        <p:tgtEl>
                                          <p:spTgt spid="437"/>
                                        </p:tgtEl>
                                      </p:cBhvr>
                                    </p:animEffect>
                                    <p:animScale>
                                      <p:cBhvr>
                                        <p:cTn id="419" dur="1000" autoRev="1" fill="hold"/>
                                        <p:tgtEl>
                                          <p:spTgt spid="437"/>
                                        </p:tgtEl>
                                      </p:cBhvr>
                                      <p:by x="105000" y="105000"/>
                                    </p:animScale>
                                  </p:childTnLst>
                                </p:cTn>
                              </p:par>
                              <p:par>
                                <p:cTn id="420" presetID="26" presetClass="emph" presetSubtype="0" dur="2000" repeatCount="indefinite" fill="hold" grpId="0" nodeType="withEffect">
                                  <p:stCondLst>
                                    <p:cond delay="2750"/>
                                  </p:stCondLst>
                                  <p:childTnLst>
                                    <p:animEffect transition="out" filter="fade">
                                      <p:cBhvr>
                                        <p:cTn id="421" dur="2000" tmFilter="0, 0; .2, .5; .8, .5; 1, 0"/>
                                        <p:tgtEl>
                                          <p:spTgt spid="438"/>
                                        </p:tgtEl>
                                      </p:cBhvr>
                                    </p:animEffect>
                                    <p:animScale>
                                      <p:cBhvr>
                                        <p:cTn id="422" dur="1000" autoRev="1" fill="hold"/>
                                        <p:tgtEl>
                                          <p:spTgt spid="438"/>
                                        </p:tgtEl>
                                      </p:cBhvr>
                                      <p:by x="105000" y="105000"/>
                                    </p:animScale>
                                  </p:childTnLst>
                                </p:cTn>
                              </p:par>
                              <p:par>
                                <p:cTn id="423" presetID="26" presetClass="emph" presetSubtype="0" dur="2000" repeatCount="indefinite" fill="hold" grpId="0" nodeType="withEffect">
                                  <p:stCondLst>
                                    <p:cond delay="2750"/>
                                  </p:stCondLst>
                                  <p:childTnLst>
                                    <p:animEffect transition="out" filter="fade">
                                      <p:cBhvr>
                                        <p:cTn id="424" dur="2000" tmFilter="0, 0; .2, .5; .8, .5; 1, 0"/>
                                        <p:tgtEl>
                                          <p:spTgt spid="439"/>
                                        </p:tgtEl>
                                      </p:cBhvr>
                                    </p:animEffect>
                                    <p:animScale>
                                      <p:cBhvr>
                                        <p:cTn id="425" dur="1000" autoRev="1" fill="hold"/>
                                        <p:tgtEl>
                                          <p:spTgt spid="439"/>
                                        </p:tgtEl>
                                      </p:cBhvr>
                                      <p:by x="105000" y="105000"/>
                                    </p:animScale>
                                  </p:childTnLst>
                                </p:cTn>
                              </p:par>
                              <p:par>
                                <p:cTn id="426" presetID="26" presetClass="emph" presetSubtype="0" dur="2000" repeatCount="indefinite" fill="hold" grpId="0" nodeType="withEffect">
                                  <p:stCondLst>
                                    <p:cond delay="2750"/>
                                  </p:stCondLst>
                                  <p:childTnLst>
                                    <p:animEffect transition="out" filter="fade">
                                      <p:cBhvr>
                                        <p:cTn id="427" dur="2000" tmFilter="0, 0; .2, .5; .8, .5; 1, 0"/>
                                        <p:tgtEl>
                                          <p:spTgt spid="440"/>
                                        </p:tgtEl>
                                      </p:cBhvr>
                                    </p:animEffect>
                                    <p:animScale>
                                      <p:cBhvr>
                                        <p:cTn id="428" dur="1000" autoRev="1" fill="hold"/>
                                        <p:tgtEl>
                                          <p:spTgt spid="440"/>
                                        </p:tgtEl>
                                      </p:cBhvr>
                                      <p:by x="105000" y="105000"/>
                                    </p:animScale>
                                  </p:childTnLst>
                                </p:cTn>
                              </p:par>
                              <p:par>
                                <p:cTn id="429" presetID="26" presetClass="emph" presetSubtype="0" dur="2000" repeatCount="indefinite" fill="hold" grpId="0" nodeType="withEffect">
                                  <p:stCondLst>
                                    <p:cond delay="2750"/>
                                  </p:stCondLst>
                                  <p:childTnLst>
                                    <p:animEffect transition="out" filter="fade">
                                      <p:cBhvr>
                                        <p:cTn id="430" dur="2000" tmFilter="0, 0; .2, .5; .8, .5; 1, 0"/>
                                        <p:tgtEl>
                                          <p:spTgt spid="441"/>
                                        </p:tgtEl>
                                      </p:cBhvr>
                                    </p:animEffect>
                                    <p:animScale>
                                      <p:cBhvr>
                                        <p:cTn id="431" dur="1000" autoRev="1" fill="hold"/>
                                        <p:tgtEl>
                                          <p:spTgt spid="441"/>
                                        </p:tgtEl>
                                      </p:cBhvr>
                                      <p:by x="105000" y="105000"/>
                                    </p:animScale>
                                  </p:childTnLst>
                                </p:cTn>
                              </p:par>
                              <p:par>
                                <p:cTn id="432" presetID="26" presetClass="emph" presetSubtype="0" dur="2000" repeatCount="indefinite" fill="hold" grpId="0" nodeType="withEffect">
                                  <p:stCondLst>
                                    <p:cond delay="2750"/>
                                  </p:stCondLst>
                                  <p:childTnLst>
                                    <p:animEffect transition="out" filter="fade">
                                      <p:cBhvr>
                                        <p:cTn id="433" dur="2000" tmFilter="0, 0; .2, .5; .8, .5; 1, 0"/>
                                        <p:tgtEl>
                                          <p:spTgt spid="442"/>
                                        </p:tgtEl>
                                      </p:cBhvr>
                                    </p:animEffect>
                                    <p:animScale>
                                      <p:cBhvr>
                                        <p:cTn id="434" dur="1000" autoRev="1" fill="hold"/>
                                        <p:tgtEl>
                                          <p:spTgt spid="442"/>
                                        </p:tgtEl>
                                      </p:cBhvr>
                                      <p:by x="105000" y="105000"/>
                                    </p:animScale>
                                  </p:childTnLst>
                                </p:cTn>
                              </p:par>
                              <p:par>
                                <p:cTn id="435" presetID="26" presetClass="emph" presetSubtype="0" dur="2000" repeatCount="indefinite" fill="hold" grpId="0" nodeType="withEffect">
                                  <p:stCondLst>
                                    <p:cond delay="2750"/>
                                  </p:stCondLst>
                                  <p:childTnLst>
                                    <p:animEffect transition="out" filter="fade">
                                      <p:cBhvr>
                                        <p:cTn id="436" dur="2000" tmFilter="0, 0; .2, .5; .8, .5; 1, 0"/>
                                        <p:tgtEl>
                                          <p:spTgt spid="443"/>
                                        </p:tgtEl>
                                      </p:cBhvr>
                                    </p:animEffect>
                                    <p:animScale>
                                      <p:cBhvr>
                                        <p:cTn id="437" dur="1000" autoRev="1" fill="hold"/>
                                        <p:tgtEl>
                                          <p:spTgt spid="443"/>
                                        </p:tgtEl>
                                      </p:cBhvr>
                                      <p:by x="105000" y="105000"/>
                                    </p:animScale>
                                  </p:childTnLst>
                                </p:cTn>
                              </p:par>
                              <p:par>
                                <p:cTn id="438" presetID="26" presetClass="emph" presetSubtype="0" dur="2000" repeatCount="indefinite" fill="hold" grpId="0" nodeType="withEffect">
                                  <p:stCondLst>
                                    <p:cond delay="2750"/>
                                  </p:stCondLst>
                                  <p:childTnLst>
                                    <p:animEffect transition="out" filter="fade">
                                      <p:cBhvr>
                                        <p:cTn id="439" dur="2000" tmFilter="0, 0; .2, .5; .8, .5; 1, 0"/>
                                        <p:tgtEl>
                                          <p:spTgt spid="444"/>
                                        </p:tgtEl>
                                      </p:cBhvr>
                                    </p:animEffect>
                                    <p:animScale>
                                      <p:cBhvr>
                                        <p:cTn id="440" dur="1000" autoRev="1" fill="hold"/>
                                        <p:tgtEl>
                                          <p:spTgt spid="444"/>
                                        </p:tgtEl>
                                      </p:cBhvr>
                                      <p:by x="105000" y="105000"/>
                                    </p:animScale>
                                  </p:childTnLst>
                                </p:cTn>
                              </p:par>
                              <p:par>
                                <p:cTn id="441" presetID="26" presetClass="emph" presetSubtype="0" dur="2000" repeatCount="indefinite" fill="hold" grpId="0" nodeType="withEffect">
                                  <p:stCondLst>
                                    <p:cond delay="2750"/>
                                  </p:stCondLst>
                                  <p:childTnLst>
                                    <p:animEffect transition="out" filter="fade">
                                      <p:cBhvr>
                                        <p:cTn id="442" dur="2000" tmFilter="0, 0; .2, .5; .8, .5; 1, 0"/>
                                        <p:tgtEl>
                                          <p:spTgt spid="445"/>
                                        </p:tgtEl>
                                      </p:cBhvr>
                                    </p:animEffect>
                                    <p:animScale>
                                      <p:cBhvr>
                                        <p:cTn id="443" dur="1000" autoRev="1" fill="hold"/>
                                        <p:tgtEl>
                                          <p:spTgt spid="445"/>
                                        </p:tgtEl>
                                      </p:cBhvr>
                                      <p:by x="105000" y="105000"/>
                                    </p:animScale>
                                  </p:childTnLst>
                                </p:cTn>
                              </p:par>
                              <p:par>
                                <p:cTn id="444" presetID="26" presetClass="emph" presetSubtype="0" dur="2000" repeatCount="indefinite" fill="hold" grpId="0" nodeType="withEffect">
                                  <p:stCondLst>
                                    <p:cond delay="2750"/>
                                  </p:stCondLst>
                                  <p:childTnLst>
                                    <p:animEffect transition="out" filter="fade">
                                      <p:cBhvr>
                                        <p:cTn id="445" dur="2000" tmFilter="0, 0; .2, .5; .8, .5; 1, 0"/>
                                        <p:tgtEl>
                                          <p:spTgt spid="446"/>
                                        </p:tgtEl>
                                      </p:cBhvr>
                                    </p:animEffect>
                                    <p:animScale>
                                      <p:cBhvr>
                                        <p:cTn id="446" dur="1000" autoRev="1" fill="hold"/>
                                        <p:tgtEl>
                                          <p:spTgt spid="446"/>
                                        </p:tgtEl>
                                      </p:cBhvr>
                                      <p:by x="105000" y="105000"/>
                                    </p:animScale>
                                  </p:childTnLst>
                                </p:cTn>
                              </p:par>
                              <p:par>
                                <p:cTn id="447" presetID="26" presetClass="emph" presetSubtype="0" dur="2000" repeatCount="indefinite" fill="hold" grpId="0" nodeType="withEffect">
                                  <p:stCondLst>
                                    <p:cond delay="2750"/>
                                  </p:stCondLst>
                                  <p:childTnLst>
                                    <p:animEffect transition="out" filter="fade">
                                      <p:cBhvr>
                                        <p:cTn id="448" dur="2000" tmFilter="0, 0; .2, .5; .8, .5; 1, 0"/>
                                        <p:tgtEl>
                                          <p:spTgt spid="447"/>
                                        </p:tgtEl>
                                      </p:cBhvr>
                                    </p:animEffect>
                                    <p:animScale>
                                      <p:cBhvr>
                                        <p:cTn id="449" dur="1000" autoRev="1" fill="hold"/>
                                        <p:tgtEl>
                                          <p:spTgt spid="447"/>
                                        </p:tgtEl>
                                      </p:cBhvr>
                                      <p:by x="105000" y="105000"/>
                                    </p:animScale>
                                  </p:childTnLst>
                                </p:cTn>
                              </p:par>
                              <p:par>
                                <p:cTn id="450" presetID="26" presetClass="emph" presetSubtype="0" dur="2000" repeatCount="indefinite" fill="hold" grpId="0" nodeType="withEffect">
                                  <p:stCondLst>
                                    <p:cond delay="2750"/>
                                  </p:stCondLst>
                                  <p:childTnLst>
                                    <p:animEffect transition="out" filter="fade">
                                      <p:cBhvr>
                                        <p:cTn id="451" dur="2000" tmFilter="0, 0; .2, .5; .8, .5; 1, 0"/>
                                        <p:tgtEl>
                                          <p:spTgt spid="448"/>
                                        </p:tgtEl>
                                      </p:cBhvr>
                                    </p:animEffect>
                                    <p:animScale>
                                      <p:cBhvr>
                                        <p:cTn id="452" dur="1000" autoRev="1" fill="hold"/>
                                        <p:tgtEl>
                                          <p:spTgt spid="448"/>
                                        </p:tgtEl>
                                      </p:cBhvr>
                                      <p:by x="105000" y="105000"/>
                                    </p:animScale>
                                  </p:childTnLst>
                                </p:cTn>
                              </p:par>
                              <p:par>
                                <p:cTn id="453" presetID="26" presetClass="emph" presetSubtype="0" dur="2000" repeatCount="indefinite" fill="hold" grpId="0" nodeType="withEffect">
                                  <p:stCondLst>
                                    <p:cond delay="2750"/>
                                  </p:stCondLst>
                                  <p:childTnLst>
                                    <p:animEffect transition="out" filter="fade">
                                      <p:cBhvr>
                                        <p:cTn id="454" dur="2000" tmFilter="0, 0; .2, .5; .8, .5; 1, 0"/>
                                        <p:tgtEl>
                                          <p:spTgt spid="449"/>
                                        </p:tgtEl>
                                      </p:cBhvr>
                                    </p:animEffect>
                                    <p:animScale>
                                      <p:cBhvr>
                                        <p:cTn id="455" dur="1000" autoRev="1" fill="hold"/>
                                        <p:tgtEl>
                                          <p:spTgt spid="449"/>
                                        </p:tgtEl>
                                      </p:cBhvr>
                                      <p:by x="105000" y="105000"/>
                                    </p:animScale>
                                  </p:childTnLst>
                                </p:cTn>
                              </p:par>
                              <p:par>
                                <p:cTn id="456" presetID="26" presetClass="emph" presetSubtype="0" dur="2000" repeatCount="indefinite" fill="hold" grpId="0" nodeType="withEffect">
                                  <p:stCondLst>
                                    <p:cond delay="2750"/>
                                  </p:stCondLst>
                                  <p:childTnLst>
                                    <p:animEffect transition="out" filter="fade">
                                      <p:cBhvr>
                                        <p:cTn id="457" dur="2000" tmFilter="0, 0; .2, .5; .8, .5; 1, 0"/>
                                        <p:tgtEl>
                                          <p:spTgt spid="450"/>
                                        </p:tgtEl>
                                      </p:cBhvr>
                                    </p:animEffect>
                                    <p:animScale>
                                      <p:cBhvr>
                                        <p:cTn id="458" dur="1000" autoRev="1" fill="hold"/>
                                        <p:tgtEl>
                                          <p:spTgt spid="450"/>
                                        </p:tgtEl>
                                      </p:cBhvr>
                                      <p:by x="105000" y="105000"/>
                                    </p:animScale>
                                  </p:childTnLst>
                                </p:cTn>
                              </p:par>
                              <p:par>
                                <p:cTn id="459" presetID="26" presetClass="emph" presetSubtype="0" dur="2000" repeatCount="indefinite" fill="hold" grpId="0" nodeType="withEffect">
                                  <p:stCondLst>
                                    <p:cond delay="2750"/>
                                  </p:stCondLst>
                                  <p:childTnLst>
                                    <p:animEffect transition="out" filter="fade">
                                      <p:cBhvr>
                                        <p:cTn id="460" dur="2000" tmFilter="0, 0; .2, .5; .8, .5; 1, 0"/>
                                        <p:tgtEl>
                                          <p:spTgt spid="451"/>
                                        </p:tgtEl>
                                      </p:cBhvr>
                                    </p:animEffect>
                                    <p:animScale>
                                      <p:cBhvr>
                                        <p:cTn id="461" dur="1000" autoRev="1" fill="hold"/>
                                        <p:tgtEl>
                                          <p:spTgt spid="451"/>
                                        </p:tgtEl>
                                      </p:cBhvr>
                                      <p:by x="105000" y="105000"/>
                                    </p:animScale>
                                  </p:childTnLst>
                                </p:cTn>
                              </p:par>
                              <p:par>
                                <p:cTn id="462" presetID="26" presetClass="emph" presetSubtype="0" dur="2000" repeatCount="indefinite" fill="hold" grpId="0" nodeType="withEffect">
                                  <p:stCondLst>
                                    <p:cond delay="3000"/>
                                  </p:stCondLst>
                                  <p:childTnLst>
                                    <p:animEffect transition="out" filter="fade">
                                      <p:cBhvr>
                                        <p:cTn id="463" dur="2000" tmFilter="0, 0; .2, .5; .8, .5; 1, 0"/>
                                        <p:tgtEl>
                                          <p:spTgt spid="452"/>
                                        </p:tgtEl>
                                      </p:cBhvr>
                                    </p:animEffect>
                                    <p:animScale>
                                      <p:cBhvr>
                                        <p:cTn id="464" dur="1000" autoRev="1" fill="hold"/>
                                        <p:tgtEl>
                                          <p:spTgt spid="452"/>
                                        </p:tgtEl>
                                      </p:cBhvr>
                                      <p:by x="105000" y="105000"/>
                                    </p:animScale>
                                  </p:childTnLst>
                                </p:cTn>
                              </p:par>
                              <p:par>
                                <p:cTn id="465" presetID="26" presetClass="emph" presetSubtype="0" dur="2000" repeatCount="indefinite" fill="hold" grpId="0" nodeType="withEffect">
                                  <p:stCondLst>
                                    <p:cond delay="3000"/>
                                  </p:stCondLst>
                                  <p:childTnLst>
                                    <p:animEffect transition="out" filter="fade">
                                      <p:cBhvr>
                                        <p:cTn id="466" dur="2000" tmFilter="0, 0; .2, .5; .8, .5; 1, 0"/>
                                        <p:tgtEl>
                                          <p:spTgt spid="453"/>
                                        </p:tgtEl>
                                      </p:cBhvr>
                                    </p:animEffect>
                                    <p:animScale>
                                      <p:cBhvr>
                                        <p:cTn id="467" dur="1000" autoRev="1" fill="hold"/>
                                        <p:tgtEl>
                                          <p:spTgt spid="453"/>
                                        </p:tgtEl>
                                      </p:cBhvr>
                                      <p:by x="105000" y="105000"/>
                                    </p:animScale>
                                  </p:childTnLst>
                                </p:cTn>
                              </p:par>
                              <p:par>
                                <p:cTn id="468" presetID="26" presetClass="emph" presetSubtype="0" dur="2000" repeatCount="indefinite" fill="hold" grpId="0" nodeType="withEffect">
                                  <p:stCondLst>
                                    <p:cond delay="3000"/>
                                  </p:stCondLst>
                                  <p:childTnLst>
                                    <p:animEffect transition="out" filter="fade">
                                      <p:cBhvr>
                                        <p:cTn id="469" dur="2000" tmFilter="0, 0; .2, .5; .8, .5; 1, 0"/>
                                        <p:tgtEl>
                                          <p:spTgt spid="454"/>
                                        </p:tgtEl>
                                      </p:cBhvr>
                                    </p:animEffect>
                                    <p:animScale>
                                      <p:cBhvr>
                                        <p:cTn id="470" dur="1000" autoRev="1" fill="hold"/>
                                        <p:tgtEl>
                                          <p:spTgt spid="454"/>
                                        </p:tgtEl>
                                      </p:cBhvr>
                                      <p:by x="105000" y="105000"/>
                                    </p:animScale>
                                  </p:childTnLst>
                                </p:cTn>
                              </p:par>
                              <p:par>
                                <p:cTn id="471" presetID="26" presetClass="emph" presetSubtype="0" dur="2000" repeatCount="indefinite" fill="hold" grpId="0" nodeType="withEffect">
                                  <p:stCondLst>
                                    <p:cond delay="3000"/>
                                  </p:stCondLst>
                                  <p:childTnLst>
                                    <p:animEffect transition="out" filter="fade">
                                      <p:cBhvr>
                                        <p:cTn id="472" dur="2000" tmFilter="0, 0; .2, .5; .8, .5; 1, 0"/>
                                        <p:tgtEl>
                                          <p:spTgt spid="455"/>
                                        </p:tgtEl>
                                      </p:cBhvr>
                                    </p:animEffect>
                                    <p:animScale>
                                      <p:cBhvr>
                                        <p:cTn id="473" dur="1000" autoRev="1" fill="hold"/>
                                        <p:tgtEl>
                                          <p:spTgt spid="455"/>
                                        </p:tgtEl>
                                      </p:cBhvr>
                                      <p:by x="105000" y="105000"/>
                                    </p:animScale>
                                  </p:childTnLst>
                                </p:cTn>
                              </p:par>
                              <p:par>
                                <p:cTn id="474" presetID="26" presetClass="emph" presetSubtype="0" dur="2000" repeatCount="indefinite" fill="hold" grpId="0" nodeType="withEffect">
                                  <p:stCondLst>
                                    <p:cond delay="3000"/>
                                  </p:stCondLst>
                                  <p:childTnLst>
                                    <p:animEffect transition="out" filter="fade">
                                      <p:cBhvr>
                                        <p:cTn id="475" dur="2000" tmFilter="0, 0; .2, .5; .8, .5; 1, 0"/>
                                        <p:tgtEl>
                                          <p:spTgt spid="456"/>
                                        </p:tgtEl>
                                      </p:cBhvr>
                                    </p:animEffect>
                                    <p:animScale>
                                      <p:cBhvr>
                                        <p:cTn id="476" dur="1000" autoRev="1" fill="hold"/>
                                        <p:tgtEl>
                                          <p:spTgt spid="456"/>
                                        </p:tgtEl>
                                      </p:cBhvr>
                                      <p:by x="105000" y="105000"/>
                                    </p:animScale>
                                  </p:childTnLst>
                                </p:cTn>
                              </p:par>
                              <p:par>
                                <p:cTn id="477" presetID="26" presetClass="emph" presetSubtype="0" dur="2000" repeatCount="indefinite" fill="hold" grpId="0" nodeType="withEffect">
                                  <p:stCondLst>
                                    <p:cond delay="3000"/>
                                  </p:stCondLst>
                                  <p:childTnLst>
                                    <p:animEffect transition="out" filter="fade">
                                      <p:cBhvr>
                                        <p:cTn id="478" dur="2000" tmFilter="0, 0; .2, .5; .8, .5; 1, 0"/>
                                        <p:tgtEl>
                                          <p:spTgt spid="457"/>
                                        </p:tgtEl>
                                      </p:cBhvr>
                                    </p:animEffect>
                                    <p:animScale>
                                      <p:cBhvr>
                                        <p:cTn id="479" dur="1000" autoRev="1" fill="hold"/>
                                        <p:tgtEl>
                                          <p:spTgt spid="457"/>
                                        </p:tgtEl>
                                      </p:cBhvr>
                                      <p:by x="105000" y="105000"/>
                                    </p:animScale>
                                  </p:childTnLst>
                                </p:cTn>
                              </p:par>
                              <p:par>
                                <p:cTn id="480" presetID="26" presetClass="emph" presetSubtype="0" dur="2000" repeatCount="indefinite" fill="hold" grpId="0" nodeType="withEffect">
                                  <p:stCondLst>
                                    <p:cond delay="3000"/>
                                  </p:stCondLst>
                                  <p:childTnLst>
                                    <p:animEffect transition="out" filter="fade">
                                      <p:cBhvr>
                                        <p:cTn id="481" dur="2000" tmFilter="0, 0; .2, .5; .8, .5; 1, 0"/>
                                        <p:tgtEl>
                                          <p:spTgt spid="458"/>
                                        </p:tgtEl>
                                      </p:cBhvr>
                                    </p:animEffect>
                                    <p:animScale>
                                      <p:cBhvr>
                                        <p:cTn id="482" dur="1000" autoRev="1" fill="hold"/>
                                        <p:tgtEl>
                                          <p:spTgt spid="458"/>
                                        </p:tgtEl>
                                      </p:cBhvr>
                                      <p:by x="105000" y="105000"/>
                                    </p:animScale>
                                  </p:childTnLst>
                                </p:cTn>
                              </p:par>
                              <p:par>
                                <p:cTn id="483" presetID="26" presetClass="emph" presetSubtype="0" dur="2000" repeatCount="indefinite" fill="hold" grpId="0" nodeType="withEffect">
                                  <p:stCondLst>
                                    <p:cond delay="3000"/>
                                  </p:stCondLst>
                                  <p:childTnLst>
                                    <p:animEffect transition="out" filter="fade">
                                      <p:cBhvr>
                                        <p:cTn id="484" dur="2000" tmFilter="0, 0; .2, .5; .8, .5; 1, 0"/>
                                        <p:tgtEl>
                                          <p:spTgt spid="459"/>
                                        </p:tgtEl>
                                      </p:cBhvr>
                                    </p:animEffect>
                                    <p:animScale>
                                      <p:cBhvr>
                                        <p:cTn id="485" dur="1000" autoRev="1" fill="hold"/>
                                        <p:tgtEl>
                                          <p:spTgt spid="459"/>
                                        </p:tgtEl>
                                      </p:cBhvr>
                                      <p:by x="105000" y="105000"/>
                                    </p:animScale>
                                  </p:childTnLst>
                                </p:cTn>
                              </p:par>
                              <p:par>
                                <p:cTn id="486" presetID="26" presetClass="emph" presetSubtype="0" dur="2000" repeatCount="indefinite" fill="hold" grpId="0" nodeType="withEffect">
                                  <p:stCondLst>
                                    <p:cond delay="3000"/>
                                  </p:stCondLst>
                                  <p:childTnLst>
                                    <p:animEffect transition="out" filter="fade">
                                      <p:cBhvr>
                                        <p:cTn id="487" dur="2000" tmFilter="0, 0; .2, .5; .8, .5; 1, 0"/>
                                        <p:tgtEl>
                                          <p:spTgt spid="460"/>
                                        </p:tgtEl>
                                      </p:cBhvr>
                                    </p:animEffect>
                                    <p:animScale>
                                      <p:cBhvr>
                                        <p:cTn id="488" dur="1000" autoRev="1" fill="hold"/>
                                        <p:tgtEl>
                                          <p:spTgt spid="460"/>
                                        </p:tgtEl>
                                      </p:cBhvr>
                                      <p:by x="105000" y="105000"/>
                                    </p:animScale>
                                  </p:childTnLst>
                                </p:cTn>
                              </p:par>
                              <p:par>
                                <p:cTn id="489" presetID="26" presetClass="emph" presetSubtype="0" dur="2000" repeatCount="indefinite" fill="hold" grpId="0" nodeType="withEffect">
                                  <p:stCondLst>
                                    <p:cond delay="3000"/>
                                  </p:stCondLst>
                                  <p:childTnLst>
                                    <p:animEffect transition="out" filter="fade">
                                      <p:cBhvr>
                                        <p:cTn id="490" dur="2000" tmFilter="0, 0; .2, .5; .8, .5; 1, 0"/>
                                        <p:tgtEl>
                                          <p:spTgt spid="461"/>
                                        </p:tgtEl>
                                      </p:cBhvr>
                                    </p:animEffect>
                                    <p:animScale>
                                      <p:cBhvr>
                                        <p:cTn id="491" dur="1000" autoRev="1" fill="hold"/>
                                        <p:tgtEl>
                                          <p:spTgt spid="461"/>
                                        </p:tgtEl>
                                      </p:cBhvr>
                                      <p:by x="105000" y="105000"/>
                                    </p:animScale>
                                  </p:childTnLst>
                                </p:cTn>
                              </p:par>
                              <p:par>
                                <p:cTn id="492" presetID="26" presetClass="emph" presetSubtype="0" dur="2000" repeatCount="indefinite" fill="hold" grpId="0" nodeType="withEffect">
                                  <p:stCondLst>
                                    <p:cond delay="3000"/>
                                  </p:stCondLst>
                                  <p:childTnLst>
                                    <p:animEffect transition="out" filter="fade">
                                      <p:cBhvr>
                                        <p:cTn id="493" dur="2000" tmFilter="0, 0; .2, .5; .8, .5; 1, 0"/>
                                        <p:tgtEl>
                                          <p:spTgt spid="462"/>
                                        </p:tgtEl>
                                      </p:cBhvr>
                                    </p:animEffect>
                                    <p:animScale>
                                      <p:cBhvr>
                                        <p:cTn id="494" dur="1000" autoRev="1" fill="hold"/>
                                        <p:tgtEl>
                                          <p:spTgt spid="462"/>
                                        </p:tgtEl>
                                      </p:cBhvr>
                                      <p:by x="105000" y="105000"/>
                                    </p:animScale>
                                  </p:childTnLst>
                                </p:cTn>
                              </p:par>
                              <p:par>
                                <p:cTn id="495" presetID="26" presetClass="emph" presetSubtype="0" dur="2000" repeatCount="indefinite" fill="hold" grpId="0" nodeType="withEffect">
                                  <p:stCondLst>
                                    <p:cond delay="3000"/>
                                  </p:stCondLst>
                                  <p:childTnLst>
                                    <p:animEffect transition="out" filter="fade">
                                      <p:cBhvr>
                                        <p:cTn id="496" dur="2000" tmFilter="0, 0; .2, .5; .8, .5; 1, 0"/>
                                        <p:tgtEl>
                                          <p:spTgt spid="463"/>
                                        </p:tgtEl>
                                      </p:cBhvr>
                                    </p:animEffect>
                                    <p:animScale>
                                      <p:cBhvr>
                                        <p:cTn id="497" dur="1000" autoRev="1" fill="hold"/>
                                        <p:tgtEl>
                                          <p:spTgt spid="463"/>
                                        </p:tgtEl>
                                      </p:cBhvr>
                                      <p:by x="105000" y="105000"/>
                                    </p:animScale>
                                  </p:childTnLst>
                                </p:cTn>
                              </p:par>
                              <p:par>
                                <p:cTn id="498" presetID="26" presetClass="emph" presetSubtype="0" dur="2000" repeatCount="indefinite" fill="hold" grpId="0" nodeType="withEffect">
                                  <p:stCondLst>
                                    <p:cond delay="3000"/>
                                  </p:stCondLst>
                                  <p:childTnLst>
                                    <p:animEffect transition="out" filter="fade">
                                      <p:cBhvr>
                                        <p:cTn id="499" dur="2000" tmFilter="0, 0; .2, .5; .8, .5; 1, 0"/>
                                        <p:tgtEl>
                                          <p:spTgt spid="464"/>
                                        </p:tgtEl>
                                      </p:cBhvr>
                                    </p:animEffect>
                                    <p:animScale>
                                      <p:cBhvr>
                                        <p:cTn id="500" dur="1000" autoRev="1" fill="hold"/>
                                        <p:tgtEl>
                                          <p:spTgt spid="464"/>
                                        </p:tgtEl>
                                      </p:cBhvr>
                                      <p:by x="105000" y="105000"/>
                                    </p:animScale>
                                  </p:childTnLst>
                                </p:cTn>
                              </p:par>
                              <p:par>
                                <p:cTn id="501" presetID="26" presetClass="emph" presetSubtype="0" dur="2000" repeatCount="indefinite" fill="hold" grpId="0" nodeType="withEffect">
                                  <p:stCondLst>
                                    <p:cond delay="3000"/>
                                  </p:stCondLst>
                                  <p:childTnLst>
                                    <p:animEffect transition="out" filter="fade">
                                      <p:cBhvr>
                                        <p:cTn id="502" dur="2000" tmFilter="0, 0; .2, .5; .8, .5; 1, 0"/>
                                        <p:tgtEl>
                                          <p:spTgt spid="465"/>
                                        </p:tgtEl>
                                      </p:cBhvr>
                                    </p:animEffect>
                                    <p:animScale>
                                      <p:cBhvr>
                                        <p:cTn id="503" dur="1000" autoRev="1" fill="hold"/>
                                        <p:tgtEl>
                                          <p:spTgt spid="465"/>
                                        </p:tgtEl>
                                      </p:cBhvr>
                                      <p:by x="105000" y="105000"/>
                                    </p:animScale>
                                  </p:childTnLst>
                                </p:cTn>
                              </p:par>
                              <p:par>
                                <p:cTn id="504" presetID="26" presetClass="emph" presetSubtype="0" dur="2000" repeatCount="indefinite" fill="hold" grpId="0" nodeType="withEffect">
                                  <p:stCondLst>
                                    <p:cond delay="3250"/>
                                  </p:stCondLst>
                                  <p:childTnLst>
                                    <p:animEffect transition="out" filter="fade">
                                      <p:cBhvr>
                                        <p:cTn id="505" dur="2000" tmFilter="0, 0; .2, .5; .8, .5; 1, 0"/>
                                        <p:tgtEl>
                                          <p:spTgt spid="466"/>
                                        </p:tgtEl>
                                      </p:cBhvr>
                                    </p:animEffect>
                                    <p:animScale>
                                      <p:cBhvr>
                                        <p:cTn id="506" dur="1000" autoRev="1" fill="hold"/>
                                        <p:tgtEl>
                                          <p:spTgt spid="466"/>
                                        </p:tgtEl>
                                      </p:cBhvr>
                                      <p:by x="105000" y="105000"/>
                                    </p:animScale>
                                  </p:childTnLst>
                                </p:cTn>
                              </p:par>
                              <p:par>
                                <p:cTn id="507" presetID="26" presetClass="emph" presetSubtype="0" dur="2000" repeatCount="indefinite" fill="hold" grpId="0" nodeType="withEffect">
                                  <p:stCondLst>
                                    <p:cond delay="3250"/>
                                  </p:stCondLst>
                                  <p:childTnLst>
                                    <p:animEffect transition="out" filter="fade">
                                      <p:cBhvr>
                                        <p:cTn id="508" dur="2000" tmFilter="0, 0; .2, .5; .8, .5; 1, 0"/>
                                        <p:tgtEl>
                                          <p:spTgt spid="467"/>
                                        </p:tgtEl>
                                      </p:cBhvr>
                                    </p:animEffect>
                                    <p:animScale>
                                      <p:cBhvr>
                                        <p:cTn id="509" dur="1000" autoRev="1" fill="hold"/>
                                        <p:tgtEl>
                                          <p:spTgt spid="467"/>
                                        </p:tgtEl>
                                      </p:cBhvr>
                                      <p:by x="105000" y="105000"/>
                                    </p:animScale>
                                  </p:childTnLst>
                                </p:cTn>
                              </p:par>
                              <p:par>
                                <p:cTn id="510" presetID="26" presetClass="emph" presetSubtype="0" dur="2000" repeatCount="indefinite" fill="hold" grpId="0" nodeType="withEffect">
                                  <p:stCondLst>
                                    <p:cond delay="3250"/>
                                  </p:stCondLst>
                                  <p:childTnLst>
                                    <p:animEffect transition="out" filter="fade">
                                      <p:cBhvr>
                                        <p:cTn id="511" dur="2000" tmFilter="0, 0; .2, .5; .8, .5; 1, 0"/>
                                        <p:tgtEl>
                                          <p:spTgt spid="468"/>
                                        </p:tgtEl>
                                      </p:cBhvr>
                                    </p:animEffect>
                                    <p:animScale>
                                      <p:cBhvr>
                                        <p:cTn id="512" dur="1000" autoRev="1" fill="hold"/>
                                        <p:tgtEl>
                                          <p:spTgt spid="468"/>
                                        </p:tgtEl>
                                      </p:cBhvr>
                                      <p:by x="105000" y="105000"/>
                                    </p:animScale>
                                  </p:childTnLst>
                                </p:cTn>
                              </p:par>
                              <p:par>
                                <p:cTn id="513" presetID="26" presetClass="emph" presetSubtype="0" dur="2000" repeatCount="indefinite" fill="hold" grpId="0" nodeType="withEffect">
                                  <p:stCondLst>
                                    <p:cond delay="3250"/>
                                  </p:stCondLst>
                                  <p:childTnLst>
                                    <p:animEffect transition="out" filter="fade">
                                      <p:cBhvr>
                                        <p:cTn id="514" dur="2000" tmFilter="0, 0; .2, .5; .8, .5; 1, 0"/>
                                        <p:tgtEl>
                                          <p:spTgt spid="469"/>
                                        </p:tgtEl>
                                      </p:cBhvr>
                                    </p:animEffect>
                                    <p:animScale>
                                      <p:cBhvr>
                                        <p:cTn id="515" dur="1000" autoRev="1" fill="hold"/>
                                        <p:tgtEl>
                                          <p:spTgt spid="469"/>
                                        </p:tgtEl>
                                      </p:cBhvr>
                                      <p:by x="105000" y="105000"/>
                                    </p:animScale>
                                  </p:childTnLst>
                                </p:cTn>
                              </p:par>
                              <p:par>
                                <p:cTn id="516" presetID="26" presetClass="emph" presetSubtype="0" dur="2000" repeatCount="indefinite" fill="hold" grpId="0" nodeType="withEffect">
                                  <p:stCondLst>
                                    <p:cond delay="3250"/>
                                  </p:stCondLst>
                                  <p:childTnLst>
                                    <p:animEffect transition="out" filter="fade">
                                      <p:cBhvr>
                                        <p:cTn id="517" dur="2000" tmFilter="0, 0; .2, .5; .8, .5; 1, 0"/>
                                        <p:tgtEl>
                                          <p:spTgt spid="470"/>
                                        </p:tgtEl>
                                      </p:cBhvr>
                                    </p:animEffect>
                                    <p:animScale>
                                      <p:cBhvr>
                                        <p:cTn id="518" dur="1000" autoRev="1" fill="hold"/>
                                        <p:tgtEl>
                                          <p:spTgt spid="470"/>
                                        </p:tgtEl>
                                      </p:cBhvr>
                                      <p:by x="105000" y="105000"/>
                                    </p:animScale>
                                  </p:childTnLst>
                                </p:cTn>
                              </p:par>
                              <p:par>
                                <p:cTn id="519" presetID="26" presetClass="emph" presetSubtype="0" dur="2000" repeatCount="indefinite" fill="hold" grpId="0" nodeType="withEffect">
                                  <p:stCondLst>
                                    <p:cond delay="3250"/>
                                  </p:stCondLst>
                                  <p:childTnLst>
                                    <p:animEffect transition="out" filter="fade">
                                      <p:cBhvr>
                                        <p:cTn id="520" dur="2000" tmFilter="0, 0; .2, .5; .8, .5; 1, 0"/>
                                        <p:tgtEl>
                                          <p:spTgt spid="471"/>
                                        </p:tgtEl>
                                      </p:cBhvr>
                                    </p:animEffect>
                                    <p:animScale>
                                      <p:cBhvr>
                                        <p:cTn id="521" dur="1000" autoRev="1" fill="hold"/>
                                        <p:tgtEl>
                                          <p:spTgt spid="471"/>
                                        </p:tgtEl>
                                      </p:cBhvr>
                                      <p:by x="105000" y="105000"/>
                                    </p:animScale>
                                  </p:childTnLst>
                                </p:cTn>
                              </p:par>
                              <p:par>
                                <p:cTn id="522" presetID="26" presetClass="emph" presetSubtype="0" dur="2000" repeatCount="indefinite" fill="hold" grpId="0" nodeType="withEffect">
                                  <p:stCondLst>
                                    <p:cond delay="3250"/>
                                  </p:stCondLst>
                                  <p:childTnLst>
                                    <p:animEffect transition="out" filter="fade">
                                      <p:cBhvr>
                                        <p:cTn id="523" dur="2000" tmFilter="0, 0; .2, .5; .8, .5; 1, 0"/>
                                        <p:tgtEl>
                                          <p:spTgt spid="472"/>
                                        </p:tgtEl>
                                      </p:cBhvr>
                                    </p:animEffect>
                                    <p:animScale>
                                      <p:cBhvr>
                                        <p:cTn id="524" dur="1000" autoRev="1" fill="hold"/>
                                        <p:tgtEl>
                                          <p:spTgt spid="472"/>
                                        </p:tgtEl>
                                      </p:cBhvr>
                                      <p:by x="105000" y="105000"/>
                                    </p:animScale>
                                  </p:childTnLst>
                                </p:cTn>
                              </p:par>
                              <p:par>
                                <p:cTn id="525" presetID="26" presetClass="emph" presetSubtype="0" dur="2000" repeatCount="indefinite" fill="hold" grpId="0" nodeType="withEffect">
                                  <p:stCondLst>
                                    <p:cond delay="3250"/>
                                  </p:stCondLst>
                                  <p:childTnLst>
                                    <p:animEffect transition="out" filter="fade">
                                      <p:cBhvr>
                                        <p:cTn id="526" dur="2000" tmFilter="0, 0; .2, .5; .8, .5; 1, 0"/>
                                        <p:tgtEl>
                                          <p:spTgt spid="473"/>
                                        </p:tgtEl>
                                      </p:cBhvr>
                                    </p:animEffect>
                                    <p:animScale>
                                      <p:cBhvr>
                                        <p:cTn id="527" dur="1000" autoRev="1" fill="hold"/>
                                        <p:tgtEl>
                                          <p:spTgt spid="473"/>
                                        </p:tgtEl>
                                      </p:cBhvr>
                                      <p:by x="105000" y="105000"/>
                                    </p:animScale>
                                  </p:childTnLst>
                                </p:cTn>
                              </p:par>
                              <p:par>
                                <p:cTn id="528" presetID="26" presetClass="emph" presetSubtype="0" dur="2000" repeatCount="indefinite" fill="hold" grpId="0" nodeType="withEffect">
                                  <p:stCondLst>
                                    <p:cond delay="3250"/>
                                  </p:stCondLst>
                                  <p:childTnLst>
                                    <p:animEffect transition="out" filter="fade">
                                      <p:cBhvr>
                                        <p:cTn id="529" dur="2000" tmFilter="0, 0; .2, .5; .8, .5; 1, 0"/>
                                        <p:tgtEl>
                                          <p:spTgt spid="474"/>
                                        </p:tgtEl>
                                      </p:cBhvr>
                                    </p:animEffect>
                                    <p:animScale>
                                      <p:cBhvr>
                                        <p:cTn id="530" dur="1000" autoRev="1" fill="hold"/>
                                        <p:tgtEl>
                                          <p:spTgt spid="474"/>
                                        </p:tgtEl>
                                      </p:cBhvr>
                                      <p:by x="105000" y="105000"/>
                                    </p:animScale>
                                  </p:childTnLst>
                                </p:cTn>
                              </p:par>
                              <p:par>
                                <p:cTn id="531" presetID="26" presetClass="emph" presetSubtype="0" dur="2000" repeatCount="indefinite" fill="hold" grpId="0" nodeType="withEffect">
                                  <p:stCondLst>
                                    <p:cond delay="3250"/>
                                  </p:stCondLst>
                                  <p:childTnLst>
                                    <p:animEffect transition="out" filter="fade">
                                      <p:cBhvr>
                                        <p:cTn id="532" dur="2000" tmFilter="0, 0; .2, .5; .8, .5; 1, 0"/>
                                        <p:tgtEl>
                                          <p:spTgt spid="475"/>
                                        </p:tgtEl>
                                      </p:cBhvr>
                                    </p:animEffect>
                                    <p:animScale>
                                      <p:cBhvr>
                                        <p:cTn id="533" dur="1000" autoRev="1" fill="hold"/>
                                        <p:tgtEl>
                                          <p:spTgt spid="475"/>
                                        </p:tgtEl>
                                      </p:cBhvr>
                                      <p:by x="105000" y="105000"/>
                                    </p:animScale>
                                  </p:childTnLst>
                                </p:cTn>
                              </p:par>
                              <p:par>
                                <p:cTn id="534" presetID="26" presetClass="emph" presetSubtype="0" dur="2000" repeatCount="indefinite" fill="hold" grpId="0" nodeType="withEffect">
                                  <p:stCondLst>
                                    <p:cond delay="3250"/>
                                  </p:stCondLst>
                                  <p:childTnLst>
                                    <p:animEffect transition="out" filter="fade">
                                      <p:cBhvr>
                                        <p:cTn id="535" dur="2000" tmFilter="0, 0; .2, .5; .8, .5; 1, 0"/>
                                        <p:tgtEl>
                                          <p:spTgt spid="476"/>
                                        </p:tgtEl>
                                      </p:cBhvr>
                                    </p:animEffect>
                                    <p:animScale>
                                      <p:cBhvr>
                                        <p:cTn id="536" dur="1000" autoRev="1" fill="hold"/>
                                        <p:tgtEl>
                                          <p:spTgt spid="476"/>
                                        </p:tgtEl>
                                      </p:cBhvr>
                                      <p:by x="105000" y="105000"/>
                                    </p:animScale>
                                  </p:childTnLst>
                                </p:cTn>
                              </p:par>
                              <p:par>
                                <p:cTn id="537" presetID="26" presetClass="emph" presetSubtype="0" dur="2000" repeatCount="indefinite" fill="hold" grpId="0" nodeType="withEffect">
                                  <p:stCondLst>
                                    <p:cond delay="3250"/>
                                  </p:stCondLst>
                                  <p:childTnLst>
                                    <p:animEffect transition="out" filter="fade">
                                      <p:cBhvr>
                                        <p:cTn id="538" dur="2000" tmFilter="0, 0; .2, .5; .8, .5; 1, 0"/>
                                        <p:tgtEl>
                                          <p:spTgt spid="477"/>
                                        </p:tgtEl>
                                      </p:cBhvr>
                                    </p:animEffect>
                                    <p:animScale>
                                      <p:cBhvr>
                                        <p:cTn id="539" dur="1000" autoRev="1" fill="hold"/>
                                        <p:tgtEl>
                                          <p:spTgt spid="477"/>
                                        </p:tgtEl>
                                      </p:cBhvr>
                                      <p:by x="105000" y="105000"/>
                                    </p:animScale>
                                  </p:childTnLst>
                                </p:cTn>
                              </p:par>
                              <p:par>
                                <p:cTn id="540" presetID="26" presetClass="emph" presetSubtype="0" dur="2000" repeatCount="indefinite" fill="hold" grpId="0" nodeType="withEffect">
                                  <p:stCondLst>
                                    <p:cond delay="3250"/>
                                  </p:stCondLst>
                                  <p:childTnLst>
                                    <p:animEffect transition="out" filter="fade">
                                      <p:cBhvr>
                                        <p:cTn id="541" dur="2000" tmFilter="0, 0; .2, .5; .8, .5; 1, 0"/>
                                        <p:tgtEl>
                                          <p:spTgt spid="478"/>
                                        </p:tgtEl>
                                      </p:cBhvr>
                                    </p:animEffect>
                                    <p:animScale>
                                      <p:cBhvr>
                                        <p:cTn id="542" dur="1000" autoRev="1" fill="hold"/>
                                        <p:tgtEl>
                                          <p:spTgt spid="478"/>
                                        </p:tgtEl>
                                      </p:cBhvr>
                                      <p:by x="105000" y="105000"/>
                                    </p:animScale>
                                  </p:childTnLst>
                                </p:cTn>
                              </p:par>
                              <p:par>
                                <p:cTn id="543" presetID="26" presetClass="emph" presetSubtype="0" dur="2000" repeatCount="indefinite" fill="hold" grpId="0" nodeType="withEffect">
                                  <p:stCondLst>
                                    <p:cond delay="3250"/>
                                  </p:stCondLst>
                                  <p:childTnLst>
                                    <p:animEffect transition="out" filter="fade">
                                      <p:cBhvr>
                                        <p:cTn id="544" dur="2000" tmFilter="0, 0; .2, .5; .8, .5; 1, 0"/>
                                        <p:tgtEl>
                                          <p:spTgt spid="479"/>
                                        </p:tgtEl>
                                      </p:cBhvr>
                                    </p:animEffect>
                                    <p:animScale>
                                      <p:cBhvr>
                                        <p:cTn id="545" dur="1000" autoRev="1" fill="hold"/>
                                        <p:tgtEl>
                                          <p:spTgt spid="479"/>
                                        </p:tgtEl>
                                      </p:cBhvr>
                                      <p:by x="105000" y="105000"/>
                                    </p:animScale>
                                  </p:childTnLst>
                                </p:cTn>
                              </p:par>
                              <p:par>
                                <p:cTn id="546" presetID="26" presetClass="emph" presetSubtype="0" dur="2000" repeatCount="indefinite" fill="hold" grpId="0" nodeType="withEffect">
                                  <p:stCondLst>
                                    <p:cond delay="3500"/>
                                  </p:stCondLst>
                                  <p:childTnLst>
                                    <p:animEffect transition="out" filter="fade">
                                      <p:cBhvr>
                                        <p:cTn id="547" dur="2000" tmFilter="0, 0; .2, .5; .8, .5; 1, 0"/>
                                        <p:tgtEl>
                                          <p:spTgt spid="480"/>
                                        </p:tgtEl>
                                      </p:cBhvr>
                                    </p:animEffect>
                                    <p:animScale>
                                      <p:cBhvr>
                                        <p:cTn id="548" dur="1000" autoRev="1" fill="hold"/>
                                        <p:tgtEl>
                                          <p:spTgt spid="480"/>
                                        </p:tgtEl>
                                      </p:cBhvr>
                                      <p:by x="105000" y="105000"/>
                                    </p:animScale>
                                  </p:childTnLst>
                                </p:cTn>
                              </p:par>
                              <p:par>
                                <p:cTn id="549" presetID="26" presetClass="emph" presetSubtype="0" dur="2000" repeatCount="indefinite" fill="hold" grpId="0" nodeType="withEffect">
                                  <p:stCondLst>
                                    <p:cond delay="3500"/>
                                  </p:stCondLst>
                                  <p:childTnLst>
                                    <p:animEffect transition="out" filter="fade">
                                      <p:cBhvr>
                                        <p:cTn id="550" dur="2000" tmFilter="0, 0; .2, .5; .8, .5; 1, 0"/>
                                        <p:tgtEl>
                                          <p:spTgt spid="481"/>
                                        </p:tgtEl>
                                      </p:cBhvr>
                                    </p:animEffect>
                                    <p:animScale>
                                      <p:cBhvr>
                                        <p:cTn id="551" dur="1000" autoRev="1" fill="hold"/>
                                        <p:tgtEl>
                                          <p:spTgt spid="481"/>
                                        </p:tgtEl>
                                      </p:cBhvr>
                                      <p:by x="105000" y="105000"/>
                                    </p:animScale>
                                  </p:childTnLst>
                                </p:cTn>
                              </p:par>
                              <p:par>
                                <p:cTn id="552" presetID="26" presetClass="emph" presetSubtype="0" dur="2000" repeatCount="indefinite" fill="hold" grpId="0" nodeType="withEffect">
                                  <p:stCondLst>
                                    <p:cond delay="3500"/>
                                  </p:stCondLst>
                                  <p:childTnLst>
                                    <p:animEffect transition="out" filter="fade">
                                      <p:cBhvr>
                                        <p:cTn id="553" dur="2000" tmFilter="0, 0; .2, .5; .8, .5; 1, 0"/>
                                        <p:tgtEl>
                                          <p:spTgt spid="482"/>
                                        </p:tgtEl>
                                      </p:cBhvr>
                                    </p:animEffect>
                                    <p:animScale>
                                      <p:cBhvr>
                                        <p:cTn id="554" dur="1000" autoRev="1" fill="hold"/>
                                        <p:tgtEl>
                                          <p:spTgt spid="482"/>
                                        </p:tgtEl>
                                      </p:cBhvr>
                                      <p:by x="105000" y="105000"/>
                                    </p:animScale>
                                  </p:childTnLst>
                                </p:cTn>
                              </p:par>
                              <p:par>
                                <p:cTn id="555" presetID="26" presetClass="emph" presetSubtype="0" dur="2000" repeatCount="indefinite" fill="hold" grpId="0" nodeType="withEffect">
                                  <p:stCondLst>
                                    <p:cond delay="3500"/>
                                  </p:stCondLst>
                                  <p:childTnLst>
                                    <p:animEffect transition="out" filter="fade">
                                      <p:cBhvr>
                                        <p:cTn id="556" dur="2000" tmFilter="0, 0; .2, .5; .8, .5; 1, 0"/>
                                        <p:tgtEl>
                                          <p:spTgt spid="483"/>
                                        </p:tgtEl>
                                      </p:cBhvr>
                                    </p:animEffect>
                                    <p:animScale>
                                      <p:cBhvr>
                                        <p:cTn id="557" dur="1000" autoRev="1" fill="hold"/>
                                        <p:tgtEl>
                                          <p:spTgt spid="483"/>
                                        </p:tgtEl>
                                      </p:cBhvr>
                                      <p:by x="105000" y="105000"/>
                                    </p:animScale>
                                  </p:childTnLst>
                                </p:cTn>
                              </p:par>
                              <p:par>
                                <p:cTn id="558" presetID="26" presetClass="emph" presetSubtype="0" dur="2000" repeatCount="indefinite" fill="hold" grpId="0" nodeType="withEffect">
                                  <p:stCondLst>
                                    <p:cond delay="3500"/>
                                  </p:stCondLst>
                                  <p:childTnLst>
                                    <p:animEffect transition="out" filter="fade">
                                      <p:cBhvr>
                                        <p:cTn id="559" dur="2000" tmFilter="0, 0; .2, .5; .8, .5; 1, 0"/>
                                        <p:tgtEl>
                                          <p:spTgt spid="484"/>
                                        </p:tgtEl>
                                      </p:cBhvr>
                                    </p:animEffect>
                                    <p:animScale>
                                      <p:cBhvr>
                                        <p:cTn id="560" dur="1000" autoRev="1" fill="hold"/>
                                        <p:tgtEl>
                                          <p:spTgt spid="484"/>
                                        </p:tgtEl>
                                      </p:cBhvr>
                                      <p:by x="105000" y="105000"/>
                                    </p:animScale>
                                  </p:childTnLst>
                                </p:cTn>
                              </p:par>
                              <p:par>
                                <p:cTn id="561" presetID="26" presetClass="emph" presetSubtype="0" dur="2000" repeatCount="indefinite" fill="hold" grpId="0" nodeType="withEffect">
                                  <p:stCondLst>
                                    <p:cond delay="3500"/>
                                  </p:stCondLst>
                                  <p:childTnLst>
                                    <p:animEffect transition="out" filter="fade">
                                      <p:cBhvr>
                                        <p:cTn id="562" dur="2000" tmFilter="0, 0; .2, .5; .8, .5; 1, 0"/>
                                        <p:tgtEl>
                                          <p:spTgt spid="485"/>
                                        </p:tgtEl>
                                      </p:cBhvr>
                                    </p:animEffect>
                                    <p:animScale>
                                      <p:cBhvr>
                                        <p:cTn id="563" dur="1000" autoRev="1" fill="hold"/>
                                        <p:tgtEl>
                                          <p:spTgt spid="485"/>
                                        </p:tgtEl>
                                      </p:cBhvr>
                                      <p:by x="105000" y="105000"/>
                                    </p:animScale>
                                  </p:childTnLst>
                                </p:cTn>
                              </p:par>
                              <p:par>
                                <p:cTn id="564" presetID="26" presetClass="emph" presetSubtype="0" dur="2000" repeatCount="indefinite" fill="hold" grpId="0" nodeType="withEffect">
                                  <p:stCondLst>
                                    <p:cond delay="3500"/>
                                  </p:stCondLst>
                                  <p:childTnLst>
                                    <p:animEffect transition="out" filter="fade">
                                      <p:cBhvr>
                                        <p:cTn id="565" dur="2000" tmFilter="0, 0; .2, .5; .8, .5; 1, 0"/>
                                        <p:tgtEl>
                                          <p:spTgt spid="486"/>
                                        </p:tgtEl>
                                      </p:cBhvr>
                                    </p:animEffect>
                                    <p:animScale>
                                      <p:cBhvr>
                                        <p:cTn id="566" dur="1000" autoRev="1" fill="hold"/>
                                        <p:tgtEl>
                                          <p:spTgt spid="486"/>
                                        </p:tgtEl>
                                      </p:cBhvr>
                                      <p:by x="105000" y="105000"/>
                                    </p:animScale>
                                  </p:childTnLst>
                                </p:cTn>
                              </p:par>
                              <p:par>
                                <p:cTn id="567" presetID="26" presetClass="emph" presetSubtype="0" dur="2000" repeatCount="indefinite" fill="hold" grpId="0" nodeType="withEffect">
                                  <p:stCondLst>
                                    <p:cond delay="3500"/>
                                  </p:stCondLst>
                                  <p:childTnLst>
                                    <p:animEffect transition="out" filter="fade">
                                      <p:cBhvr>
                                        <p:cTn id="568" dur="2000" tmFilter="0, 0; .2, .5; .8, .5; 1, 0"/>
                                        <p:tgtEl>
                                          <p:spTgt spid="487"/>
                                        </p:tgtEl>
                                      </p:cBhvr>
                                    </p:animEffect>
                                    <p:animScale>
                                      <p:cBhvr>
                                        <p:cTn id="569" dur="1000" autoRev="1" fill="hold"/>
                                        <p:tgtEl>
                                          <p:spTgt spid="487"/>
                                        </p:tgtEl>
                                      </p:cBhvr>
                                      <p:by x="105000" y="105000"/>
                                    </p:animScale>
                                  </p:childTnLst>
                                </p:cTn>
                              </p:par>
                              <p:par>
                                <p:cTn id="570" presetID="26" presetClass="emph" presetSubtype="0" dur="2000" repeatCount="indefinite" fill="hold" grpId="0" nodeType="withEffect">
                                  <p:stCondLst>
                                    <p:cond delay="3500"/>
                                  </p:stCondLst>
                                  <p:childTnLst>
                                    <p:animEffect transition="out" filter="fade">
                                      <p:cBhvr>
                                        <p:cTn id="571" dur="2000" tmFilter="0, 0; .2, .5; .8, .5; 1, 0"/>
                                        <p:tgtEl>
                                          <p:spTgt spid="488"/>
                                        </p:tgtEl>
                                      </p:cBhvr>
                                    </p:animEffect>
                                    <p:animScale>
                                      <p:cBhvr>
                                        <p:cTn id="572" dur="1000" autoRev="1" fill="hold"/>
                                        <p:tgtEl>
                                          <p:spTgt spid="488"/>
                                        </p:tgtEl>
                                      </p:cBhvr>
                                      <p:by x="105000" y="105000"/>
                                    </p:animScale>
                                  </p:childTnLst>
                                </p:cTn>
                              </p:par>
                              <p:par>
                                <p:cTn id="573" presetID="26" presetClass="emph" presetSubtype="0" dur="2000" repeatCount="indefinite" fill="hold" grpId="0" nodeType="withEffect">
                                  <p:stCondLst>
                                    <p:cond delay="3500"/>
                                  </p:stCondLst>
                                  <p:childTnLst>
                                    <p:animEffect transition="out" filter="fade">
                                      <p:cBhvr>
                                        <p:cTn id="574" dur="2000" tmFilter="0, 0; .2, .5; .8, .5; 1, 0"/>
                                        <p:tgtEl>
                                          <p:spTgt spid="489"/>
                                        </p:tgtEl>
                                      </p:cBhvr>
                                    </p:animEffect>
                                    <p:animScale>
                                      <p:cBhvr>
                                        <p:cTn id="575" dur="1000" autoRev="1" fill="hold"/>
                                        <p:tgtEl>
                                          <p:spTgt spid="489"/>
                                        </p:tgtEl>
                                      </p:cBhvr>
                                      <p:by x="105000" y="105000"/>
                                    </p:animScale>
                                  </p:childTnLst>
                                </p:cTn>
                              </p:par>
                              <p:par>
                                <p:cTn id="576" presetID="26" presetClass="emph" presetSubtype="0" dur="2000" repeatCount="indefinite" fill="hold" grpId="0" nodeType="withEffect">
                                  <p:stCondLst>
                                    <p:cond delay="3500"/>
                                  </p:stCondLst>
                                  <p:childTnLst>
                                    <p:animEffect transition="out" filter="fade">
                                      <p:cBhvr>
                                        <p:cTn id="577" dur="2000" tmFilter="0, 0; .2, .5; .8, .5; 1, 0"/>
                                        <p:tgtEl>
                                          <p:spTgt spid="490"/>
                                        </p:tgtEl>
                                      </p:cBhvr>
                                    </p:animEffect>
                                    <p:animScale>
                                      <p:cBhvr>
                                        <p:cTn id="578" dur="1000" autoRev="1" fill="hold"/>
                                        <p:tgtEl>
                                          <p:spTgt spid="490"/>
                                        </p:tgtEl>
                                      </p:cBhvr>
                                      <p:by x="105000" y="105000"/>
                                    </p:animScale>
                                  </p:childTnLst>
                                </p:cTn>
                              </p:par>
                              <p:par>
                                <p:cTn id="579" presetID="26" presetClass="emph" presetSubtype="0" dur="2000" repeatCount="indefinite" fill="hold" grpId="0" nodeType="withEffect">
                                  <p:stCondLst>
                                    <p:cond delay="3500"/>
                                  </p:stCondLst>
                                  <p:childTnLst>
                                    <p:animEffect transition="out" filter="fade">
                                      <p:cBhvr>
                                        <p:cTn id="580" dur="2000" tmFilter="0, 0; .2, .5; .8, .5; 1, 0"/>
                                        <p:tgtEl>
                                          <p:spTgt spid="491"/>
                                        </p:tgtEl>
                                      </p:cBhvr>
                                    </p:animEffect>
                                    <p:animScale>
                                      <p:cBhvr>
                                        <p:cTn id="581" dur="1000" autoRev="1" fill="hold"/>
                                        <p:tgtEl>
                                          <p:spTgt spid="491"/>
                                        </p:tgtEl>
                                      </p:cBhvr>
                                      <p:by x="105000" y="105000"/>
                                    </p:animScale>
                                  </p:childTnLst>
                                </p:cTn>
                              </p:par>
                              <p:par>
                                <p:cTn id="582" presetID="26" presetClass="emph" presetSubtype="0" dur="2000" repeatCount="indefinite" fill="hold" grpId="0" nodeType="withEffect">
                                  <p:stCondLst>
                                    <p:cond delay="3500"/>
                                  </p:stCondLst>
                                  <p:childTnLst>
                                    <p:animEffect transition="out" filter="fade">
                                      <p:cBhvr>
                                        <p:cTn id="583" dur="2000" tmFilter="0, 0; .2, .5; .8, .5; 1, 0"/>
                                        <p:tgtEl>
                                          <p:spTgt spid="492"/>
                                        </p:tgtEl>
                                      </p:cBhvr>
                                    </p:animEffect>
                                    <p:animScale>
                                      <p:cBhvr>
                                        <p:cTn id="584" dur="1000" autoRev="1" fill="hold"/>
                                        <p:tgtEl>
                                          <p:spTgt spid="492"/>
                                        </p:tgtEl>
                                      </p:cBhvr>
                                      <p:by x="105000" y="105000"/>
                                    </p:animScale>
                                  </p:childTnLst>
                                </p:cTn>
                              </p:par>
                              <p:par>
                                <p:cTn id="585" presetID="26" presetClass="emph" presetSubtype="0" dur="2000" repeatCount="indefinite" fill="hold" grpId="0" nodeType="withEffect">
                                  <p:stCondLst>
                                    <p:cond delay="3500"/>
                                  </p:stCondLst>
                                  <p:childTnLst>
                                    <p:animEffect transition="out" filter="fade">
                                      <p:cBhvr>
                                        <p:cTn id="586" dur="2000" tmFilter="0, 0; .2, .5; .8, .5; 1, 0"/>
                                        <p:tgtEl>
                                          <p:spTgt spid="493"/>
                                        </p:tgtEl>
                                      </p:cBhvr>
                                    </p:animEffect>
                                    <p:animScale>
                                      <p:cBhvr>
                                        <p:cTn id="587" dur="1000" autoRev="1" fill="hold"/>
                                        <p:tgtEl>
                                          <p:spTgt spid="493"/>
                                        </p:tgtEl>
                                      </p:cBhvr>
                                      <p:by x="105000" y="105000"/>
                                    </p:animScale>
                                  </p:childTnLst>
                                </p:cTn>
                              </p:par>
                              <p:par>
                                <p:cTn id="588" presetID="26" presetClass="emph" presetSubtype="0" dur="2000" repeatCount="indefinite" fill="hold" grpId="0" nodeType="withEffect">
                                  <p:stCondLst>
                                    <p:cond delay="3750"/>
                                  </p:stCondLst>
                                  <p:childTnLst>
                                    <p:animEffect transition="out" filter="fade">
                                      <p:cBhvr>
                                        <p:cTn id="589" dur="2000" tmFilter="0, 0; .2, .5; .8, .5; 1, 0"/>
                                        <p:tgtEl>
                                          <p:spTgt spid="297"/>
                                        </p:tgtEl>
                                      </p:cBhvr>
                                    </p:animEffect>
                                    <p:animScale>
                                      <p:cBhvr>
                                        <p:cTn id="590" dur="1000" autoRev="1" fill="hold"/>
                                        <p:tgtEl>
                                          <p:spTgt spid="297"/>
                                        </p:tgtEl>
                                      </p:cBhvr>
                                      <p:by x="105000" y="105000"/>
                                    </p:animScale>
                                  </p:childTnLst>
                                </p:cTn>
                              </p:par>
                              <p:par>
                                <p:cTn id="591" presetID="26" presetClass="emph" presetSubtype="0" dur="2000" repeatCount="indefinite" fill="hold" grpId="0" nodeType="withEffect">
                                  <p:stCondLst>
                                    <p:cond delay="3750"/>
                                  </p:stCondLst>
                                  <p:childTnLst>
                                    <p:animEffect transition="out" filter="fade">
                                      <p:cBhvr>
                                        <p:cTn id="592" dur="2000" tmFilter="0, 0; .2, .5; .8, .5; 1, 0"/>
                                        <p:tgtEl>
                                          <p:spTgt spid="298"/>
                                        </p:tgtEl>
                                      </p:cBhvr>
                                    </p:animEffect>
                                    <p:animScale>
                                      <p:cBhvr>
                                        <p:cTn id="593" dur="1000" autoRev="1" fill="hold"/>
                                        <p:tgtEl>
                                          <p:spTgt spid="298"/>
                                        </p:tgtEl>
                                      </p:cBhvr>
                                      <p:by x="105000" y="105000"/>
                                    </p:animScale>
                                  </p:childTnLst>
                                </p:cTn>
                              </p:par>
                              <p:par>
                                <p:cTn id="594" presetID="26" presetClass="emph" presetSubtype="0" dur="2000" repeatCount="indefinite" fill="hold" grpId="0" nodeType="withEffect">
                                  <p:stCondLst>
                                    <p:cond delay="3750"/>
                                  </p:stCondLst>
                                  <p:childTnLst>
                                    <p:animEffect transition="out" filter="fade">
                                      <p:cBhvr>
                                        <p:cTn id="595" dur="2000" tmFilter="0, 0; .2, .5; .8, .5; 1, 0"/>
                                        <p:tgtEl>
                                          <p:spTgt spid="299"/>
                                        </p:tgtEl>
                                      </p:cBhvr>
                                    </p:animEffect>
                                    <p:animScale>
                                      <p:cBhvr>
                                        <p:cTn id="596" dur="1000" autoRev="1" fill="hold"/>
                                        <p:tgtEl>
                                          <p:spTgt spid="299"/>
                                        </p:tgtEl>
                                      </p:cBhvr>
                                      <p:by x="105000" y="105000"/>
                                    </p:animScale>
                                  </p:childTnLst>
                                </p:cTn>
                              </p:par>
                              <p:par>
                                <p:cTn id="597" presetID="26" presetClass="emph" presetSubtype="0" dur="2000" repeatCount="indefinite" fill="hold" grpId="0" nodeType="withEffect">
                                  <p:stCondLst>
                                    <p:cond delay="3750"/>
                                  </p:stCondLst>
                                  <p:childTnLst>
                                    <p:animEffect transition="out" filter="fade">
                                      <p:cBhvr>
                                        <p:cTn id="598" dur="2000" tmFilter="0, 0; .2, .5; .8, .5; 1, 0"/>
                                        <p:tgtEl>
                                          <p:spTgt spid="300"/>
                                        </p:tgtEl>
                                      </p:cBhvr>
                                    </p:animEffect>
                                    <p:animScale>
                                      <p:cBhvr>
                                        <p:cTn id="599" dur="1000" autoRev="1" fill="hold"/>
                                        <p:tgtEl>
                                          <p:spTgt spid="300"/>
                                        </p:tgtEl>
                                      </p:cBhvr>
                                      <p:by x="105000" y="105000"/>
                                    </p:animScale>
                                  </p:childTnLst>
                                </p:cTn>
                              </p:par>
                              <p:par>
                                <p:cTn id="600" presetID="26" presetClass="emph" presetSubtype="0" dur="2000" repeatCount="indefinite" fill="hold" grpId="0" nodeType="withEffect">
                                  <p:stCondLst>
                                    <p:cond delay="3750"/>
                                  </p:stCondLst>
                                  <p:childTnLst>
                                    <p:animEffect transition="out" filter="fade">
                                      <p:cBhvr>
                                        <p:cTn id="601" dur="2000" tmFilter="0, 0; .2, .5; .8, .5; 1, 0"/>
                                        <p:tgtEl>
                                          <p:spTgt spid="301"/>
                                        </p:tgtEl>
                                      </p:cBhvr>
                                    </p:animEffect>
                                    <p:animScale>
                                      <p:cBhvr>
                                        <p:cTn id="602" dur="1000" autoRev="1" fill="hold"/>
                                        <p:tgtEl>
                                          <p:spTgt spid="301"/>
                                        </p:tgtEl>
                                      </p:cBhvr>
                                      <p:by x="105000" y="105000"/>
                                    </p:animScale>
                                  </p:childTnLst>
                                </p:cTn>
                              </p:par>
                              <p:par>
                                <p:cTn id="603" presetID="26" presetClass="emph" presetSubtype="0" dur="2000" repeatCount="indefinite" fill="hold" grpId="0" nodeType="withEffect">
                                  <p:stCondLst>
                                    <p:cond delay="3750"/>
                                  </p:stCondLst>
                                  <p:childTnLst>
                                    <p:animEffect transition="out" filter="fade">
                                      <p:cBhvr>
                                        <p:cTn id="604" dur="2000" tmFilter="0, 0; .2, .5; .8, .5; 1, 0"/>
                                        <p:tgtEl>
                                          <p:spTgt spid="302"/>
                                        </p:tgtEl>
                                      </p:cBhvr>
                                    </p:animEffect>
                                    <p:animScale>
                                      <p:cBhvr>
                                        <p:cTn id="605" dur="1000" autoRev="1" fill="hold"/>
                                        <p:tgtEl>
                                          <p:spTgt spid="302"/>
                                        </p:tgtEl>
                                      </p:cBhvr>
                                      <p:by x="105000" y="105000"/>
                                    </p:animScale>
                                  </p:childTnLst>
                                </p:cTn>
                              </p:par>
                              <p:par>
                                <p:cTn id="606" presetID="26" presetClass="emph" presetSubtype="0" dur="2000" repeatCount="indefinite" fill="hold" grpId="0" nodeType="withEffect">
                                  <p:stCondLst>
                                    <p:cond delay="3750"/>
                                  </p:stCondLst>
                                  <p:childTnLst>
                                    <p:animEffect transition="out" filter="fade">
                                      <p:cBhvr>
                                        <p:cTn id="607" dur="2000" tmFilter="0, 0; .2, .5; .8, .5; 1, 0"/>
                                        <p:tgtEl>
                                          <p:spTgt spid="303"/>
                                        </p:tgtEl>
                                      </p:cBhvr>
                                    </p:animEffect>
                                    <p:animScale>
                                      <p:cBhvr>
                                        <p:cTn id="608" dur="1000" autoRev="1" fill="hold"/>
                                        <p:tgtEl>
                                          <p:spTgt spid="303"/>
                                        </p:tgtEl>
                                      </p:cBhvr>
                                      <p:by x="105000" y="105000"/>
                                    </p:animScale>
                                  </p:childTnLst>
                                </p:cTn>
                              </p:par>
                              <p:par>
                                <p:cTn id="609" presetID="26" presetClass="emph" presetSubtype="0" dur="2000" repeatCount="indefinite" fill="hold" grpId="0" nodeType="withEffect">
                                  <p:stCondLst>
                                    <p:cond delay="3750"/>
                                  </p:stCondLst>
                                  <p:childTnLst>
                                    <p:animEffect transition="out" filter="fade">
                                      <p:cBhvr>
                                        <p:cTn id="610" dur="2000" tmFilter="0, 0; .2, .5; .8, .5; 1, 0"/>
                                        <p:tgtEl>
                                          <p:spTgt spid="304"/>
                                        </p:tgtEl>
                                      </p:cBhvr>
                                    </p:animEffect>
                                    <p:animScale>
                                      <p:cBhvr>
                                        <p:cTn id="611" dur="1000" autoRev="1" fill="hold"/>
                                        <p:tgtEl>
                                          <p:spTgt spid="304"/>
                                        </p:tgtEl>
                                      </p:cBhvr>
                                      <p:by x="105000" y="105000"/>
                                    </p:animScale>
                                  </p:childTnLst>
                                </p:cTn>
                              </p:par>
                              <p:par>
                                <p:cTn id="612" presetID="26" presetClass="emph" presetSubtype="0" dur="2000" repeatCount="indefinite" fill="hold" grpId="0" nodeType="withEffect">
                                  <p:stCondLst>
                                    <p:cond delay="3750"/>
                                  </p:stCondLst>
                                  <p:childTnLst>
                                    <p:animEffect transition="out" filter="fade">
                                      <p:cBhvr>
                                        <p:cTn id="613" dur="2000" tmFilter="0, 0; .2, .5; .8, .5; 1, 0"/>
                                        <p:tgtEl>
                                          <p:spTgt spid="305"/>
                                        </p:tgtEl>
                                      </p:cBhvr>
                                    </p:animEffect>
                                    <p:animScale>
                                      <p:cBhvr>
                                        <p:cTn id="614" dur="1000" autoRev="1" fill="hold"/>
                                        <p:tgtEl>
                                          <p:spTgt spid="305"/>
                                        </p:tgtEl>
                                      </p:cBhvr>
                                      <p:by x="105000" y="105000"/>
                                    </p:animScale>
                                  </p:childTnLst>
                                </p:cTn>
                              </p:par>
                              <p:par>
                                <p:cTn id="615" presetID="26" presetClass="emph" presetSubtype="0" dur="2000" repeatCount="indefinite" fill="hold" grpId="0" nodeType="withEffect">
                                  <p:stCondLst>
                                    <p:cond delay="3750"/>
                                  </p:stCondLst>
                                  <p:childTnLst>
                                    <p:animEffect transition="out" filter="fade">
                                      <p:cBhvr>
                                        <p:cTn id="616" dur="2000" tmFilter="0, 0; .2, .5; .8, .5; 1, 0"/>
                                        <p:tgtEl>
                                          <p:spTgt spid="306"/>
                                        </p:tgtEl>
                                      </p:cBhvr>
                                    </p:animEffect>
                                    <p:animScale>
                                      <p:cBhvr>
                                        <p:cTn id="617" dur="1000" autoRev="1" fill="hold"/>
                                        <p:tgtEl>
                                          <p:spTgt spid="306"/>
                                        </p:tgtEl>
                                      </p:cBhvr>
                                      <p:by x="105000" y="105000"/>
                                    </p:animScale>
                                  </p:childTnLst>
                                </p:cTn>
                              </p:par>
                              <p:par>
                                <p:cTn id="618" presetID="26" presetClass="emph" presetSubtype="0" dur="2000" repeatCount="indefinite" fill="hold" grpId="0" nodeType="withEffect">
                                  <p:stCondLst>
                                    <p:cond delay="3750"/>
                                  </p:stCondLst>
                                  <p:childTnLst>
                                    <p:animEffect transition="out" filter="fade">
                                      <p:cBhvr>
                                        <p:cTn id="619" dur="2000" tmFilter="0, 0; .2, .5; .8, .5; 1, 0"/>
                                        <p:tgtEl>
                                          <p:spTgt spid="307"/>
                                        </p:tgtEl>
                                      </p:cBhvr>
                                    </p:animEffect>
                                    <p:animScale>
                                      <p:cBhvr>
                                        <p:cTn id="620" dur="1000" autoRev="1" fill="hold"/>
                                        <p:tgtEl>
                                          <p:spTgt spid="307"/>
                                        </p:tgtEl>
                                      </p:cBhvr>
                                      <p:by x="105000" y="105000"/>
                                    </p:animScale>
                                  </p:childTnLst>
                                </p:cTn>
                              </p:par>
                              <p:par>
                                <p:cTn id="621" presetID="26" presetClass="emph" presetSubtype="0" dur="2000" repeatCount="indefinite" fill="hold" grpId="0" nodeType="withEffect">
                                  <p:stCondLst>
                                    <p:cond delay="3750"/>
                                  </p:stCondLst>
                                  <p:childTnLst>
                                    <p:animEffect transition="out" filter="fade">
                                      <p:cBhvr>
                                        <p:cTn id="622" dur="2000" tmFilter="0, 0; .2, .5; .8, .5; 1, 0"/>
                                        <p:tgtEl>
                                          <p:spTgt spid="308"/>
                                        </p:tgtEl>
                                      </p:cBhvr>
                                    </p:animEffect>
                                    <p:animScale>
                                      <p:cBhvr>
                                        <p:cTn id="623" dur="1000" autoRev="1" fill="hold"/>
                                        <p:tgtEl>
                                          <p:spTgt spid="308"/>
                                        </p:tgtEl>
                                      </p:cBhvr>
                                      <p:by x="105000" y="105000"/>
                                    </p:animScale>
                                  </p:childTnLst>
                                </p:cTn>
                              </p:par>
                              <p:par>
                                <p:cTn id="624" presetID="26" presetClass="emph" presetSubtype="0" dur="2000" repeatCount="indefinite" fill="hold" grpId="0" nodeType="withEffect">
                                  <p:stCondLst>
                                    <p:cond delay="4000"/>
                                  </p:stCondLst>
                                  <p:childTnLst>
                                    <p:animEffect transition="out" filter="fade">
                                      <p:cBhvr>
                                        <p:cTn id="625" dur="2000" tmFilter="0, 0; .2, .5; .8, .5; 1, 0"/>
                                        <p:tgtEl>
                                          <p:spTgt spid="287"/>
                                        </p:tgtEl>
                                      </p:cBhvr>
                                    </p:animEffect>
                                    <p:animScale>
                                      <p:cBhvr>
                                        <p:cTn id="626" dur="1000" autoRev="1" fill="hold"/>
                                        <p:tgtEl>
                                          <p:spTgt spid="287"/>
                                        </p:tgtEl>
                                      </p:cBhvr>
                                      <p:by x="105000" y="105000"/>
                                    </p:animScale>
                                  </p:childTnLst>
                                </p:cTn>
                              </p:par>
                              <p:par>
                                <p:cTn id="627" presetID="26" presetClass="emph" presetSubtype="0" dur="2000" repeatCount="indefinite" fill="hold" grpId="0" nodeType="withEffect">
                                  <p:stCondLst>
                                    <p:cond delay="4000"/>
                                  </p:stCondLst>
                                  <p:childTnLst>
                                    <p:animEffect transition="out" filter="fade">
                                      <p:cBhvr>
                                        <p:cTn id="628" dur="2000" tmFilter="0, 0; .2, .5; .8, .5; 1, 0"/>
                                        <p:tgtEl>
                                          <p:spTgt spid="288"/>
                                        </p:tgtEl>
                                      </p:cBhvr>
                                    </p:animEffect>
                                    <p:animScale>
                                      <p:cBhvr>
                                        <p:cTn id="629" dur="1000" autoRev="1" fill="hold"/>
                                        <p:tgtEl>
                                          <p:spTgt spid="288"/>
                                        </p:tgtEl>
                                      </p:cBhvr>
                                      <p:by x="105000" y="105000"/>
                                    </p:animScale>
                                  </p:childTnLst>
                                </p:cTn>
                              </p:par>
                              <p:par>
                                <p:cTn id="630" presetID="26" presetClass="emph" presetSubtype="0" dur="2000" repeatCount="indefinite" fill="hold" grpId="0" nodeType="withEffect">
                                  <p:stCondLst>
                                    <p:cond delay="4000"/>
                                  </p:stCondLst>
                                  <p:childTnLst>
                                    <p:animEffect transition="out" filter="fade">
                                      <p:cBhvr>
                                        <p:cTn id="631" dur="2000" tmFilter="0, 0; .2, .5; .8, .5; 1, 0"/>
                                        <p:tgtEl>
                                          <p:spTgt spid="289"/>
                                        </p:tgtEl>
                                      </p:cBhvr>
                                    </p:animEffect>
                                    <p:animScale>
                                      <p:cBhvr>
                                        <p:cTn id="632" dur="1000" autoRev="1" fill="hold"/>
                                        <p:tgtEl>
                                          <p:spTgt spid="289"/>
                                        </p:tgtEl>
                                      </p:cBhvr>
                                      <p:by x="105000" y="105000"/>
                                    </p:animScale>
                                  </p:childTnLst>
                                </p:cTn>
                              </p:par>
                              <p:par>
                                <p:cTn id="633" presetID="26" presetClass="emph" presetSubtype="0" dur="2000" repeatCount="indefinite" fill="hold" grpId="0" nodeType="withEffect">
                                  <p:stCondLst>
                                    <p:cond delay="4000"/>
                                  </p:stCondLst>
                                  <p:childTnLst>
                                    <p:animEffect transition="out" filter="fade">
                                      <p:cBhvr>
                                        <p:cTn id="634" dur="2000" tmFilter="0, 0; .2, .5; .8, .5; 1, 0"/>
                                        <p:tgtEl>
                                          <p:spTgt spid="290"/>
                                        </p:tgtEl>
                                      </p:cBhvr>
                                    </p:animEffect>
                                    <p:animScale>
                                      <p:cBhvr>
                                        <p:cTn id="635" dur="1000" autoRev="1" fill="hold"/>
                                        <p:tgtEl>
                                          <p:spTgt spid="290"/>
                                        </p:tgtEl>
                                      </p:cBhvr>
                                      <p:by x="105000" y="105000"/>
                                    </p:animScale>
                                  </p:childTnLst>
                                </p:cTn>
                              </p:par>
                              <p:par>
                                <p:cTn id="636" presetID="26" presetClass="emph" presetSubtype="0" dur="2000" repeatCount="indefinite" fill="hold" grpId="0" nodeType="withEffect">
                                  <p:stCondLst>
                                    <p:cond delay="4000"/>
                                  </p:stCondLst>
                                  <p:childTnLst>
                                    <p:animEffect transition="out" filter="fade">
                                      <p:cBhvr>
                                        <p:cTn id="637" dur="2000" tmFilter="0, 0; .2, .5; .8, .5; 1, 0"/>
                                        <p:tgtEl>
                                          <p:spTgt spid="291"/>
                                        </p:tgtEl>
                                      </p:cBhvr>
                                    </p:animEffect>
                                    <p:animScale>
                                      <p:cBhvr>
                                        <p:cTn id="638" dur="1000" autoRev="1" fill="hold"/>
                                        <p:tgtEl>
                                          <p:spTgt spid="291"/>
                                        </p:tgtEl>
                                      </p:cBhvr>
                                      <p:by x="105000" y="105000"/>
                                    </p:animScale>
                                  </p:childTnLst>
                                </p:cTn>
                              </p:par>
                              <p:par>
                                <p:cTn id="639" presetID="26" presetClass="emph" presetSubtype="0" dur="2000" repeatCount="indefinite" fill="hold" grpId="0" nodeType="withEffect">
                                  <p:stCondLst>
                                    <p:cond delay="4000"/>
                                  </p:stCondLst>
                                  <p:childTnLst>
                                    <p:animEffect transition="out" filter="fade">
                                      <p:cBhvr>
                                        <p:cTn id="640" dur="2000" tmFilter="0, 0; .2, .5; .8, .5; 1, 0"/>
                                        <p:tgtEl>
                                          <p:spTgt spid="292"/>
                                        </p:tgtEl>
                                      </p:cBhvr>
                                    </p:animEffect>
                                    <p:animScale>
                                      <p:cBhvr>
                                        <p:cTn id="641" dur="1000" autoRev="1" fill="hold"/>
                                        <p:tgtEl>
                                          <p:spTgt spid="292"/>
                                        </p:tgtEl>
                                      </p:cBhvr>
                                      <p:by x="105000" y="105000"/>
                                    </p:animScale>
                                  </p:childTnLst>
                                </p:cTn>
                              </p:par>
                              <p:par>
                                <p:cTn id="642" presetID="26" presetClass="emph" presetSubtype="0" dur="2000" repeatCount="indefinite" fill="hold" grpId="0" nodeType="withEffect">
                                  <p:stCondLst>
                                    <p:cond delay="4000"/>
                                  </p:stCondLst>
                                  <p:childTnLst>
                                    <p:animEffect transition="out" filter="fade">
                                      <p:cBhvr>
                                        <p:cTn id="643" dur="2000" tmFilter="0, 0; .2, .5; .8, .5; 1, 0"/>
                                        <p:tgtEl>
                                          <p:spTgt spid="293"/>
                                        </p:tgtEl>
                                      </p:cBhvr>
                                    </p:animEffect>
                                    <p:animScale>
                                      <p:cBhvr>
                                        <p:cTn id="644" dur="1000" autoRev="1" fill="hold"/>
                                        <p:tgtEl>
                                          <p:spTgt spid="293"/>
                                        </p:tgtEl>
                                      </p:cBhvr>
                                      <p:by x="105000" y="105000"/>
                                    </p:animScale>
                                  </p:childTnLst>
                                </p:cTn>
                              </p:par>
                              <p:par>
                                <p:cTn id="645" presetID="26" presetClass="emph" presetSubtype="0" dur="2000" repeatCount="indefinite" fill="hold" grpId="0" nodeType="withEffect">
                                  <p:stCondLst>
                                    <p:cond delay="4000"/>
                                  </p:stCondLst>
                                  <p:childTnLst>
                                    <p:animEffect transition="out" filter="fade">
                                      <p:cBhvr>
                                        <p:cTn id="646" dur="2000" tmFilter="0, 0; .2, .5; .8, .5; 1, 0"/>
                                        <p:tgtEl>
                                          <p:spTgt spid="294"/>
                                        </p:tgtEl>
                                      </p:cBhvr>
                                    </p:animEffect>
                                    <p:animScale>
                                      <p:cBhvr>
                                        <p:cTn id="647" dur="1000" autoRev="1" fill="hold"/>
                                        <p:tgtEl>
                                          <p:spTgt spid="294"/>
                                        </p:tgtEl>
                                      </p:cBhvr>
                                      <p:by x="105000" y="105000"/>
                                    </p:animScale>
                                  </p:childTnLst>
                                </p:cTn>
                              </p:par>
                              <p:par>
                                <p:cTn id="648" presetID="26" presetClass="emph" presetSubtype="0" dur="2000" repeatCount="indefinite" fill="hold" grpId="0" nodeType="withEffect">
                                  <p:stCondLst>
                                    <p:cond delay="4000"/>
                                  </p:stCondLst>
                                  <p:childTnLst>
                                    <p:animEffect transition="out" filter="fade">
                                      <p:cBhvr>
                                        <p:cTn id="649" dur="2000" tmFilter="0, 0; .2, .5; .8, .5; 1, 0"/>
                                        <p:tgtEl>
                                          <p:spTgt spid="295"/>
                                        </p:tgtEl>
                                      </p:cBhvr>
                                    </p:animEffect>
                                    <p:animScale>
                                      <p:cBhvr>
                                        <p:cTn id="650" dur="1000" autoRev="1" fill="hold"/>
                                        <p:tgtEl>
                                          <p:spTgt spid="295"/>
                                        </p:tgtEl>
                                      </p:cBhvr>
                                      <p:by x="105000" y="105000"/>
                                    </p:animScale>
                                  </p:childTnLst>
                                </p:cTn>
                              </p:par>
                              <p:par>
                                <p:cTn id="651" presetID="26" presetClass="emph" presetSubtype="0" dur="2000" repeatCount="indefinite" fill="hold" grpId="0" nodeType="withEffect">
                                  <p:stCondLst>
                                    <p:cond delay="4000"/>
                                  </p:stCondLst>
                                  <p:childTnLst>
                                    <p:animEffect transition="out" filter="fade">
                                      <p:cBhvr>
                                        <p:cTn id="652" dur="2000" tmFilter="0, 0; .2, .5; .8, .5; 1, 0"/>
                                        <p:tgtEl>
                                          <p:spTgt spid="296"/>
                                        </p:tgtEl>
                                      </p:cBhvr>
                                    </p:animEffect>
                                    <p:animScale>
                                      <p:cBhvr>
                                        <p:cTn id="653" dur="1000" autoRev="1" fill="hold"/>
                                        <p:tgtEl>
                                          <p:spTgt spid="296"/>
                                        </p:tgtEl>
                                      </p:cBhvr>
                                      <p:by x="105000" y="105000"/>
                                    </p:animScale>
                                  </p:childTnLst>
                                </p:cTn>
                              </p:par>
                              <p:par>
                                <p:cTn id="654" presetID="26" presetClass="emph" presetSubtype="0" dur="2000" repeatCount="indefinite" fill="hold" grpId="0" nodeType="withEffect">
                                  <p:stCondLst>
                                    <p:cond delay="4250"/>
                                  </p:stCondLst>
                                  <p:childTnLst>
                                    <p:animEffect transition="out" filter="fade">
                                      <p:cBhvr>
                                        <p:cTn id="655" dur="2000" tmFilter="0, 0; .2, .5; .8, .5; 1, 0"/>
                                        <p:tgtEl>
                                          <p:spTgt spid="279"/>
                                        </p:tgtEl>
                                      </p:cBhvr>
                                    </p:animEffect>
                                    <p:animScale>
                                      <p:cBhvr>
                                        <p:cTn id="656" dur="1000" autoRev="1" fill="hold"/>
                                        <p:tgtEl>
                                          <p:spTgt spid="279"/>
                                        </p:tgtEl>
                                      </p:cBhvr>
                                      <p:by x="105000" y="105000"/>
                                    </p:animScale>
                                  </p:childTnLst>
                                </p:cTn>
                              </p:par>
                              <p:par>
                                <p:cTn id="657" presetID="26" presetClass="emph" presetSubtype="0" dur="2000" repeatCount="indefinite" fill="hold" grpId="0" nodeType="withEffect">
                                  <p:stCondLst>
                                    <p:cond delay="4250"/>
                                  </p:stCondLst>
                                  <p:childTnLst>
                                    <p:animEffect transition="out" filter="fade">
                                      <p:cBhvr>
                                        <p:cTn id="658" dur="2000" tmFilter="0, 0; .2, .5; .8, .5; 1, 0"/>
                                        <p:tgtEl>
                                          <p:spTgt spid="280"/>
                                        </p:tgtEl>
                                      </p:cBhvr>
                                    </p:animEffect>
                                    <p:animScale>
                                      <p:cBhvr>
                                        <p:cTn id="659" dur="1000" autoRev="1" fill="hold"/>
                                        <p:tgtEl>
                                          <p:spTgt spid="280"/>
                                        </p:tgtEl>
                                      </p:cBhvr>
                                      <p:by x="105000" y="105000"/>
                                    </p:animScale>
                                  </p:childTnLst>
                                </p:cTn>
                              </p:par>
                              <p:par>
                                <p:cTn id="660" presetID="26" presetClass="emph" presetSubtype="0" dur="2000" repeatCount="indefinite" fill="hold" grpId="0" nodeType="withEffect">
                                  <p:stCondLst>
                                    <p:cond delay="4250"/>
                                  </p:stCondLst>
                                  <p:childTnLst>
                                    <p:animEffect transition="out" filter="fade">
                                      <p:cBhvr>
                                        <p:cTn id="661" dur="2000" tmFilter="0, 0; .2, .5; .8, .5; 1, 0"/>
                                        <p:tgtEl>
                                          <p:spTgt spid="281"/>
                                        </p:tgtEl>
                                      </p:cBhvr>
                                    </p:animEffect>
                                    <p:animScale>
                                      <p:cBhvr>
                                        <p:cTn id="662" dur="1000" autoRev="1" fill="hold"/>
                                        <p:tgtEl>
                                          <p:spTgt spid="281"/>
                                        </p:tgtEl>
                                      </p:cBhvr>
                                      <p:by x="105000" y="105000"/>
                                    </p:animScale>
                                  </p:childTnLst>
                                </p:cTn>
                              </p:par>
                              <p:par>
                                <p:cTn id="663" presetID="26" presetClass="emph" presetSubtype="0" dur="2000" repeatCount="indefinite" fill="hold" grpId="0" nodeType="withEffect">
                                  <p:stCondLst>
                                    <p:cond delay="4250"/>
                                  </p:stCondLst>
                                  <p:childTnLst>
                                    <p:animEffect transition="out" filter="fade">
                                      <p:cBhvr>
                                        <p:cTn id="664" dur="2000" tmFilter="0, 0; .2, .5; .8, .5; 1, 0"/>
                                        <p:tgtEl>
                                          <p:spTgt spid="282"/>
                                        </p:tgtEl>
                                      </p:cBhvr>
                                    </p:animEffect>
                                    <p:animScale>
                                      <p:cBhvr>
                                        <p:cTn id="665" dur="1000" autoRev="1" fill="hold"/>
                                        <p:tgtEl>
                                          <p:spTgt spid="282"/>
                                        </p:tgtEl>
                                      </p:cBhvr>
                                      <p:by x="105000" y="105000"/>
                                    </p:animScale>
                                  </p:childTnLst>
                                </p:cTn>
                              </p:par>
                              <p:par>
                                <p:cTn id="666" presetID="26" presetClass="emph" presetSubtype="0" dur="2000" repeatCount="indefinite" fill="hold" grpId="0" nodeType="withEffect">
                                  <p:stCondLst>
                                    <p:cond delay="4250"/>
                                  </p:stCondLst>
                                  <p:childTnLst>
                                    <p:animEffect transition="out" filter="fade">
                                      <p:cBhvr>
                                        <p:cTn id="667" dur="2000" tmFilter="0, 0; .2, .5; .8, .5; 1, 0"/>
                                        <p:tgtEl>
                                          <p:spTgt spid="283"/>
                                        </p:tgtEl>
                                      </p:cBhvr>
                                    </p:animEffect>
                                    <p:animScale>
                                      <p:cBhvr>
                                        <p:cTn id="668" dur="1000" autoRev="1" fill="hold"/>
                                        <p:tgtEl>
                                          <p:spTgt spid="283"/>
                                        </p:tgtEl>
                                      </p:cBhvr>
                                      <p:by x="105000" y="105000"/>
                                    </p:animScale>
                                  </p:childTnLst>
                                </p:cTn>
                              </p:par>
                              <p:par>
                                <p:cTn id="669" presetID="26" presetClass="emph" presetSubtype="0" dur="2000" repeatCount="indefinite" fill="hold" grpId="0" nodeType="withEffect">
                                  <p:stCondLst>
                                    <p:cond delay="4250"/>
                                  </p:stCondLst>
                                  <p:childTnLst>
                                    <p:animEffect transition="out" filter="fade">
                                      <p:cBhvr>
                                        <p:cTn id="670" dur="2000" tmFilter="0, 0; .2, .5; .8, .5; 1, 0"/>
                                        <p:tgtEl>
                                          <p:spTgt spid="284"/>
                                        </p:tgtEl>
                                      </p:cBhvr>
                                    </p:animEffect>
                                    <p:animScale>
                                      <p:cBhvr>
                                        <p:cTn id="671" dur="1000" autoRev="1" fill="hold"/>
                                        <p:tgtEl>
                                          <p:spTgt spid="284"/>
                                        </p:tgtEl>
                                      </p:cBhvr>
                                      <p:by x="105000" y="105000"/>
                                    </p:animScale>
                                  </p:childTnLst>
                                </p:cTn>
                              </p:par>
                              <p:par>
                                <p:cTn id="672" presetID="26" presetClass="emph" presetSubtype="0" dur="2000" repeatCount="indefinite" fill="hold" grpId="0" nodeType="withEffect">
                                  <p:stCondLst>
                                    <p:cond delay="4250"/>
                                  </p:stCondLst>
                                  <p:childTnLst>
                                    <p:animEffect transition="out" filter="fade">
                                      <p:cBhvr>
                                        <p:cTn id="673" dur="2000" tmFilter="0, 0; .2, .5; .8, .5; 1, 0"/>
                                        <p:tgtEl>
                                          <p:spTgt spid="285"/>
                                        </p:tgtEl>
                                      </p:cBhvr>
                                    </p:animEffect>
                                    <p:animScale>
                                      <p:cBhvr>
                                        <p:cTn id="674" dur="1000" autoRev="1" fill="hold"/>
                                        <p:tgtEl>
                                          <p:spTgt spid="285"/>
                                        </p:tgtEl>
                                      </p:cBhvr>
                                      <p:by x="105000" y="105000"/>
                                    </p:animScale>
                                  </p:childTnLst>
                                </p:cTn>
                              </p:par>
                              <p:par>
                                <p:cTn id="675" presetID="26" presetClass="emph" presetSubtype="0" dur="2000" repeatCount="indefinite" fill="hold" grpId="0" nodeType="withEffect">
                                  <p:stCondLst>
                                    <p:cond delay="4250"/>
                                  </p:stCondLst>
                                  <p:childTnLst>
                                    <p:animEffect transition="out" filter="fade">
                                      <p:cBhvr>
                                        <p:cTn id="676" dur="2000" tmFilter="0, 0; .2, .5; .8, .5; 1, 0"/>
                                        <p:tgtEl>
                                          <p:spTgt spid="286"/>
                                        </p:tgtEl>
                                      </p:cBhvr>
                                    </p:animEffect>
                                    <p:animScale>
                                      <p:cBhvr>
                                        <p:cTn id="677" dur="1000" autoRev="1" fill="hold"/>
                                        <p:tgtEl>
                                          <p:spTgt spid="286"/>
                                        </p:tgtEl>
                                      </p:cBhvr>
                                      <p:by x="105000" y="105000"/>
                                    </p:animScale>
                                  </p:childTnLst>
                                </p:cTn>
                              </p:par>
                              <p:par>
                                <p:cTn id="678" presetID="26" presetClass="emph" presetSubtype="0" dur="2000" repeatCount="indefinite" fill="hold" grpId="0" nodeType="withEffect">
                                  <p:stCondLst>
                                    <p:cond delay="4500"/>
                                  </p:stCondLst>
                                  <p:childTnLst>
                                    <p:animEffect transition="out" filter="fade">
                                      <p:cBhvr>
                                        <p:cTn id="679" dur="2000" tmFilter="0, 0; .2, .5; .8, .5; 1, 0"/>
                                        <p:tgtEl>
                                          <p:spTgt spid="273"/>
                                        </p:tgtEl>
                                      </p:cBhvr>
                                    </p:animEffect>
                                    <p:animScale>
                                      <p:cBhvr>
                                        <p:cTn id="680" dur="1000" autoRev="1" fill="hold"/>
                                        <p:tgtEl>
                                          <p:spTgt spid="273"/>
                                        </p:tgtEl>
                                      </p:cBhvr>
                                      <p:by x="105000" y="105000"/>
                                    </p:animScale>
                                  </p:childTnLst>
                                </p:cTn>
                              </p:par>
                              <p:par>
                                <p:cTn id="681" presetID="26" presetClass="emph" presetSubtype="0" dur="2000" repeatCount="indefinite" fill="hold" grpId="0" nodeType="withEffect">
                                  <p:stCondLst>
                                    <p:cond delay="4500"/>
                                  </p:stCondLst>
                                  <p:childTnLst>
                                    <p:animEffect transition="out" filter="fade">
                                      <p:cBhvr>
                                        <p:cTn id="682" dur="2000" tmFilter="0, 0; .2, .5; .8, .5; 1, 0"/>
                                        <p:tgtEl>
                                          <p:spTgt spid="274"/>
                                        </p:tgtEl>
                                      </p:cBhvr>
                                    </p:animEffect>
                                    <p:animScale>
                                      <p:cBhvr>
                                        <p:cTn id="683" dur="1000" autoRev="1" fill="hold"/>
                                        <p:tgtEl>
                                          <p:spTgt spid="274"/>
                                        </p:tgtEl>
                                      </p:cBhvr>
                                      <p:by x="105000" y="105000"/>
                                    </p:animScale>
                                  </p:childTnLst>
                                </p:cTn>
                              </p:par>
                              <p:par>
                                <p:cTn id="684" presetID="26" presetClass="emph" presetSubtype="0" dur="2000" repeatCount="indefinite" fill="hold" grpId="0" nodeType="withEffect">
                                  <p:stCondLst>
                                    <p:cond delay="4500"/>
                                  </p:stCondLst>
                                  <p:childTnLst>
                                    <p:animEffect transition="out" filter="fade">
                                      <p:cBhvr>
                                        <p:cTn id="685" dur="2000" tmFilter="0, 0; .2, .5; .8, .5; 1, 0"/>
                                        <p:tgtEl>
                                          <p:spTgt spid="275"/>
                                        </p:tgtEl>
                                      </p:cBhvr>
                                    </p:animEffect>
                                    <p:animScale>
                                      <p:cBhvr>
                                        <p:cTn id="686" dur="1000" autoRev="1" fill="hold"/>
                                        <p:tgtEl>
                                          <p:spTgt spid="275"/>
                                        </p:tgtEl>
                                      </p:cBhvr>
                                      <p:by x="105000" y="105000"/>
                                    </p:animScale>
                                  </p:childTnLst>
                                </p:cTn>
                              </p:par>
                              <p:par>
                                <p:cTn id="687" presetID="26" presetClass="emph" presetSubtype="0" dur="2000" repeatCount="indefinite" fill="hold" grpId="0" nodeType="withEffect">
                                  <p:stCondLst>
                                    <p:cond delay="4500"/>
                                  </p:stCondLst>
                                  <p:childTnLst>
                                    <p:animEffect transition="out" filter="fade">
                                      <p:cBhvr>
                                        <p:cTn id="688" dur="2000" tmFilter="0, 0; .2, .5; .8, .5; 1, 0"/>
                                        <p:tgtEl>
                                          <p:spTgt spid="276"/>
                                        </p:tgtEl>
                                      </p:cBhvr>
                                    </p:animEffect>
                                    <p:animScale>
                                      <p:cBhvr>
                                        <p:cTn id="689" dur="1000" autoRev="1" fill="hold"/>
                                        <p:tgtEl>
                                          <p:spTgt spid="276"/>
                                        </p:tgtEl>
                                      </p:cBhvr>
                                      <p:by x="105000" y="105000"/>
                                    </p:animScale>
                                  </p:childTnLst>
                                </p:cTn>
                              </p:par>
                              <p:par>
                                <p:cTn id="690" presetID="26" presetClass="emph" presetSubtype="0" dur="2000" repeatCount="indefinite" fill="hold" grpId="0" nodeType="withEffect">
                                  <p:stCondLst>
                                    <p:cond delay="4500"/>
                                  </p:stCondLst>
                                  <p:childTnLst>
                                    <p:animEffect transition="out" filter="fade">
                                      <p:cBhvr>
                                        <p:cTn id="691" dur="2000" tmFilter="0, 0; .2, .5; .8, .5; 1, 0"/>
                                        <p:tgtEl>
                                          <p:spTgt spid="277"/>
                                        </p:tgtEl>
                                      </p:cBhvr>
                                    </p:animEffect>
                                    <p:animScale>
                                      <p:cBhvr>
                                        <p:cTn id="692" dur="1000" autoRev="1" fill="hold"/>
                                        <p:tgtEl>
                                          <p:spTgt spid="277"/>
                                        </p:tgtEl>
                                      </p:cBhvr>
                                      <p:by x="105000" y="105000"/>
                                    </p:animScale>
                                  </p:childTnLst>
                                </p:cTn>
                              </p:par>
                              <p:par>
                                <p:cTn id="693" presetID="26" presetClass="emph" presetSubtype="0" dur="2000" repeatCount="indefinite" fill="hold" grpId="0" nodeType="withEffect">
                                  <p:stCondLst>
                                    <p:cond delay="4500"/>
                                  </p:stCondLst>
                                  <p:childTnLst>
                                    <p:animEffect transition="out" filter="fade">
                                      <p:cBhvr>
                                        <p:cTn id="694" dur="2000" tmFilter="0, 0; .2, .5; .8, .5; 1, 0"/>
                                        <p:tgtEl>
                                          <p:spTgt spid="278"/>
                                        </p:tgtEl>
                                      </p:cBhvr>
                                    </p:animEffect>
                                    <p:animScale>
                                      <p:cBhvr>
                                        <p:cTn id="695" dur="1000" autoRev="1" fill="hold"/>
                                        <p:tgtEl>
                                          <p:spTgt spid="278"/>
                                        </p:tgtEl>
                                      </p:cBhvr>
                                      <p:by x="105000" y="105000"/>
                                    </p:animScale>
                                  </p:childTnLst>
                                </p:cTn>
                              </p:par>
                              <p:par>
                                <p:cTn id="696" presetID="26" presetClass="emph" presetSubtype="0" dur="2000" repeatCount="indefinite" fill="hold" grpId="0" nodeType="withEffect">
                                  <p:stCondLst>
                                    <p:cond delay="4750"/>
                                  </p:stCondLst>
                                  <p:childTnLst>
                                    <p:animEffect transition="out" filter="fade">
                                      <p:cBhvr>
                                        <p:cTn id="697" dur="2000" tmFilter="0, 0; .2, .5; .8, .5; 1, 0"/>
                                        <p:tgtEl>
                                          <p:spTgt spid="269"/>
                                        </p:tgtEl>
                                      </p:cBhvr>
                                    </p:animEffect>
                                    <p:animScale>
                                      <p:cBhvr>
                                        <p:cTn id="698" dur="1000" autoRev="1" fill="hold"/>
                                        <p:tgtEl>
                                          <p:spTgt spid="269"/>
                                        </p:tgtEl>
                                      </p:cBhvr>
                                      <p:by x="105000" y="105000"/>
                                    </p:animScale>
                                  </p:childTnLst>
                                </p:cTn>
                              </p:par>
                              <p:par>
                                <p:cTn id="699" presetID="26" presetClass="emph" presetSubtype="0" dur="2000" repeatCount="indefinite" fill="hold" grpId="0" nodeType="withEffect">
                                  <p:stCondLst>
                                    <p:cond delay="4750"/>
                                  </p:stCondLst>
                                  <p:childTnLst>
                                    <p:animEffect transition="out" filter="fade">
                                      <p:cBhvr>
                                        <p:cTn id="700" dur="2000" tmFilter="0, 0; .2, .5; .8, .5; 1, 0"/>
                                        <p:tgtEl>
                                          <p:spTgt spid="270"/>
                                        </p:tgtEl>
                                      </p:cBhvr>
                                    </p:animEffect>
                                    <p:animScale>
                                      <p:cBhvr>
                                        <p:cTn id="701" dur="1000" autoRev="1" fill="hold"/>
                                        <p:tgtEl>
                                          <p:spTgt spid="270"/>
                                        </p:tgtEl>
                                      </p:cBhvr>
                                      <p:by x="105000" y="105000"/>
                                    </p:animScale>
                                  </p:childTnLst>
                                </p:cTn>
                              </p:par>
                              <p:par>
                                <p:cTn id="702" presetID="26" presetClass="emph" presetSubtype="0" dur="2000" repeatCount="indefinite" fill="hold" grpId="0" nodeType="withEffect">
                                  <p:stCondLst>
                                    <p:cond delay="4750"/>
                                  </p:stCondLst>
                                  <p:childTnLst>
                                    <p:animEffect transition="out" filter="fade">
                                      <p:cBhvr>
                                        <p:cTn id="703" dur="2000" tmFilter="0, 0; .2, .5; .8, .5; 1, 0"/>
                                        <p:tgtEl>
                                          <p:spTgt spid="271"/>
                                        </p:tgtEl>
                                      </p:cBhvr>
                                    </p:animEffect>
                                    <p:animScale>
                                      <p:cBhvr>
                                        <p:cTn id="704" dur="1000" autoRev="1" fill="hold"/>
                                        <p:tgtEl>
                                          <p:spTgt spid="271"/>
                                        </p:tgtEl>
                                      </p:cBhvr>
                                      <p:by x="105000" y="105000"/>
                                    </p:animScale>
                                  </p:childTnLst>
                                </p:cTn>
                              </p:par>
                              <p:par>
                                <p:cTn id="705" presetID="26" presetClass="emph" presetSubtype="0" dur="2000" repeatCount="indefinite" fill="hold" grpId="0" nodeType="withEffect">
                                  <p:stCondLst>
                                    <p:cond delay="4750"/>
                                  </p:stCondLst>
                                  <p:childTnLst>
                                    <p:animEffect transition="out" filter="fade">
                                      <p:cBhvr>
                                        <p:cTn id="706" dur="2000" tmFilter="0, 0; .2, .5; .8, .5; 1, 0"/>
                                        <p:tgtEl>
                                          <p:spTgt spid="272"/>
                                        </p:tgtEl>
                                      </p:cBhvr>
                                    </p:animEffect>
                                    <p:animScale>
                                      <p:cBhvr>
                                        <p:cTn id="707" dur="1000" autoRev="1" fill="hold"/>
                                        <p:tgtEl>
                                          <p:spTgt spid="272"/>
                                        </p:tgtEl>
                                      </p:cBhvr>
                                      <p:by x="105000" y="105000"/>
                                    </p:animScale>
                                  </p:childTnLst>
                                </p:cTn>
                              </p:par>
                              <p:par>
                                <p:cTn id="708" presetID="26" presetClass="emph" presetSubtype="0" dur="2000" repeatCount="indefinite" fill="hold" grpId="0" nodeType="withEffect">
                                  <p:stCondLst>
                                    <p:cond delay="5000"/>
                                  </p:stCondLst>
                                  <p:childTnLst>
                                    <p:animEffect transition="out" filter="fade">
                                      <p:cBhvr>
                                        <p:cTn id="709" dur="2000" tmFilter="0, 0; .2, .5; .8, .5; 1, 0"/>
                                        <p:tgtEl>
                                          <p:spTgt spid="267"/>
                                        </p:tgtEl>
                                      </p:cBhvr>
                                    </p:animEffect>
                                    <p:animScale>
                                      <p:cBhvr>
                                        <p:cTn id="710" dur="1000" autoRev="1" fill="hold"/>
                                        <p:tgtEl>
                                          <p:spTgt spid="267"/>
                                        </p:tgtEl>
                                      </p:cBhvr>
                                      <p:by x="105000" y="105000"/>
                                    </p:animScale>
                                  </p:childTnLst>
                                </p:cTn>
                              </p:par>
                              <p:par>
                                <p:cTn id="711" presetID="26" presetClass="emph" presetSubtype="0" dur="2000" repeatCount="indefinite" fill="hold" grpId="0" nodeType="withEffect">
                                  <p:stCondLst>
                                    <p:cond delay="5000"/>
                                  </p:stCondLst>
                                  <p:childTnLst>
                                    <p:animEffect transition="out" filter="fade">
                                      <p:cBhvr>
                                        <p:cTn id="712" dur="2000" tmFilter="0, 0; .2, .5; .8, .5; 1, 0"/>
                                        <p:tgtEl>
                                          <p:spTgt spid="268"/>
                                        </p:tgtEl>
                                      </p:cBhvr>
                                    </p:animEffect>
                                    <p:animScale>
                                      <p:cBhvr>
                                        <p:cTn id="713" dur="1000" autoRev="1" fill="hold"/>
                                        <p:tgtEl>
                                          <p:spTgt spid="268"/>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7" grpId="0" animBg="1"/>
      <p:bldP spid="268" grpId="0" animBg="1"/>
      <p:bldP spid="269" grpId="0" animBg="1"/>
      <p:bldP spid="270" grpId="0" animBg="1"/>
      <p:bldP spid="271" grpId="0" animBg="1"/>
      <p:bldP spid="272" grpId="0" animBg="1"/>
      <p:bldP spid="273" grpId="0" animBg="1"/>
      <p:bldP spid="274" grpId="0" animBg="1"/>
      <p:bldP spid="275" grpId="0" animBg="1"/>
      <p:bldP spid="276" grpId="0" animBg="1"/>
      <p:bldP spid="277" grpId="0" animBg="1"/>
      <p:bldP spid="278" grpId="0" animBg="1"/>
      <p:bldP spid="279" grpId="0" animBg="1"/>
      <p:bldP spid="280" grpId="0" animBg="1"/>
      <p:bldP spid="281" grpId="0" animBg="1"/>
      <p:bldP spid="282" grpId="0" animBg="1"/>
      <p:bldP spid="283" grpId="0" animBg="1"/>
      <p:bldP spid="284" grpId="0" animBg="1"/>
      <p:bldP spid="285" grpId="0" animBg="1"/>
      <p:bldP spid="286" grpId="0" animBg="1"/>
      <p:bldP spid="287" grpId="0" animBg="1"/>
      <p:bldP spid="288" grpId="0" animBg="1"/>
      <p:bldP spid="289" grpId="0" animBg="1"/>
      <p:bldP spid="290" grpId="0" animBg="1"/>
      <p:bldP spid="291" grpId="0" animBg="1"/>
      <p:bldP spid="292" grpId="0" animBg="1"/>
      <p:bldP spid="293" grpId="0" animBg="1"/>
      <p:bldP spid="294" grpId="0" animBg="1"/>
      <p:bldP spid="295" grpId="0" animBg="1"/>
      <p:bldP spid="296" grpId="0" animBg="1"/>
      <p:bldP spid="297" grpId="0" animBg="1"/>
      <p:bldP spid="298" grpId="0" animBg="1"/>
      <p:bldP spid="299" grpId="0" animBg="1"/>
      <p:bldP spid="300" grpId="0" animBg="1"/>
      <p:bldP spid="301" grpId="0" animBg="1"/>
      <p:bldP spid="302" grpId="0" animBg="1"/>
      <p:bldP spid="303" grpId="0" animBg="1"/>
      <p:bldP spid="304" grpId="0" animBg="1"/>
      <p:bldP spid="305" grpId="0" animBg="1"/>
      <p:bldP spid="306" grpId="0" animBg="1"/>
      <p:bldP spid="307" grpId="0" animBg="1"/>
      <p:bldP spid="308" grpId="0" animBg="1"/>
      <p:bldP spid="309" grpId="0" animBg="1"/>
      <p:bldP spid="310" grpId="0" animBg="1"/>
      <p:bldP spid="311" grpId="0" animBg="1"/>
      <p:bldP spid="312" grpId="0" animBg="1"/>
      <p:bldP spid="313" grpId="0" animBg="1"/>
      <p:bldP spid="314" grpId="0" animBg="1"/>
      <p:bldP spid="315" grpId="0" animBg="1"/>
      <p:bldP spid="316" grpId="0" animBg="1"/>
      <p:bldP spid="317" grpId="0" animBg="1"/>
      <p:bldP spid="318" grpId="0" animBg="1"/>
      <p:bldP spid="319" grpId="0" animBg="1"/>
      <p:bldP spid="320" grpId="0" animBg="1"/>
      <p:bldP spid="321" grpId="0" animBg="1"/>
      <p:bldP spid="322" grpId="0" animBg="1"/>
      <p:bldP spid="323" grpId="0" animBg="1"/>
      <p:bldP spid="324" grpId="0" animBg="1"/>
      <p:bldP spid="325" grpId="0" animBg="1"/>
      <p:bldP spid="326" grpId="0" animBg="1"/>
      <p:bldP spid="327" grpId="0" animBg="1"/>
      <p:bldP spid="328" grpId="0" animBg="1"/>
      <p:bldP spid="329" grpId="0" animBg="1"/>
      <p:bldP spid="330" grpId="0" animBg="1"/>
      <p:bldP spid="331" grpId="0" animBg="1"/>
      <p:bldP spid="332" grpId="0" animBg="1"/>
      <p:bldP spid="333" grpId="0" animBg="1"/>
      <p:bldP spid="334" grpId="0" animBg="1"/>
      <p:bldP spid="335" grpId="0" animBg="1"/>
      <p:bldP spid="336" grpId="0" animBg="1"/>
      <p:bldP spid="337" grpId="0" animBg="1"/>
      <p:bldP spid="338" grpId="0" animBg="1"/>
      <p:bldP spid="339" grpId="0" animBg="1"/>
      <p:bldP spid="340" grpId="0" animBg="1"/>
      <p:bldP spid="341" grpId="0" animBg="1"/>
      <p:bldP spid="342" grpId="0" animBg="1"/>
      <p:bldP spid="343" grpId="0" animBg="1"/>
      <p:bldP spid="344" grpId="0" animBg="1"/>
      <p:bldP spid="345" grpId="0" animBg="1"/>
      <p:bldP spid="346" grpId="0" animBg="1"/>
      <p:bldP spid="347" grpId="0" animBg="1"/>
      <p:bldP spid="348" grpId="0" animBg="1"/>
      <p:bldP spid="349" grpId="0" animBg="1"/>
      <p:bldP spid="350" grpId="0" animBg="1"/>
      <p:bldP spid="351" grpId="0" animBg="1"/>
      <p:bldP spid="352" grpId="0" animBg="1"/>
      <p:bldP spid="353" grpId="0" animBg="1"/>
      <p:bldP spid="354" grpId="0" animBg="1"/>
      <p:bldP spid="355" grpId="0" animBg="1"/>
      <p:bldP spid="356" grpId="0" animBg="1"/>
      <p:bldP spid="357" grpId="0" animBg="1"/>
      <p:bldP spid="358" grpId="0" animBg="1"/>
      <p:bldP spid="359" grpId="0" animBg="1"/>
      <p:bldP spid="360" grpId="0" animBg="1"/>
      <p:bldP spid="361" grpId="0" animBg="1"/>
      <p:bldP spid="362" grpId="0" animBg="1"/>
      <p:bldP spid="363" grpId="0" animBg="1"/>
      <p:bldP spid="364" grpId="0" animBg="1"/>
      <p:bldP spid="365" grpId="0" animBg="1"/>
      <p:bldP spid="366" grpId="0" animBg="1"/>
      <p:bldP spid="367" grpId="0" animBg="1"/>
      <p:bldP spid="368" grpId="0" animBg="1"/>
      <p:bldP spid="369" grpId="0" animBg="1"/>
      <p:bldP spid="370" grpId="0" animBg="1"/>
      <p:bldP spid="371" grpId="0" animBg="1"/>
      <p:bldP spid="372" grpId="0" animBg="1"/>
      <p:bldP spid="373" grpId="0" animBg="1"/>
      <p:bldP spid="374" grpId="0" animBg="1"/>
      <p:bldP spid="375" grpId="0" animBg="1"/>
      <p:bldP spid="376" grpId="0" animBg="1"/>
      <p:bldP spid="377" grpId="0" animBg="1"/>
      <p:bldP spid="378" grpId="0" animBg="1"/>
      <p:bldP spid="379" grpId="0" animBg="1"/>
      <p:bldP spid="380" grpId="0" animBg="1"/>
      <p:bldP spid="381" grpId="0" animBg="1"/>
      <p:bldP spid="382" grpId="0" animBg="1"/>
      <p:bldP spid="383" grpId="0" animBg="1"/>
      <p:bldP spid="384" grpId="0" animBg="1"/>
      <p:bldP spid="385" grpId="0" animBg="1"/>
      <p:bldP spid="386" grpId="0" animBg="1"/>
      <p:bldP spid="387" grpId="0" animBg="1"/>
      <p:bldP spid="388" grpId="0" animBg="1"/>
      <p:bldP spid="389" grpId="0" animBg="1"/>
      <p:bldP spid="390" grpId="0" animBg="1"/>
      <p:bldP spid="391" grpId="0" animBg="1"/>
      <p:bldP spid="392" grpId="0" animBg="1"/>
      <p:bldP spid="393" grpId="0" animBg="1"/>
      <p:bldP spid="394" grpId="0" animBg="1"/>
      <p:bldP spid="395" grpId="0" animBg="1"/>
      <p:bldP spid="396" grpId="0" animBg="1"/>
      <p:bldP spid="397" grpId="0" animBg="1"/>
      <p:bldP spid="398" grpId="0" animBg="1"/>
      <p:bldP spid="399" grpId="0" animBg="1"/>
      <p:bldP spid="400" grpId="0" animBg="1"/>
      <p:bldP spid="401" grpId="0" animBg="1"/>
      <p:bldP spid="402" grpId="0" animBg="1"/>
      <p:bldP spid="403" grpId="0" animBg="1"/>
      <p:bldP spid="404" grpId="0" animBg="1"/>
      <p:bldP spid="405" grpId="0" animBg="1"/>
      <p:bldP spid="406" grpId="0" animBg="1"/>
      <p:bldP spid="407" grpId="0" animBg="1"/>
      <p:bldP spid="408" grpId="0" animBg="1"/>
      <p:bldP spid="409" grpId="0" animBg="1"/>
      <p:bldP spid="410" grpId="0" animBg="1"/>
      <p:bldP spid="411" grpId="0" animBg="1"/>
      <p:bldP spid="412" grpId="0" animBg="1"/>
      <p:bldP spid="413" grpId="0" animBg="1"/>
      <p:bldP spid="414" grpId="0" animBg="1"/>
      <p:bldP spid="415" grpId="0" animBg="1"/>
      <p:bldP spid="416" grpId="0" animBg="1"/>
      <p:bldP spid="417" grpId="0" animBg="1"/>
      <p:bldP spid="418" grpId="0" animBg="1"/>
      <p:bldP spid="419" grpId="0" animBg="1"/>
      <p:bldP spid="420" grpId="0" animBg="1"/>
      <p:bldP spid="421" grpId="0" animBg="1"/>
      <p:bldP spid="422" grpId="0" animBg="1"/>
      <p:bldP spid="423" grpId="0" animBg="1"/>
      <p:bldP spid="424" grpId="0" animBg="1"/>
      <p:bldP spid="425" grpId="0" animBg="1"/>
      <p:bldP spid="426" grpId="0" animBg="1"/>
      <p:bldP spid="427" grpId="0" animBg="1"/>
      <p:bldP spid="428" grpId="0" animBg="1"/>
      <p:bldP spid="429" grpId="0" animBg="1"/>
      <p:bldP spid="430" grpId="0" animBg="1"/>
      <p:bldP spid="431" grpId="0" animBg="1"/>
      <p:bldP spid="432" grpId="0" animBg="1"/>
      <p:bldP spid="433" grpId="0" animBg="1"/>
      <p:bldP spid="434" grpId="0" animBg="1"/>
      <p:bldP spid="435" grpId="0" animBg="1"/>
      <p:bldP spid="436" grpId="0" animBg="1"/>
      <p:bldP spid="437" grpId="0" animBg="1"/>
      <p:bldP spid="438" grpId="0" animBg="1"/>
      <p:bldP spid="439" grpId="0" animBg="1"/>
      <p:bldP spid="440" grpId="0" animBg="1"/>
      <p:bldP spid="441" grpId="0" animBg="1"/>
      <p:bldP spid="442" grpId="0" animBg="1"/>
      <p:bldP spid="443" grpId="0" animBg="1"/>
      <p:bldP spid="444" grpId="0" animBg="1"/>
      <p:bldP spid="445" grpId="0" animBg="1"/>
      <p:bldP spid="446" grpId="0" animBg="1"/>
      <p:bldP spid="447" grpId="0" animBg="1"/>
      <p:bldP spid="448" grpId="0" animBg="1"/>
      <p:bldP spid="449" grpId="0" animBg="1"/>
      <p:bldP spid="450" grpId="0" animBg="1"/>
      <p:bldP spid="451" grpId="0" animBg="1"/>
      <p:bldP spid="452" grpId="0" animBg="1"/>
      <p:bldP spid="453" grpId="0" animBg="1"/>
      <p:bldP spid="454" grpId="0" animBg="1"/>
      <p:bldP spid="455" grpId="0" animBg="1"/>
      <p:bldP spid="456" grpId="0" animBg="1"/>
      <p:bldP spid="457" grpId="0" animBg="1"/>
      <p:bldP spid="458" grpId="0" animBg="1"/>
      <p:bldP spid="459" grpId="0" animBg="1"/>
      <p:bldP spid="460" grpId="0" animBg="1"/>
      <p:bldP spid="461" grpId="0" animBg="1"/>
      <p:bldP spid="462" grpId="0" animBg="1"/>
      <p:bldP spid="463" grpId="0" animBg="1"/>
      <p:bldP spid="464" grpId="0" animBg="1"/>
      <p:bldP spid="465" grpId="0" animBg="1"/>
      <p:bldP spid="466" grpId="0" animBg="1"/>
      <p:bldP spid="467" grpId="0" animBg="1"/>
      <p:bldP spid="468" grpId="0" animBg="1"/>
      <p:bldP spid="469" grpId="0" animBg="1"/>
      <p:bldP spid="470" grpId="0" animBg="1"/>
      <p:bldP spid="471" grpId="0" animBg="1"/>
      <p:bldP spid="472" grpId="0" animBg="1"/>
      <p:bldP spid="473" grpId="0" animBg="1"/>
      <p:bldP spid="474" grpId="0" animBg="1"/>
      <p:bldP spid="475" grpId="0" animBg="1"/>
      <p:bldP spid="476" grpId="0" animBg="1"/>
      <p:bldP spid="477" grpId="0" animBg="1"/>
      <p:bldP spid="478" grpId="0" animBg="1"/>
      <p:bldP spid="479" grpId="0" animBg="1"/>
      <p:bldP spid="480" grpId="0" animBg="1"/>
      <p:bldP spid="481" grpId="0" animBg="1"/>
      <p:bldP spid="482" grpId="0" animBg="1"/>
      <p:bldP spid="483" grpId="0" animBg="1"/>
      <p:bldP spid="484" grpId="0" animBg="1"/>
      <p:bldP spid="485" grpId="0" animBg="1"/>
      <p:bldP spid="486" grpId="0" animBg="1"/>
      <p:bldP spid="487" grpId="0" animBg="1"/>
      <p:bldP spid="488" grpId="0" animBg="1"/>
      <p:bldP spid="489" grpId="0" animBg="1"/>
      <p:bldP spid="490" grpId="0" animBg="1"/>
      <p:bldP spid="491" grpId="0" animBg="1"/>
      <p:bldP spid="492" grpId="0" animBg="1"/>
      <p:bldP spid="493" grpId="0" animBg="1"/>
      <p:bldP spid="2" grpId="0"/>
      <p:bldP spid="19" grpId="0">
        <p:tmplLst>
          <p:tmpl>
            <p:tnLst>
              <p:par>
                <p:cTn presetID="2" presetClass="entr" presetSubtype="2" decel="100000" fill="hold" nodeType="withEffect">
                  <p:stCondLst>
                    <p:cond delay="250"/>
                  </p:stCondLst>
                  <p:childTnLst>
                    <p:set>
                      <p:cBhvr>
                        <p:cTn dur="1" fill="hold">
                          <p:stCondLst>
                            <p:cond delay="0"/>
                          </p:stCondLst>
                        </p:cTn>
                        <p:tgtEl>
                          <p:spTgt spid="19"/>
                        </p:tgtEl>
                        <p:attrNameLst>
                          <p:attrName>style.visibility</p:attrName>
                        </p:attrNameLst>
                      </p:cBhvr>
                      <p:to>
                        <p:strVal val="visible"/>
                      </p:to>
                    </p:set>
                    <p:anim calcmode="lin" valueType="num">
                      <p:cBhvr additive="base">
                        <p:cTn dur="1000" fill="hold"/>
                        <p:tgtEl>
                          <p:spTgt spid="19"/>
                        </p:tgtEl>
                        <p:attrNameLst>
                          <p:attrName>ppt_x</p:attrName>
                        </p:attrNameLst>
                      </p:cBhvr>
                      <p:tavLst>
                        <p:tav tm="0">
                          <p:val>
                            <p:strVal val="1+#ppt_w/2"/>
                          </p:val>
                        </p:tav>
                        <p:tav tm="100000">
                          <p:val>
                            <p:strVal val="#ppt_x"/>
                          </p:val>
                        </p:tav>
                      </p:tavLst>
                    </p:anim>
                    <p:anim calcmode="lin" valueType="num">
                      <p:cBhvr additive="base">
                        <p:cTn dur="1000" fill="hold"/>
                        <p:tgtEl>
                          <p:spTgt spid="19"/>
                        </p:tgtEl>
                        <p:attrNameLst>
                          <p:attrName>ppt_y</p:attrName>
                        </p:attrNameLst>
                      </p:cBhvr>
                      <p:tavLst>
                        <p:tav tm="0">
                          <p:val>
                            <p:strVal val="#ppt_y"/>
                          </p:val>
                        </p:tav>
                        <p:tav tm="100000">
                          <p:val>
                            <p:strVal val="#ppt_y"/>
                          </p:val>
                        </p:tav>
                      </p:tavLst>
                    </p:anim>
                  </p:childTnLst>
                </p:cTn>
              </p:par>
            </p:tnLst>
          </p:tmpl>
        </p:tmplLst>
      </p:bldP>
      <p:bldP spid="20" grpId="0">
        <p:tmplLst>
          <p:tmpl>
            <p:tnLst>
              <p:par>
                <p:cTn presetID="2" presetClass="entr" presetSubtype="2" decel="100000" fill="hold" nodeType="withEffect">
                  <p:stCondLst>
                    <p:cond delay="250"/>
                  </p:stCondLst>
                  <p:childTnLst>
                    <p:set>
                      <p:cBhvr>
                        <p:cTn dur="1" fill="hold">
                          <p:stCondLst>
                            <p:cond delay="0"/>
                          </p:stCondLst>
                        </p:cTn>
                        <p:tgtEl>
                          <p:spTgt spid="20"/>
                        </p:tgtEl>
                        <p:attrNameLst>
                          <p:attrName>style.visibility</p:attrName>
                        </p:attrNameLst>
                      </p:cBhvr>
                      <p:to>
                        <p:strVal val="visible"/>
                      </p:to>
                    </p:set>
                    <p:anim calcmode="lin" valueType="num">
                      <p:cBhvr additive="base">
                        <p:cTn dur="1000" fill="hold"/>
                        <p:tgtEl>
                          <p:spTgt spid="20"/>
                        </p:tgtEl>
                        <p:attrNameLst>
                          <p:attrName>ppt_x</p:attrName>
                        </p:attrNameLst>
                      </p:cBhvr>
                      <p:tavLst>
                        <p:tav tm="0">
                          <p:val>
                            <p:strVal val="1+#ppt_w/2"/>
                          </p:val>
                        </p:tav>
                        <p:tav tm="100000">
                          <p:val>
                            <p:strVal val="#ppt_x"/>
                          </p:val>
                        </p:tav>
                      </p:tavLst>
                    </p:anim>
                    <p:anim calcmode="lin" valueType="num">
                      <p:cBhvr additive="base">
                        <p:cTn dur="1000" fill="hold"/>
                        <p:tgtEl>
                          <p:spTgt spid="20"/>
                        </p:tgtEl>
                        <p:attrNameLst>
                          <p:attrName>ppt_y</p:attrName>
                        </p:attrNameLst>
                      </p:cBhvr>
                      <p:tavLst>
                        <p:tav tm="0">
                          <p:val>
                            <p:strVal val="#ppt_y"/>
                          </p:val>
                        </p:tav>
                        <p:tav tm="100000">
                          <p:val>
                            <p:strVal val="#ppt_y"/>
                          </p:val>
                        </p:tav>
                      </p:tavLst>
                    </p:anim>
                  </p:childTnLst>
                </p:cTn>
              </p:par>
            </p:tnLst>
          </p:tmpl>
        </p:tmplLst>
      </p:bldP>
      <p:bldP spid="27" grpId="0" build="p">
        <p:tmplLst>
          <p:tmpl lvl="1">
            <p:tnLst>
              <p:par>
                <p:cTn presetID="2" presetClass="entr" presetSubtype="2" decel="100000" fill="hold" nodeType="withEffect">
                  <p:stCondLst>
                    <p:cond delay="250"/>
                  </p:stCondLst>
                  <p:childTnLst>
                    <p:set>
                      <p:cBhvr>
                        <p:cTn dur="1" fill="hold">
                          <p:stCondLst>
                            <p:cond delay="0"/>
                          </p:stCondLst>
                        </p:cTn>
                        <p:tgtEl>
                          <p:spTgt spid="27"/>
                        </p:tgtEl>
                        <p:attrNameLst>
                          <p:attrName>style.visibility</p:attrName>
                        </p:attrNameLst>
                      </p:cBhvr>
                      <p:to>
                        <p:strVal val="visible"/>
                      </p:to>
                    </p:set>
                    <p:anim calcmode="lin" valueType="num">
                      <p:cBhvr additive="base">
                        <p:cTn dur="1000" fill="hold"/>
                        <p:tgtEl>
                          <p:spTgt spid="27"/>
                        </p:tgtEl>
                        <p:attrNameLst>
                          <p:attrName>ppt_x</p:attrName>
                        </p:attrNameLst>
                      </p:cBhvr>
                      <p:tavLst>
                        <p:tav tm="0">
                          <p:val>
                            <p:strVal val="1+#ppt_w/2"/>
                          </p:val>
                        </p:tav>
                        <p:tav tm="100000">
                          <p:val>
                            <p:strVal val="#ppt_x"/>
                          </p:val>
                        </p:tav>
                      </p:tavLst>
                    </p:anim>
                    <p:anim calcmode="lin" valueType="num">
                      <p:cBhvr additive="base">
                        <p:cTn dur="1000" fill="hold"/>
                        <p:tgtEl>
                          <p:spTgt spid="27"/>
                        </p:tgtEl>
                        <p:attrNameLst>
                          <p:attrName>ppt_y</p:attrName>
                        </p:attrNameLst>
                      </p:cBhvr>
                      <p:tavLst>
                        <p:tav tm="0">
                          <p:val>
                            <p:strVal val="#ppt_y"/>
                          </p:val>
                        </p:tav>
                        <p:tav tm="100000">
                          <p:val>
                            <p:strVal val="#ppt_y"/>
                          </p:val>
                        </p:tav>
                      </p:tavLst>
                    </p:anim>
                  </p:childTnLst>
                </p:cTn>
              </p:par>
            </p:tnLst>
          </p:tmpl>
        </p:tmplLst>
      </p:bldP>
      <p:bldP spid="28" grpId="0" build="p">
        <p:tmplLst>
          <p:tmpl lvl="1">
            <p:tnLst>
              <p:par>
                <p:cTn presetID="2" presetClass="entr" presetSubtype="2" decel="100000" fill="hold" nodeType="withEffect">
                  <p:stCondLst>
                    <p:cond delay="250"/>
                  </p:stCondLst>
                  <p:childTnLst>
                    <p:set>
                      <p:cBhvr>
                        <p:cTn dur="1" fill="hold">
                          <p:stCondLst>
                            <p:cond delay="0"/>
                          </p:stCondLst>
                        </p:cTn>
                        <p:tgtEl>
                          <p:spTgt spid="28"/>
                        </p:tgtEl>
                        <p:attrNameLst>
                          <p:attrName>style.visibility</p:attrName>
                        </p:attrNameLst>
                      </p:cBhvr>
                      <p:to>
                        <p:strVal val="visible"/>
                      </p:to>
                    </p:set>
                    <p:anim calcmode="lin" valueType="num">
                      <p:cBhvr additive="base">
                        <p:cTn dur="1000" fill="hold"/>
                        <p:tgtEl>
                          <p:spTgt spid="28"/>
                        </p:tgtEl>
                        <p:attrNameLst>
                          <p:attrName>ppt_x</p:attrName>
                        </p:attrNameLst>
                      </p:cBhvr>
                      <p:tavLst>
                        <p:tav tm="0">
                          <p:val>
                            <p:strVal val="1+#ppt_w/2"/>
                          </p:val>
                        </p:tav>
                        <p:tav tm="100000">
                          <p:val>
                            <p:strVal val="#ppt_x"/>
                          </p:val>
                        </p:tav>
                      </p:tavLst>
                    </p:anim>
                    <p:anim calcmode="lin" valueType="num">
                      <p:cBhvr additive="base">
                        <p:cTn dur="1000" fill="hold"/>
                        <p:tgtEl>
                          <p:spTgt spid="28"/>
                        </p:tgtEl>
                        <p:attrNameLst>
                          <p:attrName>ppt_y</p:attrName>
                        </p:attrNameLst>
                      </p:cBhvr>
                      <p:tavLst>
                        <p:tav tm="0">
                          <p:val>
                            <p:strVal val="#ppt_y"/>
                          </p:val>
                        </p:tav>
                        <p:tav tm="100000">
                          <p:val>
                            <p:strVal val="#ppt_y"/>
                          </p:val>
                        </p:tav>
                      </p:tavLst>
                    </p:anim>
                  </p:childTnLst>
                </p:cTn>
              </p:par>
            </p:tnLst>
          </p:tmpl>
        </p:tmplLst>
      </p:bldP>
    </p:bldLst>
  </p:timing>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HEADLINE ONLY">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D580604-CA90-4824-BA71-7DD12488F4E8}"/>
              </a:ext>
            </a:extLst>
          </p:cNvPr>
          <p:cNvSpPr>
            <a:spLocks noGrp="1"/>
          </p:cNvSpPr>
          <p:nvPr>
            <p:ph type="title"/>
          </p:nvPr>
        </p:nvSpPr>
        <p:spPr/>
        <p:txBody>
          <a:bodyPr/>
          <a:lstStyle/>
          <a:p>
            <a:r>
              <a:rPr lang="de-DE"/>
              <a:t>Mastertitelformat bearbeiten</a:t>
            </a:r>
          </a:p>
        </p:txBody>
      </p:sp>
      <p:sp>
        <p:nvSpPr>
          <p:cNvPr id="3" name="Foliennummernplatzhalter 2">
            <a:extLst>
              <a:ext uri="{FF2B5EF4-FFF2-40B4-BE49-F238E27FC236}">
                <a16:creationId xmlns:a16="http://schemas.microsoft.com/office/drawing/2014/main" id="{648331E1-D418-47BC-B8D2-89EAF4B26D40}"/>
              </a:ext>
            </a:extLst>
          </p:cNvPr>
          <p:cNvSpPr>
            <a:spLocks noGrp="1"/>
          </p:cNvSpPr>
          <p:nvPr>
            <p:ph type="sldNum" sz="quarter" idx="10"/>
          </p:nvPr>
        </p:nvSpPr>
        <p:spPr/>
        <p:txBody>
          <a:bodyPr/>
          <a:lstStyle/>
          <a:p>
            <a:fld id="{A04BEB4F-8CE1-4F18-986F-6CE0A0BE9470}" type="slidenum">
              <a:rPr lang="de-DE" smtClean="0"/>
              <a:t>‹#›</a:t>
            </a:fld>
            <a:endParaRPr lang="de-DE"/>
          </a:p>
        </p:txBody>
      </p:sp>
    </p:spTree>
    <p:extLst>
      <p:ext uri="{BB962C8B-B14F-4D97-AF65-F5344CB8AC3E}">
        <p14:creationId xmlns:p14="http://schemas.microsoft.com/office/powerpoint/2010/main" val="691823661"/>
      </p:ext>
    </p:extLst>
  </p:cSld>
  <p:clrMapOvr>
    <a:masterClrMapping/>
  </p:clrMapOvr>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FA4954A8-B84C-457D-BB69-9D6B39AD76F3}"/>
              </a:ext>
            </a:extLst>
          </p:cNvPr>
          <p:cNvSpPr>
            <a:spLocks noGrp="1"/>
          </p:cNvSpPr>
          <p:nvPr>
            <p:ph type="sldNum" sz="quarter" idx="10"/>
          </p:nvPr>
        </p:nvSpPr>
        <p:spPr/>
        <p:txBody>
          <a:bodyPr/>
          <a:lstStyle/>
          <a:p>
            <a:fld id="{A04BEB4F-8CE1-4F18-986F-6CE0A0BE9470}" type="slidenum">
              <a:rPr lang="de-DE" smtClean="0"/>
              <a:t>‹#›</a:t>
            </a:fld>
            <a:endParaRPr lang="de-DE"/>
          </a:p>
        </p:txBody>
      </p:sp>
    </p:spTree>
    <p:extLst>
      <p:ext uri="{BB962C8B-B14F-4D97-AF65-F5344CB8AC3E}">
        <p14:creationId xmlns:p14="http://schemas.microsoft.com/office/powerpoint/2010/main" val="3731915147"/>
      </p:ext>
    </p:extLst>
  </p:cSld>
  <p:clrMapOvr>
    <a:masterClrMapping/>
  </p:clrMapOvr>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2978929"/>
      </p:ext>
    </p:extLst>
  </p:cSld>
  <p:clrMapOvr>
    <a:masterClrMapping/>
  </p:clrMapOvr>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cSld name="Custom Layou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05556507"/>
      </p:ext>
    </p:extLst>
  </p:cSld>
  <p:clrMapOvr>
    <a:masterClrMapping/>
  </p:clrMapOvr>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cSld name="63_Custom Layout">
    <p:spTree>
      <p:nvGrpSpPr>
        <p:cNvPr id="1" name=""/>
        <p:cNvGrpSpPr/>
        <p:nvPr/>
      </p:nvGrpSpPr>
      <p:grpSpPr>
        <a:xfrm>
          <a:off x="0" y="0"/>
          <a:ext cx="0" cy="0"/>
          <a:chOff x="0" y="0"/>
          <a:chExt cx="0" cy="0"/>
        </a:xfrm>
      </p:grpSpPr>
      <p:sp>
        <p:nvSpPr>
          <p:cNvPr id="15" name="Picture Placeholder 15"/>
          <p:cNvSpPr>
            <a:spLocks noGrp="1"/>
          </p:cNvSpPr>
          <p:nvPr>
            <p:ph type="pic" sz="quarter" idx="10" hasCustomPrompt="1"/>
          </p:nvPr>
        </p:nvSpPr>
        <p:spPr>
          <a:xfrm>
            <a:off x="5247592" y="1624774"/>
            <a:ext cx="1695229" cy="3673508"/>
          </a:xfrm>
          <a:prstGeom prst="rect">
            <a:avLst/>
          </a:prstGeom>
          <a:pattFill prst="pct60">
            <a:fgClr>
              <a:srgbClr val="FFFFFF"/>
            </a:fgClr>
            <a:bgClr>
              <a:srgbClr val="E6E9EE"/>
            </a:bgClr>
          </a:pattFill>
        </p:spPr>
        <p:txBody>
          <a:bodyPr/>
          <a:lstStyle>
            <a:lvl1pPr>
              <a:defRPr lang="en-US"/>
            </a:lvl1pPr>
          </a:lstStyle>
          <a:p>
            <a:pPr lvl="0"/>
            <a:r>
              <a:rPr lang="en-US"/>
              <a:t>Drag and drop picture</a:t>
            </a:r>
          </a:p>
        </p:txBody>
      </p:sp>
    </p:spTree>
    <p:extLst>
      <p:ext uri="{BB962C8B-B14F-4D97-AF65-F5344CB8AC3E}">
        <p14:creationId xmlns:p14="http://schemas.microsoft.com/office/powerpoint/2010/main" val="384874033"/>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4" dur="150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1500" fill="hold"/>
                                        <p:tgtEl>
                                          <p:spTgt spid="15"/>
                                        </p:tgtEl>
                                        <p:attrNameLst>
                                          <p:attrName>ppt_x</p:attrName>
                                        </p:attrNameLst>
                                      </p:cBhvr>
                                      <p:tavLst>
                                        <p:tav tm="0">
                                          <p:val>
                                            <p:strVal val="#ppt_x"/>
                                          </p:val>
                                        </p:tav>
                                        <p:tav tm="100000">
                                          <p:val>
                                            <p:strVal val="#ppt_x"/>
                                          </p:val>
                                        </p:tav>
                                      </p:tavLst>
                                    </p:anim>
                                    <p:anim calcmode="lin" valueType="num">
                                      <p:cBhvr additive="base">
                                        <p:cTn id="8" dur="1500" fill="hold"/>
                                        <p:tgtEl>
                                          <p:spTgt spid="1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Lst>
  </p:timing>
</p:sldLayout>
</file>

<file path=ppt/slideLayouts/slideLayout256.xml><?xml version="1.0" encoding="utf-8"?>
<p:sldLayout xmlns:a="http://schemas.openxmlformats.org/drawingml/2006/main" xmlns:r="http://schemas.openxmlformats.org/officeDocument/2006/relationships" xmlns:p="http://schemas.openxmlformats.org/presentationml/2006/main">
  <p:cSld name="64_Custom Layout">
    <p:spTree>
      <p:nvGrpSpPr>
        <p:cNvPr id="1" name=""/>
        <p:cNvGrpSpPr/>
        <p:nvPr/>
      </p:nvGrpSpPr>
      <p:grpSpPr>
        <a:xfrm>
          <a:off x="0" y="0"/>
          <a:ext cx="0" cy="0"/>
          <a:chOff x="0" y="0"/>
          <a:chExt cx="0" cy="0"/>
        </a:xfrm>
      </p:grpSpPr>
      <p:sp>
        <p:nvSpPr>
          <p:cNvPr id="15" name="Picture Placeholder 15"/>
          <p:cNvSpPr>
            <a:spLocks noGrp="1"/>
          </p:cNvSpPr>
          <p:nvPr>
            <p:ph type="pic" sz="quarter" idx="10" hasCustomPrompt="1"/>
          </p:nvPr>
        </p:nvSpPr>
        <p:spPr>
          <a:xfrm>
            <a:off x="3616154" y="1624774"/>
            <a:ext cx="1695229" cy="3673508"/>
          </a:xfrm>
          <a:prstGeom prst="rect">
            <a:avLst/>
          </a:prstGeom>
          <a:pattFill prst="pct60">
            <a:fgClr>
              <a:srgbClr val="FFFFFF"/>
            </a:fgClr>
            <a:bgClr>
              <a:srgbClr val="E6E9EE"/>
            </a:bgClr>
          </a:pattFill>
        </p:spPr>
        <p:txBody>
          <a:bodyPr anchor="ctr"/>
          <a:lstStyle>
            <a:lvl1pPr>
              <a:defRPr lang="en-US"/>
            </a:lvl1pPr>
          </a:lstStyle>
          <a:p>
            <a:pPr lvl="0"/>
            <a:r>
              <a:rPr lang="en-US"/>
              <a:t>Drag and drop picture</a:t>
            </a:r>
          </a:p>
        </p:txBody>
      </p:sp>
      <p:sp>
        <p:nvSpPr>
          <p:cNvPr id="33" name="Picture Placeholder 15"/>
          <p:cNvSpPr>
            <a:spLocks noGrp="1"/>
          </p:cNvSpPr>
          <p:nvPr>
            <p:ph type="pic" sz="quarter" idx="11" hasCustomPrompt="1"/>
          </p:nvPr>
        </p:nvSpPr>
        <p:spPr>
          <a:xfrm>
            <a:off x="1557815" y="1624774"/>
            <a:ext cx="1695229" cy="3673508"/>
          </a:xfrm>
          <a:prstGeom prst="rect">
            <a:avLst/>
          </a:prstGeom>
          <a:pattFill prst="pct60">
            <a:fgClr>
              <a:srgbClr val="FFFFFF"/>
            </a:fgClr>
            <a:bgClr>
              <a:srgbClr val="E6E9EE"/>
            </a:bgClr>
          </a:pattFill>
        </p:spPr>
        <p:txBody>
          <a:bodyPr anchor="ctr"/>
          <a:lstStyle>
            <a:lvl1pPr>
              <a:defRPr lang="en-US"/>
            </a:lvl1pPr>
          </a:lstStyle>
          <a:p>
            <a:pPr lvl="0"/>
            <a:r>
              <a:rPr lang="en-US"/>
              <a:t>Drag and drop picture</a:t>
            </a:r>
          </a:p>
        </p:txBody>
      </p:sp>
      <p:sp>
        <p:nvSpPr>
          <p:cNvPr id="35" name="Picture Placeholder 15"/>
          <p:cNvSpPr>
            <a:spLocks noGrp="1"/>
          </p:cNvSpPr>
          <p:nvPr>
            <p:ph type="pic" sz="quarter" idx="12" hasCustomPrompt="1"/>
          </p:nvPr>
        </p:nvSpPr>
        <p:spPr>
          <a:xfrm>
            <a:off x="5672587" y="1624774"/>
            <a:ext cx="1695229" cy="3673508"/>
          </a:xfrm>
          <a:prstGeom prst="rect">
            <a:avLst/>
          </a:prstGeom>
          <a:pattFill prst="pct60">
            <a:fgClr>
              <a:srgbClr val="FFFFFF"/>
            </a:fgClr>
            <a:bgClr>
              <a:srgbClr val="E6E9EE"/>
            </a:bgClr>
          </a:pattFill>
        </p:spPr>
        <p:txBody>
          <a:bodyPr anchor="ctr"/>
          <a:lstStyle>
            <a:lvl1pPr>
              <a:defRPr lang="en-US"/>
            </a:lvl1pPr>
          </a:lstStyle>
          <a:p>
            <a:pPr lvl="0"/>
            <a:r>
              <a:rPr lang="en-US"/>
              <a:t>Drag and drop picture</a:t>
            </a:r>
          </a:p>
        </p:txBody>
      </p:sp>
    </p:spTree>
    <p:extLst>
      <p:ext uri="{BB962C8B-B14F-4D97-AF65-F5344CB8AC3E}">
        <p14:creationId xmlns:p14="http://schemas.microsoft.com/office/powerpoint/2010/main" val="3656847676"/>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8" dur="1000" decel="100000" fill="hold" grpId="0" nodeType="withEffect">
                                  <p:stCondLst>
                                    <p:cond delay="0"/>
                                  </p:stCondLst>
                                  <p:childTnLst>
                                    <p:set>
                                      <p:cBhvr>
                                        <p:cTn id="6" dur="1" fill="hold">
                                          <p:stCondLst>
                                            <p:cond delay="0"/>
                                          </p:stCondLst>
                                        </p:cTn>
                                        <p:tgtEl>
                                          <p:spTgt spid="35"/>
                                        </p:tgtEl>
                                        <p:attrNameLst>
                                          <p:attrName>style.visibility</p:attrName>
                                        </p:attrNameLst>
                                      </p:cBhvr>
                                      <p:to>
                                        <p:strVal val="visible"/>
                                      </p:to>
                                    </p:set>
                                    <p:anim calcmode="lin" valueType="num">
                                      <p:cBhvr additive="base">
                                        <p:cTn id="7" dur="1000" fill="hold"/>
                                        <p:tgtEl>
                                          <p:spTgt spid="35"/>
                                        </p:tgtEl>
                                        <p:attrNameLst>
                                          <p:attrName>ppt_x</p:attrName>
                                        </p:attrNameLst>
                                      </p:cBhvr>
                                      <p:tavLst>
                                        <p:tav tm="0">
                                          <p:val>
                                            <p:strVal val="0-#ppt_w/2"/>
                                          </p:val>
                                        </p:tav>
                                        <p:tav tm="100000">
                                          <p:val>
                                            <p:strVal val="#ppt_x"/>
                                          </p:val>
                                        </p:tav>
                                      </p:tavLst>
                                    </p:anim>
                                    <p:anim calcmode="lin" valueType="num">
                                      <p:cBhvr additive="base">
                                        <p:cTn id="8" dur="1000" fill="hold"/>
                                        <p:tgtEl>
                                          <p:spTgt spid="35"/>
                                        </p:tgtEl>
                                        <p:attrNameLst>
                                          <p:attrName>ppt_y</p:attrName>
                                        </p:attrNameLst>
                                      </p:cBhvr>
                                      <p:tavLst>
                                        <p:tav tm="0">
                                          <p:val>
                                            <p:strVal val="#ppt_y"/>
                                          </p:val>
                                        </p:tav>
                                        <p:tav tm="100000">
                                          <p:val>
                                            <p:strVal val="#ppt_y"/>
                                          </p:val>
                                        </p:tav>
                                      </p:tavLst>
                                    </p:anim>
                                  </p:childTnLst>
                                </p:cTn>
                              </p:par>
                              <p:par>
                                <p:cTn id="9" presetID="2" presetClass="entr" presetSubtype="8" dur="1000" decel="100000" fill="hold" grpId="0" nodeType="withEffect">
                                  <p:stCondLst>
                                    <p:cond delay="100"/>
                                  </p:stCondLst>
                                  <p:childTnLst>
                                    <p:set>
                                      <p:cBhvr>
                                        <p:cTn id="10" dur="1" fill="hold">
                                          <p:stCondLst>
                                            <p:cond delay="0"/>
                                          </p:stCondLst>
                                        </p:cTn>
                                        <p:tgtEl>
                                          <p:spTgt spid="15"/>
                                        </p:tgtEl>
                                        <p:attrNameLst>
                                          <p:attrName>style.visibility</p:attrName>
                                        </p:attrNameLst>
                                      </p:cBhvr>
                                      <p:to>
                                        <p:strVal val="visible"/>
                                      </p:to>
                                    </p:set>
                                    <p:anim calcmode="lin" valueType="num">
                                      <p:cBhvr additive="base">
                                        <p:cTn id="11" dur="1000" fill="hold"/>
                                        <p:tgtEl>
                                          <p:spTgt spid="15"/>
                                        </p:tgtEl>
                                        <p:attrNameLst>
                                          <p:attrName>ppt_x</p:attrName>
                                        </p:attrNameLst>
                                      </p:cBhvr>
                                      <p:tavLst>
                                        <p:tav tm="0">
                                          <p:val>
                                            <p:strVal val="0-#ppt_w/2"/>
                                          </p:val>
                                        </p:tav>
                                        <p:tav tm="100000">
                                          <p:val>
                                            <p:strVal val="#ppt_x"/>
                                          </p:val>
                                        </p:tav>
                                      </p:tavLst>
                                    </p:anim>
                                    <p:anim calcmode="lin" valueType="num">
                                      <p:cBhvr additive="base">
                                        <p:cTn id="12" dur="1000" fill="hold"/>
                                        <p:tgtEl>
                                          <p:spTgt spid="15"/>
                                        </p:tgtEl>
                                        <p:attrNameLst>
                                          <p:attrName>ppt_y</p:attrName>
                                        </p:attrNameLst>
                                      </p:cBhvr>
                                      <p:tavLst>
                                        <p:tav tm="0">
                                          <p:val>
                                            <p:strVal val="#ppt_y"/>
                                          </p:val>
                                        </p:tav>
                                        <p:tav tm="100000">
                                          <p:val>
                                            <p:strVal val="#ppt_y"/>
                                          </p:val>
                                        </p:tav>
                                      </p:tavLst>
                                    </p:anim>
                                  </p:childTnLst>
                                </p:cTn>
                              </p:par>
                              <p:par>
                                <p:cTn id="13" presetID="2" presetClass="entr" presetSubtype="8" dur="1000" decel="100000" fill="hold" grpId="0" nodeType="withEffect">
                                  <p:stCondLst>
                                    <p:cond delay="200"/>
                                  </p:stCondLst>
                                  <p:childTnLst>
                                    <p:set>
                                      <p:cBhvr>
                                        <p:cTn id="14" dur="1" fill="hold">
                                          <p:stCondLst>
                                            <p:cond delay="0"/>
                                          </p:stCondLst>
                                        </p:cTn>
                                        <p:tgtEl>
                                          <p:spTgt spid="33"/>
                                        </p:tgtEl>
                                        <p:attrNameLst>
                                          <p:attrName>style.visibility</p:attrName>
                                        </p:attrNameLst>
                                      </p:cBhvr>
                                      <p:to>
                                        <p:strVal val="visible"/>
                                      </p:to>
                                    </p:set>
                                    <p:anim calcmode="lin" valueType="num">
                                      <p:cBhvr additive="base">
                                        <p:cTn id="15" dur="1000" fill="hold"/>
                                        <p:tgtEl>
                                          <p:spTgt spid="33"/>
                                        </p:tgtEl>
                                        <p:attrNameLst>
                                          <p:attrName>ppt_x</p:attrName>
                                        </p:attrNameLst>
                                      </p:cBhvr>
                                      <p:tavLst>
                                        <p:tav tm="0">
                                          <p:val>
                                            <p:strVal val="0-#ppt_w/2"/>
                                          </p:val>
                                        </p:tav>
                                        <p:tav tm="100000">
                                          <p:val>
                                            <p:strVal val="#ppt_x"/>
                                          </p:val>
                                        </p:tav>
                                      </p:tavLst>
                                    </p:anim>
                                    <p:anim calcmode="lin" valueType="num">
                                      <p:cBhvr additive="base">
                                        <p:cTn id="16" dur="1000" fill="hold"/>
                                        <p:tgtEl>
                                          <p:spTgt spid="3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33" grpId="0" animBg="1"/>
      <p:bldP spid="35" grpId="0" animBg="1"/>
    </p:bldLst>
  </p:timing>
</p:sldLayout>
</file>

<file path=ppt/slideLayouts/slideLayout257.xml><?xml version="1.0" encoding="utf-8"?>
<p:sldLayout xmlns:a="http://schemas.openxmlformats.org/drawingml/2006/main" xmlns:r="http://schemas.openxmlformats.org/officeDocument/2006/relationships" xmlns:p="http://schemas.openxmlformats.org/presentationml/2006/main">
  <p:cSld name="71_Custom Layout">
    <p:spTree>
      <p:nvGrpSpPr>
        <p:cNvPr id="1" name=""/>
        <p:cNvGrpSpPr/>
        <p:nvPr/>
      </p:nvGrpSpPr>
      <p:grpSpPr>
        <a:xfrm>
          <a:off x="0" y="0"/>
          <a:ext cx="0" cy="0"/>
          <a:chOff x="0" y="0"/>
          <a:chExt cx="0" cy="0"/>
        </a:xfrm>
      </p:grpSpPr>
      <p:sp>
        <p:nvSpPr>
          <p:cNvPr id="34" name="Picture Placeholder 29"/>
          <p:cNvSpPr>
            <a:spLocks noGrp="1"/>
          </p:cNvSpPr>
          <p:nvPr>
            <p:ph type="pic" sz="quarter" idx="12" hasCustomPrompt="1"/>
          </p:nvPr>
        </p:nvSpPr>
        <p:spPr>
          <a:xfrm>
            <a:off x="8275563" y="2905237"/>
            <a:ext cx="2769446" cy="6026722"/>
          </a:xfrm>
          <a:custGeom>
            <a:avLst/>
            <a:gdLst>
              <a:gd name="connsiteX0" fmla="*/ 0 w 3867993"/>
              <a:gd name="connsiteY0" fmla="*/ 0 h 8367894"/>
              <a:gd name="connsiteX1" fmla="*/ 3867993 w 3867993"/>
              <a:gd name="connsiteY1" fmla="*/ 0 h 8367894"/>
              <a:gd name="connsiteX2" fmla="*/ 3867993 w 3867993"/>
              <a:gd name="connsiteY2" fmla="*/ 8367894 h 8367894"/>
              <a:gd name="connsiteX3" fmla="*/ 0 w 3867993"/>
              <a:gd name="connsiteY3" fmla="*/ 8367894 h 8367894"/>
            </a:gdLst>
            <a:ahLst/>
            <a:cxnLst>
              <a:cxn ang="0">
                <a:pos x="connsiteX0" y="connsiteY0"/>
              </a:cxn>
              <a:cxn ang="0">
                <a:pos x="connsiteX1" y="connsiteY1"/>
              </a:cxn>
              <a:cxn ang="0">
                <a:pos x="connsiteX2" y="connsiteY2"/>
              </a:cxn>
              <a:cxn ang="0">
                <a:pos x="connsiteX3" y="connsiteY3"/>
              </a:cxn>
            </a:cxnLst>
            <a:rect l="l" t="t" r="r" b="b"/>
            <a:pathLst>
              <a:path w="3867992" h="8367894">
                <a:moveTo>
                  <a:pt x="0" y="0"/>
                </a:moveTo>
                <a:lnTo>
                  <a:pt x="3867993" y="0"/>
                </a:lnTo>
                <a:lnTo>
                  <a:pt x="3867993" y="8367894"/>
                </a:lnTo>
                <a:lnTo>
                  <a:pt x="0" y="8367894"/>
                </a:lnTo>
                <a:close/>
              </a:path>
            </a:pathLst>
          </a:custGeom>
          <a:pattFill prst="pct60">
            <a:fgClr>
              <a:srgbClr val="FFFFFF"/>
            </a:fgClr>
            <a:bgClr>
              <a:srgbClr val="E6E9EE"/>
            </a:bgClr>
          </a:pattFill>
        </p:spPr>
        <p:txBody>
          <a:bodyPr anchor="ctr"/>
          <a:lstStyle>
            <a:lvl1pPr>
              <a:defRPr lang="en-US"/>
            </a:lvl1pPr>
          </a:lstStyle>
          <a:p>
            <a:pPr lvl="0"/>
            <a:r>
              <a:rPr lang="en-US"/>
              <a:t>Drag and drop picture</a:t>
            </a:r>
          </a:p>
        </p:txBody>
      </p:sp>
      <p:sp>
        <p:nvSpPr>
          <p:cNvPr id="30" name="Picture Placeholder 29"/>
          <p:cNvSpPr>
            <a:spLocks noGrp="1"/>
          </p:cNvSpPr>
          <p:nvPr>
            <p:ph type="pic" sz="quarter" idx="11" hasCustomPrompt="1"/>
          </p:nvPr>
        </p:nvSpPr>
        <p:spPr>
          <a:xfrm>
            <a:off x="1138993" y="2905237"/>
            <a:ext cx="2769446" cy="6026722"/>
          </a:xfrm>
          <a:custGeom>
            <a:avLst/>
            <a:gdLst>
              <a:gd name="connsiteX0" fmla="*/ 0 w 3867993"/>
              <a:gd name="connsiteY0" fmla="*/ 0 h 8367894"/>
              <a:gd name="connsiteX1" fmla="*/ 3867993 w 3867993"/>
              <a:gd name="connsiteY1" fmla="*/ 0 h 8367894"/>
              <a:gd name="connsiteX2" fmla="*/ 3867993 w 3867993"/>
              <a:gd name="connsiteY2" fmla="*/ 8367894 h 8367894"/>
              <a:gd name="connsiteX3" fmla="*/ 0 w 3867993"/>
              <a:gd name="connsiteY3" fmla="*/ 8367894 h 8367894"/>
            </a:gdLst>
            <a:ahLst/>
            <a:cxnLst>
              <a:cxn ang="0">
                <a:pos x="connsiteX0" y="connsiteY0"/>
              </a:cxn>
              <a:cxn ang="0">
                <a:pos x="connsiteX1" y="connsiteY1"/>
              </a:cxn>
              <a:cxn ang="0">
                <a:pos x="connsiteX2" y="connsiteY2"/>
              </a:cxn>
              <a:cxn ang="0">
                <a:pos x="connsiteX3" y="connsiteY3"/>
              </a:cxn>
            </a:cxnLst>
            <a:rect l="l" t="t" r="r" b="b"/>
            <a:pathLst>
              <a:path w="3867992" h="8367894">
                <a:moveTo>
                  <a:pt x="0" y="0"/>
                </a:moveTo>
                <a:lnTo>
                  <a:pt x="3867993" y="0"/>
                </a:lnTo>
                <a:lnTo>
                  <a:pt x="3867993" y="8367894"/>
                </a:lnTo>
                <a:lnTo>
                  <a:pt x="0" y="8367894"/>
                </a:lnTo>
                <a:close/>
              </a:path>
            </a:pathLst>
          </a:custGeom>
          <a:pattFill prst="pct60">
            <a:fgClr>
              <a:srgbClr val="FFFFFF"/>
            </a:fgClr>
            <a:bgClr>
              <a:srgbClr val="E6E9EE"/>
            </a:bgClr>
          </a:pattFill>
        </p:spPr>
        <p:txBody>
          <a:bodyPr anchor="ctr"/>
          <a:lstStyle>
            <a:lvl1pPr>
              <a:defRPr lang="en-US"/>
            </a:lvl1pPr>
          </a:lstStyle>
          <a:p>
            <a:pPr lvl="0"/>
            <a:r>
              <a:rPr lang="en-US"/>
              <a:t>Drag and drop picture</a:t>
            </a:r>
          </a:p>
        </p:txBody>
      </p:sp>
      <p:sp>
        <p:nvSpPr>
          <p:cNvPr id="11" name="Picture Placeholder 10"/>
          <p:cNvSpPr>
            <a:spLocks noGrp="1"/>
          </p:cNvSpPr>
          <p:nvPr>
            <p:ph type="pic" sz="quarter" idx="10" hasCustomPrompt="1"/>
          </p:nvPr>
        </p:nvSpPr>
        <p:spPr>
          <a:xfrm>
            <a:off x="4567925" y="2612378"/>
            <a:ext cx="3056150" cy="6612439"/>
          </a:xfrm>
          <a:custGeom>
            <a:avLst/>
            <a:gdLst>
              <a:gd name="connsiteX0" fmla="*/ 0 w 3867993"/>
              <a:gd name="connsiteY0" fmla="*/ 0 h 8367894"/>
              <a:gd name="connsiteX1" fmla="*/ 3867993 w 3867993"/>
              <a:gd name="connsiteY1" fmla="*/ 0 h 8367894"/>
              <a:gd name="connsiteX2" fmla="*/ 3867993 w 3867993"/>
              <a:gd name="connsiteY2" fmla="*/ 8367894 h 8367894"/>
              <a:gd name="connsiteX3" fmla="*/ 0 w 3867993"/>
              <a:gd name="connsiteY3" fmla="*/ 8367894 h 8367894"/>
            </a:gdLst>
            <a:ahLst/>
            <a:cxnLst>
              <a:cxn ang="0">
                <a:pos x="connsiteX0" y="connsiteY0"/>
              </a:cxn>
              <a:cxn ang="0">
                <a:pos x="connsiteX1" y="connsiteY1"/>
              </a:cxn>
              <a:cxn ang="0">
                <a:pos x="connsiteX2" y="connsiteY2"/>
              </a:cxn>
              <a:cxn ang="0">
                <a:pos x="connsiteX3" y="connsiteY3"/>
              </a:cxn>
            </a:cxnLst>
            <a:rect l="l" t="t" r="r" b="b"/>
            <a:pathLst>
              <a:path w="3867992" h="8367894">
                <a:moveTo>
                  <a:pt x="0" y="0"/>
                </a:moveTo>
                <a:lnTo>
                  <a:pt x="3867993" y="0"/>
                </a:lnTo>
                <a:lnTo>
                  <a:pt x="3867993" y="8367894"/>
                </a:lnTo>
                <a:lnTo>
                  <a:pt x="0" y="8367894"/>
                </a:lnTo>
                <a:close/>
              </a:path>
            </a:pathLst>
          </a:custGeom>
          <a:pattFill prst="pct60">
            <a:fgClr>
              <a:srgbClr val="FFFFFF"/>
            </a:fgClr>
            <a:bgClr>
              <a:srgbClr val="E6E9EE"/>
            </a:bgClr>
          </a:pattFill>
        </p:spPr>
        <p:txBody>
          <a:bodyPr anchor="ctr"/>
          <a:lstStyle>
            <a:lvl1pPr>
              <a:defRPr lang="en-US"/>
            </a:lvl1pPr>
          </a:lstStyle>
          <a:p>
            <a:pPr lvl="0"/>
            <a:r>
              <a:rPr lang="en-US"/>
              <a:t>Drag and drop picture</a:t>
            </a:r>
          </a:p>
        </p:txBody>
      </p:sp>
    </p:spTree>
    <p:extLst>
      <p:ext uri="{BB962C8B-B14F-4D97-AF65-F5344CB8AC3E}">
        <p14:creationId xmlns:p14="http://schemas.microsoft.com/office/powerpoint/2010/main" val="1522497580"/>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4" dur="1000" decel="100000" fill="hold" grpId="0" nodeType="withEffect">
                                  <p:stCondLst>
                                    <p:cond delay="80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1000" fill="hold"/>
                                        <p:tgtEl>
                                          <p:spTgt spid="11"/>
                                        </p:tgtEl>
                                        <p:attrNameLst>
                                          <p:attrName>ppt_x</p:attrName>
                                        </p:attrNameLst>
                                      </p:cBhvr>
                                      <p:tavLst>
                                        <p:tav tm="0">
                                          <p:val>
                                            <p:strVal val="#ppt_x"/>
                                          </p:val>
                                        </p:tav>
                                        <p:tav tm="100000">
                                          <p:val>
                                            <p:strVal val="#ppt_x"/>
                                          </p:val>
                                        </p:tav>
                                      </p:tavLst>
                                    </p:anim>
                                    <p:anim calcmode="lin" valueType="num">
                                      <p:cBhvr additive="base">
                                        <p:cTn id="8" dur="1000" fill="hold"/>
                                        <p:tgtEl>
                                          <p:spTgt spid="11"/>
                                        </p:tgtEl>
                                        <p:attrNameLst>
                                          <p:attrName>ppt_y</p:attrName>
                                        </p:attrNameLst>
                                      </p:cBhvr>
                                      <p:tavLst>
                                        <p:tav tm="0">
                                          <p:val>
                                            <p:strVal val="1+#ppt_h/2"/>
                                          </p:val>
                                        </p:tav>
                                        <p:tav tm="100000">
                                          <p:val>
                                            <p:strVal val="#ppt_y"/>
                                          </p:val>
                                        </p:tav>
                                      </p:tavLst>
                                    </p:anim>
                                  </p:childTnLst>
                                </p:cTn>
                              </p:par>
                              <p:par>
                                <p:cTn id="9" presetID="2" presetClass="entr" presetSubtype="4" dur="1000" decel="100000" fill="hold" grpId="0" nodeType="withEffect">
                                  <p:stCondLst>
                                    <p:cond delay="900"/>
                                  </p:stCondLst>
                                  <p:childTnLst>
                                    <p:set>
                                      <p:cBhvr>
                                        <p:cTn id="10" dur="1" fill="hold">
                                          <p:stCondLst>
                                            <p:cond delay="0"/>
                                          </p:stCondLst>
                                        </p:cTn>
                                        <p:tgtEl>
                                          <p:spTgt spid="30"/>
                                        </p:tgtEl>
                                        <p:attrNameLst>
                                          <p:attrName>style.visibility</p:attrName>
                                        </p:attrNameLst>
                                      </p:cBhvr>
                                      <p:to>
                                        <p:strVal val="visible"/>
                                      </p:to>
                                    </p:set>
                                    <p:anim calcmode="lin" valueType="num">
                                      <p:cBhvr additive="base">
                                        <p:cTn id="11" dur="1000" fill="hold"/>
                                        <p:tgtEl>
                                          <p:spTgt spid="30"/>
                                        </p:tgtEl>
                                        <p:attrNameLst>
                                          <p:attrName>ppt_x</p:attrName>
                                        </p:attrNameLst>
                                      </p:cBhvr>
                                      <p:tavLst>
                                        <p:tav tm="0">
                                          <p:val>
                                            <p:strVal val="#ppt_x"/>
                                          </p:val>
                                        </p:tav>
                                        <p:tav tm="100000">
                                          <p:val>
                                            <p:strVal val="#ppt_x"/>
                                          </p:val>
                                        </p:tav>
                                      </p:tavLst>
                                    </p:anim>
                                    <p:anim calcmode="lin" valueType="num">
                                      <p:cBhvr additive="base">
                                        <p:cTn id="12" dur="1000" fill="hold"/>
                                        <p:tgtEl>
                                          <p:spTgt spid="30"/>
                                        </p:tgtEl>
                                        <p:attrNameLst>
                                          <p:attrName>ppt_y</p:attrName>
                                        </p:attrNameLst>
                                      </p:cBhvr>
                                      <p:tavLst>
                                        <p:tav tm="0">
                                          <p:val>
                                            <p:strVal val="1+#ppt_h/2"/>
                                          </p:val>
                                        </p:tav>
                                        <p:tav tm="100000">
                                          <p:val>
                                            <p:strVal val="#ppt_y"/>
                                          </p:val>
                                        </p:tav>
                                      </p:tavLst>
                                    </p:anim>
                                  </p:childTnLst>
                                </p:cTn>
                              </p:par>
                              <p:par>
                                <p:cTn id="13" presetID="2" presetClass="entr" presetSubtype="4" dur="1000" decel="100000" fill="hold" grpId="0" nodeType="withEffect">
                                  <p:stCondLst>
                                    <p:cond delay="1000"/>
                                  </p:stCondLst>
                                  <p:childTnLst>
                                    <p:set>
                                      <p:cBhvr>
                                        <p:cTn id="14" dur="1" fill="hold">
                                          <p:stCondLst>
                                            <p:cond delay="0"/>
                                          </p:stCondLst>
                                        </p:cTn>
                                        <p:tgtEl>
                                          <p:spTgt spid="34"/>
                                        </p:tgtEl>
                                        <p:attrNameLst>
                                          <p:attrName>style.visibility</p:attrName>
                                        </p:attrNameLst>
                                      </p:cBhvr>
                                      <p:to>
                                        <p:strVal val="visible"/>
                                      </p:to>
                                    </p:set>
                                    <p:anim calcmode="lin" valueType="num">
                                      <p:cBhvr additive="base">
                                        <p:cTn id="15" dur="1000" fill="hold"/>
                                        <p:tgtEl>
                                          <p:spTgt spid="34"/>
                                        </p:tgtEl>
                                        <p:attrNameLst>
                                          <p:attrName>ppt_x</p:attrName>
                                        </p:attrNameLst>
                                      </p:cBhvr>
                                      <p:tavLst>
                                        <p:tav tm="0">
                                          <p:val>
                                            <p:strVal val="#ppt_x"/>
                                          </p:val>
                                        </p:tav>
                                        <p:tav tm="100000">
                                          <p:val>
                                            <p:strVal val="#ppt_x"/>
                                          </p:val>
                                        </p:tav>
                                      </p:tavLst>
                                    </p:anim>
                                    <p:anim calcmode="lin" valueType="num">
                                      <p:cBhvr additive="base">
                                        <p:cTn id="16" dur="1000" fill="hold"/>
                                        <p:tgtEl>
                                          <p:spTgt spid="3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P spid="30" grpId="0" animBg="1"/>
      <p:bldP spid="11" grpId="0" animBg="1"/>
    </p:bldLst>
  </p:timing>
</p:sldLayout>
</file>

<file path=ppt/slideLayouts/slideLayout258.xml><?xml version="1.0" encoding="utf-8"?>
<p:sldLayout xmlns:a="http://schemas.openxmlformats.org/drawingml/2006/main" xmlns:r="http://schemas.openxmlformats.org/officeDocument/2006/relationships" xmlns:p="http://schemas.openxmlformats.org/presentationml/2006/main">
  <p:cSld name="75_Custom Layout">
    <p:spTree>
      <p:nvGrpSpPr>
        <p:cNvPr id="1" name=""/>
        <p:cNvGrpSpPr/>
        <p:nvPr/>
      </p:nvGrpSpPr>
      <p:grpSpPr>
        <a:xfrm>
          <a:off x="0" y="0"/>
          <a:ext cx="0" cy="0"/>
          <a:chOff x="0" y="0"/>
          <a:chExt cx="0" cy="0"/>
        </a:xfrm>
      </p:grpSpPr>
      <p:sp>
        <p:nvSpPr>
          <p:cNvPr id="9" name="Picture Placeholder 10"/>
          <p:cNvSpPr>
            <a:spLocks noGrp="1"/>
          </p:cNvSpPr>
          <p:nvPr>
            <p:ph type="pic" sz="quarter" idx="10" hasCustomPrompt="1"/>
          </p:nvPr>
        </p:nvSpPr>
        <p:spPr>
          <a:xfrm>
            <a:off x="4361883" y="2213968"/>
            <a:ext cx="3483238" cy="2182639"/>
          </a:xfrm>
          <a:custGeom>
            <a:avLst/>
            <a:gdLst>
              <a:gd name="connsiteX0" fmla="*/ 0 w 3867993"/>
              <a:gd name="connsiteY0" fmla="*/ 0 h 8367894"/>
              <a:gd name="connsiteX1" fmla="*/ 3867993 w 3867993"/>
              <a:gd name="connsiteY1" fmla="*/ 0 h 8367894"/>
              <a:gd name="connsiteX2" fmla="*/ 3867993 w 3867993"/>
              <a:gd name="connsiteY2" fmla="*/ 8367894 h 8367894"/>
              <a:gd name="connsiteX3" fmla="*/ 0 w 3867993"/>
              <a:gd name="connsiteY3" fmla="*/ 8367894 h 8367894"/>
            </a:gdLst>
            <a:ahLst/>
            <a:cxnLst>
              <a:cxn ang="0">
                <a:pos x="connsiteX0" y="connsiteY0"/>
              </a:cxn>
              <a:cxn ang="0">
                <a:pos x="connsiteX1" y="connsiteY1"/>
              </a:cxn>
              <a:cxn ang="0">
                <a:pos x="connsiteX2" y="connsiteY2"/>
              </a:cxn>
              <a:cxn ang="0">
                <a:pos x="connsiteX3" y="connsiteY3"/>
              </a:cxn>
            </a:cxnLst>
            <a:rect l="l" t="t" r="r" b="b"/>
            <a:pathLst>
              <a:path w="3867992" h="8367894">
                <a:moveTo>
                  <a:pt x="0" y="0"/>
                </a:moveTo>
                <a:lnTo>
                  <a:pt x="3867993" y="0"/>
                </a:lnTo>
                <a:lnTo>
                  <a:pt x="3867993" y="8367894"/>
                </a:lnTo>
                <a:lnTo>
                  <a:pt x="0" y="8367894"/>
                </a:lnTo>
                <a:close/>
              </a:path>
            </a:pathLst>
          </a:custGeom>
          <a:pattFill prst="pct60">
            <a:fgClr>
              <a:srgbClr val="FFFFFF"/>
            </a:fgClr>
            <a:bgClr>
              <a:srgbClr val="E6E9EE"/>
            </a:bgClr>
          </a:pattFill>
        </p:spPr>
        <p:txBody>
          <a:bodyPr anchor="ctr"/>
          <a:lstStyle>
            <a:lvl1pPr>
              <a:defRPr lang="en-US"/>
            </a:lvl1pPr>
          </a:lstStyle>
          <a:p>
            <a:pPr lvl="0"/>
            <a:r>
              <a:rPr lang="en-US"/>
              <a:t>Drag and drop picture</a:t>
            </a:r>
          </a:p>
        </p:txBody>
      </p:sp>
    </p:spTree>
    <p:extLst>
      <p:ext uri="{BB962C8B-B14F-4D97-AF65-F5344CB8AC3E}">
        <p14:creationId xmlns:p14="http://schemas.microsoft.com/office/powerpoint/2010/main" val="1512367886"/>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4" dur="1800" decel="10000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1800" fill="hold"/>
                                        <p:tgtEl>
                                          <p:spTgt spid="9"/>
                                        </p:tgtEl>
                                        <p:attrNameLst>
                                          <p:attrName>ppt_x</p:attrName>
                                        </p:attrNameLst>
                                      </p:cBhvr>
                                      <p:tavLst>
                                        <p:tav tm="0">
                                          <p:val>
                                            <p:strVal val="#ppt_x"/>
                                          </p:val>
                                        </p:tav>
                                        <p:tav tm="100000">
                                          <p:val>
                                            <p:strVal val="#ppt_x"/>
                                          </p:val>
                                        </p:tav>
                                      </p:tavLst>
                                    </p:anim>
                                    <p:anim calcmode="lin" valueType="num">
                                      <p:cBhvr additive="base">
                                        <p:cTn id="8" dur="18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Layout>
</file>

<file path=ppt/slideLayouts/slideLayout259.xml><?xml version="1.0" encoding="utf-8"?>
<p:sldLayout xmlns:a="http://schemas.openxmlformats.org/drawingml/2006/main" xmlns:r="http://schemas.openxmlformats.org/officeDocument/2006/relationships" xmlns:p="http://schemas.openxmlformats.org/presentationml/2006/main">
  <p:cSld name="77_Custom Layout">
    <p:spTree>
      <p:nvGrpSpPr>
        <p:cNvPr id="1" name=""/>
        <p:cNvGrpSpPr/>
        <p:nvPr/>
      </p:nvGrpSpPr>
      <p:grpSpPr>
        <a:xfrm>
          <a:off x="0" y="0"/>
          <a:ext cx="0" cy="0"/>
          <a:chOff x="0" y="0"/>
          <a:chExt cx="0" cy="0"/>
        </a:xfrm>
      </p:grpSpPr>
      <p:sp>
        <p:nvSpPr>
          <p:cNvPr id="41" name="Picture Placeholder 15"/>
          <p:cNvSpPr>
            <a:spLocks noGrp="1"/>
          </p:cNvSpPr>
          <p:nvPr>
            <p:ph type="pic" sz="quarter" idx="10" hasCustomPrompt="1"/>
          </p:nvPr>
        </p:nvSpPr>
        <p:spPr>
          <a:xfrm>
            <a:off x="4577536" y="4183563"/>
            <a:ext cx="2820557" cy="3255264"/>
          </a:xfrm>
          <a:prstGeom prst="rect">
            <a:avLst/>
          </a:prstGeom>
          <a:pattFill prst="lgGrid">
            <a:fgClr>
              <a:schemeClr val="bg1"/>
            </a:fgClr>
            <a:bgClr>
              <a:schemeClr val="tx2">
                <a:lumMod val="10000"/>
                <a:lumOff val="90000"/>
              </a:schemeClr>
            </a:bgClr>
          </a:pattFill>
          <a:ln>
            <a:noFill/>
          </a:ln>
          <a:effectLst>
            <a:outerShdw blurRad="546100" dist="495300" dir="8100000" sx="94000" sy="94000" algn="ctr" rotWithShape="0">
              <a:srgbClr val="000000">
                <a:alpha val="40000"/>
              </a:srgbClr>
            </a:outerShdw>
          </a:effectLst>
          <a:scene3d>
            <a:camera prst="isometricTopUp"/>
            <a:lightRig rig="threePt" dir="t"/>
          </a:scene3d>
          <a:sp3d extrusionH="76200"/>
        </p:spPr>
        <p:txBody>
          <a:bodyPr anchor="ctr"/>
          <a:lstStyle>
            <a:lvl1pPr marL="0" indent="0" algn="ctr">
              <a:buNone/>
              <a:defRPr baseline="0"/>
            </a:lvl1pPr>
          </a:lstStyle>
          <a:p>
            <a:r>
              <a:rPr lang="en-US"/>
              <a:t>Drag and drop picture</a:t>
            </a:r>
          </a:p>
        </p:txBody>
      </p:sp>
      <p:sp>
        <p:nvSpPr>
          <p:cNvPr id="42" name="Picture Placeholder 15"/>
          <p:cNvSpPr>
            <a:spLocks noGrp="1"/>
          </p:cNvSpPr>
          <p:nvPr>
            <p:ph type="pic" sz="quarter" idx="11" hasCustomPrompt="1"/>
          </p:nvPr>
        </p:nvSpPr>
        <p:spPr>
          <a:xfrm>
            <a:off x="2130908" y="2791402"/>
            <a:ext cx="2820557" cy="3255264"/>
          </a:xfrm>
          <a:prstGeom prst="rect">
            <a:avLst/>
          </a:prstGeom>
          <a:pattFill prst="lgGrid">
            <a:fgClr>
              <a:schemeClr val="bg1"/>
            </a:fgClr>
            <a:bgClr>
              <a:schemeClr val="tx2">
                <a:lumMod val="10000"/>
                <a:lumOff val="90000"/>
              </a:schemeClr>
            </a:bgClr>
          </a:pattFill>
          <a:ln>
            <a:noFill/>
          </a:ln>
          <a:effectLst>
            <a:outerShdw blurRad="546100" dist="495300" dir="8100000" sx="94000" sy="94000" algn="ctr" rotWithShape="0">
              <a:srgbClr val="000000">
                <a:alpha val="40000"/>
              </a:srgbClr>
            </a:outerShdw>
          </a:effectLst>
          <a:scene3d>
            <a:camera prst="isometricTopUp"/>
            <a:lightRig rig="threePt" dir="t"/>
          </a:scene3d>
          <a:sp3d extrusionH="76200"/>
        </p:spPr>
        <p:txBody>
          <a:bodyPr anchor="ctr"/>
          <a:lstStyle>
            <a:lvl1pPr marL="0" indent="0" algn="ctr">
              <a:buNone/>
              <a:defRPr baseline="0"/>
            </a:lvl1pPr>
          </a:lstStyle>
          <a:p>
            <a:r>
              <a:rPr lang="en-US"/>
              <a:t>Drag and drop picture</a:t>
            </a:r>
          </a:p>
        </p:txBody>
      </p:sp>
      <p:sp>
        <p:nvSpPr>
          <p:cNvPr id="43" name="Picture Placeholder 15"/>
          <p:cNvSpPr>
            <a:spLocks noGrp="1"/>
          </p:cNvSpPr>
          <p:nvPr>
            <p:ph type="pic" sz="quarter" idx="12" hasCustomPrompt="1"/>
          </p:nvPr>
        </p:nvSpPr>
        <p:spPr>
          <a:xfrm>
            <a:off x="-315720" y="1400109"/>
            <a:ext cx="2820557" cy="3255264"/>
          </a:xfrm>
          <a:prstGeom prst="rect">
            <a:avLst/>
          </a:prstGeom>
          <a:pattFill prst="lgGrid">
            <a:fgClr>
              <a:schemeClr val="bg1"/>
            </a:fgClr>
            <a:bgClr>
              <a:schemeClr val="tx2">
                <a:lumMod val="10000"/>
                <a:lumOff val="90000"/>
              </a:schemeClr>
            </a:bgClr>
          </a:pattFill>
          <a:ln>
            <a:noFill/>
          </a:ln>
          <a:effectLst>
            <a:outerShdw blurRad="546100" dist="495300" dir="8100000" sx="94000" sy="94000" algn="ctr" rotWithShape="0">
              <a:srgbClr val="000000">
                <a:alpha val="40000"/>
              </a:srgbClr>
            </a:outerShdw>
          </a:effectLst>
          <a:scene3d>
            <a:camera prst="isometricTopUp"/>
            <a:lightRig rig="threePt" dir="t"/>
          </a:scene3d>
          <a:sp3d extrusionH="76200"/>
        </p:spPr>
        <p:txBody>
          <a:bodyPr anchor="ctr"/>
          <a:lstStyle>
            <a:lvl1pPr marL="0" indent="0" algn="ctr">
              <a:buNone/>
              <a:defRPr baseline="0"/>
            </a:lvl1pPr>
          </a:lstStyle>
          <a:p>
            <a:r>
              <a:rPr lang="en-US"/>
              <a:t>Drag and drop picture</a:t>
            </a:r>
          </a:p>
        </p:txBody>
      </p:sp>
      <p:sp>
        <p:nvSpPr>
          <p:cNvPr id="44" name="Picture Placeholder 15"/>
          <p:cNvSpPr>
            <a:spLocks noGrp="1"/>
          </p:cNvSpPr>
          <p:nvPr>
            <p:ph type="pic" sz="quarter" idx="13" hasCustomPrompt="1"/>
          </p:nvPr>
        </p:nvSpPr>
        <p:spPr>
          <a:xfrm>
            <a:off x="1380268" y="4834086"/>
            <a:ext cx="2820557" cy="3255264"/>
          </a:xfrm>
          <a:prstGeom prst="rect">
            <a:avLst/>
          </a:prstGeom>
          <a:pattFill prst="lgGrid">
            <a:fgClr>
              <a:schemeClr val="bg1"/>
            </a:fgClr>
            <a:bgClr>
              <a:schemeClr val="tx2">
                <a:lumMod val="10000"/>
                <a:lumOff val="90000"/>
              </a:schemeClr>
            </a:bgClr>
          </a:pattFill>
          <a:ln>
            <a:noFill/>
          </a:ln>
          <a:effectLst>
            <a:outerShdw blurRad="546100" dist="495300" dir="8100000" sx="94000" sy="94000" algn="ctr" rotWithShape="0">
              <a:srgbClr val="000000">
                <a:alpha val="40000"/>
              </a:srgbClr>
            </a:outerShdw>
          </a:effectLst>
          <a:scene3d>
            <a:camera prst="isometricTopUp"/>
            <a:lightRig rig="threePt" dir="t"/>
          </a:scene3d>
          <a:sp3d extrusionH="76200"/>
        </p:spPr>
        <p:txBody>
          <a:bodyPr anchor="ctr"/>
          <a:lstStyle>
            <a:lvl1pPr marL="0" indent="0" algn="ctr">
              <a:buNone/>
              <a:defRPr baseline="0"/>
            </a:lvl1pPr>
          </a:lstStyle>
          <a:p>
            <a:r>
              <a:rPr lang="en-US"/>
              <a:t>Drag and drop picture</a:t>
            </a:r>
          </a:p>
        </p:txBody>
      </p:sp>
      <p:sp>
        <p:nvSpPr>
          <p:cNvPr id="17" name="Picture Placeholder 15"/>
          <p:cNvSpPr>
            <a:spLocks noGrp="1"/>
          </p:cNvSpPr>
          <p:nvPr>
            <p:ph type="pic" sz="quarter" idx="14" hasCustomPrompt="1"/>
          </p:nvPr>
        </p:nvSpPr>
        <p:spPr>
          <a:xfrm>
            <a:off x="-1010007" y="3422821"/>
            <a:ext cx="2820557" cy="3255264"/>
          </a:xfrm>
          <a:prstGeom prst="rect">
            <a:avLst/>
          </a:prstGeom>
          <a:pattFill prst="lgGrid">
            <a:fgClr>
              <a:schemeClr val="bg1"/>
            </a:fgClr>
            <a:bgClr>
              <a:schemeClr val="tx2">
                <a:lumMod val="10000"/>
                <a:lumOff val="90000"/>
              </a:schemeClr>
            </a:bgClr>
          </a:pattFill>
          <a:ln>
            <a:noFill/>
          </a:ln>
          <a:effectLst>
            <a:outerShdw blurRad="546100" dist="495300" dir="8100000" sx="94000" sy="94000" algn="ctr" rotWithShape="0">
              <a:srgbClr val="000000">
                <a:alpha val="40000"/>
              </a:srgbClr>
            </a:outerShdw>
          </a:effectLst>
          <a:scene3d>
            <a:camera prst="isometricTopUp"/>
            <a:lightRig rig="threePt" dir="t"/>
          </a:scene3d>
          <a:sp3d extrusionH="76200"/>
        </p:spPr>
        <p:txBody>
          <a:bodyPr anchor="ctr"/>
          <a:lstStyle>
            <a:lvl1pPr marL="0" indent="0" algn="ctr">
              <a:buNone/>
              <a:defRPr baseline="0"/>
            </a:lvl1pPr>
          </a:lstStyle>
          <a:p>
            <a:r>
              <a:rPr lang="en-US"/>
              <a:t>Drag and drop picture</a:t>
            </a:r>
          </a:p>
        </p:txBody>
      </p:sp>
    </p:spTree>
    <p:extLst>
      <p:ext uri="{BB962C8B-B14F-4D97-AF65-F5344CB8AC3E}">
        <p14:creationId xmlns:p14="http://schemas.microsoft.com/office/powerpoint/2010/main" val="4037718521"/>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4" dur="1000" decel="100000" fill="hold" grpId="0" nodeType="withEffect">
                                  <p:stCondLst>
                                    <p:cond delay="0"/>
                                  </p:stCondLst>
                                  <p:childTnLst>
                                    <p:set>
                                      <p:cBhvr>
                                        <p:cTn id="6" dur="1" fill="hold">
                                          <p:stCondLst>
                                            <p:cond delay="0"/>
                                          </p:stCondLst>
                                        </p:cTn>
                                        <p:tgtEl>
                                          <p:spTgt spid="43"/>
                                        </p:tgtEl>
                                        <p:attrNameLst>
                                          <p:attrName>style.visibility</p:attrName>
                                        </p:attrNameLst>
                                      </p:cBhvr>
                                      <p:to>
                                        <p:strVal val="visible"/>
                                      </p:to>
                                    </p:set>
                                    <p:anim calcmode="lin" valueType="num">
                                      <p:cBhvr additive="base">
                                        <p:cTn id="7" dur="1000" fill="hold"/>
                                        <p:tgtEl>
                                          <p:spTgt spid="43"/>
                                        </p:tgtEl>
                                        <p:attrNameLst>
                                          <p:attrName>ppt_x</p:attrName>
                                        </p:attrNameLst>
                                      </p:cBhvr>
                                      <p:tavLst>
                                        <p:tav tm="0">
                                          <p:val>
                                            <p:strVal val="#ppt_x"/>
                                          </p:val>
                                        </p:tav>
                                        <p:tav tm="100000">
                                          <p:val>
                                            <p:strVal val="#ppt_x"/>
                                          </p:val>
                                        </p:tav>
                                      </p:tavLst>
                                    </p:anim>
                                    <p:anim calcmode="lin" valueType="num">
                                      <p:cBhvr additive="base">
                                        <p:cTn id="8" dur="1000" fill="hold"/>
                                        <p:tgtEl>
                                          <p:spTgt spid="43"/>
                                        </p:tgtEl>
                                        <p:attrNameLst>
                                          <p:attrName>ppt_y</p:attrName>
                                        </p:attrNameLst>
                                      </p:cBhvr>
                                      <p:tavLst>
                                        <p:tav tm="0">
                                          <p:val>
                                            <p:strVal val="1+#ppt_h/2"/>
                                          </p:val>
                                        </p:tav>
                                        <p:tav tm="100000">
                                          <p:val>
                                            <p:strVal val="#ppt_y"/>
                                          </p:val>
                                        </p:tav>
                                      </p:tavLst>
                                    </p:anim>
                                  </p:childTnLst>
                                </p:cTn>
                              </p:par>
                              <p:par>
                                <p:cTn id="9" presetID="2" presetClass="entr" presetSubtype="4" dur="1000" decel="100000" fill="hold" grpId="0" nodeType="withEffect">
                                  <p:stCondLst>
                                    <p:cond delay="100"/>
                                  </p:stCondLst>
                                  <p:childTnLst>
                                    <p:set>
                                      <p:cBhvr>
                                        <p:cTn id="10" dur="1" fill="hold">
                                          <p:stCondLst>
                                            <p:cond delay="0"/>
                                          </p:stCondLst>
                                        </p:cTn>
                                        <p:tgtEl>
                                          <p:spTgt spid="42"/>
                                        </p:tgtEl>
                                        <p:attrNameLst>
                                          <p:attrName>style.visibility</p:attrName>
                                        </p:attrNameLst>
                                      </p:cBhvr>
                                      <p:to>
                                        <p:strVal val="visible"/>
                                      </p:to>
                                    </p:set>
                                    <p:anim calcmode="lin" valueType="num">
                                      <p:cBhvr additive="base">
                                        <p:cTn id="11" dur="1000" fill="hold"/>
                                        <p:tgtEl>
                                          <p:spTgt spid="42"/>
                                        </p:tgtEl>
                                        <p:attrNameLst>
                                          <p:attrName>ppt_x</p:attrName>
                                        </p:attrNameLst>
                                      </p:cBhvr>
                                      <p:tavLst>
                                        <p:tav tm="0">
                                          <p:val>
                                            <p:strVal val="#ppt_x"/>
                                          </p:val>
                                        </p:tav>
                                        <p:tav tm="100000">
                                          <p:val>
                                            <p:strVal val="#ppt_x"/>
                                          </p:val>
                                        </p:tav>
                                      </p:tavLst>
                                    </p:anim>
                                    <p:anim calcmode="lin" valueType="num">
                                      <p:cBhvr additive="base">
                                        <p:cTn id="12" dur="1000" fill="hold"/>
                                        <p:tgtEl>
                                          <p:spTgt spid="42"/>
                                        </p:tgtEl>
                                        <p:attrNameLst>
                                          <p:attrName>ppt_y</p:attrName>
                                        </p:attrNameLst>
                                      </p:cBhvr>
                                      <p:tavLst>
                                        <p:tav tm="0">
                                          <p:val>
                                            <p:strVal val="1+#ppt_h/2"/>
                                          </p:val>
                                        </p:tav>
                                        <p:tav tm="100000">
                                          <p:val>
                                            <p:strVal val="#ppt_y"/>
                                          </p:val>
                                        </p:tav>
                                      </p:tavLst>
                                    </p:anim>
                                  </p:childTnLst>
                                </p:cTn>
                              </p:par>
                              <p:par>
                                <p:cTn id="13" presetID="2" presetClass="entr" presetSubtype="4" dur="1000" decel="100000" fill="hold" grpId="0" nodeType="withEffect">
                                  <p:stCondLst>
                                    <p:cond delay="200"/>
                                  </p:stCondLst>
                                  <p:childTnLst>
                                    <p:set>
                                      <p:cBhvr>
                                        <p:cTn id="14" dur="1" fill="hold">
                                          <p:stCondLst>
                                            <p:cond delay="0"/>
                                          </p:stCondLst>
                                        </p:cTn>
                                        <p:tgtEl>
                                          <p:spTgt spid="41"/>
                                        </p:tgtEl>
                                        <p:attrNameLst>
                                          <p:attrName>style.visibility</p:attrName>
                                        </p:attrNameLst>
                                      </p:cBhvr>
                                      <p:to>
                                        <p:strVal val="visible"/>
                                      </p:to>
                                    </p:set>
                                    <p:anim calcmode="lin" valueType="num">
                                      <p:cBhvr additive="base">
                                        <p:cTn id="15" dur="1000" fill="hold"/>
                                        <p:tgtEl>
                                          <p:spTgt spid="41"/>
                                        </p:tgtEl>
                                        <p:attrNameLst>
                                          <p:attrName>ppt_x</p:attrName>
                                        </p:attrNameLst>
                                      </p:cBhvr>
                                      <p:tavLst>
                                        <p:tav tm="0">
                                          <p:val>
                                            <p:strVal val="#ppt_x"/>
                                          </p:val>
                                        </p:tav>
                                        <p:tav tm="100000">
                                          <p:val>
                                            <p:strVal val="#ppt_x"/>
                                          </p:val>
                                        </p:tav>
                                      </p:tavLst>
                                    </p:anim>
                                    <p:anim calcmode="lin" valueType="num">
                                      <p:cBhvr additive="base">
                                        <p:cTn id="16" dur="1000" fill="hold"/>
                                        <p:tgtEl>
                                          <p:spTgt spid="41"/>
                                        </p:tgtEl>
                                        <p:attrNameLst>
                                          <p:attrName>ppt_y</p:attrName>
                                        </p:attrNameLst>
                                      </p:cBhvr>
                                      <p:tavLst>
                                        <p:tav tm="0">
                                          <p:val>
                                            <p:strVal val="1+#ppt_h/2"/>
                                          </p:val>
                                        </p:tav>
                                        <p:tav tm="100000">
                                          <p:val>
                                            <p:strVal val="#ppt_y"/>
                                          </p:val>
                                        </p:tav>
                                      </p:tavLst>
                                    </p:anim>
                                  </p:childTnLst>
                                </p:cTn>
                              </p:par>
                              <p:par>
                                <p:cTn id="17" presetID="2" presetClass="entr" presetSubtype="4" dur="1000" decel="100000" fill="hold" grpId="0" nodeType="withEffect">
                                  <p:stCondLst>
                                    <p:cond delay="300"/>
                                  </p:stCondLst>
                                  <p:childTnLst>
                                    <p:set>
                                      <p:cBhvr>
                                        <p:cTn id="18" dur="1" fill="hold">
                                          <p:stCondLst>
                                            <p:cond delay="0"/>
                                          </p:stCondLst>
                                        </p:cTn>
                                        <p:tgtEl>
                                          <p:spTgt spid="17"/>
                                        </p:tgtEl>
                                        <p:attrNameLst>
                                          <p:attrName>style.visibility</p:attrName>
                                        </p:attrNameLst>
                                      </p:cBhvr>
                                      <p:to>
                                        <p:strVal val="visible"/>
                                      </p:to>
                                    </p:set>
                                    <p:anim calcmode="lin" valueType="num">
                                      <p:cBhvr additive="base">
                                        <p:cTn id="19" dur="1000" fill="hold"/>
                                        <p:tgtEl>
                                          <p:spTgt spid="17"/>
                                        </p:tgtEl>
                                        <p:attrNameLst>
                                          <p:attrName>ppt_x</p:attrName>
                                        </p:attrNameLst>
                                      </p:cBhvr>
                                      <p:tavLst>
                                        <p:tav tm="0">
                                          <p:val>
                                            <p:strVal val="#ppt_x"/>
                                          </p:val>
                                        </p:tav>
                                        <p:tav tm="100000">
                                          <p:val>
                                            <p:strVal val="#ppt_x"/>
                                          </p:val>
                                        </p:tav>
                                      </p:tavLst>
                                    </p:anim>
                                    <p:anim calcmode="lin" valueType="num">
                                      <p:cBhvr additive="base">
                                        <p:cTn id="20" dur="1000" fill="hold"/>
                                        <p:tgtEl>
                                          <p:spTgt spid="17"/>
                                        </p:tgtEl>
                                        <p:attrNameLst>
                                          <p:attrName>ppt_y</p:attrName>
                                        </p:attrNameLst>
                                      </p:cBhvr>
                                      <p:tavLst>
                                        <p:tav tm="0">
                                          <p:val>
                                            <p:strVal val="1+#ppt_h/2"/>
                                          </p:val>
                                        </p:tav>
                                        <p:tav tm="100000">
                                          <p:val>
                                            <p:strVal val="#ppt_y"/>
                                          </p:val>
                                        </p:tav>
                                      </p:tavLst>
                                    </p:anim>
                                  </p:childTnLst>
                                </p:cTn>
                              </p:par>
                              <p:par>
                                <p:cTn id="21" presetID="2" presetClass="entr" presetSubtype="4" dur="1000" decel="100000" fill="hold" grpId="0" nodeType="withEffect">
                                  <p:stCondLst>
                                    <p:cond delay="400"/>
                                  </p:stCondLst>
                                  <p:childTnLst>
                                    <p:set>
                                      <p:cBhvr>
                                        <p:cTn id="22" dur="1" fill="hold">
                                          <p:stCondLst>
                                            <p:cond delay="0"/>
                                          </p:stCondLst>
                                        </p:cTn>
                                        <p:tgtEl>
                                          <p:spTgt spid="44"/>
                                        </p:tgtEl>
                                        <p:attrNameLst>
                                          <p:attrName>style.visibility</p:attrName>
                                        </p:attrNameLst>
                                      </p:cBhvr>
                                      <p:to>
                                        <p:strVal val="visible"/>
                                      </p:to>
                                    </p:set>
                                    <p:anim calcmode="lin" valueType="num">
                                      <p:cBhvr additive="base">
                                        <p:cTn id="23" dur="1000" fill="hold"/>
                                        <p:tgtEl>
                                          <p:spTgt spid="44"/>
                                        </p:tgtEl>
                                        <p:attrNameLst>
                                          <p:attrName>ppt_x</p:attrName>
                                        </p:attrNameLst>
                                      </p:cBhvr>
                                      <p:tavLst>
                                        <p:tav tm="0">
                                          <p:val>
                                            <p:strVal val="#ppt_x"/>
                                          </p:val>
                                        </p:tav>
                                        <p:tav tm="100000">
                                          <p:val>
                                            <p:strVal val="#ppt_x"/>
                                          </p:val>
                                        </p:tav>
                                      </p:tavLst>
                                    </p:anim>
                                    <p:anim calcmode="lin" valueType="num">
                                      <p:cBhvr additive="base">
                                        <p:cTn id="24" dur="1000" fill="hold"/>
                                        <p:tgtEl>
                                          <p:spTgt spid="4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animBg="1"/>
      <p:bldP spid="42" grpId="0" animBg="1"/>
      <p:bldP spid="43" grpId="0" animBg="1"/>
      <p:bldP spid="44" grpId="0" animBg="1"/>
      <p:bldP spid="17" grpId="0" animBg="1"/>
    </p:bld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72C1527C-1238-4997-83A0-B93C0C1A119C}"/>
              </a:ext>
            </a:extLst>
          </p:cNvPr>
          <p:cNvSpPr>
            <a:spLocks noGrp="1"/>
          </p:cNvSpPr>
          <p:nvPr>
            <p:ph type="pic" sz="quarter" idx="13"/>
          </p:nvPr>
        </p:nvSpPr>
        <p:spPr>
          <a:xfrm>
            <a:off x="3532136" y="871981"/>
            <a:ext cx="2563864" cy="2595260"/>
          </a:xfrm>
          <a:custGeom>
            <a:avLst/>
            <a:gdLst>
              <a:gd name="connsiteX0" fmla="*/ 0 w 5190519"/>
              <a:gd name="connsiteY0" fmla="*/ 0 h 5190519"/>
              <a:gd name="connsiteX1" fmla="*/ 5190519 w 5190519"/>
              <a:gd name="connsiteY1" fmla="*/ 0 h 5190519"/>
              <a:gd name="connsiteX2" fmla="*/ 5190519 w 5190519"/>
              <a:gd name="connsiteY2" fmla="*/ 5190519 h 5190519"/>
              <a:gd name="connsiteX3" fmla="*/ 0 w 5190519"/>
              <a:gd name="connsiteY3" fmla="*/ 5190519 h 5190519"/>
            </a:gdLst>
            <a:ahLst/>
            <a:cxnLst>
              <a:cxn ang="0">
                <a:pos x="connsiteX0" y="connsiteY0"/>
              </a:cxn>
              <a:cxn ang="0">
                <a:pos x="connsiteX1" y="connsiteY1"/>
              </a:cxn>
              <a:cxn ang="0">
                <a:pos x="connsiteX2" y="connsiteY2"/>
              </a:cxn>
              <a:cxn ang="0">
                <a:pos x="connsiteX3" y="connsiteY3"/>
              </a:cxn>
            </a:cxnLst>
            <a:rect l="l" t="t" r="r" b="b"/>
            <a:pathLst>
              <a:path w="5190519" h="5190519">
                <a:moveTo>
                  <a:pt x="0" y="0"/>
                </a:moveTo>
                <a:lnTo>
                  <a:pt x="5190519" y="0"/>
                </a:lnTo>
                <a:lnTo>
                  <a:pt x="5190519" y="5190519"/>
                </a:lnTo>
                <a:lnTo>
                  <a:pt x="0" y="5190519"/>
                </a:ln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
        <p:nvSpPr>
          <p:cNvPr id="14" name="Picture Placeholder 13">
            <a:extLst>
              <a:ext uri="{FF2B5EF4-FFF2-40B4-BE49-F238E27FC236}">
                <a16:creationId xmlns:a16="http://schemas.microsoft.com/office/drawing/2014/main" id="{F2C28264-6FA4-467B-BDE9-EC8733C2D740}"/>
              </a:ext>
            </a:extLst>
          </p:cNvPr>
          <p:cNvSpPr>
            <a:spLocks noGrp="1"/>
          </p:cNvSpPr>
          <p:nvPr>
            <p:ph type="pic" sz="quarter" idx="14"/>
          </p:nvPr>
        </p:nvSpPr>
        <p:spPr>
          <a:xfrm>
            <a:off x="6251472" y="871980"/>
            <a:ext cx="5127728" cy="5314950"/>
          </a:xfrm>
          <a:custGeom>
            <a:avLst/>
            <a:gdLst>
              <a:gd name="connsiteX0" fmla="*/ 0 w 10381040"/>
              <a:gd name="connsiteY0" fmla="*/ 0 h 10629899"/>
              <a:gd name="connsiteX1" fmla="*/ 10381040 w 10381040"/>
              <a:gd name="connsiteY1" fmla="*/ 0 h 10629899"/>
              <a:gd name="connsiteX2" fmla="*/ 10381040 w 10381040"/>
              <a:gd name="connsiteY2" fmla="*/ 10629899 h 10629899"/>
              <a:gd name="connsiteX3" fmla="*/ 0 w 10381040"/>
              <a:gd name="connsiteY3" fmla="*/ 10629899 h 10629899"/>
            </a:gdLst>
            <a:ahLst/>
            <a:cxnLst>
              <a:cxn ang="0">
                <a:pos x="connsiteX0" y="connsiteY0"/>
              </a:cxn>
              <a:cxn ang="0">
                <a:pos x="connsiteX1" y="connsiteY1"/>
              </a:cxn>
              <a:cxn ang="0">
                <a:pos x="connsiteX2" y="connsiteY2"/>
              </a:cxn>
              <a:cxn ang="0">
                <a:pos x="connsiteX3" y="connsiteY3"/>
              </a:cxn>
            </a:cxnLst>
            <a:rect l="l" t="t" r="r" b="b"/>
            <a:pathLst>
              <a:path w="10381040" h="10629899">
                <a:moveTo>
                  <a:pt x="0" y="0"/>
                </a:moveTo>
                <a:lnTo>
                  <a:pt x="10381040" y="0"/>
                </a:lnTo>
                <a:lnTo>
                  <a:pt x="10381040" y="10629899"/>
                </a:lnTo>
                <a:lnTo>
                  <a:pt x="0" y="10629899"/>
                </a:ln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
        <p:nvSpPr>
          <p:cNvPr id="16" name="Picture Placeholder 15">
            <a:extLst>
              <a:ext uri="{FF2B5EF4-FFF2-40B4-BE49-F238E27FC236}">
                <a16:creationId xmlns:a16="http://schemas.microsoft.com/office/drawing/2014/main" id="{843876E8-A094-40A5-860F-FA8679BF447F}"/>
              </a:ext>
            </a:extLst>
          </p:cNvPr>
          <p:cNvSpPr>
            <a:spLocks noGrp="1"/>
          </p:cNvSpPr>
          <p:nvPr>
            <p:ph type="pic" sz="quarter" idx="15"/>
          </p:nvPr>
        </p:nvSpPr>
        <p:spPr>
          <a:xfrm>
            <a:off x="3532136" y="3591671"/>
            <a:ext cx="2563864" cy="2595260"/>
          </a:xfrm>
          <a:custGeom>
            <a:avLst/>
            <a:gdLst>
              <a:gd name="connsiteX0" fmla="*/ 0 w 5190519"/>
              <a:gd name="connsiteY0" fmla="*/ 0 h 5190519"/>
              <a:gd name="connsiteX1" fmla="*/ 5190519 w 5190519"/>
              <a:gd name="connsiteY1" fmla="*/ 0 h 5190519"/>
              <a:gd name="connsiteX2" fmla="*/ 5190519 w 5190519"/>
              <a:gd name="connsiteY2" fmla="*/ 5190519 h 5190519"/>
              <a:gd name="connsiteX3" fmla="*/ 0 w 5190519"/>
              <a:gd name="connsiteY3" fmla="*/ 5190519 h 5190519"/>
            </a:gdLst>
            <a:ahLst/>
            <a:cxnLst>
              <a:cxn ang="0">
                <a:pos x="connsiteX0" y="connsiteY0"/>
              </a:cxn>
              <a:cxn ang="0">
                <a:pos x="connsiteX1" y="connsiteY1"/>
              </a:cxn>
              <a:cxn ang="0">
                <a:pos x="connsiteX2" y="connsiteY2"/>
              </a:cxn>
              <a:cxn ang="0">
                <a:pos x="connsiteX3" y="connsiteY3"/>
              </a:cxn>
            </a:cxnLst>
            <a:rect l="l" t="t" r="r" b="b"/>
            <a:pathLst>
              <a:path w="5190519" h="5190519">
                <a:moveTo>
                  <a:pt x="0" y="0"/>
                </a:moveTo>
                <a:lnTo>
                  <a:pt x="5190519" y="0"/>
                </a:lnTo>
                <a:lnTo>
                  <a:pt x="5190519" y="5190519"/>
                </a:lnTo>
                <a:lnTo>
                  <a:pt x="0" y="5190519"/>
                </a:ln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
        <p:nvSpPr>
          <p:cNvPr id="17" name="Picture Placeholder 16">
            <a:extLst>
              <a:ext uri="{FF2B5EF4-FFF2-40B4-BE49-F238E27FC236}">
                <a16:creationId xmlns:a16="http://schemas.microsoft.com/office/drawing/2014/main" id="{E87560AE-CEDB-48AC-B2BF-85B52DE0F146}"/>
              </a:ext>
            </a:extLst>
          </p:cNvPr>
          <p:cNvSpPr>
            <a:spLocks noGrp="1"/>
          </p:cNvSpPr>
          <p:nvPr>
            <p:ph type="pic" sz="quarter" idx="16"/>
          </p:nvPr>
        </p:nvSpPr>
        <p:spPr>
          <a:xfrm>
            <a:off x="812800" y="3591671"/>
            <a:ext cx="2563864" cy="2595260"/>
          </a:xfrm>
          <a:custGeom>
            <a:avLst/>
            <a:gdLst>
              <a:gd name="connsiteX0" fmla="*/ 0 w 5190519"/>
              <a:gd name="connsiteY0" fmla="*/ 0 h 5190519"/>
              <a:gd name="connsiteX1" fmla="*/ 5190519 w 5190519"/>
              <a:gd name="connsiteY1" fmla="*/ 0 h 5190519"/>
              <a:gd name="connsiteX2" fmla="*/ 5190519 w 5190519"/>
              <a:gd name="connsiteY2" fmla="*/ 5190519 h 5190519"/>
              <a:gd name="connsiteX3" fmla="*/ 0 w 5190519"/>
              <a:gd name="connsiteY3" fmla="*/ 5190519 h 5190519"/>
            </a:gdLst>
            <a:ahLst/>
            <a:cxnLst>
              <a:cxn ang="0">
                <a:pos x="connsiteX0" y="connsiteY0"/>
              </a:cxn>
              <a:cxn ang="0">
                <a:pos x="connsiteX1" y="connsiteY1"/>
              </a:cxn>
              <a:cxn ang="0">
                <a:pos x="connsiteX2" y="connsiteY2"/>
              </a:cxn>
              <a:cxn ang="0">
                <a:pos x="connsiteX3" y="connsiteY3"/>
              </a:cxn>
            </a:cxnLst>
            <a:rect l="l" t="t" r="r" b="b"/>
            <a:pathLst>
              <a:path w="5190519" h="5190519">
                <a:moveTo>
                  <a:pt x="0" y="0"/>
                </a:moveTo>
                <a:lnTo>
                  <a:pt x="5190519" y="0"/>
                </a:lnTo>
                <a:lnTo>
                  <a:pt x="5190519" y="5190519"/>
                </a:lnTo>
                <a:lnTo>
                  <a:pt x="0" y="5190519"/>
                </a:ln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Tree>
    <p:extLst>
      <p:ext uri="{BB962C8B-B14F-4D97-AF65-F5344CB8AC3E}">
        <p14:creationId xmlns:p14="http://schemas.microsoft.com/office/powerpoint/2010/main" val="406881973"/>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4" dur="2200" decel="10000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2200" fill="hold"/>
                                        <p:tgtEl>
                                          <p:spTgt spid="14"/>
                                        </p:tgtEl>
                                        <p:attrNameLst>
                                          <p:attrName>ppt_x</p:attrName>
                                        </p:attrNameLst>
                                      </p:cBhvr>
                                      <p:tavLst>
                                        <p:tav tm="0">
                                          <p:val>
                                            <p:strVal val="#ppt_x"/>
                                          </p:val>
                                        </p:tav>
                                        <p:tav tm="100000">
                                          <p:val>
                                            <p:strVal val="#ppt_x"/>
                                          </p:val>
                                        </p:tav>
                                      </p:tavLst>
                                    </p:anim>
                                    <p:anim calcmode="lin" valueType="num">
                                      <p:cBhvr additive="base">
                                        <p:cTn id="8" dur="2200" fill="hold"/>
                                        <p:tgtEl>
                                          <p:spTgt spid="14"/>
                                        </p:tgtEl>
                                        <p:attrNameLst>
                                          <p:attrName>ppt_y</p:attrName>
                                        </p:attrNameLst>
                                      </p:cBhvr>
                                      <p:tavLst>
                                        <p:tav tm="0">
                                          <p:val>
                                            <p:strVal val="1+#ppt_h/2"/>
                                          </p:val>
                                        </p:tav>
                                        <p:tav tm="100000">
                                          <p:val>
                                            <p:strVal val="#ppt_y"/>
                                          </p:val>
                                        </p:tav>
                                      </p:tavLst>
                                    </p:anim>
                                  </p:childTnLst>
                                </p:cTn>
                              </p:par>
                              <p:par>
                                <p:cTn id="9" presetID="2" presetClass="entr" presetSubtype="4" dur="2200" decel="100000" fill="hold" grpId="0" nodeType="withEffect">
                                  <p:stCondLst>
                                    <p:cond delay="200"/>
                                  </p:stCondLst>
                                  <p:childTnLst>
                                    <p:set>
                                      <p:cBhvr>
                                        <p:cTn id="10" dur="1" fill="hold">
                                          <p:stCondLst>
                                            <p:cond delay="0"/>
                                          </p:stCondLst>
                                        </p:cTn>
                                        <p:tgtEl>
                                          <p:spTgt spid="15"/>
                                        </p:tgtEl>
                                        <p:attrNameLst>
                                          <p:attrName>style.visibility</p:attrName>
                                        </p:attrNameLst>
                                      </p:cBhvr>
                                      <p:to>
                                        <p:strVal val="visible"/>
                                      </p:to>
                                    </p:set>
                                    <p:anim calcmode="lin" valueType="num">
                                      <p:cBhvr additive="base">
                                        <p:cTn id="11" dur="2200" fill="hold"/>
                                        <p:tgtEl>
                                          <p:spTgt spid="15"/>
                                        </p:tgtEl>
                                        <p:attrNameLst>
                                          <p:attrName>ppt_x</p:attrName>
                                        </p:attrNameLst>
                                      </p:cBhvr>
                                      <p:tavLst>
                                        <p:tav tm="0">
                                          <p:val>
                                            <p:strVal val="#ppt_x"/>
                                          </p:val>
                                        </p:tav>
                                        <p:tav tm="100000">
                                          <p:val>
                                            <p:strVal val="#ppt_x"/>
                                          </p:val>
                                        </p:tav>
                                      </p:tavLst>
                                    </p:anim>
                                    <p:anim calcmode="lin" valueType="num">
                                      <p:cBhvr additive="base">
                                        <p:cTn id="12" dur="2200" fill="hold"/>
                                        <p:tgtEl>
                                          <p:spTgt spid="15"/>
                                        </p:tgtEl>
                                        <p:attrNameLst>
                                          <p:attrName>ppt_y</p:attrName>
                                        </p:attrNameLst>
                                      </p:cBhvr>
                                      <p:tavLst>
                                        <p:tav tm="0">
                                          <p:val>
                                            <p:strVal val="1+#ppt_h/2"/>
                                          </p:val>
                                        </p:tav>
                                        <p:tav tm="100000">
                                          <p:val>
                                            <p:strVal val="#ppt_y"/>
                                          </p:val>
                                        </p:tav>
                                      </p:tavLst>
                                    </p:anim>
                                  </p:childTnLst>
                                </p:cTn>
                              </p:par>
                              <p:par>
                                <p:cTn id="13" presetID="2" presetClass="entr" presetSubtype="4" dur="2200" decel="100000" fill="hold" grpId="0" nodeType="withEffect">
                                  <p:stCondLst>
                                    <p:cond delay="200"/>
                                  </p:stCondLst>
                                  <p:childTnLst>
                                    <p:set>
                                      <p:cBhvr>
                                        <p:cTn id="14" dur="1" fill="hold">
                                          <p:stCondLst>
                                            <p:cond delay="0"/>
                                          </p:stCondLst>
                                        </p:cTn>
                                        <p:tgtEl>
                                          <p:spTgt spid="16"/>
                                        </p:tgtEl>
                                        <p:attrNameLst>
                                          <p:attrName>style.visibility</p:attrName>
                                        </p:attrNameLst>
                                      </p:cBhvr>
                                      <p:to>
                                        <p:strVal val="visible"/>
                                      </p:to>
                                    </p:set>
                                    <p:anim calcmode="lin" valueType="num">
                                      <p:cBhvr additive="base">
                                        <p:cTn id="15" dur="2200" fill="hold"/>
                                        <p:tgtEl>
                                          <p:spTgt spid="16"/>
                                        </p:tgtEl>
                                        <p:attrNameLst>
                                          <p:attrName>ppt_x</p:attrName>
                                        </p:attrNameLst>
                                      </p:cBhvr>
                                      <p:tavLst>
                                        <p:tav tm="0">
                                          <p:val>
                                            <p:strVal val="#ppt_x"/>
                                          </p:val>
                                        </p:tav>
                                        <p:tav tm="100000">
                                          <p:val>
                                            <p:strVal val="#ppt_x"/>
                                          </p:val>
                                        </p:tav>
                                      </p:tavLst>
                                    </p:anim>
                                    <p:anim calcmode="lin" valueType="num">
                                      <p:cBhvr additive="base">
                                        <p:cTn id="16" dur="2200" fill="hold"/>
                                        <p:tgtEl>
                                          <p:spTgt spid="16"/>
                                        </p:tgtEl>
                                        <p:attrNameLst>
                                          <p:attrName>ppt_y</p:attrName>
                                        </p:attrNameLst>
                                      </p:cBhvr>
                                      <p:tavLst>
                                        <p:tav tm="0">
                                          <p:val>
                                            <p:strVal val="1+#ppt_h/2"/>
                                          </p:val>
                                        </p:tav>
                                        <p:tav tm="100000">
                                          <p:val>
                                            <p:strVal val="#ppt_y"/>
                                          </p:val>
                                        </p:tav>
                                      </p:tavLst>
                                    </p:anim>
                                  </p:childTnLst>
                                </p:cTn>
                              </p:par>
                              <p:par>
                                <p:cTn id="17" presetID="2" presetClass="entr" presetSubtype="4" dur="2200" decel="100000" fill="hold" grpId="0" nodeType="withEffect">
                                  <p:stCondLst>
                                    <p:cond delay="400"/>
                                  </p:stCondLst>
                                  <p:childTnLst>
                                    <p:set>
                                      <p:cBhvr>
                                        <p:cTn id="18" dur="1" fill="hold">
                                          <p:stCondLst>
                                            <p:cond delay="0"/>
                                          </p:stCondLst>
                                        </p:cTn>
                                        <p:tgtEl>
                                          <p:spTgt spid="17"/>
                                        </p:tgtEl>
                                        <p:attrNameLst>
                                          <p:attrName>style.visibility</p:attrName>
                                        </p:attrNameLst>
                                      </p:cBhvr>
                                      <p:to>
                                        <p:strVal val="visible"/>
                                      </p:to>
                                    </p:set>
                                    <p:anim calcmode="lin" valueType="num">
                                      <p:cBhvr additive="base">
                                        <p:cTn id="19" dur="2200" fill="hold"/>
                                        <p:tgtEl>
                                          <p:spTgt spid="17"/>
                                        </p:tgtEl>
                                        <p:attrNameLst>
                                          <p:attrName>ppt_x</p:attrName>
                                        </p:attrNameLst>
                                      </p:cBhvr>
                                      <p:tavLst>
                                        <p:tav tm="0">
                                          <p:val>
                                            <p:strVal val="#ppt_x"/>
                                          </p:val>
                                        </p:tav>
                                        <p:tav tm="100000">
                                          <p:val>
                                            <p:strVal val="#ppt_x"/>
                                          </p:val>
                                        </p:tav>
                                      </p:tavLst>
                                    </p:anim>
                                    <p:anim calcmode="lin" valueType="num">
                                      <p:cBhvr additive="base">
                                        <p:cTn id="20" dur="2200" fill="hold"/>
                                        <p:tgtEl>
                                          <p:spTgt spid="1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4" grpId="0" animBg="1"/>
      <p:bldP spid="16" grpId="0" animBg="1"/>
      <p:bldP spid="17" grpId="0" animBg="1"/>
    </p:bldLst>
  </p:timing>
</p:sldLayout>
</file>

<file path=ppt/slideLayouts/slideLayout260.xml><?xml version="1.0" encoding="utf-8"?>
<p:sldLayout xmlns:a="http://schemas.openxmlformats.org/drawingml/2006/main" xmlns:r="http://schemas.openxmlformats.org/officeDocument/2006/relationships" xmlns:p="http://schemas.openxmlformats.org/presentationml/2006/main">
  <p:cSld name="76_Custom Layout">
    <p:spTree>
      <p:nvGrpSpPr>
        <p:cNvPr id="1" name=""/>
        <p:cNvGrpSpPr/>
        <p:nvPr/>
      </p:nvGrpSpPr>
      <p:grpSpPr>
        <a:xfrm>
          <a:off x="0" y="0"/>
          <a:ext cx="0" cy="0"/>
          <a:chOff x="0" y="0"/>
          <a:chExt cx="0" cy="0"/>
        </a:xfrm>
      </p:grpSpPr>
      <p:sp>
        <p:nvSpPr>
          <p:cNvPr id="41" name="Picture Placeholder 15"/>
          <p:cNvSpPr>
            <a:spLocks noGrp="1"/>
          </p:cNvSpPr>
          <p:nvPr>
            <p:ph type="pic" sz="quarter" idx="10" hasCustomPrompt="1"/>
          </p:nvPr>
        </p:nvSpPr>
        <p:spPr>
          <a:xfrm>
            <a:off x="7228910" y="2475212"/>
            <a:ext cx="2820557" cy="3255264"/>
          </a:xfrm>
          <a:prstGeom prst="rect">
            <a:avLst/>
          </a:prstGeom>
          <a:pattFill prst="lgGrid">
            <a:fgClr>
              <a:schemeClr val="bg1"/>
            </a:fgClr>
            <a:bgClr>
              <a:schemeClr val="tx2">
                <a:lumMod val="10000"/>
                <a:lumOff val="90000"/>
              </a:schemeClr>
            </a:bgClr>
          </a:pattFill>
          <a:ln>
            <a:noFill/>
          </a:ln>
          <a:effectLst>
            <a:outerShdw blurRad="546100" dist="495300" dir="8100000" sx="94000" sy="94000" algn="ctr" rotWithShape="0">
              <a:srgbClr val="000000">
                <a:alpha val="40000"/>
              </a:srgbClr>
            </a:outerShdw>
          </a:effectLst>
          <a:scene3d>
            <a:camera prst="isometricTopUp"/>
            <a:lightRig rig="threePt" dir="t"/>
          </a:scene3d>
          <a:sp3d extrusionH="76200"/>
        </p:spPr>
        <p:txBody>
          <a:bodyPr anchor="ctr"/>
          <a:lstStyle>
            <a:lvl1pPr marL="0" indent="0" algn="ctr">
              <a:buNone/>
              <a:defRPr baseline="0"/>
            </a:lvl1pPr>
          </a:lstStyle>
          <a:p>
            <a:r>
              <a:rPr lang="en-US"/>
              <a:t>Drag and drop picture</a:t>
            </a:r>
          </a:p>
        </p:txBody>
      </p:sp>
      <p:sp>
        <p:nvSpPr>
          <p:cNvPr id="42" name="Picture Placeholder 15"/>
          <p:cNvSpPr>
            <a:spLocks noGrp="1"/>
          </p:cNvSpPr>
          <p:nvPr>
            <p:ph type="pic" sz="quarter" idx="11" hasCustomPrompt="1"/>
          </p:nvPr>
        </p:nvSpPr>
        <p:spPr>
          <a:xfrm>
            <a:off x="7228910" y="2113507"/>
            <a:ext cx="2820557" cy="3255264"/>
          </a:xfrm>
          <a:prstGeom prst="rect">
            <a:avLst/>
          </a:prstGeom>
          <a:pattFill prst="lgGrid">
            <a:fgClr>
              <a:schemeClr val="bg1"/>
            </a:fgClr>
            <a:bgClr>
              <a:schemeClr val="tx2">
                <a:lumMod val="10000"/>
                <a:lumOff val="90000"/>
              </a:schemeClr>
            </a:bgClr>
          </a:pattFill>
          <a:ln>
            <a:noFill/>
          </a:ln>
          <a:effectLst>
            <a:outerShdw blurRad="546100" dist="495300" dir="8100000" sx="94000" sy="94000" algn="ctr" rotWithShape="0">
              <a:srgbClr val="000000">
                <a:alpha val="40000"/>
              </a:srgbClr>
            </a:outerShdw>
          </a:effectLst>
          <a:scene3d>
            <a:camera prst="isometricTopUp"/>
            <a:lightRig rig="threePt" dir="t"/>
          </a:scene3d>
          <a:sp3d extrusionH="76200"/>
        </p:spPr>
        <p:txBody>
          <a:bodyPr anchor="ctr"/>
          <a:lstStyle>
            <a:lvl1pPr marL="0" indent="0" algn="ctr">
              <a:buNone/>
              <a:defRPr baseline="0"/>
            </a:lvl1pPr>
          </a:lstStyle>
          <a:p>
            <a:r>
              <a:rPr lang="en-US"/>
              <a:t>Drag and drop picture</a:t>
            </a:r>
          </a:p>
        </p:txBody>
      </p:sp>
      <p:sp>
        <p:nvSpPr>
          <p:cNvPr id="43" name="Picture Placeholder 15"/>
          <p:cNvSpPr>
            <a:spLocks noGrp="1"/>
          </p:cNvSpPr>
          <p:nvPr>
            <p:ph type="pic" sz="quarter" idx="12" hasCustomPrompt="1"/>
          </p:nvPr>
        </p:nvSpPr>
        <p:spPr>
          <a:xfrm>
            <a:off x="7228910" y="1751802"/>
            <a:ext cx="2820557" cy="3255264"/>
          </a:xfrm>
          <a:prstGeom prst="rect">
            <a:avLst/>
          </a:prstGeom>
          <a:pattFill prst="lgGrid">
            <a:fgClr>
              <a:schemeClr val="bg1"/>
            </a:fgClr>
            <a:bgClr>
              <a:schemeClr val="tx2">
                <a:lumMod val="10000"/>
                <a:lumOff val="90000"/>
              </a:schemeClr>
            </a:bgClr>
          </a:pattFill>
          <a:ln>
            <a:noFill/>
          </a:ln>
          <a:effectLst>
            <a:outerShdw blurRad="546100" dist="495300" dir="8100000" sx="94000" sy="94000" algn="ctr" rotWithShape="0">
              <a:srgbClr val="000000">
                <a:alpha val="40000"/>
              </a:srgbClr>
            </a:outerShdw>
          </a:effectLst>
          <a:scene3d>
            <a:camera prst="isometricTopUp"/>
            <a:lightRig rig="threePt" dir="t"/>
          </a:scene3d>
          <a:sp3d extrusionH="76200"/>
        </p:spPr>
        <p:txBody>
          <a:bodyPr anchor="ctr"/>
          <a:lstStyle>
            <a:lvl1pPr marL="0" indent="0" algn="ctr">
              <a:buNone/>
              <a:defRPr baseline="0"/>
            </a:lvl1pPr>
          </a:lstStyle>
          <a:p>
            <a:r>
              <a:rPr lang="en-US"/>
              <a:t>Drag and drop picture</a:t>
            </a:r>
          </a:p>
        </p:txBody>
      </p:sp>
      <p:sp>
        <p:nvSpPr>
          <p:cNvPr id="44" name="Picture Placeholder 15"/>
          <p:cNvSpPr>
            <a:spLocks noGrp="1"/>
          </p:cNvSpPr>
          <p:nvPr>
            <p:ph type="pic" sz="quarter" idx="13" hasCustomPrompt="1"/>
          </p:nvPr>
        </p:nvSpPr>
        <p:spPr>
          <a:xfrm>
            <a:off x="7228910" y="1390097"/>
            <a:ext cx="2820557" cy="3255264"/>
          </a:xfrm>
          <a:prstGeom prst="rect">
            <a:avLst/>
          </a:prstGeom>
          <a:pattFill prst="lgGrid">
            <a:fgClr>
              <a:schemeClr val="bg1"/>
            </a:fgClr>
            <a:bgClr>
              <a:schemeClr val="tx2">
                <a:lumMod val="10000"/>
                <a:lumOff val="90000"/>
              </a:schemeClr>
            </a:bgClr>
          </a:pattFill>
          <a:ln>
            <a:noFill/>
          </a:ln>
          <a:effectLst>
            <a:outerShdw blurRad="546100" dist="495300" dir="8100000" sx="94000" sy="94000" algn="ctr" rotWithShape="0">
              <a:srgbClr val="000000">
                <a:alpha val="40000"/>
              </a:srgbClr>
            </a:outerShdw>
          </a:effectLst>
          <a:scene3d>
            <a:camera prst="isometricTopUp"/>
            <a:lightRig rig="threePt" dir="t"/>
          </a:scene3d>
          <a:sp3d extrusionH="76200"/>
        </p:spPr>
        <p:txBody>
          <a:bodyPr anchor="ctr"/>
          <a:lstStyle>
            <a:lvl1pPr marL="0" indent="0" algn="ctr">
              <a:buNone/>
              <a:defRPr baseline="0"/>
            </a:lvl1pPr>
          </a:lstStyle>
          <a:p>
            <a:r>
              <a:rPr lang="en-US"/>
              <a:t>Drag and drop picture</a:t>
            </a:r>
          </a:p>
        </p:txBody>
      </p:sp>
    </p:spTree>
    <p:extLst>
      <p:ext uri="{BB962C8B-B14F-4D97-AF65-F5344CB8AC3E}">
        <p14:creationId xmlns:p14="http://schemas.microsoft.com/office/powerpoint/2010/main" val="949865862"/>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10" presetClass="entr" presetSubtype="0" dur="500" fill="hold" grpId="0" nodeType="withEffect">
                                  <p:stCondLst>
                                    <p:cond delay="0"/>
                                  </p:stCondLst>
                                  <p:childTnLst>
                                    <p:set>
                                      <p:cBhvr>
                                        <p:cTn id="6" dur="1" fill="hold">
                                          <p:stCondLst>
                                            <p:cond delay="0"/>
                                          </p:stCondLst>
                                        </p:cTn>
                                        <p:tgtEl>
                                          <p:spTgt spid="41"/>
                                        </p:tgtEl>
                                        <p:attrNameLst>
                                          <p:attrName>style.visibility</p:attrName>
                                        </p:attrNameLst>
                                      </p:cBhvr>
                                      <p:to>
                                        <p:strVal val="visible"/>
                                      </p:to>
                                    </p:set>
                                    <p:animEffect transition="in" filter="fade">
                                      <p:cBhvr>
                                        <p:cTn id="7" dur="500"/>
                                        <p:tgtEl>
                                          <p:spTgt spid="41"/>
                                        </p:tgtEl>
                                      </p:cBhvr>
                                    </p:animEffect>
                                  </p:childTnLst>
                                </p:cTn>
                              </p:par>
                              <p:par>
                                <p:cTn id="8" presetID="42" presetClass="path" presetSubtype="0" dur="1000" decel="100000" fill="hold" grpId="1" nodeType="withEffect">
                                  <p:stCondLst>
                                    <p:cond delay="0"/>
                                  </p:stCondLst>
                                  <p:childTnLst>
                                    <p:animMotion origin="layout" path="M 3.40711E-06 1.85185E-06 L 3.40711E-06 0.08669" pathEditMode="relative" rAng="0" ptsTypes="AA">
                                      <p:cBhvr>
                                        <p:cTn id="9" dur="1000" spd="-100000" fill="hold"/>
                                        <p:tgtEl>
                                          <p:spTgt spid="41"/>
                                        </p:tgtEl>
                                        <p:attrNameLst>
                                          <p:attrName>ppt_x</p:attrName>
                                          <p:attrName>ppt_y</p:attrName>
                                        </p:attrNameLst>
                                      </p:cBhvr>
                                      <p:rCtr x="0" y="4329"/>
                                    </p:animMotion>
                                  </p:childTnLst>
                                </p:cTn>
                              </p:par>
                              <p:par>
                                <p:cTn id="10" presetID="10" presetClass="entr" presetSubtype="0" dur="500" fill="hold" grpId="0" nodeType="withEffect">
                                  <p:stCondLst>
                                    <p:cond delay="500"/>
                                  </p:stCondLst>
                                  <p:childTnLst>
                                    <p:set>
                                      <p:cBhvr>
                                        <p:cTn id="11" dur="1" fill="hold">
                                          <p:stCondLst>
                                            <p:cond delay="0"/>
                                          </p:stCondLst>
                                        </p:cTn>
                                        <p:tgtEl>
                                          <p:spTgt spid="42"/>
                                        </p:tgtEl>
                                        <p:attrNameLst>
                                          <p:attrName>style.visibility</p:attrName>
                                        </p:attrNameLst>
                                      </p:cBhvr>
                                      <p:to>
                                        <p:strVal val="visible"/>
                                      </p:to>
                                    </p:set>
                                    <p:animEffect transition="in" filter="fade">
                                      <p:cBhvr>
                                        <p:cTn id="12" dur="500"/>
                                        <p:tgtEl>
                                          <p:spTgt spid="42"/>
                                        </p:tgtEl>
                                      </p:cBhvr>
                                    </p:animEffect>
                                  </p:childTnLst>
                                </p:cTn>
                              </p:par>
                              <p:par>
                                <p:cTn id="13" presetID="42" presetClass="path" presetSubtype="0" dur="1000" decel="100000" fill="hold" grpId="1" nodeType="withEffect">
                                  <p:stCondLst>
                                    <p:cond delay="500"/>
                                  </p:stCondLst>
                                  <p:childTnLst>
                                    <p:animMotion origin="layout" path="M 3.40711E-06 3.88889E-06 L 3.40711E-06 0.08669" pathEditMode="relative" rAng="0" ptsTypes="AA">
                                      <p:cBhvr>
                                        <p:cTn id="14" dur="1000" spd="-100000" fill="hold"/>
                                        <p:tgtEl>
                                          <p:spTgt spid="42"/>
                                        </p:tgtEl>
                                        <p:attrNameLst>
                                          <p:attrName>ppt_x</p:attrName>
                                          <p:attrName>ppt_y</p:attrName>
                                        </p:attrNameLst>
                                      </p:cBhvr>
                                      <p:rCtr x="0" y="4329"/>
                                    </p:animMotion>
                                  </p:childTnLst>
                                </p:cTn>
                              </p:par>
                              <p:par>
                                <p:cTn id="15" presetID="10" presetClass="entr" presetSubtype="0" dur="500" fill="hold" grpId="0" nodeType="withEffect">
                                  <p:stCondLst>
                                    <p:cond delay="1000"/>
                                  </p:stCondLst>
                                  <p:childTnLst>
                                    <p:set>
                                      <p:cBhvr>
                                        <p:cTn id="16" dur="1" fill="hold">
                                          <p:stCondLst>
                                            <p:cond delay="0"/>
                                          </p:stCondLst>
                                        </p:cTn>
                                        <p:tgtEl>
                                          <p:spTgt spid="43"/>
                                        </p:tgtEl>
                                        <p:attrNameLst>
                                          <p:attrName>style.visibility</p:attrName>
                                        </p:attrNameLst>
                                      </p:cBhvr>
                                      <p:to>
                                        <p:strVal val="visible"/>
                                      </p:to>
                                    </p:set>
                                    <p:animEffect transition="in" filter="fade">
                                      <p:cBhvr>
                                        <p:cTn id="17" dur="500"/>
                                        <p:tgtEl>
                                          <p:spTgt spid="43"/>
                                        </p:tgtEl>
                                      </p:cBhvr>
                                    </p:animEffect>
                                  </p:childTnLst>
                                </p:cTn>
                              </p:par>
                              <p:par>
                                <p:cTn id="18" presetID="42" presetClass="path" presetSubtype="0" dur="1000" decel="100000" fill="hold" grpId="1" nodeType="withEffect">
                                  <p:stCondLst>
                                    <p:cond delay="1000"/>
                                  </p:stCondLst>
                                  <p:childTnLst>
                                    <p:animMotion origin="layout" path="M 3.40711E-06 1.66667E-06 L 3.40711E-06 0.08669" pathEditMode="relative" rAng="0" ptsTypes="AA">
                                      <p:cBhvr>
                                        <p:cTn id="19" dur="1000" spd="-100000" fill="hold"/>
                                        <p:tgtEl>
                                          <p:spTgt spid="43"/>
                                        </p:tgtEl>
                                        <p:attrNameLst>
                                          <p:attrName>ppt_x</p:attrName>
                                          <p:attrName>ppt_y</p:attrName>
                                        </p:attrNameLst>
                                      </p:cBhvr>
                                      <p:rCtr x="0" y="4329"/>
                                    </p:animMotion>
                                  </p:childTnLst>
                                </p:cTn>
                              </p:par>
                              <p:par>
                                <p:cTn id="20" presetID="10" presetClass="entr" presetSubtype="0" dur="500" fill="hold" grpId="0" nodeType="withEffect">
                                  <p:stCondLst>
                                    <p:cond delay="1500"/>
                                  </p:stCondLst>
                                  <p:childTnLst>
                                    <p:set>
                                      <p:cBhvr>
                                        <p:cTn id="21" dur="1" fill="hold">
                                          <p:stCondLst>
                                            <p:cond delay="0"/>
                                          </p:stCondLst>
                                        </p:cTn>
                                        <p:tgtEl>
                                          <p:spTgt spid="44"/>
                                        </p:tgtEl>
                                        <p:attrNameLst>
                                          <p:attrName>style.visibility</p:attrName>
                                        </p:attrNameLst>
                                      </p:cBhvr>
                                      <p:to>
                                        <p:strVal val="visible"/>
                                      </p:to>
                                    </p:set>
                                    <p:animEffect transition="in" filter="fade">
                                      <p:cBhvr>
                                        <p:cTn id="22" dur="500"/>
                                        <p:tgtEl>
                                          <p:spTgt spid="44"/>
                                        </p:tgtEl>
                                      </p:cBhvr>
                                    </p:animEffect>
                                  </p:childTnLst>
                                </p:cTn>
                              </p:par>
                              <p:par>
                                <p:cTn id="23" presetID="42" presetClass="path" presetSubtype="0" dur="1000" decel="100000" fill="hold" grpId="1" nodeType="withEffect">
                                  <p:stCondLst>
                                    <p:cond delay="1500"/>
                                  </p:stCondLst>
                                  <p:childTnLst>
                                    <p:animMotion origin="layout" path="M 3.40711E-06 -5.55556E-07 L 3.40711E-06 0.08669" pathEditMode="relative" rAng="0" ptsTypes="AA">
                                      <p:cBhvr>
                                        <p:cTn id="24" dur="1000" spd="-100000" fill="hold"/>
                                        <p:tgtEl>
                                          <p:spTgt spid="44"/>
                                        </p:tgtEl>
                                        <p:attrNameLst>
                                          <p:attrName>ppt_x</p:attrName>
                                          <p:attrName>ppt_y</p:attrName>
                                        </p:attrNameLst>
                                      </p:cBhvr>
                                      <p:rCtr x="0" y="432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animBg="1"/>
      <p:bldP spid="41" grpId="1" animBg="1"/>
      <p:bldP spid="42" grpId="0" animBg="1"/>
      <p:bldP spid="42" grpId="1" animBg="1"/>
      <p:bldP spid="43" grpId="0" animBg="1"/>
      <p:bldP spid="43" grpId="1" animBg="1"/>
      <p:bldP spid="44" grpId="0" animBg="1"/>
      <p:bldP spid="44" grpId="1" animBg="1"/>
    </p:bldLst>
  </p:timing>
</p:sldLayout>
</file>

<file path=ppt/slideLayouts/slideLayout261.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2" name="Picture Placeholder 4">
            <a:extLst>
              <a:ext uri="{FF2B5EF4-FFF2-40B4-BE49-F238E27FC236}">
                <a16:creationId xmlns:a16="http://schemas.microsoft.com/office/drawing/2014/main" id="{CDD5BDAE-070D-466F-9878-EB1BC2848ED8}"/>
              </a:ext>
            </a:extLst>
          </p:cNvPr>
          <p:cNvSpPr>
            <a:spLocks noGrp="1"/>
          </p:cNvSpPr>
          <p:nvPr>
            <p:ph type="pic" sz="quarter" idx="11"/>
          </p:nvPr>
        </p:nvSpPr>
        <p:spPr>
          <a:xfrm>
            <a:off x="812800" y="728662"/>
            <a:ext cx="10566400" cy="5589588"/>
          </a:xfrm>
          <a:custGeom>
            <a:avLst/>
            <a:gdLst>
              <a:gd name="connsiteX0" fmla="*/ 0 w 7829549"/>
              <a:gd name="connsiteY0" fmla="*/ 0 h 7543801"/>
              <a:gd name="connsiteX1" fmla="*/ 7829549 w 7829549"/>
              <a:gd name="connsiteY1" fmla="*/ 0 h 7543801"/>
              <a:gd name="connsiteX2" fmla="*/ 7829549 w 7829549"/>
              <a:gd name="connsiteY2" fmla="*/ 7543801 h 7543801"/>
              <a:gd name="connsiteX3" fmla="*/ 0 w 7829549"/>
              <a:gd name="connsiteY3" fmla="*/ 7543801 h 7543801"/>
            </a:gdLst>
            <a:ahLst/>
            <a:cxnLst>
              <a:cxn ang="0">
                <a:pos x="connsiteX0" y="connsiteY0"/>
              </a:cxn>
              <a:cxn ang="0">
                <a:pos x="connsiteX1" y="connsiteY1"/>
              </a:cxn>
              <a:cxn ang="0">
                <a:pos x="connsiteX2" y="connsiteY2"/>
              </a:cxn>
              <a:cxn ang="0">
                <a:pos x="connsiteX3" y="connsiteY3"/>
              </a:cxn>
            </a:cxnLst>
            <a:rect l="l" t="t" r="r" b="b"/>
            <a:pathLst>
              <a:path w="7829549" h="7543801">
                <a:moveTo>
                  <a:pt x="0" y="0"/>
                </a:moveTo>
                <a:lnTo>
                  <a:pt x="7829549" y="0"/>
                </a:lnTo>
                <a:lnTo>
                  <a:pt x="7829549" y="7543801"/>
                </a:lnTo>
                <a:lnTo>
                  <a:pt x="0" y="7543801"/>
                </a:ln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Tree>
    <p:extLst>
      <p:ext uri="{BB962C8B-B14F-4D97-AF65-F5344CB8AC3E}">
        <p14:creationId xmlns:p14="http://schemas.microsoft.com/office/powerpoint/2010/main" val="2613491539"/>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4" dur="2200" decel="10000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2200" fill="hold"/>
                                        <p:tgtEl>
                                          <p:spTgt spid="2"/>
                                        </p:tgtEl>
                                        <p:attrNameLst>
                                          <p:attrName>ppt_x</p:attrName>
                                        </p:attrNameLst>
                                      </p:cBhvr>
                                      <p:tavLst>
                                        <p:tav tm="0">
                                          <p:val>
                                            <p:strVal val="#ppt_x"/>
                                          </p:val>
                                        </p:tav>
                                        <p:tav tm="100000">
                                          <p:val>
                                            <p:strVal val="#ppt_x"/>
                                          </p:val>
                                        </p:tav>
                                      </p:tavLst>
                                    </p:anim>
                                    <p:anim calcmode="lin" valueType="num">
                                      <p:cBhvr additive="base">
                                        <p:cTn id="8" dur="2200" fill="hold"/>
                                        <p:tgtEl>
                                          <p:spTgt spid="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extLst>
    <p:ext uri="{DCECCB84-F9BA-43D5-87BE-67443E8EF086}">
      <p15:sldGuideLst xmlns:p15="http://schemas.microsoft.com/office/powerpoint/2012/main">
        <p15:guide id="1" orient="horz" pos="4320">
          <p15:clr>
            <a:srgbClr val="FBAE40"/>
          </p15:clr>
        </p15:guide>
        <p15:guide id="2" pos="7681">
          <p15:clr>
            <a:srgbClr val="FBAE40"/>
          </p15:clr>
        </p15:guide>
        <p15:guide id="3" pos="985">
          <p15:clr>
            <a:srgbClr val="FBAE40"/>
          </p15:clr>
        </p15:guide>
        <p15:guide id="4" pos="14377">
          <p15:clr>
            <a:srgbClr val="FBAE4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8EC47BBF-5081-44C2-A39B-5B7D55A2CAC4}"/>
              </a:ext>
            </a:extLst>
          </p:cNvPr>
          <p:cNvSpPr>
            <a:spLocks noGrp="1"/>
          </p:cNvSpPr>
          <p:nvPr>
            <p:ph type="pic" sz="quarter" idx="11"/>
          </p:nvPr>
        </p:nvSpPr>
        <p:spPr>
          <a:xfrm>
            <a:off x="781741" y="793750"/>
            <a:ext cx="5314258" cy="5524500"/>
          </a:xfrm>
          <a:custGeom>
            <a:avLst/>
            <a:gdLst>
              <a:gd name="connsiteX0" fmla="*/ 0 w 10629899"/>
              <a:gd name="connsiteY0" fmla="*/ 0 h 11049000"/>
              <a:gd name="connsiteX1" fmla="*/ 10629899 w 10629899"/>
              <a:gd name="connsiteY1" fmla="*/ 0 h 11049000"/>
              <a:gd name="connsiteX2" fmla="*/ 10629899 w 10629899"/>
              <a:gd name="connsiteY2" fmla="*/ 11049000 h 11049000"/>
              <a:gd name="connsiteX3" fmla="*/ 0 w 10629899"/>
              <a:gd name="connsiteY3" fmla="*/ 11049000 h 11049000"/>
            </a:gdLst>
            <a:ahLst/>
            <a:cxnLst>
              <a:cxn ang="0">
                <a:pos x="connsiteX0" y="connsiteY0"/>
              </a:cxn>
              <a:cxn ang="0">
                <a:pos x="connsiteX1" y="connsiteY1"/>
              </a:cxn>
              <a:cxn ang="0">
                <a:pos x="connsiteX2" y="connsiteY2"/>
              </a:cxn>
              <a:cxn ang="0">
                <a:pos x="connsiteX3" y="connsiteY3"/>
              </a:cxn>
            </a:cxnLst>
            <a:rect l="l" t="t" r="r" b="b"/>
            <a:pathLst>
              <a:path w="10629899" h="11049000">
                <a:moveTo>
                  <a:pt x="0" y="0"/>
                </a:moveTo>
                <a:lnTo>
                  <a:pt x="10629899" y="0"/>
                </a:lnTo>
                <a:lnTo>
                  <a:pt x="10629899" y="11049000"/>
                </a:lnTo>
                <a:lnTo>
                  <a:pt x="0" y="11049000"/>
                </a:ln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
        <p:nvSpPr>
          <p:cNvPr id="9" name="Picture Placeholder 8">
            <a:extLst>
              <a:ext uri="{FF2B5EF4-FFF2-40B4-BE49-F238E27FC236}">
                <a16:creationId xmlns:a16="http://schemas.microsoft.com/office/drawing/2014/main" id="{D59F983A-E9C3-445F-A7F1-45E2008FDCDD}"/>
              </a:ext>
            </a:extLst>
          </p:cNvPr>
          <p:cNvSpPr>
            <a:spLocks noGrp="1"/>
          </p:cNvSpPr>
          <p:nvPr>
            <p:ph type="pic" sz="quarter" idx="12"/>
          </p:nvPr>
        </p:nvSpPr>
        <p:spPr>
          <a:xfrm>
            <a:off x="6096000" y="3575050"/>
            <a:ext cx="2638804" cy="2743200"/>
          </a:xfrm>
          <a:custGeom>
            <a:avLst/>
            <a:gdLst>
              <a:gd name="connsiteX0" fmla="*/ 0 w 5278295"/>
              <a:gd name="connsiteY0" fmla="*/ 0 h 5486400"/>
              <a:gd name="connsiteX1" fmla="*/ 5278295 w 5278295"/>
              <a:gd name="connsiteY1" fmla="*/ 0 h 5486400"/>
              <a:gd name="connsiteX2" fmla="*/ 5278295 w 5278295"/>
              <a:gd name="connsiteY2" fmla="*/ 5486400 h 5486400"/>
              <a:gd name="connsiteX3" fmla="*/ 0 w 5278295"/>
              <a:gd name="connsiteY3" fmla="*/ 5486400 h 5486400"/>
            </a:gdLst>
            <a:ahLst/>
            <a:cxnLst>
              <a:cxn ang="0">
                <a:pos x="connsiteX0" y="connsiteY0"/>
              </a:cxn>
              <a:cxn ang="0">
                <a:pos x="connsiteX1" y="connsiteY1"/>
              </a:cxn>
              <a:cxn ang="0">
                <a:pos x="connsiteX2" y="connsiteY2"/>
              </a:cxn>
              <a:cxn ang="0">
                <a:pos x="connsiteX3" y="connsiteY3"/>
              </a:cxn>
            </a:cxnLst>
            <a:rect l="l" t="t" r="r" b="b"/>
            <a:pathLst>
              <a:path w="5278295" h="5486400">
                <a:moveTo>
                  <a:pt x="0" y="0"/>
                </a:moveTo>
                <a:lnTo>
                  <a:pt x="5278295" y="0"/>
                </a:lnTo>
                <a:lnTo>
                  <a:pt x="5278295" y="5486400"/>
                </a:lnTo>
                <a:lnTo>
                  <a:pt x="0" y="5486400"/>
                </a:ln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
        <p:nvSpPr>
          <p:cNvPr id="11" name="Picture Placeholder 10">
            <a:extLst>
              <a:ext uri="{FF2B5EF4-FFF2-40B4-BE49-F238E27FC236}">
                <a16:creationId xmlns:a16="http://schemas.microsoft.com/office/drawing/2014/main" id="{BDE4FB34-EA53-468B-BEDD-E3F16B8A7852}"/>
              </a:ext>
            </a:extLst>
          </p:cNvPr>
          <p:cNvSpPr>
            <a:spLocks noGrp="1"/>
          </p:cNvSpPr>
          <p:nvPr>
            <p:ph type="pic" sz="quarter" idx="13"/>
          </p:nvPr>
        </p:nvSpPr>
        <p:spPr>
          <a:xfrm>
            <a:off x="8734803" y="793750"/>
            <a:ext cx="2675454" cy="2781300"/>
          </a:xfrm>
          <a:custGeom>
            <a:avLst/>
            <a:gdLst>
              <a:gd name="connsiteX0" fmla="*/ 0 w 5351604"/>
              <a:gd name="connsiteY0" fmla="*/ 0 h 5562600"/>
              <a:gd name="connsiteX1" fmla="*/ 5351604 w 5351604"/>
              <a:gd name="connsiteY1" fmla="*/ 0 h 5562600"/>
              <a:gd name="connsiteX2" fmla="*/ 5351604 w 5351604"/>
              <a:gd name="connsiteY2" fmla="*/ 5562600 h 5562600"/>
              <a:gd name="connsiteX3" fmla="*/ 0 w 5351604"/>
              <a:gd name="connsiteY3" fmla="*/ 5562600 h 5562600"/>
            </a:gdLst>
            <a:ahLst/>
            <a:cxnLst>
              <a:cxn ang="0">
                <a:pos x="connsiteX0" y="connsiteY0"/>
              </a:cxn>
              <a:cxn ang="0">
                <a:pos x="connsiteX1" y="connsiteY1"/>
              </a:cxn>
              <a:cxn ang="0">
                <a:pos x="connsiteX2" y="connsiteY2"/>
              </a:cxn>
              <a:cxn ang="0">
                <a:pos x="connsiteX3" y="connsiteY3"/>
              </a:cxn>
            </a:cxnLst>
            <a:rect l="l" t="t" r="r" b="b"/>
            <a:pathLst>
              <a:path w="5351604" h="5562600">
                <a:moveTo>
                  <a:pt x="0" y="0"/>
                </a:moveTo>
                <a:lnTo>
                  <a:pt x="5351604" y="0"/>
                </a:lnTo>
                <a:lnTo>
                  <a:pt x="5351604" y="5562600"/>
                </a:lnTo>
                <a:lnTo>
                  <a:pt x="0" y="5562600"/>
                </a:ln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Tree>
    <p:extLst>
      <p:ext uri="{BB962C8B-B14F-4D97-AF65-F5344CB8AC3E}">
        <p14:creationId xmlns:p14="http://schemas.microsoft.com/office/powerpoint/2010/main" val="1274003057"/>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4" dur="2200" decel="10000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2200" fill="hold"/>
                                        <p:tgtEl>
                                          <p:spTgt spid="8"/>
                                        </p:tgtEl>
                                        <p:attrNameLst>
                                          <p:attrName>ppt_x</p:attrName>
                                        </p:attrNameLst>
                                      </p:cBhvr>
                                      <p:tavLst>
                                        <p:tav tm="0">
                                          <p:val>
                                            <p:strVal val="#ppt_x"/>
                                          </p:val>
                                        </p:tav>
                                        <p:tav tm="100000">
                                          <p:val>
                                            <p:strVal val="#ppt_x"/>
                                          </p:val>
                                        </p:tav>
                                      </p:tavLst>
                                    </p:anim>
                                    <p:anim calcmode="lin" valueType="num">
                                      <p:cBhvr additive="base">
                                        <p:cTn id="8" dur="2200" fill="hold"/>
                                        <p:tgtEl>
                                          <p:spTgt spid="8"/>
                                        </p:tgtEl>
                                        <p:attrNameLst>
                                          <p:attrName>ppt_y</p:attrName>
                                        </p:attrNameLst>
                                      </p:cBhvr>
                                      <p:tavLst>
                                        <p:tav tm="0">
                                          <p:val>
                                            <p:strVal val="1+#ppt_h/2"/>
                                          </p:val>
                                        </p:tav>
                                        <p:tav tm="100000">
                                          <p:val>
                                            <p:strVal val="#ppt_y"/>
                                          </p:val>
                                        </p:tav>
                                      </p:tavLst>
                                    </p:anim>
                                  </p:childTnLst>
                                </p:cTn>
                              </p:par>
                              <p:par>
                                <p:cTn id="9" presetID="2" presetClass="entr" presetSubtype="4" dur="2200" decel="100000"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2200" fill="hold"/>
                                        <p:tgtEl>
                                          <p:spTgt spid="9"/>
                                        </p:tgtEl>
                                        <p:attrNameLst>
                                          <p:attrName>ppt_x</p:attrName>
                                        </p:attrNameLst>
                                      </p:cBhvr>
                                      <p:tavLst>
                                        <p:tav tm="0">
                                          <p:val>
                                            <p:strVal val="#ppt_x"/>
                                          </p:val>
                                        </p:tav>
                                        <p:tav tm="100000">
                                          <p:val>
                                            <p:strVal val="#ppt_x"/>
                                          </p:val>
                                        </p:tav>
                                      </p:tavLst>
                                    </p:anim>
                                    <p:anim calcmode="lin" valueType="num">
                                      <p:cBhvr additive="base">
                                        <p:cTn id="12" dur="2200" fill="hold"/>
                                        <p:tgtEl>
                                          <p:spTgt spid="9"/>
                                        </p:tgtEl>
                                        <p:attrNameLst>
                                          <p:attrName>ppt_y</p:attrName>
                                        </p:attrNameLst>
                                      </p:cBhvr>
                                      <p:tavLst>
                                        <p:tav tm="0">
                                          <p:val>
                                            <p:strVal val="1+#ppt_h/2"/>
                                          </p:val>
                                        </p:tav>
                                        <p:tav tm="100000">
                                          <p:val>
                                            <p:strVal val="#ppt_y"/>
                                          </p:val>
                                        </p:tav>
                                      </p:tavLst>
                                    </p:anim>
                                  </p:childTnLst>
                                </p:cTn>
                              </p:par>
                              <p:par>
                                <p:cTn id="13" presetID="2" presetClass="entr" presetSubtype="4" dur="2200" decel="100000" fill="hold" grpId="0" nodeType="withEffect">
                                  <p:stCondLst>
                                    <p:cond delay="0"/>
                                  </p:stCondLst>
                                  <p:childTnLst>
                                    <p:set>
                                      <p:cBhvr>
                                        <p:cTn id="14" dur="1" fill="hold">
                                          <p:stCondLst>
                                            <p:cond delay="0"/>
                                          </p:stCondLst>
                                        </p:cTn>
                                        <p:tgtEl>
                                          <p:spTgt spid="11"/>
                                        </p:tgtEl>
                                        <p:attrNameLst>
                                          <p:attrName>style.visibility</p:attrName>
                                        </p:attrNameLst>
                                      </p:cBhvr>
                                      <p:to>
                                        <p:strVal val="visible"/>
                                      </p:to>
                                    </p:set>
                                    <p:anim calcmode="lin" valueType="num">
                                      <p:cBhvr additive="base">
                                        <p:cTn id="15" dur="2200" fill="hold"/>
                                        <p:tgtEl>
                                          <p:spTgt spid="11"/>
                                        </p:tgtEl>
                                        <p:attrNameLst>
                                          <p:attrName>ppt_x</p:attrName>
                                        </p:attrNameLst>
                                      </p:cBhvr>
                                      <p:tavLst>
                                        <p:tav tm="0">
                                          <p:val>
                                            <p:strVal val="#ppt_x"/>
                                          </p:val>
                                        </p:tav>
                                        <p:tav tm="100000">
                                          <p:val>
                                            <p:strVal val="#ppt_x"/>
                                          </p:val>
                                        </p:tav>
                                      </p:tavLst>
                                    </p:anim>
                                    <p:anim calcmode="lin" valueType="num">
                                      <p:cBhvr additive="base">
                                        <p:cTn id="16" dur="2200" fill="hold"/>
                                        <p:tgtEl>
                                          <p:spTgt spid="1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1" grpId="0" animBg="1"/>
    </p:bldLst>
  </p:timing>
</p:sldLayout>
</file>

<file path=ppt/slideLayouts/slideLayout263.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72C1527C-1238-4997-83A0-B93C0C1A119C}"/>
              </a:ext>
            </a:extLst>
          </p:cNvPr>
          <p:cNvSpPr>
            <a:spLocks noGrp="1"/>
          </p:cNvSpPr>
          <p:nvPr>
            <p:ph type="pic" sz="quarter" idx="13"/>
          </p:nvPr>
        </p:nvSpPr>
        <p:spPr>
          <a:xfrm>
            <a:off x="3532136" y="871981"/>
            <a:ext cx="2563864" cy="2595260"/>
          </a:xfrm>
          <a:custGeom>
            <a:avLst/>
            <a:gdLst>
              <a:gd name="connsiteX0" fmla="*/ 0 w 5190519"/>
              <a:gd name="connsiteY0" fmla="*/ 0 h 5190519"/>
              <a:gd name="connsiteX1" fmla="*/ 5190519 w 5190519"/>
              <a:gd name="connsiteY1" fmla="*/ 0 h 5190519"/>
              <a:gd name="connsiteX2" fmla="*/ 5190519 w 5190519"/>
              <a:gd name="connsiteY2" fmla="*/ 5190519 h 5190519"/>
              <a:gd name="connsiteX3" fmla="*/ 0 w 5190519"/>
              <a:gd name="connsiteY3" fmla="*/ 5190519 h 5190519"/>
            </a:gdLst>
            <a:ahLst/>
            <a:cxnLst>
              <a:cxn ang="0">
                <a:pos x="connsiteX0" y="connsiteY0"/>
              </a:cxn>
              <a:cxn ang="0">
                <a:pos x="connsiteX1" y="connsiteY1"/>
              </a:cxn>
              <a:cxn ang="0">
                <a:pos x="connsiteX2" y="connsiteY2"/>
              </a:cxn>
              <a:cxn ang="0">
                <a:pos x="connsiteX3" y="connsiteY3"/>
              </a:cxn>
            </a:cxnLst>
            <a:rect l="l" t="t" r="r" b="b"/>
            <a:pathLst>
              <a:path w="5190519" h="5190519">
                <a:moveTo>
                  <a:pt x="0" y="0"/>
                </a:moveTo>
                <a:lnTo>
                  <a:pt x="5190519" y="0"/>
                </a:lnTo>
                <a:lnTo>
                  <a:pt x="5190519" y="5190519"/>
                </a:lnTo>
                <a:lnTo>
                  <a:pt x="0" y="5190519"/>
                </a:ln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
        <p:nvSpPr>
          <p:cNvPr id="14" name="Picture Placeholder 13">
            <a:extLst>
              <a:ext uri="{FF2B5EF4-FFF2-40B4-BE49-F238E27FC236}">
                <a16:creationId xmlns:a16="http://schemas.microsoft.com/office/drawing/2014/main" id="{F2C28264-6FA4-467B-BDE9-EC8733C2D740}"/>
              </a:ext>
            </a:extLst>
          </p:cNvPr>
          <p:cNvSpPr>
            <a:spLocks noGrp="1"/>
          </p:cNvSpPr>
          <p:nvPr>
            <p:ph type="pic" sz="quarter" idx="14"/>
          </p:nvPr>
        </p:nvSpPr>
        <p:spPr>
          <a:xfrm>
            <a:off x="6251472" y="871980"/>
            <a:ext cx="5127728" cy="5314950"/>
          </a:xfrm>
          <a:custGeom>
            <a:avLst/>
            <a:gdLst>
              <a:gd name="connsiteX0" fmla="*/ 0 w 10381040"/>
              <a:gd name="connsiteY0" fmla="*/ 0 h 10629899"/>
              <a:gd name="connsiteX1" fmla="*/ 10381040 w 10381040"/>
              <a:gd name="connsiteY1" fmla="*/ 0 h 10629899"/>
              <a:gd name="connsiteX2" fmla="*/ 10381040 w 10381040"/>
              <a:gd name="connsiteY2" fmla="*/ 10629899 h 10629899"/>
              <a:gd name="connsiteX3" fmla="*/ 0 w 10381040"/>
              <a:gd name="connsiteY3" fmla="*/ 10629899 h 10629899"/>
            </a:gdLst>
            <a:ahLst/>
            <a:cxnLst>
              <a:cxn ang="0">
                <a:pos x="connsiteX0" y="connsiteY0"/>
              </a:cxn>
              <a:cxn ang="0">
                <a:pos x="connsiteX1" y="connsiteY1"/>
              </a:cxn>
              <a:cxn ang="0">
                <a:pos x="connsiteX2" y="connsiteY2"/>
              </a:cxn>
              <a:cxn ang="0">
                <a:pos x="connsiteX3" y="connsiteY3"/>
              </a:cxn>
            </a:cxnLst>
            <a:rect l="l" t="t" r="r" b="b"/>
            <a:pathLst>
              <a:path w="10381040" h="10629899">
                <a:moveTo>
                  <a:pt x="0" y="0"/>
                </a:moveTo>
                <a:lnTo>
                  <a:pt x="10381040" y="0"/>
                </a:lnTo>
                <a:lnTo>
                  <a:pt x="10381040" y="10629899"/>
                </a:lnTo>
                <a:lnTo>
                  <a:pt x="0" y="10629899"/>
                </a:ln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
        <p:nvSpPr>
          <p:cNvPr id="16" name="Picture Placeholder 15">
            <a:extLst>
              <a:ext uri="{FF2B5EF4-FFF2-40B4-BE49-F238E27FC236}">
                <a16:creationId xmlns:a16="http://schemas.microsoft.com/office/drawing/2014/main" id="{843876E8-A094-40A5-860F-FA8679BF447F}"/>
              </a:ext>
            </a:extLst>
          </p:cNvPr>
          <p:cNvSpPr>
            <a:spLocks noGrp="1"/>
          </p:cNvSpPr>
          <p:nvPr>
            <p:ph type="pic" sz="quarter" idx="15"/>
          </p:nvPr>
        </p:nvSpPr>
        <p:spPr>
          <a:xfrm>
            <a:off x="3532136" y="3591671"/>
            <a:ext cx="2563864" cy="2595260"/>
          </a:xfrm>
          <a:custGeom>
            <a:avLst/>
            <a:gdLst>
              <a:gd name="connsiteX0" fmla="*/ 0 w 5190519"/>
              <a:gd name="connsiteY0" fmla="*/ 0 h 5190519"/>
              <a:gd name="connsiteX1" fmla="*/ 5190519 w 5190519"/>
              <a:gd name="connsiteY1" fmla="*/ 0 h 5190519"/>
              <a:gd name="connsiteX2" fmla="*/ 5190519 w 5190519"/>
              <a:gd name="connsiteY2" fmla="*/ 5190519 h 5190519"/>
              <a:gd name="connsiteX3" fmla="*/ 0 w 5190519"/>
              <a:gd name="connsiteY3" fmla="*/ 5190519 h 5190519"/>
            </a:gdLst>
            <a:ahLst/>
            <a:cxnLst>
              <a:cxn ang="0">
                <a:pos x="connsiteX0" y="connsiteY0"/>
              </a:cxn>
              <a:cxn ang="0">
                <a:pos x="connsiteX1" y="connsiteY1"/>
              </a:cxn>
              <a:cxn ang="0">
                <a:pos x="connsiteX2" y="connsiteY2"/>
              </a:cxn>
              <a:cxn ang="0">
                <a:pos x="connsiteX3" y="connsiteY3"/>
              </a:cxn>
            </a:cxnLst>
            <a:rect l="l" t="t" r="r" b="b"/>
            <a:pathLst>
              <a:path w="5190519" h="5190519">
                <a:moveTo>
                  <a:pt x="0" y="0"/>
                </a:moveTo>
                <a:lnTo>
                  <a:pt x="5190519" y="0"/>
                </a:lnTo>
                <a:lnTo>
                  <a:pt x="5190519" y="5190519"/>
                </a:lnTo>
                <a:lnTo>
                  <a:pt x="0" y="5190519"/>
                </a:ln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
        <p:nvSpPr>
          <p:cNvPr id="17" name="Picture Placeholder 16">
            <a:extLst>
              <a:ext uri="{FF2B5EF4-FFF2-40B4-BE49-F238E27FC236}">
                <a16:creationId xmlns:a16="http://schemas.microsoft.com/office/drawing/2014/main" id="{E87560AE-CEDB-48AC-B2BF-85B52DE0F146}"/>
              </a:ext>
            </a:extLst>
          </p:cNvPr>
          <p:cNvSpPr>
            <a:spLocks noGrp="1"/>
          </p:cNvSpPr>
          <p:nvPr>
            <p:ph type="pic" sz="quarter" idx="16"/>
          </p:nvPr>
        </p:nvSpPr>
        <p:spPr>
          <a:xfrm>
            <a:off x="812800" y="3591671"/>
            <a:ext cx="2563864" cy="2595260"/>
          </a:xfrm>
          <a:custGeom>
            <a:avLst/>
            <a:gdLst>
              <a:gd name="connsiteX0" fmla="*/ 0 w 5190519"/>
              <a:gd name="connsiteY0" fmla="*/ 0 h 5190519"/>
              <a:gd name="connsiteX1" fmla="*/ 5190519 w 5190519"/>
              <a:gd name="connsiteY1" fmla="*/ 0 h 5190519"/>
              <a:gd name="connsiteX2" fmla="*/ 5190519 w 5190519"/>
              <a:gd name="connsiteY2" fmla="*/ 5190519 h 5190519"/>
              <a:gd name="connsiteX3" fmla="*/ 0 w 5190519"/>
              <a:gd name="connsiteY3" fmla="*/ 5190519 h 5190519"/>
            </a:gdLst>
            <a:ahLst/>
            <a:cxnLst>
              <a:cxn ang="0">
                <a:pos x="connsiteX0" y="connsiteY0"/>
              </a:cxn>
              <a:cxn ang="0">
                <a:pos x="connsiteX1" y="connsiteY1"/>
              </a:cxn>
              <a:cxn ang="0">
                <a:pos x="connsiteX2" y="connsiteY2"/>
              </a:cxn>
              <a:cxn ang="0">
                <a:pos x="connsiteX3" y="connsiteY3"/>
              </a:cxn>
            </a:cxnLst>
            <a:rect l="l" t="t" r="r" b="b"/>
            <a:pathLst>
              <a:path w="5190519" h="5190519">
                <a:moveTo>
                  <a:pt x="0" y="0"/>
                </a:moveTo>
                <a:lnTo>
                  <a:pt x="5190519" y="0"/>
                </a:lnTo>
                <a:lnTo>
                  <a:pt x="5190519" y="5190519"/>
                </a:lnTo>
                <a:lnTo>
                  <a:pt x="0" y="5190519"/>
                </a:ln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Tree>
    <p:extLst>
      <p:ext uri="{BB962C8B-B14F-4D97-AF65-F5344CB8AC3E}">
        <p14:creationId xmlns:p14="http://schemas.microsoft.com/office/powerpoint/2010/main" val="729220593"/>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4" dur="2200" decel="10000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2200" fill="hold"/>
                                        <p:tgtEl>
                                          <p:spTgt spid="14"/>
                                        </p:tgtEl>
                                        <p:attrNameLst>
                                          <p:attrName>ppt_x</p:attrName>
                                        </p:attrNameLst>
                                      </p:cBhvr>
                                      <p:tavLst>
                                        <p:tav tm="0">
                                          <p:val>
                                            <p:strVal val="#ppt_x"/>
                                          </p:val>
                                        </p:tav>
                                        <p:tav tm="100000">
                                          <p:val>
                                            <p:strVal val="#ppt_x"/>
                                          </p:val>
                                        </p:tav>
                                      </p:tavLst>
                                    </p:anim>
                                    <p:anim calcmode="lin" valueType="num">
                                      <p:cBhvr additive="base">
                                        <p:cTn id="8" dur="2200" fill="hold"/>
                                        <p:tgtEl>
                                          <p:spTgt spid="14"/>
                                        </p:tgtEl>
                                        <p:attrNameLst>
                                          <p:attrName>ppt_y</p:attrName>
                                        </p:attrNameLst>
                                      </p:cBhvr>
                                      <p:tavLst>
                                        <p:tav tm="0">
                                          <p:val>
                                            <p:strVal val="1+#ppt_h/2"/>
                                          </p:val>
                                        </p:tav>
                                        <p:tav tm="100000">
                                          <p:val>
                                            <p:strVal val="#ppt_y"/>
                                          </p:val>
                                        </p:tav>
                                      </p:tavLst>
                                    </p:anim>
                                  </p:childTnLst>
                                </p:cTn>
                              </p:par>
                              <p:par>
                                <p:cTn id="9" presetID="2" presetClass="entr" presetSubtype="4" dur="2200" decel="100000" fill="hold" grpId="0" nodeType="withEffect">
                                  <p:stCondLst>
                                    <p:cond delay="200"/>
                                  </p:stCondLst>
                                  <p:childTnLst>
                                    <p:set>
                                      <p:cBhvr>
                                        <p:cTn id="10" dur="1" fill="hold">
                                          <p:stCondLst>
                                            <p:cond delay="0"/>
                                          </p:stCondLst>
                                        </p:cTn>
                                        <p:tgtEl>
                                          <p:spTgt spid="15"/>
                                        </p:tgtEl>
                                        <p:attrNameLst>
                                          <p:attrName>style.visibility</p:attrName>
                                        </p:attrNameLst>
                                      </p:cBhvr>
                                      <p:to>
                                        <p:strVal val="visible"/>
                                      </p:to>
                                    </p:set>
                                    <p:anim calcmode="lin" valueType="num">
                                      <p:cBhvr additive="base">
                                        <p:cTn id="11" dur="2200" fill="hold"/>
                                        <p:tgtEl>
                                          <p:spTgt spid="15"/>
                                        </p:tgtEl>
                                        <p:attrNameLst>
                                          <p:attrName>ppt_x</p:attrName>
                                        </p:attrNameLst>
                                      </p:cBhvr>
                                      <p:tavLst>
                                        <p:tav tm="0">
                                          <p:val>
                                            <p:strVal val="#ppt_x"/>
                                          </p:val>
                                        </p:tav>
                                        <p:tav tm="100000">
                                          <p:val>
                                            <p:strVal val="#ppt_x"/>
                                          </p:val>
                                        </p:tav>
                                      </p:tavLst>
                                    </p:anim>
                                    <p:anim calcmode="lin" valueType="num">
                                      <p:cBhvr additive="base">
                                        <p:cTn id="12" dur="2200" fill="hold"/>
                                        <p:tgtEl>
                                          <p:spTgt spid="15"/>
                                        </p:tgtEl>
                                        <p:attrNameLst>
                                          <p:attrName>ppt_y</p:attrName>
                                        </p:attrNameLst>
                                      </p:cBhvr>
                                      <p:tavLst>
                                        <p:tav tm="0">
                                          <p:val>
                                            <p:strVal val="1+#ppt_h/2"/>
                                          </p:val>
                                        </p:tav>
                                        <p:tav tm="100000">
                                          <p:val>
                                            <p:strVal val="#ppt_y"/>
                                          </p:val>
                                        </p:tav>
                                      </p:tavLst>
                                    </p:anim>
                                  </p:childTnLst>
                                </p:cTn>
                              </p:par>
                              <p:par>
                                <p:cTn id="13" presetID="2" presetClass="entr" presetSubtype="4" dur="2200" decel="100000" fill="hold" grpId="0" nodeType="withEffect">
                                  <p:stCondLst>
                                    <p:cond delay="200"/>
                                  </p:stCondLst>
                                  <p:childTnLst>
                                    <p:set>
                                      <p:cBhvr>
                                        <p:cTn id="14" dur="1" fill="hold">
                                          <p:stCondLst>
                                            <p:cond delay="0"/>
                                          </p:stCondLst>
                                        </p:cTn>
                                        <p:tgtEl>
                                          <p:spTgt spid="16"/>
                                        </p:tgtEl>
                                        <p:attrNameLst>
                                          <p:attrName>style.visibility</p:attrName>
                                        </p:attrNameLst>
                                      </p:cBhvr>
                                      <p:to>
                                        <p:strVal val="visible"/>
                                      </p:to>
                                    </p:set>
                                    <p:anim calcmode="lin" valueType="num">
                                      <p:cBhvr additive="base">
                                        <p:cTn id="15" dur="2200" fill="hold"/>
                                        <p:tgtEl>
                                          <p:spTgt spid="16"/>
                                        </p:tgtEl>
                                        <p:attrNameLst>
                                          <p:attrName>ppt_x</p:attrName>
                                        </p:attrNameLst>
                                      </p:cBhvr>
                                      <p:tavLst>
                                        <p:tav tm="0">
                                          <p:val>
                                            <p:strVal val="#ppt_x"/>
                                          </p:val>
                                        </p:tav>
                                        <p:tav tm="100000">
                                          <p:val>
                                            <p:strVal val="#ppt_x"/>
                                          </p:val>
                                        </p:tav>
                                      </p:tavLst>
                                    </p:anim>
                                    <p:anim calcmode="lin" valueType="num">
                                      <p:cBhvr additive="base">
                                        <p:cTn id="16" dur="2200" fill="hold"/>
                                        <p:tgtEl>
                                          <p:spTgt spid="16"/>
                                        </p:tgtEl>
                                        <p:attrNameLst>
                                          <p:attrName>ppt_y</p:attrName>
                                        </p:attrNameLst>
                                      </p:cBhvr>
                                      <p:tavLst>
                                        <p:tav tm="0">
                                          <p:val>
                                            <p:strVal val="1+#ppt_h/2"/>
                                          </p:val>
                                        </p:tav>
                                        <p:tav tm="100000">
                                          <p:val>
                                            <p:strVal val="#ppt_y"/>
                                          </p:val>
                                        </p:tav>
                                      </p:tavLst>
                                    </p:anim>
                                  </p:childTnLst>
                                </p:cTn>
                              </p:par>
                              <p:par>
                                <p:cTn id="17" presetID="2" presetClass="entr" presetSubtype="4" dur="2200" decel="100000" fill="hold" grpId="0" nodeType="withEffect">
                                  <p:stCondLst>
                                    <p:cond delay="400"/>
                                  </p:stCondLst>
                                  <p:childTnLst>
                                    <p:set>
                                      <p:cBhvr>
                                        <p:cTn id="18" dur="1" fill="hold">
                                          <p:stCondLst>
                                            <p:cond delay="0"/>
                                          </p:stCondLst>
                                        </p:cTn>
                                        <p:tgtEl>
                                          <p:spTgt spid="17"/>
                                        </p:tgtEl>
                                        <p:attrNameLst>
                                          <p:attrName>style.visibility</p:attrName>
                                        </p:attrNameLst>
                                      </p:cBhvr>
                                      <p:to>
                                        <p:strVal val="visible"/>
                                      </p:to>
                                    </p:set>
                                    <p:anim calcmode="lin" valueType="num">
                                      <p:cBhvr additive="base">
                                        <p:cTn id="19" dur="2200" fill="hold"/>
                                        <p:tgtEl>
                                          <p:spTgt spid="17"/>
                                        </p:tgtEl>
                                        <p:attrNameLst>
                                          <p:attrName>ppt_x</p:attrName>
                                        </p:attrNameLst>
                                      </p:cBhvr>
                                      <p:tavLst>
                                        <p:tav tm="0">
                                          <p:val>
                                            <p:strVal val="#ppt_x"/>
                                          </p:val>
                                        </p:tav>
                                        <p:tav tm="100000">
                                          <p:val>
                                            <p:strVal val="#ppt_x"/>
                                          </p:val>
                                        </p:tav>
                                      </p:tavLst>
                                    </p:anim>
                                    <p:anim calcmode="lin" valueType="num">
                                      <p:cBhvr additive="base">
                                        <p:cTn id="20" dur="2200" fill="hold"/>
                                        <p:tgtEl>
                                          <p:spTgt spid="1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4" grpId="0" animBg="1"/>
      <p:bldP spid="16" grpId="0" animBg="1"/>
      <p:bldP spid="17" grpId="0" animBg="1"/>
    </p:bldLst>
  </p:timing>
</p:sldLayout>
</file>

<file path=ppt/slideLayouts/slideLayout264.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2" name="Picture Placeholder 4">
            <a:extLst>
              <a:ext uri="{FF2B5EF4-FFF2-40B4-BE49-F238E27FC236}">
                <a16:creationId xmlns:a16="http://schemas.microsoft.com/office/drawing/2014/main" id="{CDD5BDAE-070D-466F-9878-EB1BC2848ED8}"/>
              </a:ext>
            </a:extLst>
          </p:cNvPr>
          <p:cNvSpPr>
            <a:spLocks noGrp="1"/>
          </p:cNvSpPr>
          <p:nvPr>
            <p:ph type="pic" sz="quarter" idx="11"/>
          </p:nvPr>
        </p:nvSpPr>
        <p:spPr>
          <a:xfrm>
            <a:off x="812800" y="728662"/>
            <a:ext cx="10566400" cy="5589587"/>
          </a:xfrm>
          <a:custGeom>
            <a:avLst/>
            <a:gdLst>
              <a:gd name="connsiteX0" fmla="*/ 0 w 7829549"/>
              <a:gd name="connsiteY0" fmla="*/ 0 h 7543801"/>
              <a:gd name="connsiteX1" fmla="*/ 7829549 w 7829549"/>
              <a:gd name="connsiteY1" fmla="*/ 0 h 7543801"/>
              <a:gd name="connsiteX2" fmla="*/ 7829549 w 7829549"/>
              <a:gd name="connsiteY2" fmla="*/ 7543801 h 7543801"/>
              <a:gd name="connsiteX3" fmla="*/ 0 w 7829549"/>
              <a:gd name="connsiteY3" fmla="*/ 7543801 h 7543801"/>
            </a:gdLst>
            <a:ahLst/>
            <a:cxnLst>
              <a:cxn ang="0">
                <a:pos x="connsiteX0" y="connsiteY0"/>
              </a:cxn>
              <a:cxn ang="0">
                <a:pos x="connsiteX1" y="connsiteY1"/>
              </a:cxn>
              <a:cxn ang="0">
                <a:pos x="connsiteX2" y="connsiteY2"/>
              </a:cxn>
              <a:cxn ang="0">
                <a:pos x="connsiteX3" y="connsiteY3"/>
              </a:cxn>
            </a:cxnLst>
            <a:rect l="l" t="t" r="r" b="b"/>
            <a:pathLst>
              <a:path w="7829549" h="7543801">
                <a:moveTo>
                  <a:pt x="0" y="0"/>
                </a:moveTo>
                <a:lnTo>
                  <a:pt x="7829549" y="0"/>
                </a:lnTo>
                <a:lnTo>
                  <a:pt x="7829549" y="7543801"/>
                </a:lnTo>
                <a:lnTo>
                  <a:pt x="0" y="7543801"/>
                </a:ln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Tree>
    <p:extLst>
      <p:ext uri="{BB962C8B-B14F-4D97-AF65-F5344CB8AC3E}">
        <p14:creationId xmlns:p14="http://schemas.microsoft.com/office/powerpoint/2010/main" val="3788684081"/>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1" dur="2200" decel="10000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2200" fill="hold"/>
                                        <p:tgtEl>
                                          <p:spTgt spid="2"/>
                                        </p:tgtEl>
                                        <p:attrNameLst>
                                          <p:attrName>ppt_x</p:attrName>
                                        </p:attrNameLst>
                                      </p:cBhvr>
                                      <p:tavLst>
                                        <p:tav tm="0">
                                          <p:val>
                                            <p:strVal val="#ppt_x"/>
                                          </p:val>
                                        </p:tav>
                                        <p:tav tm="100000">
                                          <p:val>
                                            <p:strVal val="#ppt_x"/>
                                          </p:val>
                                        </p:tav>
                                      </p:tavLst>
                                    </p:anim>
                                    <p:anim calcmode="lin" valueType="num">
                                      <p:cBhvr additive="base">
                                        <p:cTn id="8" dur="2200" fill="hold"/>
                                        <p:tgtEl>
                                          <p:spTgt spid="2"/>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extLst>
    <p:ext uri="{DCECCB84-F9BA-43D5-87BE-67443E8EF086}">
      <p15:sldGuideLst xmlns:p15="http://schemas.microsoft.com/office/powerpoint/2012/main">
        <p15:guide id="1" orient="horz" pos="4320">
          <p15:clr>
            <a:srgbClr val="FBAE40"/>
          </p15:clr>
        </p15:guide>
        <p15:guide id="2" pos="7681">
          <p15:clr>
            <a:srgbClr val="FBAE40"/>
          </p15:clr>
        </p15:guide>
        <p15:guide id="3" pos="985">
          <p15:clr>
            <a:srgbClr val="FBAE40"/>
          </p15:clr>
        </p15:guide>
        <p15:guide id="4" pos="14377">
          <p15:clr>
            <a:srgbClr val="FBAE4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userDrawn="1">
  <p:cSld name="3_Custom Layout">
    <p:spTree>
      <p:nvGrpSpPr>
        <p:cNvPr id="1" name=""/>
        <p:cNvGrpSpPr/>
        <p:nvPr/>
      </p:nvGrpSpPr>
      <p:grpSpPr>
        <a:xfrm>
          <a:off x="0" y="0"/>
          <a:ext cx="0" cy="0"/>
          <a:chOff x="0" y="0"/>
          <a:chExt cx="0" cy="0"/>
        </a:xfrm>
      </p:grpSpPr>
      <p:sp>
        <p:nvSpPr>
          <p:cNvPr id="2" name="Rectangle: Diagonal Corners Rounded 1">
            <a:extLst>
              <a:ext uri="{FF2B5EF4-FFF2-40B4-BE49-F238E27FC236}">
                <a16:creationId xmlns:a16="http://schemas.microsoft.com/office/drawing/2014/main" id="{11A25E91-8608-EAF1-2D71-B3B814E61509}"/>
              </a:ext>
            </a:extLst>
          </p:cNvPr>
          <p:cNvSpPr/>
          <p:nvPr userDrawn="1"/>
        </p:nvSpPr>
        <p:spPr>
          <a:xfrm>
            <a:off x="812800" y="728662"/>
            <a:ext cx="10566400" cy="5589587"/>
          </a:xfrm>
          <a:prstGeom prst="round2DiagRect">
            <a:avLst>
              <a:gd name="adj1" fmla="val 6783"/>
              <a:gd name="adj2" fmla="val 0"/>
            </a:avLst>
          </a:prstGeom>
          <a:solidFill>
            <a:schemeClr val="accent3">
              <a:lumMod val="40000"/>
              <a:lumOff val="60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6" name="Picture Placeholder 5">
            <a:extLst>
              <a:ext uri="{FF2B5EF4-FFF2-40B4-BE49-F238E27FC236}">
                <a16:creationId xmlns:a16="http://schemas.microsoft.com/office/drawing/2014/main" id="{390A452D-DFE3-48E8-956D-B964AE99D0C7}"/>
              </a:ext>
            </a:extLst>
          </p:cNvPr>
          <p:cNvSpPr>
            <a:spLocks noGrp="1"/>
          </p:cNvSpPr>
          <p:nvPr>
            <p:ph type="pic" sz="quarter" idx="13"/>
          </p:nvPr>
        </p:nvSpPr>
        <p:spPr>
          <a:xfrm>
            <a:off x="1086501" y="1057275"/>
            <a:ext cx="4704737" cy="4705350"/>
          </a:xfrm>
          <a:custGeom>
            <a:avLst/>
            <a:gdLst>
              <a:gd name="connsiteX0" fmla="*/ 0 w 9410700"/>
              <a:gd name="connsiteY0" fmla="*/ 0 h 9410700"/>
              <a:gd name="connsiteX1" fmla="*/ 9410700 w 9410700"/>
              <a:gd name="connsiteY1" fmla="*/ 0 h 9410700"/>
              <a:gd name="connsiteX2" fmla="*/ 9410700 w 9410700"/>
              <a:gd name="connsiteY2" fmla="*/ 9410700 h 9410700"/>
              <a:gd name="connsiteX3" fmla="*/ 0 w 9410700"/>
              <a:gd name="connsiteY3" fmla="*/ 9410700 h 9410700"/>
            </a:gdLst>
            <a:ahLst/>
            <a:cxnLst>
              <a:cxn ang="0">
                <a:pos x="connsiteX0" y="connsiteY0"/>
              </a:cxn>
              <a:cxn ang="0">
                <a:pos x="connsiteX1" y="connsiteY1"/>
              </a:cxn>
              <a:cxn ang="0">
                <a:pos x="connsiteX2" y="connsiteY2"/>
              </a:cxn>
              <a:cxn ang="0">
                <a:pos x="connsiteX3" y="connsiteY3"/>
              </a:cxn>
            </a:cxnLst>
            <a:rect l="l" t="t" r="r" b="b"/>
            <a:pathLst>
              <a:path w="9410700" h="9410700">
                <a:moveTo>
                  <a:pt x="0" y="0"/>
                </a:moveTo>
                <a:lnTo>
                  <a:pt x="9410700" y="0"/>
                </a:lnTo>
                <a:lnTo>
                  <a:pt x="9410700" y="9410700"/>
                </a:lnTo>
                <a:lnTo>
                  <a:pt x="0" y="9410700"/>
                </a:ln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
        <p:nvSpPr>
          <p:cNvPr id="7" name="Picture Placeholder 6">
            <a:extLst>
              <a:ext uri="{FF2B5EF4-FFF2-40B4-BE49-F238E27FC236}">
                <a16:creationId xmlns:a16="http://schemas.microsoft.com/office/drawing/2014/main" id="{11D63369-5C3A-4822-ACB3-46071185D785}"/>
              </a:ext>
            </a:extLst>
          </p:cNvPr>
          <p:cNvSpPr>
            <a:spLocks noGrp="1"/>
          </p:cNvSpPr>
          <p:nvPr>
            <p:ph type="pic" sz="quarter" idx="14"/>
          </p:nvPr>
        </p:nvSpPr>
        <p:spPr>
          <a:xfrm>
            <a:off x="6400759" y="1057275"/>
            <a:ext cx="4704737" cy="4705350"/>
          </a:xfrm>
          <a:custGeom>
            <a:avLst/>
            <a:gdLst>
              <a:gd name="connsiteX0" fmla="*/ 0 w 9410699"/>
              <a:gd name="connsiteY0" fmla="*/ 0 h 9410700"/>
              <a:gd name="connsiteX1" fmla="*/ 9410699 w 9410699"/>
              <a:gd name="connsiteY1" fmla="*/ 0 h 9410700"/>
              <a:gd name="connsiteX2" fmla="*/ 9410699 w 9410699"/>
              <a:gd name="connsiteY2" fmla="*/ 9410700 h 9410700"/>
              <a:gd name="connsiteX3" fmla="*/ 0 w 9410699"/>
              <a:gd name="connsiteY3" fmla="*/ 9410700 h 9410700"/>
            </a:gdLst>
            <a:ahLst/>
            <a:cxnLst>
              <a:cxn ang="0">
                <a:pos x="connsiteX0" y="connsiteY0"/>
              </a:cxn>
              <a:cxn ang="0">
                <a:pos x="connsiteX1" y="connsiteY1"/>
              </a:cxn>
              <a:cxn ang="0">
                <a:pos x="connsiteX2" y="connsiteY2"/>
              </a:cxn>
              <a:cxn ang="0">
                <a:pos x="connsiteX3" y="connsiteY3"/>
              </a:cxn>
            </a:cxnLst>
            <a:rect l="l" t="t" r="r" b="b"/>
            <a:pathLst>
              <a:path w="9410699" h="9410700">
                <a:moveTo>
                  <a:pt x="0" y="0"/>
                </a:moveTo>
                <a:lnTo>
                  <a:pt x="9410699" y="0"/>
                </a:lnTo>
                <a:lnTo>
                  <a:pt x="9410699" y="9410700"/>
                </a:lnTo>
                <a:lnTo>
                  <a:pt x="0" y="9410700"/>
                </a:ln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Tree>
    <p:extLst>
      <p:ext uri="{BB962C8B-B14F-4D97-AF65-F5344CB8AC3E}">
        <p14:creationId xmlns:p14="http://schemas.microsoft.com/office/powerpoint/2010/main" val="2402532339"/>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4" dur="2200"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2200" fill="hold"/>
                                        <p:tgtEl>
                                          <p:spTgt spid="6"/>
                                        </p:tgtEl>
                                        <p:attrNameLst>
                                          <p:attrName>ppt_x</p:attrName>
                                        </p:attrNameLst>
                                      </p:cBhvr>
                                      <p:tavLst>
                                        <p:tav tm="0">
                                          <p:val>
                                            <p:strVal val="#ppt_x"/>
                                          </p:val>
                                        </p:tav>
                                        <p:tav tm="100000">
                                          <p:val>
                                            <p:strVal val="#ppt_x"/>
                                          </p:val>
                                        </p:tav>
                                      </p:tavLst>
                                    </p:anim>
                                    <p:anim calcmode="lin" valueType="num">
                                      <p:cBhvr additive="base">
                                        <p:cTn id="8" dur="2200" fill="hold"/>
                                        <p:tgtEl>
                                          <p:spTgt spid="6"/>
                                        </p:tgtEl>
                                        <p:attrNameLst>
                                          <p:attrName>ppt_y</p:attrName>
                                        </p:attrNameLst>
                                      </p:cBhvr>
                                      <p:tavLst>
                                        <p:tav tm="0">
                                          <p:val>
                                            <p:strVal val="1+#ppt_h/2"/>
                                          </p:val>
                                        </p:tav>
                                        <p:tav tm="100000">
                                          <p:val>
                                            <p:strVal val="#ppt_y"/>
                                          </p:val>
                                        </p:tav>
                                      </p:tavLst>
                                    </p:anim>
                                  </p:childTnLst>
                                </p:cTn>
                              </p:par>
                              <p:par>
                                <p:cTn id="9" presetID="2" presetClass="entr" presetSubtype="1" dur="2200" decel="10000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2200" fill="hold"/>
                                        <p:tgtEl>
                                          <p:spTgt spid="7"/>
                                        </p:tgtEl>
                                        <p:attrNameLst>
                                          <p:attrName>ppt_x</p:attrName>
                                        </p:attrNameLst>
                                      </p:cBhvr>
                                      <p:tavLst>
                                        <p:tav tm="0">
                                          <p:val>
                                            <p:strVal val="#ppt_x"/>
                                          </p:val>
                                        </p:tav>
                                        <p:tav tm="100000">
                                          <p:val>
                                            <p:strVal val="#ppt_x"/>
                                          </p:val>
                                        </p:tav>
                                      </p:tavLst>
                                    </p:anim>
                                    <p:anim calcmode="lin" valueType="num">
                                      <p:cBhvr additive="base">
                                        <p:cTn id="12" dur="2200" fill="hold"/>
                                        <p:tgtEl>
                                          <p:spTgt spid="7"/>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Lst>
  </p:timing>
</p:sldLayout>
</file>

<file path=ppt/slideLayouts/slideLayout266.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sp>
        <p:nvSpPr>
          <p:cNvPr id="3" name="Rectangle: Diagonal Corners Rounded 2">
            <a:extLst>
              <a:ext uri="{FF2B5EF4-FFF2-40B4-BE49-F238E27FC236}">
                <a16:creationId xmlns:a16="http://schemas.microsoft.com/office/drawing/2014/main" id="{13399DF4-D239-4B46-A59E-3F2D266B8AC5}"/>
              </a:ext>
            </a:extLst>
          </p:cNvPr>
          <p:cNvSpPr/>
          <p:nvPr userDrawn="1"/>
        </p:nvSpPr>
        <p:spPr>
          <a:xfrm>
            <a:off x="812800" y="728662"/>
            <a:ext cx="10566400" cy="5589587"/>
          </a:xfrm>
          <a:prstGeom prst="round2DiagRect">
            <a:avLst>
              <a:gd name="adj1" fmla="val 6783"/>
              <a:gd name="adj2" fmla="val 0"/>
            </a:avLst>
          </a:prstGeom>
          <a:solidFill>
            <a:schemeClr val="accent3">
              <a:lumMod val="40000"/>
              <a:lumOff val="60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2" name="Picture Placeholder 11">
            <a:extLst>
              <a:ext uri="{FF2B5EF4-FFF2-40B4-BE49-F238E27FC236}">
                <a16:creationId xmlns:a16="http://schemas.microsoft.com/office/drawing/2014/main" id="{CBD3B56C-6673-4097-B43C-40AB7C20EEC2}"/>
              </a:ext>
            </a:extLst>
          </p:cNvPr>
          <p:cNvSpPr>
            <a:spLocks noGrp="1"/>
          </p:cNvSpPr>
          <p:nvPr>
            <p:ph type="pic" sz="quarter" idx="13"/>
          </p:nvPr>
        </p:nvSpPr>
        <p:spPr>
          <a:xfrm>
            <a:off x="3457125" y="1193177"/>
            <a:ext cx="2474760" cy="2071688"/>
          </a:xfrm>
          <a:custGeom>
            <a:avLst/>
            <a:gdLst>
              <a:gd name="connsiteX0" fmla="*/ 0 w 4950165"/>
              <a:gd name="connsiteY0" fmla="*/ 0 h 4143375"/>
              <a:gd name="connsiteX1" fmla="*/ 4950165 w 4950165"/>
              <a:gd name="connsiteY1" fmla="*/ 0 h 4143375"/>
              <a:gd name="connsiteX2" fmla="*/ 4950165 w 4950165"/>
              <a:gd name="connsiteY2" fmla="*/ 4143375 h 4143375"/>
              <a:gd name="connsiteX3" fmla="*/ 0 w 4950165"/>
              <a:gd name="connsiteY3" fmla="*/ 4143375 h 4143375"/>
            </a:gdLst>
            <a:ahLst/>
            <a:cxnLst>
              <a:cxn ang="0">
                <a:pos x="connsiteX0" y="connsiteY0"/>
              </a:cxn>
              <a:cxn ang="0">
                <a:pos x="connsiteX1" y="connsiteY1"/>
              </a:cxn>
              <a:cxn ang="0">
                <a:pos x="connsiteX2" y="connsiteY2"/>
              </a:cxn>
              <a:cxn ang="0">
                <a:pos x="connsiteX3" y="connsiteY3"/>
              </a:cxn>
            </a:cxnLst>
            <a:rect l="l" t="t" r="r" b="b"/>
            <a:pathLst>
              <a:path w="4950165" h="4143375">
                <a:moveTo>
                  <a:pt x="0" y="0"/>
                </a:moveTo>
                <a:lnTo>
                  <a:pt x="4950165" y="0"/>
                </a:lnTo>
                <a:lnTo>
                  <a:pt x="4950165" y="4143375"/>
                </a:lnTo>
                <a:lnTo>
                  <a:pt x="0" y="4143375"/>
                </a:lnTo>
                <a:close/>
              </a:path>
            </a:pathLst>
          </a:custGeom>
          <a:pattFill prst="pct60">
            <a:fgClr>
              <a:schemeClr val="bg1"/>
            </a:fgClr>
            <a:bgClr>
              <a:schemeClr val="bg1">
                <a:lumMod val="85000"/>
              </a:schemeClr>
            </a:bgClr>
          </a:pattFill>
          <a:effectLst>
            <a:outerShdw blurRad="660400" dist="190500" dir="5400000" algn="t" rotWithShape="0">
              <a:schemeClr val="accent1">
                <a:alpha val="40000"/>
              </a:schemeClr>
            </a:outerShdw>
          </a:effectLst>
        </p:spPr>
        <p:txBody>
          <a:bodyPr wrap="square" anchor="ctr">
            <a:noAutofit/>
          </a:bodyPr>
          <a:lstStyle>
            <a:lvl1pPr marL="0" indent="0" algn="ctr">
              <a:buFontTx/>
              <a:buNone/>
              <a:defRPr sz="1200"/>
            </a:lvl1pPr>
          </a:lstStyle>
          <a:p>
            <a:endParaRPr lang="en-US"/>
          </a:p>
        </p:txBody>
      </p:sp>
      <p:sp>
        <p:nvSpPr>
          <p:cNvPr id="13" name="Picture Placeholder 12">
            <a:extLst>
              <a:ext uri="{FF2B5EF4-FFF2-40B4-BE49-F238E27FC236}">
                <a16:creationId xmlns:a16="http://schemas.microsoft.com/office/drawing/2014/main" id="{84AD6E42-B8ED-45FE-80BA-270BE28BE3EB}"/>
              </a:ext>
            </a:extLst>
          </p:cNvPr>
          <p:cNvSpPr>
            <a:spLocks noGrp="1"/>
          </p:cNvSpPr>
          <p:nvPr>
            <p:ph type="pic" sz="quarter" idx="14"/>
          </p:nvPr>
        </p:nvSpPr>
        <p:spPr>
          <a:xfrm>
            <a:off x="6260114" y="1193177"/>
            <a:ext cx="2474760" cy="2071688"/>
          </a:xfrm>
          <a:custGeom>
            <a:avLst/>
            <a:gdLst>
              <a:gd name="connsiteX0" fmla="*/ 0 w 4950164"/>
              <a:gd name="connsiteY0" fmla="*/ 0 h 4143375"/>
              <a:gd name="connsiteX1" fmla="*/ 4950164 w 4950164"/>
              <a:gd name="connsiteY1" fmla="*/ 0 h 4143375"/>
              <a:gd name="connsiteX2" fmla="*/ 4950164 w 4950164"/>
              <a:gd name="connsiteY2" fmla="*/ 4143375 h 4143375"/>
              <a:gd name="connsiteX3" fmla="*/ 0 w 4950164"/>
              <a:gd name="connsiteY3" fmla="*/ 4143375 h 4143375"/>
            </a:gdLst>
            <a:ahLst/>
            <a:cxnLst>
              <a:cxn ang="0">
                <a:pos x="connsiteX0" y="connsiteY0"/>
              </a:cxn>
              <a:cxn ang="0">
                <a:pos x="connsiteX1" y="connsiteY1"/>
              </a:cxn>
              <a:cxn ang="0">
                <a:pos x="connsiteX2" y="connsiteY2"/>
              </a:cxn>
              <a:cxn ang="0">
                <a:pos x="connsiteX3" y="connsiteY3"/>
              </a:cxn>
            </a:cxnLst>
            <a:rect l="l" t="t" r="r" b="b"/>
            <a:pathLst>
              <a:path w="4950164" h="4143375">
                <a:moveTo>
                  <a:pt x="0" y="0"/>
                </a:moveTo>
                <a:lnTo>
                  <a:pt x="4950164" y="0"/>
                </a:lnTo>
                <a:lnTo>
                  <a:pt x="4950164" y="4143375"/>
                </a:lnTo>
                <a:lnTo>
                  <a:pt x="0" y="4143375"/>
                </a:lnTo>
                <a:close/>
              </a:path>
            </a:pathLst>
          </a:custGeom>
          <a:pattFill prst="pct60">
            <a:fgClr>
              <a:schemeClr val="bg1"/>
            </a:fgClr>
            <a:bgClr>
              <a:schemeClr val="bg1">
                <a:lumMod val="85000"/>
              </a:schemeClr>
            </a:bgClr>
          </a:pattFill>
          <a:effectLst>
            <a:outerShdw blurRad="660400" dist="190500" dir="5400000" algn="t" rotWithShape="0">
              <a:schemeClr val="accent1">
                <a:alpha val="40000"/>
              </a:schemeClr>
            </a:outerShdw>
          </a:effectLst>
        </p:spPr>
        <p:txBody>
          <a:bodyPr wrap="square" anchor="ctr">
            <a:noAutofit/>
          </a:bodyPr>
          <a:lstStyle>
            <a:lvl1pPr marL="0" indent="0" algn="ctr">
              <a:buFontTx/>
              <a:buNone/>
              <a:defRPr sz="1200"/>
            </a:lvl1pPr>
          </a:lstStyle>
          <a:p>
            <a:endParaRPr lang="en-US"/>
          </a:p>
        </p:txBody>
      </p:sp>
      <p:sp>
        <p:nvSpPr>
          <p:cNvPr id="14" name="Picture Placeholder 13">
            <a:extLst>
              <a:ext uri="{FF2B5EF4-FFF2-40B4-BE49-F238E27FC236}">
                <a16:creationId xmlns:a16="http://schemas.microsoft.com/office/drawing/2014/main" id="{BB2CF020-4972-4FDF-8E27-E1B874D0649C}"/>
              </a:ext>
            </a:extLst>
          </p:cNvPr>
          <p:cNvSpPr>
            <a:spLocks noGrp="1"/>
          </p:cNvSpPr>
          <p:nvPr>
            <p:ph type="pic" sz="quarter" idx="15"/>
          </p:nvPr>
        </p:nvSpPr>
        <p:spPr>
          <a:xfrm>
            <a:off x="3457125" y="3593137"/>
            <a:ext cx="2474760" cy="2071688"/>
          </a:xfrm>
          <a:custGeom>
            <a:avLst/>
            <a:gdLst>
              <a:gd name="connsiteX0" fmla="*/ 0 w 4950165"/>
              <a:gd name="connsiteY0" fmla="*/ 0 h 4143375"/>
              <a:gd name="connsiteX1" fmla="*/ 4950165 w 4950165"/>
              <a:gd name="connsiteY1" fmla="*/ 0 h 4143375"/>
              <a:gd name="connsiteX2" fmla="*/ 4950165 w 4950165"/>
              <a:gd name="connsiteY2" fmla="*/ 4143375 h 4143375"/>
              <a:gd name="connsiteX3" fmla="*/ 0 w 4950165"/>
              <a:gd name="connsiteY3" fmla="*/ 4143375 h 4143375"/>
            </a:gdLst>
            <a:ahLst/>
            <a:cxnLst>
              <a:cxn ang="0">
                <a:pos x="connsiteX0" y="connsiteY0"/>
              </a:cxn>
              <a:cxn ang="0">
                <a:pos x="connsiteX1" y="connsiteY1"/>
              </a:cxn>
              <a:cxn ang="0">
                <a:pos x="connsiteX2" y="connsiteY2"/>
              </a:cxn>
              <a:cxn ang="0">
                <a:pos x="connsiteX3" y="connsiteY3"/>
              </a:cxn>
            </a:cxnLst>
            <a:rect l="l" t="t" r="r" b="b"/>
            <a:pathLst>
              <a:path w="4950165" h="4143375">
                <a:moveTo>
                  <a:pt x="0" y="0"/>
                </a:moveTo>
                <a:lnTo>
                  <a:pt x="4950165" y="0"/>
                </a:lnTo>
                <a:lnTo>
                  <a:pt x="4950165" y="4143375"/>
                </a:lnTo>
                <a:lnTo>
                  <a:pt x="0" y="4143375"/>
                </a:lnTo>
                <a:close/>
              </a:path>
            </a:pathLst>
          </a:custGeom>
          <a:pattFill prst="pct60">
            <a:fgClr>
              <a:schemeClr val="bg1"/>
            </a:fgClr>
            <a:bgClr>
              <a:schemeClr val="bg1">
                <a:lumMod val="85000"/>
              </a:schemeClr>
            </a:bgClr>
          </a:pattFill>
          <a:effectLst>
            <a:outerShdw blurRad="660400" dist="190500" dir="5400000" algn="t" rotWithShape="0">
              <a:schemeClr val="accent1">
                <a:alpha val="40000"/>
              </a:schemeClr>
            </a:outerShdw>
          </a:effectLst>
        </p:spPr>
        <p:txBody>
          <a:bodyPr wrap="square" anchor="ctr">
            <a:noAutofit/>
          </a:bodyPr>
          <a:lstStyle>
            <a:lvl1pPr marL="0" indent="0" algn="ctr">
              <a:buFontTx/>
              <a:buNone/>
              <a:defRPr sz="1200"/>
            </a:lvl1pPr>
          </a:lstStyle>
          <a:p>
            <a:endParaRPr lang="en-US"/>
          </a:p>
        </p:txBody>
      </p:sp>
      <p:sp>
        <p:nvSpPr>
          <p:cNvPr id="15" name="Picture Placeholder 14">
            <a:extLst>
              <a:ext uri="{FF2B5EF4-FFF2-40B4-BE49-F238E27FC236}">
                <a16:creationId xmlns:a16="http://schemas.microsoft.com/office/drawing/2014/main" id="{7DEDE4E0-4295-4EC1-B674-5609175C4D60}"/>
              </a:ext>
            </a:extLst>
          </p:cNvPr>
          <p:cNvSpPr>
            <a:spLocks noGrp="1"/>
          </p:cNvSpPr>
          <p:nvPr>
            <p:ph type="pic" sz="quarter" idx="16"/>
          </p:nvPr>
        </p:nvSpPr>
        <p:spPr>
          <a:xfrm>
            <a:off x="6260114" y="3593137"/>
            <a:ext cx="2474760" cy="2071688"/>
          </a:xfrm>
          <a:custGeom>
            <a:avLst/>
            <a:gdLst>
              <a:gd name="connsiteX0" fmla="*/ 0 w 4950164"/>
              <a:gd name="connsiteY0" fmla="*/ 0 h 4143375"/>
              <a:gd name="connsiteX1" fmla="*/ 4950164 w 4950164"/>
              <a:gd name="connsiteY1" fmla="*/ 0 h 4143375"/>
              <a:gd name="connsiteX2" fmla="*/ 4950164 w 4950164"/>
              <a:gd name="connsiteY2" fmla="*/ 4143375 h 4143375"/>
              <a:gd name="connsiteX3" fmla="*/ 0 w 4950164"/>
              <a:gd name="connsiteY3" fmla="*/ 4143375 h 4143375"/>
            </a:gdLst>
            <a:ahLst/>
            <a:cxnLst>
              <a:cxn ang="0">
                <a:pos x="connsiteX0" y="connsiteY0"/>
              </a:cxn>
              <a:cxn ang="0">
                <a:pos x="connsiteX1" y="connsiteY1"/>
              </a:cxn>
              <a:cxn ang="0">
                <a:pos x="connsiteX2" y="connsiteY2"/>
              </a:cxn>
              <a:cxn ang="0">
                <a:pos x="connsiteX3" y="connsiteY3"/>
              </a:cxn>
            </a:cxnLst>
            <a:rect l="l" t="t" r="r" b="b"/>
            <a:pathLst>
              <a:path w="4950164" h="4143375">
                <a:moveTo>
                  <a:pt x="0" y="0"/>
                </a:moveTo>
                <a:lnTo>
                  <a:pt x="4950164" y="0"/>
                </a:lnTo>
                <a:lnTo>
                  <a:pt x="4950164" y="4143375"/>
                </a:lnTo>
                <a:lnTo>
                  <a:pt x="0" y="4143375"/>
                </a:lnTo>
                <a:close/>
              </a:path>
            </a:pathLst>
          </a:custGeom>
          <a:pattFill prst="pct60">
            <a:fgClr>
              <a:schemeClr val="bg1"/>
            </a:fgClr>
            <a:bgClr>
              <a:schemeClr val="bg1">
                <a:lumMod val="85000"/>
              </a:schemeClr>
            </a:bgClr>
          </a:pattFill>
          <a:effectLst>
            <a:outerShdw blurRad="660400" dist="190500" dir="5400000" algn="t" rotWithShape="0">
              <a:schemeClr val="accent1">
                <a:alpha val="40000"/>
              </a:schemeClr>
            </a:outerShdw>
          </a:effectLst>
        </p:spPr>
        <p:txBody>
          <a:bodyPr wrap="square" anchor="ctr">
            <a:noAutofit/>
          </a:bodyPr>
          <a:lstStyle>
            <a:lvl1pPr marL="0" indent="0" algn="ctr">
              <a:buFontTx/>
              <a:buNone/>
              <a:defRPr sz="1200"/>
            </a:lvl1pPr>
          </a:lstStyle>
          <a:p>
            <a:endParaRPr lang="en-US"/>
          </a:p>
        </p:txBody>
      </p:sp>
    </p:spTree>
    <p:extLst>
      <p:ext uri="{BB962C8B-B14F-4D97-AF65-F5344CB8AC3E}">
        <p14:creationId xmlns:p14="http://schemas.microsoft.com/office/powerpoint/2010/main" val="135737111"/>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4" dur="2000" decel="100000"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2000" fill="hold"/>
                                        <p:tgtEl>
                                          <p:spTgt spid="12"/>
                                        </p:tgtEl>
                                        <p:attrNameLst>
                                          <p:attrName>ppt_x</p:attrName>
                                        </p:attrNameLst>
                                      </p:cBhvr>
                                      <p:tavLst>
                                        <p:tav tm="0">
                                          <p:val>
                                            <p:strVal val="#ppt_x"/>
                                          </p:val>
                                        </p:tav>
                                        <p:tav tm="100000">
                                          <p:val>
                                            <p:strVal val="#ppt_x"/>
                                          </p:val>
                                        </p:tav>
                                      </p:tavLst>
                                    </p:anim>
                                    <p:anim calcmode="lin" valueType="num">
                                      <p:cBhvr additive="base">
                                        <p:cTn id="8" dur="2000" fill="hold"/>
                                        <p:tgtEl>
                                          <p:spTgt spid="12"/>
                                        </p:tgtEl>
                                        <p:attrNameLst>
                                          <p:attrName>ppt_y</p:attrName>
                                        </p:attrNameLst>
                                      </p:cBhvr>
                                      <p:tavLst>
                                        <p:tav tm="0">
                                          <p:val>
                                            <p:strVal val="1+#ppt_h/2"/>
                                          </p:val>
                                        </p:tav>
                                        <p:tav tm="100000">
                                          <p:val>
                                            <p:strVal val="#ppt_y"/>
                                          </p:val>
                                        </p:tav>
                                      </p:tavLst>
                                    </p:anim>
                                  </p:childTnLst>
                                </p:cTn>
                              </p:par>
                              <p:par>
                                <p:cTn id="9" presetID="2" presetClass="entr" presetSubtype="4" dur="2000" decel="100000" fill="hold" grpId="0" nodeType="withEffect">
                                  <p:stCondLst>
                                    <p:cond delay="100"/>
                                  </p:stCondLst>
                                  <p:childTnLst>
                                    <p:set>
                                      <p:cBhvr>
                                        <p:cTn id="10" dur="1" fill="hold">
                                          <p:stCondLst>
                                            <p:cond delay="0"/>
                                          </p:stCondLst>
                                        </p:cTn>
                                        <p:tgtEl>
                                          <p:spTgt spid="13"/>
                                        </p:tgtEl>
                                        <p:attrNameLst>
                                          <p:attrName>style.visibility</p:attrName>
                                        </p:attrNameLst>
                                      </p:cBhvr>
                                      <p:to>
                                        <p:strVal val="visible"/>
                                      </p:to>
                                    </p:set>
                                    <p:anim calcmode="lin" valueType="num">
                                      <p:cBhvr additive="base">
                                        <p:cTn id="11" dur="2000" fill="hold"/>
                                        <p:tgtEl>
                                          <p:spTgt spid="13"/>
                                        </p:tgtEl>
                                        <p:attrNameLst>
                                          <p:attrName>ppt_x</p:attrName>
                                        </p:attrNameLst>
                                      </p:cBhvr>
                                      <p:tavLst>
                                        <p:tav tm="0">
                                          <p:val>
                                            <p:strVal val="#ppt_x"/>
                                          </p:val>
                                        </p:tav>
                                        <p:tav tm="100000">
                                          <p:val>
                                            <p:strVal val="#ppt_x"/>
                                          </p:val>
                                        </p:tav>
                                      </p:tavLst>
                                    </p:anim>
                                    <p:anim calcmode="lin" valueType="num">
                                      <p:cBhvr additive="base">
                                        <p:cTn id="12" dur="2000" fill="hold"/>
                                        <p:tgtEl>
                                          <p:spTgt spid="13"/>
                                        </p:tgtEl>
                                        <p:attrNameLst>
                                          <p:attrName>ppt_y</p:attrName>
                                        </p:attrNameLst>
                                      </p:cBhvr>
                                      <p:tavLst>
                                        <p:tav tm="0">
                                          <p:val>
                                            <p:strVal val="1+#ppt_h/2"/>
                                          </p:val>
                                        </p:tav>
                                        <p:tav tm="100000">
                                          <p:val>
                                            <p:strVal val="#ppt_y"/>
                                          </p:val>
                                        </p:tav>
                                      </p:tavLst>
                                    </p:anim>
                                  </p:childTnLst>
                                </p:cTn>
                              </p:par>
                              <p:par>
                                <p:cTn id="13" presetID="2" presetClass="entr" presetSubtype="4" dur="2000" decel="100000" fill="hold" grpId="0" nodeType="withEffect">
                                  <p:stCondLst>
                                    <p:cond delay="200"/>
                                  </p:stCondLst>
                                  <p:childTnLst>
                                    <p:set>
                                      <p:cBhvr>
                                        <p:cTn id="14" dur="1" fill="hold">
                                          <p:stCondLst>
                                            <p:cond delay="0"/>
                                          </p:stCondLst>
                                        </p:cTn>
                                        <p:tgtEl>
                                          <p:spTgt spid="14"/>
                                        </p:tgtEl>
                                        <p:attrNameLst>
                                          <p:attrName>style.visibility</p:attrName>
                                        </p:attrNameLst>
                                      </p:cBhvr>
                                      <p:to>
                                        <p:strVal val="visible"/>
                                      </p:to>
                                    </p:set>
                                    <p:anim calcmode="lin" valueType="num">
                                      <p:cBhvr additive="base">
                                        <p:cTn id="15" dur="2000" fill="hold"/>
                                        <p:tgtEl>
                                          <p:spTgt spid="14"/>
                                        </p:tgtEl>
                                        <p:attrNameLst>
                                          <p:attrName>ppt_x</p:attrName>
                                        </p:attrNameLst>
                                      </p:cBhvr>
                                      <p:tavLst>
                                        <p:tav tm="0">
                                          <p:val>
                                            <p:strVal val="#ppt_x"/>
                                          </p:val>
                                        </p:tav>
                                        <p:tav tm="100000">
                                          <p:val>
                                            <p:strVal val="#ppt_x"/>
                                          </p:val>
                                        </p:tav>
                                      </p:tavLst>
                                    </p:anim>
                                    <p:anim calcmode="lin" valueType="num">
                                      <p:cBhvr additive="base">
                                        <p:cTn id="16" dur="2000" fill="hold"/>
                                        <p:tgtEl>
                                          <p:spTgt spid="14"/>
                                        </p:tgtEl>
                                        <p:attrNameLst>
                                          <p:attrName>ppt_y</p:attrName>
                                        </p:attrNameLst>
                                      </p:cBhvr>
                                      <p:tavLst>
                                        <p:tav tm="0">
                                          <p:val>
                                            <p:strVal val="1+#ppt_h/2"/>
                                          </p:val>
                                        </p:tav>
                                        <p:tav tm="100000">
                                          <p:val>
                                            <p:strVal val="#ppt_y"/>
                                          </p:val>
                                        </p:tav>
                                      </p:tavLst>
                                    </p:anim>
                                  </p:childTnLst>
                                </p:cTn>
                              </p:par>
                              <p:par>
                                <p:cTn id="17" presetID="2" presetClass="entr" presetSubtype="4" dur="2000" decel="100000" fill="hold" grpId="0" nodeType="withEffect">
                                  <p:stCondLst>
                                    <p:cond delay="300"/>
                                  </p:stCondLst>
                                  <p:childTnLst>
                                    <p:set>
                                      <p:cBhvr>
                                        <p:cTn id="18" dur="1" fill="hold">
                                          <p:stCondLst>
                                            <p:cond delay="0"/>
                                          </p:stCondLst>
                                        </p:cTn>
                                        <p:tgtEl>
                                          <p:spTgt spid="15"/>
                                        </p:tgtEl>
                                        <p:attrNameLst>
                                          <p:attrName>style.visibility</p:attrName>
                                        </p:attrNameLst>
                                      </p:cBhvr>
                                      <p:to>
                                        <p:strVal val="visible"/>
                                      </p:to>
                                    </p:set>
                                    <p:anim calcmode="lin" valueType="num">
                                      <p:cBhvr additive="base">
                                        <p:cTn id="19" dur="2000" fill="hold"/>
                                        <p:tgtEl>
                                          <p:spTgt spid="15"/>
                                        </p:tgtEl>
                                        <p:attrNameLst>
                                          <p:attrName>ppt_x</p:attrName>
                                        </p:attrNameLst>
                                      </p:cBhvr>
                                      <p:tavLst>
                                        <p:tav tm="0">
                                          <p:val>
                                            <p:strVal val="#ppt_x"/>
                                          </p:val>
                                        </p:tav>
                                        <p:tav tm="100000">
                                          <p:val>
                                            <p:strVal val="#ppt_x"/>
                                          </p:val>
                                        </p:tav>
                                      </p:tavLst>
                                    </p:anim>
                                    <p:anim calcmode="lin" valueType="num">
                                      <p:cBhvr additive="base">
                                        <p:cTn id="20" dur="2000" fill="hold"/>
                                        <p:tgtEl>
                                          <p:spTgt spid="1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14" grpId="0" animBg="1"/>
      <p:bldP spid="15" grpId="0" animBg="1"/>
    </p:bldLst>
  </p:timing>
  <p:extLst>
    <p:ext uri="{DCECCB84-F9BA-43D5-87BE-67443E8EF086}">
      <p15:sldGuideLst xmlns:p15="http://schemas.microsoft.com/office/powerpoint/2012/main">
        <p15:guide id="1" orient="horz" pos="4320">
          <p15:clr>
            <a:srgbClr val="FBAE40"/>
          </p15:clr>
        </p15:guide>
        <p15:guide id="2" pos="7681">
          <p15:clr>
            <a:srgbClr val="FBAE40"/>
          </p15:clr>
        </p15:guide>
        <p15:guide id="3" pos="985">
          <p15:clr>
            <a:srgbClr val="FBAE40"/>
          </p15:clr>
        </p15:guide>
        <p15:guide id="4" pos="14377">
          <p15:clr>
            <a:srgbClr val="FBAE4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2" name="Rectangle: Diagonal Corners Rounded 1">
            <a:extLst>
              <a:ext uri="{FF2B5EF4-FFF2-40B4-BE49-F238E27FC236}">
                <a16:creationId xmlns:a16="http://schemas.microsoft.com/office/drawing/2014/main" id="{6E595C43-5991-6552-F387-5DE5AFC20901}"/>
              </a:ext>
            </a:extLst>
          </p:cNvPr>
          <p:cNvSpPr/>
          <p:nvPr userDrawn="1"/>
        </p:nvSpPr>
        <p:spPr>
          <a:xfrm>
            <a:off x="812800" y="728662"/>
            <a:ext cx="10566400" cy="5589587"/>
          </a:xfrm>
          <a:prstGeom prst="round2DiagRect">
            <a:avLst>
              <a:gd name="adj1" fmla="val 6783"/>
              <a:gd name="adj2" fmla="val 0"/>
            </a:avLst>
          </a:prstGeom>
          <a:solidFill>
            <a:schemeClr val="accent3">
              <a:lumMod val="40000"/>
              <a:lumOff val="60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1" name="Picture Placeholder 20">
            <a:extLst>
              <a:ext uri="{FF2B5EF4-FFF2-40B4-BE49-F238E27FC236}">
                <a16:creationId xmlns:a16="http://schemas.microsoft.com/office/drawing/2014/main" id="{92263DCA-1DEE-49D2-80CB-CF9032EF06FE}"/>
              </a:ext>
            </a:extLst>
          </p:cNvPr>
          <p:cNvSpPr>
            <a:spLocks noGrp="1"/>
          </p:cNvSpPr>
          <p:nvPr>
            <p:ph type="pic" sz="quarter" idx="13"/>
          </p:nvPr>
        </p:nvSpPr>
        <p:spPr>
          <a:xfrm>
            <a:off x="1514278" y="933450"/>
            <a:ext cx="1438088" cy="1571625"/>
          </a:xfrm>
          <a:custGeom>
            <a:avLst/>
            <a:gdLst>
              <a:gd name="connsiteX0" fmla="*/ 0 w 2876550"/>
              <a:gd name="connsiteY0" fmla="*/ 0 h 3143250"/>
              <a:gd name="connsiteX1" fmla="*/ 2876550 w 2876550"/>
              <a:gd name="connsiteY1" fmla="*/ 0 h 3143250"/>
              <a:gd name="connsiteX2" fmla="*/ 2876550 w 2876550"/>
              <a:gd name="connsiteY2" fmla="*/ 3143250 h 3143250"/>
              <a:gd name="connsiteX3" fmla="*/ 0 w 2876550"/>
              <a:gd name="connsiteY3" fmla="*/ 3143250 h 3143250"/>
            </a:gdLst>
            <a:ahLst/>
            <a:cxnLst>
              <a:cxn ang="0">
                <a:pos x="connsiteX0" y="connsiteY0"/>
              </a:cxn>
              <a:cxn ang="0">
                <a:pos x="connsiteX1" y="connsiteY1"/>
              </a:cxn>
              <a:cxn ang="0">
                <a:pos x="connsiteX2" y="connsiteY2"/>
              </a:cxn>
              <a:cxn ang="0">
                <a:pos x="connsiteX3" y="connsiteY3"/>
              </a:cxn>
            </a:cxnLst>
            <a:rect l="l" t="t" r="r" b="b"/>
            <a:pathLst>
              <a:path w="2876550" h="3143250">
                <a:moveTo>
                  <a:pt x="0" y="0"/>
                </a:moveTo>
                <a:lnTo>
                  <a:pt x="2876550" y="0"/>
                </a:lnTo>
                <a:lnTo>
                  <a:pt x="2876550" y="3143250"/>
                </a:lnTo>
                <a:lnTo>
                  <a:pt x="0" y="3143250"/>
                </a:lnTo>
                <a:close/>
              </a:path>
            </a:pathLst>
          </a:custGeom>
          <a:pattFill prst="pct60">
            <a:fgClr>
              <a:schemeClr val="bg1"/>
            </a:fgClr>
            <a:bgClr>
              <a:schemeClr val="bg1">
                <a:lumMod val="85000"/>
              </a:schemeClr>
            </a:bgClr>
          </a:pattFill>
          <a:effectLst>
            <a:outerShdw blurRad="660400" dist="190500" dir="5400000" algn="t" rotWithShape="0">
              <a:schemeClr val="accent1">
                <a:alpha val="40000"/>
              </a:schemeClr>
            </a:outerShdw>
          </a:effectLst>
        </p:spPr>
        <p:txBody>
          <a:bodyPr wrap="square" anchor="ctr">
            <a:noAutofit/>
          </a:bodyPr>
          <a:lstStyle>
            <a:lvl1pPr marL="0" indent="0" algn="ctr">
              <a:buFontTx/>
              <a:buNone/>
              <a:defRPr sz="1200"/>
            </a:lvl1pPr>
          </a:lstStyle>
          <a:p>
            <a:endParaRPr lang="en-US"/>
          </a:p>
        </p:txBody>
      </p:sp>
      <p:sp>
        <p:nvSpPr>
          <p:cNvPr id="22" name="Picture Placeholder 21">
            <a:extLst>
              <a:ext uri="{FF2B5EF4-FFF2-40B4-BE49-F238E27FC236}">
                <a16:creationId xmlns:a16="http://schemas.microsoft.com/office/drawing/2014/main" id="{743896C4-BC14-436C-ADB0-09DC41D72F17}"/>
              </a:ext>
            </a:extLst>
          </p:cNvPr>
          <p:cNvSpPr>
            <a:spLocks noGrp="1"/>
          </p:cNvSpPr>
          <p:nvPr>
            <p:ph type="pic" sz="quarter" idx="14"/>
          </p:nvPr>
        </p:nvSpPr>
        <p:spPr>
          <a:xfrm>
            <a:off x="4089397" y="933450"/>
            <a:ext cx="1438088" cy="1571625"/>
          </a:xfrm>
          <a:custGeom>
            <a:avLst/>
            <a:gdLst>
              <a:gd name="connsiteX0" fmla="*/ 0 w 2876550"/>
              <a:gd name="connsiteY0" fmla="*/ 0 h 3143250"/>
              <a:gd name="connsiteX1" fmla="*/ 2876550 w 2876550"/>
              <a:gd name="connsiteY1" fmla="*/ 0 h 3143250"/>
              <a:gd name="connsiteX2" fmla="*/ 2876550 w 2876550"/>
              <a:gd name="connsiteY2" fmla="*/ 3143250 h 3143250"/>
              <a:gd name="connsiteX3" fmla="*/ 0 w 2876550"/>
              <a:gd name="connsiteY3" fmla="*/ 3143250 h 3143250"/>
            </a:gdLst>
            <a:ahLst/>
            <a:cxnLst>
              <a:cxn ang="0">
                <a:pos x="connsiteX0" y="connsiteY0"/>
              </a:cxn>
              <a:cxn ang="0">
                <a:pos x="connsiteX1" y="connsiteY1"/>
              </a:cxn>
              <a:cxn ang="0">
                <a:pos x="connsiteX2" y="connsiteY2"/>
              </a:cxn>
              <a:cxn ang="0">
                <a:pos x="connsiteX3" y="connsiteY3"/>
              </a:cxn>
            </a:cxnLst>
            <a:rect l="l" t="t" r="r" b="b"/>
            <a:pathLst>
              <a:path w="2876550" h="3143250">
                <a:moveTo>
                  <a:pt x="0" y="0"/>
                </a:moveTo>
                <a:lnTo>
                  <a:pt x="2876550" y="0"/>
                </a:lnTo>
                <a:lnTo>
                  <a:pt x="2876550" y="3143250"/>
                </a:lnTo>
                <a:lnTo>
                  <a:pt x="0" y="3143250"/>
                </a:lnTo>
                <a:close/>
              </a:path>
            </a:pathLst>
          </a:custGeom>
          <a:pattFill prst="pct60">
            <a:fgClr>
              <a:schemeClr val="bg1"/>
            </a:fgClr>
            <a:bgClr>
              <a:schemeClr val="bg1">
                <a:lumMod val="85000"/>
              </a:schemeClr>
            </a:bgClr>
          </a:pattFill>
          <a:effectLst>
            <a:outerShdw blurRad="660400" dist="190500" dir="5400000" algn="t" rotWithShape="0">
              <a:schemeClr val="accent1">
                <a:alpha val="40000"/>
              </a:schemeClr>
            </a:outerShdw>
          </a:effectLst>
        </p:spPr>
        <p:txBody>
          <a:bodyPr wrap="square" anchor="ctr">
            <a:noAutofit/>
          </a:bodyPr>
          <a:lstStyle>
            <a:lvl1pPr marL="0" indent="0" algn="ctr">
              <a:buFontTx/>
              <a:buNone/>
              <a:defRPr sz="1200"/>
            </a:lvl1pPr>
          </a:lstStyle>
          <a:p>
            <a:endParaRPr lang="en-US"/>
          </a:p>
        </p:txBody>
      </p:sp>
      <p:sp>
        <p:nvSpPr>
          <p:cNvPr id="23" name="Picture Placeholder 22">
            <a:extLst>
              <a:ext uri="{FF2B5EF4-FFF2-40B4-BE49-F238E27FC236}">
                <a16:creationId xmlns:a16="http://schemas.microsoft.com/office/drawing/2014/main" id="{0A1AA56A-4341-4938-9A18-9B4699C88FDC}"/>
              </a:ext>
            </a:extLst>
          </p:cNvPr>
          <p:cNvSpPr>
            <a:spLocks noGrp="1"/>
          </p:cNvSpPr>
          <p:nvPr>
            <p:ph type="pic" sz="quarter" idx="15"/>
          </p:nvPr>
        </p:nvSpPr>
        <p:spPr>
          <a:xfrm>
            <a:off x="6664516" y="933450"/>
            <a:ext cx="1438088" cy="1571625"/>
          </a:xfrm>
          <a:custGeom>
            <a:avLst/>
            <a:gdLst>
              <a:gd name="connsiteX0" fmla="*/ 0 w 2876550"/>
              <a:gd name="connsiteY0" fmla="*/ 0 h 3143250"/>
              <a:gd name="connsiteX1" fmla="*/ 2876550 w 2876550"/>
              <a:gd name="connsiteY1" fmla="*/ 0 h 3143250"/>
              <a:gd name="connsiteX2" fmla="*/ 2876550 w 2876550"/>
              <a:gd name="connsiteY2" fmla="*/ 3143250 h 3143250"/>
              <a:gd name="connsiteX3" fmla="*/ 0 w 2876550"/>
              <a:gd name="connsiteY3" fmla="*/ 3143250 h 3143250"/>
            </a:gdLst>
            <a:ahLst/>
            <a:cxnLst>
              <a:cxn ang="0">
                <a:pos x="connsiteX0" y="connsiteY0"/>
              </a:cxn>
              <a:cxn ang="0">
                <a:pos x="connsiteX1" y="connsiteY1"/>
              </a:cxn>
              <a:cxn ang="0">
                <a:pos x="connsiteX2" y="connsiteY2"/>
              </a:cxn>
              <a:cxn ang="0">
                <a:pos x="connsiteX3" y="connsiteY3"/>
              </a:cxn>
            </a:cxnLst>
            <a:rect l="l" t="t" r="r" b="b"/>
            <a:pathLst>
              <a:path w="2876550" h="3143250">
                <a:moveTo>
                  <a:pt x="0" y="0"/>
                </a:moveTo>
                <a:lnTo>
                  <a:pt x="2876550" y="0"/>
                </a:lnTo>
                <a:lnTo>
                  <a:pt x="2876550" y="3143250"/>
                </a:lnTo>
                <a:lnTo>
                  <a:pt x="0" y="3143250"/>
                </a:lnTo>
                <a:close/>
              </a:path>
            </a:pathLst>
          </a:custGeom>
          <a:pattFill prst="pct60">
            <a:fgClr>
              <a:schemeClr val="bg1"/>
            </a:fgClr>
            <a:bgClr>
              <a:schemeClr val="bg1">
                <a:lumMod val="85000"/>
              </a:schemeClr>
            </a:bgClr>
          </a:pattFill>
          <a:effectLst>
            <a:outerShdw blurRad="660400" dist="190500" dir="5400000" algn="t" rotWithShape="0">
              <a:schemeClr val="accent1">
                <a:alpha val="40000"/>
              </a:schemeClr>
            </a:outerShdw>
          </a:effectLst>
        </p:spPr>
        <p:txBody>
          <a:bodyPr wrap="square" anchor="ctr">
            <a:noAutofit/>
          </a:bodyPr>
          <a:lstStyle>
            <a:lvl1pPr marL="0" indent="0" algn="ctr">
              <a:buFontTx/>
              <a:buNone/>
              <a:defRPr sz="1200"/>
            </a:lvl1pPr>
          </a:lstStyle>
          <a:p>
            <a:endParaRPr lang="en-US"/>
          </a:p>
        </p:txBody>
      </p:sp>
      <p:sp>
        <p:nvSpPr>
          <p:cNvPr id="24" name="Picture Placeholder 23">
            <a:extLst>
              <a:ext uri="{FF2B5EF4-FFF2-40B4-BE49-F238E27FC236}">
                <a16:creationId xmlns:a16="http://schemas.microsoft.com/office/drawing/2014/main" id="{DAF6D4B1-9881-4261-92C1-B717CE6B512B}"/>
              </a:ext>
            </a:extLst>
          </p:cNvPr>
          <p:cNvSpPr>
            <a:spLocks noGrp="1"/>
          </p:cNvSpPr>
          <p:nvPr>
            <p:ph type="pic" sz="quarter" idx="16"/>
          </p:nvPr>
        </p:nvSpPr>
        <p:spPr>
          <a:xfrm>
            <a:off x="9239635" y="933450"/>
            <a:ext cx="1438088" cy="1571625"/>
          </a:xfrm>
          <a:custGeom>
            <a:avLst/>
            <a:gdLst>
              <a:gd name="connsiteX0" fmla="*/ 0 w 2876550"/>
              <a:gd name="connsiteY0" fmla="*/ 0 h 3143250"/>
              <a:gd name="connsiteX1" fmla="*/ 2876550 w 2876550"/>
              <a:gd name="connsiteY1" fmla="*/ 0 h 3143250"/>
              <a:gd name="connsiteX2" fmla="*/ 2876550 w 2876550"/>
              <a:gd name="connsiteY2" fmla="*/ 3143250 h 3143250"/>
              <a:gd name="connsiteX3" fmla="*/ 0 w 2876550"/>
              <a:gd name="connsiteY3" fmla="*/ 3143250 h 3143250"/>
            </a:gdLst>
            <a:ahLst/>
            <a:cxnLst>
              <a:cxn ang="0">
                <a:pos x="connsiteX0" y="connsiteY0"/>
              </a:cxn>
              <a:cxn ang="0">
                <a:pos x="connsiteX1" y="connsiteY1"/>
              </a:cxn>
              <a:cxn ang="0">
                <a:pos x="connsiteX2" y="connsiteY2"/>
              </a:cxn>
              <a:cxn ang="0">
                <a:pos x="connsiteX3" y="connsiteY3"/>
              </a:cxn>
            </a:cxnLst>
            <a:rect l="l" t="t" r="r" b="b"/>
            <a:pathLst>
              <a:path w="2876550" h="3143250">
                <a:moveTo>
                  <a:pt x="0" y="0"/>
                </a:moveTo>
                <a:lnTo>
                  <a:pt x="2876550" y="0"/>
                </a:lnTo>
                <a:lnTo>
                  <a:pt x="2876550" y="3143250"/>
                </a:lnTo>
                <a:lnTo>
                  <a:pt x="0" y="3143250"/>
                </a:lnTo>
                <a:close/>
              </a:path>
            </a:pathLst>
          </a:custGeom>
          <a:pattFill prst="pct60">
            <a:fgClr>
              <a:schemeClr val="bg1"/>
            </a:fgClr>
            <a:bgClr>
              <a:schemeClr val="bg1">
                <a:lumMod val="85000"/>
              </a:schemeClr>
            </a:bgClr>
          </a:pattFill>
          <a:effectLst>
            <a:outerShdw blurRad="660400" dist="190500" dir="5400000" algn="t" rotWithShape="0">
              <a:schemeClr val="accent1">
                <a:alpha val="40000"/>
              </a:schemeClr>
            </a:outerShdw>
          </a:effectLst>
        </p:spPr>
        <p:txBody>
          <a:bodyPr wrap="square" anchor="ctr">
            <a:noAutofit/>
          </a:bodyPr>
          <a:lstStyle>
            <a:lvl1pPr marL="0" indent="0" algn="ctr">
              <a:buFontTx/>
              <a:buNone/>
              <a:defRPr sz="1200"/>
            </a:lvl1pPr>
          </a:lstStyle>
          <a:p>
            <a:endParaRPr lang="en-US"/>
          </a:p>
        </p:txBody>
      </p:sp>
      <p:sp>
        <p:nvSpPr>
          <p:cNvPr id="25" name="Picture Placeholder 24">
            <a:extLst>
              <a:ext uri="{FF2B5EF4-FFF2-40B4-BE49-F238E27FC236}">
                <a16:creationId xmlns:a16="http://schemas.microsoft.com/office/drawing/2014/main" id="{4E6DD8C9-03BB-49E3-A9B8-A0EFEABFBD22}"/>
              </a:ext>
            </a:extLst>
          </p:cNvPr>
          <p:cNvSpPr>
            <a:spLocks noGrp="1"/>
          </p:cNvSpPr>
          <p:nvPr>
            <p:ph type="pic" sz="quarter" idx="17"/>
          </p:nvPr>
        </p:nvSpPr>
        <p:spPr>
          <a:xfrm>
            <a:off x="1514278" y="3714750"/>
            <a:ext cx="1438088" cy="1571625"/>
          </a:xfrm>
          <a:custGeom>
            <a:avLst/>
            <a:gdLst>
              <a:gd name="connsiteX0" fmla="*/ 0 w 2876550"/>
              <a:gd name="connsiteY0" fmla="*/ 0 h 3143250"/>
              <a:gd name="connsiteX1" fmla="*/ 2876550 w 2876550"/>
              <a:gd name="connsiteY1" fmla="*/ 0 h 3143250"/>
              <a:gd name="connsiteX2" fmla="*/ 2876550 w 2876550"/>
              <a:gd name="connsiteY2" fmla="*/ 3143250 h 3143250"/>
              <a:gd name="connsiteX3" fmla="*/ 0 w 2876550"/>
              <a:gd name="connsiteY3" fmla="*/ 3143250 h 3143250"/>
            </a:gdLst>
            <a:ahLst/>
            <a:cxnLst>
              <a:cxn ang="0">
                <a:pos x="connsiteX0" y="connsiteY0"/>
              </a:cxn>
              <a:cxn ang="0">
                <a:pos x="connsiteX1" y="connsiteY1"/>
              </a:cxn>
              <a:cxn ang="0">
                <a:pos x="connsiteX2" y="connsiteY2"/>
              </a:cxn>
              <a:cxn ang="0">
                <a:pos x="connsiteX3" y="connsiteY3"/>
              </a:cxn>
            </a:cxnLst>
            <a:rect l="l" t="t" r="r" b="b"/>
            <a:pathLst>
              <a:path w="2876550" h="3143250">
                <a:moveTo>
                  <a:pt x="0" y="0"/>
                </a:moveTo>
                <a:lnTo>
                  <a:pt x="2876550" y="0"/>
                </a:lnTo>
                <a:lnTo>
                  <a:pt x="2876550" y="3143250"/>
                </a:lnTo>
                <a:lnTo>
                  <a:pt x="0" y="3143250"/>
                </a:lnTo>
                <a:close/>
              </a:path>
            </a:pathLst>
          </a:custGeom>
          <a:pattFill prst="pct60">
            <a:fgClr>
              <a:schemeClr val="bg1"/>
            </a:fgClr>
            <a:bgClr>
              <a:schemeClr val="bg1">
                <a:lumMod val="85000"/>
              </a:schemeClr>
            </a:bgClr>
          </a:pattFill>
          <a:effectLst>
            <a:outerShdw blurRad="660400" dist="190500" dir="5400000" algn="t" rotWithShape="0">
              <a:schemeClr val="accent1">
                <a:alpha val="40000"/>
              </a:schemeClr>
            </a:outerShdw>
          </a:effectLst>
        </p:spPr>
        <p:txBody>
          <a:bodyPr wrap="square" anchor="ctr">
            <a:noAutofit/>
          </a:bodyPr>
          <a:lstStyle>
            <a:lvl1pPr marL="0" indent="0" algn="ctr">
              <a:buFontTx/>
              <a:buNone/>
              <a:defRPr sz="1200"/>
            </a:lvl1pPr>
          </a:lstStyle>
          <a:p>
            <a:endParaRPr lang="en-US"/>
          </a:p>
        </p:txBody>
      </p:sp>
      <p:sp>
        <p:nvSpPr>
          <p:cNvPr id="26" name="Picture Placeholder 25">
            <a:extLst>
              <a:ext uri="{FF2B5EF4-FFF2-40B4-BE49-F238E27FC236}">
                <a16:creationId xmlns:a16="http://schemas.microsoft.com/office/drawing/2014/main" id="{DFAB2594-68AE-46A3-9D9A-148C9A705C00}"/>
              </a:ext>
            </a:extLst>
          </p:cNvPr>
          <p:cNvSpPr>
            <a:spLocks noGrp="1"/>
          </p:cNvSpPr>
          <p:nvPr>
            <p:ph type="pic" sz="quarter" idx="18"/>
          </p:nvPr>
        </p:nvSpPr>
        <p:spPr>
          <a:xfrm>
            <a:off x="4089397" y="3714750"/>
            <a:ext cx="1438088" cy="1571625"/>
          </a:xfrm>
          <a:custGeom>
            <a:avLst/>
            <a:gdLst>
              <a:gd name="connsiteX0" fmla="*/ 0 w 2876550"/>
              <a:gd name="connsiteY0" fmla="*/ 0 h 3143250"/>
              <a:gd name="connsiteX1" fmla="*/ 2876550 w 2876550"/>
              <a:gd name="connsiteY1" fmla="*/ 0 h 3143250"/>
              <a:gd name="connsiteX2" fmla="*/ 2876550 w 2876550"/>
              <a:gd name="connsiteY2" fmla="*/ 3143250 h 3143250"/>
              <a:gd name="connsiteX3" fmla="*/ 0 w 2876550"/>
              <a:gd name="connsiteY3" fmla="*/ 3143250 h 3143250"/>
            </a:gdLst>
            <a:ahLst/>
            <a:cxnLst>
              <a:cxn ang="0">
                <a:pos x="connsiteX0" y="connsiteY0"/>
              </a:cxn>
              <a:cxn ang="0">
                <a:pos x="connsiteX1" y="connsiteY1"/>
              </a:cxn>
              <a:cxn ang="0">
                <a:pos x="connsiteX2" y="connsiteY2"/>
              </a:cxn>
              <a:cxn ang="0">
                <a:pos x="connsiteX3" y="connsiteY3"/>
              </a:cxn>
            </a:cxnLst>
            <a:rect l="l" t="t" r="r" b="b"/>
            <a:pathLst>
              <a:path w="2876550" h="3143250">
                <a:moveTo>
                  <a:pt x="0" y="0"/>
                </a:moveTo>
                <a:lnTo>
                  <a:pt x="2876550" y="0"/>
                </a:lnTo>
                <a:lnTo>
                  <a:pt x="2876550" y="3143250"/>
                </a:lnTo>
                <a:lnTo>
                  <a:pt x="0" y="3143250"/>
                </a:lnTo>
                <a:close/>
              </a:path>
            </a:pathLst>
          </a:custGeom>
          <a:pattFill prst="pct60">
            <a:fgClr>
              <a:schemeClr val="bg1"/>
            </a:fgClr>
            <a:bgClr>
              <a:schemeClr val="bg1">
                <a:lumMod val="85000"/>
              </a:schemeClr>
            </a:bgClr>
          </a:pattFill>
          <a:effectLst>
            <a:outerShdw blurRad="660400" dist="190500" dir="5400000" algn="t" rotWithShape="0">
              <a:schemeClr val="accent1">
                <a:alpha val="40000"/>
              </a:schemeClr>
            </a:outerShdw>
          </a:effectLst>
        </p:spPr>
        <p:txBody>
          <a:bodyPr wrap="square" anchor="ctr">
            <a:noAutofit/>
          </a:bodyPr>
          <a:lstStyle>
            <a:lvl1pPr marL="0" indent="0" algn="ctr">
              <a:buFontTx/>
              <a:buNone/>
              <a:defRPr sz="1200"/>
            </a:lvl1pPr>
          </a:lstStyle>
          <a:p>
            <a:endParaRPr lang="en-US"/>
          </a:p>
        </p:txBody>
      </p:sp>
      <p:sp>
        <p:nvSpPr>
          <p:cNvPr id="27" name="Picture Placeholder 26">
            <a:extLst>
              <a:ext uri="{FF2B5EF4-FFF2-40B4-BE49-F238E27FC236}">
                <a16:creationId xmlns:a16="http://schemas.microsoft.com/office/drawing/2014/main" id="{5DF9FA7A-DB60-4682-8CAB-2AC84C80FAD2}"/>
              </a:ext>
            </a:extLst>
          </p:cNvPr>
          <p:cNvSpPr>
            <a:spLocks noGrp="1"/>
          </p:cNvSpPr>
          <p:nvPr>
            <p:ph type="pic" sz="quarter" idx="19"/>
          </p:nvPr>
        </p:nvSpPr>
        <p:spPr>
          <a:xfrm>
            <a:off x="6664516" y="3714750"/>
            <a:ext cx="1438088" cy="1571625"/>
          </a:xfrm>
          <a:custGeom>
            <a:avLst/>
            <a:gdLst>
              <a:gd name="connsiteX0" fmla="*/ 0 w 2876550"/>
              <a:gd name="connsiteY0" fmla="*/ 0 h 3143250"/>
              <a:gd name="connsiteX1" fmla="*/ 2876550 w 2876550"/>
              <a:gd name="connsiteY1" fmla="*/ 0 h 3143250"/>
              <a:gd name="connsiteX2" fmla="*/ 2876550 w 2876550"/>
              <a:gd name="connsiteY2" fmla="*/ 3143250 h 3143250"/>
              <a:gd name="connsiteX3" fmla="*/ 0 w 2876550"/>
              <a:gd name="connsiteY3" fmla="*/ 3143250 h 3143250"/>
            </a:gdLst>
            <a:ahLst/>
            <a:cxnLst>
              <a:cxn ang="0">
                <a:pos x="connsiteX0" y="connsiteY0"/>
              </a:cxn>
              <a:cxn ang="0">
                <a:pos x="connsiteX1" y="connsiteY1"/>
              </a:cxn>
              <a:cxn ang="0">
                <a:pos x="connsiteX2" y="connsiteY2"/>
              </a:cxn>
              <a:cxn ang="0">
                <a:pos x="connsiteX3" y="connsiteY3"/>
              </a:cxn>
            </a:cxnLst>
            <a:rect l="l" t="t" r="r" b="b"/>
            <a:pathLst>
              <a:path w="2876550" h="3143250">
                <a:moveTo>
                  <a:pt x="0" y="0"/>
                </a:moveTo>
                <a:lnTo>
                  <a:pt x="2876550" y="0"/>
                </a:lnTo>
                <a:lnTo>
                  <a:pt x="2876550" y="3143250"/>
                </a:lnTo>
                <a:lnTo>
                  <a:pt x="0" y="3143250"/>
                </a:lnTo>
                <a:close/>
              </a:path>
            </a:pathLst>
          </a:custGeom>
          <a:pattFill prst="pct60">
            <a:fgClr>
              <a:schemeClr val="bg1"/>
            </a:fgClr>
            <a:bgClr>
              <a:schemeClr val="bg1">
                <a:lumMod val="85000"/>
              </a:schemeClr>
            </a:bgClr>
          </a:pattFill>
          <a:effectLst>
            <a:outerShdw blurRad="660400" dist="190500" dir="5400000" algn="t" rotWithShape="0">
              <a:schemeClr val="accent1">
                <a:alpha val="40000"/>
              </a:schemeClr>
            </a:outerShdw>
          </a:effectLst>
        </p:spPr>
        <p:txBody>
          <a:bodyPr wrap="square" anchor="ctr">
            <a:noAutofit/>
          </a:bodyPr>
          <a:lstStyle>
            <a:lvl1pPr marL="0" indent="0" algn="ctr">
              <a:buFontTx/>
              <a:buNone/>
              <a:defRPr sz="1200"/>
            </a:lvl1pPr>
          </a:lstStyle>
          <a:p>
            <a:endParaRPr lang="en-US"/>
          </a:p>
        </p:txBody>
      </p:sp>
      <p:sp>
        <p:nvSpPr>
          <p:cNvPr id="28" name="Picture Placeholder 27">
            <a:extLst>
              <a:ext uri="{FF2B5EF4-FFF2-40B4-BE49-F238E27FC236}">
                <a16:creationId xmlns:a16="http://schemas.microsoft.com/office/drawing/2014/main" id="{16669351-C444-4EC3-976D-DAFD767ED96C}"/>
              </a:ext>
            </a:extLst>
          </p:cNvPr>
          <p:cNvSpPr>
            <a:spLocks noGrp="1"/>
          </p:cNvSpPr>
          <p:nvPr>
            <p:ph type="pic" sz="quarter" idx="20"/>
          </p:nvPr>
        </p:nvSpPr>
        <p:spPr>
          <a:xfrm>
            <a:off x="9239635" y="3714750"/>
            <a:ext cx="1438088" cy="1571625"/>
          </a:xfrm>
          <a:custGeom>
            <a:avLst/>
            <a:gdLst>
              <a:gd name="connsiteX0" fmla="*/ 0 w 2876550"/>
              <a:gd name="connsiteY0" fmla="*/ 0 h 3143250"/>
              <a:gd name="connsiteX1" fmla="*/ 2876550 w 2876550"/>
              <a:gd name="connsiteY1" fmla="*/ 0 h 3143250"/>
              <a:gd name="connsiteX2" fmla="*/ 2876550 w 2876550"/>
              <a:gd name="connsiteY2" fmla="*/ 3143250 h 3143250"/>
              <a:gd name="connsiteX3" fmla="*/ 0 w 2876550"/>
              <a:gd name="connsiteY3" fmla="*/ 3143250 h 3143250"/>
            </a:gdLst>
            <a:ahLst/>
            <a:cxnLst>
              <a:cxn ang="0">
                <a:pos x="connsiteX0" y="connsiteY0"/>
              </a:cxn>
              <a:cxn ang="0">
                <a:pos x="connsiteX1" y="connsiteY1"/>
              </a:cxn>
              <a:cxn ang="0">
                <a:pos x="connsiteX2" y="connsiteY2"/>
              </a:cxn>
              <a:cxn ang="0">
                <a:pos x="connsiteX3" y="connsiteY3"/>
              </a:cxn>
            </a:cxnLst>
            <a:rect l="l" t="t" r="r" b="b"/>
            <a:pathLst>
              <a:path w="2876550" h="3143250">
                <a:moveTo>
                  <a:pt x="0" y="0"/>
                </a:moveTo>
                <a:lnTo>
                  <a:pt x="2876550" y="0"/>
                </a:lnTo>
                <a:lnTo>
                  <a:pt x="2876550" y="3143250"/>
                </a:lnTo>
                <a:lnTo>
                  <a:pt x="0" y="3143250"/>
                </a:lnTo>
                <a:close/>
              </a:path>
            </a:pathLst>
          </a:custGeom>
          <a:pattFill prst="pct60">
            <a:fgClr>
              <a:schemeClr val="bg1"/>
            </a:fgClr>
            <a:bgClr>
              <a:schemeClr val="bg1">
                <a:lumMod val="85000"/>
              </a:schemeClr>
            </a:bgClr>
          </a:pattFill>
          <a:effectLst>
            <a:outerShdw blurRad="660400" dist="190500" dir="5400000" algn="t" rotWithShape="0">
              <a:schemeClr val="accent1">
                <a:alpha val="40000"/>
              </a:schemeClr>
            </a:outerShdw>
          </a:effectLst>
        </p:spPr>
        <p:txBody>
          <a:bodyPr wrap="square" anchor="ctr">
            <a:noAutofit/>
          </a:bodyPr>
          <a:lstStyle>
            <a:lvl1pPr marL="0" indent="0" algn="ctr">
              <a:buFontTx/>
              <a:buNone/>
              <a:defRPr sz="1200"/>
            </a:lvl1pPr>
          </a:lstStyle>
          <a:p>
            <a:endParaRPr lang="en-US"/>
          </a:p>
        </p:txBody>
      </p:sp>
    </p:spTree>
    <p:extLst>
      <p:ext uri="{BB962C8B-B14F-4D97-AF65-F5344CB8AC3E}">
        <p14:creationId xmlns:p14="http://schemas.microsoft.com/office/powerpoint/2010/main" val="3952190694"/>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2" dur="1000" decel="100000" fill="hold" grpId="0" nodeType="withEffect">
                                  <p:stCondLst>
                                    <p:cond delay="0"/>
                                  </p:stCondLst>
                                  <p:childTnLst>
                                    <p:set>
                                      <p:cBhvr>
                                        <p:cTn id="6" dur="1" fill="hold">
                                          <p:stCondLst>
                                            <p:cond delay="0"/>
                                          </p:stCondLst>
                                        </p:cTn>
                                        <p:tgtEl>
                                          <p:spTgt spid="21"/>
                                        </p:tgtEl>
                                        <p:attrNameLst>
                                          <p:attrName>style.visibility</p:attrName>
                                        </p:attrNameLst>
                                      </p:cBhvr>
                                      <p:to>
                                        <p:strVal val="visible"/>
                                      </p:to>
                                    </p:set>
                                    <p:anim calcmode="lin" valueType="num">
                                      <p:cBhvr additive="base">
                                        <p:cTn id="7" dur="1000" fill="hold"/>
                                        <p:tgtEl>
                                          <p:spTgt spid="21"/>
                                        </p:tgtEl>
                                        <p:attrNameLst>
                                          <p:attrName>ppt_x</p:attrName>
                                        </p:attrNameLst>
                                      </p:cBhvr>
                                      <p:tavLst>
                                        <p:tav tm="0">
                                          <p:val>
                                            <p:strVal val="1+#ppt_w/2"/>
                                          </p:val>
                                        </p:tav>
                                        <p:tav tm="100000">
                                          <p:val>
                                            <p:strVal val="#ppt_x"/>
                                          </p:val>
                                        </p:tav>
                                      </p:tavLst>
                                    </p:anim>
                                    <p:anim calcmode="lin" valueType="num">
                                      <p:cBhvr additive="base">
                                        <p:cTn id="8" dur="1000" fill="hold"/>
                                        <p:tgtEl>
                                          <p:spTgt spid="21"/>
                                        </p:tgtEl>
                                        <p:attrNameLst>
                                          <p:attrName>ppt_y</p:attrName>
                                        </p:attrNameLst>
                                      </p:cBhvr>
                                      <p:tavLst>
                                        <p:tav tm="0">
                                          <p:val>
                                            <p:strVal val="#ppt_y"/>
                                          </p:val>
                                        </p:tav>
                                        <p:tav tm="100000">
                                          <p:val>
                                            <p:strVal val="#ppt_y"/>
                                          </p:val>
                                        </p:tav>
                                      </p:tavLst>
                                    </p:anim>
                                  </p:childTnLst>
                                </p:cTn>
                              </p:par>
                              <p:par>
                                <p:cTn id="9" presetID="2" presetClass="entr" presetSubtype="2" dur="1000" decel="100000" fill="hold" grpId="0" nodeType="withEffect">
                                  <p:stCondLst>
                                    <p:cond delay="100"/>
                                  </p:stCondLst>
                                  <p:childTnLst>
                                    <p:set>
                                      <p:cBhvr>
                                        <p:cTn id="10" dur="1" fill="hold">
                                          <p:stCondLst>
                                            <p:cond delay="0"/>
                                          </p:stCondLst>
                                        </p:cTn>
                                        <p:tgtEl>
                                          <p:spTgt spid="22"/>
                                        </p:tgtEl>
                                        <p:attrNameLst>
                                          <p:attrName>style.visibility</p:attrName>
                                        </p:attrNameLst>
                                      </p:cBhvr>
                                      <p:to>
                                        <p:strVal val="visible"/>
                                      </p:to>
                                    </p:set>
                                    <p:anim calcmode="lin" valueType="num">
                                      <p:cBhvr additive="base">
                                        <p:cTn id="11" dur="1000" fill="hold"/>
                                        <p:tgtEl>
                                          <p:spTgt spid="22"/>
                                        </p:tgtEl>
                                        <p:attrNameLst>
                                          <p:attrName>ppt_x</p:attrName>
                                        </p:attrNameLst>
                                      </p:cBhvr>
                                      <p:tavLst>
                                        <p:tav tm="0">
                                          <p:val>
                                            <p:strVal val="1+#ppt_w/2"/>
                                          </p:val>
                                        </p:tav>
                                        <p:tav tm="100000">
                                          <p:val>
                                            <p:strVal val="#ppt_x"/>
                                          </p:val>
                                        </p:tav>
                                      </p:tavLst>
                                    </p:anim>
                                    <p:anim calcmode="lin" valueType="num">
                                      <p:cBhvr additive="base">
                                        <p:cTn id="12" dur="1000" fill="hold"/>
                                        <p:tgtEl>
                                          <p:spTgt spid="22"/>
                                        </p:tgtEl>
                                        <p:attrNameLst>
                                          <p:attrName>ppt_y</p:attrName>
                                        </p:attrNameLst>
                                      </p:cBhvr>
                                      <p:tavLst>
                                        <p:tav tm="0">
                                          <p:val>
                                            <p:strVal val="#ppt_y"/>
                                          </p:val>
                                        </p:tav>
                                        <p:tav tm="100000">
                                          <p:val>
                                            <p:strVal val="#ppt_y"/>
                                          </p:val>
                                        </p:tav>
                                      </p:tavLst>
                                    </p:anim>
                                  </p:childTnLst>
                                </p:cTn>
                              </p:par>
                              <p:par>
                                <p:cTn id="13" presetID="2" presetClass="entr" presetSubtype="2" dur="1000" decel="100000" fill="hold" grpId="0" nodeType="withEffect">
                                  <p:stCondLst>
                                    <p:cond delay="200"/>
                                  </p:stCondLst>
                                  <p:childTnLst>
                                    <p:set>
                                      <p:cBhvr>
                                        <p:cTn id="14" dur="1" fill="hold">
                                          <p:stCondLst>
                                            <p:cond delay="0"/>
                                          </p:stCondLst>
                                        </p:cTn>
                                        <p:tgtEl>
                                          <p:spTgt spid="23"/>
                                        </p:tgtEl>
                                        <p:attrNameLst>
                                          <p:attrName>style.visibility</p:attrName>
                                        </p:attrNameLst>
                                      </p:cBhvr>
                                      <p:to>
                                        <p:strVal val="visible"/>
                                      </p:to>
                                    </p:set>
                                    <p:anim calcmode="lin" valueType="num">
                                      <p:cBhvr additive="base">
                                        <p:cTn id="15" dur="1000" fill="hold"/>
                                        <p:tgtEl>
                                          <p:spTgt spid="23"/>
                                        </p:tgtEl>
                                        <p:attrNameLst>
                                          <p:attrName>ppt_x</p:attrName>
                                        </p:attrNameLst>
                                      </p:cBhvr>
                                      <p:tavLst>
                                        <p:tav tm="0">
                                          <p:val>
                                            <p:strVal val="1+#ppt_w/2"/>
                                          </p:val>
                                        </p:tav>
                                        <p:tav tm="100000">
                                          <p:val>
                                            <p:strVal val="#ppt_x"/>
                                          </p:val>
                                        </p:tav>
                                      </p:tavLst>
                                    </p:anim>
                                    <p:anim calcmode="lin" valueType="num">
                                      <p:cBhvr additive="base">
                                        <p:cTn id="16" dur="1000" fill="hold"/>
                                        <p:tgtEl>
                                          <p:spTgt spid="23"/>
                                        </p:tgtEl>
                                        <p:attrNameLst>
                                          <p:attrName>ppt_y</p:attrName>
                                        </p:attrNameLst>
                                      </p:cBhvr>
                                      <p:tavLst>
                                        <p:tav tm="0">
                                          <p:val>
                                            <p:strVal val="#ppt_y"/>
                                          </p:val>
                                        </p:tav>
                                        <p:tav tm="100000">
                                          <p:val>
                                            <p:strVal val="#ppt_y"/>
                                          </p:val>
                                        </p:tav>
                                      </p:tavLst>
                                    </p:anim>
                                  </p:childTnLst>
                                </p:cTn>
                              </p:par>
                              <p:par>
                                <p:cTn id="17" presetID="2" presetClass="entr" presetSubtype="2" dur="1000" decel="100000" fill="hold" grpId="0" nodeType="withEffect">
                                  <p:stCondLst>
                                    <p:cond delay="300"/>
                                  </p:stCondLst>
                                  <p:childTnLst>
                                    <p:set>
                                      <p:cBhvr>
                                        <p:cTn id="18" dur="1" fill="hold">
                                          <p:stCondLst>
                                            <p:cond delay="0"/>
                                          </p:stCondLst>
                                        </p:cTn>
                                        <p:tgtEl>
                                          <p:spTgt spid="24"/>
                                        </p:tgtEl>
                                        <p:attrNameLst>
                                          <p:attrName>style.visibility</p:attrName>
                                        </p:attrNameLst>
                                      </p:cBhvr>
                                      <p:to>
                                        <p:strVal val="visible"/>
                                      </p:to>
                                    </p:set>
                                    <p:anim calcmode="lin" valueType="num">
                                      <p:cBhvr additive="base">
                                        <p:cTn id="19" dur="1000" fill="hold"/>
                                        <p:tgtEl>
                                          <p:spTgt spid="24"/>
                                        </p:tgtEl>
                                        <p:attrNameLst>
                                          <p:attrName>ppt_x</p:attrName>
                                        </p:attrNameLst>
                                      </p:cBhvr>
                                      <p:tavLst>
                                        <p:tav tm="0">
                                          <p:val>
                                            <p:strVal val="1+#ppt_w/2"/>
                                          </p:val>
                                        </p:tav>
                                        <p:tav tm="100000">
                                          <p:val>
                                            <p:strVal val="#ppt_x"/>
                                          </p:val>
                                        </p:tav>
                                      </p:tavLst>
                                    </p:anim>
                                    <p:anim calcmode="lin" valueType="num">
                                      <p:cBhvr additive="base">
                                        <p:cTn id="20" dur="1000" fill="hold"/>
                                        <p:tgtEl>
                                          <p:spTgt spid="24"/>
                                        </p:tgtEl>
                                        <p:attrNameLst>
                                          <p:attrName>ppt_y</p:attrName>
                                        </p:attrNameLst>
                                      </p:cBhvr>
                                      <p:tavLst>
                                        <p:tav tm="0">
                                          <p:val>
                                            <p:strVal val="#ppt_y"/>
                                          </p:val>
                                        </p:tav>
                                        <p:tav tm="100000">
                                          <p:val>
                                            <p:strVal val="#ppt_y"/>
                                          </p:val>
                                        </p:tav>
                                      </p:tavLst>
                                    </p:anim>
                                  </p:childTnLst>
                                </p:cTn>
                              </p:par>
                              <p:par>
                                <p:cTn id="21" presetID="2" presetClass="entr" presetSubtype="8" dur="1000" decel="100000" fill="hold" grpId="0" nodeType="withEffect">
                                  <p:stCondLst>
                                    <p:cond delay="400"/>
                                  </p:stCondLst>
                                  <p:childTnLst>
                                    <p:set>
                                      <p:cBhvr>
                                        <p:cTn id="22" dur="1" fill="hold">
                                          <p:stCondLst>
                                            <p:cond delay="0"/>
                                          </p:stCondLst>
                                        </p:cTn>
                                        <p:tgtEl>
                                          <p:spTgt spid="28"/>
                                        </p:tgtEl>
                                        <p:attrNameLst>
                                          <p:attrName>style.visibility</p:attrName>
                                        </p:attrNameLst>
                                      </p:cBhvr>
                                      <p:to>
                                        <p:strVal val="visible"/>
                                      </p:to>
                                    </p:set>
                                    <p:anim calcmode="lin" valueType="num">
                                      <p:cBhvr additive="base">
                                        <p:cTn id="23" dur="1000" fill="hold"/>
                                        <p:tgtEl>
                                          <p:spTgt spid="28"/>
                                        </p:tgtEl>
                                        <p:attrNameLst>
                                          <p:attrName>ppt_x</p:attrName>
                                        </p:attrNameLst>
                                      </p:cBhvr>
                                      <p:tavLst>
                                        <p:tav tm="0">
                                          <p:val>
                                            <p:strVal val="0-#ppt_w/2"/>
                                          </p:val>
                                        </p:tav>
                                        <p:tav tm="100000">
                                          <p:val>
                                            <p:strVal val="#ppt_x"/>
                                          </p:val>
                                        </p:tav>
                                      </p:tavLst>
                                    </p:anim>
                                    <p:anim calcmode="lin" valueType="num">
                                      <p:cBhvr additive="base">
                                        <p:cTn id="24" dur="1000" fill="hold"/>
                                        <p:tgtEl>
                                          <p:spTgt spid="28"/>
                                        </p:tgtEl>
                                        <p:attrNameLst>
                                          <p:attrName>ppt_y</p:attrName>
                                        </p:attrNameLst>
                                      </p:cBhvr>
                                      <p:tavLst>
                                        <p:tav tm="0">
                                          <p:val>
                                            <p:strVal val="#ppt_y"/>
                                          </p:val>
                                        </p:tav>
                                        <p:tav tm="100000">
                                          <p:val>
                                            <p:strVal val="#ppt_y"/>
                                          </p:val>
                                        </p:tav>
                                      </p:tavLst>
                                    </p:anim>
                                  </p:childTnLst>
                                </p:cTn>
                              </p:par>
                              <p:par>
                                <p:cTn id="25" presetID="2" presetClass="entr" presetSubtype="8" dur="1000" decel="100000" fill="hold" grpId="0" nodeType="withEffect">
                                  <p:stCondLst>
                                    <p:cond delay="500"/>
                                  </p:stCondLst>
                                  <p:childTnLst>
                                    <p:set>
                                      <p:cBhvr>
                                        <p:cTn id="26" dur="1" fill="hold">
                                          <p:stCondLst>
                                            <p:cond delay="0"/>
                                          </p:stCondLst>
                                        </p:cTn>
                                        <p:tgtEl>
                                          <p:spTgt spid="27"/>
                                        </p:tgtEl>
                                        <p:attrNameLst>
                                          <p:attrName>style.visibility</p:attrName>
                                        </p:attrNameLst>
                                      </p:cBhvr>
                                      <p:to>
                                        <p:strVal val="visible"/>
                                      </p:to>
                                    </p:set>
                                    <p:anim calcmode="lin" valueType="num">
                                      <p:cBhvr additive="base">
                                        <p:cTn id="27" dur="1000" fill="hold"/>
                                        <p:tgtEl>
                                          <p:spTgt spid="27"/>
                                        </p:tgtEl>
                                        <p:attrNameLst>
                                          <p:attrName>ppt_x</p:attrName>
                                        </p:attrNameLst>
                                      </p:cBhvr>
                                      <p:tavLst>
                                        <p:tav tm="0">
                                          <p:val>
                                            <p:strVal val="0-#ppt_w/2"/>
                                          </p:val>
                                        </p:tav>
                                        <p:tav tm="100000">
                                          <p:val>
                                            <p:strVal val="#ppt_x"/>
                                          </p:val>
                                        </p:tav>
                                      </p:tavLst>
                                    </p:anim>
                                    <p:anim calcmode="lin" valueType="num">
                                      <p:cBhvr additive="base">
                                        <p:cTn id="28" dur="1000" fill="hold"/>
                                        <p:tgtEl>
                                          <p:spTgt spid="27"/>
                                        </p:tgtEl>
                                        <p:attrNameLst>
                                          <p:attrName>ppt_y</p:attrName>
                                        </p:attrNameLst>
                                      </p:cBhvr>
                                      <p:tavLst>
                                        <p:tav tm="0">
                                          <p:val>
                                            <p:strVal val="#ppt_y"/>
                                          </p:val>
                                        </p:tav>
                                        <p:tav tm="100000">
                                          <p:val>
                                            <p:strVal val="#ppt_y"/>
                                          </p:val>
                                        </p:tav>
                                      </p:tavLst>
                                    </p:anim>
                                  </p:childTnLst>
                                </p:cTn>
                              </p:par>
                              <p:par>
                                <p:cTn id="29" presetID="2" presetClass="entr" presetSubtype="8" dur="1000" decel="100000" fill="hold" grpId="0" nodeType="withEffect">
                                  <p:stCondLst>
                                    <p:cond delay="600"/>
                                  </p:stCondLst>
                                  <p:childTnLst>
                                    <p:set>
                                      <p:cBhvr>
                                        <p:cTn id="30" dur="1" fill="hold">
                                          <p:stCondLst>
                                            <p:cond delay="0"/>
                                          </p:stCondLst>
                                        </p:cTn>
                                        <p:tgtEl>
                                          <p:spTgt spid="26"/>
                                        </p:tgtEl>
                                        <p:attrNameLst>
                                          <p:attrName>style.visibility</p:attrName>
                                        </p:attrNameLst>
                                      </p:cBhvr>
                                      <p:to>
                                        <p:strVal val="visible"/>
                                      </p:to>
                                    </p:set>
                                    <p:anim calcmode="lin" valueType="num">
                                      <p:cBhvr additive="base">
                                        <p:cTn id="31" dur="1000" fill="hold"/>
                                        <p:tgtEl>
                                          <p:spTgt spid="26"/>
                                        </p:tgtEl>
                                        <p:attrNameLst>
                                          <p:attrName>ppt_x</p:attrName>
                                        </p:attrNameLst>
                                      </p:cBhvr>
                                      <p:tavLst>
                                        <p:tav tm="0">
                                          <p:val>
                                            <p:strVal val="0-#ppt_w/2"/>
                                          </p:val>
                                        </p:tav>
                                        <p:tav tm="100000">
                                          <p:val>
                                            <p:strVal val="#ppt_x"/>
                                          </p:val>
                                        </p:tav>
                                      </p:tavLst>
                                    </p:anim>
                                    <p:anim calcmode="lin" valueType="num">
                                      <p:cBhvr additive="base">
                                        <p:cTn id="32" dur="1000" fill="hold"/>
                                        <p:tgtEl>
                                          <p:spTgt spid="26"/>
                                        </p:tgtEl>
                                        <p:attrNameLst>
                                          <p:attrName>ppt_y</p:attrName>
                                        </p:attrNameLst>
                                      </p:cBhvr>
                                      <p:tavLst>
                                        <p:tav tm="0">
                                          <p:val>
                                            <p:strVal val="#ppt_y"/>
                                          </p:val>
                                        </p:tav>
                                        <p:tav tm="100000">
                                          <p:val>
                                            <p:strVal val="#ppt_y"/>
                                          </p:val>
                                        </p:tav>
                                      </p:tavLst>
                                    </p:anim>
                                  </p:childTnLst>
                                </p:cTn>
                              </p:par>
                              <p:par>
                                <p:cTn id="33" presetID="2" presetClass="entr" presetSubtype="8" dur="1000" decel="100000" fill="hold" grpId="0" nodeType="withEffect">
                                  <p:stCondLst>
                                    <p:cond delay="700"/>
                                  </p:stCondLst>
                                  <p:childTnLst>
                                    <p:set>
                                      <p:cBhvr>
                                        <p:cTn id="34" dur="1" fill="hold">
                                          <p:stCondLst>
                                            <p:cond delay="0"/>
                                          </p:stCondLst>
                                        </p:cTn>
                                        <p:tgtEl>
                                          <p:spTgt spid="25"/>
                                        </p:tgtEl>
                                        <p:attrNameLst>
                                          <p:attrName>style.visibility</p:attrName>
                                        </p:attrNameLst>
                                      </p:cBhvr>
                                      <p:to>
                                        <p:strVal val="visible"/>
                                      </p:to>
                                    </p:set>
                                    <p:anim calcmode="lin" valueType="num">
                                      <p:cBhvr additive="base">
                                        <p:cTn id="35" dur="1000" fill="hold"/>
                                        <p:tgtEl>
                                          <p:spTgt spid="25"/>
                                        </p:tgtEl>
                                        <p:attrNameLst>
                                          <p:attrName>ppt_x</p:attrName>
                                        </p:attrNameLst>
                                      </p:cBhvr>
                                      <p:tavLst>
                                        <p:tav tm="0">
                                          <p:val>
                                            <p:strVal val="0-#ppt_w/2"/>
                                          </p:val>
                                        </p:tav>
                                        <p:tav tm="100000">
                                          <p:val>
                                            <p:strVal val="#ppt_x"/>
                                          </p:val>
                                        </p:tav>
                                      </p:tavLst>
                                    </p:anim>
                                    <p:anim calcmode="lin" valueType="num">
                                      <p:cBhvr additive="base">
                                        <p:cTn id="36" dur="1000" fill="hold"/>
                                        <p:tgtEl>
                                          <p:spTgt spid="2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2" grpId="0" animBg="1"/>
      <p:bldP spid="23" grpId="0" animBg="1"/>
      <p:bldP spid="24" grpId="0" animBg="1"/>
      <p:bldP spid="25" grpId="0" animBg="1"/>
      <p:bldP spid="26" grpId="0" animBg="1"/>
      <p:bldP spid="27" grpId="0" animBg="1"/>
      <p:bldP spid="28" grpId="0" animBg="1"/>
    </p:bldLst>
  </p:timing>
  <p:extLst>
    <p:ext uri="{DCECCB84-F9BA-43D5-87BE-67443E8EF086}">
      <p15:sldGuideLst xmlns:p15="http://schemas.microsoft.com/office/powerpoint/2012/main">
        <p15:guide id="1" orient="horz" pos="4320">
          <p15:clr>
            <a:srgbClr val="FBAE40"/>
          </p15:clr>
        </p15:guide>
        <p15:guide id="2" pos="7681">
          <p15:clr>
            <a:srgbClr val="FBAE40"/>
          </p15:clr>
        </p15:guide>
        <p15:guide id="3" pos="985">
          <p15:clr>
            <a:srgbClr val="FBAE40"/>
          </p15:clr>
        </p15:guide>
        <p15:guide id="4" pos="14377">
          <p15:clr>
            <a:srgbClr val="FBAE4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userDrawn="1">
  <p:cSld name="5_Custom Layout">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0B984625-FC00-409A-89CA-74509D2E04EF}"/>
              </a:ext>
            </a:extLst>
          </p:cNvPr>
          <p:cNvSpPr>
            <a:spLocks noGrp="1"/>
          </p:cNvSpPr>
          <p:nvPr>
            <p:ph type="pic" sz="quarter" idx="13"/>
          </p:nvPr>
        </p:nvSpPr>
        <p:spPr>
          <a:xfrm>
            <a:off x="822325" y="3591529"/>
            <a:ext cx="2594922" cy="2595260"/>
          </a:xfrm>
          <a:custGeom>
            <a:avLst/>
            <a:gdLst>
              <a:gd name="connsiteX0" fmla="*/ 0 w 5190519"/>
              <a:gd name="connsiteY0" fmla="*/ 0 h 5190519"/>
              <a:gd name="connsiteX1" fmla="*/ 5190519 w 5190519"/>
              <a:gd name="connsiteY1" fmla="*/ 0 h 5190519"/>
              <a:gd name="connsiteX2" fmla="*/ 5190519 w 5190519"/>
              <a:gd name="connsiteY2" fmla="*/ 5190519 h 5190519"/>
              <a:gd name="connsiteX3" fmla="*/ 0 w 5190519"/>
              <a:gd name="connsiteY3" fmla="*/ 5190519 h 5190519"/>
            </a:gdLst>
            <a:ahLst/>
            <a:cxnLst>
              <a:cxn ang="0">
                <a:pos x="connsiteX0" y="connsiteY0"/>
              </a:cxn>
              <a:cxn ang="0">
                <a:pos x="connsiteX1" y="connsiteY1"/>
              </a:cxn>
              <a:cxn ang="0">
                <a:pos x="connsiteX2" y="connsiteY2"/>
              </a:cxn>
              <a:cxn ang="0">
                <a:pos x="connsiteX3" y="connsiteY3"/>
              </a:cxn>
            </a:cxnLst>
            <a:rect l="l" t="t" r="r" b="b"/>
            <a:pathLst>
              <a:path w="5190519" h="5190519">
                <a:moveTo>
                  <a:pt x="0" y="0"/>
                </a:moveTo>
                <a:lnTo>
                  <a:pt x="5190519" y="0"/>
                </a:lnTo>
                <a:lnTo>
                  <a:pt x="5190519" y="5190519"/>
                </a:lnTo>
                <a:lnTo>
                  <a:pt x="0" y="5190519"/>
                </a:ln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
        <p:nvSpPr>
          <p:cNvPr id="10" name="Picture Placeholder 9">
            <a:extLst>
              <a:ext uri="{FF2B5EF4-FFF2-40B4-BE49-F238E27FC236}">
                <a16:creationId xmlns:a16="http://schemas.microsoft.com/office/drawing/2014/main" id="{A8A64EF6-6AAD-4A8E-A2BA-D31872C0F165}"/>
              </a:ext>
            </a:extLst>
          </p:cNvPr>
          <p:cNvSpPr>
            <a:spLocks noGrp="1"/>
          </p:cNvSpPr>
          <p:nvPr>
            <p:ph type="pic" sz="quarter" idx="14"/>
          </p:nvPr>
        </p:nvSpPr>
        <p:spPr>
          <a:xfrm>
            <a:off x="822325" y="871840"/>
            <a:ext cx="2594922" cy="2595260"/>
          </a:xfrm>
          <a:custGeom>
            <a:avLst/>
            <a:gdLst>
              <a:gd name="connsiteX0" fmla="*/ 0 w 5190519"/>
              <a:gd name="connsiteY0" fmla="*/ 0 h 5190519"/>
              <a:gd name="connsiteX1" fmla="*/ 5190519 w 5190519"/>
              <a:gd name="connsiteY1" fmla="*/ 0 h 5190519"/>
              <a:gd name="connsiteX2" fmla="*/ 5190519 w 5190519"/>
              <a:gd name="connsiteY2" fmla="*/ 5190519 h 5190519"/>
              <a:gd name="connsiteX3" fmla="*/ 0 w 5190519"/>
              <a:gd name="connsiteY3" fmla="*/ 5190519 h 5190519"/>
            </a:gdLst>
            <a:ahLst/>
            <a:cxnLst>
              <a:cxn ang="0">
                <a:pos x="connsiteX0" y="connsiteY0"/>
              </a:cxn>
              <a:cxn ang="0">
                <a:pos x="connsiteX1" y="connsiteY1"/>
              </a:cxn>
              <a:cxn ang="0">
                <a:pos x="connsiteX2" y="connsiteY2"/>
              </a:cxn>
              <a:cxn ang="0">
                <a:pos x="connsiteX3" y="connsiteY3"/>
              </a:cxn>
            </a:cxnLst>
            <a:rect l="l" t="t" r="r" b="b"/>
            <a:pathLst>
              <a:path w="5190519" h="5190519">
                <a:moveTo>
                  <a:pt x="0" y="0"/>
                </a:moveTo>
                <a:lnTo>
                  <a:pt x="5190519" y="0"/>
                </a:lnTo>
                <a:lnTo>
                  <a:pt x="5190519" y="5190519"/>
                </a:lnTo>
                <a:lnTo>
                  <a:pt x="0" y="5190519"/>
                </a:ln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
        <p:nvSpPr>
          <p:cNvPr id="8" name="Picture Placeholder 7">
            <a:extLst>
              <a:ext uri="{FF2B5EF4-FFF2-40B4-BE49-F238E27FC236}">
                <a16:creationId xmlns:a16="http://schemas.microsoft.com/office/drawing/2014/main" id="{CB58EF59-6144-4377-881E-7F3DA3CB9356}"/>
              </a:ext>
            </a:extLst>
          </p:cNvPr>
          <p:cNvSpPr>
            <a:spLocks noGrp="1"/>
          </p:cNvSpPr>
          <p:nvPr>
            <p:ph type="pic" sz="quarter" idx="15"/>
          </p:nvPr>
        </p:nvSpPr>
        <p:spPr>
          <a:xfrm>
            <a:off x="6210887" y="871538"/>
            <a:ext cx="5171855" cy="5305426"/>
          </a:xfrm>
          <a:custGeom>
            <a:avLst/>
            <a:gdLst>
              <a:gd name="connsiteX0" fmla="*/ 0 w 10345056"/>
              <a:gd name="connsiteY0" fmla="*/ 0 h 10610851"/>
              <a:gd name="connsiteX1" fmla="*/ 10345056 w 10345056"/>
              <a:gd name="connsiteY1" fmla="*/ 0 h 10610851"/>
              <a:gd name="connsiteX2" fmla="*/ 10345056 w 10345056"/>
              <a:gd name="connsiteY2" fmla="*/ 10610851 h 10610851"/>
              <a:gd name="connsiteX3" fmla="*/ 0 w 10345056"/>
              <a:gd name="connsiteY3" fmla="*/ 10610851 h 10610851"/>
            </a:gdLst>
            <a:ahLst/>
            <a:cxnLst>
              <a:cxn ang="0">
                <a:pos x="connsiteX0" y="connsiteY0"/>
              </a:cxn>
              <a:cxn ang="0">
                <a:pos x="connsiteX1" y="connsiteY1"/>
              </a:cxn>
              <a:cxn ang="0">
                <a:pos x="connsiteX2" y="connsiteY2"/>
              </a:cxn>
              <a:cxn ang="0">
                <a:pos x="connsiteX3" y="connsiteY3"/>
              </a:cxn>
            </a:cxnLst>
            <a:rect l="l" t="t" r="r" b="b"/>
            <a:pathLst>
              <a:path w="10345056" h="10610851">
                <a:moveTo>
                  <a:pt x="0" y="0"/>
                </a:moveTo>
                <a:lnTo>
                  <a:pt x="10345056" y="0"/>
                </a:lnTo>
                <a:lnTo>
                  <a:pt x="10345056" y="10610851"/>
                </a:lnTo>
                <a:lnTo>
                  <a:pt x="0" y="10610851"/>
                </a:ln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Tree>
    <p:extLst>
      <p:ext uri="{BB962C8B-B14F-4D97-AF65-F5344CB8AC3E}">
        <p14:creationId xmlns:p14="http://schemas.microsoft.com/office/powerpoint/2010/main" val="1107840591"/>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4" dur="2000" decel="10000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2000" fill="hold"/>
                                        <p:tgtEl>
                                          <p:spTgt spid="8"/>
                                        </p:tgtEl>
                                        <p:attrNameLst>
                                          <p:attrName>ppt_x</p:attrName>
                                        </p:attrNameLst>
                                      </p:cBhvr>
                                      <p:tavLst>
                                        <p:tav tm="0">
                                          <p:val>
                                            <p:strVal val="#ppt_x"/>
                                          </p:val>
                                        </p:tav>
                                        <p:tav tm="100000">
                                          <p:val>
                                            <p:strVal val="#ppt_x"/>
                                          </p:val>
                                        </p:tav>
                                      </p:tavLst>
                                    </p:anim>
                                    <p:anim calcmode="lin" valueType="num">
                                      <p:cBhvr additive="base">
                                        <p:cTn id="8" dur="2000" fill="hold"/>
                                        <p:tgtEl>
                                          <p:spTgt spid="8"/>
                                        </p:tgtEl>
                                        <p:attrNameLst>
                                          <p:attrName>ppt_y</p:attrName>
                                        </p:attrNameLst>
                                      </p:cBhvr>
                                      <p:tavLst>
                                        <p:tav tm="0">
                                          <p:val>
                                            <p:strVal val="1+#ppt_h/2"/>
                                          </p:val>
                                        </p:tav>
                                        <p:tav tm="100000">
                                          <p:val>
                                            <p:strVal val="#ppt_y"/>
                                          </p:val>
                                        </p:tav>
                                      </p:tavLst>
                                    </p:anim>
                                  </p:childTnLst>
                                </p:cTn>
                              </p:par>
                              <p:par>
                                <p:cTn id="9" presetID="2" presetClass="entr" presetSubtype="4" dur="2000" decel="100000" fill="hold" grpId="0" nodeType="withEffect">
                                  <p:stCondLst>
                                    <p:cond delay="20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2000" fill="hold"/>
                                        <p:tgtEl>
                                          <p:spTgt spid="10"/>
                                        </p:tgtEl>
                                        <p:attrNameLst>
                                          <p:attrName>ppt_x</p:attrName>
                                        </p:attrNameLst>
                                      </p:cBhvr>
                                      <p:tavLst>
                                        <p:tav tm="0">
                                          <p:val>
                                            <p:strVal val="#ppt_x"/>
                                          </p:val>
                                        </p:tav>
                                        <p:tav tm="100000">
                                          <p:val>
                                            <p:strVal val="#ppt_x"/>
                                          </p:val>
                                        </p:tav>
                                      </p:tavLst>
                                    </p:anim>
                                    <p:anim calcmode="lin" valueType="num">
                                      <p:cBhvr additive="base">
                                        <p:cTn id="12" dur="2000" fill="hold"/>
                                        <p:tgtEl>
                                          <p:spTgt spid="10"/>
                                        </p:tgtEl>
                                        <p:attrNameLst>
                                          <p:attrName>ppt_y</p:attrName>
                                        </p:attrNameLst>
                                      </p:cBhvr>
                                      <p:tavLst>
                                        <p:tav tm="0">
                                          <p:val>
                                            <p:strVal val="1+#ppt_h/2"/>
                                          </p:val>
                                        </p:tav>
                                        <p:tav tm="100000">
                                          <p:val>
                                            <p:strVal val="#ppt_y"/>
                                          </p:val>
                                        </p:tav>
                                      </p:tavLst>
                                    </p:anim>
                                  </p:childTnLst>
                                </p:cTn>
                              </p:par>
                              <p:par>
                                <p:cTn id="13" presetID="2" presetClass="entr" presetSubtype="4" dur="2000" decel="100000" fill="hold" grpId="0" nodeType="withEffect">
                                  <p:stCondLst>
                                    <p:cond delay="400"/>
                                  </p:stCondLst>
                                  <p:childTnLst>
                                    <p:set>
                                      <p:cBhvr>
                                        <p:cTn id="14" dur="1" fill="hold">
                                          <p:stCondLst>
                                            <p:cond delay="0"/>
                                          </p:stCondLst>
                                        </p:cTn>
                                        <p:tgtEl>
                                          <p:spTgt spid="9"/>
                                        </p:tgtEl>
                                        <p:attrNameLst>
                                          <p:attrName>style.visibility</p:attrName>
                                        </p:attrNameLst>
                                      </p:cBhvr>
                                      <p:to>
                                        <p:strVal val="visible"/>
                                      </p:to>
                                    </p:set>
                                    <p:anim calcmode="lin" valueType="num">
                                      <p:cBhvr additive="base">
                                        <p:cTn id="15" dur="2000" fill="hold"/>
                                        <p:tgtEl>
                                          <p:spTgt spid="9"/>
                                        </p:tgtEl>
                                        <p:attrNameLst>
                                          <p:attrName>ppt_x</p:attrName>
                                        </p:attrNameLst>
                                      </p:cBhvr>
                                      <p:tavLst>
                                        <p:tav tm="0">
                                          <p:val>
                                            <p:strVal val="#ppt_x"/>
                                          </p:val>
                                        </p:tav>
                                        <p:tav tm="100000">
                                          <p:val>
                                            <p:strVal val="#ppt_x"/>
                                          </p:val>
                                        </p:tav>
                                      </p:tavLst>
                                    </p:anim>
                                    <p:anim calcmode="lin" valueType="num">
                                      <p:cBhvr additive="base">
                                        <p:cTn id="16" dur="20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8" grpId="0" animBg="1"/>
    </p:bldLst>
  </p:timing>
</p:sldLayout>
</file>

<file path=ppt/slideLayouts/slideLayout269.xml><?xml version="1.0" encoding="utf-8"?>
<p:sldLayout xmlns:a="http://schemas.openxmlformats.org/drawingml/2006/main" xmlns:r="http://schemas.openxmlformats.org/officeDocument/2006/relationships" xmlns:p="http://schemas.openxmlformats.org/presentationml/2006/main" userDrawn="1">
  <p:cSld name="6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893E20B-4C8A-4F59-B087-3A11D128B2F1}"/>
              </a:ext>
            </a:extLst>
          </p:cNvPr>
          <p:cNvSpPr>
            <a:spLocks noGrp="1"/>
          </p:cNvSpPr>
          <p:nvPr>
            <p:ph type="pic" sz="quarter" idx="14"/>
          </p:nvPr>
        </p:nvSpPr>
        <p:spPr>
          <a:xfrm>
            <a:off x="4767126" y="2160248"/>
            <a:ext cx="2659907" cy="2539669"/>
          </a:xfrm>
          <a:custGeom>
            <a:avLst/>
            <a:gdLst>
              <a:gd name="connsiteX0" fmla="*/ 272846 w 5320506"/>
              <a:gd name="connsiteY0" fmla="*/ 0 h 5079337"/>
              <a:gd name="connsiteX1" fmla="*/ 5047660 w 5320506"/>
              <a:gd name="connsiteY1" fmla="*/ 0 h 5079337"/>
              <a:gd name="connsiteX2" fmla="*/ 5320506 w 5320506"/>
              <a:gd name="connsiteY2" fmla="*/ 272716 h 5079337"/>
              <a:gd name="connsiteX3" fmla="*/ 5320506 w 5320506"/>
              <a:gd name="connsiteY3" fmla="*/ 4806621 h 5079337"/>
              <a:gd name="connsiteX4" fmla="*/ 5047660 w 5320506"/>
              <a:gd name="connsiteY4" fmla="*/ 5079337 h 5079337"/>
              <a:gd name="connsiteX5" fmla="*/ 272846 w 5320506"/>
              <a:gd name="connsiteY5" fmla="*/ 5079337 h 5079337"/>
              <a:gd name="connsiteX6" fmla="*/ 0 w 5320506"/>
              <a:gd name="connsiteY6" fmla="*/ 4806621 h 5079337"/>
              <a:gd name="connsiteX7" fmla="*/ 0 w 5320506"/>
              <a:gd name="connsiteY7" fmla="*/ 272716 h 5079337"/>
              <a:gd name="connsiteX8" fmla="*/ 272846 w 5320506"/>
              <a:gd name="connsiteY8" fmla="*/ 0 h 5079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20506" h="5079337">
                <a:moveTo>
                  <a:pt x="272846" y="0"/>
                </a:moveTo>
                <a:cubicBezTo>
                  <a:pt x="5047660" y="0"/>
                  <a:pt x="5047660" y="0"/>
                  <a:pt x="5047660" y="0"/>
                </a:cubicBezTo>
                <a:cubicBezTo>
                  <a:pt x="5197725" y="0"/>
                  <a:pt x="5320506" y="122722"/>
                  <a:pt x="5320506" y="272716"/>
                </a:cubicBezTo>
                <a:cubicBezTo>
                  <a:pt x="5320506" y="4806621"/>
                  <a:pt x="5320506" y="4806621"/>
                  <a:pt x="5320506" y="4806621"/>
                </a:cubicBezTo>
                <a:cubicBezTo>
                  <a:pt x="5320506" y="4956615"/>
                  <a:pt x="5197725" y="5079337"/>
                  <a:pt x="5047660" y="5079337"/>
                </a:cubicBezTo>
                <a:cubicBezTo>
                  <a:pt x="272846" y="5079337"/>
                  <a:pt x="272846" y="5079337"/>
                  <a:pt x="272846" y="5079337"/>
                </a:cubicBezTo>
                <a:cubicBezTo>
                  <a:pt x="122781" y="5079337"/>
                  <a:pt x="0" y="4956615"/>
                  <a:pt x="0" y="4806621"/>
                </a:cubicBezTo>
                <a:cubicBezTo>
                  <a:pt x="0" y="272716"/>
                  <a:pt x="0" y="272716"/>
                  <a:pt x="0" y="272716"/>
                </a:cubicBezTo>
                <a:cubicBezTo>
                  <a:pt x="0" y="122722"/>
                  <a:pt x="122781" y="0"/>
                  <a:pt x="272846" y="0"/>
                </a:cubicBezTo>
                <a:close/>
              </a:path>
            </a:pathLst>
          </a:custGeom>
          <a:pattFill prst="pct60">
            <a:fgClr>
              <a:schemeClr val="bg1"/>
            </a:fgClr>
            <a:bgClr>
              <a:schemeClr val="bg1">
                <a:lumMod val="85000"/>
              </a:schemeClr>
            </a:bgClr>
          </a:pattFill>
          <a:effectLst>
            <a:outerShdw blurRad="723900" dist="228600" dir="8100000" algn="tr" rotWithShape="0">
              <a:schemeClr val="accent1">
                <a:alpha val="40000"/>
              </a:schemeClr>
            </a:outerShdw>
          </a:effectLst>
        </p:spPr>
        <p:txBody>
          <a:bodyPr wrap="square" anchor="ctr">
            <a:noAutofit/>
          </a:bodyPr>
          <a:lstStyle>
            <a:lvl1pPr marL="0" indent="0" algn="ctr">
              <a:buFontTx/>
              <a:buNone/>
              <a:defRPr sz="1200"/>
            </a:lvl1pPr>
          </a:lstStyle>
          <a:p>
            <a:endParaRPr lang="en-US"/>
          </a:p>
        </p:txBody>
      </p:sp>
    </p:spTree>
    <p:extLst>
      <p:ext uri="{BB962C8B-B14F-4D97-AF65-F5344CB8AC3E}">
        <p14:creationId xmlns:p14="http://schemas.microsoft.com/office/powerpoint/2010/main" val="2816873208"/>
      </p:ext>
    </p:extLst>
  </p:cSld>
  <p:clrMapOvr>
    <a:masterClrMapping/>
  </p:clrMapOv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2" name="Picture Placeholder 4">
            <a:extLst>
              <a:ext uri="{FF2B5EF4-FFF2-40B4-BE49-F238E27FC236}">
                <a16:creationId xmlns:a16="http://schemas.microsoft.com/office/drawing/2014/main" id="{CDD5BDAE-070D-466F-9878-EB1BC2848ED8}"/>
              </a:ext>
            </a:extLst>
          </p:cNvPr>
          <p:cNvSpPr>
            <a:spLocks noGrp="1"/>
          </p:cNvSpPr>
          <p:nvPr>
            <p:ph type="pic" sz="quarter" idx="11"/>
          </p:nvPr>
        </p:nvSpPr>
        <p:spPr>
          <a:xfrm>
            <a:off x="812800" y="728662"/>
            <a:ext cx="10566400" cy="5589587"/>
          </a:xfrm>
          <a:custGeom>
            <a:avLst/>
            <a:gdLst>
              <a:gd name="connsiteX0" fmla="*/ 0 w 7829549"/>
              <a:gd name="connsiteY0" fmla="*/ 0 h 7543801"/>
              <a:gd name="connsiteX1" fmla="*/ 7829549 w 7829549"/>
              <a:gd name="connsiteY1" fmla="*/ 0 h 7543801"/>
              <a:gd name="connsiteX2" fmla="*/ 7829549 w 7829549"/>
              <a:gd name="connsiteY2" fmla="*/ 7543801 h 7543801"/>
              <a:gd name="connsiteX3" fmla="*/ 0 w 7829549"/>
              <a:gd name="connsiteY3" fmla="*/ 7543801 h 7543801"/>
            </a:gdLst>
            <a:ahLst/>
            <a:cxnLst>
              <a:cxn ang="0">
                <a:pos x="connsiteX0" y="connsiteY0"/>
              </a:cxn>
              <a:cxn ang="0">
                <a:pos x="connsiteX1" y="connsiteY1"/>
              </a:cxn>
              <a:cxn ang="0">
                <a:pos x="connsiteX2" y="connsiteY2"/>
              </a:cxn>
              <a:cxn ang="0">
                <a:pos x="connsiteX3" y="connsiteY3"/>
              </a:cxn>
            </a:cxnLst>
            <a:rect l="l" t="t" r="r" b="b"/>
            <a:pathLst>
              <a:path w="7829549" h="7543801">
                <a:moveTo>
                  <a:pt x="0" y="0"/>
                </a:moveTo>
                <a:lnTo>
                  <a:pt x="7829549" y="0"/>
                </a:lnTo>
                <a:lnTo>
                  <a:pt x="7829549" y="7543801"/>
                </a:lnTo>
                <a:lnTo>
                  <a:pt x="0" y="7543801"/>
                </a:ln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Tree>
    <p:extLst>
      <p:ext uri="{BB962C8B-B14F-4D97-AF65-F5344CB8AC3E}">
        <p14:creationId xmlns:p14="http://schemas.microsoft.com/office/powerpoint/2010/main" val="1338534397"/>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1" dur="2200" decel="10000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2200" fill="hold"/>
                                        <p:tgtEl>
                                          <p:spTgt spid="2"/>
                                        </p:tgtEl>
                                        <p:attrNameLst>
                                          <p:attrName>ppt_x</p:attrName>
                                        </p:attrNameLst>
                                      </p:cBhvr>
                                      <p:tavLst>
                                        <p:tav tm="0">
                                          <p:val>
                                            <p:strVal val="#ppt_x"/>
                                          </p:val>
                                        </p:tav>
                                        <p:tav tm="100000">
                                          <p:val>
                                            <p:strVal val="#ppt_x"/>
                                          </p:val>
                                        </p:tav>
                                      </p:tavLst>
                                    </p:anim>
                                    <p:anim calcmode="lin" valueType="num">
                                      <p:cBhvr additive="base">
                                        <p:cTn id="8" dur="2200" fill="hold"/>
                                        <p:tgtEl>
                                          <p:spTgt spid="2"/>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extLst>
    <p:ext uri="{DCECCB84-F9BA-43D5-87BE-67443E8EF086}">
      <p15:sldGuideLst xmlns:p15="http://schemas.microsoft.com/office/powerpoint/2012/main">
        <p15:guide id="1" orient="horz" pos="4320">
          <p15:clr>
            <a:srgbClr val="FBAE40"/>
          </p15:clr>
        </p15:guide>
        <p15:guide id="2" pos="7681">
          <p15:clr>
            <a:srgbClr val="FBAE40"/>
          </p15:clr>
        </p15:guide>
        <p15:guide id="3" pos="985">
          <p15:clr>
            <a:srgbClr val="FBAE40"/>
          </p15:clr>
        </p15:guide>
        <p15:guide id="4" pos="14377">
          <p15:clr>
            <a:srgbClr val="FBAE4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userDrawn="1">
  <p:cSld name="8_Custom Layout">
    <p:spTree>
      <p:nvGrpSpPr>
        <p:cNvPr id="1" name=""/>
        <p:cNvGrpSpPr/>
        <p:nvPr/>
      </p:nvGrpSpPr>
      <p:grpSpPr>
        <a:xfrm>
          <a:off x="0" y="0"/>
          <a:ext cx="0" cy="0"/>
          <a:chOff x="0" y="0"/>
          <a:chExt cx="0" cy="0"/>
        </a:xfrm>
      </p:grpSpPr>
      <p:sp>
        <p:nvSpPr>
          <p:cNvPr id="2" name="Picture Placeholder 7">
            <a:extLst>
              <a:ext uri="{FF2B5EF4-FFF2-40B4-BE49-F238E27FC236}">
                <a16:creationId xmlns:a16="http://schemas.microsoft.com/office/drawing/2014/main" id="{2025C71F-F630-406C-A334-0B61D0F62D84}"/>
              </a:ext>
            </a:extLst>
          </p:cNvPr>
          <p:cNvSpPr>
            <a:spLocks noGrp="1"/>
          </p:cNvSpPr>
          <p:nvPr>
            <p:ph type="pic" sz="quarter" idx="15"/>
          </p:nvPr>
        </p:nvSpPr>
        <p:spPr>
          <a:xfrm>
            <a:off x="6096000" y="0"/>
            <a:ext cx="5314259" cy="6858000"/>
          </a:xfrm>
          <a:custGeom>
            <a:avLst/>
            <a:gdLst>
              <a:gd name="connsiteX0" fmla="*/ 0 w 10345056"/>
              <a:gd name="connsiteY0" fmla="*/ 0 h 10610851"/>
              <a:gd name="connsiteX1" fmla="*/ 10345056 w 10345056"/>
              <a:gd name="connsiteY1" fmla="*/ 0 h 10610851"/>
              <a:gd name="connsiteX2" fmla="*/ 10345056 w 10345056"/>
              <a:gd name="connsiteY2" fmla="*/ 10610851 h 10610851"/>
              <a:gd name="connsiteX3" fmla="*/ 0 w 10345056"/>
              <a:gd name="connsiteY3" fmla="*/ 10610851 h 10610851"/>
            </a:gdLst>
            <a:ahLst/>
            <a:cxnLst>
              <a:cxn ang="0">
                <a:pos x="connsiteX0" y="connsiteY0"/>
              </a:cxn>
              <a:cxn ang="0">
                <a:pos x="connsiteX1" y="connsiteY1"/>
              </a:cxn>
              <a:cxn ang="0">
                <a:pos x="connsiteX2" y="connsiteY2"/>
              </a:cxn>
              <a:cxn ang="0">
                <a:pos x="connsiteX3" y="connsiteY3"/>
              </a:cxn>
            </a:cxnLst>
            <a:rect l="l" t="t" r="r" b="b"/>
            <a:pathLst>
              <a:path w="10345056" h="10610851">
                <a:moveTo>
                  <a:pt x="0" y="0"/>
                </a:moveTo>
                <a:lnTo>
                  <a:pt x="10345056" y="0"/>
                </a:lnTo>
                <a:lnTo>
                  <a:pt x="10345056" y="10610851"/>
                </a:lnTo>
                <a:lnTo>
                  <a:pt x="0" y="10610851"/>
                </a:ln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Tree>
    <p:extLst>
      <p:ext uri="{BB962C8B-B14F-4D97-AF65-F5344CB8AC3E}">
        <p14:creationId xmlns:p14="http://schemas.microsoft.com/office/powerpoint/2010/main" val="2026451606"/>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2" dur="2000" decel="10000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2000" fill="hold"/>
                                        <p:tgtEl>
                                          <p:spTgt spid="2"/>
                                        </p:tgtEl>
                                        <p:attrNameLst>
                                          <p:attrName>ppt_x</p:attrName>
                                        </p:attrNameLst>
                                      </p:cBhvr>
                                      <p:tavLst>
                                        <p:tav tm="0">
                                          <p:val>
                                            <p:strVal val="1+#ppt_w/2"/>
                                          </p:val>
                                        </p:tav>
                                        <p:tav tm="100000">
                                          <p:val>
                                            <p:strVal val="#ppt_x"/>
                                          </p:val>
                                        </p:tav>
                                      </p:tavLst>
                                    </p:anim>
                                    <p:anim calcmode="lin" valueType="num">
                                      <p:cBhvr additive="base">
                                        <p:cTn id="8" dur="200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Layout>
</file>

<file path=ppt/slideLayouts/slideLayout271.xml><?xml version="1.0" encoding="utf-8"?>
<p:sldLayout xmlns:a="http://schemas.openxmlformats.org/drawingml/2006/main" xmlns:r="http://schemas.openxmlformats.org/officeDocument/2006/relationships" xmlns:p="http://schemas.openxmlformats.org/presentationml/2006/main" userDrawn="1">
  <p:cSld name="9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976E33A2-B792-492E-9B6C-FA894D7D83DE}"/>
              </a:ext>
            </a:extLst>
          </p:cNvPr>
          <p:cNvSpPr>
            <a:spLocks noGrp="1"/>
          </p:cNvSpPr>
          <p:nvPr>
            <p:ph type="pic" sz="quarter" idx="15"/>
          </p:nvPr>
        </p:nvSpPr>
        <p:spPr>
          <a:xfrm>
            <a:off x="5287163" y="2434528"/>
            <a:ext cx="1617673" cy="1617884"/>
          </a:xfrm>
          <a:custGeom>
            <a:avLst/>
            <a:gdLst>
              <a:gd name="connsiteX0" fmla="*/ 1617884 w 3235768"/>
              <a:gd name="connsiteY0" fmla="*/ 0 h 3235768"/>
              <a:gd name="connsiteX1" fmla="*/ 3235768 w 3235768"/>
              <a:gd name="connsiteY1" fmla="*/ 1617884 h 3235768"/>
              <a:gd name="connsiteX2" fmla="*/ 1617884 w 3235768"/>
              <a:gd name="connsiteY2" fmla="*/ 3235768 h 3235768"/>
              <a:gd name="connsiteX3" fmla="*/ 0 w 3235768"/>
              <a:gd name="connsiteY3" fmla="*/ 1617884 h 3235768"/>
              <a:gd name="connsiteX4" fmla="*/ 1617884 w 3235768"/>
              <a:gd name="connsiteY4" fmla="*/ 0 h 3235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5768" h="3235768">
                <a:moveTo>
                  <a:pt x="1617884" y="0"/>
                </a:moveTo>
                <a:cubicBezTo>
                  <a:pt x="2511417" y="0"/>
                  <a:pt x="3235768" y="724351"/>
                  <a:pt x="3235768" y="1617884"/>
                </a:cubicBezTo>
                <a:cubicBezTo>
                  <a:pt x="3235768" y="2511417"/>
                  <a:pt x="2511417" y="3235768"/>
                  <a:pt x="1617884" y="3235768"/>
                </a:cubicBezTo>
                <a:cubicBezTo>
                  <a:pt x="724351" y="3235768"/>
                  <a:pt x="0" y="2511417"/>
                  <a:pt x="0" y="1617884"/>
                </a:cubicBezTo>
                <a:cubicBezTo>
                  <a:pt x="0" y="724351"/>
                  <a:pt x="724351" y="0"/>
                  <a:pt x="1617884" y="0"/>
                </a:cubicBez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Tree>
    <p:extLst>
      <p:ext uri="{BB962C8B-B14F-4D97-AF65-F5344CB8AC3E}">
        <p14:creationId xmlns:p14="http://schemas.microsoft.com/office/powerpoint/2010/main" val="1446724280"/>
      </p:ext>
    </p:extLst>
  </p:cSld>
  <p:clrMapOvr>
    <a:masterClrMapping/>
  </p:clrMapOvr>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userDrawn="1">
  <p:cSld name="10_Custom Layout">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AE7DC9F4-9F6B-497B-AAC3-9E8DE27E9050}"/>
              </a:ext>
            </a:extLst>
          </p:cNvPr>
          <p:cNvSpPr>
            <a:spLocks noGrp="1"/>
          </p:cNvSpPr>
          <p:nvPr>
            <p:ph type="pic" sz="quarter" idx="13"/>
          </p:nvPr>
        </p:nvSpPr>
        <p:spPr>
          <a:xfrm>
            <a:off x="2233376" y="3216359"/>
            <a:ext cx="940720" cy="940842"/>
          </a:xfrm>
          <a:custGeom>
            <a:avLst/>
            <a:gdLst>
              <a:gd name="connsiteX0" fmla="*/ 940842 w 1881684"/>
              <a:gd name="connsiteY0" fmla="*/ 0 h 1881684"/>
              <a:gd name="connsiteX1" fmla="*/ 1881684 w 1881684"/>
              <a:gd name="connsiteY1" fmla="*/ 940842 h 1881684"/>
              <a:gd name="connsiteX2" fmla="*/ 940842 w 1881684"/>
              <a:gd name="connsiteY2" fmla="*/ 1881684 h 1881684"/>
              <a:gd name="connsiteX3" fmla="*/ 0 w 1881684"/>
              <a:gd name="connsiteY3" fmla="*/ 940842 h 1881684"/>
              <a:gd name="connsiteX4" fmla="*/ 940842 w 1881684"/>
              <a:gd name="connsiteY4" fmla="*/ 0 h 18816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1683" h="1881683">
                <a:moveTo>
                  <a:pt x="940842" y="0"/>
                </a:moveTo>
                <a:cubicBezTo>
                  <a:pt x="1460455" y="0"/>
                  <a:pt x="1881684" y="421229"/>
                  <a:pt x="1881684" y="940842"/>
                </a:cubicBezTo>
                <a:cubicBezTo>
                  <a:pt x="1881684" y="1460455"/>
                  <a:pt x="1460455" y="1881684"/>
                  <a:pt x="940842" y="1881684"/>
                </a:cubicBezTo>
                <a:cubicBezTo>
                  <a:pt x="421229" y="1881684"/>
                  <a:pt x="0" y="1460455"/>
                  <a:pt x="0" y="940842"/>
                </a:cubicBezTo>
                <a:cubicBezTo>
                  <a:pt x="0" y="421229"/>
                  <a:pt x="421229" y="0"/>
                  <a:pt x="940842" y="0"/>
                </a:cubicBez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
        <p:nvSpPr>
          <p:cNvPr id="15" name="Picture Placeholder 14">
            <a:extLst>
              <a:ext uri="{FF2B5EF4-FFF2-40B4-BE49-F238E27FC236}">
                <a16:creationId xmlns:a16="http://schemas.microsoft.com/office/drawing/2014/main" id="{32995364-51BD-4985-8454-19E8A6AB8079}"/>
              </a:ext>
            </a:extLst>
          </p:cNvPr>
          <p:cNvSpPr>
            <a:spLocks noGrp="1"/>
          </p:cNvSpPr>
          <p:nvPr>
            <p:ph type="pic" sz="quarter" idx="14"/>
          </p:nvPr>
        </p:nvSpPr>
        <p:spPr>
          <a:xfrm>
            <a:off x="3917742" y="2708357"/>
            <a:ext cx="940720" cy="940842"/>
          </a:xfrm>
          <a:custGeom>
            <a:avLst/>
            <a:gdLst>
              <a:gd name="connsiteX0" fmla="*/ 940842 w 1881684"/>
              <a:gd name="connsiteY0" fmla="*/ 0 h 1881684"/>
              <a:gd name="connsiteX1" fmla="*/ 1881684 w 1881684"/>
              <a:gd name="connsiteY1" fmla="*/ 940842 h 1881684"/>
              <a:gd name="connsiteX2" fmla="*/ 940842 w 1881684"/>
              <a:gd name="connsiteY2" fmla="*/ 1881684 h 1881684"/>
              <a:gd name="connsiteX3" fmla="*/ 0 w 1881684"/>
              <a:gd name="connsiteY3" fmla="*/ 940842 h 1881684"/>
              <a:gd name="connsiteX4" fmla="*/ 940842 w 1881684"/>
              <a:gd name="connsiteY4" fmla="*/ 0 h 18816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1683" h="1881683">
                <a:moveTo>
                  <a:pt x="940842" y="0"/>
                </a:moveTo>
                <a:cubicBezTo>
                  <a:pt x="1460455" y="0"/>
                  <a:pt x="1881684" y="421229"/>
                  <a:pt x="1881684" y="940842"/>
                </a:cubicBezTo>
                <a:cubicBezTo>
                  <a:pt x="1881684" y="1460455"/>
                  <a:pt x="1460455" y="1881684"/>
                  <a:pt x="940842" y="1881684"/>
                </a:cubicBezTo>
                <a:cubicBezTo>
                  <a:pt x="421229" y="1881684"/>
                  <a:pt x="0" y="1460455"/>
                  <a:pt x="0" y="940842"/>
                </a:cubicBezTo>
                <a:cubicBezTo>
                  <a:pt x="0" y="421229"/>
                  <a:pt x="421229" y="0"/>
                  <a:pt x="940842" y="0"/>
                </a:cubicBez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
        <p:nvSpPr>
          <p:cNvPr id="16" name="Picture Placeholder 15">
            <a:extLst>
              <a:ext uri="{FF2B5EF4-FFF2-40B4-BE49-F238E27FC236}">
                <a16:creationId xmlns:a16="http://schemas.microsoft.com/office/drawing/2014/main" id="{07915F63-D1C5-4E30-8D74-897BEDC3A77E}"/>
              </a:ext>
            </a:extLst>
          </p:cNvPr>
          <p:cNvSpPr>
            <a:spLocks noGrp="1"/>
          </p:cNvSpPr>
          <p:nvPr>
            <p:ph type="pic" sz="quarter" idx="15"/>
          </p:nvPr>
        </p:nvSpPr>
        <p:spPr>
          <a:xfrm>
            <a:off x="5637379" y="3216359"/>
            <a:ext cx="940720" cy="940842"/>
          </a:xfrm>
          <a:custGeom>
            <a:avLst/>
            <a:gdLst>
              <a:gd name="connsiteX0" fmla="*/ 940842 w 1881684"/>
              <a:gd name="connsiteY0" fmla="*/ 0 h 1881684"/>
              <a:gd name="connsiteX1" fmla="*/ 1881684 w 1881684"/>
              <a:gd name="connsiteY1" fmla="*/ 940842 h 1881684"/>
              <a:gd name="connsiteX2" fmla="*/ 940842 w 1881684"/>
              <a:gd name="connsiteY2" fmla="*/ 1881684 h 1881684"/>
              <a:gd name="connsiteX3" fmla="*/ 0 w 1881684"/>
              <a:gd name="connsiteY3" fmla="*/ 940842 h 1881684"/>
              <a:gd name="connsiteX4" fmla="*/ 940842 w 1881684"/>
              <a:gd name="connsiteY4" fmla="*/ 0 h 18816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1683" h="1881683">
                <a:moveTo>
                  <a:pt x="940842" y="0"/>
                </a:moveTo>
                <a:cubicBezTo>
                  <a:pt x="1460455" y="0"/>
                  <a:pt x="1881684" y="421229"/>
                  <a:pt x="1881684" y="940842"/>
                </a:cubicBezTo>
                <a:cubicBezTo>
                  <a:pt x="1881684" y="1460455"/>
                  <a:pt x="1460455" y="1881684"/>
                  <a:pt x="940842" y="1881684"/>
                </a:cubicBezTo>
                <a:cubicBezTo>
                  <a:pt x="421229" y="1881684"/>
                  <a:pt x="0" y="1460455"/>
                  <a:pt x="0" y="940842"/>
                </a:cubicBezTo>
                <a:cubicBezTo>
                  <a:pt x="0" y="421229"/>
                  <a:pt x="421229" y="0"/>
                  <a:pt x="940842" y="0"/>
                </a:cubicBez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
        <p:nvSpPr>
          <p:cNvPr id="17" name="Picture Placeholder 16">
            <a:extLst>
              <a:ext uri="{FF2B5EF4-FFF2-40B4-BE49-F238E27FC236}">
                <a16:creationId xmlns:a16="http://schemas.microsoft.com/office/drawing/2014/main" id="{8039340C-5876-416E-AF2A-C528D6F8B7D0}"/>
              </a:ext>
            </a:extLst>
          </p:cNvPr>
          <p:cNvSpPr>
            <a:spLocks noGrp="1"/>
          </p:cNvSpPr>
          <p:nvPr>
            <p:ph type="pic" sz="quarter" idx="16"/>
          </p:nvPr>
        </p:nvSpPr>
        <p:spPr>
          <a:xfrm>
            <a:off x="7321745" y="2708357"/>
            <a:ext cx="940720" cy="940842"/>
          </a:xfrm>
          <a:custGeom>
            <a:avLst/>
            <a:gdLst>
              <a:gd name="connsiteX0" fmla="*/ 940842 w 1881684"/>
              <a:gd name="connsiteY0" fmla="*/ 0 h 1881684"/>
              <a:gd name="connsiteX1" fmla="*/ 1881684 w 1881684"/>
              <a:gd name="connsiteY1" fmla="*/ 940842 h 1881684"/>
              <a:gd name="connsiteX2" fmla="*/ 940842 w 1881684"/>
              <a:gd name="connsiteY2" fmla="*/ 1881684 h 1881684"/>
              <a:gd name="connsiteX3" fmla="*/ 0 w 1881684"/>
              <a:gd name="connsiteY3" fmla="*/ 940842 h 1881684"/>
              <a:gd name="connsiteX4" fmla="*/ 940842 w 1881684"/>
              <a:gd name="connsiteY4" fmla="*/ 0 h 18816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1683" h="1881683">
                <a:moveTo>
                  <a:pt x="940842" y="0"/>
                </a:moveTo>
                <a:cubicBezTo>
                  <a:pt x="1460455" y="0"/>
                  <a:pt x="1881684" y="421229"/>
                  <a:pt x="1881684" y="940842"/>
                </a:cubicBezTo>
                <a:cubicBezTo>
                  <a:pt x="1881684" y="1460455"/>
                  <a:pt x="1460455" y="1881684"/>
                  <a:pt x="940842" y="1881684"/>
                </a:cubicBezTo>
                <a:cubicBezTo>
                  <a:pt x="421229" y="1881684"/>
                  <a:pt x="0" y="1460455"/>
                  <a:pt x="0" y="940842"/>
                </a:cubicBezTo>
                <a:cubicBezTo>
                  <a:pt x="0" y="421229"/>
                  <a:pt x="421229" y="0"/>
                  <a:pt x="940842" y="0"/>
                </a:cubicBez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
        <p:nvSpPr>
          <p:cNvPr id="18" name="Picture Placeholder 17">
            <a:extLst>
              <a:ext uri="{FF2B5EF4-FFF2-40B4-BE49-F238E27FC236}">
                <a16:creationId xmlns:a16="http://schemas.microsoft.com/office/drawing/2014/main" id="{D02425C2-6AD1-470A-9A0D-69A86B1DDF45}"/>
              </a:ext>
            </a:extLst>
          </p:cNvPr>
          <p:cNvSpPr>
            <a:spLocks noGrp="1"/>
          </p:cNvSpPr>
          <p:nvPr>
            <p:ph type="pic" sz="quarter" idx="17"/>
          </p:nvPr>
        </p:nvSpPr>
        <p:spPr>
          <a:xfrm>
            <a:off x="9031322" y="3216359"/>
            <a:ext cx="940720" cy="940842"/>
          </a:xfrm>
          <a:custGeom>
            <a:avLst/>
            <a:gdLst>
              <a:gd name="connsiteX0" fmla="*/ 940842 w 1881684"/>
              <a:gd name="connsiteY0" fmla="*/ 0 h 1881684"/>
              <a:gd name="connsiteX1" fmla="*/ 1881684 w 1881684"/>
              <a:gd name="connsiteY1" fmla="*/ 940842 h 1881684"/>
              <a:gd name="connsiteX2" fmla="*/ 940842 w 1881684"/>
              <a:gd name="connsiteY2" fmla="*/ 1881684 h 1881684"/>
              <a:gd name="connsiteX3" fmla="*/ 0 w 1881684"/>
              <a:gd name="connsiteY3" fmla="*/ 940842 h 1881684"/>
              <a:gd name="connsiteX4" fmla="*/ 940842 w 1881684"/>
              <a:gd name="connsiteY4" fmla="*/ 0 h 18816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1683" h="1881683">
                <a:moveTo>
                  <a:pt x="940842" y="0"/>
                </a:moveTo>
                <a:cubicBezTo>
                  <a:pt x="1460454" y="0"/>
                  <a:pt x="1881684" y="421229"/>
                  <a:pt x="1881684" y="940842"/>
                </a:cubicBezTo>
                <a:cubicBezTo>
                  <a:pt x="1881684" y="1460455"/>
                  <a:pt x="1460454" y="1881684"/>
                  <a:pt x="940842" y="1881684"/>
                </a:cubicBezTo>
                <a:cubicBezTo>
                  <a:pt x="421230" y="1881684"/>
                  <a:pt x="0" y="1460455"/>
                  <a:pt x="0" y="940842"/>
                </a:cubicBezTo>
                <a:cubicBezTo>
                  <a:pt x="0" y="421229"/>
                  <a:pt x="421230" y="0"/>
                  <a:pt x="940842" y="0"/>
                </a:cubicBez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Tree>
    <p:extLst>
      <p:ext uri="{BB962C8B-B14F-4D97-AF65-F5344CB8AC3E}">
        <p14:creationId xmlns:p14="http://schemas.microsoft.com/office/powerpoint/2010/main" val="3947402765"/>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1" dur="1500" decel="100000" fill="hold" grpId="0" nodeType="withEffect">
                                  <p:stCondLst>
                                    <p:cond delay="50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1500" fill="hold"/>
                                        <p:tgtEl>
                                          <p:spTgt spid="14"/>
                                        </p:tgtEl>
                                        <p:attrNameLst>
                                          <p:attrName>ppt_x</p:attrName>
                                        </p:attrNameLst>
                                      </p:cBhvr>
                                      <p:tavLst>
                                        <p:tav tm="0">
                                          <p:val>
                                            <p:strVal val="#ppt_x"/>
                                          </p:val>
                                        </p:tav>
                                        <p:tav tm="100000">
                                          <p:val>
                                            <p:strVal val="#ppt_x"/>
                                          </p:val>
                                        </p:tav>
                                      </p:tavLst>
                                    </p:anim>
                                    <p:anim calcmode="lin" valueType="num">
                                      <p:cBhvr additive="base">
                                        <p:cTn id="8" dur="1500" fill="hold"/>
                                        <p:tgtEl>
                                          <p:spTgt spid="14"/>
                                        </p:tgtEl>
                                        <p:attrNameLst>
                                          <p:attrName>ppt_y</p:attrName>
                                        </p:attrNameLst>
                                      </p:cBhvr>
                                      <p:tavLst>
                                        <p:tav tm="0">
                                          <p:val>
                                            <p:strVal val="0-#ppt_h/2"/>
                                          </p:val>
                                        </p:tav>
                                        <p:tav tm="100000">
                                          <p:val>
                                            <p:strVal val="#ppt_y"/>
                                          </p:val>
                                        </p:tav>
                                      </p:tavLst>
                                    </p:anim>
                                  </p:childTnLst>
                                </p:cTn>
                              </p:par>
                              <p:par>
                                <p:cTn id="9" presetID="2" presetClass="entr" presetSubtype="4" dur="1500" decel="100000" fill="hold" grpId="0" nodeType="withEffect">
                                  <p:stCondLst>
                                    <p:cond delay="800"/>
                                  </p:stCondLst>
                                  <p:childTnLst>
                                    <p:set>
                                      <p:cBhvr>
                                        <p:cTn id="10" dur="1" fill="hold">
                                          <p:stCondLst>
                                            <p:cond delay="0"/>
                                          </p:stCondLst>
                                        </p:cTn>
                                        <p:tgtEl>
                                          <p:spTgt spid="15"/>
                                        </p:tgtEl>
                                        <p:attrNameLst>
                                          <p:attrName>style.visibility</p:attrName>
                                        </p:attrNameLst>
                                      </p:cBhvr>
                                      <p:to>
                                        <p:strVal val="visible"/>
                                      </p:to>
                                    </p:set>
                                    <p:anim calcmode="lin" valueType="num">
                                      <p:cBhvr additive="base">
                                        <p:cTn id="11" dur="1500" fill="hold"/>
                                        <p:tgtEl>
                                          <p:spTgt spid="15"/>
                                        </p:tgtEl>
                                        <p:attrNameLst>
                                          <p:attrName>ppt_x</p:attrName>
                                        </p:attrNameLst>
                                      </p:cBhvr>
                                      <p:tavLst>
                                        <p:tav tm="0">
                                          <p:val>
                                            <p:strVal val="#ppt_x"/>
                                          </p:val>
                                        </p:tav>
                                        <p:tav tm="100000">
                                          <p:val>
                                            <p:strVal val="#ppt_x"/>
                                          </p:val>
                                        </p:tav>
                                      </p:tavLst>
                                    </p:anim>
                                    <p:anim calcmode="lin" valueType="num">
                                      <p:cBhvr additive="base">
                                        <p:cTn id="12" dur="1500" fill="hold"/>
                                        <p:tgtEl>
                                          <p:spTgt spid="15"/>
                                        </p:tgtEl>
                                        <p:attrNameLst>
                                          <p:attrName>ppt_y</p:attrName>
                                        </p:attrNameLst>
                                      </p:cBhvr>
                                      <p:tavLst>
                                        <p:tav tm="0">
                                          <p:val>
                                            <p:strVal val="1+#ppt_h/2"/>
                                          </p:val>
                                        </p:tav>
                                        <p:tav tm="100000">
                                          <p:val>
                                            <p:strVal val="#ppt_y"/>
                                          </p:val>
                                        </p:tav>
                                      </p:tavLst>
                                    </p:anim>
                                  </p:childTnLst>
                                </p:cTn>
                              </p:par>
                              <p:par>
                                <p:cTn id="13" presetID="2" presetClass="entr" presetSubtype="1" dur="1500" decel="100000" fill="hold" grpId="0" nodeType="withEffect">
                                  <p:stCondLst>
                                    <p:cond delay="1100"/>
                                  </p:stCondLst>
                                  <p:childTnLst>
                                    <p:set>
                                      <p:cBhvr>
                                        <p:cTn id="14" dur="1" fill="hold">
                                          <p:stCondLst>
                                            <p:cond delay="0"/>
                                          </p:stCondLst>
                                        </p:cTn>
                                        <p:tgtEl>
                                          <p:spTgt spid="16"/>
                                        </p:tgtEl>
                                        <p:attrNameLst>
                                          <p:attrName>style.visibility</p:attrName>
                                        </p:attrNameLst>
                                      </p:cBhvr>
                                      <p:to>
                                        <p:strVal val="visible"/>
                                      </p:to>
                                    </p:set>
                                    <p:anim calcmode="lin" valueType="num">
                                      <p:cBhvr additive="base">
                                        <p:cTn id="15" dur="1500" fill="hold"/>
                                        <p:tgtEl>
                                          <p:spTgt spid="16"/>
                                        </p:tgtEl>
                                        <p:attrNameLst>
                                          <p:attrName>ppt_x</p:attrName>
                                        </p:attrNameLst>
                                      </p:cBhvr>
                                      <p:tavLst>
                                        <p:tav tm="0">
                                          <p:val>
                                            <p:strVal val="#ppt_x"/>
                                          </p:val>
                                        </p:tav>
                                        <p:tav tm="100000">
                                          <p:val>
                                            <p:strVal val="#ppt_x"/>
                                          </p:val>
                                        </p:tav>
                                      </p:tavLst>
                                    </p:anim>
                                    <p:anim calcmode="lin" valueType="num">
                                      <p:cBhvr additive="base">
                                        <p:cTn id="16" dur="1500" fill="hold"/>
                                        <p:tgtEl>
                                          <p:spTgt spid="16"/>
                                        </p:tgtEl>
                                        <p:attrNameLst>
                                          <p:attrName>ppt_y</p:attrName>
                                        </p:attrNameLst>
                                      </p:cBhvr>
                                      <p:tavLst>
                                        <p:tav tm="0">
                                          <p:val>
                                            <p:strVal val="0-#ppt_h/2"/>
                                          </p:val>
                                        </p:tav>
                                        <p:tav tm="100000">
                                          <p:val>
                                            <p:strVal val="#ppt_y"/>
                                          </p:val>
                                        </p:tav>
                                      </p:tavLst>
                                    </p:anim>
                                  </p:childTnLst>
                                </p:cTn>
                              </p:par>
                              <p:par>
                                <p:cTn id="17" presetID="2" presetClass="entr" presetSubtype="4" dur="1500" decel="100000" fill="hold" grpId="0" nodeType="withEffect">
                                  <p:stCondLst>
                                    <p:cond delay="1400"/>
                                  </p:stCondLst>
                                  <p:childTnLst>
                                    <p:set>
                                      <p:cBhvr>
                                        <p:cTn id="18" dur="1" fill="hold">
                                          <p:stCondLst>
                                            <p:cond delay="0"/>
                                          </p:stCondLst>
                                        </p:cTn>
                                        <p:tgtEl>
                                          <p:spTgt spid="17"/>
                                        </p:tgtEl>
                                        <p:attrNameLst>
                                          <p:attrName>style.visibility</p:attrName>
                                        </p:attrNameLst>
                                      </p:cBhvr>
                                      <p:to>
                                        <p:strVal val="visible"/>
                                      </p:to>
                                    </p:set>
                                    <p:anim calcmode="lin" valueType="num">
                                      <p:cBhvr additive="base">
                                        <p:cTn id="19" dur="1500" fill="hold"/>
                                        <p:tgtEl>
                                          <p:spTgt spid="17"/>
                                        </p:tgtEl>
                                        <p:attrNameLst>
                                          <p:attrName>ppt_x</p:attrName>
                                        </p:attrNameLst>
                                      </p:cBhvr>
                                      <p:tavLst>
                                        <p:tav tm="0">
                                          <p:val>
                                            <p:strVal val="#ppt_x"/>
                                          </p:val>
                                        </p:tav>
                                        <p:tav tm="100000">
                                          <p:val>
                                            <p:strVal val="#ppt_x"/>
                                          </p:val>
                                        </p:tav>
                                      </p:tavLst>
                                    </p:anim>
                                    <p:anim calcmode="lin" valueType="num">
                                      <p:cBhvr additive="base">
                                        <p:cTn id="20" dur="1500" fill="hold"/>
                                        <p:tgtEl>
                                          <p:spTgt spid="17"/>
                                        </p:tgtEl>
                                        <p:attrNameLst>
                                          <p:attrName>ppt_y</p:attrName>
                                        </p:attrNameLst>
                                      </p:cBhvr>
                                      <p:tavLst>
                                        <p:tav tm="0">
                                          <p:val>
                                            <p:strVal val="1+#ppt_h/2"/>
                                          </p:val>
                                        </p:tav>
                                        <p:tav tm="100000">
                                          <p:val>
                                            <p:strVal val="#ppt_y"/>
                                          </p:val>
                                        </p:tav>
                                      </p:tavLst>
                                    </p:anim>
                                  </p:childTnLst>
                                </p:cTn>
                              </p:par>
                              <p:par>
                                <p:cTn id="21" presetID="2" presetClass="entr" presetSubtype="1" dur="1500" decel="100000" fill="hold" grpId="0" nodeType="withEffect">
                                  <p:stCondLst>
                                    <p:cond delay="1700"/>
                                  </p:stCondLst>
                                  <p:childTnLst>
                                    <p:set>
                                      <p:cBhvr>
                                        <p:cTn id="22" dur="1" fill="hold">
                                          <p:stCondLst>
                                            <p:cond delay="0"/>
                                          </p:stCondLst>
                                        </p:cTn>
                                        <p:tgtEl>
                                          <p:spTgt spid="18"/>
                                        </p:tgtEl>
                                        <p:attrNameLst>
                                          <p:attrName>style.visibility</p:attrName>
                                        </p:attrNameLst>
                                      </p:cBhvr>
                                      <p:to>
                                        <p:strVal val="visible"/>
                                      </p:to>
                                    </p:set>
                                    <p:anim calcmode="lin" valueType="num">
                                      <p:cBhvr additive="base">
                                        <p:cTn id="23" dur="1500" fill="hold"/>
                                        <p:tgtEl>
                                          <p:spTgt spid="18"/>
                                        </p:tgtEl>
                                        <p:attrNameLst>
                                          <p:attrName>ppt_x</p:attrName>
                                        </p:attrNameLst>
                                      </p:cBhvr>
                                      <p:tavLst>
                                        <p:tav tm="0">
                                          <p:val>
                                            <p:strVal val="#ppt_x"/>
                                          </p:val>
                                        </p:tav>
                                        <p:tav tm="100000">
                                          <p:val>
                                            <p:strVal val="#ppt_x"/>
                                          </p:val>
                                        </p:tav>
                                      </p:tavLst>
                                    </p:anim>
                                    <p:anim calcmode="lin" valueType="num">
                                      <p:cBhvr additive="base">
                                        <p:cTn id="24" dur="1500" fill="hold"/>
                                        <p:tgtEl>
                                          <p:spTgt spid="18"/>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animBg="1"/>
      <p:bldP spid="16" grpId="0" animBg="1"/>
      <p:bldP spid="17" grpId="0" animBg="1"/>
      <p:bldP spid="18" grpId="0" animBg="1"/>
    </p:bldLst>
  </p:timing>
</p:sldLayout>
</file>

<file path=ppt/slideLayouts/slideLayout273.xml><?xml version="1.0" encoding="utf-8"?>
<p:sldLayout xmlns:a="http://schemas.openxmlformats.org/drawingml/2006/main" xmlns:r="http://schemas.openxmlformats.org/officeDocument/2006/relationships" xmlns:p="http://schemas.openxmlformats.org/presentationml/2006/main" userDrawn="1">
  <p:cSld name="11_Custom Layout">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D891C536-C71D-43CE-BF4D-B9B329D1B407}"/>
              </a:ext>
            </a:extLst>
          </p:cNvPr>
          <p:cNvSpPr>
            <a:spLocks noGrp="1"/>
          </p:cNvSpPr>
          <p:nvPr>
            <p:ph type="pic" sz="quarter" idx="15"/>
          </p:nvPr>
        </p:nvSpPr>
        <p:spPr>
          <a:xfrm>
            <a:off x="1147470" y="2745873"/>
            <a:ext cx="955706" cy="955830"/>
          </a:xfrm>
          <a:custGeom>
            <a:avLst/>
            <a:gdLst>
              <a:gd name="connsiteX0" fmla="*/ 955830 w 1911660"/>
              <a:gd name="connsiteY0" fmla="*/ 0 h 1911660"/>
              <a:gd name="connsiteX1" fmla="*/ 1911660 w 1911660"/>
              <a:gd name="connsiteY1" fmla="*/ 955830 h 1911660"/>
              <a:gd name="connsiteX2" fmla="*/ 955830 w 1911660"/>
              <a:gd name="connsiteY2" fmla="*/ 1911660 h 1911660"/>
              <a:gd name="connsiteX3" fmla="*/ 0 w 1911660"/>
              <a:gd name="connsiteY3" fmla="*/ 955830 h 1911660"/>
              <a:gd name="connsiteX4" fmla="*/ 955830 w 1911660"/>
              <a:gd name="connsiteY4" fmla="*/ 0 h 19116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1659" h="1911659">
                <a:moveTo>
                  <a:pt x="955830" y="0"/>
                </a:moveTo>
                <a:cubicBezTo>
                  <a:pt x="1483720" y="0"/>
                  <a:pt x="1911660" y="427940"/>
                  <a:pt x="1911660" y="955830"/>
                </a:cubicBezTo>
                <a:cubicBezTo>
                  <a:pt x="1911660" y="1483720"/>
                  <a:pt x="1483720" y="1911660"/>
                  <a:pt x="955830" y="1911660"/>
                </a:cubicBezTo>
                <a:cubicBezTo>
                  <a:pt x="427940" y="1911660"/>
                  <a:pt x="0" y="1483720"/>
                  <a:pt x="0" y="955830"/>
                </a:cubicBezTo>
                <a:cubicBezTo>
                  <a:pt x="0" y="427940"/>
                  <a:pt x="427940" y="0"/>
                  <a:pt x="955830" y="0"/>
                </a:cubicBez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
        <p:nvSpPr>
          <p:cNvPr id="14" name="Picture Placeholder 13">
            <a:extLst>
              <a:ext uri="{FF2B5EF4-FFF2-40B4-BE49-F238E27FC236}">
                <a16:creationId xmlns:a16="http://schemas.microsoft.com/office/drawing/2014/main" id="{6EB235DB-2D95-4CB0-8307-58A1C6583880}"/>
              </a:ext>
            </a:extLst>
          </p:cNvPr>
          <p:cNvSpPr>
            <a:spLocks noGrp="1"/>
          </p:cNvSpPr>
          <p:nvPr>
            <p:ph type="pic" sz="quarter" idx="16"/>
          </p:nvPr>
        </p:nvSpPr>
        <p:spPr>
          <a:xfrm>
            <a:off x="3382809" y="2745873"/>
            <a:ext cx="955706" cy="955830"/>
          </a:xfrm>
          <a:custGeom>
            <a:avLst/>
            <a:gdLst>
              <a:gd name="connsiteX0" fmla="*/ 955830 w 1911660"/>
              <a:gd name="connsiteY0" fmla="*/ 0 h 1911660"/>
              <a:gd name="connsiteX1" fmla="*/ 1911660 w 1911660"/>
              <a:gd name="connsiteY1" fmla="*/ 955830 h 1911660"/>
              <a:gd name="connsiteX2" fmla="*/ 955830 w 1911660"/>
              <a:gd name="connsiteY2" fmla="*/ 1911660 h 1911660"/>
              <a:gd name="connsiteX3" fmla="*/ 0 w 1911660"/>
              <a:gd name="connsiteY3" fmla="*/ 955830 h 1911660"/>
              <a:gd name="connsiteX4" fmla="*/ 955830 w 1911660"/>
              <a:gd name="connsiteY4" fmla="*/ 0 h 19116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1659" h="1911659">
                <a:moveTo>
                  <a:pt x="955830" y="0"/>
                </a:moveTo>
                <a:cubicBezTo>
                  <a:pt x="1483720" y="0"/>
                  <a:pt x="1911660" y="427940"/>
                  <a:pt x="1911660" y="955830"/>
                </a:cubicBezTo>
                <a:cubicBezTo>
                  <a:pt x="1911660" y="1483720"/>
                  <a:pt x="1483720" y="1911660"/>
                  <a:pt x="955830" y="1911660"/>
                </a:cubicBezTo>
                <a:cubicBezTo>
                  <a:pt x="427940" y="1911660"/>
                  <a:pt x="0" y="1483720"/>
                  <a:pt x="0" y="955830"/>
                </a:cubicBezTo>
                <a:cubicBezTo>
                  <a:pt x="0" y="427940"/>
                  <a:pt x="427940" y="0"/>
                  <a:pt x="955830" y="0"/>
                </a:cubicBez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
        <p:nvSpPr>
          <p:cNvPr id="15" name="Picture Placeholder 14">
            <a:extLst>
              <a:ext uri="{FF2B5EF4-FFF2-40B4-BE49-F238E27FC236}">
                <a16:creationId xmlns:a16="http://schemas.microsoft.com/office/drawing/2014/main" id="{D228DFF4-14CD-4364-BC23-932EEA85A154}"/>
              </a:ext>
            </a:extLst>
          </p:cNvPr>
          <p:cNvSpPr>
            <a:spLocks noGrp="1"/>
          </p:cNvSpPr>
          <p:nvPr>
            <p:ph type="pic" sz="quarter" idx="17"/>
          </p:nvPr>
        </p:nvSpPr>
        <p:spPr>
          <a:xfrm>
            <a:off x="5618147" y="2745873"/>
            <a:ext cx="955706" cy="955830"/>
          </a:xfrm>
          <a:custGeom>
            <a:avLst/>
            <a:gdLst>
              <a:gd name="connsiteX0" fmla="*/ 955830 w 1911660"/>
              <a:gd name="connsiteY0" fmla="*/ 0 h 1911660"/>
              <a:gd name="connsiteX1" fmla="*/ 1911660 w 1911660"/>
              <a:gd name="connsiteY1" fmla="*/ 955830 h 1911660"/>
              <a:gd name="connsiteX2" fmla="*/ 955830 w 1911660"/>
              <a:gd name="connsiteY2" fmla="*/ 1911660 h 1911660"/>
              <a:gd name="connsiteX3" fmla="*/ 0 w 1911660"/>
              <a:gd name="connsiteY3" fmla="*/ 955830 h 1911660"/>
              <a:gd name="connsiteX4" fmla="*/ 955830 w 1911660"/>
              <a:gd name="connsiteY4" fmla="*/ 0 h 19116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1659" h="1911659">
                <a:moveTo>
                  <a:pt x="955830" y="0"/>
                </a:moveTo>
                <a:cubicBezTo>
                  <a:pt x="1483720" y="0"/>
                  <a:pt x="1911660" y="427940"/>
                  <a:pt x="1911660" y="955830"/>
                </a:cubicBezTo>
                <a:cubicBezTo>
                  <a:pt x="1911660" y="1483720"/>
                  <a:pt x="1483720" y="1911660"/>
                  <a:pt x="955830" y="1911660"/>
                </a:cubicBezTo>
                <a:cubicBezTo>
                  <a:pt x="427940" y="1911660"/>
                  <a:pt x="0" y="1483720"/>
                  <a:pt x="0" y="955830"/>
                </a:cubicBezTo>
                <a:cubicBezTo>
                  <a:pt x="0" y="427940"/>
                  <a:pt x="427940" y="0"/>
                  <a:pt x="955830" y="0"/>
                </a:cubicBez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
        <p:nvSpPr>
          <p:cNvPr id="16" name="Picture Placeholder 15">
            <a:extLst>
              <a:ext uri="{FF2B5EF4-FFF2-40B4-BE49-F238E27FC236}">
                <a16:creationId xmlns:a16="http://schemas.microsoft.com/office/drawing/2014/main" id="{005DBB6D-5C8B-4551-88AB-55D90B681B26}"/>
              </a:ext>
            </a:extLst>
          </p:cNvPr>
          <p:cNvSpPr>
            <a:spLocks noGrp="1"/>
          </p:cNvSpPr>
          <p:nvPr>
            <p:ph type="pic" sz="quarter" idx="18"/>
          </p:nvPr>
        </p:nvSpPr>
        <p:spPr>
          <a:xfrm>
            <a:off x="7853486" y="2745873"/>
            <a:ext cx="955705" cy="955830"/>
          </a:xfrm>
          <a:custGeom>
            <a:avLst/>
            <a:gdLst>
              <a:gd name="connsiteX0" fmla="*/ 955830 w 1911659"/>
              <a:gd name="connsiteY0" fmla="*/ 0 h 1911660"/>
              <a:gd name="connsiteX1" fmla="*/ 1911659 w 1911659"/>
              <a:gd name="connsiteY1" fmla="*/ 955830 h 1911660"/>
              <a:gd name="connsiteX2" fmla="*/ 955830 w 1911659"/>
              <a:gd name="connsiteY2" fmla="*/ 1911660 h 1911660"/>
              <a:gd name="connsiteX3" fmla="*/ 0 w 1911659"/>
              <a:gd name="connsiteY3" fmla="*/ 955830 h 1911660"/>
              <a:gd name="connsiteX4" fmla="*/ 955830 w 1911659"/>
              <a:gd name="connsiteY4" fmla="*/ 0 h 19116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1659" h="1911659">
                <a:moveTo>
                  <a:pt x="955830" y="0"/>
                </a:moveTo>
                <a:cubicBezTo>
                  <a:pt x="1483719" y="0"/>
                  <a:pt x="1911659" y="427940"/>
                  <a:pt x="1911659" y="955830"/>
                </a:cubicBezTo>
                <a:cubicBezTo>
                  <a:pt x="1911659" y="1483720"/>
                  <a:pt x="1483719" y="1911660"/>
                  <a:pt x="955830" y="1911660"/>
                </a:cubicBezTo>
                <a:cubicBezTo>
                  <a:pt x="427940" y="1911660"/>
                  <a:pt x="0" y="1483720"/>
                  <a:pt x="0" y="955830"/>
                </a:cubicBezTo>
                <a:cubicBezTo>
                  <a:pt x="0" y="427940"/>
                  <a:pt x="427940" y="0"/>
                  <a:pt x="955830" y="0"/>
                </a:cubicBez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
        <p:nvSpPr>
          <p:cNvPr id="17" name="Picture Placeholder 16">
            <a:extLst>
              <a:ext uri="{FF2B5EF4-FFF2-40B4-BE49-F238E27FC236}">
                <a16:creationId xmlns:a16="http://schemas.microsoft.com/office/drawing/2014/main" id="{2403ED0C-CEF4-4ED5-9432-B1D0EFE4B495}"/>
              </a:ext>
            </a:extLst>
          </p:cNvPr>
          <p:cNvSpPr>
            <a:spLocks noGrp="1"/>
          </p:cNvSpPr>
          <p:nvPr>
            <p:ph type="pic" sz="quarter" idx="19"/>
          </p:nvPr>
        </p:nvSpPr>
        <p:spPr>
          <a:xfrm>
            <a:off x="10088824" y="2745873"/>
            <a:ext cx="955706" cy="955830"/>
          </a:xfrm>
          <a:custGeom>
            <a:avLst/>
            <a:gdLst>
              <a:gd name="connsiteX0" fmla="*/ 955828 w 1911660"/>
              <a:gd name="connsiteY0" fmla="*/ 0 h 1911660"/>
              <a:gd name="connsiteX1" fmla="*/ 1911660 w 1911660"/>
              <a:gd name="connsiteY1" fmla="*/ 955830 h 1911660"/>
              <a:gd name="connsiteX2" fmla="*/ 955828 w 1911660"/>
              <a:gd name="connsiteY2" fmla="*/ 1911660 h 1911660"/>
              <a:gd name="connsiteX3" fmla="*/ 0 w 1911660"/>
              <a:gd name="connsiteY3" fmla="*/ 955830 h 1911660"/>
              <a:gd name="connsiteX4" fmla="*/ 955828 w 1911660"/>
              <a:gd name="connsiteY4" fmla="*/ 0 h 19116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1659" h="1911659">
                <a:moveTo>
                  <a:pt x="955828" y="0"/>
                </a:moveTo>
                <a:cubicBezTo>
                  <a:pt x="1483720" y="0"/>
                  <a:pt x="1911660" y="427940"/>
                  <a:pt x="1911660" y="955830"/>
                </a:cubicBezTo>
                <a:cubicBezTo>
                  <a:pt x="1911660" y="1483720"/>
                  <a:pt x="1483720" y="1911660"/>
                  <a:pt x="955828" y="1911660"/>
                </a:cubicBezTo>
                <a:cubicBezTo>
                  <a:pt x="427940" y="1911660"/>
                  <a:pt x="0" y="1483720"/>
                  <a:pt x="0" y="955830"/>
                </a:cubicBezTo>
                <a:cubicBezTo>
                  <a:pt x="0" y="427940"/>
                  <a:pt x="427940" y="0"/>
                  <a:pt x="955828" y="0"/>
                </a:cubicBez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Tree>
    <p:extLst>
      <p:ext uri="{BB962C8B-B14F-4D97-AF65-F5344CB8AC3E}">
        <p14:creationId xmlns:p14="http://schemas.microsoft.com/office/powerpoint/2010/main" val="4105939058"/>
      </p:ext>
    </p:extLst>
  </p:cSld>
  <p:clrMapOvr>
    <a:masterClrMapping/>
  </p:clrMapOvr>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ED8B4229-4B33-4A0A-AF4B-FF49C5161567}"/>
              </a:ext>
            </a:extLst>
          </p:cNvPr>
          <p:cNvSpPr>
            <a:spLocks noGrp="1"/>
          </p:cNvSpPr>
          <p:nvPr>
            <p:ph type="pic" sz="quarter" idx="13"/>
          </p:nvPr>
        </p:nvSpPr>
        <p:spPr>
          <a:xfrm>
            <a:off x="6096000" y="647700"/>
            <a:ext cx="6096000" cy="5524500"/>
          </a:xfrm>
          <a:custGeom>
            <a:avLst/>
            <a:gdLst>
              <a:gd name="connsiteX0" fmla="*/ 2264824 w 12193588"/>
              <a:gd name="connsiteY0" fmla="*/ 0 h 11049000"/>
              <a:gd name="connsiteX1" fmla="*/ 12193588 w 12193588"/>
              <a:gd name="connsiteY1" fmla="*/ 0 h 11049000"/>
              <a:gd name="connsiteX2" fmla="*/ 12193588 w 12193588"/>
              <a:gd name="connsiteY2" fmla="*/ 11049000 h 11049000"/>
              <a:gd name="connsiteX3" fmla="*/ 2264824 w 12193588"/>
              <a:gd name="connsiteY3" fmla="*/ 11049000 h 11049000"/>
              <a:gd name="connsiteX4" fmla="*/ 0 w 12193588"/>
              <a:gd name="connsiteY4" fmla="*/ 5524500 h 11049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3588" h="11049000">
                <a:moveTo>
                  <a:pt x="2264824" y="0"/>
                </a:moveTo>
                <a:lnTo>
                  <a:pt x="12193588" y="0"/>
                </a:lnTo>
                <a:lnTo>
                  <a:pt x="12193588" y="11049000"/>
                </a:lnTo>
                <a:lnTo>
                  <a:pt x="2264824" y="11049000"/>
                </a:lnTo>
                <a:lnTo>
                  <a:pt x="0" y="5524500"/>
                </a:lnTo>
                <a:close/>
              </a:path>
            </a:pathLst>
          </a:custGeom>
          <a:pattFill prst="pct60">
            <a:fgClr>
              <a:schemeClr val="bg1"/>
            </a:fgClr>
            <a:bgClr>
              <a:schemeClr val="bg1">
                <a:lumMod val="85000"/>
              </a:schemeClr>
            </a:bgClr>
          </a:pattFill>
          <a:effectLst>
            <a:outerShdw blurRad="711200" dist="863600" dir="10800000" sx="94000" sy="94000" algn="r" rotWithShape="0">
              <a:schemeClr val="accent1">
                <a:lumMod val="50000"/>
                <a:alpha val="63000"/>
              </a:schemeClr>
            </a:outerShdw>
          </a:effectLst>
        </p:spPr>
        <p:txBody>
          <a:bodyPr wrap="square" anchor="ctr">
            <a:noAutofit/>
          </a:bodyPr>
          <a:lstStyle>
            <a:lvl1pPr marL="0" indent="0" algn="ctr">
              <a:buFontTx/>
              <a:buNone/>
              <a:defRPr sz="1200"/>
            </a:lvl1pPr>
          </a:lstStyle>
          <a:p>
            <a:endParaRPr lang="en-US"/>
          </a:p>
        </p:txBody>
      </p:sp>
    </p:spTree>
    <p:extLst>
      <p:ext uri="{BB962C8B-B14F-4D97-AF65-F5344CB8AC3E}">
        <p14:creationId xmlns:p14="http://schemas.microsoft.com/office/powerpoint/2010/main" val="1355678476"/>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2" dur="1300" decel="100000"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1300" fill="hold"/>
                                        <p:tgtEl>
                                          <p:spTgt spid="12"/>
                                        </p:tgtEl>
                                        <p:attrNameLst>
                                          <p:attrName>ppt_x</p:attrName>
                                        </p:attrNameLst>
                                      </p:cBhvr>
                                      <p:tavLst>
                                        <p:tav tm="0">
                                          <p:val>
                                            <p:strVal val="1+#ppt_w/2"/>
                                          </p:val>
                                        </p:tav>
                                        <p:tav tm="100000">
                                          <p:val>
                                            <p:strVal val="#ppt_x"/>
                                          </p:val>
                                        </p:tav>
                                      </p:tavLst>
                                    </p:anim>
                                    <p:anim calcmode="lin" valueType="num">
                                      <p:cBhvr additive="base">
                                        <p:cTn id="8" dur="130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Lst>
  </p:timing>
</p:sldLayout>
</file>

<file path=ppt/slideLayouts/slideLayout275.xml><?xml version="1.0" encoding="utf-8"?>
<p:sldLayout xmlns:a="http://schemas.openxmlformats.org/drawingml/2006/main" xmlns:r="http://schemas.openxmlformats.org/officeDocument/2006/relationships" xmlns:p="http://schemas.openxmlformats.org/presentationml/2006/main">
  <p:cSld name="12_Custom Layout">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7A289BE9-3518-4572-9F36-A58461E16083}"/>
              </a:ext>
            </a:extLst>
          </p:cNvPr>
          <p:cNvSpPr>
            <a:spLocks noGrp="1"/>
          </p:cNvSpPr>
          <p:nvPr>
            <p:ph type="pic" sz="quarter" idx="15"/>
          </p:nvPr>
        </p:nvSpPr>
        <p:spPr>
          <a:xfrm>
            <a:off x="6515202" y="2960127"/>
            <a:ext cx="1368815" cy="937747"/>
          </a:xfrm>
          <a:custGeom>
            <a:avLst/>
            <a:gdLst>
              <a:gd name="connsiteX0" fmla="*/ 0 w 2737986"/>
              <a:gd name="connsiteY0" fmla="*/ 0 h 1875494"/>
              <a:gd name="connsiteX1" fmla="*/ 2737986 w 2737986"/>
              <a:gd name="connsiteY1" fmla="*/ 0 h 1875494"/>
              <a:gd name="connsiteX2" fmla="*/ 2737986 w 2737986"/>
              <a:gd name="connsiteY2" fmla="*/ 1875494 h 1875494"/>
              <a:gd name="connsiteX3" fmla="*/ 0 w 2737986"/>
              <a:gd name="connsiteY3" fmla="*/ 1875494 h 1875494"/>
            </a:gdLst>
            <a:ahLst/>
            <a:cxnLst>
              <a:cxn ang="0">
                <a:pos x="connsiteX0" y="connsiteY0"/>
              </a:cxn>
              <a:cxn ang="0">
                <a:pos x="connsiteX1" y="connsiteY1"/>
              </a:cxn>
              <a:cxn ang="0">
                <a:pos x="connsiteX2" y="connsiteY2"/>
              </a:cxn>
              <a:cxn ang="0">
                <a:pos x="connsiteX3" y="connsiteY3"/>
              </a:cxn>
            </a:cxnLst>
            <a:rect l="l" t="t" r="r" b="b"/>
            <a:pathLst>
              <a:path w="2737986" h="1875494">
                <a:moveTo>
                  <a:pt x="0" y="0"/>
                </a:moveTo>
                <a:lnTo>
                  <a:pt x="2737986" y="0"/>
                </a:lnTo>
                <a:lnTo>
                  <a:pt x="2737986" y="1875494"/>
                </a:lnTo>
                <a:lnTo>
                  <a:pt x="0" y="1875494"/>
                </a:ln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
        <p:nvSpPr>
          <p:cNvPr id="10" name="Picture Placeholder 9">
            <a:extLst>
              <a:ext uri="{FF2B5EF4-FFF2-40B4-BE49-F238E27FC236}">
                <a16:creationId xmlns:a16="http://schemas.microsoft.com/office/drawing/2014/main" id="{E9995F91-8D51-4FF1-A532-B0BD4F0276E7}"/>
              </a:ext>
            </a:extLst>
          </p:cNvPr>
          <p:cNvSpPr>
            <a:spLocks noGrp="1"/>
          </p:cNvSpPr>
          <p:nvPr>
            <p:ph type="pic" sz="quarter" idx="16"/>
          </p:nvPr>
        </p:nvSpPr>
        <p:spPr>
          <a:xfrm>
            <a:off x="7932999" y="2960127"/>
            <a:ext cx="1368815" cy="937747"/>
          </a:xfrm>
          <a:custGeom>
            <a:avLst/>
            <a:gdLst>
              <a:gd name="connsiteX0" fmla="*/ 0 w 2737986"/>
              <a:gd name="connsiteY0" fmla="*/ 0 h 1875494"/>
              <a:gd name="connsiteX1" fmla="*/ 2737986 w 2737986"/>
              <a:gd name="connsiteY1" fmla="*/ 0 h 1875494"/>
              <a:gd name="connsiteX2" fmla="*/ 2737986 w 2737986"/>
              <a:gd name="connsiteY2" fmla="*/ 1875494 h 1875494"/>
              <a:gd name="connsiteX3" fmla="*/ 0 w 2737986"/>
              <a:gd name="connsiteY3" fmla="*/ 1875494 h 1875494"/>
            </a:gdLst>
            <a:ahLst/>
            <a:cxnLst>
              <a:cxn ang="0">
                <a:pos x="connsiteX0" y="connsiteY0"/>
              </a:cxn>
              <a:cxn ang="0">
                <a:pos x="connsiteX1" y="connsiteY1"/>
              </a:cxn>
              <a:cxn ang="0">
                <a:pos x="connsiteX2" y="connsiteY2"/>
              </a:cxn>
              <a:cxn ang="0">
                <a:pos x="connsiteX3" y="connsiteY3"/>
              </a:cxn>
            </a:cxnLst>
            <a:rect l="l" t="t" r="r" b="b"/>
            <a:pathLst>
              <a:path w="2737986" h="1875494">
                <a:moveTo>
                  <a:pt x="0" y="0"/>
                </a:moveTo>
                <a:lnTo>
                  <a:pt x="2737986" y="0"/>
                </a:lnTo>
                <a:lnTo>
                  <a:pt x="2737986" y="1875494"/>
                </a:lnTo>
                <a:lnTo>
                  <a:pt x="0" y="1875494"/>
                </a:ln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
        <p:nvSpPr>
          <p:cNvPr id="11" name="Picture Placeholder 10">
            <a:extLst>
              <a:ext uri="{FF2B5EF4-FFF2-40B4-BE49-F238E27FC236}">
                <a16:creationId xmlns:a16="http://schemas.microsoft.com/office/drawing/2014/main" id="{EAC8D104-8DBC-47C1-B410-760C3B7EC2CF}"/>
              </a:ext>
            </a:extLst>
          </p:cNvPr>
          <p:cNvSpPr>
            <a:spLocks noGrp="1"/>
          </p:cNvSpPr>
          <p:nvPr>
            <p:ph type="pic" sz="quarter" idx="17"/>
          </p:nvPr>
        </p:nvSpPr>
        <p:spPr>
          <a:xfrm>
            <a:off x="9350798" y="2960127"/>
            <a:ext cx="1368814" cy="937747"/>
          </a:xfrm>
          <a:custGeom>
            <a:avLst/>
            <a:gdLst>
              <a:gd name="connsiteX0" fmla="*/ 0 w 2737984"/>
              <a:gd name="connsiteY0" fmla="*/ 0 h 1875494"/>
              <a:gd name="connsiteX1" fmla="*/ 2737984 w 2737984"/>
              <a:gd name="connsiteY1" fmla="*/ 0 h 1875494"/>
              <a:gd name="connsiteX2" fmla="*/ 2737984 w 2737984"/>
              <a:gd name="connsiteY2" fmla="*/ 1875494 h 1875494"/>
              <a:gd name="connsiteX3" fmla="*/ 0 w 2737984"/>
              <a:gd name="connsiteY3" fmla="*/ 1875494 h 1875494"/>
            </a:gdLst>
            <a:ahLst/>
            <a:cxnLst>
              <a:cxn ang="0">
                <a:pos x="connsiteX0" y="connsiteY0"/>
              </a:cxn>
              <a:cxn ang="0">
                <a:pos x="connsiteX1" y="connsiteY1"/>
              </a:cxn>
              <a:cxn ang="0">
                <a:pos x="connsiteX2" y="connsiteY2"/>
              </a:cxn>
              <a:cxn ang="0">
                <a:pos x="connsiteX3" y="connsiteY3"/>
              </a:cxn>
            </a:cxnLst>
            <a:rect l="l" t="t" r="r" b="b"/>
            <a:pathLst>
              <a:path w="2737984" h="1875494">
                <a:moveTo>
                  <a:pt x="0" y="0"/>
                </a:moveTo>
                <a:lnTo>
                  <a:pt x="2737984" y="0"/>
                </a:lnTo>
                <a:lnTo>
                  <a:pt x="2737984" y="1875494"/>
                </a:lnTo>
                <a:lnTo>
                  <a:pt x="0" y="1875494"/>
                </a:ln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Tree>
    <p:extLst>
      <p:ext uri="{BB962C8B-B14F-4D97-AF65-F5344CB8AC3E}">
        <p14:creationId xmlns:p14="http://schemas.microsoft.com/office/powerpoint/2010/main" val="2441258164"/>
      </p:ext>
    </p:extLst>
  </p:cSld>
  <p:clrMapOvr>
    <a:masterClrMapping/>
  </p:clrMapOvr>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userDrawn="1">
  <p:cSld name="13_Custom Layout">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A1483D13-6DD3-40B5-B94A-22A72B88E395}"/>
              </a:ext>
            </a:extLst>
          </p:cNvPr>
          <p:cNvSpPr>
            <a:spLocks noGrp="1"/>
          </p:cNvSpPr>
          <p:nvPr>
            <p:ph type="pic" sz="quarter" idx="15"/>
          </p:nvPr>
        </p:nvSpPr>
        <p:spPr>
          <a:xfrm>
            <a:off x="1538960" y="3617088"/>
            <a:ext cx="1281061" cy="1542737"/>
          </a:xfrm>
          <a:custGeom>
            <a:avLst/>
            <a:gdLst>
              <a:gd name="connsiteX0" fmla="*/ 0 w 2562456"/>
              <a:gd name="connsiteY0" fmla="*/ 0 h 3085473"/>
              <a:gd name="connsiteX1" fmla="*/ 2562456 w 2562456"/>
              <a:gd name="connsiteY1" fmla="*/ 0 h 3085473"/>
              <a:gd name="connsiteX2" fmla="*/ 2562456 w 2562456"/>
              <a:gd name="connsiteY2" fmla="*/ 3085473 h 3085473"/>
              <a:gd name="connsiteX3" fmla="*/ 0 w 2562456"/>
              <a:gd name="connsiteY3" fmla="*/ 3085473 h 3085473"/>
            </a:gdLst>
            <a:ahLst/>
            <a:cxnLst>
              <a:cxn ang="0">
                <a:pos x="connsiteX0" y="connsiteY0"/>
              </a:cxn>
              <a:cxn ang="0">
                <a:pos x="connsiteX1" y="connsiteY1"/>
              </a:cxn>
              <a:cxn ang="0">
                <a:pos x="connsiteX2" y="connsiteY2"/>
              </a:cxn>
              <a:cxn ang="0">
                <a:pos x="connsiteX3" y="connsiteY3"/>
              </a:cxn>
            </a:cxnLst>
            <a:rect l="l" t="t" r="r" b="b"/>
            <a:pathLst>
              <a:path w="2562456" h="3085473">
                <a:moveTo>
                  <a:pt x="0" y="0"/>
                </a:moveTo>
                <a:lnTo>
                  <a:pt x="2562456" y="0"/>
                </a:lnTo>
                <a:lnTo>
                  <a:pt x="2562456" y="3085473"/>
                </a:lnTo>
                <a:lnTo>
                  <a:pt x="0" y="3085473"/>
                </a:ln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
        <p:nvSpPr>
          <p:cNvPr id="11" name="Picture Placeholder 10">
            <a:extLst>
              <a:ext uri="{FF2B5EF4-FFF2-40B4-BE49-F238E27FC236}">
                <a16:creationId xmlns:a16="http://schemas.microsoft.com/office/drawing/2014/main" id="{C223C6C0-40B2-4B91-8B1C-E3376A7BC535}"/>
              </a:ext>
            </a:extLst>
          </p:cNvPr>
          <p:cNvSpPr>
            <a:spLocks noGrp="1"/>
          </p:cNvSpPr>
          <p:nvPr>
            <p:ph type="pic" sz="quarter" idx="16"/>
          </p:nvPr>
        </p:nvSpPr>
        <p:spPr>
          <a:xfrm>
            <a:off x="5949199" y="503585"/>
            <a:ext cx="1869580" cy="1855686"/>
          </a:xfrm>
          <a:custGeom>
            <a:avLst/>
            <a:gdLst>
              <a:gd name="connsiteX0" fmla="*/ 0 w 3739647"/>
              <a:gd name="connsiteY0" fmla="*/ 0 h 3711371"/>
              <a:gd name="connsiteX1" fmla="*/ 3739647 w 3739647"/>
              <a:gd name="connsiteY1" fmla="*/ 0 h 3711371"/>
              <a:gd name="connsiteX2" fmla="*/ 3739647 w 3739647"/>
              <a:gd name="connsiteY2" fmla="*/ 3711371 h 3711371"/>
              <a:gd name="connsiteX3" fmla="*/ 0 w 3739647"/>
              <a:gd name="connsiteY3" fmla="*/ 3711371 h 3711371"/>
            </a:gdLst>
            <a:ahLst/>
            <a:cxnLst>
              <a:cxn ang="0">
                <a:pos x="connsiteX0" y="connsiteY0"/>
              </a:cxn>
              <a:cxn ang="0">
                <a:pos x="connsiteX1" y="connsiteY1"/>
              </a:cxn>
              <a:cxn ang="0">
                <a:pos x="connsiteX2" y="connsiteY2"/>
              </a:cxn>
              <a:cxn ang="0">
                <a:pos x="connsiteX3" y="connsiteY3"/>
              </a:cxn>
            </a:cxnLst>
            <a:rect l="l" t="t" r="r" b="b"/>
            <a:pathLst>
              <a:path w="3739647" h="3711371">
                <a:moveTo>
                  <a:pt x="0" y="0"/>
                </a:moveTo>
                <a:lnTo>
                  <a:pt x="3739647" y="0"/>
                </a:lnTo>
                <a:lnTo>
                  <a:pt x="3739647" y="3711371"/>
                </a:lnTo>
                <a:lnTo>
                  <a:pt x="0" y="3711371"/>
                </a:ln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
        <p:nvSpPr>
          <p:cNvPr id="12" name="Picture Placeholder 11">
            <a:extLst>
              <a:ext uri="{FF2B5EF4-FFF2-40B4-BE49-F238E27FC236}">
                <a16:creationId xmlns:a16="http://schemas.microsoft.com/office/drawing/2014/main" id="{D0AAA611-0D8A-4CBD-84B9-375447BB51AB}"/>
              </a:ext>
            </a:extLst>
          </p:cNvPr>
          <p:cNvSpPr>
            <a:spLocks noGrp="1"/>
          </p:cNvSpPr>
          <p:nvPr>
            <p:ph type="pic" sz="quarter" idx="17"/>
          </p:nvPr>
        </p:nvSpPr>
        <p:spPr>
          <a:xfrm>
            <a:off x="5570055" y="4461938"/>
            <a:ext cx="1869580" cy="1084781"/>
          </a:xfrm>
          <a:custGeom>
            <a:avLst/>
            <a:gdLst>
              <a:gd name="connsiteX0" fmla="*/ 0 w 3739647"/>
              <a:gd name="connsiteY0" fmla="*/ 0 h 2169562"/>
              <a:gd name="connsiteX1" fmla="*/ 3739647 w 3739647"/>
              <a:gd name="connsiteY1" fmla="*/ 0 h 2169562"/>
              <a:gd name="connsiteX2" fmla="*/ 3739647 w 3739647"/>
              <a:gd name="connsiteY2" fmla="*/ 2169562 h 2169562"/>
              <a:gd name="connsiteX3" fmla="*/ 0 w 3739647"/>
              <a:gd name="connsiteY3" fmla="*/ 2169562 h 2169562"/>
            </a:gdLst>
            <a:ahLst/>
            <a:cxnLst>
              <a:cxn ang="0">
                <a:pos x="connsiteX0" y="connsiteY0"/>
              </a:cxn>
              <a:cxn ang="0">
                <a:pos x="connsiteX1" y="connsiteY1"/>
              </a:cxn>
              <a:cxn ang="0">
                <a:pos x="connsiteX2" y="connsiteY2"/>
              </a:cxn>
              <a:cxn ang="0">
                <a:pos x="connsiteX3" y="connsiteY3"/>
              </a:cxn>
            </a:cxnLst>
            <a:rect l="l" t="t" r="r" b="b"/>
            <a:pathLst>
              <a:path w="3739647" h="2169562">
                <a:moveTo>
                  <a:pt x="0" y="0"/>
                </a:moveTo>
                <a:lnTo>
                  <a:pt x="3739647" y="0"/>
                </a:lnTo>
                <a:lnTo>
                  <a:pt x="3739647" y="2169562"/>
                </a:lnTo>
                <a:lnTo>
                  <a:pt x="0" y="2169562"/>
                </a:ln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
        <p:nvSpPr>
          <p:cNvPr id="13" name="Picture Placeholder 12">
            <a:extLst>
              <a:ext uri="{FF2B5EF4-FFF2-40B4-BE49-F238E27FC236}">
                <a16:creationId xmlns:a16="http://schemas.microsoft.com/office/drawing/2014/main" id="{9EE5DA75-D57A-445B-800D-4D886BEE4E5A}"/>
              </a:ext>
            </a:extLst>
          </p:cNvPr>
          <p:cNvSpPr>
            <a:spLocks noGrp="1"/>
          </p:cNvSpPr>
          <p:nvPr>
            <p:ph type="pic" sz="quarter" idx="18"/>
          </p:nvPr>
        </p:nvSpPr>
        <p:spPr>
          <a:xfrm>
            <a:off x="8314024" y="3731007"/>
            <a:ext cx="1231893" cy="1205416"/>
          </a:xfrm>
          <a:custGeom>
            <a:avLst/>
            <a:gdLst>
              <a:gd name="connsiteX0" fmla="*/ 0 w 2464106"/>
              <a:gd name="connsiteY0" fmla="*/ 0 h 2410831"/>
              <a:gd name="connsiteX1" fmla="*/ 2464106 w 2464106"/>
              <a:gd name="connsiteY1" fmla="*/ 0 h 2410831"/>
              <a:gd name="connsiteX2" fmla="*/ 2464106 w 2464106"/>
              <a:gd name="connsiteY2" fmla="*/ 2410831 h 2410831"/>
              <a:gd name="connsiteX3" fmla="*/ 0 w 2464106"/>
              <a:gd name="connsiteY3" fmla="*/ 2410831 h 2410831"/>
            </a:gdLst>
            <a:ahLst/>
            <a:cxnLst>
              <a:cxn ang="0">
                <a:pos x="connsiteX0" y="connsiteY0"/>
              </a:cxn>
              <a:cxn ang="0">
                <a:pos x="connsiteX1" y="connsiteY1"/>
              </a:cxn>
              <a:cxn ang="0">
                <a:pos x="connsiteX2" y="connsiteY2"/>
              </a:cxn>
              <a:cxn ang="0">
                <a:pos x="connsiteX3" y="connsiteY3"/>
              </a:cxn>
            </a:cxnLst>
            <a:rect l="l" t="t" r="r" b="b"/>
            <a:pathLst>
              <a:path w="2464106" h="2410831">
                <a:moveTo>
                  <a:pt x="0" y="0"/>
                </a:moveTo>
                <a:lnTo>
                  <a:pt x="2464106" y="0"/>
                </a:lnTo>
                <a:lnTo>
                  <a:pt x="2464106" y="2410831"/>
                </a:lnTo>
                <a:lnTo>
                  <a:pt x="0" y="2410831"/>
                </a:ln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Tree>
    <p:extLst>
      <p:ext uri="{BB962C8B-B14F-4D97-AF65-F5344CB8AC3E}">
        <p14:creationId xmlns:p14="http://schemas.microsoft.com/office/powerpoint/2010/main" val="320400354"/>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10" presetClass="entr" presetSubtype="0" dur="30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300"/>
                                        <p:tgtEl>
                                          <p:spTgt spid="10"/>
                                        </p:tgtEl>
                                      </p:cBhvr>
                                    </p:animEffect>
                                  </p:childTnLst>
                                </p:cTn>
                              </p:par>
                              <p:par>
                                <p:cTn id="8" presetID="10" presetClass="entr" presetSubtype="0" dur="300" fill="hold" grpId="0" nodeType="withEffect">
                                  <p:stCondLst>
                                    <p:cond delay="30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300"/>
                                        <p:tgtEl>
                                          <p:spTgt spid="12"/>
                                        </p:tgtEl>
                                      </p:cBhvr>
                                    </p:animEffect>
                                  </p:childTnLst>
                                </p:cTn>
                              </p:par>
                              <p:par>
                                <p:cTn id="11" presetID="10" presetClass="entr" presetSubtype="0" dur="300" fill="hold" grpId="0" nodeType="withEffect">
                                  <p:stCondLst>
                                    <p:cond delay="600"/>
                                  </p:stCondLst>
                                  <p:childTnLst>
                                    <p:set>
                                      <p:cBhvr>
                                        <p:cTn id="12" dur="1" fill="hold">
                                          <p:stCondLst>
                                            <p:cond delay="0"/>
                                          </p:stCondLst>
                                        </p:cTn>
                                        <p:tgtEl>
                                          <p:spTgt spid="11"/>
                                        </p:tgtEl>
                                        <p:attrNameLst>
                                          <p:attrName>style.visibility</p:attrName>
                                        </p:attrNameLst>
                                      </p:cBhvr>
                                      <p:to>
                                        <p:strVal val="visible"/>
                                      </p:to>
                                    </p:set>
                                    <p:animEffect transition="in" filter="fade">
                                      <p:cBhvr>
                                        <p:cTn id="13" dur="300"/>
                                        <p:tgtEl>
                                          <p:spTgt spid="11"/>
                                        </p:tgtEl>
                                      </p:cBhvr>
                                    </p:animEffect>
                                  </p:childTnLst>
                                </p:cTn>
                              </p:par>
                              <p:par>
                                <p:cTn id="14" presetID="10" presetClass="entr" presetSubtype="0" dur="300" fill="hold" grpId="0" nodeType="withEffect">
                                  <p:stCondLst>
                                    <p:cond delay="900"/>
                                  </p:stCondLst>
                                  <p:childTnLst>
                                    <p:set>
                                      <p:cBhvr>
                                        <p:cTn id="15" dur="1" fill="hold">
                                          <p:stCondLst>
                                            <p:cond delay="0"/>
                                          </p:stCondLst>
                                        </p:cTn>
                                        <p:tgtEl>
                                          <p:spTgt spid="13"/>
                                        </p:tgtEl>
                                        <p:attrNameLst>
                                          <p:attrName>style.visibility</p:attrName>
                                        </p:attrNameLst>
                                      </p:cBhvr>
                                      <p:to>
                                        <p:strVal val="visible"/>
                                      </p:to>
                                    </p:set>
                                    <p:animEffect transition="in" filter="fade">
                                      <p:cBhvr>
                                        <p:cTn id="16" dur="3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3" grpId="0" animBg="1"/>
    </p:bldLst>
  </p:timing>
</p:sldLayout>
</file>

<file path=ppt/slideLayouts/slideLayout277.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2" name="Picture Placeholder 7">
            <a:extLst>
              <a:ext uri="{FF2B5EF4-FFF2-40B4-BE49-F238E27FC236}">
                <a16:creationId xmlns:a16="http://schemas.microsoft.com/office/drawing/2014/main" id="{9BE362C5-03AE-447C-8B47-3D5F40463679}"/>
              </a:ext>
            </a:extLst>
          </p:cNvPr>
          <p:cNvSpPr>
            <a:spLocks noGrp="1"/>
          </p:cNvSpPr>
          <p:nvPr>
            <p:ph type="pic" sz="quarter" idx="15"/>
          </p:nvPr>
        </p:nvSpPr>
        <p:spPr>
          <a:xfrm>
            <a:off x="0" y="0"/>
            <a:ext cx="12192000" cy="6858000"/>
          </a:xfrm>
          <a:custGeom>
            <a:avLst/>
            <a:gdLst>
              <a:gd name="connsiteX0" fmla="*/ 0 w 10345056"/>
              <a:gd name="connsiteY0" fmla="*/ 0 h 10610851"/>
              <a:gd name="connsiteX1" fmla="*/ 10345056 w 10345056"/>
              <a:gd name="connsiteY1" fmla="*/ 0 h 10610851"/>
              <a:gd name="connsiteX2" fmla="*/ 10345056 w 10345056"/>
              <a:gd name="connsiteY2" fmla="*/ 10610851 h 10610851"/>
              <a:gd name="connsiteX3" fmla="*/ 0 w 10345056"/>
              <a:gd name="connsiteY3" fmla="*/ 10610851 h 10610851"/>
            </a:gdLst>
            <a:ahLst/>
            <a:cxnLst>
              <a:cxn ang="0">
                <a:pos x="connsiteX0" y="connsiteY0"/>
              </a:cxn>
              <a:cxn ang="0">
                <a:pos x="connsiteX1" y="connsiteY1"/>
              </a:cxn>
              <a:cxn ang="0">
                <a:pos x="connsiteX2" y="connsiteY2"/>
              </a:cxn>
              <a:cxn ang="0">
                <a:pos x="connsiteX3" y="connsiteY3"/>
              </a:cxn>
            </a:cxnLst>
            <a:rect l="l" t="t" r="r" b="b"/>
            <a:pathLst>
              <a:path w="10345056" h="10610851">
                <a:moveTo>
                  <a:pt x="0" y="0"/>
                </a:moveTo>
                <a:lnTo>
                  <a:pt x="10345056" y="0"/>
                </a:lnTo>
                <a:lnTo>
                  <a:pt x="10345056" y="10610851"/>
                </a:lnTo>
                <a:lnTo>
                  <a:pt x="0" y="10610851"/>
                </a:lnTo>
                <a:close/>
              </a:path>
            </a:pathLst>
          </a:custGeom>
          <a:blipFill dpi="0" rotWithShape="1">
            <a:blip r:embed="rId2"/>
            <a:stretch>
              <a:fillRect/>
            </a:stretch>
          </a:blipFill>
          <a:effectLst/>
        </p:spPr>
        <p:txBody>
          <a:bodyPr wrap="square" anchor="ctr">
            <a:noAutofit/>
          </a:bodyPr>
          <a:lstStyle>
            <a:lvl1pPr marL="0" indent="0" algn="ctr">
              <a:buFontTx/>
              <a:buNone/>
              <a:defRPr sz="1200"/>
            </a:lvl1pPr>
          </a:lstStyle>
          <a:p>
            <a:endParaRPr lang="en-US"/>
          </a:p>
        </p:txBody>
      </p:sp>
    </p:spTree>
    <p:extLst>
      <p:ext uri="{BB962C8B-B14F-4D97-AF65-F5344CB8AC3E}">
        <p14:creationId xmlns:p14="http://schemas.microsoft.com/office/powerpoint/2010/main" val="3586479784"/>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4" dur="2000" decel="10000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2000" fill="hold"/>
                                        <p:tgtEl>
                                          <p:spTgt spid="2"/>
                                        </p:tgtEl>
                                        <p:attrNameLst>
                                          <p:attrName>ppt_x</p:attrName>
                                        </p:attrNameLst>
                                      </p:cBhvr>
                                      <p:tavLst>
                                        <p:tav tm="0">
                                          <p:val>
                                            <p:strVal val="#ppt_x"/>
                                          </p:val>
                                        </p:tav>
                                        <p:tav tm="100000">
                                          <p:val>
                                            <p:strVal val="#ppt_x"/>
                                          </p:val>
                                        </p:tav>
                                      </p:tavLst>
                                    </p:anim>
                                    <p:anim calcmode="lin" valueType="num">
                                      <p:cBhvr additive="base">
                                        <p:cTn id="8" dur="2000" fill="hold"/>
                                        <p:tgtEl>
                                          <p:spTgt spid="2"/>
                                        </p:tgtEl>
                                        <p:attrNameLst>
                                          <p:attrName>ppt_y</p:attrName>
                                        </p:attrNameLst>
                                      </p:cBhvr>
                                      <p:tavLst>
                                        <p:tav tm="0">
                                          <p:val>
                                            <p:strVal val="1+#ppt_h/2"/>
                                          </p:val>
                                        </p:tav>
                                        <p:tav tm="100000">
                                          <p:val>
                                            <p:strVal val="#ppt_y"/>
                                          </p:val>
                                        </p:tav>
                                      </p:tavLst>
                                    </p:anim>
                                  </p:childTnLst>
                                </p:cTn>
                              </p:par>
                              <p:par>
                                <p:cTn id="9" presetID="6" presetClass="emph" presetSubtype="0" dur="500" accel="100000" fill="hold" grpId="1" nodeType="withEffect">
                                  <p:stCondLst>
                                    <p:cond delay="2000"/>
                                  </p:stCondLst>
                                  <p:childTnLst>
                                    <p:animScale>
                                      <p:cBhvr>
                                        <p:cTn id="10" dur="500" fill="hold"/>
                                        <p:tgtEl>
                                          <p:spTgt spid="2"/>
                                        </p:tgtEl>
                                      </p:cBhvr>
                                      <p:by x="90000" y="9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Lst>
  </p:timing>
</p:sldLayout>
</file>

<file path=ppt/slideLayouts/slideLayout278.xml><?xml version="1.0" encoding="utf-8"?>
<p:sldLayout xmlns:a="http://schemas.openxmlformats.org/drawingml/2006/main" xmlns:r="http://schemas.openxmlformats.org/officeDocument/2006/relationships" xmlns:p="http://schemas.openxmlformats.org/presentationml/2006/main" userDrawn="1">
  <p:cSld name="7_Custom Layout">
    <p:spTree>
      <p:nvGrpSpPr>
        <p:cNvPr id="1" name=""/>
        <p:cNvGrpSpPr/>
        <p:nvPr/>
      </p:nvGrpSpPr>
      <p:grpSpPr>
        <a:xfrm>
          <a:off x="0" y="0"/>
          <a:ext cx="0" cy="0"/>
          <a:chOff x="0" y="0"/>
          <a:chExt cx="0" cy="0"/>
        </a:xfrm>
      </p:grpSpPr>
      <p:sp>
        <p:nvSpPr>
          <p:cNvPr id="2" name="Picture Placeholder 75">
            <a:extLst>
              <a:ext uri="{FF2B5EF4-FFF2-40B4-BE49-F238E27FC236}">
                <a16:creationId xmlns:a16="http://schemas.microsoft.com/office/drawing/2014/main" id="{35C81404-E27E-4F36-A623-E57FC83C04C2}"/>
              </a:ext>
            </a:extLst>
          </p:cNvPr>
          <p:cNvSpPr>
            <a:spLocks noGrp="1"/>
          </p:cNvSpPr>
          <p:nvPr>
            <p:ph type="pic" sz="quarter" idx="24"/>
          </p:nvPr>
        </p:nvSpPr>
        <p:spPr>
          <a:xfrm>
            <a:off x="2960575" y="2512573"/>
            <a:ext cx="3973245" cy="2235242"/>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tx1">
              <a:alpha val="4000"/>
            </a:schemeClr>
          </a:solidFill>
          <a:effectLst>
            <a:outerShdw blurRad="876300" dist="787400" dir="2400000" algn="ctr" rotWithShape="0">
              <a:schemeClr val="tx1">
                <a:alpha val="34000"/>
              </a:schemeClr>
            </a:outerShdw>
          </a:effectLst>
          <a:scene3d>
            <a:camera prst="orthographicFront">
              <a:rot lat="19848000" lon="3234000" rev="17862000"/>
            </a:camera>
            <a:lightRig rig="soft" dir="t"/>
          </a:scene3d>
          <a:sp3d extrusionH="95250" prstMaterial="plastic"/>
        </p:spPr>
        <p:txBody>
          <a:bodyPr wrap="square" anchor="ctr">
            <a:noAutofit/>
          </a:bodyPr>
          <a:lstStyle>
            <a:lvl1pPr algn="ctr">
              <a:defRPr/>
            </a:lvl1pPr>
          </a:lstStyle>
          <a:p>
            <a:endParaRPr lang="en-US"/>
          </a:p>
        </p:txBody>
      </p:sp>
      <p:sp>
        <p:nvSpPr>
          <p:cNvPr id="3" name="Picture Placeholder 75">
            <a:extLst>
              <a:ext uri="{FF2B5EF4-FFF2-40B4-BE49-F238E27FC236}">
                <a16:creationId xmlns:a16="http://schemas.microsoft.com/office/drawing/2014/main" id="{B73DCDD3-849B-48E9-9914-DC8C6C493025}"/>
              </a:ext>
            </a:extLst>
          </p:cNvPr>
          <p:cNvSpPr>
            <a:spLocks noGrp="1"/>
          </p:cNvSpPr>
          <p:nvPr>
            <p:ph type="pic" sz="quarter" idx="25"/>
          </p:nvPr>
        </p:nvSpPr>
        <p:spPr>
          <a:xfrm>
            <a:off x="-177423" y="2845786"/>
            <a:ext cx="3973245" cy="2235242"/>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tx1">
              <a:alpha val="4000"/>
            </a:schemeClr>
          </a:solidFill>
          <a:effectLst>
            <a:outerShdw blurRad="876300" dist="787400" dir="2400000" algn="ctr" rotWithShape="0">
              <a:schemeClr val="tx1">
                <a:alpha val="34000"/>
              </a:schemeClr>
            </a:outerShdw>
          </a:effectLst>
          <a:scene3d>
            <a:camera prst="orthographicFront">
              <a:rot lat="19848000" lon="3234000" rev="17862000"/>
            </a:camera>
            <a:lightRig rig="soft" dir="t"/>
          </a:scene3d>
          <a:sp3d extrusionH="95250" prstMaterial="plastic"/>
        </p:spPr>
        <p:txBody>
          <a:bodyPr wrap="square" anchor="ctr">
            <a:noAutofit/>
          </a:bodyPr>
          <a:lstStyle>
            <a:lvl1pPr algn="ctr">
              <a:defRPr/>
            </a:lvl1pPr>
          </a:lstStyle>
          <a:p>
            <a:endParaRPr lang="en-US"/>
          </a:p>
        </p:txBody>
      </p:sp>
      <p:sp>
        <p:nvSpPr>
          <p:cNvPr id="4" name="Picture Placeholder 75">
            <a:extLst>
              <a:ext uri="{FF2B5EF4-FFF2-40B4-BE49-F238E27FC236}">
                <a16:creationId xmlns:a16="http://schemas.microsoft.com/office/drawing/2014/main" id="{8083A199-38E5-4ACB-BD72-CEC6E71018D7}"/>
              </a:ext>
            </a:extLst>
          </p:cNvPr>
          <p:cNvSpPr>
            <a:spLocks noGrp="1"/>
          </p:cNvSpPr>
          <p:nvPr>
            <p:ph type="pic" sz="quarter" idx="26"/>
          </p:nvPr>
        </p:nvSpPr>
        <p:spPr>
          <a:xfrm>
            <a:off x="2480191" y="4288872"/>
            <a:ext cx="3973245" cy="2235242"/>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tx1">
              <a:alpha val="4000"/>
            </a:schemeClr>
          </a:solidFill>
          <a:effectLst>
            <a:outerShdw blurRad="876300" dist="787400" dir="2400000" algn="ctr" rotWithShape="0">
              <a:schemeClr val="tx1">
                <a:alpha val="34000"/>
              </a:schemeClr>
            </a:outerShdw>
          </a:effectLst>
          <a:scene3d>
            <a:camera prst="orthographicFront">
              <a:rot lat="19848000" lon="3234000" rev="17862000"/>
            </a:camera>
            <a:lightRig rig="soft" dir="t"/>
          </a:scene3d>
          <a:sp3d extrusionH="95250" prstMaterial="plastic"/>
        </p:spPr>
        <p:txBody>
          <a:bodyPr wrap="square" anchor="ctr">
            <a:noAutofit/>
          </a:bodyPr>
          <a:lstStyle>
            <a:lvl1pPr algn="ctr">
              <a:defRPr/>
            </a:lvl1pPr>
          </a:lstStyle>
          <a:p>
            <a:endParaRPr lang="en-US"/>
          </a:p>
        </p:txBody>
      </p:sp>
      <p:sp>
        <p:nvSpPr>
          <p:cNvPr id="7" name="Picture Placeholder 75">
            <a:extLst>
              <a:ext uri="{FF2B5EF4-FFF2-40B4-BE49-F238E27FC236}">
                <a16:creationId xmlns:a16="http://schemas.microsoft.com/office/drawing/2014/main" id="{30F15E57-04C6-4909-ACB4-7ACAA591DE37}"/>
              </a:ext>
            </a:extLst>
          </p:cNvPr>
          <p:cNvSpPr>
            <a:spLocks noGrp="1"/>
          </p:cNvSpPr>
          <p:nvPr>
            <p:ph type="pic" sz="quarter" idx="29"/>
          </p:nvPr>
        </p:nvSpPr>
        <p:spPr>
          <a:xfrm>
            <a:off x="-3446134" y="3087109"/>
            <a:ext cx="3973245" cy="2235242"/>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tx1">
              <a:alpha val="4000"/>
            </a:schemeClr>
          </a:solidFill>
          <a:effectLst>
            <a:outerShdw blurRad="876300" dist="787400" dir="2400000" algn="ctr" rotWithShape="0">
              <a:schemeClr val="tx1">
                <a:alpha val="34000"/>
              </a:schemeClr>
            </a:outerShdw>
          </a:effectLst>
          <a:scene3d>
            <a:camera prst="orthographicFront">
              <a:rot lat="19848000" lon="3234000" rev="17862000"/>
            </a:camera>
            <a:lightRig rig="soft" dir="t"/>
          </a:scene3d>
          <a:sp3d extrusionH="95250" prstMaterial="plastic"/>
        </p:spPr>
        <p:txBody>
          <a:bodyPr wrap="square" anchor="ctr">
            <a:noAutofit/>
          </a:bodyPr>
          <a:lstStyle>
            <a:lvl1pPr algn="ctr">
              <a:defRPr/>
            </a:lvl1pPr>
          </a:lstStyle>
          <a:p>
            <a:endParaRPr lang="en-US"/>
          </a:p>
        </p:txBody>
      </p:sp>
      <p:sp>
        <p:nvSpPr>
          <p:cNvPr id="5" name="Picture Placeholder 75">
            <a:extLst>
              <a:ext uri="{FF2B5EF4-FFF2-40B4-BE49-F238E27FC236}">
                <a16:creationId xmlns:a16="http://schemas.microsoft.com/office/drawing/2014/main" id="{86FBEEA4-D851-4A6C-878E-E42016D4A514}"/>
              </a:ext>
            </a:extLst>
          </p:cNvPr>
          <p:cNvSpPr>
            <a:spLocks noGrp="1"/>
          </p:cNvSpPr>
          <p:nvPr>
            <p:ph type="pic" sz="quarter" idx="27"/>
          </p:nvPr>
        </p:nvSpPr>
        <p:spPr>
          <a:xfrm>
            <a:off x="-805022" y="4557089"/>
            <a:ext cx="3973245" cy="2235242"/>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tx1">
              <a:alpha val="4000"/>
            </a:schemeClr>
          </a:solidFill>
          <a:effectLst>
            <a:outerShdw blurRad="876300" dist="787400" dir="2400000" algn="ctr" rotWithShape="0">
              <a:schemeClr val="tx1">
                <a:alpha val="34000"/>
              </a:schemeClr>
            </a:outerShdw>
          </a:effectLst>
          <a:scene3d>
            <a:camera prst="orthographicFront">
              <a:rot lat="19848000" lon="3234000" rev="17862000"/>
            </a:camera>
            <a:lightRig rig="soft" dir="t"/>
          </a:scene3d>
          <a:sp3d extrusionH="95250" prstMaterial="plastic"/>
        </p:spPr>
        <p:txBody>
          <a:bodyPr wrap="square" anchor="ctr">
            <a:noAutofit/>
          </a:bodyPr>
          <a:lstStyle>
            <a:lvl1pPr algn="ctr">
              <a:defRPr/>
            </a:lvl1pPr>
          </a:lstStyle>
          <a:p>
            <a:endParaRPr lang="en-US"/>
          </a:p>
        </p:txBody>
      </p:sp>
      <p:sp>
        <p:nvSpPr>
          <p:cNvPr id="6" name="Picture Placeholder 75">
            <a:extLst>
              <a:ext uri="{FF2B5EF4-FFF2-40B4-BE49-F238E27FC236}">
                <a16:creationId xmlns:a16="http://schemas.microsoft.com/office/drawing/2014/main" id="{204CD476-3BC2-488C-9229-A7DD254475EA}"/>
              </a:ext>
            </a:extLst>
          </p:cNvPr>
          <p:cNvSpPr>
            <a:spLocks noGrp="1"/>
          </p:cNvSpPr>
          <p:nvPr>
            <p:ph type="pic" sz="quarter" idx="28"/>
          </p:nvPr>
        </p:nvSpPr>
        <p:spPr>
          <a:xfrm>
            <a:off x="1840192" y="5995429"/>
            <a:ext cx="3973245" cy="2235242"/>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tx1">
              <a:alpha val="4000"/>
            </a:schemeClr>
          </a:solidFill>
          <a:effectLst>
            <a:outerShdw blurRad="876300" dist="787400" dir="2400000" algn="ctr" rotWithShape="0">
              <a:schemeClr val="tx1">
                <a:alpha val="34000"/>
              </a:schemeClr>
            </a:outerShdw>
          </a:effectLst>
          <a:scene3d>
            <a:camera prst="orthographicFront">
              <a:rot lat="19848000" lon="3234000" rev="17862000"/>
            </a:camera>
            <a:lightRig rig="soft" dir="t"/>
          </a:scene3d>
          <a:sp3d extrusionH="95250" prstMaterial="plastic"/>
        </p:spPr>
        <p:txBody>
          <a:bodyPr wrap="square" anchor="ctr">
            <a:noAutofit/>
          </a:bodyPr>
          <a:lstStyle>
            <a:lvl1pPr algn="ctr">
              <a:defRPr/>
            </a:lvl1pPr>
          </a:lstStyle>
          <a:p>
            <a:endParaRPr lang="en-US"/>
          </a:p>
        </p:txBody>
      </p:sp>
    </p:spTree>
    <p:extLst>
      <p:ext uri="{BB962C8B-B14F-4D97-AF65-F5344CB8AC3E}">
        <p14:creationId xmlns:p14="http://schemas.microsoft.com/office/powerpoint/2010/main" val="3644388158"/>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12" dur="1500" decel="100000" fill="hold" grpId="0" nodeType="withEffect">
                                  <p:stCondLst>
                                    <p:cond delay="60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500" fill="hold"/>
                                        <p:tgtEl>
                                          <p:spTgt spid="2"/>
                                        </p:tgtEl>
                                        <p:attrNameLst>
                                          <p:attrName>ppt_x</p:attrName>
                                        </p:attrNameLst>
                                      </p:cBhvr>
                                      <p:tavLst>
                                        <p:tav tm="0">
                                          <p:val>
                                            <p:strVal val="0-#ppt_w/2"/>
                                          </p:val>
                                        </p:tav>
                                        <p:tav tm="100000">
                                          <p:val>
                                            <p:strVal val="#ppt_x"/>
                                          </p:val>
                                        </p:tav>
                                      </p:tavLst>
                                    </p:anim>
                                    <p:anim calcmode="lin" valueType="num">
                                      <p:cBhvr additive="base">
                                        <p:cTn id="8" dur="1500" fill="hold"/>
                                        <p:tgtEl>
                                          <p:spTgt spid="2"/>
                                        </p:tgtEl>
                                        <p:attrNameLst>
                                          <p:attrName>ppt_y</p:attrName>
                                        </p:attrNameLst>
                                      </p:cBhvr>
                                      <p:tavLst>
                                        <p:tav tm="0">
                                          <p:val>
                                            <p:strVal val="1+#ppt_h/2"/>
                                          </p:val>
                                        </p:tav>
                                        <p:tav tm="100000">
                                          <p:val>
                                            <p:strVal val="#ppt_y"/>
                                          </p:val>
                                        </p:tav>
                                      </p:tavLst>
                                    </p:anim>
                                  </p:childTnLst>
                                </p:cTn>
                              </p:par>
                              <p:par>
                                <p:cTn id="9" presetID="2" presetClass="entr" presetSubtype="12" dur="1500" decel="100000" fill="hold" grpId="0" nodeType="withEffect">
                                  <p:stCondLst>
                                    <p:cond delay="70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1500" fill="hold"/>
                                        <p:tgtEl>
                                          <p:spTgt spid="3"/>
                                        </p:tgtEl>
                                        <p:attrNameLst>
                                          <p:attrName>ppt_x</p:attrName>
                                        </p:attrNameLst>
                                      </p:cBhvr>
                                      <p:tavLst>
                                        <p:tav tm="0">
                                          <p:val>
                                            <p:strVal val="0-#ppt_w/2"/>
                                          </p:val>
                                        </p:tav>
                                        <p:tav tm="100000">
                                          <p:val>
                                            <p:strVal val="#ppt_x"/>
                                          </p:val>
                                        </p:tav>
                                      </p:tavLst>
                                    </p:anim>
                                    <p:anim calcmode="lin" valueType="num">
                                      <p:cBhvr additive="base">
                                        <p:cTn id="12" dur="1500" fill="hold"/>
                                        <p:tgtEl>
                                          <p:spTgt spid="3"/>
                                        </p:tgtEl>
                                        <p:attrNameLst>
                                          <p:attrName>ppt_y</p:attrName>
                                        </p:attrNameLst>
                                      </p:cBhvr>
                                      <p:tavLst>
                                        <p:tav tm="0">
                                          <p:val>
                                            <p:strVal val="1+#ppt_h/2"/>
                                          </p:val>
                                        </p:tav>
                                        <p:tav tm="100000">
                                          <p:val>
                                            <p:strVal val="#ppt_y"/>
                                          </p:val>
                                        </p:tav>
                                      </p:tavLst>
                                    </p:anim>
                                  </p:childTnLst>
                                </p:cTn>
                              </p:par>
                              <p:par>
                                <p:cTn id="13" presetID="2" presetClass="entr" presetSubtype="12" dur="1500" decel="100000" fill="hold" grpId="0" nodeType="withEffect">
                                  <p:stCondLst>
                                    <p:cond delay="800"/>
                                  </p:stCondLst>
                                  <p:childTnLst>
                                    <p:set>
                                      <p:cBhvr>
                                        <p:cTn id="14" dur="1" fill="hold">
                                          <p:stCondLst>
                                            <p:cond delay="0"/>
                                          </p:stCondLst>
                                        </p:cTn>
                                        <p:tgtEl>
                                          <p:spTgt spid="4"/>
                                        </p:tgtEl>
                                        <p:attrNameLst>
                                          <p:attrName>style.visibility</p:attrName>
                                        </p:attrNameLst>
                                      </p:cBhvr>
                                      <p:to>
                                        <p:strVal val="visible"/>
                                      </p:to>
                                    </p:set>
                                    <p:anim calcmode="lin" valueType="num">
                                      <p:cBhvr additive="base">
                                        <p:cTn id="15" dur="1500" fill="hold"/>
                                        <p:tgtEl>
                                          <p:spTgt spid="4"/>
                                        </p:tgtEl>
                                        <p:attrNameLst>
                                          <p:attrName>ppt_x</p:attrName>
                                        </p:attrNameLst>
                                      </p:cBhvr>
                                      <p:tavLst>
                                        <p:tav tm="0">
                                          <p:val>
                                            <p:strVal val="0-#ppt_w/2"/>
                                          </p:val>
                                        </p:tav>
                                        <p:tav tm="100000">
                                          <p:val>
                                            <p:strVal val="#ppt_x"/>
                                          </p:val>
                                        </p:tav>
                                      </p:tavLst>
                                    </p:anim>
                                    <p:anim calcmode="lin" valueType="num">
                                      <p:cBhvr additive="base">
                                        <p:cTn id="16" dur="1500" fill="hold"/>
                                        <p:tgtEl>
                                          <p:spTgt spid="4"/>
                                        </p:tgtEl>
                                        <p:attrNameLst>
                                          <p:attrName>ppt_y</p:attrName>
                                        </p:attrNameLst>
                                      </p:cBhvr>
                                      <p:tavLst>
                                        <p:tav tm="0">
                                          <p:val>
                                            <p:strVal val="1+#ppt_h/2"/>
                                          </p:val>
                                        </p:tav>
                                        <p:tav tm="100000">
                                          <p:val>
                                            <p:strVal val="#ppt_y"/>
                                          </p:val>
                                        </p:tav>
                                      </p:tavLst>
                                    </p:anim>
                                  </p:childTnLst>
                                </p:cTn>
                              </p:par>
                              <p:par>
                                <p:cTn id="17" presetID="2" presetClass="entr" presetSubtype="12" dur="1500" decel="100000" fill="hold" grpId="0" nodeType="withEffect">
                                  <p:stCondLst>
                                    <p:cond delay="900"/>
                                  </p:stCondLst>
                                  <p:childTnLst>
                                    <p:set>
                                      <p:cBhvr>
                                        <p:cTn id="18" dur="1" fill="hold">
                                          <p:stCondLst>
                                            <p:cond delay="0"/>
                                          </p:stCondLst>
                                        </p:cTn>
                                        <p:tgtEl>
                                          <p:spTgt spid="7"/>
                                        </p:tgtEl>
                                        <p:attrNameLst>
                                          <p:attrName>style.visibility</p:attrName>
                                        </p:attrNameLst>
                                      </p:cBhvr>
                                      <p:to>
                                        <p:strVal val="visible"/>
                                      </p:to>
                                    </p:set>
                                    <p:anim calcmode="lin" valueType="num">
                                      <p:cBhvr additive="base">
                                        <p:cTn id="19" dur="1500" fill="hold"/>
                                        <p:tgtEl>
                                          <p:spTgt spid="7"/>
                                        </p:tgtEl>
                                        <p:attrNameLst>
                                          <p:attrName>ppt_x</p:attrName>
                                        </p:attrNameLst>
                                      </p:cBhvr>
                                      <p:tavLst>
                                        <p:tav tm="0">
                                          <p:val>
                                            <p:strVal val="0-#ppt_w/2"/>
                                          </p:val>
                                        </p:tav>
                                        <p:tav tm="100000">
                                          <p:val>
                                            <p:strVal val="#ppt_x"/>
                                          </p:val>
                                        </p:tav>
                                      </p:tavLst>
                                    </p:anim>
                                    <p:anim calcmode="lin" valueType="num">
                                      <p:cBhvr additive="base">
                                        <p:cTn id="20" dur="1500" fill="hold"/>
                                        <p:tgtEl>
                                          <p:spTgt spid="7"/>
                                        </p:tgtEl>
                                        <p:attrNameLst>
                                          <p:attrName>ppt_y</p:attrName>
                                        </p:attrNameLst>
                                      </p:cBhvr>
                                      <p:tavLst>
                                        <p:tav tm="0">
                                          <p:val>
                                            <p:strVal val="1+#ppt_h/2"/>
                                          </p:val>
                                        </p:tav>
                                        <p:tav tm="100000">
                                          <p:val>
                                            <p:strVal val="#ppt_y"/>
                                          </p:val>
                                        </p:tav>
                                      </p:tavLst>
                                    </p:anim>
                                  </p:childTnLst>
                                </p:cTn>
                              </p:par>
                              <p:par>
                                <p:cTn id="21" presetID="2" presetClass="entr" presetSubtype="12" dur="1500" decel="100000" fill="hold" grpId="0" nodeType="withEffect">
                                  <p:stCondLst>
                                    <p:cond delay="1000"/>
                                  </p:stCondLst>
                                  <p:childTnLst>
                                    <p:set>
                                      <p:cBhvr>
                                        <p:cTn id="22" dur="1" fill="hold">
                                          <p:stCondLst>
                                            <p:cond delay="0"/>
                                          </p:stCondLst>
                                        </p:cTn>
                                        <p:tgtEl>
                                          <p:spTgt spid="5"/>
                                        </p:tgtEl>
                                        <p:attrNameLst>
                                          <p:attrName>style.visibility</p:attrName>
                                        </p:attrNameLst>
                                      </p:cBhvr>
                                      <p:to>
                                        <p:strVal val="visible"/>
                                      </p:to>
                                    </p:set>
                                    <p:anim calcmode="lin" valueType="num">
                                      <p:cBhvr additive="base">
                                        <p:cTn id="23" dur="1500" fill="hold"/>
                                        <p:tgtEl>
                                          <p:spTgt spid="5"/>
                                        </p:tgtEl>
                                        <p:attrNameLst>
                                          <p:attrName>ppt_x</p:attrName>
                                        </p:attrNameLst>
                                      </p:cBhvr>
                                      <p:tavLst>
                                        <p:tav tm="0">
                                          <p:val>
                                            <p:strVal val="0-#ppt_w/2"/>
                                          </p:val>
                                        </p:tav>
                                        <p:tav tm="100000">
                                          <p:val>
                                            <p:strVal val="#ppt_x"/>
                                          </p:val>
                                        </p:tav>
                                      </p:tavLst>
                                    </p:anim>
                                    <p:anim calcmode="lin" valueType="num">
                                      <p:cBhvr additive="base">
                                        <p:cTn id="24" dur="1500" fill="hold"/>
                                        <p:tgtEl>
                                          <p:spTgt spid="5"/>
                                        </p:tgtEl>
                                        <p:attrNameLst>
                                          <p:attrName>ppt_y</p:attrName>
                                        </p:attrNameLst>
                                      </p:cBhvr>
                                      <p:tavLst>
                                        <p:tav tm="0">
                                          <p:val>
                                            <p:strVal val="1+#ppt_h/2"/>
                                          </p:val>
                                        </p:tav>
                                        <p:tav tm="100000">
                                          <p:val>
                                            <p:strVal val="#ppt_y"/>
                                          </p:val>
                                        </p:tav>
                                      </p:tavLst>
                                    </p:anim>
                                  </p:childTnLst>
                                </p:cTn>
                              </p:par>
                              <p:par>
                                <p:cTn id="25" presetID="2" presetClass="entr" presetSubtype="12" dur="1500" decel="100000" fill="hold" grpId="0" nodeType="withEffect">
                                  <p:stCondLst>
                                    <p:cond delay="1100"/>
                                  </p:stCondLst>
                                  <p:childTnLst>
                                    <p:set>
                                      <p:cBhvr>
                                        <p:cTn id="26" dur="1" fill="hold">
                                          <p:stCondLst>
                                            <p:cond delay="0"/>
                                          </p:stCondLst>
                                        </p:cTn>
                                        <p:tgtEl>
                                          <p:spTgt spid="6"/>
                                        </p:tgtEl>
                                        <p:attrNameLst>
                                          <p:attrName>style.visibility</p:attrName>
                                        </p:attrNameLst>
                                      </p:cBhvr>
                                      <p:to>
                                        <p:strVal val="visible"/>
                                      </p:to>
                                    </p:set>
                                    <p:anim calcmode="lin" valueType="num">
                                      <p:cBhvr additive="base">
                                        <p:cTn id="27" dur="1500" fill="hold"/>
                                        <p:tgtEl>
                                          <p:spTgt spid="6"/>
                                        </p:tgtEl>
                                        <p:attrNameLst>
                                          <p:attrName>ppt_x</p:attrName>
                                        </p:attrNameLst>
                                      </p:cBhvr>
                                      <p:tavLst>
                                        <p:tav tm="0">
                                          <p:val>
                                            <p:strVal val="0-#ppt_w/2"/>
                                          </p:val>
                                        </p:tav>
                                        <p:tav tm="100000">
                                          <p:val>
                                            <p:strVal val="#ppt_x"/>
                                          </p:val>
                                        </p:tav>
                                      </p:tavLst>
                                    </p:anim>
                                    <p:anim calcmode="lin" valueType="num">
                                      <p:cBhvr additive="base">
                                        <p:cTn id="28" dur="1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4" grpId="0" animBg="1"/>
      <p:bldP spid="7" grpId="0" animBg="1"/>
      <p:bldP spid="5" grpId="0" animBg="1"/>
      <p:bldP spid="6" grpId="0" animBg="1"/>
    </p:bldLst>
  </p:timing>
</p:sldLayout>
</file>

<file path=ppt/slideLayouts/slideLayout279.xml><?xml version="1.0" encoding="utf-8"?>
<p:sldLayout xmlns:a="http://schemas.openxmlformats.org/drawingml/2006/main" xmlns:r="http://schemas.openxmlformats.org/officeDocument/2006/relationships" xmlns:p="http://schemas.openxmlformats.org/presentationml/2006/main" userDrawn="1">
  <p:cSld name="14_Custom Layout">
    <p:spTree>
      <p:nvGrpSpPr>
        <p:cNvPr id="1" name=""/>
        <p:cNvGrpSpPr/>
        <p:nvPr/>
      </p:nvGrpSpPr>
      <p:grpSpPr>
        <a:xfrm>
          <a:off x="0" y="0"/>
          <a:ext cx="0" cy="0"/>
          <a:chOff x="0" y="0"/>
          <a:chExt cx="0" cy="0"/>
        </a:xfrm>
      </p:grpSpPr>
      <p:sp>
        <p:nvSpPr>
          <p:cNvPr id="17" name="Picture Placeholder 75">
            <a:extLst>
              <a:ext uri="{FF2B5EF4-FFF2-40B4-BE49-F238E27FC236}">
                <a16:creationId xmlns:a16="http://schemas.microsoft.com/office/drawing/2014/main" id="{DE1F0CA1-994C-4B15-BD61-C1FC8BE244E3}"/>
              </a:ext>
            </a:extLst>
          </p:cNvPr>
          <p:cNvSpPr>
            <a:spLocks noGrp="1"/>
          </p:cNvSpPr>
          <p:nvPr>
            <p:ph type="pic" sz="quarter" idx="34"/>
          </p:nvPr>
        </p:nvSpPr>
        <p:spPr>
          <a:xfrm>
            <a:off x="5795324" y="-2019910"/>
            <a:ext cx="3973245" cy="2235242"/>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tx1">
              <a:alpha val="4000"/>
            </a:schemeClr>
          </a:solidFill>
          <a:effectLst>
            <a:outerShdw blurRad="876300" dist="787400" dir="2400000" algn="ctr" rotWithShape="0">
              <a:schemeClr val="tx1">
                <a:alpha val="34000"/>
              </a:schemeClr>
            </a:outerShdw>
            <a:reflection blurRad="76200" stA="48000" endPos="98000" dir="5400000" sy="-100000" algn="bl" rotWithShape="0"/>
          </a:effectLst>
          <a:scene3d>
            <a:camera prst="orthographicFront">
              <a:rot lat="19848000" lon="3234000" rev="17862000"/>
            </a:camera>
            <a:lightRig rig="soft" dir="t"/>
          </a:scene3d>
          <a:sp3d extrusionH="95250" prstMaterial="plastic"/>
        </p:spPr>
        <p:txBody>
          <a:bodyPr wrap="square" anchor="ctr">
            <a:noAutofit/>
          </a:bodyPr>
          <a:lstStyle>
            <a:lvl1pPr algn="ctr">
              <a:defRPr sz="1200"/>
            </a:lvl1pPr>
          </a:lstStyle>
          <a:p>
            <a:endParaRPr lang="en-US"/>
          </a:p>
        </p:txBody>
      </p:sp>
      <p:sp>
        <p:nvSpPr>
          <p:cNvPr id="18" name="Picture Placeholder 75">
            <a:extLst>
              <a:ext uri="{FF2B5EF4-FFF2-40B4-BE49-F238E27FC236}">
                <a16:creationId xmlns:a16="http://schemas.microsoft.com/office/drawing/2014/main" id="{CCDC6E92-1B4E-4F2A-BD85-917834D7D1BF}"/>
              </a:ext>
            </a:extLst>
          </p:cNvPr>
          <p:cNvSpPr>
            <a:spLocks noGrp="1"/>
          </p:cNvSpPr>
          <p:nvPr>
            <p:ph type="pic" sz="quarter" idx="35"/>
          </p:nvPr>
        </p:nvSpPr>
        <p:spPr>
          <a:xfrm>
            <a:off x="8398700" y="-594066"/>
            <a:ext cx="3973245" cy="2235242"/>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tx1">
              <a:alpha val="4000"/>
            </a:schemeClr>
          </a:solidFill>
          <a:effectLst>
            <a:outerShdw blurRad="876300" dist="787400" dir="2400000" algn="ctr" rotWithShape="0">
              <a:schemeClr val="tx1">
                <a:alpha val="34000"/>
              </a:schemeClr>
            </a:outerShdw>
            <a:reflection blurRad="76200" stA="48000" endPos="98000" dir="5400000" sy="-100000" algn="bl" rotWithShape="0"/>
          </a:effectLst>
          <a:scene3d>
            <a:camera prst="orthographicFront">
              <a:rot lat="19848000" lon="3234000" rev="17862000"/>
            </a:camera>
            <a:lightRig rig="soft" dir="t"/>
          </a:scene3d>
          <a:sp3d extrusionH="95250" prstMaterial="plastic"/>
        </p:spPr>
        <p:txBody>
          <a:bodyPr wrap="square" anchor="ctr">
            <a:noAutofit/>
          </a:bodyPr>
          <a:lstStyle>
            <a:lvl1pPr algn="ctr">
              <a:defRPr sz="1200"/>
            </a:lvl1pPr>
          </a:lstStyle>
          <a:p>
            <a:endParaRPr lang="en-US"/>
          </a:p>
        </p:txBody>
      </p:sp>
      <p:sp>
        <p:nvSpPr>
          <p:cNvPr id="19" name="Picture Placeholder 75">
            <a:extLst>
              <a:ext uri="{FF2B5EF4-FFF2-40B4-BE49-F238E27FC236}">
                <a16:creationId xmlns:a16="http://schemas.microsoft.com/office/drawing/2014/main" id="{60FE58BF-2882-4922-8BE2-DC5C806999A3}"/>
              </a:ext>
            </a:extLst>
          </p:cNvPr>
          <p:cNvSpPr>
            <a:spLocks noGrp="1"/>
          </p:cNvSpPr>
          <p:nvPr>
            <p:ph type="pic" sz="quarter" idx="36"/>
          </p:nvPr>
        </p:nvSpPr>
        <p:spPr>
          <a:xfrm>
            <a:off x="11002077" y="831779"/>
            <a:ext cx="3973245" cy="2235242"/>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tx1">
              <a:alpha val="4000"/>
            </a:schemeClr>
          </a:solidFill>
          <a:effectLst>
            <a:outerShdw blurRad="876300" dist="787400" dir="2400000" algn="ctr" rotWithShape="0">
              <a:schemeClr val="tx1">
                <a:alpha val="34000"/>
              </a:schemeClr>
            </a:outerShdw>
            <a:reflection blurRad="76200" stA="48000" endPos="98000" dir="5400000" sy="-100000" algn="bl" rotWithShape="0"/>
          </a:effectLst>
          <a:scene3d>
            <a:camera prst="orthographicFront">
              <a:rot lat="19848000" lon="3234000" rev="17862000"/>
            </a:camera>
            <a:lightRig rig="soft" dir="t"/>
          </a:scene3d>
          <a:sp3d extrusionH="95250" prstMaterial="plastic"/>
        </p:spPr>
        <p:txBody>
          <a:bodyPr wrap="square" anchor="ctr">
            <a:noAutofit/>
          </a:bodyPr>
          <a:lstStyle>
            <a:lvl1pPr algn="ctr">
              <a:defRPr sz="1200"/>
            </a:lvl1pPr>
          </a:lstStyle>
          <a:p>
            <a:endParaRPr lang="en-US"/>
          </a:p>
        </p:txBody>
      </p:sp>
      <p:sp>
        <p:nvSpPr>
          <p:cNvPr id="13" name="Picture Placeholder 75">
            <a:extLst>
              <a:ext uri="{FF2B5EF4-FFF2-40B4-BE49-F238E27FC236}">
                <a16:creationId xmlns:a16="http://schemas.microsoft.com/office/drawing/2014/main" id="{DFC0A416-BD43-4889-A746-153B68F952A1}"/>
              </a:ext>
            </a:extLst>
          </p:cNvPr>
          <p:cNvSpPr>
            <a:spLocks noGrp="1"/>
          </p:cNvSpPr>
          <p:nvPr>
            <p:ph type="pic" sz="quarter" idx="30"/>
          </p:nvPr>
        </p:nvSpPr>
        <p:spPr>
          <a:xfrm>
            <a:off x="3092594" y="-1470698"/>
            <a:ext cx="3973245" cy="2235242"/>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tx1">
              <a:alpha val="4000"/>
            </a:schemeClr>
          </a:solidFill>
          <a:effectLst>
            <a:outerShdw blurRad="876300" dist="787400" dir="2400000" algn="ctr" rotWithShape="0">
              <a:schemeClr val="tx1">
                <a:alpha val="34000"/>
              </a:schemeClr>
            </a:outerShdw>
            <a:reflection blurRad="76200" stA="48000" endPos="98000" dir="5400000" sy="-100000" algn="bl" rotWithShape="0"/>
          </a:effectLst>
          <a:scene3d>
            <a:camera prst="orthographicFront">
              <a:rot lat="19848000" lon="3234000" rev="17862000"/>
            </a:camera>
            <a:lightRig rig="soft" dir="t"/>
          </a:scene3d>
          <a:sp3d extrusionH="95250" prstMaterial="plastic"/>
        </p:spPr>
        <p:txBody>
          <a:bodyPr wrap="square" anchor="ctr">
            <a:noAutofit/>
          </a:bodyPr>
          <a:lstStyle>
            <a:lvl1pPr algn="ctr">
              <a:defRPr sz="1200"/>
            </a:lvl1pPr>
          </a:lstStyle>
          <a:p>
            <a:endParaRPr lang="en-US"/>
          </a:p>
        </p:txBody>
      </p:sp>
      <p:sp>
        <p:nvSpPr>
          <p:cNvPr id="14" name="Picture Placeholder 75">
            <a:extLst>
              <a:ext uri="{FF2B5EF4-FFF2-40B4-BE49-F238E27FC236}">
                <a16:creationId xmlns:a16="http://schemas.microsoft.com/office/drawing/2014/main" id="{0B4C680D-3D96-4F02-8FDE-6C344B4EA949}"/>
              </a:ext>
            </a:extLst>
          </p:cNvPr>
          <p:cNvSpPr>
            <a:spLocks noGrp="1"/>
          </p:cNvSpPr>
          <p:nvPr>
            <p:ph type="pic" sz="quarter" idx="31"/>
          </p:nvPr>
        </p:nvSpPr>
        <p:spPr>
          <a:xfrm>
            <a:off x="5695970" y="-44854"/>
            <a:ext cx="3973245" cy="2235242"/>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tx1">
              <a:alpha val="4000"/>
            </a:schemeClr>
          </a:solidFill>
          <a:effectLst>
            <a:outerShdw blurRad="876300" dist="787400" dir="2400000" algn="ctr" rotWithShape="0">
              <a:schemeClr val="tx1">
                <a:alpha val="34000"/>
              </a:schemeClr>
            </a:outerShdw>
            <a:reflection blurRad="76200" stA="48000" endPos="98000" dir="5400000" sy="-100000" algn="bl" rotWithShape="0"/>
          </a:effectLst>
          <a:scene3d>
            <a:camera prst="orthographicFront">
              <a:rot lat="19848000" lon="3234000" rev="17862000"/>
            </a:camera>
            <a:lightRig rig="soft" dir="t"/>
          </a:scene3d>
          <a:sp3d extrusionH="95250" prstMaterial="plastic"/>
        </p:spPr>
        <p:txBody>
          <a:bodyPr wrap="square" anchor="ctr">
            <a:noAutofit/>
          </a:bodyPr>
          <a:lstStyle>
            <a:lvl1pPr algn="ctr">
              <a:defRPr sz="1200"/>
            </a:lvl1pPr>
          </a:lstStyle>
          <a:p>
            <a:endParaRPr lang="en-US"/>
          </a:p>
        </p:txBody>
      </p:sp>
      <p:sp>
        <p:nvSpPr>
          <p:cNvPr id="15" name="Picture Placeholder 75">
            <a:extLst>
              <a:ext uri="{FF2B5EF4-FFF2-40B4-BE49-F238E27FC236}">
                <a16:creationId xmlns:a16="http://schemas.microsoft.com/office/drawing/2014/main" id="{0136ECC1-14F7-404A-BB65-765B022634A5}"/>
              </a:ext>
            </a:extLst>
          </p:cNvPr>
          <p:cNvSpPr>
            <a:spLocks noGrp="1"/>
          </p:cNvSpPr>
          <p:nvPr>
            <p:ph type="pic" sz="quarter" idx="32"/>
          </p:nvPr>
        </p:nvSpPr>
        <p:spPr>
          <a:xfrm>
            <a:off x="8307095" y="1365493"/>
            <a:ext cx="3973245" cy="2235242"/>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tx1">
              <a:alpha val="4000"/>
            </a:schemeClr>
          </a:solidFill>
          <a:effectLst>
            <a:outerShdw blurRad="876300" dist="787400" dir="2400000" algn="ctr" rotWithShape="0">
              <a:schemeClr val="tx1">
                <a:alpha val="34000"/>
              </a:schemeClr>
            </a:outerShdw>
            <a:reflection blurRad="76200" stA="48000" endPos="98000" dir="5400000" sy="-100000" algn="bl" rotWithShape="0"/>
          </a:effectLst>
          <a:scene3d>
            <a:camera prst="orthographicFront">
              <a:rot lat="19848000" lon="3234000" rev="17862000"/>
            </a:camera>
            <a:lightRig rig="soft" dir="t"/>
          </a:scene3d>
          <a:sp3d extrusionH="95250" prstMaterial="plastic"/>
        </p:spPr>
        <p:txBody>
          <a:bodyPr wrap="square" anchor="ctr">
            <a:noAutofit/>
          </a:bodyPr>
          <a:lstStyle>
            <a:lvl1pPr algn="ctr">
              <a:defRPr sz="1200"/>
            </a:lvl1pPr>
          </a:lstStyle>
          <a:p>
            <a:endParaRPr lang="en-US"/>
          </a:p>
        </p:txBody>
      </p:sp>
      <p:sp>
        <p:nvSpPr>
          <p:cNvPr id="16" name="Picture Placeholder 75">
            <a:extLst>
              <a:ext uri="{FF2B5EF4-FFF2-40B4-BE49-F238E27FC236}">
                <a16:creationId xmlns:a16="http://schemas.microsoft.com/office/drawing/2014/main" id="{61F32264-5F7E-4A46-97AB-AABAB86F1EA9}"/>
              </a:ext>
            </a:extLst>
          </p:cNvPr>
          <p:cNvSpPr>
            <a:spLocks noGrp="1"/>
          </p:cNvSpPr>
          <p:nvPr>
            <p:ph type="pic" sz="quarter" idx="33"/>
          </p:nvPr>
        </p:nvSpPr>
        <p:spPr>
          <a:xfrm>
            <a:off x="10911794" y="2784466"/>
            <a:ext cx="3973245" cy="2235242"/>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tx1">
              <a:alpha val="4000"/>
            </a:schemeClr>
          </a:solidFill>
          <a:effectLst>
            <a:outerShdw blurRad="876300" dist="787400" dir="2400000" algn="ctr" rotWithShape="0">
              <a:schemeClr val="tx1">
                <a:alpha val="34000"/>
              </a:schemeClr>
            </a:outerShdw>
            <a:reflection blurRad="76200" stA="48000" endPos="98000" dir="5400000" sy="-100000" algn="bl" rotWithShape="0"/>
          </a:effectLst>
          <a:scene3d>
            <a:camera prst="orthographicFront">
              <a:rot lat="19848000" lon="3234000" rev="17862000"/>
            </a:camera>
            <a:lightRig rig="soft" dir="t"/>
          </a:scene3d>
          <a:sp3d extrusionH="95250" prstMaterial="plastic"/>
        </p:spPr>
        <p:txBody>
          <a:bodyPr wrap="square" anchor="ctr">
            <a:noAutofit/>
          </a:bodyPr>
          <a:lstStyle>
            <a:lvl1pPr algn="ctr">
              <a:defRPr sz="1200"/>
            </a:lvl1pPr>
          </a:lstStyle>
          <a:p>
            <a:endParaRPr lang="en-US"/>
          </a:p>
        </p:txBody>
      </p:sp>
      <p:sp>
        <p:nvSpPr>
          <p:cNvPr id="2" name="Picture Placeholder 75">
            <a:extLst>
              <a:ext uri="{FF2B5EF4-FFF2-40B4-BE49-F238E27FC236}">
                <a16:creationId xmlns:a16="http://schemas.microsoft.com/office/drawing/2014/main" id="{35C81404-E27E-4F36-A623-E57FC83C04C2}"/>
              </a:ext>
            </a:extLst>
          </p:cNvPr>
          <p:cNvSpPr>
            <a:spLocks noGrp="1"/>
          </p:cNvSpPr>
          <p:nvPr>
            <p:ph type="pic" sz="quarter" idx="24"/>
          </p:nvPr>
        </p:nvSpPr>
        <p:spPr>
          <a:xfrm>
            <a:off x="151309" y="-1058251"/>
            <a:ext cx="3973245" cy="2235242"/>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tx1">
              <a:alpha val="4000"/>
            </a:schemeClr>
          </a:solidFill>
          <a:effectLst>
            <a:outerShdw blurRad="876300" dist="787400" dir="2400000" algn="ctr" rotWithShape="0">
              <a:schemeClr val="tx1">
                <a:alpha val="34000"/>
              </a:schemeClr>
            </a:outerShdw>
            <a:reflection blurRad="76200" stA="48000" endPos="98000" dir="5400000" sy="-100000" algn="bl" rotWithShape="0"/>
          </a:effectLst>
          <a:scene3d>
            <a:camera prst="orthographicFront">
              <a:rot lat="19848000" lon="3234000" rev="17862000"/>
            </a:camera>
            <a:lightRig rig="soft" dir="t"/>
          </a:scene3d>
          <a:sp3d extrusionH="95250" prstMaterial="plastic"/>
        </p:spPr>
        <p:txBody>
          <a:bodyPr wrap="square" anchor="ctr">
            <a:noAutofit/>
          </a:bodyPr>
          <a:lstStyle>
            <a:lvl1pPr algn="ctr">
              <a:defRPr sz="1200"/>
            </a:lvl1pPr>
          </a:lstStyle>
          <a:p>
            <a:endParaRPr lang="en-US"/>
          </a:p>
        </p:txBody>
      </p:sp>
      <p:sp>
        <p:nvSpPr>
          <p:cNvPr id="8" name="Picture Placeholder 75">
            <a:extLst>
              <a:ext uri="{FF2B5EF4-FFF2-40B4-BE49-F238E27FC236}">
                <a16:creationId xmlns:a16="http://schemas.microsoft.com/office/drawing/2014/main" id="{65B77482-57E1-46FD-913A-0092573AC5F1}"/>
              </a:ext>
            </a:extLst>
          </p:cNvPr>
          <p:cNvSpPr>
            <a:spLocks noGrp="1"/>
          </p:cNvSpPr>
          <p:nvPr>
            <p:ph type="pic" sz="quarter" idx="25"/>
          </p:nvPr>
        </p:nvSpPr>
        <p:spPr>
          <a:xfrm>
            <a:off x="2754685" y="367594"/>
            <a:ext cx="3973245" cy="2235242"/>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tx1">
              <a:alpha val="4000"/>
            </a:schemeClr>
          </a:solidFill>
          <a:effectLst>
            <a:outerShdw blurRad="876300" dist="787400" dir="2400000" algn="ctr" rotWithShape="0">
              <a:schemeClr val="tx1">
                <a:alpha val="34000"/>
              </a:schemeClr>
            </a:outerShdw>
            <a:reflection blurRad="76200" stA="48000" endPos="98000" dir="5400000" sy="-100000" algn="bl" rotWithShape="0"/>
          </a:effectLst>
          <a:scene3d>
            <a:camera prst="orthographicFront">
              <a:rot lat="19848000" lon="3234000" rev="17862000"/>
            </a:camera>
            <a:lightRig rig="soft" dir="t"/>
          </a:scene3d>
          <a:sp3d extrusionH="95250" prstMaterial="plastic"/>
        </p:spPr>
        <p:txBody>
          <a:bodyPr wrap="square" anchor="ctr">
            <a:noAutofit/>
          </a:bodyPr>
          <a:lstStyle>
            <a:lvl1pPr algn="ctr">
              <a:defRPr sz="1200"/>
            </a:lvl1pPr>
          </a:lstStyle>
          <a:p>
            <a:endParaRPr lang="en-US"/>
          </a:p>
        </p:txBody>
      </p:sp>
      <p:sp>
        <p:nvSpPr>
          <p:cNvPr id="9" name="Picture Placeholder 75">
            <a:extLst>
              <a:ext uri="{FF2B5EF4-FFF2-40B4-BE49-F238E27FC236}">
                <a16:creationId xmlns:a16="http://schemas.microsoft.com/office/drawing/2014/main" id="{B37A391A-9563-4D8D-9F81-AF2A558906BA}"/>
              </a:ext>
            </a:extLst>
          </p:cNvPr>
          <p:cNvSpPr>
            <a:spLocks noGrp="1"/>
          </p:cNvSpPr>
          <p:nvPr>
            <p:ph type="pic" sz="quarter" idx="26"/>
          </p:nvPr>
        </p:nvSpPr>
        <p:spPr>
          <a:xfrm>
            <a:off x="5358062" y="1793439"/>
            <a:ext cx="3973245" cy="2235242"/>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tx1">
              <a:alpha val="4000"/>
            </a:schemeClr>
          </a:solidFill>
          <a:effectLst>
            <a:outerShdw blurRad="876300" dist="787400" dir="2400000" algn="ctr" rotWithShape="0">
              <a:schemeClr val="tx1">
                <a:alpha val="34000"/>
              </a:schemeClr>
            </a:outerShdw>
            <a:reflection blurRad="76200" stA="48000" endPos="98000" dir="5400000" sy="-100000" algn="bl" rotWithShape="0"/>
          </a:effectLst>
          <a:scene3d>
            <a:camera prst="orthographicFront">
              <a:rot lat="19848000" lon="3234000" rev="17862000"/>
            </a:camera>
            <a:lightRig rig="soft" dir="t"/>
          </a:scene3d>
          <a:sp3d extrusionH="95250" prstMaterial="plastic"/>
        </p:spPr>
        <p:txBody>
          <a:bodyPr wrap="square" anchor="ctr">
            <a:noAutofit/>
          </a:bodyPr>
          <a:lstStyle>
            <a:lvl1pPr algn="ctr">
              <a:defRPr sz="1200"/>
            </a:lvl1pPr>
          </a:lstStyle>
          <a:p>
            <a:endParaRPr lang="en-US"/>
          </a:p>
        </p:txBody>
      </p:sp>
      <p:sp>
        <p:nvSpPr>
          <p:cNvPr id="10" name="Picture Placeholder 75">
            <a:extLst>
              <a:ext uri="{FF2B5EF4-FFF2-40B4-BE49-F238E27FC236}">
                <a16:creationId xmlns:a16="http://schemas.microsoft.com/office/drawing/2014/main" id="{905913FF-40D6-422E-AE96-62587D32CE1B}"/>
              </a:ext>
            </a:extLst>
          </p:cNvPr>
          <p:cNvSpPr>
            <a:spLocks noGrp="1"/>
          </p:cNvSpPr>
          <p:nvPr>
            <p:ph type="pic" sz="quarter" idx="27"/>
          </p:nvPr>
        </p:nvSpPr>
        <p:spPr>
          <a:xfrm>
            <a:off x="7969186" y="3203785"/>
            <a:ext cx="3973245" cy="2235242"/>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tx1">
              <a:alpha val="4000"/>
            </a:schemeClr>
          </a:solidFill>
          <a:effectLst>
            <a:outerShdw blurRad="876300" dist="787400" dir="2400000" algn="ctr" rotWithShape="0">
              <a:schemeClr val="tx1">
                <a:alpha val="34000"/>
              </a:schemeClr>
            </a:outerShdw>
            <a:reflection blurRad="76200" stA="48000" endPos="98000" dir="5400000" sy="-100000" algn="bl" rotWithShape="0"/>
          </a:effectLst>
          <a:scene3d>
            <a:camera prst="orthographicFront">
              <a:rot lat="19848000" lon="3234000" rev="17862000"/>
            </a:camera>
            <a:lightRig rig="soft" dir="t"/>
          </a:scene3d>
          <a:sp3d extrusionH="95250" prstMaterial="plastic"/>
        </p:spPr>
        <p:txBody>
          <a:bodyPr wrap="square" anchor="ctr">
            <a:noAutofit/>
          </a:bodyPr>
          <a:lstStyle>
            <a:lvl1pPr algn="ctr">
              <a:defRPr sz="1200"/>
            </a:lvl1pPr>
          </a:lstStyle>
          <a:p>
            <a:endParaRPr lang="en-US"/>
          </a:p>
        </p:txBody>
      </p:sp>
      <p:sp>
        <p:nvSpPr>
          <p:cNvPr id="11" name="Picture Placeholder 75">
            <a:extLst>
              <a:ext uri="{FF2B5EF4-FFF2-40B4-BE49-F238E27FC236}">
                <a16:creationId xmlns:a16="http://schemas.microsoft.com/office/drawing/2014/main" id="{139B3716-743D-4E4C-8E9E-28622348549F}"/>
              </a:ext>
            </a:extLst>
          </p:cNvPr>
          <p:cNvSpPr>
            <a:spLocks noGrp="1"/>
          </p:cNvSpPr>
          <p:nvPr>
            <p:ph type="pic" sz="quarter" idx="28"/>
          </p:nvPr>
        </p:nvSpPr>
        <p:spPr>
          <a:xfrm>
            <a:off x="10573886" y="4622758"/>
            <a:ext cx="3973245" cy="2235242"/>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tx1">
              <a:alpha val="4000"/>
            </a:schemeClr>
          </a:solidFill>
          <a:effectLst>
            <a:outerShdw blurRad="876300" dist="787400" dir="2400000" algn="ctr" rotWithShape="0">
              <a:schemeClr val="tx1">
                <a:alpha val="34000"/>
              </a:schemeClr>
            </a:outerShdw>
            <a:reflection blurRad="76200" stA="48000" endPos="98000" dir="5400000" sy="-100000" algn="bl" rotWithShape="0"/>
          </a:effectLst>
          <a:scene3d>
            <a:camera prst="orthographicFront">
              <a:rot lat="19848000" lon="3234000" rev="17862000"/>
            </a:camera>
            <a:lightRig rig="soft" dir="t"/>
          </a:scene3d>
          <a:sp3d extrusionH="95250" prstMaterial="plastic"/>
        </p:spPr>
        <p:txBody>
          <a:bodyPr wrap="square" anchor="ctr">
            <a:noAutofit/>
          </a:bodyPr>
          <a:lstStyle>
            <a:lvl1pPr algn="ctr">
              <a:defRPr sz="1200"/>
            </a:lvl1pPr>
          </a:lstStyle>
          <a:p>
            <a:endParaRPr lang="en-US"/>
          </a:p>
        </p:txBody>
      </p:sp>
    </p:spTree>
    <p:extLst>
      <p:ext uri="{BB962C8B-B14F-4D97-AF65-F5344CB8AC3E}">
        <p14:creationId xmlns:p14="http://schemas.microsoft.com/office/powerpoint/2010/main" val="2791323462"/>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4" dur="1500" decel="10000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 calcmode="lin" valueType="num">
                                      <p:cBhvr additive="base">
                                        <p:cTn id="7" dur="1500" fill="hold"/>
                                        <p:tgtEl>
                                          <p:spTgt spid="17"/>
                                        </p:tgtEl>
                                        <p:attrNameLst>
                                          <p:attrName>ppt_x</p:attrName>
                                        </p:attrNameLst>
                                      </p:cBhvr>
                                      <p:tavLst>
                                        <p:tav tm="0">
                                          <p:val>
                                            <p:strVal val="#ppt_x"/>
                                          </p:val>
                                        </p:tav>
                                        <p:tav tm="100000">
                                          <p:val>
                                            <p:strVal val="#ppt_x"/>
                                          </p:val>
                                        </p:tav>
                                      </p:tavLst>
                                    </p:anim>
                                    <p:anim calcmode="lin" valueType="num">
                                      <p:cBhvr additive="base">
                                        <p:cTn id="8" dur="1500" fill="hold"/>
                                        <p:tgtEl>
                                          <p:spTgt spid="17"/>
                                        </p:tgtEl>
                                        <p:attrNameLst>
                                          <p:attrName>ppt_y</p:attrName>
                                        </p:attrNameLst>
                                      </p:cBhvr>
                                      <p:tavLst>
                                        <p:tav tm="0">
                                          <p:val>
                                            <p:strVal val="1+#ppt_h/2"/>
                                          </p:val>
                                        </p:tav>
                                        <p:tav tm="100000">
                                          <p:val>
                                            <p:strVal val="#ppt_y"/>
                                          </p:val>
                                        </p:tav>
                                      </p:tavLst>
                                    </p:anim>
                                  </p:childTnLst>
                                </p:cTn>
                              </p:par>
                              <p:par>
                                <p:cTn id="9" presetID="2" presetClass="entr" presetSubtype="4" dur="1500" decel="100000" fill="hold" grpId="0" nodeType="withEffect">
                                  <p:stCondLst>
                                    <p:cond delay="100"/>
                                  </p:stCondLst>
                                  <p:childTnLst>
                                    <p:set>
                                      <p:cBhvr>
                                        <p:cTn id="10" dur="1" fill="hold">
                                          <p:stCondLst>
                                            <p:cond delay="0"/>
                                          </p:stCondLst>
                                        </p:cTn>
                                        <p:tgtEl>
                                          <p:spTgt spid="18"/>
                                        </p:tgtEl>
                                        <p:attrNameLst>
                                          <p:attrName>style.visibility</p:attrName>
                                        </p:attrNameLst>
                                      </p:cBhvr>
                                      <p:to>
                                        <p:strVal val="visible"/>
                                      </p:to>
                                    </p:set>
                                    <p:anim calcmode="lin" valueType="num">
                                      <p:cBhvr additive="base">
                                        <p:cTn id="11" dur="1500" fill="hold"/>
                                        <p:tgtEl>
                                          <p:spTgt spid="18"/>
                                        </p:tgtEl>
                                        <p:attrNameLst>
                                          <p:attrName>ppt_x</p:attrName>
                                        </p:attrNameLst>
                                      </p:cBhvr>
                                      <p:tavLst>
                                        <p:tav tm="0">
                                          <p:val>
                                            <p:strVal val="#ppt_x"/>
                                          </p:val>
                                        </p:tav>
                                        <p:tav tm="100000">
                                          <p:val>
                                            <p:strVal val="#ppt_x"/>
                                          </p:val>
                                        </p:tav>
                                      </p:tavLst>
                                    </p:anim>
                                    <p:anim calcmode="lin" valueType="num">
                                      <p:cBhvr additive="base">
                                        <p:cTn id="12" dur="1500" fill="hold"/>
                                        <p:tgtEl>
                                          <p:spTgt spid="18"/>
                                        </p:tgtEl>
                                        <p:attrNameLst>
                                          <p:attrName>ppt_y</p:attrName>
                                        </p:attrNameLst>
                                      </p:cBhvr>
                                      <p:tavLst>
                                        <p:tav tm="0">
                                          <p:val>
                                            <p:strVal val="1+#ppt_h/2"/>
                                          </p:val>
                                        </p:tav>
                                        <p:tav tm="100000">
                                          <p:val>
                                            <p:strVal val="#ppt_y"/>
                                          </p:val>
                                        </p:tav>
                                      </p:tavLst>
                                    </p:anim>
                                  </p:childTnLst>
                                </p:cTn>
                              </p:par>
                              <p:par>
                                <p:cTn id="13" presetID="2" presetClass="entr" presetSubtype="4" dur="1500" decel="100000" fill="hold" grpId="0" nodeType="withEffect">
                                  <p:stCondLst>
                                    <p:cond delay="200"/>
                                  </p:stCondLst>
                                  <p:childTnLst>
                                    <p:set>
                                      <p:cBhvr>
                                        <p:cTn id="14" dur="1" fill="hold">
                                          <p:stCondLst>
                                            <p:cond delay="0"/>
                                          </p:stCondLst>
                                        </p:cTn>
                                        <p:tgtEl>
                                          <p:spTgt spid="19"/>
                                        </p:tgtEl>
                                        <p:attrNameLst>
                                          <p:attrName>style.visibility</p:attrName>
                                        </p:attrNameLst>
                                      </p:cBhvr>
                                      <p:to>
                                        <p:strVal val="visible"/>
                                      </p:to>
                                    </p:set>
                                    <p:anim calcmode="lin" valueType="num">
                                      <p:cBhvr additive="base">
                                        <p:cTn id="15" dur="1500" fill="hold"/>
                                        <p:tgtEl>
                                          <p:spTgt spid="19"/>
                                        </p:tgtEl>
                                        <p:attrNameLst>
                                          <p:attrName>ppt_x</p:attrName>
                                        </p:attrNameLst>
                                      </p:cBhvr>
                                      <p:tavLst>
                                        <p:tav tm="0">
                                          <p:val>
                                            <p:strVal val="#ppt_x"/>
                                          </p:val>
                                        </p:tav>
                                        <p:tav tm="100000">
                                          <p:val>
                                            <p:strVal val="#ppt_x"/>
                                          </p:val>
                                        </p:tav>
                                      </p:tavLst>
                                    </p:anim>
                                    <p:anim calcmode="lin" valueType="num">
                                      <p:cBhvr additive="base">
                                        <p:cTn id="16" dur="1500" fill="hold"/>
                                        <p:tgtEl>
                                          <p:spTgt spid="19"/>
                                        </p:tgtEl>
                                        <p:attrNameLst>
                                          <p:attrName>ppt_y</p:attrName>
                                        </p:attrNameLst>
                                      </p:cBhvr>
                                      <p:tavLst>
                                        <p:tav tm="0">
                                          <p:val>
                                            <p:strVal val="1+#ppt_h/2"/>
                                          </p:val>
                                        </p:tav>
                                        <p:tav tm="100000">
                                          <p:val>
                                            <p:strVal val="#ppt_y"/>
                                          </p:val>
                                        </p:tav>
                                      </p:tavLst>
                                    </p:anim>
                                  </p:childTnLst>
                                </p:cTn>
                              </p:par>
                              <p:par>
                                <p:cTn id="17" presetID="2" presetClass="entr" presetSubtype="4" dur="1500" decel="100000" fill="hold" grpId="0" nodeType="withEffect">
                                  <p:stCondLst>
                                    <p:cond delay="300"/>
                                  </p:stCondLst>
                                  <p:childTnLst>
                                    <p:set>
                                      <p:cBhvr>
                                        <p:cTn id="18" dur="1" fill="hold">
                                          <p:stCondLst>
                                            <p:cond delay="0"/>
                                          </p:stCondLst>
                                        </p:cTn>
                                        <p:tgtEl>
                                          <p:spTgt spid="13"/>
                                        </p:tgtEl>
                                        <p:attrNameLst>
                                          <p:attrName>style.visibility</p:attrName>
                                        </p:attrNameLst>
                                      </p:cBhvr>
                                      <p:to>
                                        <p:strVal val="visible"/>
                                      </p:to>
                                    </p:set>
                                    <p:anim calcmode="lin" valueType="num">
                                      <p:cBhvr additive="base">
                                        <p:cTn id="19" dur="1500" fill="hold"/>
                                        <p:tgtEl>
                                          <p:spTgt spid="13"/>
                                        </p:tgtEl>
                                        <p:attrNameLst>
                                          <p:attrName>ppt_x</p:attrName>
                                        </p:attrNameLst>
                                      </p:cBhvr>
                                      <p:tavLst>
                                        <p:tav tm="0">
                                          <p:val>
                                            <p:strVal val="#ppt_x"/>
                                          </p:val>
                                        </p:tav>
                                        <p:tav tm="100000">
                                          <p:val>
                                            <p:strVal val="#ppt_x"/>
                                          </p:val>
                                        </p:tav>
                                      </p:tavLst>
                                    </p:anim>
                                    <p:anim calcmode="lin" valueType="num">
                                      <p:cBhvr additive="base">
                                        <p:cTn id="20" dur="1500" fill="hold"/>
                                        <p:tgtEl>
                                          <p:spTgt spid="13"/>
                                        </p:tgtEl>
                                        <p:attrNameLst>
                                          <p:attrName>ppt_y</p:attrName>
                                        </p:attrNameLst>
                                      </p:cBhvr>
                                      <p:tavLst>
                                        <p:tav tm="0">
                                          <p:val>
                                            <p:strVal val="1+#ppt_h/2"/>
                                          </p:val>
                                        </p:tav>
                                        <p:tav tm="100000">
                                          <p:val>
                                            <p:strVal val="#ppt_y"/>
                                          </p:val>
                                        </p:tav>
                                      </p:tavLst>
                                    </p:anim>
                                  </p:childTnLst>
                                </p:cTn>
                              </p:par>
                              <p:par>
                                <p:cTn id="21" presetID="2" presetClass="entr" presetSubtype="4" dur="1500" decel="100000" fill="hold" grpId="0" nodeType="withEffect">
                                  <p:stCondLst>
                                    <p:cond delay="400"/>
                                  </p:stCondLst>
                                  <p:childTnLst>
                                    <p:set>
                                      <p:cBhvr>
                                        <p:cTn id="22" dur="1" fill="hold">
                                          <p:stCondLst>
                                            <p:cond delay="0"/>
                                          </p:stCondLst>
                                        </p:cTn>
                                        <p:tgtEl>
                                          <p:spTgt spid="14"/>
                                        </p:tgtEl>
                                        <p:attrNameLst>
                                          <p:attrName>style.visibility</p:attrName>
                                        </p:attrNameLst>
                                      </p:cBhvr>
                                      <p:to>
                                        <p:strVal val="visible"/>
                                      </p:to>
                                    </p:set>
                                    <p:anim calcmode="lin" valueType="num">
                                      <p:cBhvr additive="base">
                                        <p:cTn id="23" dur="1500" fill="hold"/>
                                        <p:tgtEl>
                                          <p:spTgt spid="14"/>
                                        </p:tgtEl>
                                        <p:attrNameLst>
                                          <p:attrName>ppt_x</p:attrName>
                                        </p:attrNameLst>
                                      </p:cBhvr>
                                      <p:tavLst>
                                        <p:tav tm="0">
                                          <p:val>
                                            <p:strVal val="#ppt_x"/>
                                          </p:val>
                                        </p:tav>
                                        <p:tav tm="100000">
                                          <p:val>
                                            <p:strVal val="#ppt_x"/>
                                          </p:val>
                                        </p:tav>
                                      </p:tavLst>
                                    </p:anim>
                                    <p:anim calcmode="lin" valueType="num">
                                      <p:cBhvr additive="base">
                                        <p:cTn id="24" dur="1500" fill="hold"/>
                                        <p:tgtEl>
                                          <p:spTgt spid="14"/>
                                        </p:tgtEl>
                                        <p:attrNameLst>
                                          <p:attrName>ppt_y</p:attrName>
                                        </p:attrNameLst>
                                      </p:cBhvr>
                                      <p:tavLst>
                                        <p:tav tm="0">
                                          <p:val>
                                            <p:strVal val="1+#ppt_h/2"/>
                                          </p:val>
                                        </p:tav>
                                        <p:tav tm="100000">
                                          <p:val>
                                            <p:strVal val="#ppt_y"/>
                                          </p:val>
                                        </p:tav>
                                      </p:tavLst>
                                    </p:anim>
                                  </p:childTnLst>
                                </p:cTn>
                              </p:par>
                              <p:par>
                                <p:cTn id="25" presetID="2" presetClass="entr" presetSubtype="4" dur="1500" decel="100000" fill="hold" grpId="0" nodeType="withEffect">
                                  <p:stCondLst>
                                    <p:cond delay="500"/>
                                  </p:stCondLst>
                                  <p:childTnLst>
                                    <p:set>
                                      <p:cBhvr>
                                        <p:cTn id="26" dur="1" fill="hold">
                                          <p:stCondLst>
                                            <p:cond delay="0"/>
                                          </p:stCondLst>
                                        </p:cTn>
                                        <p:tgtEl>
                                          <p:spTgt spid="15"/>
                                        </p:tgtEl>
                                        <p:attrNameLst>
                                          <p:attrName>style.visibility</p:attrName>
                                        </p:attrNameLst>
                                      </p:cBhvr>
                                      <p:to>
                                        <p:strVal val="visible"/>
                                      </p:to>
                                    </p:set>
                                    <p:anim calcmode="lin" valueType="num">
                                      <p:cBhvr additive="base">
                                        <p:cTn id="27" dur="1500" fill="hold"/>
                                        <p:tgtEl>
                                          <p:spTgt spid="15"/>
                                        </p:tgtEl>
                                        <p:attrNameLst>
                                          <p:attrName>ppt_x</p:attrName>
                                        </p:attrNameLst>
                                      </p:cBhvr>
                                      <p:tavLst>
                                        <p:tav tm="0">
                                          <p:val>
                                            <p:strVal val="#ppt_x"/>
                                          </p:val>
                                        </p:tav>
                                        <p:tav tm="100000">
                                          <p:val>
                                            <p:strVal val="#ppt_x"/>
                                          </p:val>
                                        </p:tav>
                                      </p:tavLst>
                                    </p:anim>
                                    <p:anim calcmode="lin" valueType="num">
                                      <p:cBhvr additive="base">
                                        <p:cTn id="28" dur="1500" fill="hold"/>
                                        <p:tgtEl>
                                          <p:spTgt spid="15"/>
                                        </p:tgtEl>
                                        <p:attrNameLst>
                                          <p:attrName>ppt_y</p:attrName>
                                        </p:attrNameLst>
                                      </p:cBhvr>
                                      <p:tavLst>
                                        <p:tav tm="0">
                                          <p:val>
                                            <p:strVal val="1+#ppt_h/2"/>
                                          </p:val>
                                        </p:tav>
                                        <p:tav tm="100000">
                                          <p:val>
                                            <p:strVal val="#ppt_y"/>
                                          </p:val>
                                        </p:tav>
                                      </p:tavLst>
                                    </p:anim>
                                  </p:childTnLst>
                                </p:cTn>
                              </p:par>
                              <p:par>
                                <p:cTn id="29" presetID="2" presetClass="entr" presetSubtype="4" dur="1500" decel="100000" fill="hold" grpId="0" nodeType="withEffect">
                                  <p:stCondLst>
                                    <p:cond delay="600"/>
                                  </p:stCondLst>
                                  <p:childTnLst>
                                    <p:set>
                                      <p:cBhvr>
                                        <p:cTn id="30" dur="1" fill="hold">
                                          <p:stCondLst>
                                            <p:cond delay="0"/>
                                          </p:stCondLst>
                                        </p:cTn>
                                        <p:tgtEl>
                                          <p:spTgt spid="16"/>
                                        </p:tgtEl>
                                        <p:attrNameLst>
                                          <p:attrName>style.visibility</p:attrName>
                                        </p:attrNameLst>
                                      </p:cBhvr>
                                      <p:to>
                                        <p:strVal val="visible"/>
                                      </p:to>
                                    </p:set>
                                    <p:anim calcmode="lin" valueType="num">
                                      <p:cBhvr additive="base">
                                        <p:cTn id="31" dur="1500" fill="hold"/>
                                        <p:tgtEl>
                                          <p:spTgt spid="16"/>
                                        </p:tgtEl>
                                        <p:attrNameLst>
                                          <p:attrName>ppt_x</p:attrName>
                                        </p:attrNameLst>
                                      </p:cBhvr>
                                      <p:tavLst>
                                        <p:tav tm="0">
                                          <p:val>
                                            <p:strVal val="#ppt_x"/>
                                          </p:val>
                                        </p:tav>
                                        <p:tav tm="100000">
                                          <p:val>
                                            <p:strVal val="#ppt_x"/>
                                          </p:val>
                                        </p:tav>
                                      </p:tavLst>
                                    </p:anim>
                                    <p:anim calcmode="lin" valueType="num">
                                      <p:cBhvr additive="base">
                                        <p:cTn id="32" dur="1500" fill="hold"/>
                                        <p:tgtEl>
                                          <p:spTgt spid="16"/>
                                        </p:tgtEl>
                                        <p:attrNameLst>
                                          <p:attrName>ppt_y</p:attrName>
                                        </p:attrNameLst>
                                      </p:cBhvr>
                                      <p:tavLst>
                                        <p:tav tm="0">
                                          <p:val>
                                            <p:strVal val="1+#ppt_h/2"/>
                                          </p:val>
                                        </p:tav>
                                        <p:tav tm="100000">
                                          <p:val>
                                            <p:strVal val="#ppt_y"/>
                                          </p:val>
                                        </p:tav>
                                      </p:tavLst>
                                    </p:anim>
                                  </p:childTnLst>
                                </p:cTn>
                              </p:par>
                              <p:par>
                                <p:cTn id="33" presetID="2" presetClass="entr" presetSubtype="4" dur="1500" decel="100000" fill="hold" grpId="0" nodeType="withEffect">
                                  <p:stCondLst>
                                    <p:cond delay="700"/>
                                  </p:stCondLst>
                                  <p:childTnLst>
                                    <p:set>
                                      <p:cBhvr>
                                        <p:cTn id="34" dur="1" fill="hold">
                                          <p:stCondLst>
                                            <p:cond delay="0"/>
                                          </p:stCondLst>
                                        </p:cTn>
                                        <p:tgtEl>
                                          <p:spTgt spid="2"/>
                                        </p:tgtEl>
                                        <p:attrNameLst>
                                          <p:attrName>style.visibility</p:attrName>
                                        </p:attrNameLst>
                                      </p:cBhvr>
                                      <p:to>
                                        <p:strVal val="visible"/>
                                      </p:to>
                                    </p:set>
                                    <p:anim calcmode="lin" valueType="num">
                                      <p:cBhvr additive="base">
                                        <p:cTn id="35" dur="1500" fill="hold"/>
                                        <p:tgtEl>
                                          <p:spTgt spid="2"/>
                                        </p:tgtEl>
                                        <p:attrNameLst>
                                          <p:attrName>ppt_x</p:attrName>
                                        </p:attrNameLst>
                                      </p:cBhvr>
                                      <p:tavLst>
                                        <p:tav tm="0">
                                          <p:val>
                                            <p:strVal val="#ppt_x"/>
                                          </p:val>
                                        </p:tav>
                                        <p:tav tm="100000">
                                          <p:val>
                                            <p:strVal val="#ppt_x"/>
                                          </p:val>
                                        </p:tav>
                                      </p:tavLst>
                                    </p:anim>
                                    <p:anim calcmode="lin" valueType="num">
                                      <p:cBhvr additive="base">
                                        <p:cTn id="36" dur="1500" fill="hold"/>
                                        <p:tgtEl>
                                          <p:spTgt spid="2"/>
                                        </p:tgtEl>
                                        <p:attrNameLst>
                                          <p:attrName>ppt_y</p:attrName>
                                        </p:attrNameLst>
                                      </p:cBhvr>
                                      <p:tavLst>
                                        <p:tav tm="0">
                                          <p:val>
                                            <p:strVal val="1+#ppt_h/2"/>
                                          </p:val>
                                        </p:tav>
                                        <p:tav tm="100000">
                                          <p:val>
                                            <p:strVal val="#ppt_y"/>
                                          </p:val>
                                        </p:tav>
                                      </p:tavLst>
                                    </p:anim>
                                  </p:childTnLst>
                                </p:cTn>
                              </p:par>
                              <p:par>
                                <p:cTn id="37" presetID="2" presetClass="entr" presetSubtype="4" dur="1500" decel="100000" fill="hold" grpId="0" nodeType="withEffect">
                                  <p:stCondLst>
                                    <p:cond delay="800"/>
                                  </p:stCondLst>
                                  <p:childTnLst>
                                    <p:set>
                                      <p:cBhvr>
                                        <p:cTn id="38" dur="1" fill="hold">
                                          <p:stCondLst>
                                            <p:cond delay="0"/>
                                          </p:stCondLst>
                                        </p:cTn>
                                        <p:tgtEl>
                                          <p:spTgt spid="8"/>
                                        </p:tgtEl>
                                        <p:attrNameLst>
                                          <p:attrName>style.visibility</p:attrName>
                                        </p:attrNameLst>
                                      </p:cBhvr>
                                      <p:to>
                                        <p:strVal val="visible"/>
                                      </p:to>
                                    </p:set>
                                    <p:anim calcmode="lin" valueType="num">
                                      <p:cBhvr additive="base">
                                        <p:cTn id="39" dur="1500" fill="hold"/>
                                        <p:tgtEl>
                                          <p:spTgt spid="8"/>
                                        </p:tgtEl>
                                        <p:attrNameLst>
                                          <p:attrName>ppt_x</p:attrName>
                                        </p:attrNameLst>
                                      </p:cBhvr>
                                      <p:tavLst>
                                        <p:tav tm="0">
                                          <p:val>
                                            <p:strVal val="#ppt_x"/>
                                          </p:val>
                                        </p:tav>
                                        <p:tav tm="100000">
                                          <p:val>
                                            <p:strVal val="#ppt_x"/>
                                          </p:val>
                                        </p:tav>
                                      </p:tavLst>
                                    </p:anim>
                                    <p:anim calcmode="lin" valueType="num">
                                      <p:cBhvr additive="base">
                                        <p:cTn id="40" dur="1500" fill="hold"/>
                                        <p:tgtEl>
                                          <p:spTgt spid="8"/>
                                        </p:tgtEl>
                                        <p:attrNameLst>
                                          <p:attrName>ppt_y</p:attrName>
                                        </p:attrNameLst>
                                      </p:cBhvr>
                                      <p:tavLst>
                                        <p:tav tm="0">
                                          <p:val>
                                            <p:strVal val="1+#ppt_h/2"/>
                                          </p:val>
                                        </p:tav>
                                        <p:tav tm="100000">
                                          <p:val>
                                            <p:strVal val="#ppt_y"/>
                                          </p:val>
                                        </p:tav>
                                      </p:tavLst>
                                    </p:anim>
                                  </p:childTnLst>
                                </p:cTn>
                              </p:par>
                              <p:par>
                                <p:cTn id="41" presetID="2" presetClass="entr" presetSubtype="4" dur="1500" decel="100000" fill="hold" grpId="0" nodeType="withEffect">
                                  <p:stCondLst>
                                    <p:cond delay="900"/>
                                  </p:stCondLst>
                                  <p:childTnLst>
                                    <p:set>
                                      <p:cBhvr>
                                        <p:cTn id="42" dur="1" fill="hold">
                                          <p:stCondLst>
                                            <p:cond delay="0"/>
                                          </p:stCondLst>
                                        </p:cTn>
                                        <p:tgtEl>
                                          <p:spTgt spid="9"/>
                                        </p:tgtEl>
                                        <p:attrNameLst>
                                          <p:attrName>style.visibility</p:attrName>
                                        </p:attrNameLst>
                                      </p:cBhvr>
                                      <p:to>
                                        <p:strVal val="visible"/>
                                      </p:to>
                                    </p:set>
                                    <p:anim calcmode="lin" valueType="num">
                                      <p:cBhvr additive="base">
                                        <p:cTn id="43" dur="1500" fill="hold"/>
                                        <p:tgtEl>
                                          <p:spTgt spid="9"/>
                                        </p:tgtEl>
                                        <p:attrNameLst>
                                          <p:attrName>ppt_x</p:attrName>
                                        </p:attrNameLst>
                                      </p:cBhvr>
                                      <p:tavLst>
                                        <p:tav tm="0">
                                          <p:val>
                                            <p:strVal val="#ppt_x"/>
                                          </p:val>
                                        </p:tav>
                                        <p:tav tm="100000">
                                          <p:val>
                                            <p:strVal val="#ppt_x"/>
                                          </p:val>
                                        </p:tav>
                                      </p:tavLst>
                                    </p:anim>
                                    <p:anim calcmode="lin" valueType="num">
                                      <p:cBhvr additive="base">
                                        <p:cTn id="44" dur="1500" fill="hold"/>
                                        <p:tgtEl>
                                          <p:spTgt spid="9"/>
                                        </p:tgtEl>
                                        <p:attrNameLst>
                                          <p:attrName>ppt_y</p:attrName>
                                        </p:attrNameLst>
                                      </p:cBhvr>
                                      <p:tavLst>
                                        <p:tav tm="0">
                                          <p:val>
                                            <p:strVal val="1+#ppt_h/2"/>
                                          </p:val>
                                        </p:tav>
                                        <p:tav tm="100000">
                                          <p:val>
                                            <p:strVal val="#ppt_y"/>
                                          </p:val>
                                        </p:tav>
                                      </p:tavLst>
                                    </p:anim>
                                  </p:childTnLst>
                                </p:cTn>
                              </p:par>
                              <p:par>
                                <p:cTn id="45" presetID="2" presetClass="entr" presetSubtype="4" dur="1500" decel="100000" fill="hold" grpId="0" nodeType="withEffect">
                                  <p:stCondLst>
                                    <p:cond delay="1000"/>
                                  </p:stCondLst>
                                  <p:childTnLst>
                                    <p:set>
                                      <p:cBhvr>
                                        <p:cTn id="46" dur="1" fill="hold">
                                          <p:stCondLst>
                                            <p:cond delay="0"/>
                                          </p:stCondLst>
                                        </p:cTn>
                                        <p:tgtEl>
                                          <p:spTgt spid="10"/>
                                        </p:tgtEl>
                                        <p:attrNameLst>
                                          <p:attrName>style.visibility</p:attrName>
                                        </p:attrNameLst>
                                      </p:cBhvr>
                                      <p:to>
                                        <p:strVal val="visible"/>
                                      </p:to>
                                    </p:set>
                                    <p:anim calcmode="lin" valueType="num">
                                      <p:cBhvr additive="base">
                                        <p:cTn id="47" dur="1500" fill="hold"/>
                                        <p:tgtEl>
                                          <p:spTgt spid="10"/>
                                        </p:tgtEl>
                                        <p:attrNameLst>
                                          <p:attrName>ppt_x</p:attrName>
                                        </p:attrNameLst>
                                      </p:cBhvr>
                                      <p:tavLst>
                                        <p:tav tm="0">
                                          <p:val>
                                            <p:strVal val="#ppt_x"/>
                                          </p:val>
                                        </p:tav>
                                        <p:tav tm="100000">
                                          <p:val>
                                            <p:strVal val="#ppt_x"/>
                                          </p:val>
                                        </p:tav>
                                      </p:tavLst>
                                    </p:anim>
                                    <p:anim calcmode="lin" valueType="num">
                                      <p:cBhvr additive="base">
                                        <p:cTn id="48" dur="1500" fill="hold"/>
                                        <p:tgtEl>
                                          <p:spTgt spid="10"/>
                                        </p:tgtEl>
                                        <p:attrNameLst>
                                          <p:attrName>ppt_y</p:attrName>
                                        </p:attrNameLst>
                                      </p:cBhvr>
                                      <p:tavLst>
                                        <p:tav tm="0">
                                          <p:val>
                                            <p:strVal val="1+#ppt_h/2"/>
                                          </p:val>
                                        </p:tav>
                                        <p:tav tm="100000">
                                          <p:val>
                                            <p:strVal val="#ppt_y"/>
                                          </p:val>
                                        </p:tav>
                                      </p:tavLst>
                                    </p:anim>
                                  </p:childTnLst>
                                </p:cTn>
                              </p:par>
                              <p:par>
                                <p:cTn id="49" presetID="2" presetClass="entr" presetSubtype="4" dur="1500" decel="100000" fill="hold" grpId="0" nodeType="withEffect">
                                  <p:stCondLst>
                                    <p:cond delay="1100"/>
                                  </p:stCondLst>
                                  <p:childTnLst>
                                    <p:set>
                                      <p:cBhvr>
                                        <p:cTn id="50" dur="1" fill="hold">
                                          <p:stCondLst>
                                            <p:cond delay="0"/>
                                          </p:stCondLst>
                                        </p:cTn>
                                        <p:tgtEl>
                                          <p:spTgt spid="11"/>
                                        </p:tgtEl>
                                        <p:attrNameLst>
                                          <p:attrName>style.visibility</p:attrName>
                                        </p:attrNameLst>
                                      </p:cBhvr>
                                      <p:to>
                                        <p:strVal val="visible"/>
                                      </p:to>
                                    </p:set>
                                    <p:anim calcmode="lin" valueType="num">
                                      <p:cBhvr additive="base">
                                        <p:cTn id="51" dur="1500" fill="hold"/>
                                        <p:tgtEl>
                                          <p:spTgt spid="11"/>
                                        </p:tgtEl>
                                        <p:attrNameLst>
                                          <p:attrName>ppt_x</p:attrName>
                                        </p:attrNameLst>
                                      </p:cBhvr>
                                      <p:tavLst>
                                        <p:tav tm="0">
                                          <p:val>
                                            <p:strVal val="#ppt_x"/>
                                          </p:val>
                                        </p:tav>
                                        <p:tav tm="100000">
                                          <p:val>
                                            <p:strVal val="#ppt_x"/>
                                          </p:val>
                                        </p:tav>
                                      </p:tavLst>
                                    </p:anim>
                                    <p:anim calcmode="lin" valueType="num">
                                      <p:cBhvr additive="base">
                                        <p:cTn id="52" dur="1500" fill="hold"/>
                                        <p:tgtEl>
                                          <p:spTgt spid="1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8" grpId="0" animBg="1"/>
      <p:bldP spid="19" grpId="0" animBg="1"/>
      <p:bldP spid="13" grpId="0" animBg="1"/>
      <p:bldP spid="14" grpId="0" animBg="1"/>
      <p:bldP spid="15" grpId="0" animBg="1"/>
      <p:bldP spid="16" grpId="0" animBg="1"/>
      <p:bldP spid="2" grpId="0" animBg="1"/>
      <p:bldP spid="8" grpId="0" animBg="1"/>
      <p:bldP spid="9" grpId="0" animBg="1"/>
      <p:bldP spid="10" grpId="0" animBg="1"/>
      <p:bldP spid="11" grpId="0" animBg="1"/>
    </p:bld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3_Custom Layout">
    <p:spTree>
      <p:nvGrpSpPr>
        <p:cNvPr id="1" name=""/>
        <p:cNvGrpSpPr/>
        <p:nvPr/>
      </p:nvGrpSpPr>
      <p:grpSpPr>
        <a:xfrm>
          <a:off x="0" y="0"/>
          <a:ext cx="0" cy="0"/>
          <a:chOff x="0" y="0"/>
          <a:chExt cx="0" cy="0"/>
        </a:xfrm>
      </p:grpSpPr>
      <p:sp>
        <p:nvSpPr>
          <p:cNvPr id="2" name="Rectangle: Diagonal Corners Rounded 1">
            <a:extLst>
              <a:ext uri="{FF2B5EF4-FFF2-40B4-BE49-F238E27FC236}">
                <a16:creationId xmlns:a16="http://schemas.microsoft.com/office/drawing/2014/main" id="{11A25E91-8608-EAF1-2D71-B3B814E61509}"/>
              </a:ext>
            </a:extLst>
          </p:cNvPr>
          <p:cNvSpPr/>
          <p:nvPr userDrawn="1"/>
        </p:nvSpPr>
        <p:spPr>
          <a:xfrm>
            <a:off x="812800" y="728662"/>
            <a:ext cx="10566400" cy="5589587"/>
          </a:xfrm>
          <a:prstGeom prst="round2DiagRect">
            <a:avLst>
              <a:gd name="adj1" fmla="val 6783"/>
              <a:gd name="adj2" fmla="val 0"/>
            </a:avLst>
          </a:prstGeom>
          <a:solidFill>
            <a:schemeClr val="accent3">
              <a:lumMod val="40000"/>
              <a:lumOff val="60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6" name="Picture Placeholder 5">
            <a:extLst>
              <a:ext uri="{FF2B5EF4-FFF2-40B4-BE49-F238E27FC236}">
                <a16:creationId xmlns:a16="http://schemas.microsoft.com/office/drawing/2014/main" id="{390A452D-DFE3-48E8-956D-B964AE99D0C7}"/>
              </a:ext>
            </a:extLst>
          </p:cNvPr>
          <p:cNvSpPr>
            <a:spLocks noGrp="1"/>
          </p:cNvSpPr>
          <p:nvPr>
            <p:ph type="pic" sz="quarter" idx="13"/>
          </p:nvPr>
        </p:nvSpPr>
        <p:spPr>
          <a:xfrm>
            <a:off x="1086501" y="1057275"/>
            <a:ext cx="4704737" cy="4705350"/>
          </a:xfrm>
          <a:custGeom>
            <a:avLst/>
            <a:gdLst>
              <a:gd name="connsiteX0" fmla="*/ 0 w 9410700"/>
              <a:gd name="connsiteY0" fmla="*/ 0 h 9410700"/>
              <a:gd name="connsiteX1" fmla="*/ 9410700 w 9410700"/>
              <a:gd name="connsiteY1" fmla="*/ 0 h 9410700"/>
              <a:gd name="connsiteX2" fmla="*/ 9410700 w 9410700"/>
              <a:gd name="connsiteY2" fmla="*/ 9410700 h 9410700"/>
              <a:gd name="connsiteX3" fmla="*/ 0 w 9410700"/>
              <a:gd name="connsiteY3" fmla="*/ 9410700 h 9410700"/>
            </a:gdLst>
            <a:ahLst/>
            <a:cxnLst>
              <a:cxn ang="0">
                <a:pos x="connsiteX0" y="connsiteY0"/>
              </a:cxn>
              <a:cxn ang="0">
                <a:pos x="connsiteX1" y="connsiteY1"/>
              </a:cxn>
              <a:cxn ang="0">
                <a:pos x="connsiteX2" y="connsiteY2"/>
              </a:cxn>
              <a:cxn ang="0">
                <a:pos x="connsiteX3" y="connsiteY3"/>
              </a:cxn>
            </a:cxnLst>
            <a:rect l="l" t="t" r="r" b="b"/>
            <a:pathLst>
              <a:path w="9410700" h="9410700">
                <a:moveTo>
                  <a:pt x="0" y="0"/>
                </a:moveTo>
                <a:lnTo>
                  <a:pt x="9410700" y="0"/>
                </a:lnTo>
                <a:lnTo>
                  <a:pt x="9410700" y="9410700"/>
                </a:lnTo>
                <a:lnTo>
                  <a:pt x="0" y="9410700"/>
                </a:ln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
        <p:nvSpPr>
          <p:cNvPr id="7" name="Picture Placeholder 6">
            <a:extLst>
              <a:ext uri="{FF2B5EF4-FFF2-40B4-BE49-F238E27FC236}">
                <a16:creationId xmlns:a16="http://schemas.microsoft.com/office/drawing/2014/main" id="{11D63369-5C3A-4822-ACB3-46071185D785}"/>
              </a:ext>
            </a:extLst>
          </p:cNvPr>
          <p:cNvSpPr>
            <a:spLocks noGrp="1"/>
          </p:cNvSpPr>
          <p:nvPr>
            <p:ph type="pic" sz="quarter" idx="14"/>
          </p:nvPr>
        </p:nvSpPr>
        <p:spPr>
          <a:xfrm>
            <a:off x="6400759" y="1057275"/>
            <a:ext cx="4704737" cy="4705350"/>
          </a:xfrm>
          <a:custGeom>
            <a:avLst/>
            <a:gdLst>
              <a:gd name="connsiteX0" fmla="*/ 0 w 9410699"/>
              <a:gd name="connsiteY0" fmla="*/ 0 h 9410700"/>
              <a:gd name="connsiteX1" fmla="*/ 9410699 w 9410699"/>
              <a:gd name="connsiteY1" fmla="*/ 0 h 9410700"/>
              <a:gd name="connsiteX2" fmla="*/ 9410699 w 9410699"/>
              <a:gd name="connsiteY2" fmla="*/ 9410700 h 9410700"/>
              <a:gd name="connsiteX3" fmla="*/ 0 w 9410699"/>
              <a:gd name="connsiteY3" fmla="*/ 9410700 h 9410700"/>
            </a:gdLst>
            <a:ahLst/>
            <a:cxnLst>
              <a:cxn ang="0">
                <a:pos x="connsiteX0" y="connsiteY0"/>
              </a:cxn>
              <a:cxn ang="0">
                <a:pos x="connsiteX1" y="connsiteY1"/>
              </a:cxn>
              <a:cxn ang="0">
                <a:pos x="connsiteX2" y="connsiteY2"/>
              </a:cxn>
              <a:cxn ang="0">
                <a:pos x="connsiteX3" y="connsiteY3"/>
              </a:cxn>
            </a:cxnLst>
            <a:rect l="l" t="t" r="r" b="b"/>
            <a:pathLst>
              <a:path w="9410699" h="9410700">
                <a:moveTo>
                  <a:pt x="0" y="0"/>
                </a:moveTo>
                <a:lnTo>
                  <a:pt x="9410699" y="0"/>
                </a:lnTo>
                <a:lnTo>
                  <a:pt x="9410699" y="9410700"/>
                </a:lnTo>
                <a:lnTo>
                  <a:pt x="0" y="9410700"/>
                </a:ln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Tree>
    <p:extLst>
      <p:ext uri="{BB962C8B-B14F-4D97-AF65-F5344CB8AC3E}">
        <p14:creationId xmlns:p14="http://schemas.microsoft.com/office/powerpoint/2010/main" val="3207305051"/>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4" dur="2200"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2200" fill="hold"/>
                                        <p:tgtEl>
                                          <p:spTgt spid="6"/>
                                        </p:tgtEl>
                                        <p:attrNameLst>
                                          <p:attrName>ppt_x</p:attrName>
                                        </p:attrNameLst>
                                      </p:cBhvr>
                                      <p:tavLst>
                                        <p:tav tm="0">
                                          <p:val>
                                            <p:strVal val="#ppt_x"/>
                                          </p:val>
                                        </p:tav>
                                        <p:tav tm="100000">
                                          <p:val>
                                            <p:strVal val="#ppt_x"/>
                                          </p:val>
                                        </p:tav>
                                      </p:tavLst>
                                    </p:anim>
                                    <p:anim calcmode="lin" valueType="num">
                                      <p:cBhvr additive="base">
                                        <p:cTn id="8" dur="2200" fill="hold"/>
                                        <p:tgtEl>
                                          <p:spTgt spid="6"/>
                                        </p:tgtEl>
                                        <p:attrNameLst>
                                          <p:attrName>ppt_y</p:attrName>
                                        </p:attrNameLst>
                                      </p:cBhvr>
                                      <p:tavLst>
                                        <p:tav tm="0">
                                          <p:val>
                                            <p:strVal val="1+#ppt_h/2"/>
                                          </p:val>
                                        </p:tav>
                                        <p:tav tm="100000">
                                          <p:val>
                                            <p:strVal val="#ppt_y"/>
                                          </p:val>
                                        </p:tav>
                                      </p:tavLst>
                                    </p:anim>
                                  </p:childTnLst>
                                </p:cTn>
                              </p:par>
                              <p:par>
                                <p:cTn id="9" presetID="2" presetClass="entr" presetSubtype="1" dur="2200" decel="10000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2200" fill="hold"/>
                                        <p:tgtEl>
                                          <p:spTgt spid="7"/>
                                        </p:tgtEl>
                                        <p:attrNameLst>
                                          <p:attrName>ppt_x</p:attrName>
                                        </p:attrNameLst>
                                      </p:cBhvr>
                                      <p:tavLst>
                                        <p:tav tm="0">
                                          <p:val>
                                            <p:strVal val="#ppt_x"/>
                                          </p:val>
                                        </p:tav>
                                        <p:tav tm="100000">
                                          <p:val>
                                            <p:strVal val="#ppt_x"/>
                                          </p:val>
                                        </p:tav>
                                      </p:tavLst>
                                    </p:anim>
                                    <p:anim calcmode="lin" valueType="num">
                                      <p:cBhvr additive="base">
                                        <p:cTn id="12" dur="2200" fill="hold"/>
                                        <p:tgtEl>
                                          <p:spTgt spid="7"/>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Lst>
  </p:timing>
</p:sldLayout>
</file>

<file path=ppt/slideLayouts/slideLayout280.xml><?xml version="1.0" encoding="utf-8"?>
<p:sldLayout xmlns:a="http://schemas.openxmlformats.org/drawingml/2006/main" xmlns:r="http://schemas.openxmlformats.org/officeDocument/2006/relationships" xmlns:p="http://schemas.openxmlformats.org/presentationml/2006/main" userDrawn="1">
  <p:cSld name="15_Custom Layout">
    <p:spTree>
      <p:nvGrpSpPr>
        <p:cNvPr id="1" name=""/>
        <p:cNvGrpSpPr/>
        <p:nvPr/>
      </p:nvGrpSpPr>
      <p:grpSpPr>
        <a:xfrm>
          <a:off x="0" y="0"/>
          <a:ext cx="0" cy="0"/>
          <a:chOff x="0" y="0"/>
          <a:chExt cx="0" cy="0"/>
        </a:xfrm>
      </p:grpSpPr>
      <p:sp>
        <p:nvSpPr>
          <p:cNvPr id="48" name="Picture Placeholder 75">
            <a:extLst>
              <a:ext uri="{FF2B5EF4-FFF2-40B4-BE49-F238E27FC236}">
                <a16:creationId xmlns:a16="http://schemas.microsoft.com/office/drawing/2014/main" id="{E663C24A-6D61-4CE5-B812-FEFFD014239B}"/>
              </a:ext>
            </a:extLst>
          </p:cNvPr>
          <p:cNvSpPr>
            <a:spLocks noGrp="1" noChangeAspect="1"/>
          </p:cNvSpPr>
          <p:nvPr>
            <p:ph type="pic" sz="quarter" idx="57"/>
          </p:nvPr>
        </p:nvSpPr>
        <p:spPr>
          <a:xfrm>
            <a:off x="-657118" y="-1490653"/>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49" name="Picture Placeholder 75">
            <a:extLst>
              <a:ext uri="{FF2B5EF4-FFF2-40B4-BE49-F238E27FC236}">
                <a16:creationId xmlns:a16="http://schemas.microsoft.com/office/drawing/2014/main" id="{FC0F3EFD-29EA-4CF3-945D-F2BDFE1089BA}"/>
              </a:ext>
            </a:extLst>
          </p:cNvPr>
          <p:cNvSpPr>
            <a:spLocks noGrp="1" noChangeAspect="1"/>
          </p:cNvSpPr>
          <p:nvPr>
            <p:ph type="pic" sz="quarter" idx="58"/>
          </p:nvPr>
        </p:nvSpPr>
        <p:spPr>
          <a:xfrm>
            <a:off x="-2891069" y="-231196"/>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41" name="Picture Placeholder 75">
            <a:extLst>
              <a:ext uri="{FF2B5EF4-FFF2-40B4-BE49-F238E27FC236}">
                <a16:creationId xmlns:a16="http://schemas.microsoft.com/office/drawing/2014/main" id="{03EDB8AD-F804-43C3-A0D1-C12D7225E290}"/>
              </a:ext>
            </a:extLst>
          </p:cNvPr>
          <p:cNvSpPr>
            <a:spLocks noGrp="1" noChangeAspect="1"/>
          </p:cNvSpPr>
          <p:nvPr>
            <p:ph type="pic" sz="quarter" idx="50"/>
          </p:nvPr>
        </p:nvSpPr>
        <p:spPr>
          <a:xfrm>
            <a:off x="1728774" y="-1139772"/>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42" name="Picture Placeholder 75">
            <a:extLst>
              <a:ext uri="{FF2B5EF4-FFF2-40B4-BE49-F238E27FC236}">
                <a16:creationId xmlns:a16="http://schemas.microsoft.com/office/drawing/2014/main" id="{C5D21686-787F-4D1D-8E80-E2508F394D2B}"/>
              </a:ext>
            </a:extLst>
          </p:cNvPr>
          <p:cNvSpPr>
            <a:spLocks noGrp="1" noChangeAspect="1"/>
          </p:cNvSpPr>
          <p:nvPr>
            <p:ph type="pic" sz="quarter" idx="51"/>
          </p:nvPr>
        </p:nvSpPr>
        <p:spPr>
          <a:xfrm>
            <a:off x="-505177" y="119685"/>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43" name="Picture Placeholder 75">
            <a:extLst>
              <a:ext uri="{FF2B5EF4-FFF2-40B4-BE49-F238E27FC236}">
                <a16:creationId xmlns:a16="http://schemas.microsoft.com/office/drawing/2014/main" id="{A4D6FD94-3DFB-4DD1-A3E1-05F00BC1540C}"/>
              </a:ext>
            </a:extLst>
          </p:cNvPr>
          <p:cNvSpPr>
            <a:spLocks noGrp="1" noChangeAspect="1"/>
          </p:cNvSpPr>
          <p:nvPr>
            <p:ph type="pic" sz="quarter" idx="52"/>
          </p:nvPr>
        </p:nvSpPr>
        <p:spPr>
          <a:xfrm>
            <a:off x="-2739128" y="1379142"/>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28" name="Picture Placeholder 75">
            <a:extLst>
              <a:ext uri="{FF2B5EF4-FFF2-40B4-BE49-F238E27FC236}">
                <a16:creationId xmlns:a16="http://schemas.microsoft.com/office/drawing/2014/main" id="{6CAD025C-A654-4C88-A249-7079110D412A}"/>
              </a:ext>
            </a:extLst>
          </p:cNvPr>
          <p:cNvSpPr>
            <a:spLocks noGrp="1" noChangeAspect="1"/>
          </p:cNvSpPr>
          <p:nvPr>
            <p:ph type="pic" sz="quarter" idx="43"/>
          </p:nvPr>
        </p:nvSpPr>
        <p:spPr>
          <a:xfrm>
            <a:off x="3949279" y="-686603"/>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29" name="Picture Placeholder 75">
            <a:extLst>
              <a:ext uri="{FF2B5EF4-FFF2-40B4-BE49-F238E27FC236}">
                <a16:creationId xmlns:a16="http://schemas.microsoft.com/office/drawing/2014/main" id="{7D2A6AB2-B1B6-4E6E-A516-1624DC823BCE}"/>
              </a:ext>
            </a:extLst>
          </p:cNvPr>
          <p:cNvSpPr>
            <a:spLocks noGrp="1" noChangeAspect="1"/>
          </p:cNvSpPr>
          <p:nvPr>
            <p:ph type="pic" sz="quarter" idx="44"/>
          </p:nvPr>
        </p:nvSpPr>
        <p:spPr>
          <a:xfrm>
            <a:off x="1715328" y="572855"/>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30" name="Picture Placeholder 75">
            <a:extLst>
              <a:ext uri="{FF2B5EF4-FFF2-40B4-BE49-F238E27FC236}">
                <a16:creationId xmlns:a16="http://schemas.microsoft.com/office/drawing/2014/main" id="{9DD0859E-1EE8-4927-8BB2-F5754D3BD7BB}"/>
              </a:ext>
            </a:extLst>
          </p:cNvPr>
          <p:cNvSpPr>
            <a:spLocks noGrp="1" noChangeAspect="1"/>
          </p:cNvSpPr>
          <p:nvPr>
            <p:ph type="pic" sz="quarter" idx="45"/>
          </p:nvPr>
        </p:nvSpPr>
        <p:spPr>
          <a:xfrm>
            <a:off x="-518622" y="1832312"/>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31" name="Picture Placeholder 75">
            <a:extLst>
              <a:ext uri="{FF2B5EF4-FFF2-40B4-BE49-F238E27FC236}">
                <a16:creationId xmlns:a16="http://schemas.microsoft.com/office/drawing/2014/main" id="{F9FC8C08-0383-4EC2-82BB-1133D3D229E0}"/>
              </a:ext>
            </a:extLst>
          </p:cNvPr>
          <p:cNvSpPr>
            <a:spLocks noGrp="1" noChangeAspect="1"/>
          </p:cNvSpPr>
          <p:nvPr>
            <p:ph type="pic" sz="quarter" idx="46"/>
          </p:nvPr>
        </p:nvSpPr>
        <p:spPr>
          <a:xfrm>
            <a:off x="-2752573" y="3091769"/>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16" name="Picture Placeholder 75">
            <a:extLst>
              <a:ext uri="{FF2B5EF4-FFF2-40B4-BE49-F238E27FC236}">
                <a16:creationId xmlns:a16="http://schemas.microsoft.com/office/drawing/2014/main" id="{607EBF97-CA98-44E9-938D-F451E62350C1}"/>
              </a:ext>
            </a:extLst>
          </p:cNvPr>
          <p:cNvSpPr>
            <a:spLocks noGrp="1" noChangeAspect="1"/>
          </p:cNvSpPr>
          <p:nvPr>
            <p:ph type="pic" sz="quarter" idx="37"/>
          </p:nvPr>
        </p:nvSpPr>
        <p:spPr>
          <a:xfrm>
            <a:off x="6942516" y="-686603"/>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17" name="Picture Placeholder 75">
            <a:extLst>
              <a:ext uri="{FF2B5EF4-FFF2-40B4-BE49-F238E27FC236}">
                <a16:creationId xmlns:a16="http://schemas.microsoft.com/office/drawing/2014/main" id="{3D16D7ED-FD8B-4316-A459-2B2FB95393A8}"/>
              </a:ext>
            </a:extLst>
          </p:cNvPr>
          <p:cNvSpPr>
            <a:spLocks noGrp="1" noChangeAspect="1"/>
          </p:cNvSpPr>
          <p:nvPr>
            <p:ph type="pic" sz="quarter" idx="38"/>
          </p:nvPr>
        </p:nvSpPr>
        <p:spPr>
          <a:xfrm>
            <a:off x="4708566" y="572855"/>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18" name="Picture Placeholder 75">
            <a:extLst>
              <a:ext uri="{FF2B5EF4-FFF2-40B4-BE49-F238E27FC236}">
                <a16:creationId xmlns:a16="http://schemas.microsoft.com/office/drawing/2014/main" id="{0CDD9022-DE91-4943-A173-2B143DF81A30}"/>
              </a:ext>
            </a:extLst>
          </p:cNvPr>
          <p:cNvSpPr>
            <a:spLocks noGrp="1" noChangeAspect="1"/>
          </p:cNvSpPr>
          <p:nvPr>
            <p:ph type="pic" sz="quarter" idx="39"/>
          </p:nvPr>
        </p:nvSpPr>
        <p:spPr>
          <a:xfrm>
            <a:off x="2474615" y="1832312"/>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19" name="Picture Placeholder 75">
            <a:extLst>
              <a:ext uri="{FF2B5EF4-FFF2-40B4-BE49-F238E27FC236}">
                <a16:creationId xmlns:a16="http://schemas.microsoft.com/office/drawing/2014/main" id="{ABE95176-571E-450E-92C4-6C81EA4C7A3E}"/>
              </a:ext>
            </a:extLst>
          </p:cNvPr>
          <p:cNvSpPr>
            <a:spLocks noGrp="1" noChangeAspect="1"/>
          </p:cNvSpPr>
          <p:nvPr>
            <p:ph type="pic" sz="quarter" idx="40"/>
          </p:nvPr>
        </p:nvSpPr>
        <p:spPr>
          <a:xfrm>
            <a:off x="240664" y="3091769"/>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20" name="Picture Placeholder 75">
            <a:extLst>
              <a:ext uri="{FF2B5EF4-FFF2-40B4-BE49-F238E27FC236}">
                <a16:creationId xmlns:a16="http://schemas.microsoft.com/office/drawing/2014/main" id="{3EFAEF24-F8F9-40CF-94FB-D6695C184868}"/>
              </a:ext>
            </a:extLst>
          </p:cNvPr>
          <p:cNvSpPr>
            <a:spLocks noGrp="1" noChangeAspect="1"/>
          </p:cNvSpPr>
          <p:nvPr>
            <p:ph type="pic" sz="quarter" idx="41"/>
          </p:nvPr>
        </p:nvSpPr>
        <p:spPr>
          <a:xfrm>
            <a:off x="-1993286" y="4351226"/>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2" name="Picture Placeholder 75">
            <a:extLst>
              <a:ext uri="{FF2B5EF4-FFF2-40B4-BE49-F238E27FC236}">
                <a16:creationId xmlns:a16="http://schemas.microsoft.com/office/drawing/2014/main" id="{35C81404-E27E-4F36-A623-E57FC83C04C2}"/>
              </a:ext>
            </a:extLst>
          </p:cNvPr>
          <p:cNvSpPr>
            <a:spLocks noGrp="1" noChangeAspect="1"/>
          </p:cNvSpPr>
          <p:nvPr>
            <p:ph type="pic" sz="quarter" idx="24"/>
          </p:nvPr>
        </p:nvSpPr>
        <p:spPr>
          <a:xfrm>
            <a:off x="9672465" y="-531152"/>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4" name="Picture Placeholder 75">
            <a:extLst>
              <a:ext uri="{FF2B5EF4-FFF2-40B4-BE49-F238E27FC236}">
                <a16:creationId xmlns:a16="http://schemas.microsoft.com/office/drawing/2014/main" id="{FEAB132E-72A8-4AAE-84A4-48B1A95CEE6C}"/>
              </a:ext>
            </a:extLst>
          </p:cNvPr>
          <p:cNvSpPr>
            <a:spLocks noGrp="1" noChangeAspect="1"/>
          </p:cNvSpPr>
          <p:nvPr>
            <p:ph type="pic" sz="quarter" idx="25"/>
          </p:nvPr>
        </p:nvSpPr>
        <p:spPr>
          <a:xfrm>
            <a:off x="7438514" y="728306"/>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5" name="Picture Placeholder 75">
            <a:extLst>
              <a:ext uri="{FF2B5EF4-FFF2-40B4-BE49-F238E27FC236}">
                <a16:creationId xmlns:a16="http://schemas.microsoft.com/office/drawing/2014/main" id="{243FAE32-B9F4-4AE7-AE82-22570A22956A}"/>
              </a:ext>
            </a:extLst>
          </p:cNvPr>
          <p:cNvSpPr>
            <a:spLocks noGrp="1" noChangeAspect="1"/>
          </p:cNvSpPr>
          <p:nvPr>
            <p:ph type="pic" sz="quarter" idx="26"/>
          </p:nvPr>
        </p:nvSpPr>
        <p:spPr>
          <a:xfrm>
            <a:off x="5204564" y="1987763"/>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6" name="Picture Placeholder 75">
            <a:extLst>
              <a:ext uri="{FF2B5EF4-FFF2-40B4-BE49-F238E27FC236}">
                <a16:creationId xmlns:a16="http://schemas.microsoft.com/office/drawing/2014/main" id="{22DB54D1-378A-4542-9D02-E25B5BADC362}"/>
              </a:ext>
            </a:extLst>
          </p:cNvPr>
          <p:cNvSpPr>
            <a:spLocks noGrp="1" noChangeAspect="1"/>
          </p:cNvSpPr>
          <p:nvPr>
            <p:ph type="pic" sz="quarter" idx="27"/>
          </p:nvPr>
        </p:nvSpPr>
        <p:spPr>
          <a:xfrm>
            <a:off x="2970613" y="3247220"/>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7" name="Picture Placeholder 75">
            <a:extLst>
              <a:ext uri="{FF2B5EF4-FFF2-40B4-BE49-F238E27FC236}">
                <a16:creationId xmlns:a16="http://schemas.microsoft.com/office/drawing/2014/main" id="{8FFD3707-289A-4097-A634-5DFE56AC06FE}"/>
              </a:ext>
            </a:extLst>
          </p:cNvPr>
          <p:cNvSpPr>
            <a:spLocks noGrp="1" noChangeAspect="1"/>
          </p:cNvSpPr>
          <p:nvPr>
            <p:ph type="pic" sz="quarter" idx="28"/>
          </p:nvPr>
        </p:nvSpPr>
        <p:spPr>
          <a:xfrm>
            <a:off x="736662" y="4506677"/>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8" name="Picture Placeholder 75">
            <a:extLst>
              <a:ext uri="{FF2B5EF4-FFF2-40B4-BE49-F238E27FC236}">
                <a16:creationId xmlns:a16="http://schemas.microsoft.com/office/drawing/2014/main" id="{54A7639C-C713-48A6-BCBD-272206505DD0}"/>
              </a:ext>
            </a:extLst>
          </p:cNvPr>
          <p:cNvSpPr>
            <a:spLocks noGrp="1" noChangeAspect="1"/>
          </p:cNvSpPr>
          <p:nvPr>
            <p:ph type="pic" sz="quarter" idx="29"/>
          </p:nvPr>
        </p:nvSpPr>
        <p:spPr>
          <a:xfrm>
            <a:off x="-1497288" y="5766134"/>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10" name="Picture Placeholder 75">
            <a:extLst>
              <a:ext uri="{FF2B5EF4-FFF2-40B4-BE49-F238E27FC236}">
                <a16:creationId xmlns:a16="http://schemas.microsoft.com/office/drawing/2014/main" id="{EADC1BA6-7445-4738-896F-F25E3B51C125}"/>
              </a:ext>
            </a:extLst>
          </p:cNvPr>
          <p:cNvSpPr>
            <a:spLocks noGrp="1" noChangeAspect="1"/>
          </p:cNvSpPr>
          <p:nvPr>
            <p:ph type="pic" sz="quarter" idx="31"/>
          </p:nvPr>
        </p:nvSpPr>
        <p:spPr>
          <a:xfrm>
            <a:off x="10280074" y="813692"/>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11" name="Picture Placeholder 75">
            <a:extLst>
              <a:ext uri="{FF2B5EF4-FFF2-40B4-BE49-F238E27FC236}">
                <a16:creationId xmlns:a16="http://schemas.microsoft.com/office/drawing/2014/main" id="{C2B339F4-9FE6-4B11-BADC-2E50B1ADD1F5}"/>
              </a:ext>
            </a:extLst>
          </p:cNvPr>
          <p:cNvSpPr>
            <a:spLocks noGrp="1" noChangeAspect="1"/>
          </p:cNvSpPr>
          <p:nvPr>
            <p:ph type="pic" sz="quarter" idx="32"/>
          </p:nvPr>
        </p:nvSpPr>
        <p:spPr>
          <a:xfrm>
            <a:off x="8046124" y="2073149"/>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12" name="Picture Placeholder 75">
            <a:extLst>
              <a:ext uri="{FF2B5EF4-FFF2-40B4-BE49-F238E27FC236}">
                <a16:creationId xmlns:a16="http://schemas.microsoft.com/office/drawing/2014/main" id="{FFE71006-16E5-457F-9B4E-4C8C74041CF2}"/>
              </a:ext>
            </a:extLst>
          </p:cNvPr>
          <p:cNvSpPr>
            <a:spLocks noGrp="1" noChangeAspect="1"/>
          </p:cNvSpPr>
          <p:nvPr>
            <p:ph type="pic" sz="quarter" idx="33"/>
          </p:nvPr>
        </p:nvSpPr>
        <p:spPr>
          <a:xfrm>
            <a:off x="5812173" y="3332606"/>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13" name="Picture Placeholder 75">
            <a:extLst>
              <a:ext uri="{FF2B5EF4-FFF2-40B4-BE49-F238E27FC236}">
                <a16:creationId xmlns:a16="http://schemas.microsoft.com/office/drawing/2014/main" id="{6DDB9485-9DF7-49C5-ADFC-F845200EBD64}"/>
              </a:ext>
            </a:extLst>
          </p:cNvPr>
          <p:cNvSpPr>
            <a:spLocks noGrp="1" noChangeAspect="1"/>
          </p:cNvSpPr>
          <p:nvPr>
            <p:ph type="pic" sz="quarter" idx="34"/>
          </p:nvPr>
        </p:nvSpPr>
        <p:spPr>
          <a:xfrm>
            <a:off x="3578222" y="4592063"/>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14" name="Picture Placeholder 75">
            <a:extLst>
              <a:ext uri="{FF2B5EF4-FFF2-40B4-BE49-F238E27FC236}">
                <a16:creationId xmlns:a16="http://schemas.microsoft.com/office/drawing/2014/main" id="{C2FEBF29-F3C4-44EB-A394-6B97F83C159B}"/>
              </a:ext>
            </a:extLst>
          </p:cNvPr>
          <p:cNvSpPr>
            <a:spLocks noGrp="1" noChangeAspect="1"/>
          </p:cNvSpPr>
          <p:nvPr>
            <p:ph type="pic" sz="quarter" idx="35"/>
          </p:nvPr>
        </p:nvSpPr>
        <p:spPr>
          <a:xfrm>
            <a:off x="1344272" y="5851520"/>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53" name="Picture Placeholder 75">
            <a:extLst>
              <a:ext uri="{FF2B5EF4-FFF2-40B4-BE49-F238E27FC236}">
                <a16:creationId xmlns:a16="http://schemas.microsoft.com/office/drawing/2014/main" id="{2F015E8F-22EA-4453-8367-140895DC3255}"/>
              </a:ext>
            </a:extLst>
          </p:cNvPr>
          <p:cNvSpPr>
            <a:spLocks noGrp="1" noChangeAspect="1"/>
          </p:cNvSpPr>
          <p:nvPr>
            <p:ph type="pic" sz="quarter" idx="62"/>
          </p:nvPr>
        </p:nvSpPr>
        <p:spPr>
          <a:xfrm>
            <a:off x="10348604" y="2456075"/>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54" name="Picture Placeholder 75">
            <a:extLst>
              <a:ext uri="{FF2B5EF4-FFF2-40B4-BE49-F238E27FC236}">
                <a16:creationId xmlns:a16="http://schemas.microsoft.com/office/drawing/2014/main" id="{38BD2839-9FD8-4A47-8C6C-BA555D30B060}"/>
              </a:ext>
            </a:extLst>
          </p:cNvPr>
          <p:cNvSpPr>
            <a:spLocks noGrp="1" noChangeAspect="1"/>
          </p:cNvSpPr>
          <p:nvPr>
            <p:ph type="pic" sz="quarter" idx="63"/>
          </p:nvPr>
        </p:nvSpPr>
        <p:spPr>
          <a:xfrm>
            <a:off x="8114654" y="3715532"/>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55" name="Picture Placeholder 75">
            <a:extLst>
              <a:ext uri="{FF2B5EF4-FFF2-40B4-BE49-F238E27FC236}">
                <a16:creationId xmlns:a16="http://schemas.microsoft.com/office/drawing/2014/main" id="{36034C35-1CBE-46E5-9904-EDC510CB644A}"/>
              </a:ext>
            </a:extLst>
          </p:cNvPr>
          <p:cNvSpPr>
            <a:spLocks noGrp="1" noChangeAspect="1"/>
          </p:cNvSpPr>
          <p:nvPr>
            <p:ph type="pic" sz="quarter" idx="64"/>
          </p:nvPr>
        </p:nvSpPr>
        <p:spPr>
          <a:xfrm>
            <a:off x="5880703" y="4974989"/>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56" name="Picture Placeholder 75">
            <a:extLst>
              <a:ext uri="{FF2B5EF4-FFF2-40B4-BE49-F238E27FC236}">
                <a16:creationId xmlns:a16="http://schemas.microsoft.com/office/drawing/2014/main" id="{507BEDBC-9F75-40C5-8467-AA2A8746E709}"/>
              </a:ext>
            </a:extLst>
          </p:cNvPr>
          <p:cNvSpPr>
            <a:spLocks noGrp="1" noChangeAspect="1"/>
          </p:cNvSpPr>
          <p:nvPr>
            <p:ph type="pic" sz="quarter" idx="65"/>
          </p:nvPr>
        </p:nvSpPr>
        <p:spPr>
          <a:xfrm>
            <a:off x="3646752" y="6234445"/>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59" name="Picture Placeholder 75">
            <a:extLst>
              <a:ext uri="{FF2B5EF4-FFF2-40B4-BE49-F238E27FC236}">
                <a16:creationId xmlns:a16="http://schemas.microsoft.com/office/drawing/2014/main" id="{AECDF11A-996B-4276-B504-5061846D8626}"/>
              </a:ext>
            </a:extLst>
          </p:cNvPr>
          <p:cNvSpPr>
            <a:spLocks noGrp="1" noChangeAspect="1"/>
          </p:cNvSpPr>
          <p:nvPr>
            <p:ph type="pic" sz="quarter" idx="68"/>
          </p:nvPr>
        </p:nvSpPr>
        <p:spPr>
          <a:xfrm>
            <a:off x="10536718" y="4037823"/>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60" name="Picture Placeholder 75">
            <a:extLst>
              <a:ext uri="{FF2B5EF4-FFF2-40B4-BE49-F238E27FC236}">
                <a16:creationId xmlns:a16="http://schemas.microsoft.com/office/drawing/2014/main" id="{18FFBB60-78C0-41D6-B988-AE90BC50278F}"/>
              </a:ext>
            </a:extLst>
          </p:cNvPr>
          <p:cNvSpPr>
            <a:spLocks noGrp="1" noChangeAspect="1"/>
          </p:cNvSpPr>
          <p:nvPr>
            <p:ph type="pic" sz="quarter" idx="69"/>
          </p:nvPr>
        </p:nvSpPr>
        <p:spPr>
          <a:xfrm>
            <a:off x="8302767" y="5297280"/>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61" name="Picture Placeholder 75">
            <a:extLst>
              <a:ext uri="{FF2B5EF4-FFF2-40B4-BE49-F238E27FC236}">
                <a16:creationId xmlns:a16="http://schemas.microsoft.com/office/drawing/2014/main" id="{157843DF-2840-468E-B1B3-C729FF5281C6}"/>
              </a:ext>
            </a:extLst>
          </p:cNvPr>
          <p:cNvSpPr>
            <a:spLocks noGrp="1" noChangeAspect="1"/>
          </p:cNvSpPr>
          <p:nvPr>
            <p:ph type="pic" sz="quarter" idx="70"/>
          </p:nvPr>
        </p:nvSpPr>
        <p:spPr>
          <a:xfrm>
            <a:off x="6068817" y="6556737"/>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65" name="Picture Placeholder 75">
            <a:extLst>
              <a:ext uri="{FF2B5EF4-FFF2-40B4-BE49-F238E27FC236}">
                <a16:creationId xmlns:a16="http://schemas.microsoft.com/office/drawing/2014/main" id="{8DF2D5D1-AC63-4DDD-BF20-41ACF22FCE4B}"/>
              </a:ext>
            </a:extLst>
          </p:cNvPr>
          <p:cNvSpPr>
            <a:spLocks noGrp="1" noChangeAspect="1"/>
          </p:cNvSpPr>
          <p:nvPr>
            <p:ph type="pic" sz="quarter" idx="74"/>
          </p:nvPr>
        </p:nvSpPr>
        <p:spPr>
          <a:xfrm>
            <a:off x="11051634" y="5464020"/>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66" name="Picture Placeholder 75">
            <a:extLst>
              <a:ext uri="{FF2B5EF4-FFF2-40B4-BE49-F238E27FC236}">
                <a16:creationId xmlns:a16="http://schemas.microsoft.com/office/drawing/2014/main" id="{3932DA6D-A9C7-4444-87EB-1B1FFD57213B}"/>
              </a:ext>
            </a:extLst>
          </p:cNvPr>
          <p:cNvSpPr>
            <a:spLocks noGrp="1" noChangeAspect="1"/>
          </p:cNvSpPr>
          <p:nvPr>
            <p:ph type="pic" sz="quarter" idx="75"/>
          </p:nvPr>
        </p:nvSpPr>
        <p:spPr>
          <a:xfrm>
            <a:off x="8817684" y="6723477"/>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Tree>
    <p:extLst>
      <p:ext uri="{BB962C8B-B14F-4D97-AF65-F5344CB8AC3E}">
        <p14:creationId xmlns:p14="http://schemas.microsoft.com/office/powerpoint/2010/main" val="1325071104"/>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6" dur="3000" decel="100000" fill="hold" grpId="0" nodeType="withEffect">
                                  <p:stCondLst>
                                    <p:cond delay="0"/>
                                  </p:stCondLst>
                                  <p:childTnLst>
                                    <p:set>
                                      <p:cBhvr>
                                        <p:cTn id="6" dur="1" fill="hold">
                                          <p:stCondLst>
                                            <p:cond delay="0"/>
                                          </p:stCondLst>
                                        </p:cTn>
                                        <p:tgtEl>
                                          <p:spTgt spid="48"/>
                                        </p:tgtEl>
                                        <p:attrNameLst>
                                          <p:attrName>style.visibility</p:attrName>
                                        </p:attrNameLst>
                                      </p:cBhvr>
                                      <p:to>
                                        <p:strVal val="visible"/>
                                      </p:to>
                                    </p:set>
                                    <p:anim calcmode="lin" valueType="num">
                                      <p:cBhvr additive="base">
                                        <p:cTn id="7" dur="3000" fill="hold"/>
                                        <p:tgtEl>
                                          <p:spTgt spid="48"/>
                                        </p:tgtEl>
                                        <p:attrNameLst>
                                          <p:attrName>ppt_x</p:attrName>
                                        </p:attrNameLst>
                                      </p:cBhvr>
                                      <p:tavLst>
                                        <p:tav tm="0">
                                          <p:val>
                                            <p:strVal val="1+#ppt_w/2"/>
                                          </p:val>
                                        </p:tav>
                                        <p:tav tm="100000">
                                          <p:val>
                                            <p:strVal val="#ppt_x"/>
                                          </p:val>
                                        </p:tav>
                                      </p:tavLst>
                                    </p:anim>
                                    <p:anim calcmode="lin" valueType="num">
                                      <p:cBhvr additive="base">
                                        <p:cTn id="8" dur="3000" fill="hold"/>
                                        <p:tgtEl>
                                          <p:spTgt spid="48"/>
                                        </p:tgtEl>
                                        <p:attrNameLst>
                                          <p:attrName>ppt_y</p:attrName>
                                        </p:attrNameLst>
                                      </p:cBhvr>
                                      <p:tavLst>
                                        <p:tav tm="0">
                                          <p:val>
                                            <p:strVal val="1+#ppt_h/2"/>
                                          </p:val>
                                        </p:tav>
                                        <p:tav tm="100000">
                                          <p:val>
                                            <p:strVal val="#ppt_y"/>
                                          </p:val>
                                        </p:tav>
                                      </p:tavLst>
                                    </p:anim>
                                  </p:childTnLst>
                                </p:cTn>
                              </p:par>
                              <p:par>
                                <p:cTn id="9" presetID="2" presetClass="entr" presetSubtype="6" dur="3000" decel="100000" fill="hold" grpId="0" nodeType="withEffect">
                                  <p:stCondLst>
                                    <p:cond delay="0"/>
                                  </p:stCondLst>
                                  <p:childTnLst>
                                    <p:set>
                                      <p:cBhvr>
                                        <p:cTn id="10" dur="1" fill="hold">
                                          <p:stCondLst>
                                            <p:cond delay="0"/>
                                          </p:stCondLst>
                                        </p:cTn>
                                        <p:tgtEl>
                                          <p:spTgt spid="49"/>
                                        </p:tgtEl>
                                        <p:attrNameLst>
                                          <p:attrName>style.visibility</p:attrName>
                                        </p:attrNameLst>
                                      </p:cBhvr>
                                      <p:to>
                                        <p:strVal val="visible"/>
                                      </p:to>
                                    </p:set>
                                    <p:anim calcmode="lin" valueType="num">
                                      <p:cBhvr additive="base">
                                        <p:cTn id="11" dur="3000" fill="hold"/>
                                        <p:tgtEl>
                                          <p:spTgt spid="49"/>
                                        </p:tgtEl>
                                        <p:attrNameLst>
                                          <p:attrName>ppt_x</p:attrName>
                                        </p:attrNameLst>
                                      </p:cBhvr>
                                      <p:tavLst>
                                        <p:tav tm="0">
                                          <p:val>
                                            <p:strVal val="1+#ppt_w/2"/>
                                          </p:val>
                                        </p:tav>
                                        <p:tav tm="100000">
                                          <p:val>
                                            <p:strVal val="#ppt_x"/>
                                          </p:val>
                                        </p:tav>
                                      </p:tavLst>
                                    </p:anim>
                                    <p:anim calcmode="lin" valueType="num">
                                      <p:cBhvr additive="base">
                                        <p:cTn id="12" dur="3000" fill="hold"/>
                                        <p:tgtEl>
                                          <p:spTgt spid="49"/>
                                        </p:tgtEl>
                                        <p:attrNameLst>
                                          <p:attrName>ppt_y</p:attrName>
                                        </p:attrNameLst>
                                      </p:cBhvr>
                                      <p:tavLst>
                                        <p:tav tm="0">
                                          <p:val>
                                            <p:strVal val="1+#ppt_h/2"/>
                                          </p:val>
                                        </p:tav>
                                        <p:tav tm="100000">
                                          <p:val>
                                            <p:strVal val="#ppt_y"/>
                                          </p:val>
                                        </p:tav>
                                      </p:tavLst>
                                    </p:anim>
                                  </p:childTnLst>
                                </p:cTn>
                              </p:par>
                              <p:par>
                                <p:cTn id="13" presetID="2" presetClass="entr" presetSubtype="6" dur="3000" decel="100000" fill="hold" grpId="0" nodeType="withEffect">
                                  <p:stCondLst>
                                    <p:cond delay="0"/>
                                  </p:stCondLst>
                                  <p:childTnLst>
                                    <p:set>
                                      <p:cBhvr>
                                        <p:cTn id="14" dur="1" fill="hold">
                                          <p:stCondLst>
                                            <p:cond delay="0"/>
                                          </p:stCondLst>
                                        </p:cTn>
                                        <p:tgtEl>
                                          <p:spTgt spid="43"/>
                                        </p:tgtEl>
                                        <p:attrNameLst>
                                          <p:attrName>style.visibility</p:attrName>
                                        </p:attrNameLst>
                                      </p:cBhvr>
                                      <p:to>
                                        <p:strVal val="visible"/>
                                      </p:to>
                                    </p:set>
                                    <p:anim calcmode="lin" valueType="num">
                                      <p:cBhvr additive="base">
                                        <p:cTn id="15" dur="3000" fill="hold"/>
                                        <p:tgtEl>
                                          <p:spTgt spid="43"/>
                                        </p:tgtEl>
                                        <p:attrNameLst>
                                          <p:attrName>ppt_x</p:attrName>
                                        </p:attrNameLst>
                                      </p:cBhvr>
                                      <p:tavLst>
                                        <p:tav tm="0">
                                          <p:val>
                                            <p:strVal val="1+#ppt_w/2"/>
                                          </p:val>
                                        </p:tav>
                                        <p:tav tm="100000">
                                          <p:val>
                                            <p:strVal val="#ppt_x"/>
                                          </p:val>
                                        </p:tav>
                                      </p:tavLst>
                                    </p:anim>
                                    <p:anim calcmode="lin" valueType="num">
                                      <p:cBhvr additive="base">
                                        <p:cTn id="16" dur="3000" fill="hold"/>
                                        <p:tgtEl>
                                          <p:spTgt spid="43"/>
                                        </p:tgtEl>
                                        <p:attrNameLst>
                                          <p:attrName>ppt_y</p:attrName>
                                        </p:attrNameLst>
                                      </p:cBhvr>
                                      <p:tavLst>
                                        <p:tav tm="0">
                                          <p:val>
                                            <p:strVal val="1+#ppt_h/2"/>
                                          </p:val>
                                        </p:tav>
                                        <p:tav tm="100000">
                                          <p:val>
                                            <p:strVal val="#ppt_y"/>
                                          </p:val>
                                        </p:tav>
                                      </p:tavLst>
                                    </p:anim>
                                  </p:childTnLst>
                                </p:cTn>
                              </p:par>
                              <p:par>
                                <p:cTn id="17" presetID="2" presetClass="entr" presetSubtype="6" dur="3000" decel="100000" fill="hold" grpId="0" nodeType="withEffect">
                                  <p:stCondLst>
                                    <p:cond delay="0"/>
                                  </p:stCondLst>
                                  <p:childTnLst>
                                    <p:set>
                                      <p:cBhvr>
                                        <p:cTn id="18" dur="1" fill="hold">
                                          <p:stCondLst>
                                            <p:cond delay="0"/>
                                          </p:stCondLst>
                                        </p:cTn>
                                        <p:tgtEl>
                                          <p:spTgt spid="42"/>
                                        </p:tgtEl>
                                        <p:attrNameLst>
                                          <p:attrName>style.visibility</p:attrName>
                                        </p:attrNameLst>
                                      </p:cBhvr>
                                      <p:to>
                                        <p:strVal val="visible"/>
                                      </p:to>
                                    </p:set>
                                    <p:anim calcmode="lin" valueType="num">
                                      <p:cBhvr additive="base">
                                        <p:cTn id="19" dur="3000" fill="hold"/>
                                        <p:tgtEl>
                                          <p:spTgt spid="42"/>
                                        </p:tgtEl>
                                        <p:attrNameLst>
                                          <p:attrName>ppt_x</p:attrName>
                                        </p:attrNameLst>
                                      </p:cBhvr>
                                      <p:tavLst>
                                        <p:tav tm="0">
                                          <p:val>
                                            <p:strVal val="1+#ppt_w/2"/>
                                          </p:val>
                                        </p:tav>
                                        <p:tav tm="100000">
                                          <p:val>
                                            <p:strVal val="#ppt_x"/>
                                          </p:val>
                                        </p:tav>
                                      </p:tavLst>
                                    </p:anim>
                                    <p:anim calcmode="lin" valueType="num">
                                      <p:cBhvr additive="base">
                                        <p:cTn id="20" dur="3000" fill="hold"/>
                                        <p:tgtEl>
                                          <p:spTgt spid="42"/>
                                        </p:tgtEl>
                                        <p:attrNameLst>
                                          <p:attrName>ppt_y</p:attrName>
                                        </p:attrNameLst>
                                      </p:cBhvr>
                                      <p:tavLst>
                                        <p:tav tm="0">
                                          <p:val>
                                            <p:strVal val="1+#ppt_h/2"/>
                                          </p:val>
                                        </p:tav>
                                        <p:tav tm="100000">
                                          <p:val>
                                            <p:strVal val="#ppt_y"/>
                                          </p:val>
                                        </p:tav>
                                      </p:tavLst>
                                    </p:anim>
                                  </p:childTnLst>
                                </p:cTn>
                              </p:par>
                              <p:par>
                                <p:cTn id="21" presetID="2" presetClass="entr" presetSubtype="6" dur="3000" decel="100000" fill="hold" grpId="0" nodeType="withEffect">
                                  <p:stCondLst>
                                    <p:cond delay="0"/>
                                  </p:stCondLst>
                                  <p:childTnLst>
                                    <p:set>
                                      <p:cBhvr>
                                        <p:cTn id="22" dur="1" fill="hold">
                                          <p:stCondLst>
                                            <p:cond delay="0"/>
                                          </p:stCondLst>
                                        </p:cTn>
                                        <p:tgtEl>
                                          <p:spTgt spid="41"/>
                                        </p:tgtEl>
                                        <p:attrNameLst>
                                          <p:attrName>style.visibility</p:attrName>
                                        </p:attrNameLst>
                                      </p:cBhvr>
                                      <p:to>
                                        <p:strVal val="visible"/>
                                      </p:to>
                                    </p:set>
                                    <p:anim calcmode="lin" valueType="num">
                                      <p:cBhvr additive="base">
                                        <p:cTn id="23" dur="3000" fill="hold"/>
                                        <p:tgtEl>
                                          <p:spTgt spid="41"/>
                                        </p:tgtEl>
                                        <p:attrNameLst>
                                          <p:attrName>ppt_x</p:attrName>
                                        </p:attrNameLst>
                                      </p:cBhvr>
                                      <p:tavLst>
                                        <p:tav tm="0">
                                          <p:val>
                                            <p:strVal val="1+#ppt_w/2"/>
                                          </p:val>
                                        </p:tav>
                                        <p:tav tm="100000">
                                          <p:val>
                                            <p:strVal val="#ppt_x"/>
                                          </p:val>
                                        </p:tav>
                                      </p:tavLst>
                                    </p:anim>
                                    <p:anim calcmode="lin" valueType="num">
                                      <p:cBhvr additive="base">
                                        <p:cTn id="24" dur="3000" fill="hold"/>
                                        <p:tgtEl>
                                          <p:spTgt spid="41"/>
                                        </p:tgtEl>
                                        <p:attrNameLst>
                                          <p:attrName>ppt_y</p:attrName>
                                        </p:attrNameLst>
                                      </p:cBhvr>
                                      <p:tavLst>
                                        <p:tav tm="0">
                                          <p:val>
                                            <p:strVal val="1+#ppt_h/2"/>
                                          </p:val>
                                        </p:tav>
                                        <p:tav tm="100000">
                                          <p:val>
                                            <p:strVal val="#ppt_y"/>
                                          </p:val>
                                        </p:tav>
                                      </p:tavLst>
                                    </p:anim>
                                  </p:childTnLst>
                                </p:cTn>
                              </p:par>
                              <p:par>
                                <p:cTn id="25" presetID="2" presetClass="entr" presetSubtype="6" dur="3000" decel="100000" fill="hold" grpId="0" nodeType="withEffect">
                                  <p:stCondLst>
                                    <p:cond delay="0"/>
                                  </p:stCondLst>
                                  <p:childTnLst>
                                    <p:set>
                                      <p:cBhvr>
                                        <p:cTn id="26" dur="1" fill="hold">
                                          <p:stCondLst>
                                            <p:cond delay="0"/>
                                          </p:stCondLst>
                                        </p:cTn>
                                        <p:tgtEl>
                                          <p:spTgt spid="31"/>
                                        </p:tgtEl>
                                        <p:attrNameLst>
                                          <p:attrName>style.visibility</p:attrName>
                                        </p:attrNameLst>
                                      </p:cBhvr>
                                      <p:to>
                                        <p:strVal val="visible"/>
                                      </p:to>
                                    </p:set>
                                    <p:anim calcmode="lin" valueType="num">
                                      <p:cBhvr additive="base">
                                        <p:cTn id="27" dur="3000" fill="hold"/>
                                        <p:tgtEl>
                                          <p:spTgt spid="31"/>
                                        </p:tgtEl>
                                        <p:attrNameLst>
                                          <p:attrName>ppt_x</p:attrName>
                                        </p:attrNameLst>
                                      </p:cBhvr>
                                      <p:tavLst>
                                        <p:tav tm="0">
                                          <p:val>
                                            <p:strVal val="1+#ppt_w/2"/>
                                          </p:val>
                                        </p:tav>
                                        <p:tav tm="100000">
                                          <p:val>
                                            <p:strVal val="#ppt_x"/>
                                          </p:val>
                                        </p:tav>
                                      </p:tavLst>
                                    </p:anim>
                                    <p:anim calcmode="lin" valueType="num">
                                      <p:cBhvr additive="base">
                                        <p:cTn id="28" dur="3000" fill="hold"/>
                                        <p:tgtEl>
                                          <p:spTgt spid="31"/>
                                        </p:tgtEl>
                                        <p:attrNameLst>
                                          <p:attrName>ppt_y</p:attrName>
                                        </p:attrNameLst>
                                      </p:cBhvr>
                                      <p:tavLst>
                                        <p:tav tm="0">
                                          <p:val>
                                            <p:strVal val="1+#ppt_h/2"/>
                                          </p:val>
                                        </p:tav>
                                        <p:tav tm="100000">
                                          <p:val>
                                            <p:strVal val="#ppt_y"/>
                                          </p:val>
                                        </p:tav>
                                      </p:tavLst>
                                    </p:anim>
                                  </p:childTnLst>
                                </p:cTn>
                              </p:par>
                              <p:par>
                                <p:cTn id="29" presetID="2" presetClass="entr" presetSubtype="6" dur="3000" decel="100000" fill="hold" grpId="0" nodeType="withEffect">
                                  <p:stCondLst>
                                    <p:cond delay="0"/>
                                  </p:stCondLst>
                                  <p:childTnLst>
                                    <p:set>
                                      <p:cBhvr>
                                        <p:cTn id="30" dur="1" fill="hold">
                                          <p:stCondLst>
                                            <p:cond delay="0"/>
                                          </p:stCondLst>
                                        </p:cTn>
                                        <p:tgtEl>
                                          <p:spTgt spid="30"/>
                                        </p:tgtEl>
                                        <p:attrNameLst>
                                          <p:attrName>style.visibility</p:attrName>
                                        </p:attrNameLst>
                                      </p:cBhvr>
                                      <p:to>
                                        <p:strVal val="visible"/>
                                      </p:to>
                                    </p:set>
                                    <p:anim calcmode="lin" valueType="num">
                                      <p:cBhvr additive="base">
                                        <p:cTn id="31" dur="3000" fill="hold"/>
                                        <p:tgtEl>
                                          <p:spTgt spid="30"/>
                                        </p:tgtEl>
                                        <p:attrNameLst>
                                          <p:attrName>ppt_x</p:attrName>
                                        </p:attrNameLst>
                                      </p:cBhvr>
                                      <p:tavLst>
                                        <p:tav tm="0">
                                          <p:val>
                                            <p:strVal val="1+#ppt_w/2"/>
                                          </p:val>
                                        </p:tav>
                                        <p:tav tm="100000">
                                          <p:val>
                                            <p:strVal val="#ppt_x"/>
                                          </p:val>
                                        </p:tav>
                                      </p:tavLst>
                                    </p:anim>
                                    <p:anim calcmode="lin" valueType="num">
                                      <p:cBhvr additive="base">
                                        <p:cTn id="32" dur="3000" fill="hold"/>
                                        <p:tgtEl>
                                          <p:spTgt spid="30"/>
                                        </p:tgtEl>
                                        <p:attrNameLst>
                                          <p:attrName>ppt_y</p:attrName>
                                        </p:attrNameLst>
                                      </p:cBhvr>
                                      <p:tavLst>
                                        <p:tav tm="0">
                                          <p:val>
                                            <p:strVal val="1+#ppt_h/2"/>
                                          </p:val>
                                        </p:tav>
                                        <p:tav tm="100000">
                                          <p:val>
                                            <p:strVal val="#ppt_y"/>
                                          </p:val>
                                        </p:tav>
                                      </p:tavLst>
                                    </p:anim>
                                  </p:childTnLst>
                                </p:cTn>
                              </p:par>
                              <p:par>
                                <p:cTn id="33" presetID="2" presetClass="entr" presetSubtype="6" dur="3000" decel="100000" fill="hold" grpId="0" nodeType="withEffect">
                                  <p:stCondLst>
                                    <p:cond delay="0"/>
                                  </p:stCondLst>
                                  <p:childTnLst>
                                    <p:set>
                                      <p:cBhvr>
                                        <p:cTn id="34" dur="1" fill="hold">
                                          <p:stCondLst>
                                            <p:cond delay="0"/>
                                          </p:stCondLst>
                                        </p:cTn>
                                        <p:tgtEl>
                                          <p:spTgt spid="29"/>
                                        </p:tgtEl>
                                        <p:attrNameLst>
                                          <p:attrName>style.visibility</p:attrName>
                                        </p:attrNameLst>
                                      </p:cBhvr>
                                      <p:to>
                                        <p:strVal val="visible"/>
                                      </p:to>
                                    </p:set>
                                    <p:anim calcmode="lin" valueType="num">
                                      <p:cBhvr additive="base">
                                        <p:cTn id="35" dur="3000" fill="hold"/>
                                        <p:tgtEl>
                                          <p:spTgt spid="29"/>
                                        </p:tgtEl>
                                        <p:attrNameLst>
                                          <p:attrName>ppt_x</p:attrName>
                                        </p:attrNameLst>
                                      </p:cBhvr>
                                      <p:tavLst>
                                        <p:tav tm="0">
                                          <p:val>
                                            <p:strVal val="1+#ppt_w/2"/>
                                          </p:val>
                                        </p:tav>
                                        <p:tav tm="100000">
                                          <p:val>
                                            <p:strVal val="#ppt_x"/>
                                          </p:val>
                                        </p:tav>
                                      </p:tavLst>
                                    </p:anim>
                                    <p:anim calcmode="lin" valueType="num">
                                      <p:cBhvr additive="base">
                                        <p:cTn id="36" dur="3000" fill="hold"/>
                                        <p:tgtEl>
                                          <p:spTgt spid="29"/>
                                        </p:tgtEl>
                                        <p:attrNameLst>
                                          <p:attrName>ppt_y</p:attrName>
                                        </p:attrNameLst>
                                      </p:cBhvr>
                                      <p:tavLst>
                                        <p:tav tm="0">
                                          <p:val>
                                            <p:strVal val="1+#ppt_h/2"/>
                                          </p:val>
                                        </p:tav>
                                        <p:tav tm="100000">
                                          <p:val>
                                            <p:strVal val="#ppt_y"/>
                                          </p:val>
                                        </p:tav>
                                      </p:tavLst>
                                    </p:anim>
                                  </p:childTnLst>
                                </p:cTn>
                              </p:par>
                              <p:par>
                                <p:cTn id="37" presetID="2" presetClass="entr" presetSubtype="6" dur="3000" decel="100000" fill="hold" grpId="0" nodeType="withEffect">
                                  <p:stCondLst>
                                    <p:cond delay="0"/>
                                  </p:stCondLst>
                                  <p:childTnLst>
                                    <p:set>
                                      <p:cBhvr>
                                        <p:cTn id="38" dur="1" fill="hold">
                                          <p:stCondLst>
                                            <p:cond delay="0"/>
                                          </p:stCondLst>
                                        </p:cTn>
                                        <p:tgtEl>
                                          <p:spTgt spid="28"/>
                                        </p:tgtEl>
                                        <p:attrNameLst>
                                          <p:attrName>style.visibility</p:attrName>
                                        </p:attrNameLst>
                                      </p:cBhvr>
                                      <p:to>
                                        <p:strVal val="visible"/>
                                      </p:to>
                                    </p:set>
                                    <p:anim calcmode="lin" valueType="num">
                                      <p:cBhvr additive="base">
                                        <p:cTn id="39" dur="3000" fill="hold"/>
                                        <p:tgtEl>
                                          <p:spTgt spid="28"/>
                                        </p:tgtEl>
                                        <p:attrNameLst>
                                          <p:attrName>ppt_x</p:attrName>
                                        </p:attrNameLst>
                                      </p:cBhvr>
                                      <p:tavLst>
                                        <p:tav tm="0">
                                          <p:val>
                                            <p:strVal val="1+#ppt_w/2"/>
                                          </p:val>
                                        </p:tav>
                                        <p:tav tm="100000">
                                          <p:val>
                                            <p:strVal val="#ppt_x"/>
                                          </p:val>
                                        </p:tav>
                                      </p:tavLst>
                                    </p:anim>
                                    <p:anim calcmode="lin" valueType="num">
                                      <p:cBhvr additive="base">
                                        <p:cTn id="40" dur="3000" fill="hold"/>
                                        <p:tgtEl>
                                          <p:spTgt spid="28"/>
                                        </p:tgtEl>
                                        <p:attrNameLst>
                                          <p:attrName>ppt_y</p:attrName>
                                        </p:attrNameLst>
                                      </p:cBhvr>
                                      <p:tavLst>
                                        <p:tav tm="0">
                                          <p:val>
                                            <p:strVal val="1+#ppt_h/2"/>
                                          </p:val>
                                        </p:tav>
                                        <p:tav tm="100000">
                                          <p:val>
                                            <p:strVal val="#ppt_y"/>
                                          </p:val>
                                        </p:tav>
                                      </p:tavLst>
                                    </p:anim>
                                  </p:childTnLst>
                                </p:cTn>
                              </p:par>
                              <p:par>
                                <p:cTn id="41" presetID="2" presetClass="entr" presetSubtype="6" dur="3000" decel="100000" fill="hold" grpId="0" nodeType="withEffect">
                                  <p:stCondLst>
                                    <p:cond delay="0"/>
                                  </p:stCondLst>
                                  <p:childTnLst>
                                    <p:set>
                                      <p:cBhvr>
                                        <p:cTn id="42" dur="1" fill="hold">
                                          <p:stCondLst>
                                            <p:cond delay="0"/>
                                          </p:stCondLst>
                                        </p:cTn>
                                        <p:tgtEl>
                                          <p:spTgt spid="20"/>
                                        </p:tgtEl>
                                        <p:attrNameLst>
                                          <p:attrName>style.visibility</p:attrName>
                                        </p:attrNameLst>
                                      </p:cBhvr>
                                      <p:to>
                                        <p:strVal val="visible"/>
                                      </p:to>
                                    </p:set>
                                    <p:anim calcmode="lin" valueType="num">
                                      <p:cBhvr additive="base">
                                        <p:cTn id="43" dur="3000" fill="hold"/>
                                        <p:tgtEl>
                                          <p:spTgt spid="20"/>
                                        </p:tgtEl>
                                        <p:attrNameLst>
                                          <p:attrName>ppt_x</p:attrName>
                                        </p:attrNameLst>
                                      </p:cBhvr>
                                      <p:tavLst>
                                        <p:tav tm="0">
                                          <p:val>
                                            <p:strVal val="1+#ppt_w/2"/>
                                          </p:val>
                                        </p:tav>
                                        <p:tav tm="100000">
                                          <p:val>
                                            <p:strVal val="#ppt_x"/>
                                          </p:val>
                                        </p:tav>
                                      </p:tavLst>
                                    </p:anim>
                                    <p:anim calcmode="lin" valueType="num">
                                      <p:cBhvr additive="base">
                                        <p:cTn id="44" dur="3000" fill="hold"/>
                                        <p:tgtEl>
                                          <p:spTgt spid="20"/>
                                        </p:tgtEl>
                                        <p:attrNameLst>
                                          <p:attrName>ppt_y</p:attrName>
                                        </p:attrNameLst>
                                      </p:cBhvr>
                                      <p:tavLst>
                                        <p:tav tm="0">
                                          <p:val>
                                            <p:strVal val="1+#ppt_h/2"/>
                                          </p:val>
                                        </p:tav>
                                        <p:tav tm="100000">
                                          <p:val>
                                            <p:strVal val="#ppt_y"/>
                                          </p:val>
                                        </p:tav>
                                      </p:tavLst>
                                    </p:anim>
                                  </p:childTnLst>
                                </p:cTn>
                              </p:par>
                              <p:par>
                                <p:cTn id="45" presetID="2" presetClass="entr" presetSubtype="6" dur="3000" decel="100000" fill="hold" grpId="0" nodeType="withEffect">
                                  <p:stCondLst>
                                    <p:cond delay="0"/>
                                  </p:stCondLst>
                                  <p:childTnLst>
                                    <p:set>
                                      <p:cBhvr>
                                        <p:cTn id="46" dur="1" fill="hold">
                                          <p:stCondLst>
                                            <p:cond delay="0"/>
                                          </p:stCondLst>
                                        </p:cTn>
                                        <p:tgtEl>
                                          <p:spTgt spid="19"/>
                                        </p:tgtEl>
                                        <p:attrNameLst>
                                          <p:attrName>style.visibility</p:attrName>
                                        </p:attrNameLst>
                                      </p:cBhvr>
                                      <p:to>
                                        <p:strVal val="visible"/>
                                      </p:to>
                                    </p:set>
                                    <p:anim calcmode="lin" valueType="num">
                                      <p:cBhvr additive="base">
                                        <p:cTn id="47" dur="3000" fill="hold"/>
                                        <p:tgtEl>
                                          <p:spTgt spid="19"/>
                                        </p:tgtEl>
                                        <p:attrNameLst>
                                          <p:attrName>ppt_x</p:attrName>
                                        </p:attrNameLst>
                                      </p:cBhvr>
                                      <p:tavLst>
                                        <p:tav tm="0">
                                          <p:val>
                                            <p:strVal val="1+#ppt_w/2"/>
                                          </p:val>
                                        </p:tav>
                                        <p:tav tm="100000">
                                          <p:val>
                                            <p:strVal val="#ppt_x"/>
                                          </p:val>
                                        </p:tav>
                                      </p:tavLst>
                                    </p:anim>
                                    <p:anim calcmode="lin" valueType="num">
                                      <p:cBhvr additive="base">
                                        <p:cTn id="48" dur="3000" fill="hold"/>
                                        <p:tgtEl>
                                          <p:spTgt spid="19"/>
                                        </p:tgtEl>
                                        <p:attrNameLst>
                                          <p:attrName>ppt_y</p:attrName>
                                        </p:attrNameLst>
                                      </p:cBhvr>
                                      <p:tavLst>
                                        <p:tav tm="0">
                                          <p:val>
                                            <p:strVal val="1+#ppt_h/2"/>
                                          </p:val>
                                        </p:tav>
                                        <p:tav tm="100000">
                                          <p:val>
                                            <p:strVal val="#ppt_y"/>
                                          </p:val>
                                        </p:tav>
                                      </p:tavLst>
                                    </p:anim>
                                  </p:childTnLst>
                                </p:cTn>
                              </p:par>
                              <p:par>
                                <p:cTn id="49" presetID="2" presetClass="entr" presetSubtype="6" dur="3000" decel="100000" fill="hold" grpId="0" nodeType="withEffect">
                                  <p:stCondLst>
                                    <p:cond delay="0"/>
                                  </p:stCondLst>
                                  <p:childTnLst>
                                    <p:set>
                                      <p:cBhvr>
                                        <p:cTn id="50" dur="1" fill="hold">
                                          <p:stCondLst>
                                            <p:cond delay="0"/>
                                          </p:stCondLst>
                                        </p:cTn>
                                        <p:tgtEl>
                                          <p:spTgt spid="18"/>
                                        </p:tgtEl>
                                        <p:attrNameLst>
                                          <p:attrName>style.visibility</p:attrName>
                                        </p:attrNameLst>
                                      </p:cBhvr>
                                      <p:to>
                                        <p:strVal val="visible"/>
                                      </p:to>
                                    </p:set>
                                    <p:anim calcmode="lin" valueType="num">
                                      <p:cBhvr additive="base">
                                        <p:cTn id="51" dur="3000" fill="hold"/>
                                        <p:tgtEl>
                                          <p:spTgt spid="18"/>
                                        </p:tgtEl>
                                        <p:attrNameLst>
                                          <p:attrName>ppt_x</p:attrName>
                                        </p:attrNameLst>
                                      </p:cBhvr>
                                      <p:tavLst>
                                        <p:tav tm="0">
                                          <p:val>
                                            <p:strVal val="1+#ppt_w/2"/>
                                          </p:val>
                                        </p:tav>
                                        <p:tav tm="100000">
                                          <p:val>
                                            <p:strVal val="#ppt_x"/>
                                          </p:val>
                                        </p:tav>
                                      </p:tavLst>
                                    </p:anim>
                                    <p:anim calcmode="lin" valueType="num">
                                      <p:cBhvr additive="base">
                                        <p:cTn id="52" dur="3000" fill="hold"/>
                                        <p:tgtEl>
                                          <p:spTgt spid="18"/>
                                        </p:tgtEl>
                                        <p:attrNameLst>
                                          <p:attrName>ppt_y</p:attrName>
                                        </p:attrNameLst>
                                      </p:cBhvr>
                                      <p:tavLst>
                                        <p:tav tm="0">
                                          <p:val>
                                            <p:strVal val="1+#ppt_h/2"/>
                                          </p:val>
                                        </p:tav>
                                        <p:tav tm="100000">
                                          <p:val>
                                            <p:strVal val="#ppt_y"/>
                                          </p:val>
                                        </p:tav>
                                      </p:tavLst>
                                    </p:anim>
                                  </p:childTnLst>
                                </p:cTn>
                              </p:par>
                              <p:par>
                                <p:cTn id="53" presetID="2" presetClass="entr" presetSubtype="6" dur="3000" decel="100000" fill="hold" grpId="0" nodeType="withEffect">
                                  <p:stCondLst>
                                    <p:cond delay="0"/>
                                  </p:stCondLst>
                                  <p:childTnLst>
                                    <p:set>
                                      <p:cBhvr>
                                        <p:cTn id="54" dur="1" fill="hold">
                                          <p:stCondLst>
                                            <p:cond delay="0"/>
                                          </p:stCondLst>
                                        </p:cTn>
                                        <p:tgtEl>
                                          <p:spTgt spid="17"/>
                                        </p:tgtEl>
                                        <p:attrNameLst>
                                          <p:attrName>style.visibility</p:attrName>
                                        </p:attrNameLst>
                                      </p:cBhvr>
                                      <p:to>
                                        <p:strVal val="visible"/>
                                      </p:to>
                                    </p:set>
                                    <p:anim calcmode="lin" valueType="num">
                                      <p:cBhvr additive="base">
                                        <p:cTn id="55" dur="3000" fill="hold"/>
                                        <p:tgtEl>
                                          <p:spTgt spid="17"/>
                                        </p:tgtEl>
                                        <p:attrNameLst>
                                          <p:attrName>ppt_x</p:attrName>
                                        </p:attrNameLst>
                                      </p:cBhvr>
                                      <p:tavLst>
                                        <p:tav tm="0">
                                          <p:val>
                                            <p:strVal val="1+#ppt_w/2"/>
                                          </p:val>
                                        </p:tav>
                                        <p:tav tm="100000">
                                          <p:val>
                                            <p:strVal val="#ppt_x"/>
                                          </p:val>
                                        </p:tav>
                                      </p:tavLst>
                                    </p:anim>
                                    <p:anim calcmode="lin" valueType="num">
                                      <p:cBhvr additive="base">
                                        <p:cTn id="56" dur="3000" fill="hold"/>
                                        <p:tgtEl>
                                          <p:spTgt spid="17"/>
                                        </p:tgtEl>
                                        <p:attrNameLst>
                                          <p:attrName>ppt_y</p:attrName>
                                        </p:attrNameLst>
                                      </p:cBhvr>
                                      <p:tavLst>
                                        <p:tav tm="0">
                                          <p:val>
                                            <p:strVal val="1+#ppt_h/2"/>
                                          </p:val>
                                        </p:tav>
                                        <p:tav tm="100000">
                                          <p:val>
                                            <p:strVal val="#ppt_y"/>
                                          </p:val>
                                        </p:tav>
                                      </p:tavLst>
                                    </p:anim>
                                  </p:childTnLst>
                                </p:cTn>
                              </p:par>
                              <p:par>
                                <p:cTn id="57" presetID="2" presetClass="entr" presetSubtype="6" dur="3000" decel="100000" fill="hold" grpId="0" nodeType="withEffect">
                                  <p:stCondLst>
                                    <p:cond delay="0"/>
                                  </p:stCondLst>
                                  <p:childTnLst>
                                    <p:set>
                                      <p:cBhvr>
                                        <p:cTn id="58" dur="1" fill="hold">
                                          <p:stCondLst>
                                            <p:cond delay="0"/>
                                          </p:stCondLst>
                                        </p:cTn>
                                        <p:tgtEl>
                                          <p:spTgt spid="16"/>
                                        </p:tgtEl>
                                        <p:attrNameLst>
                                          <p:attrName>style.visibility</p:attrName>
                                        </p:attrNameLst>
                                      </p:cBhvr>
                                      <p:to>
                                        <p:strVal val="visible"/>
                                      </p:to>
                                    </p:set>
                                    <p:anim calcmode="lin" valueType="num">
                                      <p:cBhvr additive="base">
                                        <p:cTn id="59" dur="3000" fill="hold"/>
                                        <p:tgtEl>
                                          <p:spTgt spid="16"/>
                                        </p:tgtEl>
                                        <p:attrNameLst>
                                          <p:attrName>ppt_x</p:attrName>
                                        </p:attrNameLst>
                                      </p:cBhvr>
                                      <p:tavLst>
                                        <p:tav tm="0">
                                          <p:val>
                                            <p:strVal val="1+#ppt_w/2"/>
                                          </p:val>
                                        </p:tav>
                                        <p:tav tm="100000">
                                          <p:val>
                                            <p:strVal val="#ppt_x"/>
                                          </p:val>
                                        </p:tav>
                                      </p:tavLst>
                                    </p:anim>
                                    <p:anim calcmode="lin" valueType="num">
                                      <p:cBhvr additive="base">
                                        <p:cTn id="60" dur="3000" fill="hold"/>
                                        <p:tgtEl>
                                          <p:spTgt spid="16"/>
                                        </p:tgtEl>
                                        <p:attrNameLst>
                                          <p:attrName>ppt_y</p:attrName>
                                        </p:attrNameLst>
                                      </p:cBhvr>
                                      <p:tavLst>
                                        <p:tav tm="0">
                                          <p:val>
                                            <p:strVal val="1+#ppt_h/2"/>
                                          </p:val>
                                        </p:tav>
                                        <p:tav tm="100000">
                                          <p:val>
                                            <p:strVal val="#ppt_y"/>
                                          </p:val>
                                        </p:tav>
                                      </p:tavLst>
                                    </p:anim>
                                  </p:childTnLst>
                                </p:cTn>
                              </p:par>
                              <p:par>
                                <p:cTn id="61" presetID="2" presetClass="entr" presetSubtype="6" dur="3000" decel="100000" fill="hold" grpId="0" nodeType="withEffect">
                                  <p:stCondLst>
                                    <p:cond delay="0"/>
                                  </p:stCondLst>
                                  <p:childTnLst>
                                    <p:set>
                                      <p:cBhvr>
                                        <p:cTn id="62" dur="1" fill="hold">
                                          <p:stCondLst>
                                            <p:cond delay="0"/>
                                          </p:stCondLst>
                                        </p:cTn>
                                        <p:tgtEl>
                                          <p:spTgt spid="8"/>
                                        </p:tgtEl>
                                        <p:attrNameLst>
                                          <p:attrName>style.visibility</p:attrName>
                                        </p:attrNameLst>
                                      </p:cBhvr>
                                      <p:to>
                                        <p:strVal val="visible"/>
                                      </p:to>
                                    </p:set>
                                    <p:anim calcmode="lin" valueType="num">
                                      <p:cBhvr additive="base">
                                        <p:cTn id="63" dur="3000" fill="hold"/>
                                        <p:tgtEl>
                                          <p:spTgt spid="8"/>
                                        </p:tgtEl>
                                        <p:attrNameLst>
                                          <p:attrName>ppt_x</p:attrName>
                                        </p:attrNameLst>
                                      </p:cBhvr>
                                      <p:tavLst>
                                        <p:tav tm="0">
                                          <p:val>
                                            <p:strVal val="1+#ppt_w/2"/>
                                          </p:val>
                                        </p:tav>
                                        <p:tav tm="100000">
                                          <p:val>
                                            <p:strVal val="#ppt_x"/>
                                          </p:val>
                                        </p:tav>
                                      </p:tavLst>
                                    </p:anim>
                                    <p:anim calcmode="lin" valueType="num">
                                      <p:cBhvr additive="base">
                                        <p:cTn id="64" dur="3000" fill="hold"/>
                                        <p:tgtEl>
                                          <p:spTgt spid="8"/>
                                        </p:tgtEl>
                                        <p:attrNameLst>
                                          <p:attrName>ppt_y</p:attrName>
                                        </p:attrNameLst>
                                      </p:cBhvr>
                                      <p:tavLst>
                                        <p:tav tm="0">
                                          <p:val>
                                            <p:strVal val="1+#ppt_h/2"/>
                                          </p:val>
                                        </p:tav>
                                        <p:tav tm="100000">
                                          <p:val>
                                            <p:strVal val="#ppt_y"/>
                                          </p:val>
                                        </p:tav>
                                      </p:tavLst>
                                    </p:anim>
                                  </p:childTnLst>
                                </p:cTn>
                              </p:par>
                              <p:par>
                                <p:cTn id="65" presetID="2" presetClass="entr" presetSubtype="6" dur="3000" decel="100000" fill="hold" grpId="0" nodeType="withEffect">
                                  <p:stCondLst>
                                    <p:cond delay="0"/>
                                  </p:stCondLst>
                                  <p:childTnLst>
                                    <p:set>
                                      <p:cBhvr>
                                        <p:cTn id="66" dur="1" fill="hold">
                                          <p:stCondLst>
                                            <p:cond delay="0"/>
                                          </p:stCondLst>
                                        </p:cTn>
                                        <p:tgtEl>
                                          <p:spTgt spid="7"/>
                                        </p:tgtEl>
                                        <p:attrNameLst>
                                          <p:attrName>style.visibility</p:attrName>
                                        </p:attrNameLst>
                                      </p:cBhvr>
                                      <p:to>
                                        <p:strVal val="visible"/>
                                      </p:to>
                                    </p:set>
                                    <p:anim calcmode="lin" valueType="num">
                                      <p:cBhvr additive="base">
                                        <p:cTn id="67" dur="3000" fill="hold"/>
                                        <p:tgtEl>
                                          <p:spTgt spid="7"/>
                                        </p:tgtEl>
                                        <p:attrNameLst>
                                          <p:attrName>ppt_x</p:attrName>
                                        </p:attrNameLst>
                                      </p:cBhvr>
                                      <p:tavLst>
                                        <p:tav tm="0">
                                          <p:val>
                                            <p:strVal val="1+#ppt_w/2"/>
                                          </p:val>
                                        </p:tav>
                                        <p:tav tm="100000">
                                          <p:val>
                                            <p:strVal val="#ppt_x"/>
                                          </p:val>
                                        </p:tav>
                                      </p:tavLst>
                                    </p:anim>
                                    <p:anim calcmode="lin" valueType="num">
                                      <p:cBhvr additive="base">
                                        <p:cTn id="68" dur="3000" fill="hold"/>
                                        <p:tgtEl>
                                          <p:spTgt spid="7"/>
                                        </p:tgtEl>
                                        <p:attrNameLst>
                                          <p:attrName>ppt_y</p:attrName>
                                        </p:attrNameLst>
                                      </p:cBhvr>
                                      <p:tavLst>
                                        <p:tav tm="0">
                                          <p:val>
                                            <p:strVal val="1+#ppt_h/2"/>
                                          </p:val>
                                        </p:tav>
                                        <p:tav tm="100000">
                                          <p:val>
                                            <p:strVal val="#ppt_y"/>
                                          </p:val>
                                        </p:tav>
                                      </p:tavLst>
                                    </p:anim>
                                  </p:childTnLst>
                                </p:cTn>
                              </p:par>
                              <p:par>
                                <p:cTn id="69" presetID="2" presetClass="entr" presetSubtype="6" dur="3000" decel="100000" fill="hold" grpId="0" nodeType="withEffect">
                                  <p:stCondLst>
                                    <p:cond delay="0"/>
                                  </p:stCondLst>
                                  <p:childTnLst>
                                    <p:set>
                                      <p:cBhvr>
                                        <p:cTn id="70" dur="1" fill="hold">
                                          <p:stCondLst>
                                            <p:cond delay="0"/>
                                          </p:stCondLst>
                                        </p:cTn>
                                        <p:tgtEl>
                                          <p:spTgt spid="6"/>
                                        </p:tgtEl>
                                        <p:attrNameLst>
                                          <p:attrName>style.visibility</p:attrName>
                                        </p:attrNameLst>
                                      </p:cBhvr>
                                      <p:to>
                                        <p:strVal val="visible"/>
                                      </p:to>
                                    </p:set>
                                    <p:anim calcmode="lin" valueType="num">
                                      <p:cBhvr additive="base">
                                        <p:cTn id="71" dur="3000" fill="hold"/>
                                        <p:tgtEl>
                                          <p:spTgt spid="6"/>
                                        </p:tgtEl>
                                        <p:attrNameLst>
                                          <p:attrName>ppt_x</p:attrName>
                                        </p:attrNameLst>
                                      </p:cBhvr>
                                      <p:tavLst>
                                        <p:tav tm="0">
                                          <p:val>
                                            <p:strVal val="1+#ppt_w/2"/>
                                          </p:val>
                                        </p:tav>
                                        <p:tav tm="100000">
                                          <p:val>
                                            <p:strVal val="#ppt_x"/>
                                          </p:val>
                                        </p:tav>
                                      </p:tavLst>
                                    </p:anim>
                                    <p:anim calcmode="lin" valueType="num">
                                      <p:cBhvr additive="base">
                                        <p:cTn id="72" dur="3000" fill="hold"/>
                                        <p:tgtEl>
                                          <p:spTgt spid="6"/>
                                        </p:tgtEl>
                                        <p:attrNameLst>
                                          <p:attrName>ppt_y</p:attrName>
                                        </p:attrNameLst>
                                      </p:cBhvr>
                                      <p:tavLst>
                                        <p:tav tm="0">
                                          <p:val>
                                            <p:strVal val="1+#ppt_h/2"/>
                                          </p:val>
                                        </p:tav>
                                        <p:tav tm="100000">
                                          <p:val>
                                            <p:strVal val="#ppt_y"/>
                                          </p:val>
                                        </p:tav>
                                      </p:tavLst>
                                    </p:anim>
                                  </p:childTnLst>
                                </p:cTn>
                              </p:par>
                              <p:par>
                                <p:cTn id="73" presetID="2" presetClass="entr" presetSubtype="6" dur="3000" decel="100000" fill="hold" grpId="0" nodeType="withEffect">
                                  <p:stCondLst>
                                    <p:cond delay="0"/>
                                  </p:stCondLst>
                                  <p:childTnLst>
                                    <p:set>
                                      <p:cBhvr>
                                        <p:cTn id="74" dur="1" fill="hold">
                                          <p:stCondLst>
                                            <p:cond delay="0"/>
                                          </p:stCondLst>
                                        </p:cTn>
                                        <p:tgtEl>
                                          <p:spTgt spid="5"/>
                                        </p:tgtEl>
                                        <p:attrNameLst>
                                          <p:attrName>style.visibility</p:attrName>
                                        </p:attrNameLst>
                                      </p:cBhvr>
                                      <p:to>
                                        <p:strVal val="visible"/>
                                      </p:to>
                                    </p:set>
                                    <p:anim calcmode="lin" valueType="num">
                                      <p:cBhvr additive="base">
                                        <p:cTn id="75" dur="3000" fill="hold"/>
                                        <p:tgtEl>
                                          <p:spTgt spid="5"/>
                                        </p:tgtEl>
                                        <p:attrNameLst>
                                          <p:attrName>ppt_x</p:attrName>
                                        </p:attrNameLst>
                                      </p:cBhvr>
                                      <p:tavLst>
                                        <p:tav tm="0">
                                          <p:val>
                                            <p:strVal val="1+#ppt_w/2"/>
                                          </p:val>
                                        </p:tav>
                                        <p:tav tm="100000">
                                          <p:val>
                                            <p:strVal val="#ppt_x"/>
                                          </p:val>
                                        </p:tav>
                                      </p:tavLst>
                                    </p:anim>
                                    <p:anim calcmode="lin" valueType="num">
                                      <p:cBhvr additive="base">
                                        <p:cTn id="76" dur="3000" fill="hold"/>
                                        <p:tgtEl>
                                          <p:spTgt spid="5"/>
                                        </p:tgtEl>
                                        <p:attrNameLst>
                                          <p:attrName>ppt_y</p:attrName>
                                        </p:attrNameLst>
                                      </p:cBhvr>
                                      <p:tavLst>
                                        <p:tav tm="0">
                                          <p:val>
                                            <p:strVal val="1+#ppt_h/2"/>
                                          </p:val>
                                        </p:tav>
                                        <p:tav tm="100000">
                                          <p:val>
                                            <p:strVal val="#ppt_y"/>
                                          </p:val>
                                        </p:tav>
                                      </p:tavLst>
                                    </p:anim>
                                  </p:childTnLst>
                                </p:cTn>
                              </p:par>
                              <p:par>
                                <p:cTn id="77" presetID="2" presetClass="entr" presetSubtype="6" dur="3000" decel="100000" fill="hold" grpId="0" nodeType="withEffect">
                                  <p:stCondLst>
                                    <p:cond delay="0"/>
                                  </p:stCondLst>
                                  <p:childTnLst>
                                    <p:set>
                                      <p:cBhvr>
                                        <p:cTn id="78" dur="1" fill="hold">
                                          <p:stCondLst>
                                            <p:cond delay="0"/>
                                          </p:stCondLst>
                                        </p:cTn>
                                        <p:tgtEl>
                                          <p:spTgt spid="4"/>
                                        </p:tgtEl>
                                        <p:attrNameLst>
                                          <p:attrName>style.visibility</p:attrName>
                                        </p:attrNameLst>
                                      </p:cBhvr>
                                      <p:to>
                                        <p:strVal val="visible"/>
                                      </p:to>
                                    </p:set>
                                    <p:anim calcmode="lin" valueType="num">
                                      <p:cBhvr additive="base">
                                        <p:cTn id="79" dur="3000" fill="hold"/>
                                        <p:tgtEl>
                                          <p:spTgt spid="4"/>
                                        </p:tgtEl>
                                        <p:attrNameLst>
                                          <p:attrName>ppt_x</p:attrName>
                                        </p:attrNameLst>
                                      </p:cBhvr>
                                      <p:tavLst>
                                        <p:tav tm="0">
                                          <p:val>
                                            <p:strVal val="1+#ppt_w/2"/>
                                          </p:val>
                                        </p:tav>
                                        <p:tav tm="100000">
                                          <p:val>
                                            <p:strVal val="#ppt_x"/>
                                          </p:val>
                                        </p:tav>
                                      </p:tavLst>
                                    </p:anim>
                                    <p:anim calcmode="lin" valueType="num">
                                      <p:cBhvr additive="base">
                                        <p:cTn id="80" dur="3000" fill="hold"/>
                                        <p:tgtEl>
                                          <p:spTgt spid="4"/>
                                        </p:tgtEl>
                                        <p:attrNameLst>
                                          <p:attrName>ppt_y</p:attrName>
                                        </p:attrNameLst>
                                      </p:cBhvr>
                                      <p:tavLst>
                                        <p:tav tm="0">
                                          <p:val>
                                            <p:strVal val="1+#ppt_h/2"/>
                                          </p:val>
                                        </p:tav>
                                        <p:tav tm="100000">
                                          <p:val>
                                            <p:strVal val="#ppt_y"/>
                                          </p:val>
                                        </p:tav>
                                      </p:tavLst>
                                    </p:anim>
                                  </p:childTnLst>
                                </p:cTn>
                              </p:par>
                              <p:par>
                                <p:cTn id="81" presetID="2" presetClass="entr" presetSubtype="6" dur="3000" decel="100000" fill="hold" grpId="0" nodeType="withEffect">
                                  <p:stCondLst>
                                    <p:cond delay="0"/>
                                  </p:stCondLst>
                                  <p:childTnLst>
                                    <p:set>
                                      <p:cBhvr>
                                        <p:cTn id="82" dur="1" fill="hold">
                                          <p:stCondLst>
                                            <p:cond delay="0"/>
                                          </p:stCondLst>
                                        </p:cTn>
                                        <p:tgtEl>
                                          <p:spTgt spid="2"/>
                                        </p:tgtEl>
                                        <p:attrNameLst>
                                          <p:attrName>style.visibility</p:attrName>
                                        </p:attrNameLst>
                                      </p:cBhvr>
                                      <p:to>
                                        <p:strVal val="visible"/>
                                      </p:to>
                                    </p:set>
                                    <p:anim calcmode="lin" valueType="num">
                                      <p:cBhvr additive="base">
                                        <p:cTn id="83" dur="3000" fill="hold"/>
                                        <p:tgtEl>
                                          <p:spTgt spid="2"/>
                                        </p:tgtEl>
                                        <p:attrNameLst>
                                          <p:attrName>ppt_x</p:attrName>
                                        </p:attrNameLst>
                                      </p:cBhvr>
                                      <p:tavLst>
                                        <p:tav tm="0">
                                          <p:val>
                                            <p:strVal val="1+#ppt_w/2"/>
                                          </p:val>
                                        </p:tav>
                                        <p:tav tm="100000">
                                          <p:val>
                                            <p:strVal val="#ppt_x"/>
                                          </p:val>
                                        </p:tav>
                                      </p:tavLst>
                                    </p:anim>
                                    <p:anim calcmode="lin" valueType="num">
                                      <p:cBhvr additive="base">
                                        <p:cTn id="84" dur="3000" fill="hold"/>
                                        <p:tgtEl>
                                          <p:spTgt spid="2"/>
                                        </p:tgtEl>
                                        <p:attrNameLst>
                                          <p:attrName>ppt_y</p:attrName>
                                        </p:attrNameLst>
                                      </p:cBhvr>
                                      <p:tavLst>
                                        <p:tav tm="0">
                                          <p:val>
                                            <p:strVal val="1+#ppt_h/2"/>
                                          </p:val>
                                        </p:tav>
                                        <p:tav tm="100000">
                                          <p:val>
                                            <p:strVal val="#ppt_y"/>
                                          </p:val>
                                        </p:tav>
                                      </p:tavLst>
                                    </p:anim>
                                  </p:childTnLst>
                                </p:cTn>
                              </p:par>
                              <p:par>
                                <p:cTn id="85" presetID="2" presetClass="entr" presetSubtype="6" dur="3000" decel="100000" fill="hold" grpId="0" nodeType="withEffect">
                                  <p:stCondLst>
                                    <p:cond delay="0"/>
                                  </p:stCondLst>
                                  <p:childTnLst>
                                    <p:set>
                                      <p:cBhvr>
                                        <p:cTn id="86" dur="1" fill="hold">
                                          <p:stCondLst>
                                            <p:cond delay="0"/>
                                          </p:stCondLst>
                                        </p:cTn>
                                        <p:tgtEl>
                                          <p:spTgt spid="14"/>
                                        </p:tgtEl>
                                        <p:attrNameLst>
                                          <p:attrName>style.visibility</p:attrName>
                                        </p:attrNameLst>
                                      </p:cBhvr>
                                      <p:to>
                                        <p:strVal val="visible"/>
                                      </p:to>
                                    </p:set>
                                    <p:anim calcmode="lin" valueType="num">
                                      <p:cBhvr additive="base">
                                        <p:cTn id="87" dur="3000" fill="hold"/>
                                        <p:tgtEl>
                                          <p:spTgt spid="14"/>
                                        </p:tgtEl>
                                        <p:attrNameLst>
                                          <p:attrName>ppt_x</p:attrName>
                                        </p:attrNameLst>
                                      </p:cBhvr>
                                      <p:tavLst>
                                        <p:tav tm="0">
                                          <p:val>
                                            <p:strVal val="1+#ppt_w/2"/>
                                          </p:val>
                                        </p:tav>
                                        <p:tav tm="100000">
                                          <p:val>
                                            <p:strVal val="#ppt_x"/>
                                          </p:val>
                                        </p:tav>
                                      </p:tavLst>
                                    </p:anim>
                                    <p:anim calcmode="lin" valueType="num">
                                      <p:cBhvr additive="base">
                                        <p:cTn id="88" dur="3000" fill="hold"/>
                                        <p:tgtEl>
                                          <p:spTgt spid="14"/>
                                        </p:tgtEl>
                                        <p:attrNameLst>
                                          <p:attrName>ppt_y</p:attrName>
                                        </p:attrNameLst>
                                      </p:cBhvr>
                                      <p:tavLst>
                                        <p:tav tm="0">
                                          <p:val>
                                            <p:strVal val="1+#ppt_h/2"/>
                                          </p:val>
                                        </p:tav>
                                        <p:tav tm="100000">
                                          <p:val>
                                            <p:strVal val="#ppt_y"/>
                                          </p:val>
                                        </p:tav>
                                      </p:tavLst>
                                    </p:anim>
                                  </p:childTnLst>
                                </p:cTn>
                              </p:par>
                              <p:par>
                                <p:cTn id="89" presetID="2" presetClass="entr" presetSubtype="6" dur="3000" decel="100000" fill="hold" grpId="0" nodeType="withEffect">
                                  <p:stCondLst>
                                    <p:cond delay="0"/>
                                  </p:stCondLst>
                                  <p:childTnLst>
                                    <p:set>
                                      <p:cBhvr>
                                        <p:cTn id="90" dur="1" fill="hold">
                                          <p:stCondLst>
                                            <p:cond delay="0"/>
                                          </p:stCondLst>
                                        </p:cTn>
                                        <p:tgtEl>
                                          <p:spTgt spid="13"/>
                                        </p:tgtEl>
                                        <p:attrNameLst>
                                          <p:attrName>style.visibility</p:attrName>
                                        </p:attrNameLst>
                                      </p:cBhvr>
                                      <p:to>
                                        <p:strVal val="visible"/>
                                      </p:to>
                                    </p:set>
                                    <p:anim calcmode="lin" valueType="num">
                                      <p:cBhvr additive="base">
                                        <p:cTn id="91" dur="3000" fill="hold"/>
                                        <p:tgtEl>
                                          <p:spTgt spid="13"/>
                                        </p:tgtEl>
                                        <p:attrNameLst>
                                          <p:attrName>ppt_x</p:attrName>
                                        </p:attrNameLst>
                                      </p:cBhvr>
                                      <p:tavLst>
                                        <p:tav tm="0">
                                          <p:val>
                                            <p:strVal val="1+#ppt_w/2"/>
                                          </p:val>
                                        </p:tav>
                                        <p:tav tm="100000">
                                          <p:val>
                                            <p:strVal val="#ppt_x"/>
                                          </p:val>
                                        </p:tav>
                                      </p:tavLst>
                                    </p:anim>
                                    <p:anim calcmode="lin" valueType="num">
                                      <p:cBhvr additive="base">
                                        <p:cTn id="92" dur="3000" fill="hold"/>
                                        <p:tgtEl>
                                          <p:spTgt spid="13"/>
                                        </p:tgtEl>
                                        <p:attrNameLst>
                                          <p:attrName>ppt_y</p:attrName>
                                        </p:attrNameLst>
                                      </p:cBhvr>
                                      <p:tavLst>
                                        <p:tav tm="0">
                                          <p:val>
                                            <p:strVal val="1+#ppt_h/2"/>
                                          </p:val>
                                        </p:tav>
                                        <p:tav tm="100000">
                                          <p:val>
                                            <p:strVal val="#ppt_y"/>
                                          </p:val>
                                        </p:tav>
                                      </p:tavLst>
                                    </p:anim>
                                  </p:childTnLst>
                                </p:cTn>
                              </p:par>
                              <p:par>
                                <p:cTn id="93" presetID="2" presetClass="entr" presetSubtype="6" dur="3000" decel="100000" fill="hold" grpId="0" nodeType="withEffect">
                                  <p:stCondLst>
                                    <p:cond delay="0"/>
                                  </p:stCondLst>
                                  <p:childTnLst>
                                    <p:set>
                                      <p:cBhvr>
                                        <p:cTn id="94" dur="1" fill="hold">
                                          <p:stCondLst>
                                            <p:cond delay="0"/>
                                          </p:stCondLst>
                                        </p:cTn>
                                        <p:tgtEl>
                                          <p:spTgt spid="12"/>
                                        </p:tgtEl>
                                        <p:attrNameLst>
                                          <p:attrName>style.visibility</p:attrName>
                                        </p:attrNameLst>
                                      </p:cBhvr>
                                      <p:to>
                                        <p:strVal val="visible"/>
                                      </p:to>
                                    </p:set>
                                    <p:anim calcmode="lin" valueType="num">
                                      <p:cBhvr additive="base">
                                        <p:cTn id="95" dur="3000" fill="hold"/>
                                        <p:tgtEl>
                                          <p:spTgt spid="12"/>
                                        </p:tgtEl>
                                        <p:attrNameLst>
                                          <p:attrName>ppt_x</p:attrName>
                                        </p:attrNameLst>
                                      </p:cBhvr>
                                      <p:tavLst>
                                        <p:tav tm="0">
                                          <p:val>
                                            <p:strVal val="1+#ppt_w/2"/>
                                          </p:val>
                                        </p:tav>
                                        <p:tav tm="100000">
                                          <p:val>
                                            <p:strVal val="#ppt_x"/>
                                          </p:val>
                                        </p:tav>
                                      </p:tavLst>
                                    </p:anim>
                                    <p:anim calcmode="lin" valueType="num">
                                      <p:cBhvr additive="base">
                                        <p:cTn id="96" dur="3000" fill="hold"/>
                                        <p:tgtEl>
                                          <p:spTgt spid="12"/>
                                        </p:tgtEl>
                                        <p:attrNameLst>
                                          <p:attrName>ppt_y</p:attrName>
                                        </p:attrNameLst>
                                      </p:cBhvr>
                                      <p:tavLst>
                                        <p:tav tm="0">
                                          <p:val>
                                            <p:strVal val="1+#ppt_h/2"/>
                                          </p:val>
                                        </p:tav>
                                        <p:tav tm="100000">
                                          <p:val>
                                            <p:strVal val="#ppt_y"/>
                                          </p:val>
                                        </p:tav>
                                      </p:tavLst>
                                    </p:anim>
                                  </p:childTnLst>
                                </p:cTn>
                              </p:par>
                              <p:par>
                                <p:cTn id="97" presetID="2" presetClass="entr" presetSubtype="6" dur="3000" decel="100000" fill="hold" grpId="0" nodeType="withEffect">
                                  <p:stCondLst>
                                    <p:cond delay="0"/>
                                  </p:stCondLst>
                                  <p:childTnLst>
                                    <p:set>
                                      <p:cBhvr>
                                        <p:cTn id="98" dur="1" fill="hold">
                                          <p:stCondLst>
                                            <p:cond delay="0"/>
                                          </p:stCondLst>
                                        </p:cTn>
                                        <p:tgtEl>
                                          <p:spTgt spid="11"/>
                                        </p:tgtEl>
                                        <p:attrNameLst>
                                          <p:attrName>style.visibility</p:attrName>
                                        </p:attrNameLst>
                                      </p:cBhvr>
                                      <p:to>
                                        <p:strVal val="visible"/>
                                      </p:to>
                                    </p:set>
                                    <p:anim calcmode="lin" valueType="num">
                                      <p:cBhvr additive="base">
                                        <p:cTn id="99" dur="3000" fill="hold"/>
                                        <p:tgtEl>
                                          <p:spTgt spid="11"/>
                                        </p:tgtEl>
                                        <p:attrNameLst>
                                          <p:attrName>ppt_x</p:attrName>
                                        </p:attrNameLst>
                                      </p:cBhvr>
                                      <p:tavLst>
                                        <p:tav tm="0">
                                          <p:val>
                                            <p:strVal val="1+#ppt_w/2"/>
                                          </p:val>
                                        </p:tav>
                                        <p:tav tm="100000">
                                          <p:val>
                                            <p:strVal val="#ppt_x"/>
                                          </p:val>
                                        </p:tav>
                                      </p:tavLst>
                                    </p:anim>
                                    <p:anim calcmode="lin" valueType="num">
                                      <p:cBhvr additive="base">
                                        <p:cTn id="100" dur="3000" fill="hold"/>
                                        <p:tgtEl>
                                          <p:spTgt spid="11"/>
                                        </p:tgtEl>
                                        <p:attrNameLst>
                                          <p:attrName>ppt_y</p:attrName>
                                        </p:attrNameLst>
                                      </p:cBhvr>
                                      <p:tavLst>
                                        <p:tav tm="0">
                                          <p:val>
                                            <p:strVal val="1+#ppt_h/2"/>
                                          </p:val>
                                        </p:tav>
                                        <p:tav tm="100000">
                                          <p:val>
                                            <p:strVal val="#ppt_y"/>
                                          </p:val>
                                        </p:tav>
                                      </p:tavLst>
                                    </p:anim>
                                  </p:childTnLst>
                                </p:cTn>
                              </p:par>
                              <p:par>
                                <p:cTn id="101" presetID="2" presetClass="entr" presetSubtype="6" dur="3000" decel="100000" fill="hold" grpId="0" nodeType="withEffect">
                                  <p:stCondLst>
                                    <p:cond delay="0"/>
                                  </p:stCondLst>
                                  <p:childTnLst>
                                    <p:set>
                                      <p:cBhvr>
                                        <p:cTn id="102" dur="1" fill="hold">
                                          <p:stCondLst>
                                            <p:cond delay="0"/>
                                          </p:stCondLst>
                                        </p:cTn>
                                        <p:tgtEl>
                                          <p:spTgt spid="10"/>
                                        </p:tgtEl>
                                        <p:attrNameLst>
                                          <p:attrName>style.visibility</p:attrName>
                                        </p:attrNameLst>
                                      </p:cBhvr>
                                      <p:to>
                                        <p:strVal val="visible"/>
                                      </p:to>
                                    </p:set>
                                    <p:anim calcmode="lin" valueType="num">
                                      <p:cBhvr additive="base">
                                        <p:cTn id="103" dur="3000" fill="hold"/>
                                        <p:tgtEl>
                                          <p:spTgt spid="10"/>
                                        </p:tgtEl>
                                        <p:attrNameLst>
                                          <p:attrName>ppt_x</p:attrName>
                                        </p:attrNameLst>
                                      </p:cBhvr>
                                      <p:tavLst>
                                        <p:tav tm="0">
                                          <p:val>
                                            <p:strVal val="1+#ppt_w/2"/>
                                          </p:val>
                                        </p:tav>
                                        <p:tav tm="100000">
                                          <p:val>
                                            <p:strVal val="#ppt_x"/>
                                          </p:val>
                                        </p:tav>
                                      </p:tavLst>
                                    </p:anim>
                                    <p:anim calcmode="lin" valueType="num">
                                      <p:cBhvr additive="base">
                                        <p:cTn id="104" dur="3000" fill="hold"/>
                                        <p:tgtEl>
                                          <p:spTgt spid="10"/>
                                        </p:tgtEl>
                                        <p:attrNameLst>
                                          <p:attrName>ppt_y</p:attrName>
                                        </p:attrNameLst>
                                      </p:cBhvr>
                                      <p:tavLst>
                                        <p:tav tm="0">
                                          <p:val>
                                            <p:strVal val="1+#ppt_h/2"/>
                                          </p:val>
                                        </p:tav>
                                        <p:tav tm="100000">
                                          <p:val>
                                            <p:strVal val="#ppt_y"/>
                                          </p:val>
                                        </p:tav>
                                      </p:tavLst>
                                    </p:anim>
                                  </p:childTnLst>
                                </p:cTn>
                              </p:par>
                              <p:par>
                                <p:cTn id="105" presetID="2" presetClass="entr" presetSubtype="6" dur="3000" decel="100000" fill="hold" grpId="0" nodeType="withEffect">
                                  <p:stCondLst>
                                    <p:cond delay="0"/>
                                  </p:stCondLst>
                                  <p:childTnLst>
                                    <p:set>
                                      <p:cBhvr>
                                        <p:cTn id="106" dur="1" fill="hold">
                                          <p:stCondLst>
                                            <p:cond delay="0"/>
                                          </p:stCondLst>
                                        </p:cTn>
                                        <p:tgtEl>
                                          <p:spTgt spid="56"/>
                                        </p:tgtEl>
                                        <p:attrNameLst>
                                          <p:attrName>style.visibility</p:attrName>
                                        </p:attrNameLst>
                                      </p:cBhvr>
                                      <p:to>
                                        <p:strVal val="visible"/>
                                      </p:to>
                                    </p:set>
                                    <p:anim calcmode="lin" valueType="num">
                                      <p:cBhvr additive="base">
                                        <p:cTn id="107" dur="3000" fill="hold"/>
                                        <p:tgtEl>
                                          <p:spTgt spid="56"/>
                                        </p:tgtEl>
                                        <p:attrNameLst>
                                          <p:attrName>ppt_x</p:attrName>
                                        </p:attrNameLst>
                                      </p:cBhvr>
                                      <p:tavLst>
                                        <p:tav tm="0">
                                          <p:val>
                                            <p:strVal val="1+#ppt_w/2"/>
                                          </p:val>
                                        </p:tav>
                                        <p:tav tm="100000">
                                          <p:val>
                                            <p:strVal val="#ppt_x"/>
                                          </p:val>
                                        </p:tav>
                                      </p:tavLst>
                                    </p:anim>
                                    <p:anim calcmode="lin" valueType="num">
                                      <p:cBhvr additive="base">
                                        <p:cTn id="108" dur="3000" fill="hold"/>
                                        <p:tgtEl>
                                          <p:spTgt spid="56"/>
                                        </p:tgtEl>
                                        <p:attrNameLst>
                                          <p:attrName>ppt_y</p:attrName>
                                        </p:attrNameLst>
                                      </p:cBhvr>
                                      <p:tavLst>
                                        <p:tav tm="0">
                                          <p:val>
                                            <p:strVal val="1+#ppt_h/2"/>
                                          </p:val>
                                        </p:tav>
                                        <p:tav tm="100000">
                                          <p:val>
                                            <p:strVal val="#ppt_y"/>
                                          </p:val>
                                        </p:tav>
                                      </p:tavLst>
                                    </p:anim>
                                  </p:childTnLst>
                                </p:cTn>
                              </p:par>
                              <p:par>
                                <p:cTn id="109" presetID="2" presetClass="entr" presetSubtype="6" dur="3000" decel="100000" fill="hold" grpId="0" nodeType="withEffect">
                                  <p:stCondLst>
                                    <p:cond delay="0"/>
                                  </p:stCondLst>
                                  <p:childTnLst>
                                    <p:set>
                                      <p:cBhvr>
                                        <p:cTn id="110" dur="1" fill="hold">
                                          <p:stCondLst>
                                            <p:cond delay="0"/>
                                          </p:stCondLst>
                                        </p:cTn>
                                        <p:tgtEl>
                                          <p:spTgt spid="55"/>
                                        </p:tgtEl>
                                        <p:attrNameLst>
                                          <p:attrName>style.visibility</p:attrName>
                                        </p:attrNameLst>
                                      </p:cBhvr>
                                      <p:to>
                                        <p:strVal val="visible"/>
                                      </p:to>
                                    </p:set>
                                    <p:anim calcmode="lin" valueType="num">
                                      <p:cBhvr additive="base">
                                        <p:cTn id="111" dur="3000" fill="hold"/>
                                        <p:tgtEl>
                                          <p:spTgt spid="55"/>
                                        </p:tgtEl>
                                        <p:attrNameLst>
                                          <p:attrName>ppt_x</p:attrName>
                                        </p:attrNameLst>
                                      </p:cBhvr>
                                      <p:tavLst>
                                        <p:tav tm="0">
                                          <p:val>
                                            <p:strVal val="1+#ppt_w/2"/>
                                          </p:val>
                                        </p:tav>
                                        <p:tav tm="100000">
                                          <p:val>
                                            <p:strVal val="#ppt_x"/>
                                          </p:val>
                                        </p:tav>
                                      </p:tavLst>
                                    </p:anim>
                                    <p:anim calcmode="lin" valueType="num">
                                      <p:cBhvr additive="base">
                                        <p:cTn id="112" dur="3000" fill="hold"/>
                                        <p:tgtEl>
                                          <p:spTgt spid="55"/>
                                        </p:tgtEl>
                                        <p:attrNameLst>
                                          <p:attrName>ppt_y</p:attrName>
                                        </p:attrNameLst>
                                      </p:cBhvr>
                                      <p:tavLst>
                                        <p:tav tm="0">
                                          <p:val>
                                            <p:strVal val="1+#ppt_h/2"/>
                                          </p:val>
                                        </p:tav>
                                        <p:tav tm="100000">
                                          <p:val>
                                            <p:strVal val="#ppt_y"/>
                                          </p:val>
                                        </p:tav>
                                      </p:tavLst>
                                    </p:anim>
                                  </p:childTnLst>
                                </p:cTn>
                              </p:par>
                              <p:par>
                                <p:cTn id="113" presetID="2" presetClass="entr" presetSubtype="6" dur="3000" decel="100000" fill="hold" grpId="0" nodeType="withEffect">
                                  <p:stCondLst>
                                    <p:cond delay="0"/>
                                  </p:stCondLst>
                                  <p:childTnLst>
                                    <p:set>
                                      <p:cBhvr>
                                        <p:cTn id="114" dur="1" fill="hold">
                                          <p:stCondLst>
                                            <p:cond delay="0"/>
                                          </p:stCondLst>
                                        </p:cTn>
                                        <p:tgtEl>
                                          <p:spTgt spid="54"/>
                                        </p:tgtEl>
                                        <p:attrNameLst>
                                          <p:attrName>style.visibility</p:attrName>
                                        </p:attrNameLst>
                                      </p:cBhvr>
                                      <p:to>
                                        <p:strVal val="visible"/>
                                      </p:to>
                                    </p:set>
                                    <p:anim calcmode="lin" valueType="num">
                                      <p:cBhvr additive="base">
                                        <p:cTn id="115" dur="3000" fill="hold"/>
                                        <p:tgtEl>
                                          <p:spTgt spid="54"/>
                                        </p:tgtEl>
                                        <p:attrNameLst>
                                          <p:attrName>ppt_x</p:attrName>
                                        </p:attrNameLst>
                                      </p:cBhvr>
                                      <p:tavLst>
                                        <p:tav tm="0">
                                          <p:val>
                                            <p:strVal val="1+#ppt_w/2"/>
                                          </p:val>
                                        </p:tav>
                                        <p:tav tm="100000">
                                          <p:val>
                                            <p:strVal val="#ppt_x"/>
                                          </p:val>
                                        </p:tav>
                                      </p:tavLst>
                                    </p:anim>
                                    <p:anim calcmode="lin" valueType="num">
                                      <p:cBhvr additive="base">
                                        <p:cTn id="116" dur="3000" fill="hold"/>
                                        <p:tgtEl>
                                          <p:spTgt spid="54"/>
                                        </p:tgtEl>
                                        <p:attrNameLst>
                                          <p:attrName>ppt_y</p:attrName>
                                        </p:attrNameLst>
                                      </p:cBhvr>
                                      <p:tavLst>
                                        <p:tav tm="0">
                                          <p:val>
                                            <p:strVal val="1+#ppt_h/2"/>
                                          </p:val>
                                        </p:tav>
                                        <p:tav tm="100000">
                                          <p:val>
                                            <p:strVal val="#ppt_y"/>
                                          </p:val>
                                        </p:tav>
                                      </p:tavLst>
                                    </p:anim>
                                  </p:childTnLst>
                                </p:cTn>
                              </p:par>
                              <p:par>
                                <p:cTn id="117" presetID="2" presetClass="entr" presetSubtype="6" dur="3000" decel="100000" fill="hold" grpId="0" nodeType="withEffect">
                                  <p:stCondLst>
                                    <p:cond delay="0"/>
                                  </p:stCondLst>
                                  <p:childTnLst>
                                    <p:set>
                                      <p:cBhvr>
                                        <p:cTn id="118" dur="1" fill="hold">
                                          <p:stCondLst>
                                            <p:cond delay="0"/>
                                          </p:stCondLst>
                                        </p:cTn>
                                        <p:tgtEl>
                                          <p:spTgt spid="53"/>
                                        </p:tgtEl>
                                        <p:attrNameLst>
                                          <p:attrName>style.visibility</p:attrName>
                                        </p:attrNameLst>
                                      </p:cBhvr>
                                      <p:to>
                                        <p:strVal val="visible"/>
                                      </p:to>
                                    </p:set>
                                    <p:anim calcmode="lin" valueType="num">
                                      <p:cBhvr additive="base">
                                        <p:cTn id="119" dur="3000" fill="hold"/>
                                        <p:tgtEl>
                                          <p:spTgt spid="53"/>
                                        </p:tgtEl>
                                        <p:attrNameLst>
                                          <p:attrName>ppt_x</p:attrName>
                                        </p:attrNameLst>
                                      </p:cBhvr>
                                      <p:tavLst>
                                        <p:tav tm="0">
                                          <p:val>
                                            <p:strVal val="1+#ppt_w/2"/>
                                          </p:val>
                                        </p:tav>
                                        <p:tav tm="100000">
                                          <p:val>
                                            <p:strVal val="#ppt_x"/>
                                          </p:val>
                                        </p:tav>
                                      </p:tavLst>
                                    </p:anim>
                                    <p:anim calcmode="lin" valueType="num">
                                      <p:cBhvr additive="base">
                                        <p:cTn id="120" dur="3000" fill="hold"/>
                                        <p:tgtEl>
                                          <p:spTgt spid="53"/>
                                        </p:tgtEl>
                                        <p:attrNameLst>
                                          <p:attrName>ppt_y</p:attrName>
                                        </p:attrNameLst>
                                      </p:cBhvr>
                                      <p:tavLst>
                                        <p:tav tm="0">
                                          <p:val>
                                            <p:strVal val="1+#ppt_h/2"/>
                                          </p:val>
                                        </p:tav>
                                        <p:tav tm="100000">
                                          <p:val>
                                            <p:strVal val="#ppt_y"/>
                                          </p:val>
                                        </p:tav>
                                      </p:tavLst>
                                    </p:anim>
                                  </p:childTnLst>
                                </p:cTn>
                              </p:par>
                              <p:par>
                                <p:cTn id="121" presetID="2" presetClass="entr" presetSubtype="6" dur="3000" decel="100000" fill="hold" grpId="0" nodeType="withEffect">
                                  <p:stCondLst>
                                    <p:cond delay="0"/>
                                  </p:stCondLst>
                                  <p:childTnLst>
                                    <p:set>
                                      <p:cBhvr>
                                        <p:cTn id="122" dur="1" fill="hold">
                                          <p:stCondLst>
                                            <p:cond delay="0"/>
                                          </p:stCondLst>
                                        </p:cTn>
                                        <p:tgtEl>
                                          <p:spTgt spid="61"/>
                                        </p:tgtEl>
                                        <p:attrNameLst>
                                          <p:attrName>style.visibility</p:attrName>
                                        </p:attrNameLst>
                                      </p:cBhvr>
                                      <p:to>
                                        <p:strVal val="visible"/>
                                      </p:to>
                                    </p:set>
                                    <p:anim calcmode="lin" valueType="num">
                                      <p:cBhvr additive="base">
                                        <p:cTn id="123" dur="3000" fill="hold"/>
                                        <p:tgtEl>
                                          <p:spTgt spid="61"/>
                                        </p:tgtEl>
                                        <p:attrNameLst>
                                          <p:attrName>ppt_x</p:attrName>
                                        </p:attrNameLst>
                                      </p:cBhvr>
                                      <p:tavLst>
                                        <p:tav tm="0">
                                          <p:val>
                                            <p:strVal val="1+#ppt_w/2"/>
                                          </p:val>
                                        </p:tav>
                                        <p:tav tm="100000">
                                          <p:val>
                                            <p:strVal val="#ppt_x"/>
                                          </p:val>
                                        </p:tav>
                                      </p:tavLst>
                                    </p:anim>
                                    <p:anim calcmode="lin" valueType="num">
                                      <p:cBhvr additive="base">
                                        <p:cTn id="124" dur="3000" fill="hold"/>
                                        <p:tgtEl>
                                          <p:spTgt spid="61"/>
                                        </p:tgtEl>
                                        <p:attrNameLst>
                                          <p:attrName>ppt_y</p:attrName>
                                        </p:attrNameLst>
                                      </p:cBhvr>
                                      <p:tavLst>
                                        <p:tav tm="0">
                                          <p:val>
                                            <p:strVal val="1+#ppt_h/2"/>
                                          </p:val>
                                        </p:tav>
                                        <p:tav tm="100000">
                                          <p:val>
                                            <p:strVal val="#ppt_y"/>
                                          </p:val>
                                        </p:tav>
                                      </p:tavLst>
                                    </p:anim>
                                  </p:childTnLst>
                                </p:cTn>
                              </p:par>
                              <p:par>
                                <p:cTn id="125" presetID="2" presetClass="entr" presetSubtype="6" dur="3000" decel="100000" fill="hold" grpId="0" nodeType="withEffect">
                                  <p:stCondLst>
                                    <p:cond delay="0"/>
                                  </p:stCondLst>
                                  <p:childTnLst>
                                    <p:set>
                                      <p:cBhvr>
                                        <p:cTn id="126" dur="1" fill="hold">
                                          <p:stCondLst>
                                            <p:cond delay="0"/>
                                          </p:stCondLst>
                                        </p:cTn>
                                        <p:tgtEl>
                                          <p:spTgt spid="60"/>
                                        </p:tgtEl>
                                        <p:attrNameLst>
                                          <p:attrName>style.visibility</p:attrName>
                                        </p:attrNameLst>
                                      </p:cBhvr>
                                      <p:to>
                                        <p:strVal val="visible"/>
                                      </p:to>
                                    </p:set>
                                    <p:anim calcmode="lin" valueType="num">
                                      <p:cBhvr additive="base">
                                        <p:cTn id="127" dur="3000" fill="hold"/>
                                        <p:tgtEl>
                                          <p:spTgt spid="60"/>
                                        </p:tgtEl>
                                        <p:attrNameLst>
                                          <p:attrName>ppt_x</p:attrName>
                                        </p:attrNameLst>
                                      </p:cBhvr>
                                      <p:tavLst>
                                        <p:tav tm="0">
                                          <p:val>
                                            <p:strVal val="1+#ppt_w/2"/>
                                          </p:val>
                                        </p:tav>
                                        <p:tav tm="100000">
                                          <p:val>
                                            <p:strVal val="#ppt_x"/>
                                          </p:val>
                                        </p:tav>
                                      </p:tavLst>
                                    </p:anim>
                                    <p:anim calcmode="lin" valueType="num">
                                      <p:cBhvr additive="base">
                                        <p:cTn id="128" dur="3000" fill="hold"/>
                                        <p:tgtEl>
                                          <p:spTgt spid="60"/>
                                        </p:tgtEl>
                                        <p:attrNameLst>
                                          <p:attrName>ppt_y</p:attrName>
                                        </p:attrNameLst>
                                      </p:cBhvr>
                                      <p:tavLst>
                                        <p:tav tm="0">
                                          <p:val>
                                            <p:strVal val="1+#ppt_h/2"/>
                                          </p:val>
                                        </p:tav>
                                        <p:tav tm="100000">
                                          <p:val>
                                            <p:strVal val="#ppt_y"/>
                                          </p:val>
                                        </p:tav>
                                      </p:tavLst>
                                    </p:anim>
                                  </p:childTnLst>
                                </p:cTn>
                              </p:par>
                              <p:par>
                                <p:cTn id="129" presetID="2" presetClass="entr" presetSubtype="6" dur="3000" decel="100000" fill="hold" grpId="0" nodeType="withEffect">
                                  <p:stCondLst>
                                    <p:cond delay="0"/>
                                  </p:stCondLst>
                                  <p:childTnLst>
                                    <p:set>
                                      <p:cBhvr>
                                        <p:cTn id="130" dur="1" fill="hold">
                                          <p:stCondLst>
                                            <p:cond delay="0"/>
                                          </p:stCondLst>
                                        </p:cTn>
                                        <p:tgtEl>
                                          <p:spTgt spid="59"/>
                                        </p:tgtEl>
                                        <p:attrNameLst>
                                          <p:attrName>style.visibility</p:attrName>
                                        </p:attrNameLst>
                                      </p:cBhvr>
                                      <p:to>
                                        <p:strVal val="visible"/>
                                      </p:to>
                                    </p:set>
                                    <p:anim calcmode="lin" valueType="num">
                                      <p:cBhvr additive="base">
                                        <p:cTn id="131" dur="3000" fill="hold"/>
                                        <p:tgtEl>
                                          <p:spTgt spid="59"/>
                                        </p:tgtEl>
                                        <p:attrNameLst>
                                          <p:attrName>ppt_x</p:attrName>
                                        </p:attrNameLst>
                                      </p:cBhvr>
                                      <p:tavLst>
                                        <p:tav tm="0">
                                          <p:val>
                                            <p:strVal val="1+#ppt_w/2"/>
                                          </p:val>
                                        </p:tav>
                                        <p:tav tm="100000">
                                          <p:val>
                                            <p:strVal val="#ppt_x"/>
                                          </p:val>
                                        </p:tav>
                                      </p:tavLst>
                                    </p:anim>
                                    <p:anim calcmode="lin" valueType="num">
                                      <p:cBhvr additive="base">
                                        <p:cTn id="132" dur="3000" fill="hold"/>
                                        <p:tgtEl>
                                          <p:spTgt spid="59"/>
                                        </p:tgtEl>
                                        <p:attrNameLst>
                                          <p:attrName>ppt_y</p:attrName>
                                        </p:attrNameLst>
                                      </p:cBhvr>
                                      <p:tavLst>
                                        <p:tav tm="0">
                                          <p:val>
                                            <p:strVal val="1+#ppt_h/2"/>
                                          </p:val>
                                        </p:tav>
                                        <p:tav tm="100000">
                                          <p:val>
                                            <p:strVal val="#ppt_y"/>
                                          </p:val>
                                        </p:tav>
                                      </p:tavLst>
                                    </p:anim>
                                  </p:childTnLst>
                                </p:cTn>
                              </p:par>
                              <p:par>
                                <p:cTn id="133" presetID="2" presetClass="entr" presetSubtype="6" dur="3000" decel="100000" fill="hold" grpId="0" nodeType="withEffect">
                                  <p:stCondLst>
                                    <p:cond delay="0"/>
                                  </p:stCondLst>
                                  <p:childTnLst>
                                    <p:set>
                                      <p:cBhvr>
                                        <p:cTn id="134" dur="1" fill="hold">
                                          <p:stCondLst>
                                            <p:cond delay="0"/>
                                          </p:stCondLst>
                                        </p:cTn>
                                        <p:tgtEl>
                                          <p:spTgt spid="66"/>
                                        </p:tgtEl>
                                        <p:attrNameLst>
                                          <p:attrName>style.visibility</p:attrName>
                                        </p:attrNameLst>
                                      </p:cBhvr>
                                      <p:to>
                                        <p:strVal val="visible"/>
                                      </p:to>
                                    </p:set>
                                    <p:anim calcmode="lin" valueType="num">
                                      <p:cBhvr additive="base">
                                        <p:cTn id="135" dur="3000" fill="hold"/>
                                        <p:tgtEl>
                                          <p:spTgt spid="66"/>
                                        </p:tgtEl>
                                        <p:attrNameLst>
                                          <p:attrName>ppt_x</p:attrName>
                                        </p:attrNameLst>
                                      </p:cBhvr>
                                      <p:tavLst>
                                        <p:tav tm="0">
                                          <p:val>
                                            <p:strVal val="1+#ppt_w/2"/>
                                          </p:val>
                                        </p:tav>
                                        <p:tav tm="100000">
                                          <p:val>
                                            <p:strVal val="#ppt_x"/>
                                          </p:val>
                                        </p:tav>
                                      </p:tavLst>
                                    </p:anim>
                                    <p:anim calcmode="lin" valueType="num">
                                      <p:cBhvr additive="base">
                                        <p:cTn id="136" dur="3000" fill="hold"/>
                                        <p:tgtEl>
                                          <p:spTgt spid="66"/>
                                        </p:tgtEl>
                                        <p:attrNameLst>
                                          <p:attrName>ppt_y</p:attrName>
                                        </p:attrNameLst>
                                      </p:cBhvr>
                                      <p:tavLst>
                                        <p:tav tm="0">
                                          <p:val>
                                            <p:strVal val="1+#ppt_h/2"/>
                                          </p:val>
                                        </p:tav>
                                        <p:tav tm="100000">
                                          <p:val>
                                            <p:strVal val="#ppt_y"/>
                                          </p:val>
                                        </p:tav>
                                      </p:tavLst>
                                    </p:anim>
                                  </p:childTnLst>
                                </p:cTn>
                              </p:par>
                              <p:par>
                                <p:cTn id="137" presetID="2" presetClass="entr" presetSubtype="6" dur="3000" decel="100000" fill="hold" grpId="0" nodeType="withEffect">
                                  <p:stCondLst>
                                    <p:cond delay="0"/>
                                  </p:stCondLst>
                                  <p:childTnLst>
                                    <p:set>
                                      <p:cBhvr>
                                        <p:cTn id="138" dur="1" fill="hold">
                                          <p:stCondLst>
                                            <p:cond delay="0"/>
                                          </p:stCondLst>
                                        </p:cTn>
                                        <p:tgtEl>
                                          <p:spTgt spid="65"/>
                                        </p:tgtEl>
                                        <p:attrNameLst>
                                          <p:attrName>style.visibility</p:attrName>
                                        </p:attrNameLst>
                                      </p:cBhvr>
                                      <p:to>
                                        <p:strVal val="visible"/>
                                      </p:to>
                                    </p:set>
                                    <p:anim calcmode="lin" valueType="num">
                                      <p:cBhvr additive="base">
                                        <p:cTn id="139" dur="3000" fill="hold"/>
                                        <p:tgtEl>
                                          <p:spTgt spid="65"/>
                                        </p:tgtEl>
                                        <p:attrNameLst>
                                          <p:attrName>ppt_x</p:attrName>
                                        </p:attrNameLst>
                                      </p:cBhvr>
                                      <p:tavLst>
                                        <p:tav tm="0">
                                          <p:val>
                                            <p:strVal val="1+#ppt_w/2"/>
                                          </p:val>
                                        </p:tav>
                                        <p:tav tm="100000">
                                          <p:val>
                                            <p:strVal val="#ppt_x"/>
                                          </p:val>
                                        </p:tav>
                                      </p:tavLst>
                                    </p:anim>
                                    <p:anim calcmode="lin" valueType="num">
                                      <p:cBhvr additive="base">
                                        <p:cTn id="140" dur="3000" fill="hold"/>
                                        <p:tgtEl>
                                          <p:spTgt spid="6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animBg="1"/>
      <p:bldP spid="49" grpId="0" animBg="1"/>
      <p:bldP spid="41" grpId="0" animBg="1"/>
      <p:bldP spid="42" grpId="0" animBg="1"/>
      <p:bldP spid="43" grpId="0" animBg="1"/>
      <p:bldP spid="28" grpId="0" animBg="1"/>
      <p:bldP spid="29" grpId="0" animBg="1"/>
      <p:bldP spid="30" grpId="0" animBg="1"/>
      <p:bldP spid="31" grpId="0" animBg="1"/>
      <p:bldP spid="16" grpId="0" animBg="1"/>
      <p:bldP spid="17" grpId="0" animBg="1"/>
      <p:bldP spid="18" grpId="0" animBg="1"/>
      <p:bldP spid="19" grpId="0" animBg="1"/>
      <p:bldP spid="20" grpId="0" animBg="1"/>
      <p:bldP spid="2" grpId="0" animBg="1"/>
      <p:bldP spid="4" grpId="0" animBg="1"/>
      <p:bldP spid="5" grpId="0" animBg="1"/>
      <p:bldP spid="6" grpId="0" animBg="1"/>
      <p:bldP spid="7" grpId="0" animBg="1"/>
      <p:bldP spid="8" grpId="0" animBg="1"/>
      <p:bldP spid="10" grpId="0" animBg="1"/>
      <p:bldP spid="11" grpId="0" animBg="1"/>
      <p:bldP spid="12" grpId="0" animBg="1"/>
      <p:bldP spid="13" grpId="0" animBg="1"/>
      <p:bldP spid="14" grpId="0" animBg="1"/>
      <p:bldP spid="53" grpId="0" animBg="1"/>
      <p:bldP spid="54" grpId="0" animBg="1"/>
      <p:bldP spid="55" grpId="0" animBg="1"/>
      <p:bldP spid="56" grpId="0" animBg="1"/>
      <p:bldP spid="59" grpId="0" animBg="1"/>
      <p:bldP spid="60" grpId="0" animBg="1"/>
      <p:bldP spid="61" grpId="0" animBg="1"/>
      <p:bldP spid="65" grpId="0" animBg="1"/>
      <p:bldP spid="66" grpId="0" animBg="1"/>
    </p:bldLst>
  </p:timing>
</p:sldLayout>
</file>

<file path=ppt/slideLayouts/slideLayout281.xml><?xml version="1.0" encoding="utf-8"?>
<p:sldLayout xmlns:a="http://schemas.openxmlformats.org/drawingml/2006/main" xmlns:r="http://schemas.openxmlformats.org/officeDocument/2006/relationships" xmlns:p="http://schemas.openxmlformats.org/presentationml/2006/main" userDrawn="1">
  <p:cSld name="16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B13DB9B-D378-4E6B-8FA4-452DF397F209}"/>
              </a:ext>
            </a:extLst>
          </p:cNvPr>
          <p:cNvSpPr>
            <a:spLocks noGrp="1"/>
          </p:cNvSpPr>
          <p:nvPr>
            <p:ph type="pic" sz="quarter" idx="16"/>
          </p:nvPr>
        </p:nvSpPr>
        <p:spPr>
          <a:xfrm>
            <a:off x="6096000" y="-1"/>
            <a:ext cx="5314258" cy="6858000"/>
          </a:xfrm>
          <a:custGeom>
            <a:avLst/>
            <a:gdLst>
              <a:gd name="connsiteX0" fmla="*/ 0 w 10629900"/>
              <a:gd name="connsiteY0" fmla="*/ 0 h 13715999"/>
              <a:gd name="connsiteX1" fmla="*/ 10629900 w 10629900"/>
              <a:gd name="connsiteY1" fmla="*/ 0 h 13715999"/>
              <a:gd name="connsiteX2" fmla="*/ 10629900 w 10629900"/>
              <a:gd name="connsiteY2" fmla="*/ 13715999 h 13715999"/>
              <a:gd name="connsiteX3" fmla="*/ 0 w 10629900"/>
              <a:gd name="connsiteY3" fmla="*/ 13715999 h 13715999"/>
            </a:gdLst>
            <a:ahLst/>
            <a:cxnLst>
              <a:cxn ang="0">
                <a:pos x="connsiteX0" y="connsiteY0"/>
              </a:cxn>
              <a:cxn ang="0">
                <a:pos x="connsiteX1" y="connsiteY1"/>
              </a:cxn>
              <a:cxn ang="0">
                <a:pos x="connsiteX2" y="connsiteY2"/>
              </a:cxn>
              <a:cxn ang="0">
                <a:pos x="connsiteX3" y="connsiteY3"/>
              </a:cxn>
            </a:cxnLst>
            <a:rect l="l" t="t" r="r" b="b"/>
            <a:pathLst>
              <a:path w="10629900" h="13715999">
                <a:moveTo>
                  <a:pt x="0" y="0"/>
                </a:moveTo>
                <a:lnTo>
                  <a:pt x="10629900" y="0"/>
                </a:lnTo>
                <a:lnTo>
                  <a:pt x="10629900" y="13715999"/>
                </a:lnTo>
                <a:lnTo>
                  <a:pt x="0" y="13715999"/>
                </a:ln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Tree>
    <p:extLst>
      <p:ext uri="{BB962C8B-B14F-4D97-AF65-F5344CB8AC3E}">
        <p14:creationId xmlns:p14="http://schemas.microsoft.com/office/powerpoint/2010/main" val="1486435393"/>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1" dur="2000" decel="10000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2000" fill="hold"/>
                                        <p:tgtEl>
                                          <p:spTgt spid="4"/>
                                        </p:tgtEl>
                                        <p:attrNameLst>
                                          <p:attrName>ppt_x</p:attrName>
                                        </p:attrNameLst>
                                      </p:cBhvr>
                                      <p:tavLst>
                                        <p:tav tm="0">
                                          <p:val>
                                            <p:strVal val="#ppt_x"/>
                                          </p:val>
                                        </p:tav>
                                        <p:tav tm="100000">
                                          <p:val>
                                            <p:strVal val="#ppt_x"/>
                                          </p:val>
                                        </p:tav>
                                      </p:tavLst>
                                    </p:anim>
                                    <p:anim calcmode="lin" valueType="num">
                                      <p:cBhvr additive="base">
                                        <p:cTn id="8" dur="2000" fill="hold"/>
                                        <p:tgtEl>
                                          <p:spTgt spid="4"/>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282.xml><?xml version="1.0" encoding="utf-8"?>
<p:sldLayout xmlns:a="http://schemas.openxmlformats.org/drawingml/2006/main" xmlns:r="http://schemas.openxmlformats.org/officeDocument/2006/relationships" xmlns:p="http://schemas.openxmlformats.org/presentationml/2006/main" userDrawn="1">
  <p:cSld name="17_Custom Layou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CD2B06C0-CBE8-405B-8A49-1EDA08527EB6}"/>
              </a:ext>
            </a:extLst>
          </p:cNvPr>
          <p:cNvSpPr>
            <a:spLocks noGrp="1"/>
          </p:cNvSpPr>
          <p:nvPr>
            <p:ph type="pic" sz="quarter" idx="16"/>
          </p:nvPr>
        </p:nvSpPr>
        <p:spPr>
          <a:xfrm>
            <a:off x="1566817" y="1035169"/>
            <a:ext cx="3476803" cy="4917057"/>
          </a:xfrm>
          <a:custGeom>
            <a:avLst/>
            <a:gdLst>
              <a:gd name="connsiteX0" fmla="*/ 0 w 10629900"/>
              <a:gd name="connsiteY0" fmla="*/ 0 h 13715999"/>
              <a:gd name="connsiteX1" fmla="*/ 10629900 w 10629900"/>
              <a:gd name="connsiteY1" fmla="*/ 0 h 13715999"/>
              <a:gd name="connsiteX2" fmla="*/ 10629900 w 10629900"/>
              <a:gd name="connsiteY2" fmla="*/ 13715999 h 13715999"/>
              <a:gd name="connsiteX3" fmla="*/ 0 w 10629900"/>
              <a:gd name="connsiteY3" fmla="*/ 13715999 h 13715999"/>
            </a:gdLst>
            <a:ahLst/>
            <a:cxnLst>
              <a:cxn ang="0">
                <a:pos x="connsiteX0" y="connsiteY0"/>
              </a:cxn>
              <a:cxn ang="0">
                <a:pos x="connsiteX1" y="connsiteY1"/>
              </a:cxn>
              <a:cxn ang="0">
                <a:pos x="connsiteX2" y="connsiteY2"/>
              </a:cxn>
              <a:cxn ang="0">
                <a:pos x="connsiteX3" y="connsiteY3"/>
              </a:cxn>
            </a:cxnLst>
            <a:rect l="l" t="t" r="r" b="b"/>
            <a:pathLst>
              <a:path w="10629900" h="13715999">
                <a:moveTo>
                  <a:pt x="0" y="0"/>
                </a:moveTo>
                <a:lnTo>
                  <a:pt x="10629900" y="0"/>
                </a:lnTo>
                <a:lnTo>
                  <a:pt x="10629900" y="13715999"/>
                </a:lnTo>
                <a:lnTo>
                  <a:pt x="0" y="13715999"/>
                </a:ln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Tree>
    <p:extLst>
      <p:ext uri="{BB962C8B-B14F-4D97-AF65-F5344CB8AC3E}">
        <p14:creationId xmlns:p14="http://schemas.microsoft.com/office/powerpoint/2010/main" val="535735406"/>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1" dur="2000" decel="100000" fill="hold" grpId="0" nodeType="withEffect">
                                  <p:stCondLst>
                                    <p:cond delay="100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2000" fill="hold"/>
                                        <p:tgtEl>
                                          <p:spTgt spid="3"/>
                                        </p:tgtEl>
                                        <p:attrNameLst>
                                          <p:attrName>ppt_x</p:attrName>
                                        </p:attrNameLst>
                                      </p:cBhvr>
                                      <p:tavLst>
                                        <p:tav tm="0">
                                          <p:val>
                                            <p:strVal val="#ppt_x"/>
                                          </p:val>
                                        </p:tav>
                                        <p:tav tm="100000">
                                          <p:val>
                                            <p:strVal val="#ppt_x"/>
                                          </p:val>
                                        </p:tav>
                                      </p:tavLst>
                                    </p:anim>
                                    <p:anim calcmode="lin" valueType="num">
                                      <p:cBhvr additive="base">
                                        <p:cTn id="8" dur="2000" fill="hold"/>
                                        <p:tgtEl>
                                          <p:spTgt spid="3"/>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283.xml><?xml version="1.0" encoding="utf-8"?>
<p:sldLayout xmlns:a="http://schemas.openxmlformats.org/drawingml/2006/main" xmlns:r="http://schemas.openxmlformats.org/officeDocument/2006/relationships" xmlns:p="http://schemas.openxmlformats.org/presentationml/2006/main" userDrawn="1">
  <p:cSld name="18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CB2A7E9-3614-483C-A98C-8ECE0BE80B01}"/>
              </a:ext>
            </a:extLst>
          </p:cNvPr>
          <p:cNvSpPr>
            <a:spLocks noGrp="1"/>
          </p:cNvSpPr>
          <p:nvPr>
            <p:ph type="pic" sz="quarter" idx="16"/>
          </p:nvPr>
        </p:nvSpPr>
        <p:spPr>
          <a:xfrm>
            <a:off x="781742" y="647700"/>
            <a:ext cx="10628516" cy="5524500"/>
          </a:xfrm>
          <a:custGeom>
            <a:avLst/>
            <a:gdLst>
              <a:gd name="connsiteX0" fmla="*/ 0 w 21259800"/>
              <a:gd name="connsiteY0" fmla="*/ 0 h 11049000"/>
              <a:gd name="connsiteX1" fmla="*/ 21259800 w 21259800"/>
              <a:gd name="connsiteY1" fmla="*/ 0 h 11049000"/>
              <a:gd name="connsiteX2" fmla="*/ 21259800 w 21259800"/>
              <a:gd name="connsiteY2" fmla="*/ 11049000 h 11049000"/>
              <a:gd name="connsiteX3" fmla="*/ 0 w 21259800"/>
              <a:gd name="connsiteY3" fmla="*/ 11049000 h 11049000"/>
            </a:gdLst>
            <a:ahLst/>
            <a:cxnLst>
              <a:cxn ang="0">
                <a:pos x="connsiteX0" y="connsiteY0"/>
              </a:cxn>
              <a:cxn ang="0">
                <a:pos x="connsiteX1" y="connsiteY1"/>
              </a:cxn>
              <a:cxn ang="0">
                <a:pos x="connsiteX2" y="connsiteY2"/>
              </a:cxn>
              <a:cxn ang="0">
                <a:pos x="connsiteX3" y="connsiteY3"/>
              </a:cxn>
            </a:cxnLst>
            <a:rect l="l" t="t" r="r" b="b"/>
            <a:pathLst>
              <a:path w="21259800" h="11049000">
                <a:moveTo>
                  <a:pt x="0" y="0"/>
                </a:moveTo>
                <a:lnTo>
                  <a:pt x="21259800" y="0"/>
                </a:lnTo>
                <a:lnTo>
                  <a:pt x="21259800" y="11049000"/>
                </a:lnTo>
                <a:lnTo>
                  <a:pt x="0" y="11049000"/>
                </a:ln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Tree>
    <p:extLst>
      <p:ext uri="{BB962C8B-B14F-4D97-AF65-F5344CB8AC3E}">
        <p14:creationId xmlns:p14="http://schemas.microsoft.com/office/powerpoint/2010/main" val="509682358"/>
      </p:ext>
    </p:extLst>
  </p:cSld>
  <p:clrMapOvr>
    <a:masterClrMapping/>
  </p:clrMapOvr>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userDrawn="1">
  <p:cSld name="19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CB2A7E9-3614-483C-A98C-8ECE0BE80B01}"/>
              </a:ext>
            </a:extLst>
          </p:cNvPr>
          <p:cNvSpPr>
            <a:spLocks noGrp="1"/>
          </p:cNvSpPr>
          <p:nvPr>
            <p:ph type="pic" sz="quarter" idx="16"/>
          </p:nvPr>
        </p:nvSpPr>
        <p:spPr>
          <a:xfrm>
            <a:off x="3616788" y="647700"/>
            <a:ext cx="7793470" cy="5524500"/>
          </a:xfrm>
          <a:custGeom>
            <a:avLst/>
            <a:gdLst>
              <a:gd name="connsiteX0" fmla="*/ 0 w 21259800"/>
              <a:gd name="connsiteY0" fmla="*/ 0 h 11049000"/>
              <a:gd name="connsiteX1" fmla="*/ 21259800 w 21259800"/>
              <a:gd name="connsiteY1" fmla="*/ 0 h 11049000"/>
              <a:gd name="connsiteX2" fmla="*/ 21259800 w 21259800"/>
              <a:gd name="connsiteY2" fmla="*/ 11049000 h 11049000"/>
              <a:gd name="connsiteX3" fmla="*/ 0 w 21259800"/>
              <a:gd name="connsiteY3" fmla="*/ 11049000 h 11049000"/>
            </a:gdLst>
            <a:ahLst/>
            <a:cxnLst>
              <a:cxn ang="0">
                <a:pos x="connsiteX0" y="connsiteY0"/>
              </a:cxn>
              <a:cxn ang="0">
                <a:pos x="connsiteX1" y="connsiteY1"/>
              </a:cxn>
              <a:cxn ang="0">
                <a:pos x="connsiteX2" y="connsiteY2"/>
              </a:cxn>
              <a:cxn ang="0">
                <a:pos x="connsiteX3" y="connsiteY3"/>
              </a:cxn>
            </a:cxnLst>
            <a:rect l="l" t="t" r="r" b="b"/>
            <a:pathLst>
              <a:path w="21259800" h="11049000">
                <a:moveTo>
                  <a:pt x="0" y="0"/>
                </a:moveTo>
                <a:lnTo>
                  <a:pt x="21259800" y="0"/>
                </a:lnTo>
                <a:lnTo>
                  <a:pt x="21259800" y="11049000"/>
                </a:lnTo>
                <a:lnTo>
                  <a:pt x="0" y="11049000"/>
                </a:ln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Tree>
    <p:extLst>
      <p:ext uri="{BB962C8B-B14F-4D97-AF65-F5344CB8AC3E}">
        <p14:creationId xmlns:p14="http://schemas.microsoft.com/office/powerpoint/2010/main" val="1537367622"/>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8" dur="1900" decel="10000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900" fill="hold"/>
                                        <p:tgtEl>
                                          <p:spTgt spid="4"/>
                                        </p:tgtEl>
                                        <p:attrNameLst>
                                          <p:attrName>ppt_x</p:attrName>
                                        </p:attrNameLst>
                                      </p:cBhvr>
                                      <p:tavLst>
                                        <p:tav tm="0">
                                          <p:val>
                                            <p:strVal val="0-#ppt_w/2"/>
                                          </p:val>
                                        </p:tav>
                                        <p:tav tm="100000">
                                          <p:val>
                                            <p:strVal val="#ppt_x"/>
                                          </p:val>
                                        </p:tav>
                                      </p:tavLst>
                                    </p:anim>
                                    <p:anim calcmode="lin" valueType="num">
                                      <p:cBhvr additive="base">
                                        <p:cTn id="8" dur="190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285.xml><?xml version="1.0" encoding="utf-8"?>
<p:sldLayout xmlns:a="http://schemas.openxmlformats.org/drawingml/2006/main" xmlns:r="http://schemas.openxmlformats.org/officeDocument/2006/relationships" xmlns:p="http://schemas.openxmlformats.org/presentationml/2006/main" userDrawn="1">
  <p:cSld name="20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90EE7DA-954F-470F-B4FB-970B10427B29}"/>
              </a:ext>
            </a:extLst>
          </p:cNvPr>
          <p:cNvSpPr>
            <a:spLocks noGrp="1"/>
          </p:cNvSpPr>
          <p:nvPr>
            <p:ph type="pic" sz="quarter" idx="16"/>
          </p:nvPr>
        </p:nvSpPr>
        <p:spPr>
          <a:xfrm>
            <a:off x="4526197" y="1082616"/>
            <a:ext cx="3139606" cy="4692770"/>
          </a:xfrm>
          <a:custGeom>
            <a:avLst/>
            <a:gdLst>
              <a:gd name="connsiteX0" fmla="*/ 0 w 6280030"/>
              <a:gd name="connsiteY0" fmla="*/ 0 h 9385539"/>
              <a:gd name="connsiteX1" fmla="*/ 6280030 w 6280030"/>
              <a:gd name="connsiteY1" fmla="*/ 0 h 9385539"/>
              <a:gd name="connsiteX2" fmla="*/ 6280030 w 6280030"/>
              <a:gd name="connsiteY2" fmla="*/ 9385539 h 9385539"/>
              <a:gd name="connsiteX3" fmla="*/ 0 w 6280030"/>
              <a:gd name="connsiteY3" fmla="*/ 9385539 h 9385539"/>
            </a:gdLst>
            <a:ahLst/>
            <a:cxnLst>
              <a:cxn ang="0">
                <a:pos x="connsiteX0" y="connsiteY0"/>
              </a:cxn>
              <a:cxn ang="0">
                <a:pos x="connsiteX1" y="connsiteY1"/>
              </a:cxn>
              <a:cxn ang="0">
                <a:pos x="connsiteX2" y="connsiteY2"/>
              </a:cxn>
              <a:cxn ang="0">
                <a:pos x="connsiteX3" y="connsiteY3"/>
              </a:cxn>
            </a:cxnLst>
            <a:rect l="l" t="t" r="r" b="b"/>
            <a:pathLst>
              <a:path w="6280030" h="9385539">
                <a:moveTo>
                  <a:pt x="0" y="0"/>
                </a:moveTo>
                <a:lnTo>
                  <a:pt x="6280030" y="0"/>
                </a:lnTo>
                <a:lnTo>
                  <a:pt x="6280030" y="9385539"/>
                </a:lnTo>
                <a:lnTo>
                  <a:pt x="0" y="9385539"/>
                </a:lnTo>
                <a:close/>
              </a:path>
            </a:pathLst>
          </a:custGeom>
          <a:pattFill prst="pct60">
            <a:fgClr>
              <a:schemeClr val="bg1"/>
            </a:fgClr>
            <a:bgClr>
              <a:schemeClr val="bg1">
                <a:lumMod val="85000"/>
              </a:schemeClr>
            </a:bgClr>
          </a:pattFill>
          <a:effectLst>
            <a:outerShdw dist="266700" dir="2700000" algn="tl" rotWithShape="0">
              <a:prstClr val="black">
                <a:alpha val="23000"/>
              </a:prstClr>
            </a:outerShdw>
          </a:effectLst>
        </p:spPr>
        <p:txBody>
          <a:bodyPr wrap="square" anchor="ctr">
            <a:noAutofit/>
          </a:bodyPr>
          <a:lstStyle>
            <a:lvl1pPr marL="0" indent="0" algn="ctr">
              <a:buFontTx/>
              <a:buNone/>
              <a:defRPr sz="1200"/>
            </a:lvl1pPr>
          </a:lstStyle>
          <a:p>
            <a:endParaRPr lang="en-US"/>
          </a:p>
        </p:txBody>
      </p:sp>
    </p:spTree>
    <p:extLst>
      <p:ext uri="{BB962C8B-B14F-4D97-AF65-F5344CB8AC3E}">
        <p14:creationId xmlns:p14="http://schemas.microsoft.com/office/powerpoint/2010/main" val="534285931"/>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42" presetClass="path" presetSubtype="0" dur="2000" repeatCount="indefinite" accel="50000" decel="50000" autoRev="1" fill="hold" grpId="0" nodeType="withEffect">
                                  <p:stCondLst>
                                    <p:cond delay="0"/>
                                  </p:stCondLst>
                                  <p:childTnLst>
                                    <p:animMotion origin="layout" path="M 5.55112E-17 0 L -0.02246 -0.05093" pathEditMode="relative" rAng="0" ptsTypes="AA">
                                      <p:cBhvr>
                                        <p:cTn id="6" dur="2000" fill="hold"/>
                                        <p:tgtEl>
                                          <p:spTgt spid="4"/>
                                        </p:tgtEl>
                                        <p:attrNameLst>
                                          <p:attrName>ppt_x</p:attrName>
                                          <p:attrName>ppt_y</p:attrName>
                                        </p:attrNameLst>
                                      </p:cBhvr>
                                      <p:rCtr x="-1126" y="-254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286.xml><?xml version="1.0" encoding="utf-8"?>
<p:sldLayout xmlns:a="http://schemas.openxmlformats.org/drawingml/2006/main" xmlns:r="http://schemas.openxmlformats.org/officeDocument/2006/relationships" xmlns:p="http://schemas.openxmlformats.org/presentationml/2006/main">
  <p:cSld name="21_Custom Layout">
    <p:spTree>
      <p:nvGrpSpPr>
        <p:cNvPr id="1" name=""/>
        <p:cNvGrpSpPr/>
        <p:nvPr/>
      </p:nvGrpSpPr>
      <p:grpSpPr>
        <a:xfrm>
          <a:off x="0" y="0"/>
          <a:ext cx="0" cy="0"/>
          <a:chOff x="0" y="0"/>
          <a:chExt cx="0" cy="0"/>
        </a:xfrm>
      </p:grpSpPr>
      <p:sp>
        <p:nvSpPr>
          <p:cNvPr id="33" name="Picture Placeholder 32">
            <a:extLst>
              <a:ext uri="{FF2B5EF4-FFF2-40B4-BE49-F238E27FC236}">
                <a16:creationId xmlns:a16="http://schemas.microsoft.com/office/drawing/2014/main" id="{8B8D9FE0-2BB0-4951-87E4-EC751C0312CD}"/>
              </a:ext>
            </a:extLst>
          </p:cNvPr>
          <p:cNvSpPr>
            <a:spLocks noGrp="1"/>
          </p:cNvSpPr>
          <p:nvPr>
            <p:ph type="pic" sz="quarter" idx="10"/>
          </p:nvPr>
        </p:nvSpPr>
        <p:spPr>
          <a:xfrm>
            <a:off x="781742" y="647700"/>
            <a:ext cx="5314258" cy="5524500"/>
          </a:xfrm>
          <a:custGeom>
            <a:avLst/>
            <a:gdLst>
              <a:gd name="connsiteX0" fmla="*/ 0 w 10172699"/>
              <a:gd name="connsiteY0" fmla="*/ 0 h 11049000"/>
              <a:gd name="connsiteX1" fmla="*/ 10172699 w 10172699"/>
              <a:gd name="connsiteY1" fmla="*/ 0 h 11049000"/>
              <a:gd name="connsiteX2" fmla="*/ 10172699 w 10172699"/>
              <a:gd name="connsiteY2" fmla="*/ 11049000 h 11049000"/>
              <a:gd name="connsiteX3" fmla="*/ 0 w 10172699"/>
              <a:gd name="connsiteY3" fmla="*/ 11049000 h 11049000"/>
            </a:gdLst>
            <a:ahLst/>
            <a:cxnLst>
              <a:cxn ang="0">
                <a:pos x="connsiteX0" y="connsiteY0"/>
              </a:cxn>
              <a:cxn ang="0">
                <a:pos x="connsiteX1" y="connsiteY1"/>
              </a:cxn>
              <a:cxn ang="0">
                <a:pos x="connsiteX2" y="connsiteY2"/>
              </a:cxn>
              <a:cxn ang="0">
                <a:pos x="connsiteX3" y="connsiteY3"/>
              </a:cxn>
            </a:cxnLst>
            <a:rect l="l" t="t" r="r" b="b"/>
            <a:pathLst>
              <a:path w="10172699" h="11049000">
                <a:moveTo>
                  <a:pt x="0" y="0"/>
                </a:moveTo>
                <a:lnTo>
                  <a:pt x="10172699" y="0"/>
                </a:lnTo>
                <a:lnTo>
                  <a:pt x="10172699" y="11049000"/>
                </a:lnTo>
                <a:lnTo>
                  <a:pt x="0" y="11049000"/>
                </a:lnTo>
                <a:close/>
              </a:path>
            </a:pathLst>
          </a:custGeom>
          <a:pattFill prst="pct60">
            <a:fgClr>
              <a:schemeClr val="bg1"/>
            </a:fgClr>
            <a:bgClr>
              <a:schemeClr val="bg1">
                <a:lumMod val="85000"/>
              </a:schemeClr>
            </a:bgClr>
          </a:pattFill>
        </p:spPr>
        <p:txBody>
          <a:bodyPr wrap="square">
            <a:noAutofit/>
          </a:bodyPr>
          <a:lstStyle/>
          <a:p>
            <a:endParaRPr lang="en-US"/>
          </a:p>
        </p:txBody>
      </p:sp>
      <p:sp>
        <p:nvSpPr>
          <p:cNvPr id="35" name="Picture Placeholder 34">
            <a:extLst>
              <a:ext uri="{FF2B5EF4-FFF2-40B4-BE49-F238E27FC236}">
                <a16:creationId xmlns:a16="http://schemas.microsoft.com/office/drawing/2014/main" id="{A70CBB4C-B5B4-4660-817C-385F23628B9D}"/>
              </a:ext>
            </a:extLst>
          </p:cNvPr>
          <p:cNvSpPr>
            <a:spLocks noGrp="1"/>
          </p:cNvSpPr>
          <p:nvPr>
            <p:ph type="pic" sz="quarter" idx="11"/>
          </p:nvPr>
        </p:nvSpPr>
        <p:spPr>
          <a:xfrm>
            <a:off x="6096000" y="647700"/>
            <a:ext cx="5314258" cy="5524500"/>
          </a:xfrm>
          <a:custGeom>
            <a:avLst/>
            <a:gdLst>
              <a:gd name="connsiteX0" fmla="*/ 0 w 10858500"/>
              <a:gd name="connsiteY0" fmla="*/ 0 h 11049000"/>
              <a:gd name="connsiteX1" fmla="*/ 10858500 w 10858500"/>
              <a:gd name="connsiteY1" fmla="*/ 0 h 11049000"/>
              <a:gd name="connsiteX2" fmla="*/ 10858500 w 10858500"/>
              <a:gd name="connsiteY2" fmla="*/ 11049000 h 11049000"/>
              <a:gd name="connsiteX3" fmla="*/ 0 w 10858500"/>
              <a:gd name="connsiteY3" fmla="*/ 11049000 h 11049000"/>
            </a:gdLst>
            <a:ahLst/>
            <a:cxnLst>
              <a:cxn ang="0">
                <a:pos x="connsiteX0" y="connsiteY0"/>
              </a:cxn>
              <a:cxn ang="0">
                <a:pos x="connsiteX1" y="connsiteY1"/>
              </a:cxn>
              <a:cxn ang="0">
                <a:pos x="connsiteX2" y="connsiteY2"/>
              </a:cxn>
              <a:cxn ang="0">
                <a:pos x="connsiteX3" y="connsiteY3"/>
              </a:cxn>
            </a:cxnLst>
            <a:rect l="l" t="t" r="r" b="b"/>
            <a:pathLst>
              <a:path w="10858500" h="11049000">
                <a:moveTo>
                  <a:pt x="0" y="0"/>
                </a:moveTo>
                <a:lnTo>
                  <a:pt x="10858500" y="0"/>
                </a:lnTo>
                <a:lnTo>
                  <a:pt x="10858500" y="11049000"/>
                </a:lnTo>
                <a:lnTo>
                  <a:pt x="0" y="11049000"/>
                </a:lnTo>
                <a:close/>
              </a:path>
            </a:pathLst>
          </a:custGeom>
          <a:pattFill prst="pct60">
            <a:fgClr>
              <a:schemeClr val="bg1"/>
            </a:fgClr>
            <a:bgClr>
              <a:schemeClr val="bg1">
                <a:lumMod val="85000"/>
              </a:schemeClr>
            </a:bgClr>
          </a:pattFill>
        </p:spPr>
        <p:txBody>
          <a:bodyPr wrap="square">
            <a:noAutofit/>
          </a:bodyPr>
          <a:lstStyle/>
          <a:p>
            <a:endParaRPr lang="en-US"/>
          </a:p>
        </p:txBody>
      </p:sp>
    </p:spTree>
    <p:extLst>
      <p:ext uri="{BB962C8B-B14F-4D97-AF65-F5344CB8AC3E}">
        <p14:creationId xmlns:p14="http://schemas.microsoft.com/office/powerpoint/2010/main" val="3915627726"/>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4" dur="1700" decel="100000" fill="hold" grpId="0" nodeType="withEffect">
                                  <p:stCondLst>
                                    <p:cond delay="0"/>
                                  </p:stCondLst>
                                  <p:childTnLst>
                                    <p:set>
                                      <p:cBhvr>
                                        <p:cTn id="6" dur="1" fill="hold">
                                          <p:stCondLst>
                                            <p:cond delay="0"/>
                                          </p:stCondLst>
                                        </p:cTn>
                                        <p:tgtEl>
                                          <p:spTgt spid="33"/>
                                        </p:tgtEl>
                                        <p:attrNameLst>
                                          <p:attrName>style.visibility</p:attrName>
                                        </p:attrNameLst>
                                      </p:cBhvr>
                                      <p:to>
                                        <p:strVal val="visible"/>
                                      </p:to>
                                    </p:set>
                                    <p:anim calcmode="lin" valueType="num">
                                      <p:cBhvr additive="base">
                                        <p:cTn id="7" dur="1700" fill="hold"/>
                                        <p:tgtEl>
                                          <p:spTgt spid="33"/>
                                        </p:tgtEl>
                                        <p:attrNameLst>
                                          <p:attrName>ppt_x</p:attrName>
                                        </p:attrNameLst>
                                      </p:cBhvr>
                                      <p:tavLst>
                                        <p:tav tm="0">
                                          <p:val>
                                            <p:strVal val="#ppt_x"/>
                                          </p:val>
                                        </p:tav>
                                        <p:tav tm="100000">
                                          <p:val>
                                            <p:strVal val="#ppt_x"/>
                                          </p:val>
                                        </p:tav>
                                      </p:tavLst>
                                    </p:anim>
                                    <p:anim calcmode="lin" valueType="num">
                                      <p:cBhvr additive="base">
                                        <p:cTn id="8" dur="1700" fill="hold"/>
                                        <p:tgtEl>
                                          <p:spTgt spid="33"/>
                                        </p:tgtEl>
                                        <p:attrNameLst>
                                          <p:attrName>ppt_y</p:attrName>
                                        </p:attrNameLst>
                                      </p:cBhvr>
                                      <p:tavLst>
                                        <p:tav tm="0">
                                          <p:val>
                                            <p:strVal val="1+#ppt_h/2"/>
                                          </p:val>
                                        </p:tav>
                                        <p:tav tm="100000">
                                          <p:val>
                                            <p:strVal val="#ppt_y"/>
                                          </p:val>
                                        </p:tav>
                                      </p:tavLst>
                                    </p:anim>
                                  </p:childTnLst>
                                </p:cTn>
                              </p:par>
                              <p:par>
                                <p:cTn id="9" presetID="2" presetClass="entr" presetSubtype="1" dur="1700" decel="100000" fill="hold" grpId="0" nodeType="withEffect">
                                  <p:stCondLst>
                                    <p:cond delay="0"/>
                                  </p:stCondLst>
                                  <p:childTnLst>
                                    <p:set>
                                      <p:cBhvr>
                                        <p:cTn id="10" dur="1" fill="hold">
                                          <p:stCondLst>
                                            <p:cond delay="0"/>
                                          </p:stCondLst>
                                        </p:cTn>
                                        <p:tgtEl>
                                          <p:spTgt spid="35"/>
                                        </p:tgtEl>
                                        <p:attrNameLst>
                                          <p:attrName>style.visibility</p:attrName>
                                        </p:attrNameLst>
                                      </p:cBhvr>
                                      <p:to>
                                        <p:strVal val="visible"/>
                                      </p:to>
                                    </p:set>
                                    <p:anim calcmode="lin" valueType="num">
                                      <p:cBhvr additive="base">
                                        <p:cTn id="11" dur="1700" fill="hold"/>
                                        <p:tgtEl>
                                          <p:spTgt spid="35"/>
                                        </p:tgtEl>
                                        <p:attrNameLst>
                                          <p:attrName>ppt_x</p:attrName>
                                        </p:attrNameLst>
                                      </p:cBhvr>
                                      <p:tavLst>
                                        <p:tav tm="0">
                                          <p:val>
                                            <p:strVal val="#ppt_x"/>
                                          </p:val>
                                        </p:tav>
                                        <p:tav tm="100000">
                                          <p:val>
                                            <p:strVal val="#ppt_x"/>
                                          </p:val>
                                        </p:tav>
                                      </p:tavLst>
                                    </p:anim>
                                    <p:anim calcmode="lin" valueType="num">
                                      <p:cBhvr additive="base">
                                        <p:cTn id="12" dur="1700" fill="hold"/>
                                        <p:tgtEl>
                                          <p:spTgt spid="35"/>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animBg="1"/>
      <p:bldP spid="35" grpId="0" animBg="1"/>
    </p:bldLst>
  </p:timing>
</p:sldLayout>
</file>

<file path=ppt/slideLayouts/slideLayout287.xml><?xml version="1.0" encoding="utf-8"?>
<p:sldLayout xmlns:a="http://schemas.openxmlformats.org/drawingml/2006/main" xmlns:r="http://schemas.openxmlformats.org/officeDocument/2006/relationships" xmlns:p="http://schemas.openxmlformats.org/presentationml/2006/main">
  <p:cSld name="24_Title Slide">
    <p:spTree>
      <p:nvGrpSpPr>
        <p:cNvPr id="1" name=""/>
        <p:cNvGrpSpPr/>
        <p:nvPr/>
      </p:nvGrpSpPr>
      <p:grpSpPr>
        <a:xfrm>
          <a:off x="0" y="0"/>
          <a:ext cx="0" cy="0"/>
          <a:chOff x="0" y="0"/>
          <a:chExt cx="0" cy="0"/>
        </a:xfrm>
      </p:grpSpPr>
      <p:sp>
        <p:nvSpPr>
          <p:cNvPr id="34" name="Picture Placeholder 33">
            <a:extLst>
              <a:ext uri="{FF2B5EF4-FFF2-40B4-BE49-F238E27FC236}">
                <a16:creationId xmlns:a16="http://schemas.microsoft.com/office/drawing/2014/main" id="{2E49EDA7-E0B3-44D6-ADA1-4C6DE88415FD}"/>
              </a:ext>
            </a:extLst>
          </p:cNvPr>
          <p:cNvSpPr>
            <a:spLocks noGrp="1"/>
          </p:cNvSpPr>
          <p:nvPr>
            <p:ph type="pic" sz="quarter" idx="11"/>
          </p:nvPr>
        </p:nvSpPr>
        <p:spPr>
          <a:xfrm>
            <a:off x="781742" y="3429762"/>
            <a:ext cx="3504744" cy="2743200"/>
          </a:xfrm>
          <a:custGeom>
            <a:avLst/>
            <a:gdLst>
              <a:gd name="connsiteX0" fmla="*/ 0 w 7010400"/>
              <a:gd name="connsiteY0" fmla="*/ 0 h 5486400"/>
              <a:gd name="connsiteX1" fmla="*/ 7010400 w 7010400"/>
              <a:gd name="connsiteY1" fmla="*/ 0 h 5486400"/>
              <a:gd name="connsiteX2" fmla="*/ 7010400 w 7010400"/>
              <a:gd name="connsiteY2" fmla="*/ 5486400 h 5486400"/>
              <a:gd name="connsiteX3" fmla="*/ 0 w 7010400"/>
              <a:gd name="connsiteY3" fmla="*/ 5486400 h 5486400"/>
            </a:gdLst>
            <a:ahLst/>
            <a:cxnLst>
              <a:cxn ang="0">
                <a:pos x="connsiteX0" y="connsiteY0"/>
              </a:cxn>
              <a:cxn ang="0">
                <a:pos x="connsiteX1" y="connsiteY1"/>
              </a:cxn>
              <a:cxn ang="0">
                <a:pos x="connsiteX2" y="connsiteY2"/>
              </a:cxn>
              <a:cxn ang="0">
                <a:pos x="connsiteX3" y="connsiteY3"/>
              </a:cxn>
            </a:cxnLst>
            <a:rect l="l" t="t" r="r" b="b"/>
            <a:pathLst>
              <a:path w="7010400" h="5486400">
                <a:moveTo>
                  <a:pt x="0" y="0"/>
                </a:moveTo>
                <a:lnTo>
                  <a:pt x="7010400" y="0"/>
                </a:lnTo>
                <a:lnTo>
                  <a:pt x="7010400" y="5486400"/>
                </a:lnTo>
                <a:lnTo>
                  <a:pt x="0" y="5486400"/>
                </a:lnTo>
                <a:close/>
              </a:path>
            </a:pathLst>
          </a:custGeom>
          <a:pattFill prst="pct60">
            <a:fgClr>
              <a:schemeClr val="bg1"/>
            </a:fgClr>
            <a:bgClr>
              <a:schemeClr val="bg1">
                <a:lumMod val="85000"/>
              </a:schemeClr>
            </a:bgClr>
          </a:pattFill>
        </p:spPr>
        <p:txBody>
          <a:bodyPr wrap="square" anchor="ctr">
            <a:noAutofit/>
          </a:bodyPr>
          <a:lstStyle>
            <a:lvl1pPr>
              <a:defRPr lang="en-US" sz="1200"/>
            </a:lvl1pPr>
          </a:lstStyle>
          <a:p>
            <a:pPr marL="0" lvl="0" indent="0" algn="ctr">
              <a:buFontTx/>
              <a:buNone/>
            </a:pPr>
            <a:endParaRPr lang="en-US"/>
          </a:p>
        </p:txBody>
      </p:sp>
      <p:sp>
        <p:nvSpPr>
          <p:cNvPr id="35" name="Picture Placeholder 34">
            <a:extLst>
              <a:ext uri="{FF2B5EF4-FFF2-40B4-BE49-F238E27FC236}">
                <a16:creationId xmlns:a16="http://schemas.microsoft.com/office/drawing/2014/main" id="{D3A46C86-1D5D-4D5A-81D6-35065A5DB85B}"/>
              </a:ext>
            </a:extLst>
          </p:cNvPr>
          <p:cNvSpPr>
            <a:spLocks noGrp="1"/>
          </p:cNvSpPr>
          <p:nvPr>
            <p:ph type="pic" sz="quarter" idx="12"/>
          </p:nvPr>
        </p:nvSpPr>
        <p:spPr>
          <a:xfrm>
            <a:off x="4343628" y="685038"/>
            <a:ext cx="3504744" cy="2743200"/>
          </a:xfrm>
          <a:custGeom>
            <a:avLst/>
            <a:gdLst>
              <a:gd name="connsiteX0" fmla="*/ 0 w 7010400"/>
              <a:gd name="connsiteY0" fmla="*/ 0 h 5486400"/>
              <a:gd name="connsiteX1" fmla="*/ 7010400 w 7010400"/>
              <a:gd name="connsiteY1" fmla="*/ 0 h 5486400"/>
              <a:gd name="connsiteX2" fmla="*/ 7010400 w 7010400"/>
              <a:gd name="connsiteY2" fmla="*/ 5486400 h 5486400"/>
              <a:gd name="connsiteX3" fmla="*/ 0 w 7010400"/>
              <a:gd name="connsiteY3" fmla="*/ 5486400 h 5486400"/>
            </a:gdLst>
            <a:ahLst/>
            <a:cxnLst>
              <a:cxn ang="0">
                <a:pos x="connsiteX0" y="connsiteY0"/>
              </a:cxn>
              <a:cxn ang="0">
                <a:pos x="connsiteX1" y="connsiteY1"/>
              </a:cxn>
              <a:cxn ang="0">
                <a:pos x="connsiteX2" y="connsiteY2"/>
              </a:cxn>
              <a:cxn ang="0">
                <a:pos x="connsiteX3" y="connsiteY3"/>
              </a:cxn>
            </a:cxnLst>
            <a:rect l="l" t="t" r="r" b="b"/>
            <a:pathLst>
              <a:path w="7010400" h="5486400">
                <a:moveTo>
                  <a:pt x="0" y="0"/>
                </a:moveTo>
                <a:lnTo>
                  <a:pt x="7010400" y="0"/>
                </a:lnTo>
                <a:lnTo>
                  <a:pt x="7010400" y="5486400"/>
                </a:lnTo>
                <a:lnTo>
                  <a:pt x="0" y="5486400"/>
                </a:lnTo>
                <a:close/>
              </a:path>
            </a:pathLst>
          </a:custGeom>
          <a:pattFill prst="pct60">
            <a:fgClr>
              <a:schemeClr val="bg1"/>
            </a:fgClr>
            <a:bgClr>
              <a:schemeClr val="bg1">
                <a:lumMod val="85000"/>
              </a:schemeClr>
            </a:bgClr>
          </a:pattFill>
        </p:spPr>
        <p:txBody>
          <a:bodyPr wrap="square" anchor="ctr">
            <a:noAutofit/>
          </a:bodyPr>
          <a:lstStyle>
            <a:lvl1pPr>
              <a:defRPr lang="en-US" sz="1200"/>
            </a:lvl1pPr>
          </a:lstStyle>
          <a:p>
            <a:pPr marL="0" lvl="0" indent="0" algn="ctr">
              <a:buFontTx/>
              <a:buNone/>
            </a:pPr>
            <a:endParaRPr lang="en-US"/>
          </a:p>
        </p:txBody>
      </p:sp>
      <p:sp>
        <p:nvSpPr>
          <p:cNvPr id="36" name="Picture Placeholder 35">
            <a:extLst>
              <a:ext uri="{FF2B5EF4-FFF2-40B4-BE49-F238E27FC236}">
                <a16:creationId xmlns:a16="http://schemas.microsoft.com/office/drawing/2014/main" id="{E7A46BF3-B94D-4FE7-864C-9D33C80DC724}"/>
              </a:ext>
            </a:extLst>
          </p:cNvPr>
          <p:cNvSpPr>
            <a:spLocks noGrp="1"/>
          </p:cNvSpPr>
          <p:nvPr>
            <p:ph type="pic" sz="quarter" idx="13"/>
          </p:nvPr>
        </p:nvSpPr>
        <p:spPr>
          <a:xfrm>
            <a:off x="7875262" y="3429762"/>
            <a:ext cx="3504744" cy="2743200"/>
          </a:xfrm>
          <a:custGeom>
            <a:avLst/>
            <a:gdLst>
              <a:gd name="connsiteX0" fmla="*/ 0 w 7010400"/>
              <a:gd name="connsiteY0" fmla="*/ 0 h 5486400"/>
              <a:gd name="connsiteX1" fmla="*/ 7010400 w 7010400"/>
              <a:gd name="connsiteY1" fmla="*/ 0 h 5486400"/>
              <a:gd name="connsiteX2" fmla="*/ 7010400 w 7010400"/>
              <a:gd name="connsiteY2" fmla="*/ 5486400 h 5486400"/>
              <a:gd name="connsiteX3" fmla="*/ 0 w 7010400"/>
              <a:gd name="connsiteY3" fmla="*/ 5486400 h 5486400"/>
            </a:gdLst>
            <a:ahLst/>
            <a:cxnLst>
              <a:cxn ang="0">
                <a:pos x="connsiteX0" y="connsiteY0"/>
              </a:cxn>
              <a:cxn ang="0">
                <a:pos x="connsiteX1" y="connsiteY1"/>
              </a:cxn>
              <a:cxn ang="0">
                <a:pos x="connsiteX2" y="connsiteY2"/>
              </a:cxn>
              <a:cxn ang="0">
                <a:pos x="connsiteX3" y="connsiteY3"/>
              </a:cxn>
            </a:cxnLst>
            <a:rect l="l" t="t" r="r" b="b"/>
            <a:pathLst>
              <a:path w="7010400" h="5486400">
                <a:moveTo>
                  <a:pt x="0" y="0"/>
                </a:moveTo>
                <a:lnTo>
                  <a:pt x="7010400" y="0"/>
                </a:lnTo>
                <a:lnTo>
                  <a:pt x="7010400" y="5486400"/>
                </a:lnTo>
                <a:lnTo>
                  <a:pt x="0" y="5486400"/>
                </a:lnTo>
                <a:close/>
              </a:path>
            </a:pathLst>
          </a:custGeom>
          <a:pattFill prst="pct60">
            <a:fgClr>
              <a:schemeClr val="bg1"/>
            </a:fgClr>
            <a:bgClr>
              <a:schemeClr val="bg1">
                <a:lumMod val="85000"/>
              </a:schemeClr>
            </a:bgClr>
          </a:pattFill>
        </p:spPr>
        <p:txBody>
          <a:bodyPr wrap="square" anchor="ctr">
            <a:noAutofit/>
          </a:bodyPr>
          <a:lstStyle>
            <a:lvl1pPr>
              <a:defRPr lang="en-US" sz="1200"/>
            </a:lvl1pPr>
          </a:lstStyle>
          <a:p>
            <a:pPr marL="0" lvl="0" indent="0" algn="ctr">
              <a:buFontTx/>
              <a:buNone/>
            </a:pPr>
            <a:endParaRPr lang="en-US"/>
          </a:p>
        </p:txBody>
      </p:sp>
    </p:spTree>
    <p:extLst>
      <p:ext uri="{BB962C8B-B14F-4D97-AF65-F5344CB8AC3E}">
        <p14:creationId xmlns:p14="http://schemas.microsoft.com/office/powerpoint/2010/main" val="2375054351"/>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4" dur="1000" decel="100000" fill="hold" grpId="0" nodeType="withEffect">
                                  <p:stCondLst>
                                    <p:cond delay="0"/>
                                  </p:stCondLst>
                                  <p:childTnLst>
                                    <p:set>
                                      <p:cBhvr>
                                        <p:cTn id="6" dur="1" fill="hold">
                                          <p:stCondLst>
                                            <p:cond delay="0"/>
                                          </p:stCondLst>
                                        </p:cTn>
                                        <p:tgtEl>
                                          <p:spTgt spid="34"/>
                                        </p:tgtEl>
                                        <p:attrNameLst>
                                          <p:attrName>style.visibility</p:attrName>
                                        </p:attrNameLst>
                                      </p:cBhvr>
                                      <p:to>
                                        <p:strVal val="visible"/>
                                      </p:to>
                                    </p:set>
                                    <p:anim calcmode="lin" valueType="num">
                                      <p:cBhvr additive="base">
                                        <p:cTn id="7" dur="1000" fill="hold"/>
                                        <p:tgtEl>
                                          <p:spTgt spid="34"/>
                                        </p:tgtEl>
                                        <p:attrNameLst>
                                          <p:attrName>ppt_x</p:attrName>
                                        </p:attrNameLst>
                                      </p:cBhvr>
                                      <p:tavLst>
                                        <p:tav tm="0">
                                          <p:val>
                                            <p:strVal val="#ppt_x"/>
                                          </p:val>
                                        </p:tav>
                                        <p:tav tm="100000">
                                          <p:val>
                                            <p:strVal val="#ppt_x"/>
                                          </p:val>
                                        </p:tav>
                                      </p:tavLst>
                                    </p:anim>
                                    <p:anim calcmode="lin" valueType="num">
                                      <p:cBhvr additive="base">
                                        <p:cTn id="8" dur="1000" fill="hold"/>
                                        <p:tgtEl>
                                          <p:spTgt spid="34"/>
                                        </p:tgtEl>
                                        <p:attrNameLst>
                                          <p:attrName>ppt_y</p:attrName>
                                        </p:attrNameLst>
                                      </p:cBhvr>
                                      <p:tavLst>
                                        <p:tav tm="0">
                                          <p:val>
                                            <p:strVal val="1+#ppt_h/2"/>
                                          </p:val>
                                        </p:tav>
                                        <p:tav tm="100000">
                                          <p:val>
                                            <p:strVal val="#ppt_y"/>
                                          </p:val>
                                        </p:tav>
                                      </p:tavLst>
                                    </p:anim>
                                  </p:childTnLst>
                                </p:cTn>
                              </p:par>
                              <p:par>
                                <p:cTn id="9" presetID="2" presetClass="entr" presetSubtype="1" dur="1000" decel="100000" fill="hold" grpId="0" nodeType="withEffect">
                                  <p:stCondLst>
                                    <p:cond delay="200"/>
                                  </p:stCondLst>
                                  <p:childTnLst>
                                    <p:set>
                                      <p:cBhvr>
                                        <p:cTn id="10" dur="1" fill="hold">
                                          <p:stCondLst>
                                            <p:cond delay="0"/>
                                          </p:stCondLst>
                                        </p:cTn>
                                        <p:tgtEl>
                                          <p:spTgt spid="35"/>
                                        </p:tgtEl>
                                        <p:attrNameLst>
                                          <p:attrName>style.visibility</p:attrName>
                                        </p:attrNameLst>
                                      </p:cBhvr>
                                      <p:to>
                                        <p:strVal val="visible"/>
                                      </p:to>
                                    </p:set>
                                    <p:anim calcmode="lin" valueType="num">
                                      <p:cBhvr additive="base">
                                        <p:cTn id="11" dur="1000" fill="hold"/>
                                        <p:tgtEl>
                                          <p:spTgt spid="35"/>
                                        </p:tgtEl>
                                        <p:attrNameLst>
                                          <p:attrName>ppt_x</p:attrName>
                                        </p:attrNameLst>
                                      </p:cBhvr>
                                      <p:tavLst>
                                        <p:tav tm="0">
                                          <p:val>
                                            <p:strVal val="#ppt_x"/>
                                          </p:val>
                                        </p:tav>
                                        <p:tav tm="100000">
                                          <p:val>
                                            <p:strVal val="#ppt_x"/>
                                          </p:val>
                                        </p:tav>
                                      </p:tavLst>
                                    </p:anim>
                                    <p:anim calcmode="lin" valueType="num">
                                      <p:cBhvr additive="base">
                                        <p:cTn id="12" dur="1000" fill="hold"/>
                                        <p:tgtEl>
                                          <p:spTgt spid="35"/>
                                        </p:tgtEl>
                                        <p:attrNameLst>
                                          <p:attrName>ppt_y</p:attrName>
                                        </p:attrNameLst>
                                      </p:cBhvr>
                                      <p:tavLst>
                                        <p:tav tm="0">
                                          <p:val>
                                            <p:strVal val="0-#ppt_h/2"/>
                                          </p:val>
                                        </p:tav>
                                        <p:tav tm="100000">
                                          <p:val>
                                            <p:strVal val="#ppt_y"/>
                                          </p:val>
                                        </p:tav>
                                      </p:tavLst>
                                    </p:anim>
                                  </p:childTnLst>
                                </p:cTn>
                              </p:par>
                              <p:par>
                                <p:cTn id="13" presetID="2" presetClass="entr" presetSubtype="4" dur="1000" decel="100000" fill="hold" grpId="0" nodeType="withEffect">
                                  <p:stCondLst>
                                    <p:cond delay="400"/>
                                  </p:stCondLst>
                                  <p:childTnLst>
                                    <p:set>
                                      <p:cBhvr>
                                        <p:cTn id="14" dur="1" fill="hold">
                                          <p:stCondLst>
                                            <p:cond delay="0"/>
                                          </p:stCondLst>
                                        </p:cTn>
                                        <p:tgtEl>
                                          <p:spTgt spid="36"/>
                                        </p:tgtEl>
                                        <p:attrNameLst>
                                          <p:attrName>style.visibility</p:attrName>
                                        </p:attrNameLst>
                                      </p:cBhvr>
                                      <p:to>
                                        <p:strVal val="visible"/>
                                      </p:to>
                                    </p:set>
                                    <p:anim calcmode="lin" valueType="num">
                                      <p:cBhvr additive="base">
                                        <p:cTn id="15" dur="1000" fill="hold"/>
                                        <p:tgtEl>
                                          <p:spTgt spid="36"/>
                                        </p:tgtEl>
                                        <p:attrNameLst>
                                          <p:attrName>ppt_x</p:attrName>
                                        </p:attrNameLst>
                                      </p:cBhvr>
                                      <p:tavLst>
                                        <p:tav tm="0">
                                          <p:val>
                                            <p:strVal val="#ppt_x"/>
                                          </p:val>
                                        </p:tav>
                                        <p:tav tm="100000">
                                          <p:val>
                                            <p:strVal val="#ppt_x"/>
                                          </p:val>
                                        </p:tav>
                                      </p:tavLst>
                                    </p:anim>
                                    <p:anim calcmode="lin" valueType="num">
                                      <p:cBhvr additive="base">
                                        <p:cTn id="16" dur="1000" fill="hold"/>
                                        <p:tgtEl>
                                          <p:spTgt spid="3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P spid="35" grpId="0" animBg="1"/>
      <p:bldP spid="36" grpId="0" animBg="1"/>
    </p:bldLst>
  </p:timing>
</p:sldLayout>
</file>

<file path=ppt/slideLayouts/slideLayout288.xml><?xml version="1.0" encoding="utf-8"?>
<p:sldLayout xmlns:a="http://schemas.openxmlformats.org/drawingml/2006/main" xmlns:r="http://schemas.openxmlformats.org/officeDocument/2006/relationships" xmlns:p="http://schemas.openxmlformats.org/presentationml/2006/main">
  <p:cSld name="25_Title Slide">
    <p:spTree>
      <p:nvGrpSpPr>
        <p:cNvPr id="1" name=""/>
        <p:cNvGrpSpPr/>
        <p:nvPr/>
      </p:nvGrpSpPr>
      <p:grpSpPr>
        <a:xfrm>
          <a:off x="0" y="0"/>
          <a:ext cx="0" cy="0"/>
          <a:chOff x="0" y="0"/>
          <a:chExt cx="0" cy="0"/>
        </a:xfrm>
      </p:grpSpPr>
      <p:sp>
        <p:nvSpPr>
          <p:cNvPr id="37" name="Picture Placeholder 36">
            <a:extLst>
              <a:ext uri="{FF2B5EF4-FFF2-40B4-BE49-F238E27FC236}">
                <a16:creationId xmlns:a16="http://schemas.microsoft.com/office/drawing/2014/main" id="{0244A630-990B-44C6-B5C2-E447990CE8E6}"/>
              </a:ext>
            </a:extLst>
          </p:cNvPr>
          <p:cNvSpPr>
            <a:spLocks noGrp="1"/>
          </p:cNvSpPr>
          <p:nvPr>
            <p:ph type="pic" sz="quarter" idx="11"/>
          </p:nvPr>
        </p:nvSpPr>
        <p:spPr>
          <a:xfrm>
            <a:off x="781742" y="667131"/>
            <a:ext cx="3504744" cy="2762631"/>
          </a:xfrm>
          <a:custGeom>
            <a:avLst/>
            <a:gdLst>
              <a:gd name="connsiteX0" fmla="*/ 0 w 7010400"/>
              <a:gd name="connsiteY0" fmla="*/ 0 h 5525261"/>
              <a:gd name="connsiteX1" fmla="*/ 7010400 w 7010400"/>
              <a:gd name="connsiteY1" fmla="*/ 0 h 5525261"/>
              <a:gd name="connsiteX2" fmla="*/ 7010400 w 7010400"/>
              <a:gd name="connsiteY2" fmla="*/ 5525261 h 5525261"/>
              <a:gd name="connsiteX3" fmla="*/ 0 w 7010400"/>
              <a:gd name="connsiteY3" fmla="*/ 5525261 h 5525261"/>
            </a:gdLst>
            <a:ahLst/>
            <a:cxnLst>
              <a:cxn ang="0">
                <a:pos x="connsiteX0" y="connsiteY0"/>
              </a:cxn>
              <a:cxn ang="0">
                <a:pos x="connsiteX1" y="connsiteY1"/>
              </a:cxn>
              <a:cxn ang="0">
                <a:pos x="connsiteX2" y="connsiteY2"/>
              </a:cxn>
              <a:cxn ang="0">
                <a:pos x="connsiteX3" y="connsiteY3"/>
              </a:cxn>
            </a:cxnLst>
            <a:rect l="l" t="t" r="r" b="b"/>
            <a:pathLst>
              <a:path w="7010400" h="5525261">
                <a:moveTo>
                  <a:pt x="0" y="0"/>
                </a:moveTo>
                <a:lnTo>
                  <a:pt x="7010400" y="0"/>
                </a:lnTo>
                <a:lnTo>
                  <a:pt x="7010400" y="5525261"/>
                </a:lnTo>
                <a:lnTo>
                  <a:pt x="0" y="5525261"/>
                </a:lnTo>
                <a:close/>
              </a:path>
            </a:pathLst>
          </a:custGeom>
          <a:pattFill prst="pct60">
            <a:fgClr>
              <a:schemeClr val="bg1"/>
            </a:fgClr>
            <a:bgClr>
              <a:schemeClr val="bg1">
                <a:lumMod val="85000"/>
              </a:schemeClr>
            </a:bgClr>
          </a:pattFill>
        </p:spPr>
        <p:txBody>
          <a:bodyPr wrap="square" anchor="ctr">
            <a:noAutofit/>
          </a:bodyPr>
          <a:lstStyle>
            <a:lvl1pPr>
              <a:defRPr lang="en-US" sz="1200"/>
            </a:lvl1pPr>
          </a:lstStyle>
          <a:p>
            <a:pPr marL="0" lvl="0" indent="0" algn="ctr">
              <a:buFontTx/>
              <a:buNone/>
            </a:pPr>
            <a:endParaRPr lang="en-US"/>
          </a:p>
        </p:txBody>
      </p:sp>
      <p:sp>
        <p:nvSpPr>
          <p:cNvPr id="38" name="Picture Placeholder 37">
            <a:extLst>
              <a:ext uri="{FF2B5EF4-FFF2-40B4-BE49-F238E27FC236}">
                <a16:creationId xmlns:a16="http://schemas.microsoft.com/office/drawing/2014/main" id="{937581DB-28D0-4142-B51E-CE474A5445BA}"/>
              </a:ext>
            </a:extLst>
          </p:cNvPr>
          <p:cNvSpPr>
            <a:spLocks noGrp="1"/>
          </p:cNvSpPr>
          <p:nvPr>
            <p:ph type="pic" sz="quarter" idx="12"/>
          </p:nvPr>
        </p:nvSpPr>
        <p:spPr>
          <a:xfrm>
            <a:off x="781742" y="3429761"/>
            <a:ext cx="7123771" cy="2743200"/>
          </a:xfrm>
          <a:custGeom>
            <a:avLst/>
            <a:gdLst>
              <a:gd name="connsiteX0" fmla="*/ 0 w 14020799"/>
              <a:gd name="connsiteY0" fmla="*/ 0 h 5486400"/>
              <a:gd name="connsiteX1" fmla="*/ 14020799 w 14020799"/>
              <a:gd name="connsiteY1" fmla="*/ 0 h 5486400"/>
              <a:gd name="connsiteX2" fmla="*/ 14020799 w 14020799"/>
              <a:gd name="connsiteY2" fmla="*/ 5486400 h 5486400"/>
              <a:gd name="connsiteX3" fmla="*/ 0 w 14020799"/>
              <a:gd name="connsiteY3" fmla="*/ 5486400 h 5486400"/>
            </a:gdLst>
            <a:ahLst/>
            <a:cxnLst>
              <a:cxn ang="0">
                <a:pos x="connsiteX0" y="connsiteY0"/>
              </a:cxn>
              <a:cxn ang="0">
                <a:pos x="connsiteX1" y="connsiteY1"/>
              </a:cxn>
              <a:cxn ang="0">
                <a:pos x="connsiteX2" y="connsiteY2"/>
              </a:cxn>
              <a:cxn ang="0">
                <a:pos x="connsiteX3" y="connsiteY3"/>
              </a:cxn>
            </a:cxnLst>
            <a:rect l="l" t="t" r="r" b="b"/>
            <a:pathLst>
              <a:path w="14020799" h="5486400">
                <a:moveTo>
                  <a:pt x="0" y="0"/>
                </a:moveTo>
                <a:lnTo>
                  <a:pt x="14020799" y="0"/>
                </a:lnTo>
                <a:lnTo>
                  <a:pt x="14020799" y="5486400"/>
                </a:lnTo>
                <a:lnTo>
                  <a:pt x="0" y="5486400"/>
                </a:lnTo>
                <a:close/>
              </a:path>
            </a:pathLst>
          </a:custGeom>
          <a:pattFill prst="pct60">
            <a:fgClr>
              <a:schemeClr val="bg1"/>
            </a:fgClr>
            <a:bgClr>
              <a:schemeClr val="bg1">
                <a:lumMod val="85000"/>
              </a:schemeClr>
            </a:bgClr>
          </a:pattFill>
        </p:spPr>
        <p:txBody>
          <a:bodyPr wrap="square" anchor="ctr">
            <a:noAutofit/>
          </a:bodyPr>
          <a:lstStyle>
            <a:lvl1pPr>
              <a:defRPr lang="en-US" sz="1200"/>
            </a:lvl1pPr>
          </a:lstStyle>
          <a:p>
            <a:pPr marL="0" lvl="0" indent="0" algn="ctr">
              <a:buFontTx/>
              <a:buNone/>
            </a:pPr>
            <a:endParaRPr lang="en-US"/>
          </a:p>
        </p:txBody>
      </p:sp>
      <p:sp>
        <p:nvSpPr>
          <p:cNvPr id="39" name="Picture Placeholder 38">
            <a:extLst>
              <a:ext uri="{FF2B5EF4-FFF2-40B4-BE49-F238E27FC236}">
                <a16:creationId xmlns:a16="http://schemas.microsoft.com/office/drawing/2014/main" id="{1B605010-9C23-46F9-B058-970E7275A1D0}"/>
              </a:ext>
            </a:extLst>
          </p:cNvPr>
          <p:cNvSpPr>
            <a:spLocks noGrp="1"/>
          </p:cNvSpPr>
          <p:nvPr>
            <p:ph type="pic" sz="quarter" idx="13"/>
          </p:nvPr>
        </p:nvSpPr>
        <p:spPr>
          <a:xfrm>
            <a:off x="7905514" y="647700"/>
            <a:ext cx="3504744" cy="5525261"/>
          </a:xfrm>
          <a:custGeom>
            <a:avLst/>
            <a:gdLst>
              <a:gd name="connsiteX0" fmla="*/ 0 w 7010401"/>
              <a:gd name="connsiteY0" fmla="*/ 0 h 11050522"/>
              <a:gd name="connsiteX1" fmla="*/ 7010401 w 7010401"/>
              <a:gd name="connsiteY1" fmla="*/ 0 h 11050522"/>
              <a:gd name="connsiteX2" fmla="*/ 7010401 w 7010401"/>
              <a:gd name="connsiteY2" fmla="*/ 11050522 h 11050522"/>
              <a:gd name="connsiteX3" fmla="*/ 0 w 7010401"/>
              <a:gd name="connsiteY3" fmla="*/ 11050522 h 11050522"/>
            </a:gdLst>
            <a:ahLst/>
            <a:cxnLst>
              <a:cxn ang="0">
                <a:pos x="connsiteX0" y="connsiteY0"/>
              </a:cxn>
              <a:cxn ang="0">
                <a:pos x="connsiteX1" y="connsiteY1"/>
              </a:cxn>
              <a:cxn ang="0">
                <a:pos x="connsiteX2" y="connsiteY2"/>
              </a:cxn>
              <a:cxn ang="0">
                <a:pos x="connsiteX3" y="connsiteY3"/>
              </a:cxn>
            </a:cxnLst>
            <a:rect l="l" t="t" r="r" b="b"/>
            <a:pathLst>
              <a:path w="7010401" h="11050522">
                <a:moveTo>
                  <a:pt x="0" y="0"/>
                </a:moveTo>
                <a:lnTo>
                  <a:pt x="7010401" y="0"/>
                </a:lnTo>
                <a:lnTo>
                  <a:pt x="7010401" y="11050522"/>
                </a:lnTo>
                <a:lnTo>
                  <a:pt x="0" y="11050522"/>
                </a:lnTo>
                <a:close/>
              </a:path>
            </a:pathLst>
          </a:custGeom>
          <a:pattFill prst="pct60">
            <a:fgClr>
              <a:schemeClr val="bg1"/>
            </a:fgClr>
            <a:bgClr>
              <a:schemeClr val="bg1">
                <a:lumMod val="85000"/>
              </a:schemeClr>
            </a:bgClr>
          </a:pattFill>
        </p:spPr>
        <p:txBody>
          <a:bodyPr wrap="square" anchor="ctr">
            <a:noAutofit/>
          </a:bodyPr>
          <a:lstStyle>
            <a:lvl1pPr>
              <a:defRPr lang="en-US" sz="1200"/>
            </a:lvl1pPr>
          </a:lstStyle>
          <a:p>
            <a:pPr marL="0" lvl="0" indent="0" algn="ctr">
              <a:buFontTx/>
              <a:buNone/>
            </a:pPr>
            <a:endParaRPr lang="en-US"/>
          </a:p>
        </p:txBody>
      </p:sp>
    </p:spTree>
    <p:extLst>
      <p:ext uri="{BB962C8B-B14F-4D97-AF65-F5344CB8AC3E}">
        <p14:creationId xmlns:p14="http://schemas.microsoft.com/office/powerpoint/2010/main" val="932275705"/>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8" dur="1000" decel="100000" fill="hold" grpId="0" nodeType="withEffect">
                                  <p:stCondLst>
                                    <p:cond delay="0"/>
                                  </p:stCondLst>
                                  <p:childTnLst>
                                    <p:set>
                                      <p:cBhvr>
                                        <p:cTn id="6" dur="1" fill="hold">
                                          <p:stCondLst>
                                            <p:cond delay="0"/>
                                          </p:stCondLst>
                                        </p:cTn>
                                        <p:tgtEl>
                                          <p:spTgt spid="37"/>
                                        </p:tgtEl>
                                        <p:attrNameLst>
                                          <p:attrName>style.visibility</p:attrName>
                                        </p:attrNameLst>
                                      </p:cBhvr>
                                      <p:to>
                                        <p:strVal val="visible"/>
                                      </p:to>
                                    </p:set>
                                    <p:anim calcmode="lin" valueType="num">
                                      <p:cBhvr additive="base">
                                        <p:cTn id="7" dur="1000" fill="hold"/>
                                        <p:tgtEl>
                                          <p:spTgt spid="37"/>
                                        </p:tgtEl>
                                        <p:attrNameLst>
                                          <p:attrName>ppt_x</p:attrName>
                                        </p:attrNameLst>
                                      </p:cBhvr>
                                      <p:tavLst>
                                        <p:tav tm="0">
                                          <p:val>
                                            <p:strVal val="0-#ppt_w/2"/>
                                          </p:val>
                                        </p:tav>
                                        <p:tav tm="100000">
                                          <p:val>
                                            <p:strVal val="#ppt_x"/>
                                          </p:val>
                                        </p:tav>
                                      </p:tavLst>
                                    </p:anim>
                                    <p:anim calcmode="lin" valueType="num">
                                      <p:cBhvr additive="base">
                                        <p:cTn id="8" dur="1000" fill="hold"/>
                                        <p:tgtEl>
                                          <p:spTgt spid="37"/>
                                        </p:tgtEl>
                                        <p:attrNameLst>
                                          <p:attrName>ppt_y</p:attrName>
                                        </p:attrNameLst>
                                      </p:cBhvr>
                                      <p:tavLst>
                                        <p:tav tm="0">
                                          <p:val>
                                            <p:strVal val="#ppt_y"/>
                                          </p:val>
                                        </p:tav>
                                        <p:tav tm="100000">
                                          <p:val>
                                            <p:strVal val="#ppt_y"/>
                                          </p:val>
                                        </p:tav>
                                      </p:tavLst>
                                    </p:anim>
                                  </p:childTnLst>
                                </p:cTn>
                              </p:par>
                              <p:par>
                                <p:cTn id="9" presetID="2" presetClass="entr" presetSubtype="4" dur="1000" decel="100000" fill="hold" grpId="0" nodeType="withEffect">
                                  <p:stCondLst>
                                    <p:cond delay="200"/>
                                  </p:stCondLst>
                                  <p:childTnLst>
                                    <p:set>
                                      <p:cBhvr>
                                        <p:cTn id="10" dur="1" fill="hold">
                                          <p:stCondLst>
                                            <p:cond delay="0"/>
                                          </p:stCondLst>
                                        </p:cTn>
                                        <p:tgtEl>
                                          <p:spTgt spid="38"/>
                                        </p:tgtEl>
                                        <p:attrNameLst>
                                          <p:attrName>style.visibility</p:attrName>
                                        </p:attrNameLst>
                                      </p:cBhvr>
                                      <p:to>
                                        <p:strVal val="visible"/>
                                      </p:to>
                                    </p:set>
                                    <p:anim calcmode="lin" valueType="num">
                                      <p:cBhvr additive="base">
                                        <p:cTn id="11" dur="1000" fill="hold"/>
                                        <p:tgtEl>
                                          <p:spTgt spid="38"/>
                                        </p:tgtEl>
                                        <p:attrNameLst>
                                          <p:attrName>ppt_x</p:attrName>
                                        </p:attrNameLst>
                                      </p:cBhvr>
                                      <p:tavLst>
                                        <p:tav tm="0">
                                          <p:val>
                                            <p:strVal val="#ppt_x"/>
                                          </p:val>
                                        </p:tav>
                                        <p:tav tm="100000">
                                          <p:val>
                                            <p:strVal val="#ppt_x"/>
                                          </p:val>
                                        </p:tav>
                                      </p:tavLst>
                                    </p:anim>
                                    <p:anim calcmode="lin" valueType="num">
                                      <p:cBhvr additive="base">
                                        <p:cTn id="12" dur="1000" fill="hold"/>
                                        <p:tgtEl>
                                          <p:spTgt spid="38"/>
                                        </p:tgtEl>
                                        <p:attrNameLst>
                                          <p:attrName>ppt_y</p:attrName>
                                        </p:attrNameLst>
                                      </p:cBhvr>
                                      <p:tavLst>
                                        <p:tav tm="0">
                                          <p:val>
                                            <p:strVal val="1+#ppt_h/2"/>
                                          </p:val>
                                        </p:tav>
                                        <p:tav tm="100000">
                                          <p:val>
                                            <p:strVal val="#ppt_y"/>
                                          </p:val>
                                        </p:tav>
                                      </p:tavLst>
                                    </p:anim>
                                  </p:childTnLst>
                                </p:cTn>
                              </p:par>
                              <p:par>
                                <p:cTn id="13" presetID="2" presetClass="entr" presetSubtype="2" dur="1000" decel="100000" fill="hold" grpId="0" nodeType="withEffect">
                                  <p:stCondLst>
                                    <p:cond delay="400"/>
                                  </p:stCondLst>
                                  <p:childTnLst>
                                    <p:set>
                                      <p:cBhvr>
                                        <p:cTn id="14" dur="1" fill="hold">
                                          <p:stCondLst>
                                            <p:cond delay="0"/>
                                          </p:stCondLst>
                                        </p:cTn>
                                        <p:tgtEl>
                                          <p:spTgt spid="39"/>
                                        </p:tgtEl>
                                        <p:attrNameLst>
                                          <p:attrName>style.visibility</p:attrName>
                                        </p:attrNameLst>
                                      </p:cBhvr>
                                      <p:to>
                                        <p:strVal val="visible"/>
                                      </p:to>
                                    </p:set>
                                    <p:anim calcmode="lin" valueType="num">
                                      <p:cBhvr additive="base">
                                        <p:cTn id="15" dur="1000" fill="hold"/>
                                        <p:tgtEl>
                                          <p:spTgt spid="39"/>
                                        </p:tgtEl>
                                        <p:attrNameLst>
                                          <p:attrName>ppt_x</p:attrName>
                                        </p:attrNameLst>
                                      </p:cBhvr>
                                      <p:tavLst>
                                        <p:tav tm="0">
                                          <p:val>
                                            <p:strVal val="1+#ppt_w/2"/>
                                          </p:val>
                                        </p:tav>
                                        <p:tav tm="100000">
                                          <p:val>
                                            <p:strVal val="#ppt_x"/>
                                          </p:val>
                                        </p:tav>
                                      </p:tavLst>
                                    </p:anim>
                                    <p:anim calcmode="lin" valueType="num">
                                      <p:cBhvr additive="base">
                                        <p:cTn id="16" dur="1000" fill="hold"/>
                                        <p:tgtEl>
                                          <p:spTgt spid="3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animBg="1"/>
      <p:bldP spid="38" grpId="0" animBg="1"/>
      <p:bldP spid="39" grpId="0" animBg="1"/>
    </p:bldLst>
  </p:timing>
</p:sldLayout>
</file>

<file path=ppt/slideLayouts/slideLayout289.xml><?xml version="1.0" encoding="utf-8"?>
<p:sldLayout xmlns:a="http://schemas.openxmlformats.org/drawingml/2006/main" xmlns:r="http://schemas.openxmlformats.org/officeDocument/2006/relationships" xmlns:p="http://schemas.openxmlformats.org/presentationml/2006/main">
  <p:cSld name="26_Title Slide">
    <p:spTree>
      <p:nvGrpSpPr>
        <p:cNvPr id="1" name=""/>
        <p:cNvGrpSpPr/>
        <p:nvPr/>
      </p:nvGrpSpPr>
      <p:grpSpPr>
        <a:xfrm>
          <a:off x="0" y="0"/>
          <a:ext cx="0" cy="0"/>
          <a:chOff x="0" y="0"/>
          <a:chExt cx="0" cy="0"/>
        </a:xfrm>
      </p:grpSpPr>
      <p:sp>
        <p:nvSpPr>
          <p:cNvPr id="35" name="Picture Placeholder 34">
            <a:extLst>
              <a:ext uri="{FF2B5EF4-FFF2-40B4-BE49-F238E27FC236}">
                <a16:creationId xmlns:a16="http://schemas.microsoft.com/office/drawing/2014/main" id="{55541C4D-A1D1-493A-8547-B708240F2F00}"/>
              </a:ext>
            </a:extLst>
          </p:cNvPr>
          <p:cNvSpPr>
            <a:spLocks noGrp="1"/>
          </p:cNvSpPr>
          <p:nvPr>
            <p:ph type="pic" sz="quarter" idx="11"/>
          </p:nvPr>
        </p:nvSpPr>
        <p:spPr>
          <a:xfrm>
            <a:off x="848968" y="4357771"/>
            <a:ext cx="3504744" cy="2619375"/>
          </a:xfrm>
          <a:custGeom>
            <a:avLst/>
            <a:gdLst>
              <a:gd name="connsiteX0" fmla="*/ 0 w 7010400"/>
              <a:gd name="connsiteY0" fmla="*/ 0 h 5238750"/>
              <a:gd name="connsiteX1" fmla="*/ 7010400 w 7010400"/>
              <a:gd name="connsiteY1" fmla="*/ 0 h 5238750"/>
              <a:gd name="connsiteX2" fmla="*/ 7010400 w 7010400"/>
              <a:gd name="connsiteY2" fmla="*/ 5238750 h 5238750"/>
              <a:gd name="connsiteX3" fmla="*/ 0 w 7010400"/>
              <a:gd name="connsiteY3" fmla="*/ 5238750 h 5238750"/>
            </a:gdLst>
            <a:ahLst/>
            <a:cxnLst>
              <a:cxn ang="0">
                <a:pos x="connsiteX0" y="connsiteY0"/>
              </a:cxn>
              <a:cxn ang="0">
                <a:pos x="connsiteX1" y="connsiteY1"/>
              </a:cxn>
              <a:cxn ang="0">
                <a:pos x="connsiteX2" y="connsiteY2"/>
              </a:cxn>
              <a:cxn ang="0">
                <a:pos x="connsiteX3" y="connsiteY3"/>
              </a:cxn>
            </a:cxnLst>
            <a:rect l="l" t="t" r="r" b="b"/>
            <a:pathLst>
              <a:path w="7010400" h="5238750">
                <a:moveTo>
                  <a:pt x="0" y="0"/>
                </a:moveTo>
                <a:lnTo>
                  <a:pt x="7010400" y="0"/>
                </a:lnTo>
                <a:lnTo>
                  <a:pt x="7010400" y="5238750"/>
                </a:lnTo>
                <a:lnTo>
                  <a:pt x="0" y="5238750"/>
                </a:lnTo>
                <a:close/>
              </a:path>
            </a:pathLst>
          </a:custGeom>
          <a:pattFill prst="pct60">
            <a:fgClr>
              <a:schemeClr val="bg1"/>
            </a:fgClr>
            <a:bgClr>
              <a:schemeClr val="bg1">
                <a:lumMod val="85000"/>
              </a:schemeClr>
            </a:bgClr>
          </a:pattFill>
        </p:spPr>
        <p:txBody>
          <a:bodyPr wrap="square" anchor="ctr">
            <a:noAutofit/>
          </a:bodyPr>
          <a:lstStyle>
            <a:lvl1pPr>
              <a:defRPr lang="en-US" sz="1200"/>
            </a:lvl1pPr>
          </a:lstStyle>
          <a:p>
            <a:pPr marL="0" lvl="0" indent="0" algn="ctr">
              <a:buFontTx/>
              <a:buNone/>
            </a:pPr>
            <a:endParaRPr lang="en-US"/>
          </a:p>
        </p:txBody>
      </p:sp>
      <p:sp>
        <p:nvSpPr>
          <p:cNvPr id="38" name="Picture Placeholder 37">
            <a:extLst>
              <a:ext uri="{FF2B5EF4-FFF2-40B4-BE49-F238E27FC236}">
                <a16:creationId xmlns:a16="http://schemas.microsoft.com/office/drawing/2014/main" id="{10323BDD-FDAD-4B17-9EC0-CBB895127DE2}"/>
              </a:ext>
            </a:extLst>
          </p:cNvPr>
          <p:cNvSpPr>
            <a:spLocks noGrp="1"/>
          </p:cNvSpPr>
          <p:nvPr>
            <p:ph type="pic" sz="quarter" idx="12"/>
          </p:nvPr>
        </p:nvSpPr>
        <p:spPr>
          <a:xfrm>
            <a:off x="4353711" y="4357772"/>
            <a:ext cx="3504744" cy="2619375"/>
          </a:xfrm>
          <a:custGeom>
            <a:avLst/>
            <a:gdLst>
              <a:gd name="connsiteX0" fmla="*/ 0 w 7010400"/>
              <a:gd name="connsiteY0" fmla="*/ 0 h 5238750"/>
              <a:gd name="connsiteX1" fmla="*/ 7010400 w 7010400"/>
              <a:gd name="connsiteY1" fmla="*/ 0 h 5238750"/>
              <a:gd name="connsiteX2" fmla="*/ 7010400 w 7010400"/>
              <a:gd name="connsiteY2" fmla="*/ 5238750 h 5238750"/>
              <a:gd name="connsiteX3" fmla="*/ 0 w 7010400"/>
              <a:gd name="connsiteY3" fmla="*/ 5238750 h 5238750"/>
            </a:gdLst>
            <a:ahLst/>
            <a:cxnLst>
              <a:cxn ang="0">
                <a:pos x="connsiteX0" y="connsiteY0"/>
              </a:cxn>
              <a:cxn ang="0">
                <a:pos x="connsiteX1" y="connsiteY1"/>
              </a:cxn>
              <a:cxn ang="0">
                <a:pos x="connsiteX2" y="connsiteY2"/>
              </a:cxn>
              <a:cxn ang="0">
                <a:pos x="connsiteX3" y="connsiteY3"/>
              </a:cxn>
            </a:cxnLst>
            <a:rect l="l" t="t" r="r" b="b"/>
            <a:pathLst>
              <a:path w="7010400" h="5238750">
                <a:moveTo>
                  <a:pt x="0" y="0"/>
                </a:moveTo>
                <a:lnTo>
                  <a:pt x="7010400" y="0"/>
                </a:lnTo>
                <a:lnTo>
                  <a:pt x="7010400" y="5238750"/>
                </a:lnTo>
                <a:lnTo>
                  <a:pt x="0" y="5238750"/>
                </a:lnTo>
                <a:close/>
              </a:path>
            </a:pathLst>
          </a:custGeom>
          <a:pattFill prst="pct60">
            <a:fgClr>
              <a:schemeClr val="bg1"/>
            </a:fgClr>
            <a:bgClr>
              <a:schemeClr val="bg1">
                <a:lumMod val="85000"/>
              </a:schemeClr>
            </a:bgClr>
          </a:pattFill>
        </p:spPr>
        <p:txBody>
          <a:bodyPr wrap="square" anchor="ctr">
            <a:noAutofit/>
          </a:bodyPr>
          <a:lstStyle>
            <a:lvl1pPr>
              <a:defRPr lang="en-US" sz="1200"/>
            </a:lvl1pPr>
          </a:lstStyle>
          <a:p>
            <a:pPr marL="0" lvl="0" indent="0" algn="ctr">
              <a:buFontTx/>
              <a:buNone/>
            </a:pPr>
            <a:endParaRPr lang="en-US"/>
          </a:p>
        </p:txBody>
      </p:sp>
      <p:sp>
        <p:nvSpPr>
          <p:cNvPr id="39" name="Picture Placeholder 38">
            <a:extLst>
              <a:ext uri="{FF2B5EF4-FFF2-40B4-BE49-F238E27FC236}">
                <a16:creationId xmlns:a16="http://schemas.microsoft.com/office/drawing/2014/main" id="{7B9D4458-5A68-4C82-9759-3F61B7D6A093}"/>
              </a:ext>
            </a:extLst>
          </p:cNvPr>
          <p:cNvSpPr>
            <a:spLocks noGrp="1"/>
          </p:cNvSpPr>
          <p:nvPr>
            <p:ph type="pic" sz="quarter" idx="13"/>
          </p:nvPr>
        </p:nvSpPr>
        <p:spPr>
          <a:xfrm>
            <a:off x="7858455" y="4357772"/>
            <a:ext cx="3504744" cy="2619375"/>
          </a:xfrm>
          <a:custGeom>
            <a:avLst/>
            <a:gdLst>
              <a:gd name="connsiteX0" fmla="*/ 0 w 7010400"/>
              <a:gd name="connsiteY0" fmla="*/ 0 h 5238750"/>
              <a:gd name="connsiteX1" fmla="*/ 7010400 w 7010400"/>
              <a:gd name="connsiteY1" fmla="*/ 0 h 5238750"/>
              <a:gd name="connsiteX2" fmla="*/ 7010400 w 7010400"/>
              <a:gd name="connsiteY2" fmla="*/ 5238750 h 5238750"/>
              <a:gd name="connsiteX3" fmla="*/ 0 w 7010400"/>
              <a:gd name="connsiteY3" fmla="*/ 5238750 h 5238750"/>
            </a:gdLst>
            <a:ahLst/>
            <a:cxnLst>
              <a:cxn ang="0">
                <a:pos x="connsiteX0" y="connsiteY0"/>
              </a:cxn>
              <a:cxn ang="0">
                <a:pos x="connsiteX1" y="connsiteY1"/>
              </a:cxn>
              <a:cxn ang="0">
                <a:pos x="connsiteX2" y="connsiteY2"/>
              </a:cxn>
              <a:cxn ang="0">
                <a:pos x="connsiteX3" y="connsiteY3"/>
              </a:cxn>
            </a:cxnLst>
            <a:rect l="l" t="t" r="r" b="b"/>
            <a:pathLst>
              <a:path w="7010400" h="5238750">
                <a:moveTo>
                  <a:pt x="0" y="0"/>
                </a:moveTo>
                <a:lnTo>
                  <a:pt x="7010400" y="0"/>
                </a:lnTo>
                <a:lnTo>
                  <a:pt x="7010400" y="5238750"/>
                </a:lnTo>
                <a:lnTo>
                  <a:pt x="0" y="5238750"/>
                </a:lnTo>
                <a:close/>
              </a:path>
            </a:pathLst>
          </a:custGeom>
          <a:pattFill prst="pct60">
            <a:fgClr>
              <a:schemeClr val="bg1"/>
            </a:fgClr>
            <a:bgClr>
              <a:schemeClr val="bg1">
                <a:lumMod val="85000"/>
              </a:schemeClr>
            </a:bgClr>
          </a:pattFill>
        </p:spPr>
        <p:txBody>
          <a:bodyPr wrap="square" anchor="ctr">
            <a:noAutofit/>
          </a:bodyPr>
          <a:lstStyle>
            <a:lvl1pPr>
              <a:defRPr lang="en-US" sz="1200"/>
            </a:lvl1pPr>
          </a:lstStyle>
          <a:p>
            <a:pPr marL="0" lvl="0" indent="0" algn="ctr">
              <a:buFontTx/>
              <a:buNone/>
            </a:pPr>
            <a:endParaRPr lang="en-US"/>
          </a:p>
        </p:txBody>
      </p:sp>
    </p:spTree>
    <p:extLst>
      <p:ext uri="{BB962C8B-B14F-4D97-AF65-F5344CB8AC3E}">
        <p14:creationId xmlns:p14="http://schemas.microsoft.com/office/powerpoint/2010/main" val="2574023181"/>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4" dur="1000" decel="100000" fill="hold" grpId="0" nodeType="withEffect">
                                  <p:stCondLst>
                                    <p:cond delay="100"/>
                                  </p:stCondLst>
                                  <p:childTnLst>
                                    <p:set>
                                      <p:cBhvr>
                                        <p:cTn id="6" dur="1" fill="hold">
                                          <p:stCondLst>
                                            <p:cond delay="0"/>
                                          </p:stCondLst>
                                        </p:cTn>
                                        <p:tgtEl>
                                          <p:spTgt spid="35"/>
                                        </p:tgtEl>
                                        <p:attrNameLst>
                                          <p:attrName>style.visibility</p:attrName>
                                        </p:attrNameLst>
                                      </p:cBhvr>
                                      <p:to>
                                        <p:strVal val="visible"/>
                                      </p:to>
                                    </p:set>
                                    <p:anim calcmode="lin" valueType="num">
                                      <p:cBhvr additive="base">
                                        <p:cTn id="7" dur="1000" fill="hold"/>
                                        <p:tgtEl>
                                          <p:spTgt spid="35"/>
                                        </p:tgtEl>
                                        <p:attrNameLst>
                                          <p:attrName>ppt_x</p:attrName>
                                        </p:attrNameLst>
                                      </p:cBhvr>
                                      <p:tavLst>
                                        <p:tav tm="0">
                                          <p:val>
                                            <p:strVal val="#ppt_x"/>
                                          </p:val>
                                        </p:tav>
                                        <p:tav tm="100000">
                                          <p:val>
                                            <p:strVal val="#ppt_x"/>
                                          </p:val>
                                        </p:tav>
                                      </p:tavLst>
                                    </p:anim>
                                    <p:anim calcmode="lin" valueType="num">
                                      <p:cBhvr additive="base">
                                        <p:cTn id="8" dur="1000" fill="hold"/>
                                        <p:tgtEl>
                                          <p:spTgt spid="35"/>
                                        </p:tgtEl>
                                        <p:attrNameLst>
                                          <p:attrName>ppt_y</p:attrName>
                                        </p:attrNameLst>
                                      </p:cBhvr>
                                      <p:tavLst>
                                        <p:tav tm="0">
                                          <p:val>
                                            <p:strVal val="1+#ppt_h/2"/>
                                          </p:val>
                                        </p:tav>
                                        <p:tav tm="100000">
                                          <p:val>
                                            <p:strVal val="#ppt_y"/>
                                          </p:val>
                                        </p:tav>
                                      </p:tavLst>
                                    </p:anim>
                                  </p:childTnLst>
                                </p:cTn>
                              </p:par>
                              <p:par>
                                <p:cTn id="9" presetID="2" presetClass="entr" presetSubtype="4" dur="1000" decel="100000" fill="hold" grpId="0" nodeType="withEffect">
                                  <p:stCondLst>
                                    <p:cond delay="300"/>
                                  </p:stCondLst>
                                  <p:childTnLst>
                                    <p:set>
                                      <p:cBhvr>
                                        <p:cTn id="10" dur="1" fill="hold">
                                          <p:stCondLst>
                                            <p:cond delay="0"/>
                                          </p:stCondLst>
                                        </p:cTn>
                                        <p:tgtEl>
                                          <p:spTgt spid="38"/>
                                        </p:tgtEl>
                                        <p:attrNameLst>
                                          <p:attrName>style.visibility</p:attrName>
                                        </p:attrNameLst>
                                      </p:cBhvr>
                                      <p:to>
                                        <p:strVal val="visible"/>
                                      </p:to>
                                    </p:set>
                                    <p:anim calcmode="lin" valueType="num">
                                      <p:cBhvr additive="base">
                                        <p:cTn id="11" dur="1000" fill="hold"/>
                                        <p:tgtEl>
                                          <p:spTgt spid="38"/>
                                        </p:tgtEl>
                                        <p:attrNameLst>
                                          <p:attrName>ppt_x</p:attrName>
                                        </p:attrNameLst>
                                      </p:cBhvr>
                                      <p:tavLst>
                                        <p:tav tm="0">
                                          <p:val>
                                            <p:strVal val="#ppt_x"/>
                                          </p:val>
                                        </p:tav>
                                        <p:tav tm="100000">
                                          <p:val>
                                            <p:strVal val="#ppt_x"/>
                                          </p:val>
                                        </p:tav>
                                      </p:tavLst>
                                    </p:anim>
                                    <p:anim calcmode="lin" valueType="num">
                                      <p:cBhvr additive="base">
                                        <p:cTn id="12" dur="1000" fill="hold"/>
                                        <p:tgtEl>
                                          <p:spTgt spid="38"/>
                                        </p:tgtEl>
                                        <p:attrNameLst>
                                          <p:attrName>ppt_y</p:attrName>
                                        </p:attrNameLst>
                                      </p:cBhvr>
                                      <p:tavLst>
                                        <p:tav tm="0">
                                          <p:val>
                                            <p:strVal val="1+#ppt_h/2"/>
                                          </p:val>
                                        </p:tav>
                                        <p:tav tm="100000">
                                          <p:val>
                                            <p:strVal val="#ppt_y"/>
                                          </p:val>
                                        </p:tav>
                                      </p:tavLst>
                                    </p:anim>
                                  </p:childTnLst>
                                </p:cTn>
                              </p:par>
                              <p:par>
                                <p:cTn id="13" presetID="2" presetClass="entr" presetSubtype="4" dur="1000" decel="100000" fill="hold" grpId="0" nodeType="withEffect">
                                  <p:stCondLst>
                                    <p:cond delay="500"/>
                                  </p:stCondLst>
                                  <p:childTnLst>
                                    <p:set>
                                      <p:cBhvr>
                                        <p:cTn id="14" dur="1" fill="hold">
                                          <p:stCondLst>
                                            <p:cond delay="0"/>
                                          </p:stCondLst>
                                        </p:cTn>
                                        <p:tgtEl>
                                          <p:spTgt spid="39"/>
                                        </p:tgtEl>
                                        <p:attrNameLst>
                                          <p:attrName>style.visibility</p:attrName>
                                        </p:attrNameLst>
                                      </p:cBhvr>
                                      <p:to>
                                        <p:strVal val="visible"/>
                                      </p:to>
                                    </p:set>
                                    <p:anim calcmode="lin" valueType="num">
                                      <p:cBhvr additive="base">
                                        <p:cTn id="15" dur="1000" fill="hold"/>
                                        <p:tgtEl>
                                          <p:spTgt spid="39"/>
                                        </p:tgtEl>
                                        <p:attrNameLst>
                                          <p:attrName>ppt_x</p:attrName>
                                        </p:attrNameLst>
                                      </p:cBhvr>
                                      <p:tavLst>
                                        <p:tav tm="0">
                                          <p:val>
                                            <p:strVal val="#ppt_x"/>
                                          </p:val>
                                        </p:tav>
                                        <p:tav tm="100000">
                                          <p:val>
                                            <p:strVal val="#ppt_x"/>
                                          </p:val>
                                        </p:tav>
                                      </p:tavLst>
                                    </p:anim>
                                    <p:anim calcmode="lin" valueType="num">
                                      <p:cBhvr additive="base">
                                        <p:cTn id="16" dur="1000" fill="hold"/>
                                        <p:tgtEl>
                                          <p:spTgt spid="3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animBg="1"/>
      <p:bldP spid="38" grpId="0" animBg="1"/>
      <p:bldP spid="39" grpId="0" animBg="1"/>
    </p:bld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sp>
        <p:nvSpPr>
          <p:cNvPr id="3" name="Rectangle: Diagonal Corners Rounded 2">
            <a:extLst>
              <a:ext uri="{FF2B5EF4-FFF2-40B4-BE49-F238E27FC236}">
                <a16:creationId xmlns:a16="http://schemas.microsoft.com/office/drawing/2014/main" id="{13399DF4-D239-4B46-A59E-3F2D266B8AC5}"/>
              </a:ext>
            </a:extLst>
          </p:cNvPr>
          <p:cNvSpPr/>
          <p:nvPr userDrawn="1"/>
        </p:nvSpPr>
        <p:spPr>
          <a:xfrm>
            <a:off x="812800" y="728662"/>
            <a:ext cx="10566400" cy="5589587"/>
          </a:xfrm>
          <a:prstGeom prst="round2DiagRect">
            <a:avLst>
              <a:gd name="adj1" fmla="val 6783"/>
              <a:gd name="adj2" fmla="val 0"/>
            </a:avLst>
          </a:prstGeom>
          <a:solidFill>
            <a:schemeClr val="accent3">
              <a:lumMod val="40000"/>
              <a:lumOff val="60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2" name="Picture Placeholder 11">
            <a:extLst>
              <a:ext uri="{FF2B5EF4-FFF2-40B4-BE49-F238E27FC236}">
                <a16:creationId xmlns:a16="http://schemas.microsoft.com/office/drawing/2014/main" id="{CBD3B56C-6673-4097-B43C-40AB7C20EEC2}"/>
              </a:ext>
            </a:extLst>
          </p:cNvPr>
          <p:cNvSpPr>
            <a:spLocks noGrp="1"/>
          </p:cNvSpPr>
          <p:nvPr>
            <p:ph type="pic" sz="quarter" idx="13"/>
          </p:nvPr>
        </p:nvSpPr>
        <p:spPr>
          <a:xfrm>
            <a:off x="3457125" y="1193177"/>
            <a:ext cx="2474760" cy="2071688"/>
          </a:xfrm>
          <a:custGeom>
            <a:avLst/>
            <a:gdLst>
              <a:gd name="connsiteX0" fmla="*/ 0 w 4950165"/>
              <a:gd name="connsiteY0" fmla="*/ 0 h 4143375"/>
              <a:gd name="connsiteX1" fmla="*/ 4950165 w 4950165"/>
              <a:gd name="connsiteY1" fmla="*/ 0 h 4143375"/>
              <a:gd name="connsiteX2" fmla="*/ 4950165 w 4950165"/>
              <a:gd name="connsiteY2" fmla="*/ 4143375 h 4143375"/>
              <a:gd name="connsiteX3" fmla="*/ 0 w 4950165"/>
              <a:gd name="connsiteY3" fmla="*/ 4143375 h 4143375"/>
            </a:gdLst>
            <a:ahLst/>
            <a:cxnLst>
              <a:cxn ang="0">
                <a:pos x="connsiteX0" y="connsiteY0"/>
              </a:cxn>
              <a:cxn ang="0">
                <a:pos x="connsiteX1" y="connsiteY1"/>
              </a:cxn>
              <a:cxn ang="0">
                <a:pos x="connsiteX2" y="connsiteY2"/>
              </a:cxn>
              <a:cxn ang="0">
                <a:pos x="connsiteX3" y="connsiteY3"/>
              </a:cxn>
            </a:cxnLst>
            <a:rect l="l" t="t" r="r" b="b"/>
            <a:pathLst>
              <a:path w="4950165" h="4143375">
                <a:moveTo>
                  <a:pt x="0" y="0"/>
                </a:moveTo>
                <a:lnTo>
                  <a:pt x="4950165" y="0"/>
                </a:lnTo>
                <a:lnTo>
                  <a:pt x="4950165" y="4143375"/>
                </a:lnTo>
                <a:lnTo>
                  <a:pt x="0" y="4143375"/>
                </a:lnTo>
                <a:close/>
              </a:path>
            </a:pathLst>
          </a:custGeom>
          <a:pattFill prst="pct60">
            <a:fgClr>
              <a:schemeClr val="bg1"/>
            </a:fgClr>
            <a:bgClr>
              <a:schemeClr val="bg1">
                <a:lumMod val="85000"/>
              </a:schemeClr>
            </a:bgClr>
          </a:pattFill>
          <a:effectLst>
            <a:outerShdw blurRad="660400" dist="190500" dir="5400000" algn="t" rotWithShape="0">
              <a:schemeClr val="accent1">
                <a:alpha val="40000"/>
              </a:schemeClr>
            </a:outerShdw>
          </a:effectLst>
        </p:spPr>
        <p:txBody>
          <a:bodyPr wrap="square" anchor="ctr">
            <a:noAutofit/>
          </a:bodyPr>
          <a:lstStyle>
            <a:lvl1pPr marL="0" indent="0" algn="ctr">
              <a:buFontTx/>
              <a:buNone/>
              <a:defRPr sz="1200"/>
            </a:lvl1pPr>
          </a:lstStyle>
          <a:p>
            <a:endParaRPr lang="en-US"/>
          </a:p>
        </p:txBody>
      </p:sp>
      <p:sp>
        <p:nvSpPr>
          <p:cNvPr id="13" name="Picture Placeholder 12">
            <a:extLst>
              <a:ext uri="{FF2B5EF4-FFF2-40B4-BE49-F238E27FC236}">
                <a16:creationId xmlns:a16="http://schemas.microsoft.com/office/drawing/2014/main" id="{84AD6E42-B8ED-45FE-80BA-270BE28BE3EB}"/>
              </a:ext>
            </a:extLst>
          </p:cNvPr>
          <p:cNvSpPr>
            <a:spLocks noGrp="1"/>
          </p:cNvSpPr>
          <p:nvPr>
            <p:ph type="pic" sz="quarter" idx="14"/>
          </p:nvPr>
        </p:nvSpPr>
        <p:spPr>
          <a:xfrm>
            <a:off x="6260114" y="1193177"/>
            <a:ext cx="2474760" cy="2071688"/>
          </a:xfrm>
          <a:custGeom>
            <a:avLst/>
            <a:gdLst>
              <a:gd name="connsiteX0" fmla="*/ 0 w 4950164"/>
              <a:gd name="connsiteY0" fmla="*/ 0 h 4143375"/>
              <a:gd name="connsiteX1" fmla="*/ 4950164 w 4950164"/>
              <a:gd name="connsiteY1" fmla="*/ 0 h 4143375"/>
              <a:gd name="connsiteX2" fmla="*/ 4950164 w 4950164"/>
              <a:gd name="connsiteY2" fmla="*/ 4143375 h 4143375"/>
              <a:gd name="connsiteX3" fmla="*/ 0 w 4950164"/>
              <a:gd name="connsiteY3" fmla="*/ 4143375 h 4143375"/>
            </a:gdLst>
            <a:ahLst/>
            <a:cxnLst>
              <a:cxn ang="0">
                <a:pos x="connsiteX0" y="connsiteY0"/>
              </a:cxn>
              <a:cxn ang="0">
                <a:pos x="connsiteX1" y="connsiteY1"/>
              </a:cxn>
              <a:cxn ang="0">
                <a:pos x="connsiteX2" y="connsiteY2"/>
              </a:cxn>
              <a:cxn ang="0">
                <a:pos x="connsiteX3" y="connsiteY3"/>
              </a:cxn>
            </a:cxnLst>
            <a:rect l="l" t="t" r="r" b="b"/>
            <a:pathLst>
              <a:path w="4950164" h="4143375">
                <a:moveTo>
                  <a:pt x="0" y="0"/>
                </a:moveTo>
                <a:lnTo>
                  <a:pt x="4950164" y="0"/>
                </a:lnTo>
                <a:lnTo>
                  <a:pt x="4950164" y="4143375"/>
                </a:lnTo>
                <a:lnTo>
                  <a:pt x="0" y="4143375"/>
                </a:lnTo>
                <a:close/>
              </a:path>
            </a:pathLst>
          </a:custGeom>
          <a:pattFill prst="pct60">
            <a:fgClr>
              <a:schemeClr val="bg1"/>
            </a:fgClr>
            <a:bgClr>
              <a:schemeClr val="bg1">
                <a:lumMod val="85000"/>
              </a:schemeClr>
            </a:bgClr>
          </a:pattFill>
          <a:effectLst>
            <a:outerShdw blurRad="660400" dist="190500" dir="5400000" algn="t" rotWithShape="0">
              <a:schemeClr val="accent1">
                <a:alpha val="40000"/>
              </a:schemeClr>
            </a:outerShdw>
          </a:effectLst>
        </p:spPr>
        <p:txBody>
          <a:bodyPr wrap="square" anchor="ctr">
            <a:noAutofit/>
          </a:bodyPr>
          <a:lstStyle>
            <a:lvl1pPr marL="0" indent="0" algn="ctr">
              <a:buFontTx/>
              <a:buNone/>
              <a:defRPr sz="1200"/>
            </a:lvl1pPr>
          </a:lstStyle>
          <a:p>
            <a:endParaRPr lang="en-US"/>
          </a:p>
        </p:txBody>
      </p:sp>
      <p:sp>
        <p:nvSpPr>
          <p:cNvPr id="14" name="Picture Placeholder 13">
            <a:extLst>
              <a:ext uri="{FF2B5EF4-FFF2-40B4-BE49-F238E27FC236}">
                <a16:creationId xmlns:a16="http://schemas.microsoft.com/office/drawing/2014/main" id="{BB2CF020-4972-4FDF-8E27-E1B874D0649C}"/>
              </a:ext>
            </a:extLst>
          </p:cNvPr>
          <p:cNvSpPr>
            <a:spLocks noGrp="1"/>
          </p:cNvSpPr>
          <p:nvPr>
            <p:ph type="pic" sz="quarter" idx="15"/>
          </p:nvPr>
        </p:nvSpPr>
        <p:spPr>
          <a:xfrm>
            <a:off x="3457125" y="3593137"/>
            <a:ext cx="2474760" cy="2071688"/>
          </a:xfrm>
          <a:custGeom>
            <a:avLst/>
            <a:gdLst>
              <a:gd name="connsiteX0" fmla="*/ 0 w 4950165"/>
              <a:gd name="connsiteY0" fmla="*/ 0 h 4143375"/>
              <a:gd name="connsiteX1" fmla="*/ 4950165 w 4950165"/>
              <a:gd name="connsiteY1" fmla="*/ 0 h 4143375"/>
              <a:gd name="connsiteX2" fmla="*/ 4950165 w 4950165"/>
              <a:gd name="connsiteY2" fmla="*/ 4143375 h 4143375"/>
              <a:gd name="connsiteX3" fmla="*/ 0 w 4950165"/>
              <a:gd name="connsiteY3" fmla="*/ 4143375 h 4143375"/>
            </a:gdLst>
            <a:ahLst/>
            <a:cxnLst>
              <a:cxn ang="0">
                <a:pos x="connsiteX0" y="connsiteY0"/>
              </a:cxn>
              <a:cxn ang="0">
                <a:pos x="connsiteX1" y="connsiteY1"/>
              </a:cxn>
              <a:cxn ang="0">
                <a:pos x="connsiteX2" y="connsiteY2"/>
              </a:cxn>
              <a:cxn ang="0">
                <a:pos x="connsiteX3" y="connsiteY3"/>
              </a:cxn>
            </a:cxnLst>
            <a:rect l="l" t="t" r="r" b="b"/>
            <a:pathLst>
              <a:path w="4950165" h="4143375">
                <a:moveTo>
                  <a:pt x="0" y="0"/>
                </a:moveTo>
                <a:lnTo>
                  <a:pt x="4950165" y="0"/>
                </a:lnTo>
                <a:lnTo>
                  <a:pt x="4950165" y="4143375"/>
                </a:lnTo>
                <a:lnTo>
                  <a:pt x="0" y="4143375"/>
                </a:lnTo>
                <a:close/>
              </a:path>
            </a:pathLst>
          </a:custGeom>
          <a:pattFill prst="pct60">
            <a:fgClr>
              <a:schemeClr val="bg1"/>
            </a:fgClr>
            <a:bgClr>
              <a:schemeClr val="bg1">
                <a:lumMod val="85000"/>
              </a:schemeClr>
            </a:bgClr>
          </a:pattFill>
          <a:effectLst>
            <a:outerShdw blurRad="660400" dist="190500" dir="5400000" algn="t" rotWithShape="0">
              <a:schemeClr val="accent1">
                <a:alpha val="40000"/>
              </a:schemeClr>
            </a:outerShdw>
          </a:effectLst>
        </p:spPr>
        <p:txBody>
          <a:bodyPr wrap="square" anchor="ctr">
            <a:noAutofit/>
          </a:bodyPr>
          <a:lstStyle>
            <a:lvl1pPr marL="0" indent="0" algn="ctr">
              <a:buFontTx/>
              <a:buNone/>
              <a:defRPr sz="1200"/>
            </a:lvl1pPr>
          </a:lstStyle>
          <a:p>
            <a:endParaRPr lang="en-US"/>
          </a:p>
        </p:txBody>
      </p:sp>
      <p:sp>
        <p:nvSpPr>
          <p:cNvPr id="15" name="Picture Placeholder 14">
            <a:extLst>
              <a:ext uri="{FF2B5EF4-FFF2-40B4-BE49-F238E27FC236}">
                <a16:creationId xmlns:a16="http://schemas.microsoft.com/office/drawing/2014/main" id="{7DEDE4E0-4295-4EC1-B674-5609175C4D60}"/>
              </a:ext>
            </a:extLst>
          </p:cNvPr>
          <p:cNvSpPr>
            <a:spLocks noGrp="1"/>
          </p:cNvSpPr>
          <p:nvPr>
            <p:ph type="pic" sz="quarter" idx="16"/>
          </p:nvPr>
        </p:nvSpPr>
        <p:spPr>
          <a:xfrm>
            <a:off x="6260114" y="3593137"/>
            <a:ext cx="2474760" cy="2071688"/>
          </a:xfrm>
          <a:custGeom>
            <a:avLst/>
            <a:gdLst>
              <a:gd name="connsiteX0" fmla="*/ 0 w 4950164"/>
              <a:gd name="connsiteY0" fmla="*/ 0 h 4143375"/>
              <a:gd name="connsiteX1" fmla="*/ 4950164 w 4950164"/>
              <a:gd name="connsiteY1" fmla="*/ 0 h 4143375"/>
              <a:gd name="connsiteX2" fmla="*/ 4950164 w 4950164"/>
              <a:gd name="connsiteY2" fmla="*/ 4143375 h 4143375"/>
              <a:gd name="connsiteX3" fmla="*/ 0 w 4950164"/>
              <a:gd name="connsiteY3" fmla="*/ 4143375 h 4143375"/>
            </a:gdLst>
            <a:ahLst/>
            <a:cxnLst>
              <a:cxn ang="0">
                <a:pos x="connsiteX0" y="connsiteY0"/>
              </a:cxn>
              <a:cxn ang="0">
                <a:pos x="connsiteX1" y="connsiteY1"/>
              </a:cxn>
              <a:cxn ang="0">
                <a:pos x="connsiteX2" y="connsiteY2"/>
              </a:cxn>
              <a:cxn ang="0">
                <a:pos x="connsiteX3" y="connsiteY3"/>
              </a:cxn>
            </a:cxnLst>
            <a:rect l="l" t="t" r="r" b="b"/>
            <a:pathLst>
              <a:path w="4950164" h="4143375">
                <a:moveTo>
                  <a:pt x="0" y="0"/>
                </a:moveTo>
                <a:lnTo>
                  <a:pt x="4950164" y="0"/>
                </a:lnTo>
                <a:lnTo>
                  <a:pt x="4950164" y="4143375"/>
                </a:lnTo>
                <a:lnTo>
                  <a:pt x="0" y="4143375"/>
                </a:lnTo>
                <a:close/>
              </a:path>
            </a:pathLst>
          </a:custGeom>
          <a:pattFill prst="pct60">
            <a:fgClr>
              <a:schemeClr val="bg1"/>
            </a:fgClr>
            <a:bgClr>
              <a:schemeClr val="bg1">
                <a:lumMod val="85000"/>
              </a:schemeClr>
            </a:bgClr>
          </a:pattFill>
          <a:effectLst>
            <a:outerShdw blurRad="660400" dist="190500" dir="5400000" algn="t" rotWithShape="0">
              <a:schemeClr val="accent1">
                <a:alpha val="40000"/>
              </a:schemeClr>
            </a:outerShdw>
          </a:effectLst>
        </p:spPr>
        <p:txBody>
          <a:bodyPr wrap="square" anchor="ctr">
            <a:noAutofit/>
          </a:bodyPr>
          <a:lstStyle>
            <a:lvl1pPr marL="0" indent="0" algn="ctr">
              <a:buFontTx/>
              <a:buNone/>
              <a:defRPr sz="1200"/>
            </a:lvl1pPr>
          </a:lstStyle>
          <a:p>
            <a:endParaRPr lang="en-US"/>
          </a:p>
        </p:txBody>
      </p:sp>
    </p:spTree>
    <p:extLst>
      <p:ext uri="{BB962C8B-B14F-4D97-AF65-F5344CB8AC3E}">
        <p14:creationId xmlns:p14="http://schemas.microsoft.com/office/powerpoint/2010/main" val="859176639"/>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4" dur="2000" decel="100000"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2000" fill="hold"/>
                                        <p:tgtEl>
                                          <p:spTgt spid="12"/>
                                        </p:tgtEl>
                                        <p:attrNameLst>
                                          <p:attrName>ppt_x</p:attrName>
                                        </p:attrNameLst>
                                      </p:cBhvr>
                                      <p:tavLst>
                                        <p:tav tm="0">
                                          <p:val>
                                            <p:strVal val="#ppt_x"/>
                                          </p:val>
                                        </p:tav>
                                        <p:tav tm="100000">
                                          <p:val>
                                            <p:strVal val="#ppt_x"/>
                                          </p:val>
                                        </p:tav>
                                      </p:tavLst>
                                    </p:anim>
                                    <p:anim calcmode="lin" valueType="num">
                                      <p:cBhvr additive="base">
                                        <p:cTn id="8" dur="2000" fill="hold"/>
                                        <p:tgtEl>
                                          <p:spTgt spid="12"/>
                                        </p:tgtEl>
                                        <p:attrNameLst>
                                          <p:attrName>ppt_y</p:attrName>
                                        </p:attrNameLst>
                                      </p:cBhvr>
                                      <p:tavLst>
                                        <p:tav tm="0">
                                          <p:val>
                                            <p:strVal val="1+#ppt_h/2"/>
                                          </p:val>
                                        </p:tav>
                                        <p:tav tm="100000">
                                          <p:val>
                                            <p:strVal val="#ppt_y"/>
                                          </p:val>
                                        </p:tav>
                                      </p:tavLst>
                                    </p:anim>
                                  </p:childTnLst>
                                </p:cTn>
                              </p:par>
                              <p:par>
                                <p:cTn id="9" presetID="2" presetClass="entr" presetSubtype="4" dur="2000" decel="100000" fill="hold" grpId="0" nodeType="withEffect">
                                  <p:stCondLst>
                                    <p:cond delay="100"/>
                                  </p:stCondLst>
                                  <p:childTnLst>
                                    <p:set>
                                      <p:cBhvr>
                                        <p:cTn id="10" dur="1" fill="hold">
                                          <p:stCondLst>
                                            <p:cond delay="0"/>
                                          </p:stCondLst>
                                        </p:cTn>
                                        <p:tgtEl>
                                          <p:spTgt spid="13"/>
                                        </p:tgtEl>
                                        <p:attrNameLst>
                                          <p:attrName>style.visibility</p:attrName>
                                        </p:attrNameLst>
                                      </p:cBhvr>
                                      <p:to>
                                        <p:strVal val="visible"/>
                                      </p:to>
                                    </p:set>
                                    <p:anim calcmode="lin" valueType="num">
                                      <p:cBhvr additive="base">
                                        <p:cTn id="11" dur="2000" fill="hold"/>
                                        <p:tgtEl>
                                          <p:spTgt spid="13"/>
                                        </p:tgtEl>
                                        <p:attrNameLst>
                                          <p:attrName>ppt_x</p:attrName>
                                        </p:attrNameLst>
                                      </p:cBhvr>
                                      <p:tavLst>
                                        <p:tav tm="0">
                                          <p:val>
                                            <p:strVal val="#ppt_x"/>
                                          </p:val>
                                        </p:tav>
                                        <p:tav tm="100000">
                                          <p:val>
                                            <p:strVal val="#ppt_x"/>
                                          </p:val>
                                        </p:tav>
                                      </p:tavLst>
                                    </p:anim>
                                    <p:anim calcmode="lin" valueType="num">
                                      <p:cBhvr additive="base">
                                        <p:cTn id="12" dur="2000" fill="hold"/>
                                        <p:tgtEl>
                                          <p:spTgt spid="13"/>
                                        </p:tgtEl>
                                        <p:attrNameLst>
                                          <p:attrName>ppt_y</p:attrName>
                                        </p:attrNameLst>
                                      </p:cBhvr>
                                      <p:tavLst>
                                        <p:tav tm="0">
                                          <p:val>
                                            <p:strVal val="1+#ppt_h/2"/>
                                          </p:val>
                                        </p:tav>
                                        <p:tav tm="100000">
                                          <p:val>
                                            <p:strVal val="#ppt_y"/>
                                          </p:val>
                                        </p:tav>
                                      </p:tavLst>
                                    </p:anim>
                                  </p:childTnLst>
                                </p:cTn>
                              </p:par>
                              <p:par>
                                <p:cTn id="13" presetID="2" presetClass="entr" presetSubtype="4" dur="2000" decel="100000" fill="hold" grpId="0" nodeType="withEffect">
                                  <p:stCondLst>
                                    <p:cond delay="200"/>
                                  </p:stCondLst>
                                  <p:childTnLst>
                                    <p:set>
                                      <p:cBhvr>
                                        <p:cTn id="14" dur="1" fill="hold">
                                          <p:stCondLst>
                                            <p:cond delay="0"/>
                                          </p:stCondLst>
                                        </p:cTn>
                                        <p:tgtEl>
                                          <p:spTgt spid="14"/>
                                        </p:tgtEl>
                                        <p:attrNameLst>
                                          <p:attrName>style.visibility</p:attrName>
                                        </p:attrNameLst>
                                      </p:cBhvr>
                                      <p:to>
                                        <p:strVal val="visible"/>
                                      </p:to>
                                    </p:set>
                                    <p:anim calcmode="lin" valueType="num">
                                      <p:cBhvr additive="base">
                                        <p:cTn id="15" dur="2000" fill="hold"/>
                                        <p:tgtEl>
                                          <p:spTgt spid="14"/>
                                        </p:tgtEl>
                                        <p:attrNameLst>
                                          <p:attrName>ppt_x</p:attrName>
                                        </p:attrNameLst>
                                      </p:cBhvr>
                                      <p:tavLst>
                                        <p:tav tm="0">
                                          <p:val>
                                            <p:strVal val="#ppt_x"/>
                                          </p:val>
                                        </p:tav>
                                        <p:tav tm="100000">
                                          <p:val>
                                            <p:strVal val="#ppt_x"/>
                                          </p:val>
                                        </p:tav>
                                      </p:tavLst>
                                    </p:anim>
                                    <p:anim calcmode="lin" valueType="num">
                                      <p:cBhvr additive="base">
                                        <p:cTn id="16" dur="2000" fill="hold"/>
                                        <p:tgtEl>
                                          <p:spTgt spid="14"/>
                                        </p:tgtEl>
                                        <p:attrNameLst>
                                          <p:attrName>ppt_y</p:attrName>
                                        </p:attrNameLst>
                                      </p:cBhvr>
                                      <p:tavLst>
                                        <p:tav tm="0">
                                          <p:val>
                                            <p:strVal val="1+#ppt_h/2"/>
                                          </p:val>
                                        </p:tav>
                                        <p:tav tm="100000">
                                          <p:val>
                                            <p:strVal val="#ppt_y"/>
                                          </p:val>
                                        </p:tav>
                                      </p:tavLst>
                                    </p:anim>
                                  </p:childTnLst>
                                </p:cTn>
                              </p:par>
                              <p:par>
                                <p:cTn id="17" presetID="2" presetClass="entr" presetSubtype="4" dur="2000" decel="100000" fill="hold" grpId="0" nodeType="withEffect">
                                  <p:stCondLst>
                                    <p:cond delay="300"/>
                                  </p:stCondLst>
                                  <p:childTnLst>
                                    <p:set>
                                      <p:cBhvr>
                                        <p:cTn id="18" dur="1" fill="hold">
                                          <p:stCondLst>
                                            <p:cond delay="0"/>
                                          </p:stCondLst>
                                        </p:cTn>
                                        <p:tgtEl>
                                          <p:spTgt spid="15"/>
                                        </p:tgtEl>
                                        <p:attrNameLst>
                                          <p:attrName>style.visibility</p:attrName>
                                        </p:attrNameLst>
                                      </p:cBhvr>
                                      <p:to>
                                        <p:strVal val="visible"/>
                                      </p:to>
                                    </p:set>
                                    <p:anim calcmode="lin" valueType="num">
                                      <p:cBhvr additive="base">
                                        <p:cTn id="19" dur="2000" fill="hold"/>
                                        <p:tgtEl>
                                          <p:spTgt spid="15"/>
                                        </p:tgtEl>
                                        <p:attrNameLst>
                                          <p:attrName>ppt_x</p:attrName>
                                        </p:attrNameLst>
                                      </p:cBhvr>
                                      <p:tavLst>
                                        <p:tav tm="0">
                                          <p:val>
                                            <p:strVal val="#ppt_x"/>
                                          </p:val>
                                        </p:tav>
                                        <p:tav tm="100000">
                                          <p:val>
                                            <p:strVal val="#ppt_x"/>
                                          </p:val>
                                        </p:tav>
                                      </p:tavLst>
                                    </p:anim>
                                    <p:anim calcmode="lin" valueType="num">
                                      <p:cBhvr additive="base">
                                        <p:cTn id="20" dur="2000" fill="hold"/>
                                        <p:tgtEl>
                                          <p:spTgt spid="1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14" grpId="0" animBg="1"/>
      <p:bldP spid="15" grpId="0" animBg="1"/>
    </p:bldLst>
  </p:timing>
  <p:extLst>
    <p:ext uri="{DCECCB84-F9BA-43D5-87BE-67443E8EF086}">
      <p15:sldGuideLst xmlns:p15="http://schemas.microsoft.com/office/powerpoint/2012/main">
        <p15:guide id="1" orient="horz" pos="4320">
          <p15:clr>
            <a:srgbClr val="FBAE40"/>
          </p15:clr>
        </p15:guide>
        <p15:guide id="2" pos="7681">
          <p15:clr>
            <a:srgbClr val="FBAE40"/>
          </p15:clr>
        </p15:guide>
        <p15:guide id="3" pos="985">
          <p15:clr>
            <a:srgbClr val="FBAE40"/>
          </p15:clr>
        </p15:guide>
        <p15:guide id="4" pos="14377">
          <p15:clr>
            <a:srgbClr val="FBAE4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userDrawn="1">
  <p:cSld name="10_Title Slide">
    <p:spTree>
      <p:nvGrpSpPr>
        <p:cNvPr id="1" name=""/>
        <p:cNvGrpSpPr/>
        <p:nvPr/>
      </p:nvGrpSpPr>
      <p:grpSpPr>
        <a:xfrm>
          <a:off x="0" y="0"/>
          <a:ext cx="0" cy="0"/>
          <a:chOff x="0" y="0"/>
          <a:chExt cx="0" cy="0"/>
        </a:xfrm>
      </p:grpSpPr>
      <p:sp>
        <p:nvSpPr>
          <p:cNvPr id="2" name="Rectangle: Diagonal Corners Rounded 1">
            <a:extLst>
              <a:ext uri="{FF2B5EF4-FFF2-40B4-BE49-F238E27FC236}">
                <a16:creationId xmlns:a16="http://schemas.microsoft.com/office/drawing/2014/main" id="{9B7649B2-2893-4336-9F6A-E261B8C7C7DB}"/>
              </a:ext>
            </a:extLst>
          </p:cNvPr>
          <p:cNvSpPr/>
          <p:nvPr userDrawn="1"/>
        </p:nvSpPr>
        <p:spPr>
          <a:xfrm>
            <a:off x="812800" y="728662"/>
            <a:ext cx="10566400" cy="5589588"/>
          </a:xfrm>
          <a:prstGeom prst="round2DiagRect">
            <a:avLst>
              <a:gd name="adj1" fmla="val 4770"/>
              <a:gd name="adj2" fmla="val 0"/>
            </a:avLst>
          </a:prstGeom>
          <a:solidFill>
            <a:schemeClr val="accent1">
              <a:alpha val="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Tree>
    <p:extLst>
      <p:ext uri="{BB962C8B-B14F-4D97-AF65-F5344CB8AC3E}">
        <p14:creationId xmlns:p14="http://schemas.microsoft.com/office/powerpoint/2010/main" val="3941138323"/>
      </p:ext>
    </p:extLst>
  </p:cSld>
  <p:clrMapOvr>
    <a:masterClrMapping/>
  </p:clrMapOvr>
  <p:transition/>
  <p:extLst>
    <p:ext uri="{DCECCB84-F9BA-43D5-87BE-67443E8EF086}">
      <p15:sldGuideLst xmlns:p15="http://schemas.microsoft.com/office/powerpoint/2012/main">
        <p15:guide id="1" orient="horz" pos="4320">
          <p15:clr>
            <a:srgbClr val="FBAE40"/>
          </p15:clr>
        </p15:guide>
        <p15:guide id="2" pos="7681">
          <p15:clr>
            <a:srgbClr val="FBAE40"/>
          </p15:clr>
        </p15:guide>
        <p15:guide id="3" pos="985">
          <p15:clr>
            <a:srgbClr val="FBAE40"/>
          </p15:clr>
        </p15:guide>
        <p15:guide id="4" pos="14377">
          <p15:clr>
            <a:srgbClr val="FBAE4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userDrawn="1">
  <p:cSld name="41_Custom Layou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D623F710-3A2E-425B-A333-5A92DAD13EA9}"/>
              </a:ext>
            </a:extLst>
          </p:cNvPr>
          <p:cNvSpPr>
            <a:spLocks noGrp="1" noChangeAspect="1"/>
          </p:cNvSpPr>
          <p:nvPr>
            <p:ph type="pic" sz="quarter" idx="13" hasCustomPrompt="1"/>
          </p:nvPr>
        </p:nvSpPr>
        <p:spPr>
          <a:xfrm>
            <a:off x="2910374" y="2477150"/>
            <a:ext cx="2103841" cy="4689762"/>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rot lat="19634922" lon="19414224" rev="3362221"/>
            </a:camera>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
        <p:nvSpPr>
          <p:cNvPr id="6" name="Picture Placeholder 4">
            <a:extLst>
              <a:ext uri="{FF2B5EF4-FFF2-40B4-BE49-F238E27FC236}">
                <a16:creationId xmlns:a16="http://schemas.microsoft.com/office/drawing/2014/main" id="{A28F13BA-1910-4632-AD0A-D7B0A4CE4C4D}"/>
              </a:ext>
            </a:extLst>
          </p:cNvPr>
          <p:cNvSpPr>
            <a:spLocks noGrp="1" noChangeAspect="1"/>
          </p:cNvSpPr>
          <p:nvPr>
            <p:ph type="pic" sz="quarter" idx="14" hasCustomPrompt="1"/>
          </p:nvPr>
        </p:nvSpPr>
        <p:spPr>
          <a:xfrm>
            <a:off x="5003114" y="956923"/>
            <a:ext cx="2103841" cy="4689762"/>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rot lat="19634922" lon="19414224" rev="3362221"/>
            </a:camera>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
        <p:nvSpPr>
          <p:cNvPr id="7" name="Picture Placeholder 4">
            <a:extLst>
              <a:ext uri="{FF2B5EF4-FFF2-40B4-BE49-F238E27FC236}">
                <a16:creationId xmlns:a16="http://schemas.microsoft.com/office/drawing/2014/main" id="{4DD410A9-9FE3-4789-A7BC-46C85AFCD272}"/>
              </a:ext>
            </a:extLst>
          </p:cNvPr>
          <p:cNvSpPr>
            <a:spLocks noGrp="1" noChangeAspect="1"/>
          </p:cNvSpPr>
          <p:nvPr>
            <p:ph type="pic" sz="quarter" idx="15" hasCustomPrompt="1"/>
          </p:nvPr>
        </p:nvSpPr>
        <p:spPr>
          <a:xfrm>
            <a:off x="7128261" y="-473642"/>
            <a:ext cx="2103841" cy="4689762"/>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rot lat="19634922" lon="19414224" rev="3362221"/>
            </a:camera>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Tree>
    <p:extLst>
      <p:ext uri="{BB962C8B-B14F-4D97-AF65-F5344CB8AC3E}">
        <p14:creationId xmlns:p14="http://schemas.microsoft.com/office/powerpoint/2010/main" val="443470836"/>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10" presetClass="entr" presetSubtype="0" dur="500" fill="hold" grpId="0" nodeType="withEffect">
                                  <p:stCondLst>
                                    <p:cond delay="140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dur="500" fill="hold" grpId="0" nodeType="withEffect">
                                  <p:stCondLst>
                                    <p:cond delay="160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par>
                                <p:cTn id="11" presetID="10" presetClass="entr" presetSubtype="0" dur="500" fill="hold" grpId="0" nodeType="withEffect">
                                  <p:stCondLst>
                                    <p:cond delay="180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Lst>
  </p:timing>
</p:sldLayout>
</file>

<file path=ppt/slideLayouts/slideLayout292.xml><?xml version="1.0" encoding="utf-8"?>
<p:sldLayout xmlns:a="http://schemas.openxmlformats.org/drawingml/2006/main" xmlns:r="http://schemas.openxmlformats.org/officeDocument/2006/relationships" xmlns:p="http://schemas.openxmlformats.org/presentationml/2006/main" userDrawn="1">
  <p:cSld name="42_Custom Layout">
    <p:spTree>
      <p:nvGrpSpPr>
        <p:cNvPr id="1" name=""/>
        <p:cNvGrpSpPr/>
        <p:nvPr/>
      </p:nvGrpSpPr>
      <p:grpSpPr>
        <a:xfrm>
          <a:off x="0" y="0"/>
          <a:ext cx="0" cy="0"/>
          <a:chOff x="0" y="0"/>
          <a:chExt cx="0" cy="0"/>
        </a:xfrm>
      </p:grpSpPr>
      <p:sp>
        <p:nvSpPr>
          <p:cNvPr id="7" name="Picture Placeholder 4">
            <a:extLst>
              <a:ext uri="{FF2B5EF4-FFF2-40B4-BE49-F238E27FC236}">
                <a16:creationId xmlns:a16="http://schemas.microsoft.com/office/drawing/2014/main" id="{4DD410A9-9FE3-4789-A7BC-46C85AFCD272}"/>
              </a:ext>
            </a:extLst>
          </p:cNvPr>
          <p:cNvSpPr>
            <a:spLocks noGrp="1" noChangeAspect="1"/>
          </p:cNvSpPr>
          <p:nvPr>
            <p:ph type="pic" sz="quarter" idx="15" hasCustomPrompt="1"/>
          </p:nvPr>
        </p:nvSpPr>
        <p:spPr>
          <a:xfrm>
            <a:off x="6012984" y="-254938"/>
            <a:ext cx="2103841" cy="4689762"/>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rot lat="19634922" lon="19414224" rev="3362221"/>
            </a:camera>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
        <p:nvSpPr>
          <p:cNvPr id="16" name="Picture Placeholder 4">
            <a:extLst>
              <a:ext uri="{FF2B5EF4-FFF2-40B4-BE49-F238E27FC236}">
                <a16:creationId xmlns:a16="http://schemas.microsoft.com/office/drawing/2014/main" id="{7A52C93F-F0CC-4A4A-ABA9-5A30489F2F8E}"/>
              </a:ext>
            </a:extLst>
          </p:cNvPr>
          <p:cNvSpPr>
            <a:spLocks noGrp="1" noChangeAspect="1"/>
          </p:cNvSpPr>
          <p:nvPr>
            <p:ph type="pic" sz="quarter" idx="16" hasCustomPrompt="1"/>
          </p:nvPr>
        </p:nvSpPr>
        <p:spPr>
          <a:xfrm>
            <a:off x="5311719" y="2240621"/>
            <a:ext cx="2103841" cy="4689762"/>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rot lat="19634922" lon="19414224" rev="3362221"/>
            </a:camera>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
        <p:nvSpPr>
          <p:cNvPr id="17" name="Picture Placeholder 4">
            <a:extLst>
              <a:ext uri="{FF2B5EF4-FFF2-40B4-BE49-F238E27FC236}">
                <a16:creationId xmlns:a16="http://schemas.microsoft.com/office/drawing/2014/main" id="{DAA3E768-26D8-4B93-883E-2190238146FB}"/>
              </a:ext>
            </a:extLst>
          </p:cNvPr>
          <p:cNvSpPr>
            <a:spLocks noGrp="1" noChangeAspect="1"/>
          </p:cNvSpPr>
          <p:nvPr>
            <p:ph type="pic" sz="quarter" idx="17" hasCustomPrompt="1"/>
          </p:nvPr>
        </p:nvSpPr>
        <p:spPr>
          <a:xfrm>
            <a:off x="1322508" y="-438770"/>
            <a:ext cx="2103841" cy="4689762"/>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rot lat="19634922" lon="19414224" rev="3362221"/>
            </a:camera>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
        <p:nvSpPr>
          <p:cNvPr id="18" name="Picture Placeholder 4">
            <a:extLst>
              <a:ext uri="{FF2B5EF4-FFF2-40B4-BE49-F238E27FC236}">
                <a16:creationId xmlns:a16="http://schemas.microsoft.com/office/drawing/2014/main" id="{9A96855E-0C0B-42CE-91C9-AE3C8F1221FD}"/>
              </a:ext>
            </a:extLst>
          </p:cNvPr>
          <p:cNvSpPr>
            <a:spLocks noGrp="1" noChangeAspect="1"/>
          </p:cNvSpPr>
          <p:nvPr>
            <p:ph type="pic" sz="quarter" idx="18" hasCustomPrompt="1"/>
          </p:nvPr>
        </p:nvSpPr>
        <p:spPr>
          <a:xfrm>
            <a:off x="9304707" y="4906796"/>
            <a:ext cx="2103841" cy="4689762"/>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rot lat="19634922" lon="19414224" rev="3362221"/>
            </a:camera>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
        <p:nvSpPr>
          <p:cNvPr id="19" name="Picture Placeholder 4">
            <a:extLst>
              <a:ext uri="{FF2B5EF4-FFF2-40B4-BE49-F238E27FC236}">
                <a16:creationId xmlns:a16="http://schemas.microsoft.com/office/drawing/2014/main" id="{931DAE40-C18E-4237-B28F-25D660550E74}"/>
              </a:ext>
            </a:extLst>
          </p:cNvPr>
          <p:cNvSpPr>
            <a:spLocks noGrp="1" noChangeAspect="1"/>
          </p:cNvSpPr>
          <p:nvPr>
            <p:ph type="pic" sz="quarter" idx="19" hasCustomPrompt="1"/>
          </p:nvPr>
        </p:nvSpPr>
        <p:spPr>
          <a:xfrm>
            <a:off x="10020490" y="2447842"/>
            <a:ext cx="2103841" cy="4689762"/>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rot lat="19634922" lon="19414224" rev="3362221"/>
            </a:camera>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
        <p:nvSpPr>
          <p:cNvPr id="20" name="Picture Placeholder 4">
            <a:extLst>
              <a:ext uri="{FF2B5EF4-FFF2-40B4-BE49-F238E27FC236}">
                <a16:creationId xmlns:a16="http://schemas.microsoft.com/office/drawing/2014/main" id="{02AD1624-5BD6-4E5E-B307-26317D0BDFEC}"/>
              </a:ext>
            </a:extLst>
          </p:cNvPr>
          <p:cNvSpPr>
            <a:spLocks noGrp="1" noChangeAspect="1"/>
          </p:cNvSpPr>
          <p:nvPr>
            <p:ph type="pic" sz="quarter" idx="20" hasCustomPrompt="1"/>
          </p:nvPr>
        </p:nvSpPr>
        <p:spPr>
          <a:xfrm>
            <a:off x="9899782" y="-558075"/>
            <a:ext cx="2103841" cy="4689762"/>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rot lat="19634922" lon="19414224" rev="3362221"/>
            </a:camera>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
        <p:nvSpPr>
          <p:cNvPr id="21" name="Picture Placeholder 4">
            <a:extLst>
              <a:ext uri="{FF2B5EF4-FFF2-40B4-BE49-F238E27FC236}">
                <a16:creationId xmlns:a16="http://schemas.microsoft.com/office/drawing/2014/main" id="{F76A9713-42A3-4558-AF3C-975E68B3604A}"/>
              </a:ext>
            </a:extLst>
          </p:cNvPr>
          <p:cNvSpPr>
            <a:spLocks noGrp="1" noChangeAspect="1"/>
          </p:cNvSpPr>
          <p:nvPr>
            <p:ph type="pic" sz="quarter" idx="21" hasCustomPrompt="1"/>
          </p:nvPr>
        </p:nvSpPr>
        <p:spPr>
          <a:xfrm>
            <a:off x="5917772" y="-3236375"/>
            <a:ext cx="2103841" cy="4689762"/>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rot lat="19634922" lon="19414224" rev="3362221"/>
            </a:camera>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
        <p:nvSpPr>
          <p:cNvPr id="22" name="Picture Placeholder 4">
            <a:extLst>
              <a:ext uri="{FF2B5EF4-FFF2-40B4-BE49-F238E27FC236}">
                <a16:creationId xmlns:a16="http://schemas.microsoft.com/office/drawing/2014/main" id="{AFD2B53B-0A07-43BF-9BEA-C72C900E6505}"/>
              </a:ext>
            </a:extLst>
          </p:cNvPr>
          <p:cNvSpPr>
            <a:spLocks noGrp="1" noChangeAspect="1"/>
          </p:cNvSpPr>
          <p:nvPr>
            <p:ph type="pic" sz="quarter" idx="22" hasCustomPrompt="1"/>
          </p:nvPr>
        </p:nvSpPr>
        <p:spPr>
          <a:xfrm>
            <a:off x="2027017" y="-2899146"/>
            <a:ext cx="2103841" cy="4689762"/>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rot lat="19634922" lon="19414224" rev="3362221"/>
            </a:camera>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Tree>
    <p:extLst>
      <p:ext uri="{BB962C8B-B14F-4D97-AF65-F5344CB8AC3E}">
        <p14:creationId xmlns:p14="http://schemas.microsoft.com/office/powerpoint/2010/main" val="1707387697"/>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10" presetClass="entr" presetSubtype="0" dur="300" fill="hold" grpId="0" nodeType="withEffect">
                                  <p:stCondLst>
                                    <p:cond delay="140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300"/>
                                        <p:tgtEl>
                                          <p:spTgt spid="17"/>
                                        </p:tgtEl>
                                      </p:cBhvr>
                                    </p:animEffect>
                                  </p:childTnLst>
                                </p:cTn>
                              </p:par>
                              <p:par>
                                <p:cTn id="8" presetID="10" presetClass="entr" presetSubtype="0" dur="300" fill="hold" grpId="0" nodeType="withEffect">
                                  <p:stCondLst>
                                    <p:cond delay="160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300"/>
                                        <p:tgtEl>
                                          <p:spTgt spid="16"/>
                                        </p:tgtEl>
                                      </p:cBhvr>
                                    </p:animEffect>
                                  </p:childTnLst>
                                </p:cTn>
                              </p:par>
                              <p:par>
                                <p:cTn id="11" presetID="10" presetClass="entr" presetSubtype="0" dur="300" fill="hold" grpId="0" nodeType="withEffect">
                                  <p:stCondLst>
                                    <p:cond delay="1800"/>
                                  </p:stCondLst>
                                  <p:childTnLst>
                                    <p:set>
                                      <p:cBhvr>
                                        <p:cTn id="12" dur="1" fill="hold">
                                          <p:stCondLst>
                                            <p:cond delay="0"/>
                                          </p:stCondLst>
                                        </p:cTn>
                                        <p:tgtEl>
                                          <p:spTgt spid="18"/>
                                        </p:tgtEl>
                                        <p:attrNameLst>
                                          <p:attrName>style.visibility</p:attrName>
                                        </p:attrNameLst>
                                      </p:cBhvr>
                                      <p:to>
                                        <p:strVal val="visible"/>
                                      </p:to>
                                    </p:set>
                                    <p:animEffect transition="in" filter="fade">
                                      <p:cBhvr>
                                        <p:cTn id="13" dur="300"/>
                                        <p:tgtEl>
                                          <p:spTgt spid="18"/>
                                        </p:tgtEl>
                                      </p:cBhvr>
                                    </p:animEffect>
                                  </p:childTnLst>
                                </p:cTn>
                              </p:par>
                              <p:par>
                                <p:cTn id="14" presetID="10" presetClass="entr" presetSubtype="0" dur="300" fill="hold" grpId="0" nodeType="withEffect">
                                  <p:stCondLst>
                                    <p:cond delay="2000"/>
                                  </p:stCondLst>
                                  <p:childTnLst>
                                    <p:set>
                                      <p:cBhvr>
                                        <p:cTn id="15" dur="1" fill="hold">
                                          <p:stCondLst>
                                            <p:cond delay="0"/>
                                          </p:stCondLst>
                                        </p:cTn>
                                        <p:tgtEl>
                                          <p:spTgt spid="22"/>
                                        </p:tgtEl>
                                        <p:attrNameLst>
                                          <p:attrName>style.visibility</p:attrName>
                                        </p:attrNameLst>
                                      </p:cBhvr>
                                      <p:to>
                                        <p:strVal val="visible"/>
                                      </p:to>
                                    </p:set>
                                    <p:animEffect transition="in" filter="fade">
                                      <p:cBhvr>
                                        <p:cTn id="16" dur="300"/>
                                        <p:tgtEl>
                                          <p:spTgt spid="22"/>
                                        </p:tgtEl>
                                      </p:cBhvr>
                                    </p:animEffect>
                                  </p:childTnLst>
                                </p:cTn>
                              </p:par>
                              <p:par>
                                <p:cTn id="17" presetID="10" presetClass="entr" presetSubtype="0" dur="300" fill="hold" grpId="0" nodeType="withEffect">
                                  <p:stCondLst>
                                    <p:cond delay="220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300"/>
                                        <p:tgtEl>
                                          <p:spTgt spid="7"/>
                                        </p:tgtEl>
                                      </p:cBhvr>
                                    </p:animEffect>
                                  </p:childTnLst>
                                </p:cTn>
                              </p:par>
                              <p:par>
                                <p:cTn id="20" presetID="10" presetClass="entr" presetSubtype="0" dur="300" fill="hold" grpId="0" nodeType="withEffect">
                                  <p:stCondLst>
                                    <p:cond delay="2400"/>
                                  </p:stCondLst>
                                  <p:childTnLst>
                                    <p:set>
                                      <p:cBhvr>
                                        <p:cTn id="21" dur="1" fill="hold">
                                          <p:stCondLst>
                                            <p:cond delay="0"/>
                                          </p:stCondLst>
                                        </p:cTn>
                                        <p:tgtEl>
                                          <p:spTgt spid="19"/>
                                        </p:tgtEl>
                                        <p:attrNameLst>
                                          <p:attrName>style.visibility</p:attrName>
                                        </p:attrNameLst>
                                      </p:cBhvr>
                                      <p:to>
                                        <p:strVal val="visible"/>
                                      </p:to>
                                    </p:set>
                                    <p:animEffect transition="in" filter="fade">
                                      <p:cBhvr>
                                        <p:cTn id="22" dur="300"/>
                                        <p:tgtEl>
                                          <p:spTgt spid="19"/>
                                        </p:tgtEl>
                                      </p:cBhvr>
                                    </p:animEffect>
                                  </p:childTnLst>
                                </p:cTn>
                              </p:par>
                              <p:par>
                                <p:cTn id="23" presetID="10" presetClass="entr" presetSubtype="0" dur="300" fill="hold" grpId="0" nodeType="withEffect">
                                  <p:stCondLst>
                                    <p:cond delay="2600"/>
                                  </p:stCondLst>
                                  <p:childTnLst>
                                    <p:set>
                                      <p:cBhvr>
                                        <p:cTn id="24" dur="1" fill="hold">
                                          <p:stCondLst>
                                            <p:cond delay="0"/>
                                          </p:stCondLst>
                                        </p:cTn>
                                        <p:tgtEl>
                                          <p:spTgt spid="21"/>
                                        </p:tgtEl>
                                        <p:attrNameLst>
                                          <p:attrName>style.visibility</p:attrName>
                                        </p:attrNameLst>
                                      </p:cBhvr>
                                      <p:to>
                                        <p:strVal val="visible"/>
                                      </p:to>
                                    </p:set>
                                    <p:animEffect transition="in" filter="fade">
                                      <p:cBhvr>
                                        <p:cTn id="25" dur="300"/>
                                        <p:tgtEl>
                                          <p:spTgt spid="21"/>
                                        </p:tgtEl>
                                      </p:cBhvr>
                                    </p:animEffect>
                                  </p:childTnLst>
                                </p:cTn>
                              </p:par>
                              <p:par>
                                <p:cTn id="26" presetID="10" presetClass="entr" presetSubtype="0" dur="300" fill="hold" grpId="0" nodeType="withEffect">
                                  <p:stCondLst>
                                    <p:cond delay="2800"/>
                                  </p:stCondLst>
                                  <p:childTnLst>
                                    <p:set>
                                      <p:cBhvr>
                                        <p:cTn id="27" dur="1" fill="hold">
                                          <p:stCondLst>
                                            <p:cond delay="0"/>
                                          </p:stCondLst>
                                        </p:cTn>
                                        <p:tgtEl>
                                          <p:spTgt spid="20"/>
                                        </p:tgtEl>
                                        <p:attrNameLst>
                                          <p:attrName>style.visibility</p:attrName>
                                        </p:attrNameLst>
                                      </p:cBhvr>
                                      <p:to>
                                        <p:strVal val="visible"/>
                                      </p:to>
                                    </p:set>
                                    <p:animEffect transition="in" filter="fade">
                                      <p:cBhvr>
                                        <p:cTn id="28" dur="3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6" grpId="0" animBg="1"/>
      <p:bldP spid="17" grpId="0" animBg="1"/>
      <p:bldP spid="18" grpId="0" animBg="1"/>
      <p:bldP spid="19" grpId="0" animBg="1"/>
      <p:bldP spid="20" grpId="0" animBg="1"/>
      <p:bldP spid="21" grpId="0" animBg="1"/>
      <p:bldP spid="22" grpId="0" animBg="1"/>
    </p:bldLst>
  </p:timing>
</p:sldLayout>
</file>

<file path=ppt/slideLayouts/slideLayout293.xml><?xml version="1.0" encoding="utf-8"?>
<p:sldLayout xmlns:a="http://schemas.openxmlformats.org/drawingml/2006/main" xmlns:r="http://schemas.openxmlformats.org/officeDocument/2006/relationships" xmlns:p="http://schemas.openxmlformats.org/presentationml/2006/main" userDrawn="1">
  <p:cSld name="49_Custom Layout">
    <p:spTree>
      <p:nvGrpSpPr>
        <p:cNvPr id="1" name=""/>
        <p:cNvGrpSpPr/>
        <p:nvPr/>
      </p:nvGrpSpPr>
      <p:grpSpPr>
        <a:xfrm>
          <a:off x="0" y="0"/>
          <a:ext cx="0" cy="0"/>
          <a:chOff x="0" y="0"/>
          <a:chExt cx="0" cy="0"/>
        </a:xfrm>
      </p:grpSpPr>
      <p:sp>
        <p:nvSpPr>
          <p:cNvPr id="7" name="Picture Placeholder 4">
            <a:extLst>
              <a:ext uri="{FF2B5EF4-FFF2-40B4-BE49-F238E27FC236}">
                <a16:creationId xmlns:a16="http://schemas.microsoft.com/office/drawing/2014/main" id="{4DD410A9-9FE3-4789-A7BC-46C85AFCD272}"/>
              </a:ext>
            </a:extLst>
          </p:cNvPr>
          <p:cNvSpPr>
            <a:spLocks noGrp="1" noChangeAspect="1"/>
          </p:cNvSpPr>
          <p:nvPr>
            <p:ph type="pic" sz="quarter" idx="15" hasCustomPrompt="1"/>
          </p:nvPr>
        </p:nvSpPr>
        <p:spPr>
          <a:xfrm>
            <a:off x="4527312" y="33960"/>
            <a:ext cx="3080233" cy="6866281"/>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rot lat="19634922" lon="19414224" rev="3362221"/>
            </a:camera>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Tree>
    <p:extLst>
      <p:ext uri="{BB962C8B-B14F-4D97-AF65-F5344CB8AC3E}">
        <p14:creationId xmlns:p14="http://schemas.microsoft.com/office/powerpoint/2010/main" val="3385730877"/>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10" presetClass="entr" presetSubtype="0" dur="300" fill="hold" grpId="0" nodeType="withEffect">
                                  <p:stCondLst>
                                    <p:cond delay="15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3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Layout>
</file>

<file path=ppt/slideLayouts/slideLayout294.xml><?xml version="1.0" encoding="utf-8"?>
<p:sldLayout xmlns:a="http://schemas.openxmlformats.org/drawingml/2006/main" xmlns:r="http://schemas.openxmlformats.org/officeDocument/2006/relationships" xmlns:p="http://schemas.openxmlformats.org/presentationml/2006/main" userDrawn="1">
  <p:cSld name="44_Custom Layout">
    <p:spTree>
      <p:nvGrpSpPr>
        <p:cNvPr id="1" name=""/>
        <p:cNvGrpSpPr/>
        <p:nvPr/>
      </p:nvGrpSpPr>
      <p:grpSpPr>
        <a:xfrm>
          <a:off x="0" y="0"/>
          <a:ext cx="0" cy="0"/>
          <a:chOff x="0" y="0"/>
          <a:chExt cx="0" cy="0"/>
        </a:xfrm>
      </p:grpSpPr>
      <p:sp>
        <p:nvSpPr>
          <p:cNvPr id="4" name="Picture Placeholder 4">
            <a:extLst>
              <a:ext uri="{FF2B5EF4-FFF2-40B4-BE49-F238E27FC236}">
                <a16:creationId xmlns:a16="http://schemas.microsoft.com/office/drawing/2014/main" id="{14A02EFB-B385-47FF-9B8B-D0AF70EB0ACA}"/>
              </a:ext>
            </a:extLst>
          </p:cNvPr>
          <p:cNvSpPr>
            <a:spLocks noGrp="1"/>
          </p:cNvSpPr>
          <p:nvPr>
            <p:ph type="pic" sz="quarter" idx="14" hasCustomPrompt="1"/>
          </p:nvPr>
        </p:nvSpPr>
        <p:spPr>
          <a:xfrm>
            <a:off x="3288140" y="625268"/>
            <a:ext cx="2757066" cy="5607464"/>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rot lat="21156044" lon="19471222" rev="2142000"/>
            </a:camera>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Tree>
    <p:extLst>
      <p:ext uri="{BB962C8B-B14F-4D97-AF65-F5344CB8AC3E}">
        <p14:creationId xmlns:p14="http://schemas.microsoft.com/office/powerpoint/2010/main" val="746705262"/>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10" presetClass="entr" presetSubtype="0" dur="500" fill="hold" grpId="0" nodeType="withEffect">
                                  <p:stCondLst>
                                    <p:cond delay="140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295.xml><?xml version="1.0" encoding="utf-8"?>
<p:sldLayout xmlns:a="http://schemas.openxmlformats.org/drawingml/2006/main" xmlns:r="http://schemas.openxmlformats.org/officeDocument/2006/relationships" xmlns:p="http://schemas.openxmlformats.org/presentationml/2006/main" userDrawn="1">
  <p:cSld name="47_Custom Layout">
    <p:spTree>
      <p:nvGrpSpPr>
        <p:cNvPr id="1" name=""/>
        <p:cNvGrpSpPr/>
        <p:nvPr/>
      </p:nvGrpSpPr>
      <p:grpSpPr>
        <a:xfrm>
          <a:off x="0" y="0"/>
          <a:ext cx="0" cy="0"/>
          <a:chOff x="0" y="0"/>
          <a:chExt cx="0" cy="0"/>
        </a:xfrm>
      </p:grpSpPr>
      <p:sp>
        <p:nvSpPr>
          <p:cNvPr id="8" name="Picture Placeholder 4">
            <a:extLst>
              <a:ext uri="{FF2B5EF4-FFF2-40B4-BE49-F238E27FC236}">
                <a16:creationId xmlns:a16="http://schemas.microsoft.com/office/drawing/2014/main" id="{BACFF124-91DE-4270-8B20-C6B773DA6F3E}"/>
              </a:ext>
            </a:extLst>
          </p:cNvPr>
          <p:cNvSpPr>
            <a:spLocks noGrp="1"/>
          </p:cNvSpPr>
          <p:nvPr>
            <p:ph type="pic" sz="quarter" idx="19" hasCustomPrompt="1"/>
          </p:nvPr>
        </p:nvSpPr>
        <p:spPr>
          <a:xfrm>
            <a:off x="1232834" y="1224083"/>
            <a:ext cx="2098275" cy="4255378"/>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rot lat="21156044" lon="19471222" rev="2142000"/>
            </a:camera>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
        <p:nvSpPr>
          <p:cNvPr id="9" name="Picture Placeholder 4">
            <a:extLst>
              <a:ext uri="{FF2B5EF4-FFF2-40B4-BE49-F238E27FC236}">
                <a16:creationId xmlns:a16="http://schemas.microsoft.com/office/drawing/2014/main" id="{D29ACF4C-B280-4B02-861A-2A89FDA38207}"/>
              </a:ext>
            </a:extLst>
          </p:cNvPr>
          <p:cNvSpPr>
            <a:spLocks noGrp="1"/>
          </p:cNvSpPr>
          <p:nvPr>
            <p:ph type="pic" sz="quarter" idx="20" hasCustomPrompt="1"/>
          </p:nvPr>
        </p:nvSpPr>
        <p:spPr>
          <a:xfrm>
            <a:off x="4999243" y="1224083"/>
            <a:ext cx="2098275" cy="4255378"/>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rot lat="21156044" lon="19471222" rev="2142000"/>
            </a:camera>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
        <p:nvSpPr>
          <p:cNvPr id="10" name="Picture Placeholder 4">
            <a:extLst>
              <a:ext uri="{FF2B5EF4-FFF2-40B4-BE49-F238E27FC236}">
                <a16:creationId xmlns:a16="http://schemas.microsoft.com/office/drawing/2014/main" id="{CEFB7973-0670-4441-9F1A-0A9A6A0C786C}"/>
              </a:ext>
            </a:extLst>
          </p:cNvPr>
          <p:cNvSpPr>
            <a:spLocks noGrp="1"/>
          </p:cNvSpPr>
          <p:nvPr>
            <p:ph type="pic" sz="quarter" idx="21" hasCustomPrompt="1"/>
          </p:nvPr>
        </p:nvSpPr>
        <p:spPr>
          <a:xfrm>
            <a:off x="8909132" y="1224083"/>
            <a:ext cx="2098275" cy="4255378"/>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rot lat="21156044" lon="19471222" rev="2142000"/>
            </a:camera>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Tree>
    <p:extLst>
      <p:ext uri="{BB962C8B-B14F-4D97-AF65-F5344CB8AC3E}">
        <p14:creationId xmlns:p14="http://schemas.microsoft.com/office/powerpoint/2010/main" val="3476903063"/>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10" presetClass="entr" presetSubtype="0" dur="300" fill="hold" grpId="0" nodeType="withEffect">
                                  <p:stCondLst>
                                    <p:cond delay="140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300"/>
                                        <p:tgtEl>
                                          <p:spTgt spid="8"/>
                                        </p:tgtEl>
                                      </p:cBhvr>
                                    </p:animEffect>
                                  </p:childTnLst>
                                </p:cTn>
                              </p:par>
                              <p:par>
                                <p:cTn id="8" presetID="10" presetClass="entr" presetSubtype="0" dur="300" fill="hold" grpId="0" nodeType="withEffect">
                                  <p:stCondLst>
                                    <p:cond delay="160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300"/>
                                        <p:tgtEl>
                                          <p:spTgt spid="9"/>
                                        </p:tgtEl>
                                      </p:cBhvr>
                                    </p:animEffect>
                                  </p:childTnLst>
                                </p:cTn>
                              </p:par>
                              <p:par>
                                <p:cTn id="11" presetID="10" presetClass="entr" presetSubtype="0" dur="300" fill="hold" grpId="0" nodeType="withEffect">
                                  <p:stCondLst>
                                    <p:cond delay="18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3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Lst>
  </p:timing>
</p:sldLayout>
</file>

<file path=ppt/slideLayouts/slideLayout296.xml><?xml version="1.0" encoding="utf-8"?>
<p:sldLayout xmlns:a="http://schemas.openxmlformats.org/drawingml/2006/main" xmlns:r="http://schemas.openxmlformats.org/officeDocument/2006/relationships" xmlns:p="http://schemas.openxmlformats.org/presentationml/2006/main" userDrawn="1">
  <p:cSld name="46_Custom Layout">
    <p:spTree>
      <p:nvGrpSpPr>
        <p:cNvPr id="1" name=""/>
        <p:cNvGrpSpPr/>
        <p:nvPr/>
      </p:nvGrpSpPr>
      <p:grpSpPr>
        <a:xfrm>
          <a:off x="0" y="0"/>
          <a:ext cx="0" cy="0"/>
          <a:chOff x="0" y="0"/>
          <a:chExt cx="0" cy="0"/>
        </a:xfrm>
      </p:grpSpPr>
      <p:sp>
        <p:nvSpPr>
          <p:cNvPr id="11" name="Picture Placeholder 4">
            <a:extLst>
              <a:ext uri="{FF2B5EF4-FFF2-40B4-BE49-F238E27FC236}">
                <a16:creationId xmlns:a16="http://schemas.microsoft.com/office/drawing/2014/main" id="{BC04114F-B17C-47EC-AF69-2916485680D0}"/>
              </a:ext>
            </a:extLst>
          </p:cNvPr>
          <p:cNvSpPr>
            <a:spLocks noGrp="1"/>
          </p:cNvSpPr>
          <p:nvPr>
            <p:ph type="pic" sz="quarter" idx="14" hasCustomPrompt="1"/>
          </p:nvPr>
        </p:nvSpPr>
        <p:spPr>
          <a:xfrm>
            <a:off x="3805790" y="369627"/>
            <a:ext cx="2278521" cy="4634173"/>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rot lat="21156044" lon="19471222" rev="2142000"/>
            </a:camera>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
        <p:nvSpPr>
          <p:cNvPr id="12" name="Picture Placeholder 4">
            <a:extLst>
              <a:ext uri="{FF2B5EF4-FFF2-40B4-BE49-F238E27FC236}">
                <a16:creationId xmlns:a16="http://schemas.microsoft.com/office/drawing/2014/main" id="{B6222758-0FAF-4255-9C81-1A0F962F6FB8}"/>
              </a:ext>
            </a:extLst>
          </p:cNvPr>
          <p:cNvSpPr>
            <a:spLocks noGrp="1"/>
          </p:cNvSpPr>
          <p:nvPr>
            <p:ph type="pic" sz="quarter" idx="15" hasCustomPrompt="1"/>
          </p:nvPr>
        </p:nvSpPr>
        <p:spPr>
          <a:xfrm>
            <a:off x="8029802" y="1328498"/>
            <a:ext cx="2278521" cy="4634173"/>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rot lat="21156044" lon="19471222" rev="2142000"/>
            </a:camera>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
        <p:nvSpPr>
          <p:cNvPr id="13" name="Picture Placeholder 4">
            <a:extLst>
              <a:ext uri="{FF2B5EF4-FFF2-40B4-BE49-F238E27FC236}">
                <a16:creationId xmlns:a16="http://schemas.microsoft.com/office/drawing/2014/main" id="{BEC7EB88-1C11-44DF-B215-3D5169279634}"/>
              </a:ext>
            </a:extLst>
          </p:cNvPr>
          <p:cNvSpPr>
            <a:spLocks noGrp="1"/>
          </p:cNvSpPr>
          <p:nvPr>
            <p:ph type="pic" sz="quarter" idx="16" hasCustomPrompt="1"/>
          </p:nvPr>
        </p:nvSpPr>
        <p:spPr>
          <a:xfrm>
            <a:off x="7004941" y="4764436"/>
            <a:ext cx="2278521" cy="4634173"/>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rot lat="21156044" lon="19471222" rev="2142000"/>
            </a:camera>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
        <p:nvSpPr>
          <p:cNvPr id="14" name="Picture Placeholder 4">
            <a:extLst>
              <a:ext uri="{FF2B5EF4-FFF2-40B4-BE49-F238E27FC236}">
                <a16:creationId xmlns:a16="http://schemas.microsoft.com/office/drawing/2014/main" id="{533DC553-12CF-406F-9DB9-67DB3CFD36CA}"/>
              </a:ext>
            </a:extLst>
          </p:cNvPr>
          <p:cNvSpPr>
            <a:spLocks noGrp="1"/>
          </p:cNvSpPr>
          <p:nvPr>
            <p:ph type="pic" sz="quarter" idx="17" hasCustomPrompt="1"/>
          </p:nvPr>
        </p:nvSpPr>
        <p:spPr>
          <a:xfrm>
            <a:off x="4850430" y="-3081125"/>
            <a:ext cx="2278521" cy="4634173"/>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rot lat="21156044" lon="19471222" rev="2142000"/>
            </a:camera>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
        <p:nvSpPr>
          <p:cNvPr id="17" name="Picture Placeholder 4">
            <a:extLst>
              <a:ext uri="{FF2B5EF4-FFF2-40B4-BE49-F238E27FC236}">
                <a16:creationId xmlns:a16="http://schemas.microsoft.com/office/drawing/2014/main" id="{A89E6887-55DE-40BF-915A-82B7ABE85B25}"/>
              </a:ext>
            </a:extLst>
          </p:cNvPr>
          <p:cNvSpPr>
            <a:spLocks noGrp="1"/>
          </p:cNvSpPr>
          <p:nvPr>
            <p:ph type="pic" sz="quarter" idx="18" hasCustomPrompt="1"/>
          </p:nvPr>
        </p:nvSpPr>
        <p:spPr>
          <a:xfrm>
            <a:off x="628784" y="-4053479"/>
            <a:ext cx="2278521" cy="4634173"/>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rot lat="21156044" lon="19471222" rev="2142000"/>
            </a:camera>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
        <p:nvSpPr>
          <p:cNvPr id="18" name="Picture Placeholder 4">
            <a:extLst>
              <a:ext uri="{FF2B5EF4-FFF2-40B4-BE49-F238E27FC236}">
                <a16:creationId xmlns:a16="http://schemas.microsoft.com/office/drawing/2014/main" id="{7A5965A1-0BCC-4AA7-AA83-A54A26EEBB38}"/>
              </a:ext>
            </a:extLst>
          </p:cNvPr>
          <p:cNvSpPr>
            <a:spLocks noGrp="1"/>
          </p:cNvSpPr>
          <p:nvPr>
            <p:ph type="pic" sz="quarter" idx="19" hasCustomPrompt="1"/>
          </p:nvPr>
        </p:nvSpPr>
        <p:spPr>
          <a:xfrm>
            <a:off x="-289595" y="-669291"/>
            <a:ext cx="2278521" cy="4634173"/>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rot lat="21156044" lon="19471222" rev="2142000"/>
            </a:camera>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
        <p:nvSpPr>
          <p:cNvPr id="19" name="Picture Placeholder 4">
            <a:extLst>
              <a:ext uri="{FF2B5EF4-FFF2-40B4-BE49-F238E27FC236}">
                <a16:creationId xmlns:a16="http://schemas.microsoft.com/office/drawing/2014/main" id="{3D5E6D23-BAD6-4EE7-BEF0-298DCA579CAB}"/>
              </a:ext>
            </a:extLst>
          </p:cNvPr>
          <p:cNvSpPr>
            <a:spLocks noGrp="1"/>
          </p:cNvSpPr>
          <p:nvPr>
            <p:ph type="pic" sz="quarter" idx="20" hasCustomPrompt="1"/>
          </p:nvPr>
        </p:nvSpPr>
        <p:spPr>
          <a:xfrm>
            <a:off x="2889420" y="3753816"/>
            <a:ext cx="2278521" cy="4634173"/>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rot lat="21156044" lon="19471222" rev="2142000"/>
            </a:camera>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
        <p:nvSpPr>
          <p:cNvPr id="20" name="Picture Placeholder 4">
            <a:extLst>
              <a:ext uri="{FF2B5EF4-FFF2-40B4-BE49-F238E27FC236}">
                <a16:creationId xmlns:a16="http://schemas.microsoft.com/office/drawing/2014/main" id="{6F22F61A-69C9-4DA6-9D4F-E04805CAFB25}"/>
              </a:ext>
            </a:extLst>
          </p:cNvPr>
          <p:cNvSpPr>
            <a:spLocks noGrp="1"/>
          </p:cNvSpPr>
          <p:nvPr>
            <p:ph type="pic" sz="quarter" idx="21" hasCustomPrompt="1"/>
          </p:nvPr>
        </p:nvSpPr>
        <p:spPr>
          <a:xfrm>
            <a:off x="6088571" y="8142972"/>
            <a:ext cx="2278521" cy="4634173"/>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rot lat="21156044" lon="19471222" rev="2142000"/>
            </a:camera>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
        <p:nvSpPr>
          <p:cNvPr id="21" name="Picture Placeholder 4">
            <a:extLst>
              <a:ext uri="{FF2B5EF4-FFF2-40B4-BE49-F238E27FC236}">
                <a16:creationId xmlns:a16="http://schemas.microsoft.com/office/drawing/2014/main" id="{C6137A97-A52B-4418-9BB7-52427A63AFAE}"/>
              </a:ext>
            </a:extLst>
          </p:cNvPr>
          <p:cNvSpPr>
            <a:spLocks noGrp="1"/>
          </p:cNvSpPr>
          <p:nvPr>
            <p:ph type="pic" sz="quarter" idx="22" hasCustomPrompt="1"/>
          </p:nvPr>
        </p:nvSpPr>
        <p:spPr>
          <a:xfrm>
            <a:off x="11236624" y="5727928"/>
            <a:ext cx="2278521" cy="4634173"/>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rot lat="21156044" lon="19471222" rev="2142000"/>
            </a:camera>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Tree>
    <p:extLst>
      <p:ext uri="{BB962C8B-B14F-4D97-AF65-F5344CB8AC3E}">
        <p14:creationId xmlns:p14="http://schemas.microsoft.com/office/powerpoint/2010/main" val="1299777573"/>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42" presetClass="path" presetSubtype="0" dur="5000" repeatCount="indefinite" accel="50000" decel="50000" autoRev="1" fill="hold" grpId="0" nodeType="withEffect">
                                  <p:stCondLst>
                                    <p:cond delay="0"/>
                                  </p:stCondLst>
                                  <p:childTnLst>
                                    <p:animMotion origin="layout" path="M -2.38901E-06 2.22222E-06 L -0.18135 -0.44757" pathEditMode="relative" rAng="0" ptsTypes="AA">
                                      <p:cBhvr>
                                        <p:cTn id="6" dur="5000" fill="hold"/>
                                        <p:tgtEl>
                                          <p:spTgt spid="18"/>
                                        </p:tgtEl>
                                        <p:attrNameLst>
                                          <p:attrName>ppt_x</p:attrName>
                                          <p:attrName>ppt_y</p:attrName>
                                        </p:attrNameLst>
                                      </p:cBhvr>
                                      <p:rCtr x="-9068" y="-22384"/>
                                    </p:animMotion>
                                  </p:childTnLst>
                                </p:cTn>
                              </p:par>
                              <p:par>
                                <p:cTn id="7" presetID="42" presetClass="path" presetSubtype="0" dur="5000" repeatCount="indefinite" accel="50000" decel="50000" autoRev="1" fill="hold" grpId="0" nodeType="withEffect">
                                  <p:stCondLst>
                                    <p:cond delay="100"/>
                                  </p:stCondLst>
                                  <p:childTnLst>
                                    <p:animMotion origin="layout" path="M 4.27418E-06 4.81481E-06 L -0.18136 -0.44757" pathEditMode="relative" rAng="0" ptsTypes="AA">
                                      <p:cBhvr>
                                        <p:cTn id="8" dur="5000" fill="hold"/>
                                        <p:tgtEl>
                                          <p:spTgt spid="19"/>
                                        </p:tgtEl>
                                        <p:attrNameLst>
                                          <p:attrName>ppt_x</p:attrName>
                                          <p:attrName>ppt_y</p:attrName>
                                        </p:attrNameLst>
                                      </p:cBhvr>
                                      <p:rCtr x="-9068" y="-22384"/>
                                    </p:animMotion>
                                  </p:childTnLst>
                                </p:cTn>
                              </p:par>
                              <p:par>
                                <p:cTn id="9" presetID="42" presetClass="path" presetSubtype="0" dur="5000" repeatCount="indefinite" accel="50000" decel="50000" autoRev="1" fill="hold" grpId="0" nodeType="withEffect">
                                  <p:stCondLst>
                                    <p:cond delay="200"/>
                                  </p:stCondLst>
                                  <p:childTnLst>
                                    <p:animMotion origin="layout" path="M 3.54511E-06 -1.48148E-06 L -0.18136 -0.44757" pathEditMode="relative" rAng="0" ptsTypes="AA">
                                      <p:cBhvr>
                                        <p:cTn id="10" dur="5000" fill="hold"/>
                                        <p:tgtEl>
                                          <p:spTgt spid="20"/>
                                        </p:tgtEl>
                                        <p:attrNameLst>
                                          <p:attrName>ppt_x</p:attrName>
                                          <p:attrName>ppt_y</p:attrName>
                                        </p:attrNameLst>
                                      </p:cBhvr>
                                      <p:rCtr x="-9068" y="-22384"/>
                                    </p:animMotion>
                                  </p:childTnLst>
                                </p:cTn>
                              </p:par>
                              <p:par>
                                <p:cTn id="11" presetID="42" presetClass="path" presetSubtype="0" dur="3000" repeatCount="indefinite" accel="50000" decel="50000" autoRev="1" fill="hold" grpId="0" nodeType="withEffect">
                                  <p:stCondLst>
                                    <p:cond delay="300"/>
                                  </p:stCondLst>
                                  <p:childTnLst>
                                    <p:animMotion origin="layout" path="M 1.89689E-06 -5E-06 L -0.18136 -0.44757" pathEditMode="relative" rAng="0" ptsTypes="AA">
                                      <p:cBhvr>
                                        <p:cTn id="12" dur="3000" fill="hold"/>
                                        <p:tgtEl>
                                          <p:spTgt spid="17"/>
                                        </p:tgtEl>
                                        <p:attrNameLst>
                                          <p:attrName>ppt_x</p:attrName>
                                          <p:attrName>ppt_y</p:attrName>
                                        </p:attrNameLst>
                                      </p:cBhvr>
                                      <p:rCtr x="-9068" y="-22373"/>
                                    </p:animMotion>
                                  </p:childTnLst>
                                </p:cTn>
                              </p:par>
                              <p:par>
                                <p:cTn id="13" presetID="42" presetClass="path" presetSubtype="0" dur="3000" repeatCount="indefinite" accel="50000" decel="50000" autoRev="1" fill="hold" grpId="0" nodeType="withEffect">
                                  <p:stCondLst>
                                    <p:cond delay="400"/>
                                  </p:stCondLst>
                                  <p:childTnLst>
                                    <p:animMotion origin="layout" path="M 3.84716E-06 -2.40741E-06 L -0.18136 -0.44757" pathEditMode="relative" rAng="0" ptsTypes="AA">
                                      <p:cBhvr>
                                        <p:cTn id="14" dur="3000" fill="hold"/>
                                        <p:tgtEl>
                                          <p:spTgt spid="11"/>
                                        </p:tgtEl>
                                        <p:attrNameLst>
                                          <p:attrName>ppt_x</p:attrName>
                                          <p:attrName>ppt_y</p:attrName>
                                        </p:attrNameLst>
                                      </p:cBhvr>
                                      <p:rCtr x="-9068" y="-22384"/>
                                    </p:animMotion>
                                  </p:childTnLst>
                                </p:cTn>
                              </p:par>
                              <p:par>
                                <p:cTn id="15" presetID="42" presetClass="path" presetSubtype="0" dur="3000" repeatCount="indefinite" accel="50000" decel="50000" autoRev="1" fill="hold" grpId="0" nodeType="withEffect">
                                  <p:stCondLst>
                                    <p:cond delay="500"/>
                                  </p:stCondLst>
                                  <p:childTnLst>
                                    <p:animMotion origin="layout" path="M 3.11808E-06 -3.14815E-06 L -0.18136 -0.44757" pathEditMode="relative" rAng="0" ptsTypes="AA">
                                      <p:cBhvr>
                                        <p:cTn id="16" dur="3000" fill="hold"/>
                                        <p:tgtEl>
                                          <p:spTgt spid="13"/>
                                        </p:tgtEl>
                                        <p:attrNameLst>
                                          <p:attrName>ppt_x</p:attrName>
                                          <p:attrName>ppt_y</p:attrName>
                                        </p:attrNameLst>
                                      </p:cBhvr>
                                      <p:rCtr x="-9068" y="-22384"/>
                                    </p:animMotion>
                                  </p:childTnLst>
                                </p:cTn>
                              </p:par>
                              <p:par>
                                <p:cTn id="17" presetID="42" presetClass="path" presetSubtype="0" dur="7000" repeatCount="indefinite" accel="50000" decel="50000" autoRev="1" fill="hold" grpId="0" nodeType="withEffect">
                                  <p:stCondLst>
                                    <p:cond delay="600"/>
                                  </p:stCondLst>
                                  <p:childTnLst>
                                    <p:animMotion origin="layout" path="M 2.82255E-06 2.59259E-06 L -0.18136 -0.44757" pathEditMode="relative" rAng="0" ptsTypes="AA">
                                      <p:cBhvr>
                                        <p:cTn id="18" dur="7000" fill="hold"/>
                                        <p:tgtEl>
                                          <p:spTgt spid="14"/>
                                        </p:tgtEl>
                                        <p:attrNameLst>
                                          <p:attrName>ppt_x</p:attrName>
                                          <p:attrName>ppt_y</p:attrName>
                                        </p:attrNameLst>
                                      </p:cBhvr>
                                      <p:rCtr x="-9068" y="-22373"/>
                                    </p:animMotion>
                                  </p:childTnLst>
                                </p:cTn>
                              </p:par>
                              <p:par>
                                <p:cTn id="19" presetID="42" presetClass="path" presetSubtype="0" dur="7000" repeatCount="indefinite" accel="50000" decel="50000" autoRev="1" fill="hold" grpId="0" nodeType="withEffect">
                                  <p:stCondLst>
                                    <p:cond delay="700"/>
                                  </p:stCondLst>
                                  <p:childTnLst>
                                    <p:animMotion origin="layout" path="M -5.14256E-07 2.77778E-06 L -0.18136 -0.44757" pathEditMode="relative" rAng="0" ptsTypes="AA">
                                      <p:cBhvr>
                                        <p:cTn id="20" dur="7000" fill="hold"/>
                                        <p:tgtEl>
                                          <p:spTgt spid="12"/>
                                        </p:tgtEl>
                                        <p:attrNameLst>
                                          <p:attrName>ppt_x</p:attrName>
                                          <p:attrName>ppt_y</p:attrName>
                                        </p:attrNameLst>
                                      </p:cBhvr>
                                      <p:rCtr x="-9068" y="-22384"/>
                                    </p:animMotion>
                                  </p:childTnLst>
                                </p:cTn>
                              </p:par>
                              <p:par>
                                <p:cTn id="21" presetID="42" presetClass="path" presetSubtype="0" dur="7000" repeatCount="indefinite" accel="50000" decel="50000" autoRev="1" fill="hold" grpId="0" nodeType="withEffect">
                                  <p:stCondLst>
                                    <p:cond delay="800"/>
                                  </p:stCondLst>
                                  <p:childTnLst>
                                    <p:animMotion origin="layout" path="M 2.89546E-06 -2.40741E-06 L -0.18136 -0.44757" pathEditMode="relative" rAng="0" ptsTypes="AA">
                                      <p:cBhvr>
                                        <p:cTn id="22" dur="7000" fill="hold"/>
                                        <p:tgtEl>
                                          <p:spTgt spid="21"/>
                                        </p:tgtEl>
                                        <p:attrNameLst>
                                          <p:attrName>ppt_x</p:attrName>
                                          <p:attrName>ppt_y</p:attrName>
                                        </p:attrNameLst>
                                      </p:cBhvr>
                                      <p:rCtr x="-9068" y="-2238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P spid="17" grpId="0" animBg="1"/>
      <p:bldP spid="18" grpId="0" animBg="1"/>
      <p:bldP spid="19" grpId="0" animBg="1"/>
      <p:bldP spid="20" grpId="0" animBg="1"/>
      <p:bldP spid="21" grpId="0" animBg="1"/>
    </p:bldLst>
  </p:timing>
</p:sldLayout>
</file>

<file path=ppt/slideLayouts/slideLayout297.xml><?xml version="1.0" encoding="utf-8"?>
<p:sldLayout xmlns:a="http://schemas.openxmlformats.org/drawingml/2006/main" xmlns:r="http://schemas.openxmlformats.org/officeDocument/2006/relationships" xmlns:p="http://schemas.openxmlformats.org/presentationml/2006/main" userDrawn="1">
  <p:cSld name="48_Custom Layout">
    <p:spTree>
      <p:nvGrpSpPr>
        <p:cNvPr id="1" name=""/>
        <p:cNvGrpSpPr/>
        <p:nvPr/>
      </p:nvGrpSpPr>
      <p:grpSpPr>
        <a:xfrm>
          <a:off x="0" y="0"/>
          <a:ext cx="0" cy="0"/>
          <a:chOff x="0" y="0"/>
          <a:chExt cx="0" cy="0"/>
        </a:xfrm>
      </p:grpSpPr>
      <p:sp>
        <p:nvSpPr>
          <p:cNvPr id="3" name="Picture Placeholder 4">
            <a:extLst>
              <a:ext uri="{FF2B5EF4-FFF2-40B4-BE49-F238E27FC236}">
                <a16:creationId xmlns:a16="http://schemas.microsoft.com/office/drawing/2014/main" id="{299FF38B-C933-4889-900A-6F061087770E}"/>
              </a:ext>
            </a:extLst>
          </p:cNvPr>
          <p:cNvSpPr>
            <a:spLocks noGrp="1"/>
          </p:cNvSpPr>
          <p:nvPr>
            <p:ph type="pic" sz="quarter" idx="20" hasCustomPrompt="1"/>
          </p:nvPr>
        </p:nvSpPr>
        <p:spPr>
          <a:xfrm>
            <a:off x="6315322" y="758218"/>
            <a:ext cx="2538913" cy="5149008"/>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rot lat="21156044" lon="19471222" rev="2142000"/>
            </a:camera>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Tree>
    <p:extLst>
      <p:ext uri="{BB962C8B-B14F-4D97-AF65-F5344CB8AC3E}">
        <p14:creationId xmlns:p14="http://schemas.microsoft.com/office/powerpoint/2010/main" val="3944584544"/>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10" presetClass="entr" presetSubtype="0" dur="300" fill="hold" grpId="0" nodeType="withEffect">
                                  <p:stCondLst>
                                    <p:cond delay="160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3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298.xml><?xml version="1.0" encoding="utf-8"?>
<p:sldLayout xmlns:a="http://schemas.openxmlformats.org/drawingml/2006/main" xmlns:r="http://schemas.openxmlformats.org/officeDocument/2006/relationships" xmlns:p="http://schemas.openxmlformats.org/presentationml/2006/main" userDrawn="1">
  <p:cSld name="50_Custom Layout">
    <p:spTree>
      <p:nvGrpSpPr>
        <p:cNvPr id="1" name=""/>
        <p:cNvGrpSpPr/>
        <p:nvPr/>
      </p:nvGrpSpPr>
      <p:grpSpPr>
        <a:xfrm>
          <a:off x="0" y="0"/>
          <a:ext cx="0" cy="0"/>
          <a:chOff x="0" y="0"/>
          <a:chExt cx="0" cy="0"/>
        </a:xfrm>
      </p:grpSpPr>
      <p:sp>
        <p:nvSpPr>
          <p:cNvPr id="3" name="Picture Placeholder 4">
            <a:extLst>
              <a:ext uri="{FF2B5EF4-FFF2-40B4-BE49-F238E27FC236}">
                <a16:creationId xmlns:a16="http://schemas.microsoft.com/office/drawing/2014/main" id="{2417F1E4-026F-483C-93F7-966CE4BE8C83}"/>
              </a:ext>
            </a:extLst>
          </p:cNvPr>
          <p:cNvSpPr>
            <a:spLocks noGrp="1" noChangeAspect="1"/>
          </p:cNvSpPr>
          <p:nvPr>
            <p:ph type="pic" sz="quarter" idx="15" hasCustomPrompt="1"/>
          </p:nvPr>
        </p:nvSpPr>
        <p:spPr>
          <a:xfrm>
            <a:off x="5029114" y="849622"/>
            <a:ext cx="2103841" cy="4689762"/>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rot lat="19634922" lon="19414224" rev="3362221"/>
            </a:camera>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Tree>
    <p:extLst>
      <p:ext uri="{BB962C8B-B14F-4D97-AF65-F5344CB8AC3E}">
        <p14:creationId xmlns:p14="http://schemas.microsoft.com/office/powerpoint/2010/main" val="3680412221"/>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10" presetClass="entr" presetSubtype="0" dur="300" fill="hold" grpId="0" nodeType="withEffect">
                                  <p:stCondLst>
                                    <p:cond delay="100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3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299.xml><?xml version="1.0" encoding="utf-8"?>
<p:sldLayout xmlns:a="http://schemas.openxmlformats.org/drawingml/2006/main" xmlns:r="http://schemas.openxmlformats.org/officeDocument/2006/relationships" xmlns:p="http://schemas.openxmlformats.org/presentationml/2006/main" userDrawn="1">
  <p:cSld name="51_Custom Layout">
    <p:spTree>
      <p:nvGrpSpPr>
        <p:cNvPr id="1" name=""/>
        <p:cNvGrpSpPr/>
        <p:nvPr/>
      </p:nvGrpSpPr>
      <p:grpSpPr>
        <a:xfrm>
          <a:off x="0" y="0"/>
          <a:ext cx="0" cy="0"/>
          <a:chOff x="0" y="0"/>
          <a:chExt cx="0" cy="0"/>
        </a:xfrm>
      </p:grpSpPr>
      <p:sp>
        <p:nvSpPr>
          <p:cNvPr id="14" name="Picture Placeholder 4">
            <a:extLst>
              <a:ext uri="{FF2B5EF4-FFF2-40B4-BE49-F238E27FC236}">
                <a16:creationId xmlns:a16="http://schemas.microsoft.com/office/drawing/2014/main" id="{2EE59A4B-62F4-4433-BE85-26B188EF139D}"/>
              </a:ext>
            </a:extLst>
          </p:cNvPr>
          <p:cNvSpPr>
            <a:spLocks noGrp="1" noChangeAspect="1"/>
          </p:cNvSpPr>
          <p:nvPr>
            <p:ph type="pic" sz="quarter" idx="13" hasCustomPrompt="1"/>
          </p:nvPr>
        </p:nvSpPr>
        <p:spPr>
          <a:xfrm>
            <a:off x="6225994" y="11418"/>
            <a:ext cx="4034631" cy="8830592"/>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
        <p:nvSpPr>
          <p:cNvPr id="15" name="Picture Placeholder 4">
            <a:extLst>
              <a:ext uri="{FF2B5EF4-FFF2-40B4-BE49-F238E27FC236}">
                <a16:creationId xmlns:a16="http://schemas.microsoft.com/office/drawing/2014/main" id="{18337562-962D-485E-8F64-009D65426FF2}"/>
              </a:ext>
            </a:extLst>
          </p:cNvPr>
          <p:cNvSpPr>
            <a:spLocks noGrp="1" noChangeAspect="1"/>
          </p:cNvSpPr>
          <p:nvPr>
            <p:ph type="pic" sz="quarter" idx="14" hasCustomPrompt="1"/>
          </p:nvPr>
        </p:nvSpPr>
        <p:spPr>
          <a:xfrm>
            <a:off x="13383927" y="4078436"/>
            <a:ext cx="4034631" cy="8830592"/>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
        <p:nvSpPr>
          <p:cNvPr id="16" name="Picture Placeholder 4">
            <a:extLst>
              <a:ext uri="{FF2B5EF4-FFF2-40B4-BE49-F238E27FC236}">
                <a16:creationId xmlns:a16="http://schemas.microsoft.com/office/drawing/2014/main" id="{8F8AEF08-EB9B-4A32-8467-5998B2BB5650}"/>
              </a:ext>
            </a:extLst>
          </p:cNvPr>
          <p:cNvSpPr>
            <a:spLocks noGrp="1" noChangeAspect="1"/>
          </p:cNvSpPr>
          <p:nvPr>
            <p:ph type="pic" sz="quarter" idx="15" hasCustomPrompt="1"/>
          </p:nvPr>
        </p:nvSpPr>
        <p:spPr>
          <a:xfrm>
            <a:off x="-927309" y="-4065365"/>
            <a:ext cx="4034631" cy="8830592"/>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
        <p:nvSpPr>
          <p:cNvPr id="17" name="Picture Placeholder 4">
            <a:extLst>
              <a:ext uri="{FF2B5EF4-FFF2-40B4-BE49-F238E27FC236}">
                <a16:creationId xmlns:a16="http://schemas.microsoft.com/office/drawing/2014/main" id="{6EEEE568-1DB7-48CC-BF26-76D245147EB5}"/>
              </a:ext>
            </a:extLst>
          </p:cNvPr>
          <p:cNvSpPr>
            <a:spLocks noGrp="1" noChangeAspect="1"/>
          </p:cNvSpPr>
          <p:nvPr>
            <p:ph type="pic" sz="quarter" idx="16" hasCustomPrompt="1"/>
          </p:nvPr>
        </p:nvSpPr>
        <p:spPr>
          <a:xfrm>
            <a:off x="4768099" y="-5153771"/>
            <a:ext cx="4034631" cy="8830592"/>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
        <p:nvSpPr>
          <p:cNvPr id="18" name="Picture Placeholder 4">
            <a:extLst>
              <a:ext uri="{FF2B5EF4-FFF2-40B4-BE49-F238E27FC236}">
                <a16:creationId xmlns:a16="http://schemas.microsoft.com/office/drawing/2014/main" id="{467146EF-49BF-42F0-B8C7-5CD08CBA8640}"/>
              </a:ext>
            </a:extLst>
          </p:cNvPr>
          <p:cNvSpPr>
            <a:spLocks noGrp="1" noChangeAspect="1"/>
          </p:cNvSpPr>
          <p:nvPr>
            <p:ph type="pic" sz="quarter" idx="17" hasCustomPrompt="1"/>
          </p:nvPr>
        </p:nvSpPr>
        <p:spPr>
          <a:xfrm>
            <a:off x="11926033" y="-1086753"/>
            <a:ext cx="4034631" cy="8830592"/>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
        <p:nvSpPr>
          <p:cNvPr id="19" name="Picture Placeholder 4">
            <a:extLst>
              <a:ext uri="{FF2B5EF4-FFF2-40B4-BE49-F238E27FC236}">
                <a16:creationId xmlns:a16="http://schemas.microsoft.com/office/drawing/2014/main" id="{7B5FE4D9-3147-4486-96B9-5E08CA951EE6}"/>
              </a:ext>
            </a:extLst>
          </p:cNvPr>
          <p:cNvSpPr>
            <a:spLocks noGrp="1" noChangeAspect="1"/>
          </p:cNvSpPr>
          <p:nvPr>
            <p:ph type="pic" sz="quarter" idx="18" hasCustomPrompt="1"/>
          </p:nvPr>
        </p:nvSpPr>
        <p:spPr>
          <a:xfrm>
            <a:off x="-2385204" y="-9230553"/>
            <a:ext cx="4034631" cy="8830592"/>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
        <p:nvSpPr>
          <p:cNvPr id="20" name="Picture Placeholder 4">
            <a:extLst>
              <a:ext uri="{FF2B5EF4-FFF2-40B4-BE49-F238E27FC236}">
                <a16:creationId xmlns:a16="http://schemas.microsoft.com/office/drawing/2014/main" id="{EDE0EB38-B27B-4434-BFBD-E0630270C9A5}"/>
              </a:ext>
            </a:extLst>
          </p:cNvPr>
          <p:cNvSpPr>
            <a:spLocks noGrp="1" noChangeAspect="1"/>
          </p:cNvSpPr>
          <p:nvPr>
            <p:ph type="pic" sz="quarter" idx="19" hasCustomPrompt="1"/>
          </p:nvPr>
        </p:nvSpPr>
        <p:spPr>
          <a:xfrm>
            <a:off x="-2841811" y="-841556"/>
            <a:ext cx="4034631" cy="8830592"/>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
        <p:nvSpPr>
          <p:cNvPr id="21" name="Picture Placeholder 4">
            <a:extLst>
              <a:ext uri="{FF2B5EF4-FFF2-40B4-BE49-F238E27FC236}">
                <a16:creationId xmlns:a16="http://schemas.microsoft.com/office/drawing/2014/main" id="{4B8E2F39-97C7-4305-8208-06313DBAB462}"/>
              </a:ext>
            </a:extLst>
          </p:cNvPr>
          <p:cNvSpPr>
            <a:spLocks noGrp="1" noChangeAspect="1"/>
          </p:cNvSpPr>
          <p:nvPr>
            <p:ph type="pic" sz="quarter" idx="20" hasCustomPrompt="1"/>
          </p:nvPr>
        </p:nvSpPr>
        <p:spPr>
          <a:xfrm>
            <a:off x="4316123" y="3225462"/>
            <a:ext cx="4034631" cy="8830592"/>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
        <p:nvSpPr>
          <p:cNvPr id="22" name="Picture Placeholder 4">
            <a:extLst>
              <a:ext uri="{FF2B5EF4-FFF2-40B4-BE49-F238E27FC236}">
                <a16:creationId xmlns:a16="http://schemas.microsoft.com/office/drawing/2014/main" id="{9E02DE52-BA19-4266-8058-7F9FDAAF4A1C}"/>
              </a:ext>
            </a:extLst>
          </p:cNvPr>
          <p:cNvSpPr>
            <a:spLocks noGrp="1" noChangeAspect="1"/>
          </p:cNvSpPr>
          <p:nvPr>
            <p:ph type="pic" sz="quarter" idx="21" hasCustomPrompt="1"/>
          </p:nvPr>
        </p:nvSpPr>
        <p:spPr>
          <a:xfrm>
            <a:off x="-9995114" y="-4918338"/>
            <a:ext cx="4034631" cy="8830592"/>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Tree>
    <p:extLst>
      <p:ext uri="{BB962C8B-B14F-4D97-AF65-F5344CB8AC3E}">
        <p14:creationId xmlns:p14="http://schemas.microsoft.com/office/powerpoint/2010/main" val="2133722466"/>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42" presetClass="path" presetSubtype="0" dur="5000" repeatCount="indefinite" accel="20000" decel="20000" autoRev="1" fill="hold" grpId="0" nodeType="withEffect">
                                  <p:stCondLst>
                                    <p:cond delay="0"/>
                                  </p:stCondLst>
                                  <p:childTnLst>
                                    <p:animMotion origin="layout" path="M 4.68559E-06 -4.81481E-06 L 0.61313 0.62929" pathEditMode="relative" rAng="0" ptsTypes="AA">
                                      <p:cBhvr>
                                        <p:cTn id="6" dur="5000" fill="hold"/>
                                        <p:tgtEl>
                                          <p:spTgt spid="21"/>
                                        </p:tgtEl>
                                        <p:attrNameLst>
                                          <p:attrName>ppt_x</p:attrName>
                                          <p:attrName>ppt_y</p:attrName>
                                        </p:attrNameLst>
                                      </p:cBhvr>
                                      <p:rCtr x="30654" y="31458"/>
                                    </p:animMotion>
                                  </p:childTnLst>
                                </p:cTn>
                              </p:par>
                              <p:par>
                                <p:cTn id="7" presetID="42" presetClass="path" presetSubtype="0" dur="5000" repeatCount="indefinite" accel="20000" decel="20000" autoRev="1" fill="hold" grpId="0" nodeType="withEffect">
                                  <p:stCondLst>
                                    <p:cond delay="0"/>
                                  </p:stCondLst>
                                  <p:childTnLst>
                                    <p:animMotion origin="layout" path="M 4.68559E-06 -4.81481E-06 L 0.61313 0.62929" pathEditMode="relative" rAng="0" ptsTypes="AA">
                                      <p:cBhvr>
                                        <p:cTn id="8" dur="5000" fill="hold"/>
                                        <p:tgtEl>
                                          <p:spTgt spid="20"/>
                                        </p:tgtEl>
                                        <p:attrNameLst>
                                          <p:attrName>ppt_x</p:attrName>
                                          <p:attrName>ppt_y</p:attrName>
                                        </p:attrNameLst>
                                      </p:cBhvr>
                                      <p:rCtr x="30654" y="31458"/>
                                    </p:animMotion>
                                  </p:childTnLst>
                                </p:cTn>
                              </p:par>
                              <p:par>
                                <p:cTn id="9" presetID="42" presetClass="path" presetSubtype="0" dur="5000" repeatCount="indefinite" accel="20000" decel="20000" autoRev="1" fill="hold" grpId="0" nodeType="withEffect">
                                  <p:stCondLst>
                                    <p:cond delay="0"/>
                                  </p:stCondLst>
                                  <p:childTnLst>
                                    <p:animMotion origin="layout" path="M 4.68559E-06 -4.81481E-06 L 0.61313 0.62929" pathEditMode="relative" rAng="0" ptsTypes="AA">
                                      <p:cBhvr>
                                        <p:cTn id="10" dur="5000" fill="hold"/>
                                        <p:tgtEl>
                                          <p:spTgt spid="22"/>
                                        </p:tgtEl>
                                        <p:attrNameLst>
                                          <p:attrName>ppt_x</p:attrName>
                                          <p:attrName>ppt_y</p:attrName>
                                        </p:attrNameLst>
                                      </p:cBhvr>
                                      <p:rCtr x="30654" y="31458"/>
                                    </p:animMotion>
                                  </p:childTnLst>
                                </p:cTn>
                              </p:par>
                              <p:par>
                                <p:cTn id="11" presetID="42" presetClass="path" presetSubtype="0" dur="7000" repeatCount="indefinite" accel="20000" decel="20000" autoRev="1" fill="hold" grpId="0" nodeType="withEffect">
                                  <p:stCondLst>
                                    <p:cond delay="0"/>
                                  </p:stCondLst>
                                  <p:childTnLst>
                                    <p:animMotion origin="layout" path="M -4.34579E-06 2.96296E-06 L -0.58521 -0.59398" pathEditMode="relative" rAng="0" ptsTypes="AA">
                                      <p:cBhvr>
                                        <p:cTn id="12" dur="7000" fill="hold"/>
                                        <p:tgtEl>
                                          <p:spTgt spid="15"/>
                                        </p:tgtEl>
                                        <p:attrNameLst>
                                          <p:attrName>ppt_x</p:attrName>
                                          <p:attrName>ppt_y</p:attrName>
                                        </p:attrNameLst>
                                      </p:cBhvr>
                                      <p:rCtr x="-29261" y="-29699"/>
                                    </p:animMotion>
                                  </p:childTnLst>
                                </p:cTn>
                              </p:par>
                              <p:par>
                                <p:cTn id="13" presetID="42" presetClass="path" presetSubtype="0" dur="7000" repeatCount="indefinite" accel="20000" decel="20000" autoRev="1" fill="hold" grpId="0" nodeType="withEffect">
                                  <p:stCondLst>
                                    <p:cond delay="0"/>
                                  </p:stCondLst>
                                  <p:childTnLst>
                                    <p:animMotion origin="layout" path="M -4.34579E-06 2.96296E-06 L -0.58521 -0.59398" pathEditMode="relative" rAng="0" ptsTypes="AA">
                                      <p:cBhvr>
                                        <p:cTn id="14" dur="7000" fill="hold"/>
                                        <p:tgtEl>
                                          <p:spTgt spid="14"/>
                                        </p:tgtEl>
                                        <p:attrNameLst>
                                          <p:attrName>ppt_x</p:attrName>
                                          <p:attrName>ppt_y</p:attrName>
                                        </p:attrNameLst>
                                      </p:cBhvr>
                                      <p:rCtr x="-29261" y="-29699"/>
                                    </p:animMotion>
                                  </p:childTnLst>
                                </p:cTn>
                              </p:par>
                              <p:par>
                                <p:cTn id="15" presetID="42" presetClass="path" presetSubtype="0" dur="7000" repeatCount="indefinite" accel="20000" decel="20000" autoRev="1" fill="hold" grpId="0" nodeType="withEffect">
                                  <p:stCondLst>
                                    <p:cond delay="0"/>
                                  </p:stCondLst>
                                  <p:childTnLst>
                                    <p:animMotion origin="layout" path="M -4.34579E-06 2.96296E-06 L -0.58521 -0.59398" pathEditMode="relative" rAng="0" ptsTypes="AA">
                                      <p:cBhvr>
                                        <p:cTn id="16" dur="7000" fill="hold"/>
                                        <p:tgtEl>
                                          <p:spTgt spid="16"/>
                                        </p:tgtEl>
                                        <p:attrNameLst>
                                          <p:attrName>ppt_x</p:attrName>
                                          <p:attrName>ppt_y</p:attrName>
                                        </p:attrNameLst>
                                      </p:cBhvr>
                                      <p:rCtr x="-29261" y="-29699"/>
                                    </p:animMotion>
                                  </p:childTnLst>
                                </p:cTn>
                              </p:par>
                              <p:par>
                                <p:cTn id="17" presetID="42" presetClass="path" presetSubtype="0" dur="6000" repeatCount="indefinite" accel="20000" decel="20000" autoRev="1" fill="hold" grpId="0" nodeType="withEffect">
                                  <p:stCondLst>
                                    <p:cond delay="0"/>
                                  </p:stCondLst>
                                  <p:childTnLst>
                                    <p:animMotion origin="layout" path="M -4.11405E-06 -3.51852E-06 L 0.61314 0.62929" pathEditMode="relative" rAng="0" ptsTypes="AA">
                                      <p:cBhvr>
                                        <p:cTn id="18" dur="6000" fill="hold"/>
                                        <p:tgtEl>
                                          <p:spTgt spid="18"/>
                                        </p:tgtEl>
                                        <p:attrNameLst>
                                          <p:attrName>ppt_x</p:attrName>
                                          <p:attrName>ppt_y</p:attrName>
                                        </p:attrNameLst>
                                      </p:cBhvr>
                                      <p:rCtr x="30654" y="31458"/>
                                    </p:animMotion>
                                  </p:childTnLst>
                                </p:cTn>
                              </p:par>
                              <p:par>
                                <p:cTn id="19" presetID="42" presetClass="path" presetSubtype="0" dur="6000" repeatCount="indefinite" accel="20000" decel="20000" autoRev="1" fill="hold" grpId="0" nodeType="withEffect">
                                  <p:stCondLst>
                                    <p:cond delay="0"/>
                                  </p:stCondLst>
                                  <p:childTnLst>
                                    <p:animMotion origin="layout" path="M -4.11405E-06 -3.51852E-06 L 0.61314 0.62929" pathEditMode="relative" rAng="0" ptsTypes="AA">
                                      <p:cBhvr>
                                        <p:cTn id="20" dur="6000" fill="hold"/>
                                        <p:tgtEl>
                                          <p:spTgt spid="17"/>
                                        </p:tgtEl>
                                        <p:attrNameLst>
                                          <p:attrName>ppt_x</p:attrName>
                                          <p:attrName>ppt_y</p:attrName>
                                        </p:attrNameLst>
                                      </p:cBhvr>
                                      <p:rCtr x="30654" y="31458"/>
                                    </p:animMotion>
                                  </p:childTnLst>
                                </p:cTn>
                              </p:par>
                              <p:par>
                                <p:cTn id="21" presetID="42" presetClass="path" presetSubtype="0" dur="6000" repeatCount="indefinite" accel="20000" decel="20000" autoRev="1" fill="hold" grpId="0" nodeType="withEffect">
                                  <p:stCondLst>
                                    <p:cond delay="0"/>
                                  </p:stCondLst>
                                  <p:childTnLst>
                                    <p:animMotion origin="layout" path="M -4.11405E-06 -3.51852E-06 L 0.61314 0.62929" pathEditMode="relative" rAng="0" ptsTypes="AA">
                                      <p:cBhvr>
                                        <p:cTn id="22" dur="6000" fill="hold"/>
                                        <p:tgtEl>
                                          <p:spTgt spid="19"/>
                                        </p:tgtEl>
                                        <p:attrNameLst>
                                          <p:attrName>ppt_x</p:attrName>
                                          <p:attrName>ppt_y</p:attrName>
                                        </p:attrNameLst>
                                      </p:cBhvr>
                                      <p:rCtr x="30654" y="3145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animBg="1"/>
      <p:bldP spid="16" grpId="0" animBg="1"/>
      <p:bldP spid="17" grpId="0" animBg="1"/>
      <p:bldP spid="18" grpId="0" animBg="1"/>
      <p:bldP spid="19" grpId="0" animBg="1"/>
      <p:bldP spid="20" grpId="0" animBg="1"/>
      <p:bldP spid="21" grpId="0" animBg="1"/>
      <p:bldP spid="22" grpId="0" animBg="1"/>
    </p:bld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HEADING/TEXT 1 column">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5B327254-466C-4606-8589-BCC72CBDADDF}"/>
              </a:ext>
            </a:extLst>
          </p:cNvPr>
          <p:cNvSpPr>
            <a:spLocks noGrp="1"/>
          </p:cNvSpPr>
          <p:nvPr>
            <p:ph type="sldNum" sz="quarter" idx="10"/>
          </p:nvPr>
        </p:nvSpPr>
        <p:spPr/>
        <p:txBody>
          <a:bodyPr/>
          <a:lstStyle/>
          <a:p>
            <a:fld id="{A04BEB4F-8CE1-4F18-986F-6CE0A0BE9470}" type="slidenum">
              <a:rPr lang="de-DE" smtClean="0"/>
              <a:t>‹#›</a:t>
            </a:fld>
            <a:endParaRPr lang="de-DE"/>
          </a:p>
        </p:txBody>
      </p:sp>
      <p:sp>
        <p:nvSpPr>
          <p:cNvPr id="2" name="Freihandform: Form 12">
            <a:extLst>
              <a:ext uri="{FF2B5EF4-FFF2-40B4-BE49-F238E27FC236}">
                <a16:creationId xmlns:a16="http://schemas.microsoft.com/office/drawing/2014/main" id="{C3AB6889-EC6F-62BD-469A-09ABCA1DEC75}"/>
              </a:ext>
            </a:extLst>
          </p:cNvPr>
          <p:cNvSpPr/>
          <p:nvPr userDrawn="1"/>
        </p:nvSpPr>
        <p:spPr>
          <a:xfrm flipH="1">
            <a:off x="0" y="1975610"/>
            <a:ext cx="9829800" cy="4882390"/>
          </a:xfrm>
          <a:custGeom>
            <a:avLst/>
            <a:gdLst>
              <a:gd name="connsiteX0" fmla="*/ 910059 w 9829800"/>
              <a:gd name="connsiteY0" fmla="*/ 0 h 4882390"/>
              <a:gd name="connsiteX1" fmla="*/ 3015085 w 9829800"/>
              <a:gd name="connsiteY1" fmla="*/ 0 h 4882390"/>
              <a:gd name="connsiteX2" fmla="*/ 7981950 w 9829800"/>
              <a:gd name="connsiteY2" fmla="*/ 0 h 4882390"/>
              <a:gd name="connsiteX3" fmla="*/ 9829800 w 9829800"/>
              <a:gd name="connsiteY3" fmla="*/ 0 h 4882390"/>
              <a:gd name="connsiteX4" fmla="*/ 9829800 w 9829800"/>
              <a:gd name="connsiteY4" fmla="*/ 4882390 h 4882390"/>
              <a:gd name="connsiteX5" fmla="*/ 7981950 w 9829800"/>
              <a:gd name="connsiteY5" fmla="*/ 4882390 h 4882390"/>
              <a:gd name="connsiteX6" fmla="*/ 2183098 w 9829800"/>
              <a:gd name="connsiteY6" fmla="*/ 4882390 h 4882390"/>
              <a:gd name="connsiteX7" fmla="*/ 78072 w 9829800"/>
              <a:gd name="connsiteY7" fmla="*/ 4882390 h 4882390"/>
              <a:gd name="connsiteX8" fmla="*/ 0 w 9829800"/>
              <a:gd name="connsiteY8" fmla="*/ 4804318 h 4882390"/>
              <a:gd name="connsiteX9" fmla="*/ 831987 w 9829800"/>
              <a:gd name="connsiteY9" fmla="*/ 78072 h 4882390"/>
              <a:gd name="connsiteX10" fmla="*/ 910059 w 9829800"/>
              <a:gd name="connsiteY10" fmla="*/ 0 h 4882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829800" h="4882390">
                <a:moveTo>
                  <a:pt x="910059" y="0"/>
                </a:moveTo>
                <a:lnTo>
                  <a:pt x="3015085" y="0"/>
                </a:lnTo>
                <a:lnTo>
                  <a:pt x="7981950" y="0"/>
                </a:lnTo>
                <a:lnTo>
                  <a:pt x="9829800" y="0"/>
                </a:lnTo>
                <a:lnTo>
                  <a:pt x="9829800" y="4882390"/>
                </a:lnTo>
                <a:lnTo>
                  <a:pt x="7981950" y="4882390"/>
                </a:lnTo>
                <a:lnTo>
                  <a:pt x="2183098" y="4882390"/>
                </a:lnTo>
                <a:lnTo>
                  <a:pt x="78072" y="4882390"/>
                </a:lnTo>
                <a:cubicBezTo>
                  <a:pt x="34957" y="4882390"/>
                  <a:pt x="0" y="4847433"/>
                  <a:pt x="0" y="4804318"/>
                </a:cubicBezTo>
                <a:lnTo>
                  <a:pt x="831987" y="78072"/>
                </a:lnTo>
                <a:cubicBezTo>
                  <a:pt x="831987" y="34957"/>
                  <a:pt x="866945" y="0"/>
                  <a:pt x="910059" y="0"/>
                </a:cubicBezTo>
                <a:close/>
              </a:path>
            </a:pathLst>
          </a:custGeom>
          <a:gradFill>
            <a:gsLst>
              <a:gs pos="0">
                <a:schemeClr val="bg1"/>
              </a:gs>
              <a:gs pos="95000">
                <a:srgbClr val="ECF0F4"/>
              </a:gs>
            </a:gsLst>
            <a:lin ang="5400000" scaled="1"/>
          </a:gradFill>
          <a:ln w="11652" cap="flat">
            <a:noFill/>
            <a:prstDash val="solid"/>
            <a:miter/>
          </a:ln>
        </p:spPr>
        <p:txBody>
          <a:bodyPr rtlCol="0" anchor="ctr"/>
          <a:lstStyle/>
          <a:p>
            <a:endParaRPr lang="de-DE"/>
          </a:p>
        </p:txBody>
      </p:sp>
    </p:spTree>
    <p:extLst>
      <p:ext uri="{BB962C8B-B14F-4D97-AF65-F5344CB8AC3E}">
        <p14:creationId xmlns:p14="http://schemas.microsoft.com/office/powerpoint/2010/main" val="131885506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2" name="Rectangle: Diagonal Corners Rounded 1">
            <a:extLst>
              <a:ext uri="{FF2B5EF4-FFF2-40B4-BE49-F238E27FC236}">
                <a16:creationId xmlns:a16="http://schemas.microsoft.com/office/drawing/2014/main" id="{6E595C43-5991-6552-F387-5DE5AFC20901}"/>
              </a:ext>
            </a:extLst>
          </p:cNvPr>
          <p:cNvSpPr/>
          <p:nvPr userDrawn="1"/>
        </p:nvSpPr>
        <p:spPr>
          <a:xfrm>
            <a:off x="812800" y="728662"/>
            <a:ext cx="10566400" cy="5589587"/>
          </a:xfrm>
          <a:prstGeom prst="round2DiagRect">
            <a:avLst>
              <a:gd name="adj1" fmla="val 6783"/>
              <a:gd name="adj2" fmla="val 0"/>
            </a:avLst>
          </a:prstGeom>
          <a:solidFill>
            <a:schemeClr val="accent3">
              <a:lumMod val="40000"/>
              <a:lumOff val="60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1" name="Picture Placeholder 20">
            <a:extLst>
              <a:ext uri="{FF2B5EF4-FFF2-40B4-BE49-F238E27FC236}">
                <a16:creationId xmlns:a16="http://schemas.microsoft.com/office/drawing/2014/main" id="{92263DCA-1DEE-49D2-80CB-CF9032EF06FE}"/>
              </a:ext>
            </a:extLst>
          </p:cNvPr>
          <p:cNvSpPr>
            <a:spLocks noGrp="1"/>
          </p:cNvSpPr>
          <p:nvPr>
            <p:ph type="pic" sz="quarter" idx="13"/>
          </p:nvPr>
        </p:nvSpPr>
        <p:spPr>
          <a:xfrm>
            <a:off x="1514278" y="933450"/>
            <a:ext cx="1438088" cy="1571625"/>
          </a:xfrm>
          <a:custGeom>
            <a:avLst/>
            <a:gdLst>
              <a:gd name="connsiteX0" fmla="*/ 0 w 2876550"/>
              <a:gd name="connsiteY0" fmla="*/ 0 h 3143250"/>
              <a:gd name="connsiteX1" fmla="*/ 2876550 w 2876550"/>
              <a:gd name="connsiteY1" fmla="*/ 0 h 3143250"/>
              <a:gd name="connsiteX2" fmla="*/ 2876550 w 2876550"/>
              <a:gd name="connsiteY2" fmla="*/ 3143250 h 3143250"/>
              <a:gd name="connsiteX3" fmla="*/ 0 w 2876550"/>
              <a:gd name="connsiteY3" fmla="*/ 3143250 h 3143250"/>
            </a:gdLst>
            <a:ahLst/>
            <a:cxnLst>
              <a:cxn ang="0">
                <a:pos x="connsiteX0" y="connsiteY0"/>
              </a:cxn>
              <a:cxn ang="0">
                <a:pos x="connsiteX1" y="connsiteY1"/>
              </a:cxn>
              <a:cxn ang="0">
                <a:pos x="connsiteX2" y="connsiteY2"/>
              </a:cxn>
              <a:cxn ang="0">
                <a:pos x="connsiteX3" y="connsiteY3"/>
              </a:cxn>
            </a:cxnLst>
            <a:rect l="l" t="t" r="r" b="b"/>
            <a:pathLst>
              <a:path w="2876550" h="3143250">
                <a:moveTo>
                  <a:pt x="0" y="0"/>
                </a:moveTo>
                <a:lnTo>
                  <a:pt x="2876550" y="0"/>
                </a:lnTo>
                <a:lnTo>
                  <a:pt x="2876550" y="3143250"/>
                </a:lnTo>
                <a:lnTo>
                  <a:pt x="0" y="3143250"/>
                </a:lnTo>
                <a:close/>
              </a:path>
            </a:pathLst>
          </a:custGeom>
          <a:pattFill prst="pct60">
            <a:fgClr>
              <a:schemeClr val="bg1"/>
            </a:fgClr>
            <a:bgClr>
              <a:schemeClr val="bg1">
                <a:lumMod val="85000"/>
              </a:schemeClr>
            </a:bgClr>
          </a:pattFill>
          <a:effectLst>
            <a:outerShdw blurRad="660400" dist="190500" dir="5400000" algn="t" rotWithShape="0">
              <a:schemeClr val="accent1">
                <a:alpha val="40000"/>
              </a:schemeClr>
            </a:outerShdw>
          </a:effectLst>
        </p:spPr>
        <p:txBody>
          <a:bodyPr wrap="square" anchor="ctr">
            <a:noAutofit/>
          </a:bodyPr>
          <a:lstStyle>
            <a:lvl1pPr marL="0" indent="0" algn="ctr">
              <a:buFontTx/>
              <a:buNone/>
              <a:defRPr sz="1200"/>
            </a:lvl1pPr>
          </a:lstStyle>
          <a:p>
            <a:endParaRPr lang="en-US"/>
          </a:p>
        </p:txBody>
      </p:sp>
      <p:sp>
        <p:nvSpPr>
          <p:cNvPr id="22" name="Picture Placeholder 21">
            <a:extLst>
              <a:ext uri="{FF2B5EF4-FFF2-40B4-BE49-F238E27FC236}">
                <a16:creationId xmlns:a16="http://schemas.microsoft.com/office/drawing/2014/main" id="{743896C4-BC14-436C-ADB0-09DC41D72F17}"/>
              </a:ext>
            </a:extLst>
          </p:cNvPr>
          <p:cNvSpPr>
            <a:spLocks noGrp="1"/>
          </p:cNvSpPr>
          <p:nvPr>
            <p:ph type="pic" sz="quarter" idx="14"/>
          </p:nvPr>
        </p:nvSpPr>
        <p:spPr>
          <a:xfrm>
            <a:off x="4089397" y="933450"/>
            <a:ext cx="1438088" cy="1571625"/>
          </a:xfrm>
          <a:custGeom>
            <a:avLst/>
            <a:gdLst>
              <a:gd name="connsiteX0" fmla="*/ 0 w 2876550"/>
              <a:gd name="connsiteY0" fmla="*/ 0 h 3143250"/>
              <a:gd name="connsiteX1" fmla="*/ 2876550 w 2876550"/>
              <a:gd name="connsiteY1" fmla="*/ 0 h 3143250"/>
              <a:gd name="connsiteX2" fmla="*/ 2876550 w 2876550"/>
              <a:gd name="connsiteY2" fmla="*/ 3143250 h 3143250"/>
              <a:gd name="connsiteX3" fmla="*/ 0 w 2876550"/>
              <a:gd name="connsiteY3" fmla="*/ 3143250 h 3143250"/>
            </a:gdLst>
            <a:ahLst/>
            <a:cxnLst>
              <a:cxn ang="0">
                <a:pos x="connsiteX0" y="connsiteY0"/>
              </a:cxn>
              <a:cxn ang="0">
                <a:pos x="connsiteX1" y="connsiteY1"/>
              </a:cxn>
              <a:cxn ang="0">
                <a:pos x="connsiteX2" y="connsiteY2"/>
              </a:cxn>
              <a:cxn ang="0">
                <a:pos x="connsiteX3" y="connsiteY3"/>
              </a:cxn>
            </a:cxnLst>
            <a:rect l="l" t="t" r="r" b="b"/>
            <a:pathLst>
              <a:path w="2876550" h="3143250">
                <a:moveTo>
                  <a:pt x="0" y="0"/>
                </a:moveTo>
                <a:lnTo>
                  <a:pt x="2876550" y="0"/>
                </a:lnTo>
                <a:lnTo>
                  <a:pt x="2876550" y="3143250"/>
                </a:lnTo>
                <a:lnTo>
                  <a:pt x="0" y="3143250"/>
                </a:lnTo>
                <a:close/>
              </a:path>
            </a:pathLst>
          </a:custGeom>
          <a:pattFill prst="pct60">
            <a:fgClr>
              <a:schemeClr val="bg1"/>
            </a:fgClr>
            <a:bgClr>
              <a:schemeClr val="bg1">
                <a:lumMod val="85000"/>
              </a:schemeClr>
            </a:bgClr>
          </a:pattFill>
          <a:effectLst>
            <a:outerShdw blurRad="660400" dist="190500" dir="5400000" algn="t" rotWithShape="0">
              <a:schemeClr val="accent1">
                <a:alpha val="40000"/>
              </a:schemeClr>
            </a:outerShdw>
          </a:effectLst>
        </p:spPr>
        <p:txBody>
          <a:bodyPr wrap="square" anchor="ctr">
            <a:noAutofit/>
          </a:bodyPr>
          <a:lstStyle>
            <a:lvl1pPr marL="0" indent="0" algn="ctr">
              <a:buFontTx/>
              <a:buNone/>
              <a:defRPr sz="1200"/>
            </a:lvl1pPr>
          </a:lstStyle>
          <a:p>
            <a:endParaRPr lang="en-US"/>
          </a:p>
        </p:txBody>
      </p:sp>
      <p:sp>
        <p:nvSpPr>
          <p:cNvPr id="23" name="Picture Placeholder 22">
            <a:extLst>
              <a:ext uri="{FF2B5EF4-FFF2-40B4-BE49-F238E27FC236}">
                <a16:creationId xmlns:a16="http://schemas.microsoft.com/office/drawing/2014/main" id="{0A1AA56A-4341-4938-9A18-9B4699C88FDC}"/>
              </a:ext>
            </a:extLst>
          </p:cNvPr>
          <p:cNvSpPr>
            <a:spLocks noGrp="1"/>
          </p:cNvSpPr>
          <p:nvPr>
            <p:ph type="pic" sz="quarter" idx="15"/>
          </p:nvPr>
        </p:nvSpPr>
        <p:spPr>
          <a:xfrm>
            <a:off x="6664516" y="933450"/>
            <a:ext cx="1438088" cy="1571625"/>
          </a:xfrm>
          <a:custGeom>
            <a:avLst/>
            <a:gdLst>
              <a:gd name="connsiteX0" fmla="*/ 0 w 2876550"/>
              <a:gd name="connsiteY0" fmla="*/ 0 h 3143250"/>
              <a:gd name="connsiteX1" fmla="*/ 2876550 w 2876550"/>
              <a:gd name="connsiteY1" fmla="*/ 0 h 3143250"/>
              <a:gd name="connsiteX2" fmla="*/ 2876550 w 2876550"/>
              <a:gd name="connsiteY2" fmla="*/ 3143250 h 3143250"/>
              <a:gd name="connsiteX3" fmla="*/ 0 w 2876550"/>
              <a:gd name="connsiteY3" fmla="*/ 3143250 h 3143250"/>
            </a:gdLst>
            <a:ahLst/>
            <a:cxnLst>
              <a:cxn ang="0">
                <a:pos x="connsiteX0" y="connsiteY0"/>
              </a:cxn>
              <a:cxn ang="0">
                <a:pos x="connsiteX1" y="connsiteY1"/>
              </a:cxn>
              <a:cxn ang="0">
                <a:pos x="connsiteX2" y="connsiteY2"/>
              </a:cxn>
              <a:cxn ang="0">
                <a:pos x="connsiteX3" y="connsiteY3"/>
              </a:cxn>
            </a:cxnLst>
            <a:rect l="l" t="t" r="r" b="b"/>
            <a:pathLst>
              <a:path w="2876550" h="3143250">
                <a:moveTo>
                  <a:pt x="0" y="0"/>
                </a:moveTo>
                <a:lnTo>
                  <a:pt x="2876550" y="0"/>
                </a:lnTo>
                <a:lnTo>
                  <a:pt x="2876550" y="3143250"/>
                </a:lnTo>
                <a:lnTo>
                  <a:pt x="0" y="3143250"/>
                </a:lnTo>
                <a:close/>
              </a:path>
            </a:pathLst>
          </a:custGeom>
          <a:pattFill prst="pct60">
            <a:fgClr>
              <a:schemeClr val="bg1"/>
            </a:fgClr>
            <a:bgClr>
              <a:schemeClr val="bg1">
                <a:lumMod val="85000"/>
              </a:schemeClr>
            </a:bgClr>
          </a:pattFill>
          <a:effectLst>
            <a:outerShdw blurRad="660400" dist="190500" dir="5400000" algn="t" rotWithShape="0">
              <a:schemeClr val="accent1">
                <a:alpha val="40000"/>
              </a:schemeClr>
            </a:outerShdw>
          </a:effectLst>
        </p:spPr>
        <p:txBody>
          <a:bodyPr wrap="square" anchor="ctr">
            <a:noAutofit/>
          </a:bodyPr>
          <a:lstStyle>
            <a:lvl1pPr marL="0" indent="0" algn="ctr">
              <a:buFontTx/>
              <a:buNone/>
              <a:defRPr sz="1200"/>
            </a:lvl1pPr>
          </a:lstStyle>
          <a:p>
            <a:endParaRPr lang="en-US"/>
          </a:p>
        </p:txBody>
      </p:sp>
      <p:sp>
        <p:nvSpPr>
          <p:cNvPr id="24" name="Picture Placeholder 23">
            <a:extLst>
              <a:ext uri="{FF2B5EF4-FFF2-40B4-BE49-F238E27FC236}">
                <a16:creationId xmlns:a16="http://schemas.microsoft.com/office/drawing/2014/main" id="{DAF6D4B1-9881-4261-92C1-B717CE6B512B}"/>
              </a:ext>
            </a:extLst>
          </p:cNvPr>
          <p:cNvSpPr>
            <a:spLocks noGrp="1"/>
          </p:cNvSpPr>
          <p:nvPr>
            <p:ph type="pic" sz="quarter" idx="16"/>
          </p:nvPr>
        </p:nvSpPr>
        <p:spPr>
          <a:xfrm>
            <a:off x="9239635" y="933450"/>
            <a:ext cx="1438088" cy="1571625"/>
          </a:xfrm>
          <a:custGeom>
            <a:avLst/>
            <a:gdLst>
              <a:gd name="connsiteX0" fmla="*/ 0 w 2876550"/>
              <a:gd name="connsiteY0" fmla="*/ 0 h 3143250"/>
              <a:gd name="connsiteX1" fmla="*/ 2876550 w 2876550"/>
              <a:gd name="connsiteY1" fmla="*/ 0 h 3143250"/>
              <a:gd name="connsiteX2" fmla="*/ 2876550 w 2876550"/>
              <a:gd name="connsiteY2" fmla="*/ 3143250 h 3143250"/>
              <a:gd name="connsiteX3" fmla="*/ 0 w 2876550"/>
              <a:gd name="connsiteY3" fmla="*/ 3143250 h 3143250"/>
            </a:gdLst>
            <a:ahLst/>
            <a:cxnLst>
              <a:cxn ang="0">
                <a:pos x="connsiteX0" y="connsiteY0"/>
              </a:cxn>
              <a:cxn ang="0">
                <a:pos x="connsiteX1" y="connsiteY1"/>
              </a:cxn>
              <a:cxn ang="0">
                <a:pos x="connsiteX2" y="connsiteY2"/>
              </a:cxn>
              <a:cxn ang="0">
                <a:pos x="connsiteX3" y="connsiteY3"/>
              </a:cxn>
            </a:cxnLst>
            <a:rect l="l" t="t" r="r" b="b"/>
            <a:pathLst>
              <a:path w="2876550" h="3143250">
                <a:moveTo>
                  <a:pt x="0" y="0"/>
                </a:moveTo>
                <a:lnTo>
                  <a:pt x="2876550" y="0"/>
                </a:lnTo>
                <a:lnTo>
                  <a:pt x="2876550" y="3143250"/>
                </a:lnTo>
                <a:lnTo>
                  <a:pt x="0" y="3143250"/>
                </a:lnTo>
                <a:close/>
              </a:path>
            </a:pathLst>
          </a:custGeom>
          <a:pattFill prst="pct60">
            <a:fgClr>
              <a:schemeClr val="bg1"/>
            </a:fgClr>
            <a:bgClr>
              <a:schemeClr val="bg1">
                <a:lumMod val="85000"/>
              </a:schemeClr>
            </a:bgClr>
          </a:pattFill>
          <a:effectLst>
            <a:outerShdw blurRad="660400" dist="190500" dir="5400000" algn="t" rotWithShape="0">
              <a:schemeClr val="accent1">
                <a:alpha val="40000"/>
              </a:schemeClr>
            </a:outerShdw>
          </a:effectLst>
        </p:spPr>
        <p:txBody>
          <a:bodyPr wrap="square" anchor="ctr">
            <a:noAutofit/>
          </a:bodyPr>
          <a:lstStyle>
            <a:lvl1pPr marL="0" indent="0" algn="ctr">
              <a:buFontTx/>
              <a:buNone/>
              <a:defRPr sz="1200"/>
            </a:lvl1pPr>
          </a:lstStyle>
          <a:p>
            <a:endParaRPr lang="en-US"/>
          </a:p>
        </p:txBody>
      </p:sp>
      <p:sp>
        <p:nvSpPr>
          <p:cNvPr id="25" name="Picture Placeholder 24">
            <a:extLst>
              <a:ext uri="{FF2B5EF4-FFF2-40B4-BE49-F238E27FC236}">
                <a16:creationId xmlns:a16="http://schemas.microsoft.com/office/drawing/2014/main" id="{4E6DD8C9-03BB-49E3-A9B8-A0EFEABFBD22}"/>
              </a:ext>
            </a:extLst>
          </p:cNvPr>
          <p:cNvSpPr>
            <a:spLocks noGrp="1"/>
          </p:cNvSpPr>
          <p:nvPr>
            <p:ph type="pic" sz="quarter" idx="17"/>
          </p:nvPr>
        </p:nvSpPr>
        <p:spPr>
          <a:xfrm>
            <a:off x="1514278" y="3714750"/>
            <a:ext cx="1438088" cy="1571625"/>
          </a:xfrm>
          <a:custGeom>
            <a:avLst/>
            <a:gdLst>
              <a:gd name="connsiteX0" fmla="*/ 0 w 2876550"/>
              <a:gd name="connsiteY0" fmla="*/ 0 h 3143250"/>
              <a:gd name="connsiteX1" fmla="*/ 2876550 w 2876550"/>
              <a:gd name="connsiteY1" fmla="*/ 0 h 3143250"/>
              <a:gd name="connsiteX2" fmla="*/ 2876550 w 2876550"/>
              <a:gd name="connsiteY2" fmla="*/ 3143250 h 3143250"/>
              <a:gd name="connsiteX3" fmla="*/ 0 w 2876550"/>
              <a:gd name="connsiteY3" fmla="*/ 3143250 h 3143250"/>
            </a:gdLst>
            <a:ahLst/>
            <a:cxnLst>
              <a:cxn ang="0">
                <a:pos x="connsiteX0" y="connsiteY0"/>
              </a:cxn>
              <a:cxn ang="0">
                <a:pos x="connsiteX1" y="connsiteY1"/>
              </a:cxn>
              <a:cxn ang="0">
                <a:pos x="connsiteX2" y="connsiteY2"/>
              </a:cxn>
              <a:cxn ang="0">
                <a:pos x="connsiteX3" y="connsiteY3"/>
              </a:cxn>
            </a:cxnLst>
            <a:rect l="l" t="t" r="r" b="b"/>
            <a:pathLst>
              <a:path w="2876550" h="3143250">
                <a:moveTo>
                  <a:pt x="0" y="0"/>
                </a:moveTo>
                <a:lnTo>
                  <a:pt x="2876550" y="0"/>
                </a:lnTo>
                <a:lnTo>
                  <a:pt x="2876550" y="3143250"/>
                </a:lnTo>
                <a:lnTo>
                  <a:pt x="0" y="3143250"/>
                </a:lnTo>
                <a:close/>
              </a:path>
            </a:pathLst>
          </a:custGeom>
          <a:pattFill prst="pct60">
            <a:fgClr>
              <a:schemeClr val="bg1"/>
            </a:fgClr>
            <a:bgClr>
              <a:schemeClr val="bg1">
                <a:lumMod val="85000"/>
              </a:schemeClr>
            </a:bgClr>
          </a:pattFill>
          <a:effectLst>
            <a:outerShdw blurRad="660400" dist="190500" dir="5400000" algn="t" rotWithShape="0">
              <a:schemeClr val="accent1">
                <a:alpha val="40000"/>
              </a:schemeClr>
            </a:outerShdw>
          </a:effectLst>
        </p:spPr>
        <p:txBody>
          <a:bodyPr wrap="square" anchor="ctr">
            <a:noAutofit/>
          </a:bodyPr>
          <a:lstStyle>
            <a:lvl1pPr marL="0" indent="0" algn="ctr">
              <a:buFontTx/>
              <a:buNone/>
              <a:defRPr sz="1200"/>
            </a:lvl1pPr>
          </a:lstStyle>
          <a:p>
            <a:endParaRPr lang="en-US"/>
          </a:p>
        </p:txBody>
      </p:sp>
      <p:sp>
        <p:nvSpPr>
          <p:cNvPr id="26" name="Picture Placeholder 25">
            <a:extLst>
              <a:ext uri="{FF2B5EF4-FFF2-40B4-BE49-F238E27FC236}">
                <a16:creationId xmlns:a16="http://schemas.microsoft.com/office/drawing/2014/main" id="{DFAB2594-68AE-46A3-9D9A-148C9A705C00}"/>
              </a:ext>
            </a:extLst>
          </p:cNvPr>
          <p:cNvSpPr>
            <a:spLocks noGrp="1"/>
          </p:cNvSpPr>
          <p:nvPr>
            <p:ph type="pic" sz="quarter" idx="18"/>
          </p:nvPr>
        </p:nvSpPr>
        <p:spPr>
          <a:xfrm>
            <a:off x="4089397" y="3714750"/>
            <a:ext cx="1438088" cy="1571625"/>
          </a:xfrm>
          <a:custGeom>
            <a:avLst/>
            <a:gdLst>
              <a:gd name="connsiteX0" fmla="*/ 0 w 2876550"/>
              <a:gd name="connsiteY0" fmla="*/ 0 h 3143250"/>
              <a:gd name="connsiteX1" fmla="*/ 2876550 w 2876550"/>
              <a:gd name="connsiteY1" fmla="*/ 0 h 3143250"/>
              <a:gd name="connsiteX2" fmla="*/ 2876550 w 2876550"/>
              <a:gd name="connsiteY2" fmla="*/ 3143250 h 3143250"/>
              <a:gd name="connsiteX3" fmla="*/ 0 w 2876550"/>
              <a:gd name="connsiteY3" fmla="*/ 3143250 h 3143250"/>
            </a:gdLst>
            <a:ahLst/>
            <a:cxnLst>
              <a:cxn ang="0">
                <a:pos x="connsiteX0" y="connsiteY0"/>
              </a:cxn>
              <a:cxn ang="0">
                <a:pos x="connsiteX1" y="connsiteY1"/>
              </a:cxn>
              <a:cxn ang="0">
                <a:pos x="connsiteX2" y="connsiteY2"/>
              </a:cxn>
              <a:cxn ang="0">
                <a:pos x="connsiteX3" y="connsiteY3"/>
              </a:cxn>
            </a:cxnLst>
            <a:rect l="l" t="t" r="r" b="b"/>
            <a:pathLst>
              <a:path w="2876550" h="3143250">
                <a:moveTo>
                  <a:pt x="0" y="0"/>
                </a:moveTo>
                <a:lnTo>
                  <a:pt x="2876550" y="0"/>
                </a:lnTo>
                <a:lnTo>
                  <a:pt x="2876550" y="3143250"/>
                </a:lnTo>
                <a:lnTo>
                  <a:pt x="0" y="3143250"/>
                </a:lnTo>
                <a:close/>
              </a:path>
            </a:pathLst>
          </a:custGeom>
          <a:pattFill prst="pct60">
            <a:fgClr>
              <a:schemeClr val="bg1"/>
            </a:fgClr>
            <a:bgClr>
              <a:schemeClr val="bg1">
                <a:lumMod val="85000"/>
              </a:schemeClr>
            </a:bgClr>
          </a:pattFill>
          <a:effectLst>
            <a:outerShdw blurRad="660400" dist="190500" dir="5400000" algn="t" rotWithShape="0">
              <a:schemeClr val="accent1">
                <a:alpha val="40000"/>
              </a:schemeClr>
            </a:outerShdw>
          </a:effectLst>
        </p:spPr>
        <p:txBody>
          <a:bodyPr wrap="square" anchor="ctr">
            <a:noAutofit/>
          </a:bodyPr>
          <a:lstStyle>
            <a:lvl1pPr marL="0" indent="0" algn="ctr">
              <a:buFontTx/>
              <a:buNone/>
              <a:defRPr sz="1200"/>
            </a:lvl1pPr>
          </a:lstStyle>
          <a:p>
            <a:endParaRPr lang="en-US"/>
          </a:p>
        </p:txBody>
      </p:sp>
      <p:sp>
        <p:nvSpPr>
          <p:cNvPr id="27" name="Picture Placeholder 26">
            <a:extLst>
              <a:ext uri="{FF2B5EF4-FFF2-40B4-BE49-F238E27FC236}">
                <a16:creationId xmlns:a16="http://schemas.microsoft.com/office/drawing/2014/main" id="{5DF9FA7A-DB60-4682-8CAB-2AC84C80FAD2}"/>
              </a:ext>
            </a:extLst>
          </p:cNvPr>
          <p:cNvSpPr>
            <a:spLocks noGrp="1"/>
          </p:cNvSpPr>
          <p:nvPr>
            <p:ph type="pic" sz="quarter" idx="19"/>
          </p:nvPr>
        </p:nvSpPr>
        <p:spPr>
          <a:xfrm>
            <a:off x="6664516" y="3714750"/>
            <a:ext cx="1438088" cy="1571625"/>
          </a:xfrm>
          <a:custGeom>
            <a:avLst/>
            <a:gdLst>
              <a:gd name="connsiteX0" fmla="*/ 0 w 2876550"/>
              <a:gd name="connsiteY0" fmla="*/ 0 h 3143250"/>
              <a:gd name="connsiteX1" fmla="*/ 2876550 w 2876550"/>
              <a:gd name="connsiteY1" fmla="*/ 0 h 3143250"/>
              <a:gd name="connsiteX2" fmla="*/ 2876550 w 2876550"/>
              <a:gd name="connsiteY2" fmla="*/ 3143250 h 3143250"/>
              <a:gd name="connsiteX3" fmla="*/ 0 w 2876550"/>
              <a:gd name="connsiteY3" fmla="*/ 3143250 h 3143250"/>
            </a:gdLst>
            <a:ahLst/>
            <a:cxnLst>
              <a:cxn ang="0">
                <a:pos x="connsiteX0" y="connsiteY0"/>
              </a:cxn>
              <a:cxn ang="0">
                <a:pos x="connsiteX1" y="connsiteY1"/>
              </a:cxn>
              <a:cxn ang="0">
                <a:pos x="connsiteX2" y="connsiteY2"/>
              </a:cxn>
              <a:cxn ang="0">
                <a:pos x="connsiteX3" y="connsiteY3"/>
              </a:cxn>
            </a:cxnLst>
            <a:rect l="l" t="t" r="r" b="b"/>
            <a:pathLst>
              <a:path w="2876550" h="3143250">
                <a:moveTo>
                  <a:pt x="0" y="0"/>
                </a:moveTo>
                <a:lnTo>
                  <a:pt x="2876550" y="0"/>
                </a:lnTo>
                <a:lnTo>
                  <a:pt x="2876550" y="3143250"/>
                </a:lnTo>
                <a:lnTo>
                  <a:pt x="0" y="3143250"/>
                </a:lnTo>
                <a:close/>
              </a:path>
            </a:pathLst>
          </a:custGeom>
          <a:pattFill prst="pct60">
            <a:fgClr>
              <a:schemeClr val="bg1"/>
            </a:fgClr>
            <a:bgClr>
              <a:schemeClr val="bg1">
                <a:lumMod val="85000"/>
              </a:schemeClr>
            </a:bgClr>
          </a:pattFill>
          <a:effectLst>
            <a:outerShdw blurRad="660400" dist="190500" dir="5400000" algn="t" rotWithShape="0">
              <a:schemeClr val="accent1">
                <a:alpha val="40000"/>
              </a:schemeClr>
            </a:outerShdw>
          </a:effectLst>
        </p:spPr>
        <p:txBody>
          <a:bodyPr wrap="square" anchor="ctr">
            <a:noAutofit/>
          </a:bodyPr>
          <a:lstStyle>
            <a:lvl1pPr marL="0" indent="0" algn="ctr">
              <a:buFontTx/>
              <a:buNone/>
              <a:defRPr sz="1200"/>
            </a:lvl1pPr>
          </a:lstStyle>
          <a:p>
            <a:endParaRPr lang="en-US"/>
          </a:p>
        </p:txBody>
      </p:sp>
      <p:sp>
        <p:nvSpPr>
          <p:cNvPr id="28" name="Picture Placeholder 27">
            <a:extLst>
              <a:ext uri="{FF2B5EF4-FFF2-40B4-BE49-F238E27FC236}">
                <a16:creationId xmlns:a16="http://schemas.microsoft.com/office/drawing/2014/main" id="{16669351-C444-4EC3-976D-DAFD767ED96C}"/>
              </a:ext>
            </a:extLst>
          </p:cNvPr>
          <p:cNvSpPr>
            <a:spLocks noGrp="1"/>
          </p:cNvSpPr>
          <p:nvPr>
            <p:ph type="pic" sz="quarter" idx="20"/>
          </p:nvPr>
        </p:nvSpPr>
        <p:spPr>
          <a:xfrm>
            <a:off x="9239635" y="3714750"/>
            <a:ext cx="1438088" cy="1571625"/>
          </a:xfrm>
          <a:custGeom>
            <a:avLst/>
            <a:gdLst>
              <a:gd name="connsiteX0" fmla="*/ 0 w 2876550"/>
              <a:gd name="connsiteY0" fmla="*/ 0 h 3143250"/>
              <a:gd name="connsiteX1" fmla="*/ 2876550 w 2876550"/>
              <a:gd name="connsiteY1" fmla="*/ 0 h 3143250"/>
              <a:gd name="connsiteX2" fmla="*/ 2876550 w 2876550"/>
              <a:gd name="connsiteY2" fmla="*/ 3143250 h 3143250"/>
              <a:gd name="connsiteX3" fmla="*/ 0 w 2876550"/>
              <a:gd name="connsiteY3" fmla="*/ 3143250 h 3143250"/>
            </a:gdLst>
            <a:ahLst/>
            <a:cxnLst>
              <a:cxn ang="0">
                <a:pos x="connsiteX0" y="connsiteY0"/>
              </a:cxn>
              <a:cxn ang="0">
                <a:pos x="connsiteX1" y="connsiteY1"/>
              </a:cxn>
              <a:cxn ang="0">
                <a:pos x="connsiteX2" y="connsiteY2"/>
              </a:cxn>
              <a:cxn ang="0">
                <a:pos x="connsiteX3" y="connsiteY3"/>
              </a:cxn>
            </a:cxnLst>
            <a:rect l="l" t="t" r="r" b="b"/>
            <a:pathLst>
              <a:path w="2876550" h="3143250">
                <a:moveTo>
                  <a:pt x="0" y="0"/>
                </a:moveTo>
                <a:lnTo>
                  <a:pt x="2876550" y="0"/>
                </a:lnTo>
                <a:lnTo>
                  <a:pt x="2876550" y="3143250"/>
                </a:lnTo>
                <a:lnTo>
                  <a:pt x="0" y="3143250"/>
                </a:lnTo>
                <a:close/>
              </a:path>
            </a:pathLst>
          </a:custGeom>
          <a:pattFill prst="pct60">
            <a:fgClr>
              <a:schemeClr val="bg1"/>
            </a:fgClr>
            <a:bgClr>
              <a:schemeClr val="bg1">
                <a:lumMod val="85000"/>
              </a:schemeClr>
            </a:bgClr>
          </a:pattFill>
          <a:effectLst>
            <a:outerShdw blurRad="660400" dist="190500" dir="5400000" algn="t" rotWithShape="0">
              <a:schemeClr val="accent1">
                <a:alpha val="40000"/>
              </a:schemeClr>
            </a:outerShdw>
          </a:effectLst>
        </p:spPr>
        <p:txBody>
          <a:bodyPr wrap="square" anchor="ctr">
            <a:noAutofit/>
          </a:bodyPr>
          <a:lstStyle>
            <a:lvl1pPr marL="0" indent="0" algn="ctr">
              <a:buFontTx/>
              <a:buNone/>
              <a:defRPr sz="1200"/>
            </a:lvl1pPr>
          </a:lstStyle>
          <a:p>
            <a:endParaRPr lang="en-US"/>
          </a:p>
        </p:txBody>
      </p:sp>
    </p:spTree>
    <p:extLst>
      <p:ext uri="{BB962C8B-B14F-4D97-AF65-F5344CB8AC3E}">
        <p14:creationId xmlns:p14="http://schemas.microsoft.com/office/powerpoint/2010/main" val="3124968562"/>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2" dur="1000" decel="100000" fill="hold" grpId="0" nodeType="withEffect">
                                  <p:stCondLst>
                                    <p:cond delay="0"/>
                                  </p:stCondLst>
                                  <p:childTnLst>
                                    <p:set>
                                      <p:cBhvr>
                                        <p:cTn id="6" dur="1" fill="hold">
                                          <p:stCondLst>
                                            <p:cond delay="0"/>
                                          </p:stCondLst>
                                        </p:cTn>
                                        <p:tgtEl>
                                          <p:spTgt spid="21"/>
                                        </p:tgtEl>
                                        <p:attrNameLst>
                                          <p:attrName>style.visibility</p:attrName>
                                        </p:attrNameLst>
                                      </p:cBhvr>
                                      <p:to>
                                        <p:strVal val="visible"/>
                                      </p:to>
                                    </p:set>
                                    <p:anim calcmode="lin" valueType="num">
                                      <p:cBhvr additive="base">
                                        <p:cTn id="7" dur="1000" fill="hold"/>
                                        <p:tgtEl>
                                          <p:spTgt spid="21"/>
                                        </p:tgtEl>
                                        <p:attrNameLst>
                                          <p:attrName>ppt_x</p:attrName>
                                        </p:attrNameLst>
                                      </p:cBhvr>
                                      <p:tavLst>
                                        <p:tav tm="0">
                                          <p:val>
                                            <p:strVal val="1+#ppt_w/2"/>
                                          </p:val>
                                        </p:tav>
                                        <p:tav tm="100000">
                                          <p:val>
                                            <p:strVal val="#ppt_x"/>
                                          </p:val>
                                        </p:tav>
                                      </p:tavLst>
                                    </p:anim>
                                    <p:anim calcmode="lin" valueType="num">
                                      <p:cBhvr additive="base">
                                        <p:cTn id="8" dur="1000" fill="hold"/>
                                        <p:tgtEl>
                                          <p:spTgt spid="21"/>
                                        </p:tgtEl>
                                        <p:attrNameLst>
                                          <p:attrName>ppt_y</p:attrName>
                                        </p:attrNameLst>
                                      </p:cBhvr>
                                      <p:tavLst>
                                        <p:tav tm="0">
                                          <p:val>
                                            <p:strVal val="#ppt_y"/>
                                          </p:val>
                                        </p:tav>
                                        <p:tav tm="100000">
                                          <p:val>
                                            <p:strVal val="#ppt_y"/>
                                          </p:val>
                                        </p:tav>
                                      </p:tavLst>
                                    </p:anim>
                                  </p:childTnLst>
                                </p:cTn>
                              </p:par>
                              <p:par>
                                <p:cTn id="9" presetID="2" presetClass="entr" presetSubtype="2" dur="1000" decel="100000" fill="hold" grpId="0" nodeType="withEffect">
                                  <p:stCondLst>
                                    <p:cond delay="100"/>
                                  </p:stCondLst>
                                  <p:childTnLst>
                                    <p:set>
                                      <p:cBhvr>
                                        <p:cTn id="10" dur="1" fill="hold">
                                          <p:stCondLst>
                                            <p:cond delay="0"/>
                                          </p:stCondLst>
                                        </p:cTn>
                                        <p:tgtEl>
                                          <p:spTgt spid="22"/>
                                        </p:tgtEl>
                                        <p:attrNameLst>
                                          <p:attrName>style.visibility</p:attrName>
                                        </p:attrNameLst>
                                      </p:cBhvr>
                                      <p:to>
                                        <p:strVal val="visible"/>
                                      </p:to>
                                    </p:set>
                                    <p:anim calcmode="lin" valueType="num">
                                      <p:cBhvr additive="base">
                                        <p:cTn id="11" dur="1000" fill="hold"/>
                                        <p:tgtEl>
                                          <p:spTgt spid="22"/>
                                        </p:tgtEl>
                                        <p:attrNameLst>
                                          <p:attrName>ppt_x</p:attrName>
                                        </p:attrNameLst>
                                      </p:cBhvr>
                                      <p:tavLst>
                                        <p:tav tm="0">
                                          <p:val>
                                            <p:strVal val="1+#ppt_w/2"/>
                                          </p:val>
                                        </p:tav>
                                        <p:tav tm="100000">
                                          <p:val>
                                            <p:strVal val="#ppt_x"/>
                                          </p:val>
                                        </p:tav>
                                      </p:tavLst>
                                    </p:anim>
                                    <p:anim calcmode="lin" valueType="num">
                                      <p:cBhvr additive="base">
                                        <p:cTn id="12" dur="1000" fill="hold"/>
                                        <p:tgtEl>
                                          <p:spTgt spid="22"/>
                                        </p:tgtEl>
                                        <p:attrNameLst>
                                          <p:attrName>ppt_y</p:attrName>
                                        </p:attrNameLst>
                                      </p:cBhvr>
                                      <p:tavLst>
                                        <p:tav tm="0">
                                          <p:val>
                                            <p:strVal val="#ppt_y"/>
                                          </p:val>
                                        </p:tav>
                                        <p:tav tm="100000">
                                          <p:val>
                                            <p:strVal val="#ppt_y"/>
                                          </p:val>
                                        </p:tav>
                                      </p:tavLst>
                                    </p:anim>
                                  </p:childTnLst>
                                </p:cTn>
                              </p:par>
                              <p:par>
                                <p:cTn id="13" presetID="2" presetClass="entr" presetSubtype="2" dur="1000" decel="100000" fill="hold" grpId="0" nodeType="withEffect">
                                  <p:stCondLst>
                                    <p:cond delay="200"/>
                                  </p:stCondLst>
                                  <p:childTnLst>
                                    <p:set>
                                      <p:cBhvr>
                                        <p:cTn id="14" dur="1" fill="hold">
                                          <p:stCondLst>
                                            <p:cond delay="0"/>
                                          </p:stCondLst>
                                        </p:cTn>
                                        <p:tgtEl>
                                          <p:spTgt spid="23"/>
                                        </p:tgtEl>
                                        <p:attrNameLst>
                                          <p:attrName>style.visibility</p:attrName>
                                        </p:attrNameLst>
                                      </p:cBhvr>
                                      <p:to>
                                        <p:strVal val="visible"/>
                                      </p:to>
                                    </p:set>
                                    <p:anim calcmode="lin" valueType="num">
                                      <p:cBhvr additive="base">
                                        <p:cTn id="15" dur="1000" fill="hold"/>
                                        <p:tgtEl>
                                          <p:spTgt spid="23"/>
                                        </p:tgtEl>
                                        <p:attrNameLst>
                                          <p:attrName>ppt_x</p:attrName>
                                        </p:attrNameLst>
                                      </p:cBhvr>
                                      <p:tavLst>
                                        <p:tav tm="0">
                                          <p:val>
                                            <p:strVal val="1+#ppt_w/2"/>
                                          </p:val>
                                        </p:tav>
                                        <p:tav tm="100000">
                                          <p:val>
                                            <p:strVal val="#ppt_x"/>
                                          </p:val>
                                        </p:tav>
                                      </p:tavLst>
                                    </p:anim>
                                    <p:anim calcmode="lin" valueType="num">
                                      <p:cBhvr additive="base">
                                        <p:cTn id="16" dur="1000" fill="hold"/>
                                        <p:tgtEl>
                                          <p:spTgt spid="23"/>
                                        </p:tgtEl>
                                        <p:attrNameLst>
                                          <p:attrName>ppt_y</p:attrName>
                                        </p:attrNameLst>
                                      </p:cBhvr>
                                      <p:tavLst>
                                        <p:tav tm="0">
                                          <p:val>
                                            <p:strVal val="#ppt_y"/>
                                          </p:val>
                                        </p:tav>
                                        <p:tav tm="100000">
                                          <p:val>
                                            <p:strVal val="#ppt_y"/>
                                          </p:val>
                                        </p:tav>
                                      </p:tavLst>
                                    </p:anim>
                                  </p:childTnLst>
                                </p:cTn>
                              </p:par>
                              <p:par>
                                <p:cTn id="17" presetID="2" presetClass="entr" presetSubtype="2" dur="1000" decel="100000" fill="hold" grpId="0" nodeType="withEffect">
                                  <p:stCondLst>
                                    <p:cond delay="300"/>
                                  </p:stCondLst>
                                  <p:childTnLst>
                                    <p:set>
                                      <p:cBhvr>
                                        <p:cTn id="18" dur="1" fill="hold">
                                          <p:stCondLst>
                                            <p:cond delay="0"/>
                                          </p:stCondLst>
                                        </p:cTn>
                                        <p:tgtEl>
                                          <p:spTgt spid="24"/>
                                        </p:tgtEl>
                                        <p:attrNameLst>
                                          <p:attrName>style.visibility</p:attrName>
                                        </p:attrNameLst>
                                      </p:cBhvr>
                                      <p:to>
                                        <p:strVal val="visible"/>
                                      </p:to>
                                    </p:set>
                                    <p:anim calcmode="lin" valueType="num">
                                      <p:cBhvr additive="base">
                                        <p:cTn id="19" dur="1000" fill="hold"/>
                                        <p:tgtEl>
                                          <p:spTgt spid="24"/>
                                        </p:tgtEl>
                                        <p:attrNameLst>
                                          <p:attrName>ppt_x</p:attrName>
                                        </p:attrNameLst>
                                      </p:cBhvr>
                                      <p:tavLst>
                                        <p:tav tm="0">
                                          <p:val>
                                            <p:strVal val="1+#ppt_w/2"/>
                                          </p:val>
                                        </p:tav>
                                        <p:tav tm="100000">
                                          <p:val>
                                            <p:strVal val="#ppt_x"/>
                                          </p:val>
                                        </p:tav>
                                      </p:tavLst>
                                    </p:anim>
                                    <p:anim calcmode="lin" valueType="num">
                                      <p:cBhvr additive="base">
                                        <p:cTn id="20" dur="1000" fill="hold"/>
                                        <p:tgtEl>
                                          <p:spTgt spid="24"/>
                                        </p:tgtEl>
                                        <p:attrNameLst>
                                          <p:attrName>ppt_y</p:attrName>
                                        </p:attrNameLst>
                                      </p:cBhvr>
                                      <p:tavLst>
                                        <p:tav tm="0">
                                          <p:val>
                                            <p:strVal val="#ppt_y"/>
                                          </p:val>
                                        </p:tav>
                                        <p:tav tm="100000">
                                          <p:val>
                                            <p:strVal val="#ppt_y"/>
                                          </p:val>
                                        </p:tav>
                                      </p:tavLst>
                                    </p:anim>
                                  </p:childTnLst>
                                </p:cTn>
                              </p:par>
                              <p:par>
                                <p:cTn id="21" presetID="2" presetClass="entr" presetSubtype="8" dur="1000" decel="100000" fill="hold" grpId="0" nodeType="withEffect">
                                  <p:stCondLst>
                                    <p:cond delay="400"/>
                                  </p:stCondLst>
                                  <p:childTnLst>
                                    <p:set>
                                      <p:cBhvr>
                                        <p:cTn id="22" dur="1" fill="hold">
                                          <p:stCondLst>
                                            <p:cond delay="0"/>
                                          </p:stCondLst>
                                        </p:cTn>
                                        <p:tgtEl>
                                          <p:spTgt spid="28"/>
                                        </p:tgtEl>
                                        <p:attrNameLst>
                                          <p:attrName>style.visibility</p:attrName>
                                        </p:attrNameLst>
                                      </p:cBhvr>
                                      <p:to>
                                        <p:strVal val="visible"/>
                                      </p:to>
                                    </p:set>
                                    <p:anim calcmode="lin" valueType="num">
                                      <p:cBhvr additive="base">
                                        <p:cTn id="23" dur="1000" fill="hold"/>
                                        <p:tgtEl>
                                          <p:spTgt spid="28"/>
                                        </p:tgtEl>
                                        <p:attrNameLst>
                                          <p:attrName>ppt_x</p:attrName>
                                        </p:attrNameLst>
                                      </p:cBhvr>
                                      <p:tavLst>
                                        <p:tav tm="0">
                                          <p:val>
                                            <p:strVal val="0-#ppt_w/2"/>
                                          </p:val>
                                        </p:tav>
                                        <p:tav tm="100000">
                                          <p:val>
                                            <p:strVal val="#ppt_x"/>
                                          </p:val>
                                        </p:tav>
                                      </p:tavLst>
                                    </p:anim>
                                    <p:anim calcmode="lin" valueType="num">
                                      <p:cBhvr additive="base">
                                        <p:cTn id="24" dur="1000" fill="hold"/>
                                        <p:tgtEl>
                                          <p:spTgt spid="28"/>
                                        </p:tgtEl>
                                        <p:attrNameLst>
                                          <p:attrName>ppt_y</p:attrName>
                                        </p:attrNameLst>
                                      </p:cBhvr>
                                      <p:tavLst>
                                        <p:tav tm="0">
                                          <p:val>
                                            <p:strVal val="#ppt_y"/>
                                          </p:val>
                                        </p:tav>
                                        <p:tav tm="100000">
                                          <p:val>
                                            <p:strVal val="#ppt_y"/>
                                          </p:val>
                                        </p:tav>
                                      </p:tavLst>
                                    </p:anim>
                                  </p:childTnLst>
                                </p:cTn>
                              </p:par>
                              <p:par>
                                <p:cTn id="25" presetID="2" presetClass="entr" presetSubtype="8" dur="1000" decel="100000" fill="hold" grpId="0" nodeType="withEffect">
                                  <p:stCondLst>
                                    <p:cond delay="500"/>
                                  </p:stCondLst>
                                  <p:childTnLst>
                                    <p:set>
                                      <p:cBhvr>
                                        <p:cTn id="26" dur="1" fill="hold">
                                          <p:stCondLst>
                                            <p:cond delay="0"/>
                                          </p:stCondLst>
                                        </p:cTn>
                                        <p:tgtEl>
                                          <p:spTgt spid="27"/>
                                        </p:tgtEl>
                                        <p:attrNameLst>
                                          <p:attrName>style.visibility</p:attrName>
                                        </p:attrNameLst>
                                      </p:cBhvr>
                                      <p:to>
                                        <p:strVal val="visible"/>
                                      </p:to>
                                    </p:set>
                                    <p:anim calcmode="lin" valueType="num">
                                      <p:cBhvr additive="base">
                                        <p:cTn id="27" dur="1000" fill="hold"/>
                                        <p:tgtEl>
                                          <p:spTgt spid="27"/>
                                        </p:tgtEl>
                                        <p:attrNameLst>
                                          <p:attrName>ppt_x</p:attrName>
                                        </p:attrNameLst>
                                      </p:cBhvr>
                                      <p:tavLst>
                                        <p:tav tm="0">
                                          <p:val>
                                            <p:strVal val="0-#ppt_w/2"/>
                                          </p:val>
                                        </p:tav>
                                        <p:tav tm="100000">
                                          <p:val>
                                            <p:strVal val="#ppt_x"/>
                                          </p:val>
                                        </p:tav>
                                      </p:tavLst>
                                    </p:anim>
                                    <p:anim calcmode="lin" valueType="num">
                                      <p:cBhvr additive="base">
                                        <p:cTn id="28" dur="1000" fill="hold"/>
                                        <p:tgtEl>
                                          <p:spTgt spid="27"/>
                                        </p:tgtEl>
                                        <p:attrNameLst>
                                          <p:attrName>ppt_y</p:attrName>
                                        </p:attrNameLst>
                                      </p:cBhvr>
                                      <p:tavLst>
                                        <p:tav tm="0">
                                          <p:val>
                                            <p:strVal val="#ppt_y"/>
                                          </p:val>
                                        </p:tav>
                                        <p:tav tm="100000">
                                          <p:val>
                                            <p:strVal val="#ppt_y"/>
                                          </p:val>
                                        </p:tav>
                                      </p:tavLst>
                                    </p:anim>
                                  </p:childTnLst>
                                </p:cTn>
                              </p:par>
                              <p:par>
                                <p:cTn id="29" presetID="2" presetClass="entr" presetSubtype="8" dur="1000" decel="100000" fill="hold" grpId="0" nodeType="withEffect">
                                  <p:stCondLst>
                                    <p:cond delay="600"/>
                                  </p:stCondLst>
                                  <p:childTnLst>
                                    <p:set>
                                      <p:cBhvr>
                                        <p:cTn id="30" dur="1" fill="hold">
                                          <p:stCondLst>
                                            <p:cond delay="0"/>
                                          </p:stCondLst>
                                        </p:cTn>
                                        <p:tgtEl>
                                          <p:spTgt spid="26"/>
                                        </p:tgtEl>
                                        <p:attrNameLst>
                                          <p:attrName>style.visibility</p:attrName>
                                        </p:attrNameLst>
                                      </p:cBhvr>
                                      <p:to>
                                        <p:strVal val="visible"/>
                                      </p:to>
                                    </p:set>
                                    <p:anim calcmode="lin" valueType="num">
                                      <p:cBhvr additive="base">
                                        <p:cTn id="31" dur="1000" fill="hold"/>
                                        <p:tgtEl>
                                          <p:spTgt spid="26"/>
                                        </p:tgtEl>
                                        <p:attrNameLst>
                                          <p:attrName>ppt_x</p:attrName>
                                        </p:attrNameLst>
                                      </p:cBhvr>
                                      <p:tavLst>
                                        <p:tav tm="0">
                                          <p:val>
                                            <p:strVal val="0-#ppt_w/2"/>
                                          </p:val>
                                        </p:tav>
                                        <p:tav tm="100000">
                                          <p:val>
                                            <p:strVal val="#ppt_x"/>
                                          </p:val>
                                        </p:tav>
                                      </p:tavLst>
                                    </p:anim>
                                    <p:anim calcmode="lin" valueType="num">
                                      <p:cBhvr additive="base">
                                        <p:cTn id="32" dur="1000" fill="hold"/>
                                        <p:tgtEl>
                                          <p:spTgt spid="26"/>
                                        </p:tgtEl>
                                        <p:attrNameLst>
                                          <p:attrName>ppt_y</p:attrName>
                                        </p:attrNameLst>
                                      </p:cBhvr>
                                      <p:tavLst>
                                        <p:tav tm="0">
                                          <p:val>
                                            <p:strVal val="#ppt_y"/>
                                          </p:val>
                                        </p:tav>
                                        <p:tav tm="100000">
                                          <p:val>
                                            <p:strVal val="#ppt_y"/>
                                          </p:val>
                                        </p:tav>
                                      </p:tavLst>
                                    </p:anim>
                                  </p:childTnLst>
                                </p:cTn>
                              </p:par>
                              <p:par>
                                <p:cTn id="33" presetID="2" presetClass="entr" presetSubtype="8" dur="1000" decel="100000" fill="hold" grpId="0" nodeType="withEffect">
                                  <p:stCondLst>
                                    <p:cond delay="700"/>
                                  </p:stCondLst>
                                  <p:childTnLst>
                                    <p:set>
                                      <p:cBhvr>
                                        <p:cTn id="34" dur="1" fill="hold">
                                          <p:stCondLst>
                                            <p:cond delay="0"/>
                                          </p:stCondLst>
                                        </p:cTn>
                                        <p:tgtEl>
                                          <p:spTgt spid="25"/>
                                        </p:tgtEl>
                                        <p:attrNameLst>
                                          <p:attrName>style.visibility</p:attrName>
                                        </p:attrNameLst>
                                      </p:cBhvr>
                                      <p:to>
                                        <p:strVal val="visible"/>
                                      </p:to>
                                    </p:set>
                                    <p:anim calcmode="lin" valueType="num">
                                      <p:cBhvr additive="base">
                                        <p:cTn id="35" dur="1000" fill="hold"/>
                                        <p:tgtEl>
                                          <p:spTgt spid="25"/>
                                        </p:tgtEl>
                                        <p:attrNameLst>
                                          <p:attrName>ppt_x</p:attrName>
                                        </p:attrNameLst>
                                      </p:cBhvr>
                                      <p:tavLst>
                                        <p:tav tm="0">
                                          <p:val>
                                            <p:strVal val="0-#ppt_w/2"/>
                                          </p:val>
                                        </p:tav>
                                        <p:tav tm="100000">
                                          <p:val>
                                            <p:strVal val="#ppt_x"/>
                                          </p:val>
                                        </p:tav>
                                      </p:tavLst>
                                    </p:anim>
                                    <p:anim calcmode="lin" valueType="num">
                                      <p:cBhvr additive="base">
                                        <p:cTn id="36" dur="1000" fill="hold"/>
                                        <p:tgtEl>
                                          <p:spTgt spid="2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2" grpId="0" animBg="1"/>
      <p:bldP spid="23" grpId="0" animBg="1"/>
      <p:bldP spid="24" grpId="0" animBg="1"/>
      <p:bldP spid="25" grpId="0" animBg="1"/>
      <p:bldP spid="26" grpId="0" animBg="1"/>
      <p:bldP spid="27" grpId="0" animBg="1"/>
      <p:bldP spid="28" grpId="0" animBg="1"/>
    </p:bldLst>
  </p:timing>
  <p:extLst>
    <p:ext uri="{DCECCB84-F9BA-43D5-87BE-67443E8EF086}">
      <p15:sldGuideLst xmlns:p15="http://schemas.microsoft.com/office/powerpoint/2012/main">
        <p15:guide id="1" orient="horz" pos="4320">
          <p15:clr>
            <a:srgbClr val="FBAE40"/>
          </p15:clr>
        </p15:guide>
        <p15:guide id="2" pos="7681">
          <p15:clr>
            <a:srgbClr val="FBAE40"/>
          </p15:clr>
        </p15:guide>
        <p15:guide id="3" pos="985">
          <p15:clr>
            <a:srgbClr val="FBAE40"/>
          </p15:clr>
        </p15:guide>
        <p15:guide id="4" pos="14377">
          <p15:clr>
            <a:srgbClr val="FBAE4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userDrawn="1">
  <p:cSld name="53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5DAAA84-8CB9-4126-A2A3-B5810518A7B3}"/>
              </a:ext>
            </a:extLst>
          </p:cNvPr>
          <p:cNvSpPr>
            <a:spLocks noGrp="1"/>
          </p:cNvSpPr>
          <p:nvPr>
            <p:ph type="pic" sz="quarter" idx="13"/>
          </p:nvPr>
        </p:nvSpPr>
        <p:spPr>
          <a:xfrm>
            <a:off x="6956138" y="1233179"/>
            <a:ext cx="4527231" cy="2759657"/>
          </a:xfrm>
          <a:custGeom>
            <a:avLst/>
            <a:gdLst>
              <a:gd name="connsiteX0" fmla="*/ 0 w 6263640"/>
              <a:gd name="connsiteY0" fmla="*/ 0 h 3817620"/>
              <a:gd name="connsiteX1" fmla="*/ 6263640 w 6263640"/>
              <a:gd name="connsiteY1" fmla="*/ 0 h 3817620"/>
              <a:gd name="connsiteX2" fmla="*/ 6263640 w 6263640"/>
              <a:gd name="connsiteY2" fmla="*/ 3817620 h 3817620"/>
              <a:gd name="connsiteX3" fmla="*/ 0 w 6263640"/>
              <a:gd name="connsiteY3" fmla="*/ 3817620 h 3817620"/>
            </a:gdLst>
            <a:ahLst/>
            <a:cxnLst>
              <a:cxn ang="0">
                <a:pos x="connsiteX0" y="connsiteY0"/>
              </a:cxn>
              <a:cxn ang="0">
                <a:pos x="connsiteX1" y="connsiteY1"/>
              </a:cxn>
              <a:cxn ang="0">
                <a:pos x="connsiteX2" y="connsiteY2"/>
              </a:cxn>
              <a:cxn ang="0">
                <a:pos x="connsiteX3" y="connsiteY3"/>
              </a:cxn>
            </a:cxnLst>
            <a:rect l="l" t="t" r="r" b="b"/>
            <a:pathLst>
              <a:path w="6263640" h="3817620">
                <a:moveTo>
                  <a:pt x="0" y="0"/>
                </a:moveTo>
                <a:lnTo>
                  <a:pt x="6263640" y="0"/>
                </a:lnTo>
                <a:lnTo>
                  <a:pt x="6263640" y="3817620"/>
                </a:lnTo>
                <a:lnTo>
                  <a:pt x="0" y="3817620"/>
                </a:lnTo>
                <a:close/>
              </a:path>
            </a:pathLst>
          </a:custGeom>
          <a:blipFill dpi="0" rotWithShape="1">
            <a:blip r:embed="rId2"/>
            <a:stretch>
              <a:fillRect/>
            </a:stretch>
          </a:blipFill>
          <a:effectLst/>
          <a:scene3d>
            <a:camera prst="isometricLeftDown"/>
            <a:lightRig rig="threePt" dir="t"/>
          </a:scene3d>
        </p:spPr>
        <p:txBody>
          <a:bodyPr wrap="square" anchor="ctr">
            <a:noAutofit/>
          </a:bodyPr>
          <a:lstStyle>
            <a:lvl1pPr marL="0" indent="0" algn="ctr">
              <a:buFontTx/>
              <a:buNone/>
              <a:defRPr sz="1200"/>
            </a:lvl1pPr>
          </a:lstStyle>
          <a:p>
            <a:endParaRPr lang="en-US"/>
          </a:p>
        </p:txBody>
      </p:sp>
    </p:spTree>
    <p:extLst>
      <p:ext uri="{BB962C8B-B14F-4D97-AF65-F5344CB8AC3E}">
        <p14:creationId xmlns:p14="http://schemas.microsoft.com/office/powerpoint/2010/main" val="3886461036"/>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4" dur="1500" decel="10000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500" fill="hold"/>
                                        <p:tgtEl>
                                          <p:spTgt spid="4"/>
                                        </p:tgtEl>
                                        <p:attrNameLst>
                                          <p:attrName>ppt_x</p:attrName>
                                        </p:attrNameLst>
                                      </p:cBhvr>
                                      <p:tavLst>
                                        <p:tav tm="0">
                                          <p:val>
                                            <p:strVal val="#ppt_x"/>
                                          </p:val>
                                        </p:tav>
                                        <p:tav tm="100000">
                                          <p:val>
                                            <p:strVal val="#ppt_x"/>
                                          </p:val>
                                        </p:tav>
                                      </p:tavLst>
                                    </p:anim>
                                    <p:anim calcmode="lin" valueType="num">
                                      <p:cBhvr additive="base">
                                        <p:cTn id="8" dur="1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301.xml><?xml version="1.0" encoding="utf-8"?>
<p:sldLayout xmlns:a="http://schemas.openxmlformats.org/drawingml/2006/main" xmlns:r="http://schemas.openxmlformats.org/officeDocument/2006/relationships" xmlns:p="http://schemas.openxmlformats.org/presentationml/2006/main" userDrawn="1">
  <p:cSld name="55_Custom Layou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404C06A5-7833-4BEF-AEAC-88B10E26025F}"/>
              </a:ext>
            </a:extLst>
          </p:cNvPr>
          <p:cNvSpPr>
            <a:spLocks noGrp="1"/>
          </p:cNvSpPr>
          <p:nvPr>
            <p:ph type="pic" sz="quarter" idx="13"/>
          </p:nvPr>
        </p:nvSpPr>
        <p:spPr>
          <a:xfrm>
            <a:off x="4607685" y="2622324"/>
            <a:ext cx="3076629" cy="1848077"/>
          </a:xfrm>
          <a:custGeom>
            <a:avLst/>
            <a:gdLst>
              <a:gd name="connsiteX0" fmla="*/ 0 w 6762750"/>
              <a:gd name="connsiteY0" fmla="*/ 0 h 4086225"/>
              <a:gd name="connsiteX1" fmla="*/ 6762750 w 6762750"/>
              <a:gd name="connsiteY1" fmla="*/ 0 h 4086225"/>
              <a:gd name="connsiteX2" fmla="*/ 6762750 w 6762750"/>
              <a:gd name="connsiteY2" fmla="*/ 4086225 h 4086225"/>
              <a:gd name="connsiteX3" fmla="*/ 0 w 6762750"/>
              <a:gd name="connsiteY3" fmla="*/ 4086225 h 4086225"/>
            </a:gdLst>
            <a:ahLst/>
            <a:cxnLst>
              <a:cxn ang="0">
                <a:pos x="connsiteX0" y="connsiteY0"/>
              </a:cxn>
              <a:cxn ang="0">
                <a:pos x="connsiteX1" y="connsiteY1"/>
              </a:cxn>
              <a:cxn ang="0">
                <a:pos x="connsiteX2" y="connsiteY2"/>
              </a:cxn>
              <a:cxn ang="0">
                <a:pos x="connsiteX3" y="connsiteY3"/>
              </a:cxn>
            </a:cxnLst>
            <a:rect l="l" t="t" r="r" b="b"/>
            <a:pathLst>
              <a:path w="6762750" h="4086225">
                <a:moveTo>
                  <a:pt x="0" y="0"/>
                </a:moveTo>
                <a:lnTo>
                  <a:pt x="6762750" y="0"/>
                </a:lnTo>
                <a:lnTo>
                  <a:pt x="6762750" y="4086225"/>
                </a:lnTo>
                <a:lnTo>
                  <a:pt x="0" y="4086225"/>
                </a:lnTo>
                <a:close/>
              </a:path>
            </a:pathLst>
          </a:custGeom>
          <a:blipFill>
            <a:blip r:embed="rId2"/>
            <a:stretch>
              <a:fillRect/>
            </a:stretch>
          </a:blipFill>
          <a:effectLst/>
        </p:spPr>
        <p:txBody>
          <a:bodyPr wrap="square" anchor="ctr">
            <a:noAutofit/>
          </a:bodyPr>
          <a:lstStyle>
            <a:lvl1pPr marL="0" indent="0" algn="ctr">
              <a:buFontTx/>
              <a:buNone/>
              <a:defRPr sz="1200"/>
            </a:lvl1pPr>
          </a:lstStyle>
          <a:p>
            <a:endParaRPr lang="en-US"/>
          </a:p>
        </p:txBody>
      </p:sp>
    </p:spTree>
    <p:extLst>
      <p:ext uri="{BB962C8B-B14F-4D97-AF65-F5344CB8AC3E}">
        <p14:creationId xmlns:p14="http://schemas.microsoft.com/office/powerpoint/2010/main" val="2235535549"/>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4" dur="1500"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1500" fill="hold"/>
                                        <p:tgtEl>
                                          <p:spTgt spid="6"/>
                                        </p:tgtEl>
                                        <p:attrNameLst>
                                          <p:attrName>ppt_x</p:attrName>
                                        </p:attrNameLst>
                                      </p:cBhvr>
                                      <p:tavLst>
                                        <p:tav tm="0">
                                          <p:val>
                                            <p:strVal val="#ppt_x"/>
                                          </p:val>
                                        </p:tav>
                                        <p:tav tm="100000">
                                          <p:val>
                                            <p:strVal val="#ppt_x"/>
                                          </p:val>
                                        </p:tav>
                                      </p:tavLst>
                                    </p:anim>
                                    <p:anim calcmode="lin" valueType="num">
                                      <p:cBhvr additive="base">
                                        <p:cTn id="8" dur="1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Layout>
</file>

<file path=ppt/slideLayouts/slideLayout302.xml><?xml version="1.0" encoding="utf-8"?>
<p:sldLayout xmlns:a="http://schemas.openxmlformats.org/drawingml/2006/main" xmlns:r="http://schemas.openxmlformats.org/officeDocument/2006/relationships" xmlns:p="http://schemas.openxmlformats.org/presentationml/2006/main" userDrawn="1">
  <p:cSld name="57_Custom Layout">
    <p:spTree>
      <p:nvGrpSpPr>
        <p:cNvPr id="1" name=""/>
        <p:cNvGrpSpPr/>
        <p:nvPr/>
      </p:nvGrpSpPr>
      <p:grpSpPr>
        <a:xfrm>
          <a:off x="0" y="0"/>
          <a:ext cx="0" cy="0"/>
          <a:chOff x="0" y="0"/>
          <a:chExt cx="0" cy="0"/>
        </a:xfrm>
      </p:grpSpPr>
      <p:sp>
        <p:nvSpPr>
          <p:cNvPr id="4" name="Picture Placeholder 28">
            <a:extLst>
              <a:ext uri="{FF2B5EF4-FFF2-40B4-BE49-F238E27FC236}">
                <a16:creationId xmlns:a16="http://schemas.microsoft.com/office/drawing/2014/main" id="{B7AB7AFB-ED3D-4D6A-A9B8-52817BB37E1C}"/>
              </a:ext>
            </a:extLst>
          </p:cNvPr>
          <p:cNvSpPr>
            <a:spLocks noGrp="1"/>
          </p:cNvSpPr>
          <p:nvPr>
            <p:ph type="pic" sz="quarter" idx="14"/>
          </p:nvPr>
        </p:nvSpPr>
        <p:spPr>
          <a:xfrm>
            <a:off x="7553770" y="3302793"/>
            <a:ext cx="629044" cy="1144660"/>
          </a:xfrm>
          <a:custGeom>
            <a:avLst/>
            <a:gdLst>
              <a:gd name="connsiteX0" fmla="*/ 0 w 6261100"/>
              <a:gd name="connsiteY0" fmla="*/ 0 h 13509522"/>
              <a:gd name="connsiteX1" fmla="*/ 6261100 w 6261100"/>
              <a:gd name="connsiteY1" fmla="*/ 0 h 13509522"/>
              <a:gd name="connsiteX2" fmla="*/ 6261100 w 6261100"/>
              <a:gd name="connsiteY2" fmla="*/ 13509522 h 13509522"/>
              <a:gd name="connsiteX3" fmla="*/ 0 w 6261100"/>
              <a:gd name="connsiteY3" fmla="*/ 13509522 h 13509522"/>
            </a:gdLst>
            <a:ahLst/>
            <a:cxnLst>
              <a:cxn ang="0">
                <a:pos x="connsiteX0" y="connsiteY0"/>
              </a:cxn>
              <a:cxn ang="0">
                <a:pos x="connsiteX1" y="connsiteY1"/>
              </a:cxn>
              <a:cxn ang="0">
                <a:pos x="connsiteX2" y="connsiteY2"/>
              </a:cxn>
              <a:cxn ang="0">
                <a:pos x="connsiteX3" y="connsiteY3"/>
              </a:cxn>
            </a:cxnLst>
            <a:rect l="l" t="t" r="r" b="b"/>
            <a:pathLst>
              <a:path w="6261100" h="13509522">
                <a:moveTo>
                  <a:pt x="0" y="0"/>
                </a:moveTo>
                <a:lnTo>
                  <a:pt x="6261100" y="0"/>
                </a:lnTo>
                <a:lnTo>
                  <a:pt x="6261100" y="13509522"/>
                </a:lnTo>
                <a:lnTo>
                  <a:pt x="0" y="13509522"/>
                </a:lnTo>
                <a:close/>
              </a:path>
            </a:pathLst>
          </a:custGeom>
          <a:blipFill>
            <a:blip r:embed="rId2"/>
            <a:tile tx="0" ty="0" sx="100000" sy="100000" flip="none" algn="ctr"/>
          </a:blipFill>
          <a:effectLst/>
          <a:scene3d>
            <a:camera prst="isometricRightUp">
              <a:rot lat="1200000" lon="18899998" rev="780000"/>
            </a:camera>
            <a:lightRig rig="threePt" dir="t"/>
          </a:scene3d>
        </p:spPr>
        <p:txBody>
          <a:bodyPr wrap="square" anchor="ctr">
            <a:noAutofit/>
          </a:bodyPr>
          <a:lstStyle>
            <a:lvl1pPr marL="0" indent="0" algn="ctr">
              <a:buFontTx/>
              <a:buNone/>
              <a:defRPr sz="1200"/>
            </a:lvl1pPr>
          </a:lstStyle>
          <a:p>
            <a:endParaRPr lang="en-US"/>
          </a:p>
        </p:txBody>
      </p:sp>
      <p:sp>
        <p:nvSpPr>
          <p:cNvPr id="3" name="Picture Placeholder 3">
            <a:extLst>
              <a:ext uri="{FF2B5EF4-FFF2-40B4-BE49-F238E27FC236}">
                <a16:creationId xmlns:a16="http://schemas.microsoft.com/office/drawing/2014/main" id="{9A6D1CAE-3831-4DFC-A92E-1E7CD1BD657B}"/>
              </a:ext>
            </a:extLst>
          </p:cNvPr>
          <p:cNvSpPr>
            <a:spLocks noGrp="1"/>
          </p:cNvSpPr>
          <p:nvPr>
            <p:ph type="pic" sz="quarter" idx="13"/>
          </p:nvPr>
        </p:nvSpPr>
        <p:spPr>
          <a:xfrm>
            <a:off x="2228560" y="2434319"/>
            <a:ext cx="3565696" cy="2148840"/>
          </a:xfrm>
          <a:custGeom>
            <a:avLst/>
            <a:gdLst>
              <a:gd name="connsiteX0" fmla="*/ 0 w 6263640"/>
              <a:gd name="connsiteY0" fmla="*/ 0 h 3817620"/>
              <a:gd name="connsiteX1" fmla="*/ 6263640 w 6263640"/>
              <a:gd name="connsiteY1" fmla="*/ 0 h 3817620"/>
              <a:gd name="connsiteX2" fmla="*/ 6263640 w 6263640"/>
              <a:gd name="connsiteY2" fmla="*/ 3817620 h 3817620"/>
              <a:gd name="connsiteX3" fmla="*/ 0 w 6263640"/>
              <a:gd name="connsiteY3" fmla="*/ 3817620 h 3817620"/>
            </a:gdLst>
            <a:ahLst/>
            <a:cxnLst>
              <a:cxn ang="0">
                <a:pos x="connsiteX0" y="connsiteY0"/>
              </a:cxn>
              <a:cxn ang="0">
                <a:pos x="connsiteX1" y="connsiteY1"/>
              </a:cxn>
              <a:cxn ang="0">
                <a:pos x="connsiteX2" y="connsiteY2"/>
              </a:cxn>
              <a:cxn ang="0">
                <a:pos x="connsiteX3" y="connsiteY3"/>
              </a:cxn>
            </a:cxnLst>
            <a:rect l="l" t="t" r="r" b="b"/>
            <a:pathLst>
              <a:path w="6263640" h="3817620">
                <a:moveTo>
                  <a:pt x="0" y="0"/>
                </a:moveTo>
                <a:lnTo>
                  <a:pt x="6263640" y="0"/>
                </a:lnTo>
                <a:lnTo>
                  <a:pt x="6263640" y="3817620"/>
                </a:lnTo>
                <a:lnTo>
                  <a:pt x="0" y="3817620"/>
                </a:lnTo>
                <a:close/>
              </a:path>
            </a:pathLst>
          </a:custGeom>
          <a:blipFill dpi="0" rotWithShape="1">
            <a:blip r:embed="rId3"/>
            <a:stretch>
              <a:fillRect/>
            </a:stretch>
          </a:blipFill>
          <a:effectLst/>
          <a:scene3d>
            <a:camera prst="isometricRightUp"/>
            <a:lightRig rig="threePt" dir="t"/>
          </a:scene3d>
        </p:spPr>
        <p:txBody>
          <a:bodyPr wrap="square" anchor="ctr">
            <a:noAutofit/>
          </a:bodyPr>
          <a:lstStyle>
            <a:lvl1pPr marL="0" indent="0" algn="ctr">
              <a:buFontTx/>
              <a:buNone/>
              <a:defRPr sz="1200"/>
            </a:lvl1pPr>
          </a:lstStyle>
          <a:p>
            <a:endParaRPr lang="en-US"/>
          </a:p>
        </p:txBody>
      </p:sp>
    </p:spTree>
    <p:extLst>
      <p:ext uri="{BB962C8B-B14F-4D97-AF65-F5344CB8AC3E}">
        <p14:creationId xmlns:p14="http://schemas.microsoft.com/office/powerpoint/2010/main" val="3223933246"/>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10" presetClass="entr" presetSubtype="0" dur="30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300"/>
                                        <p:tgtEl>
                                          <p:spTgt spid="3"/>
                                        </p:tgtEl>
                                      </p:cBhvr>
                                    </p:animEffect>
                                  </p:childTnLst>
                                </p:cTn>
                              </p:par>
                              <p:par>
                                <p:cTn id="8" presetID="10" presetClass="entr" presetSubtype="0" dur="300" fill="hold" grpId="0" nodeType="withEffect">
                                  <p:stCondLst>
                                    <p:cond delay="20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3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3" grpId="0" animBg="1"/>
    </p:bldLst>
  </p:timing>
</p:sldLayout>
</file>

<file path=ppt/slideLayouts/slideLayout303.xml><?xml version="1.0" encoding="utf-8"?>
<p:sldLayout xmlns:a="http://schemas.openxmlformats.org/drawingml/2006/main" xmlns:r="http://schemas.openxmlformats.org/officeDocument/2006/relationships" xmlns:p="http://schemas.openxmlformats.org/presentationml/2006/main" userDrawn="1">
  <p:cSld name="62_Custom Layout">
    <p:spTree>
      <p:nvGrpSpPr>
        <p:cNvPr id="1" name=""/>
        <p:cNvGrpSpPr/>
        <p:nvPr/>
      </p:nvGrpSpPr>
      <p:grpSpPr>
        <a:xfrm>
          <a:off x="0" y="0"/>
          <a:ext cx="0" cy="0"/>
          <a:chOff x="0" y="0"/>
          <a:chExt cx="0" cy="0"/>
        </a:xfrm>
      </p:grpSpPr>
      <p:sp>
        <p:nvSpPr>
          <p:cNvPr id="7" name="Picture Placeholder 28">
            <a:extLst>
              <a:ext uri="{FF2B5EF4-FFF2-40B4-BE49-F238E27FC236}">
                <a16:creationId xmlns:a16="http://schemas.microsoft.com/office/drawing/2014/main" id="{13D91D79-BB44-418C-A6E0-03C49B2BFFB4}"/>
              </a:ext>
            </a:extLst>
          </p:cNvPr>
          <p:cNvSpPr>
            <a:spLocks noGrp="1"/>
          </p:cNvSpPr>
          <p:nvPr>
            <p:ph type="pic" sz="quarter" idx="14"/>
          </p:nvPr>
        </p:nvSpPr>
        <p:spPr>
          <a:xfrm>
            <a:off x="4883751" y="3678129"/>
            <a:ext cx="643205" cy="1388019"/>
          </a:xfrm>
          <a:custGeom>
            <a:avLst/>
            <a:gdLst>
              <a:gd name="connsiteX0" fmla="*/ 0 w 6261100"/>
              <a:gd name="connsiteY0" fmla="*/ 0 h 13509522"/>
              <a:gd name="connsiteX1" fmla="*/ 6261100 w 6261100"/>
              <a:gd name="connsiteY1" fmla="*/ 0 h 13509522"/>
              <a:gd name="connsiteX2" fmla="*/ 6261100 w 6261100"/>
              <a:gd name="connsiteY2" fmla="*/ 13509522 h 13509522"/>
              <a:gd name="connsiteX3" fmla="*/ 0 w 6261100"/>
              <a:gd name="connsiteY3" fmla="*/ 13509522 h 13509522"/>
            </a:gdLst>
            <a:ahLst/>
            <a:cxnLst>
              <a:cxn ang="0">
                <a:pos x="connsiteX0" y="connsiteY0"/>
              </a:cxn>
              <a:cxn ang="0">
                <a:pos x="connsiteX1" y="connsiteY1"/>
              </a:cxn>
              <a:cxn ang="0">
                <a:pos x="connsiteX2" y="connsiteY2"/>
              </a:cxn>
              <a:cxn ang="0">
                <a:pos x="connsiteX3" y="connsiteY3"/>
              </a:cxn>
            </a:cxnLst>
            <a:rect l="l" t="t" r="r" b="b"/>
            <a:pathLst>
              <a:path w="6261100" h="13509522">
                <a:moveTo>
                  <a:pt x="0" y="0"/>
                </a:moveTo>
                <a:lnTo>
                  <a:pt x="6261100" y="0"/>
                </a:lnTo>
                <a:lnTo>
                  <a:pt x="6261100" y="13509522"/>
                </a:lnTo>
                <a:lnTo>
                  <a:pt x="0" y="13509522"/>
                </a:lnTo>
                <a:close/>
              </a:path>
            </a:pathLst>
          </a:custGeom>
          <a:blipFill dpi="0" rotWithShape="1">
            <a:blip r:embed="rId2"/>
            <a:stretch>
              <a:fillRect/>
            </a:stretch>
          </a:blipFill>
          <a:effectLst/>
          <a:scene3d>
            <a:camera prst="isometricTopUp"/>
            <a:lightRig rig="threePt" dir="t"/>
          </a:scene3d>
        </p:spPr>
        <p:txBody>
          <a:bodyPr wrap="square" anchor="ctr">
            <a:noAutofit/>
          </a:bodyPr>
          <a:lstStyle>
            <a:lvl1pPr marL="0" indent="0" algn="ctr">
              <a:buFontTx/>
              <a:buNone/>
              <a:defRPr sz="1200"/>
            </a:lvl1pPr>
          </a:lstStyle>
          <a:p>
            <a:endParaRPr lang="en-US"/>
          </a:p>
        </p:txBody>
      </p:sp>
      <p:sp>
        <p:nvSpPr>
          <p:cNvPr id="4" name="Picture Placeholder 3">
            <a:extLst>
              <a:ext uri="{FF2B5EF4-FFF2-40B4-BE49-F238E27FC236}">
                <a16:creationId xmlns:a16="http://schemas.microsoft.com/office/drawing/2014/main" id="{B1341CDB-C9B9-4F7E-86D0-A59CD06C8B23}"/>
              </a:ext>
            </a:extLst>
          </p:cNvPr>
          <p:cNvSpPr>
            <a:spLocks noGrp="1"/>
          </p:cNvSpPr>
          <p:nvPr>
            <p:ph type="pic" sz="quarter" idx="13"/>
          </p:nvPr>
        </p:nvSpPr>
        <p:spPr>
          <a:xfrm>
            <a:off x="4622164" y="1151763"/>
            <a:ext cx="4154933" cy="2532716"/>
          </a:xfrm>
          <a:custGeom>
            <a:avLst/>
            <a:gdLst>
              <a:gd name="connsiteX0" fmla="*/ 0 w 6263640"/>
              <a:gd name="connsiteY0" fmla="*/ 0 h 3817620"/>
              <a:gd name="connsiteX1" fmla="*/ 6263640 w 6263640"/>
              <a:gd name="connsiteY1" fmla="*/ 0 h 3817620"/>
              <a:gd name="connsiteX2" fmla="*/ 6263640 w 6263640"/>
              <a:gd name="connsiteY2" fmla="*/ 3817620 h 3817620"/>
              <a:gd name="connsiteX3" fmla="*/ 0 w 6263640"/>
              <a:gd name="connsiteY3" fmla="*/ 3817620 h 3817620"/>
            </a:gdLst>
            <a:ahLst/>
            <a:cxnLst>
              <a:cxn ang="0">
                <a:pos x="connsiteX0" y="connsiteY0"/>
              </a:cxn>
              <a:cxn ang="0">
                <a:pos x="connsiteX1" y="connsiteY1"/>
              </a:cxn>
              <a:cxn ang="0">
                <a:pos x="connsiteX2" y="connsiteY2"/>
              </a:cxn>
              <a:cxn ang="0">
                <a:pos x="connsiteX3" y="connsiteY3"/>
              </a:cxn>
            </a:cxnLst>
            <a:rect l="l" t="t" r="r" b="b"/>
            <a:pathLst>
              <a:path w="6263640" h="3817620">
                <a:moveTo>
                  <a:pt x="0" y="0"/>
                </a:moveTo>
                <a:lnTo>
                  <a:pt x="6263640" y="0"/>
                </a:lnTo>
                <a:lnTo>
                  <a:pt x="6263640" y="3817620"/>
                </a:lnTo>
                <a:lnTo>
                  <a:pt x="0" y="3817620"/>
                </a:lnTo>
                <a:close/>
              </a:path>
            </a:pathLst>
          </a:custGeom>
          <a:blipFill dpi="0" rotWithShape="1">
            <a:blip r:embed="rId3"/>
            <a:stretch>
              <a:fillRect/>
            </a:stretch>
          </a:blipFill>
          <a:effectLst/>
          <a:scene3d>
            <a:camera prst="isometricLeftDown"/>
            <a:lightRig rig="threePt" dir="t"/>
          </a:scene3d>
        </p:spPr>
        <p:txBody>
          <a:bodyPr wrap="square" anchor="ctr">
            <a:noAutofit/>
          </a:bodyPr>
          <a:lstStyle>
            <a:lvl1pPr marL="0" indent="0" algn="ctr">
              <a:buFontTx/>
              <a:buNone/>
              <a:defRPr sz="1200"/>
            </a:lvl1pPr>
          </a:lstStyle>
          <a:p>
            <a:endParaRPr lang="en-US"/>
          </a:p>
        </p:txBody>
      </p:sp>
    </p:spTree>
    <p:extLst>
      <p:ext uri="{BB962C8B-B14F-4D97-AF65-F5344CB8AC3E}">
        <p14:creationId xmlns:p14="http://schemas.microsoft.com/office/powerpoint/2010/main" val="1373823011"/>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1" dur="1500" decel="10000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500" fill="hold"/>
                                        <p:tgtEl>
                                          <p:spTgt spid="4"/>
                                        </p:tgtEl>
                                        <p:attrNameLst>
                                          <p:attrName>ppt_x</p:attrName>
                                        </p:attrNameLst>
                                      </p:cBhvr>
                                      <p:tavLst>
                                        <p:tav tm="0">
                                          <p:val>
                                            <p:strVal val="#ppt_x"/>
                                          </p:val>
                                        </p:tav>
                                        <p:tav tm="100000">
                                          <p:val>
                                            <p:strVal val="#ppt_x"/>
                                          </p:val>
                                        </p:tav>
                                      </p:tavLst>
                                    </p:anim>
                                    <p:anim calcmode="lin" valueType="num">
                                      <p:cBhvr additive="base">
                                        <p:cTn id="8" dur="1500" fill="hold"/>
                                        <p:tgtEl>
                                          <p:spTgt spid="4"/>
                                        </p:tgtEl>
                                        <p:attrNameLst>
                                          <p:attrName>ppt_y</p:attrName>
                                        </p:attrNameLst>
                                      </p:cBhvr>
                                      <p:tavLst>
                                        <p:tav tm="0">
                                          <p:val>
                                            <p:strVal val="0-#ppt_h/2"/>
                                          </p:val>
                                        </p:tav>
                                        <p:tav tm="100000">
                                          <p:val>
                                            <p:strVal val="#ppt_y"/>
                                          </p:val>
                                        </p:tav>
                                      </p:tavLst>
                                    </p:anim>
                                  </p:childTnLst>
                                </p:cTn>
                              </p:par>
                              <p:par>
                                <p:cTn id="9" presetID="2" presetClass="entr" presetSubtype="4" dur="1500" decel="10000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1500" fill="hold"/>
                                        <p:tgtEl>
                                          <p:spTgt spid="7"/>
                                        </p:tgtEl>
                                        <p:attrNameLst>
                                          <p:attrName>ppt_x</p:attrName>
                                        </p:attrNameLst>
                                      </p:cBhvr>
                                      <p:tavLst>
                                        <p:tav tm="0">
                                          <p:val>
                                            <p:strVal val="#ppt_x"/>
                                          </p:val>
                                        </p:tav>
                                        <p:tav tm="100000">
                                          <p:val>
                                            <p:strVal val="#ppt_x"/>
                                          </p:val>
                                        </p:tav>
                                      </p:tavLst>
                                    </p:anim>
                                    <p:anim calcmode="lin" valueType="num">
                                      <p:cBhvr additive="base">
                                        <p:cTn id="12" dur="1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4" grpId="0" animBg="1"/>
    </p:bldLst>
  </p:timing>
</p:sldLayout>
</file>

<file path=ppt/slideLayouts/slideLayout304.xml><?xml version="1.0" encoding="utf-8"?>
<p:sldLayout xmlns:a="http://schemas.openxmlformats.org/drawingml/2006/main" xmlns:r="http://schemas.openxmlformats.org/officeDocument/2006/relationships" xmlns:p="http://schemas.openxmlformats.org/presentationml/2006/main" userDrawn="1">
  <p:cSld name="65_Custom Layout">
    <p:spTree>
      <p:nvGrpSpPr>
        <p:cNvPr id="1" name=""/>
        <p:cNvGrpSpPr/>
        <p:nvPr/>
      </p:nvGrpSpPr>
      <p:grpSpPr>
        <a:xfrm>
          <a:off x="0" y="0"/>
          <a:ext cx="0" cy="0"/>
          <a:chOff x="0" y="0"/>
          <a:chExt cx="0" cy="0"/>
        </a:xfrm>
      </p:grpSpPr>
      <p:sp>
        <p:nvSpPr>
          <p:cNvPr id="9" name="Picture Placeholder 3">
            <a:extLst>
              <a:ext uri="{FF2B5EF4-FFF2-40B4-BE49-F238E27FC236}">
                <a16:creationId xmlns:a16="http://schemas.microsoft.com/office/drawing/2014/main" id="{BB034F9E-2ACF-49E2-B371-928DA82F5E40}"/>
              </a:ext>
            </a:extLst>
          </p:cNvPr>
          <p:cNvSpPr>
            <a:spLocks noGrp="1"/>
          </p:cNvSpPr>
          <p:nvPr>
            <p:ph type="pic" sz="quarter" idx="14"/>
          </p:nvPr>
        </p:nvSpPr>
        <p:spPr>
          <a:xfrm>
            <a:off x="10770215" y="940007"/>
            <a:ext cx="3878940" cy="2364480"/>
          </a:xfrm>
          <a:custGeom>
            <a:avLst/>
            <a:gdLst>
              <a:gd name="connsiteX0" fmla="*/ 0 w 6263640"/>
              <a:gd name="connsiteY0" fmla="*/ 0 h 3817620"/>
              <a:gd name="connsiteX1" fmla="*/ 6263640 w 6263640"/>
              <a:gd name="connsiteY1" fmla="*/ 0 h 3817620"/>
              <a:gd name="connsiteX2" fmla="*/ 6263640 w 6263640"/>
              <a:gd name="connsiteY2" fmla="*/ 3817620 h 3817620"/>
              <a:gd name="connsiteX3" fmla="*/ 0 w 6263640"/>
              <a:gd name="connsiteY3" fmla="*/ 3817620 h 3817620"/>
            </a:gdLst>
            <a:ahLst/>
            <a:cxnLst>
              <a:cxn ang="0">
                <a:pos x="connsiteX0" y="connsiteY0"/>
              </a:cxn>
              <a:cxn ang="0">
                <a:pos x="connsiteX1" y="connsiteY1"/>
              </a:cxn>
              <a:cxn ang="0">
                <a:pos x="connsiteX2" y="connsiteY2"/>
              </a:cxn>
              <a:cxn ang="0">
                <a:pos x="connsiteX3" y="connsiteY3"/>
              </a:cxn>
            </a:cxnLst>
            <a:rect l="l" t="t" r="r" b="b"/>
            <a:pathLst>
              <a:path w="6263640" h="3817620">
                <a:moveTo>
                  <a:pt x="0" y="0"/>
                </a:moveTo>
                <a:lnTo>
                  <a:pt x="6263640" y="0"/>
                </a:lnTo>
                <a:lnTo>
                  <a:pt x="6263640" y="3817620"/>
                </a:lnTo>
                <a:lnTo>
                  <a:pt x="0" y="3817620"/>
                </a:lnTo>
                <a:close/>
              </a:path>
            </a:pathLst>
          </a:custGeom>
          <a:blipFill dpi="0" rotWithShape="1">
            <a:blip r:embed="rId2"/>
            <a:stretch>
              <a:fillRect/>
            </a:stretch>
          </a:blipFill>
          <a:effectLst/>
          <a:scene3d>
            <a:camera prst="isometricLeftDown"/>
            <a:lightRig rig="threePt" dir="t"/>
          </a:scene3d>
        </p:spPr>
        <p:txBody>
          <a:bodyPr wrap="square" anchor="ctr">
            <a:noAutofit/>
          </a:bodyPr>
          <a:lstStyle>
            <a:lvl1pPr marL="0" indent="0" algn="ctr">
              <a:buFontTx/>
              <a:buNone/>
              <a:defRPr sz="1200"/>
            </a:lvl1pPr>
          </a:lstStyle>
          <a:p>
            <a:endParaRPr lang="en-US"/>
          </a:p>
        </p:txBody>
      </p:sp>
      <p:sp>
        <p:nvSpPr>
          <p:cNvPr id="8" name="Picture Placeholder 3">
            <a:extLst>
              <a:ext uri="{FF2B5EF4-FFF2-40B4-BE49-F238E27FC236}">
                <a16:creationId xmlns:a16="http://schemas.microsoft.com/office/drawing/2014/main" id="{FB1E58D5-5B5E-4334-95CB-7C04506A1221}"/>
              </a:ext>
            </a:extLst>
          </p:cNvPr>
          <p:cNvSpPr>
            <a:spLocks noGrp="1"/>
          </p:cNvSpPr>
          <p:nvPr>
            <p:ph type="pic" sz="quarter" idx="15"/>
          </p:nvPr>
        </p:nvSpPr>
        <p:spPr>
          <a:xfrm>
            <a:off x="4858032" y="1543376"/>
            <a:ext cx="3878940" cy="2364480"/>
          </a:xfrm>
          <a:custGeom>
            <a:avLst/>
            <a:gdLst>
              <a:gd name="connsiteX0" fmla="*/ 0 w 6263640"/>
              <a:gd name="connsiteY0" fmla="*/ 0 h 3817620"/>
              <a:gd name="connsiteX1" fmla="*/ 6263640 w 6263640"/>
              <a:gd name="connsiteY1" fmla="*/ 0 h 3817620"/>
              <a:gd name="connsiteX2" fmla="*/ 6263640 w 6263640"/>
              <a:gd name="connsiteY2" fmla="*/ 3817620 h 3817620"/>
              <a:gd name="connsiteX3" fmla="*/ 0 w 6263640"/>
              <a:gd name="connsiteY3" fmla="*/ 3817620 h 3817620"/>
            </a:gdLst>
            <a:ahLst/>
            <a:cxnLst>
              <a:cxn ang="0">
                <a:pos x="connsiteX0" y="connsiteY0"/>
              </a:cxn>
              <a:cxn ang="0">
                <a:pos x="connsiteX1" y="connsiteY1"/>
              </a:cxn>
              <a:cxn ang="0">
                <a:pos x="connsiteX2" y="connsiteY2"/>
              </a:cxn>
              <a:cxn ang="0">
                <a:pos x="connsiteX3" y="connsiteY3"/>
              </a:cxn>
            </a:cxnLst>
            <a:rect l="l" t="t" r="r" b="b"/>
            <a:pathLst>
              <a:path w="6263640" h="3817620">
                <a:moveTo>
                  <a:pt x="0" y="0"/>
                </a:moveTo>
                <a:lnTo>
                  <a:pt x="6263640" y="0"/>
                </a:lnTo>
                <a:lnTo>
                  <a:pt x="6263640" y="3817620"/>
                </a:lnTo>
                <a:lnTo>
                  <a:pt x="0" y="3817620"/>
                </a:lnTo>
                <a:close/>
              </a:path>
            </a:pathLst>
          </a:custGeom>
          <a:blipFill dpi="0" rotWithShape="1">
            <a:blip r:embed="rId2"/>
            <a:stretch>
              <a:fillRect/>
            </a:stretch>
          </a:blipFill>
          <a:effectLst/>
          <a:scene3d>
            <a:camera prst="isometricRightUp"/>
            <a:lightRig rig="threePt" dir="t"/>
          </a:scene3d>
        </p:spPr>
        <p:txBody>
          <a:bodyPr wrap="square" anchor="ctr">
            <a:noAutofit/>
          </a:bodyPr>
          <a:lstStyle>
            <a:lvl1pPr marL="0" indent="0" algn="ctr">
              <a:buFontTx/>
              <a:buNone/>
              <a:defRPr sz="1200"/>
            </a:lvl1pPr>
          </a:lstStyle>
          <a:p>
            <a:endParaRPr lang="en-US"/>
          </a:p>
        </p:txBody>
      </p:sp>
      <p:sp>
        <p:nvSpPr>
          <p:cNvPr id="4" name="Picture Placeholder 3">
            <a:extLst>
              <a:ext uri="{FF2B5EF4-FFF2-40B4-BE49-F238E27FC236}">
                <a16:creationId xmlns:a16="http://schemas.microsoft.com/office/drawing/2014/main" id="{B1341CDB-C9B9-4F7E-86D0-A59CD06C8B23}"/>
              </a:ext>
            </a:extLst>
          </p:cNvPr>
          <p:cNvSpPr>
            <a:spLocks noGrp="1"/>
          </p:cNvSpPr>
          <p:nvPr>
            <p:ph type="pic" sz="quarter" idx="13"/>
          </p:nvPr>
        </p:nvSpPr>
        <p:spPr>
          <a:xfrm>
            <a:off x="8830745" y="3278705"/>
            <a:ext cx="3878940" cy="2364480"/>
          </a:xfrm>
          <a:custGeom>
            <a:avLst/>
            <a:gdLst>
              <a:gd name="connsiteX0" fmla="*/ 0 w 6263640"/>
              <a:gd name="connsiteY0" fmla="*/ 0 h 3817620"/>
              <a:gd name="connsiteX1" fmla="*/ 6263640 w 6263640"/>
              <a:gd name="connsiteY1" fmla="*/ 0 h 3817620"/>
              <a:gd name="connsiteX2" fmla="*/ 6263640 w 6263640"/>
              <a:gd name="connsiteY2" fmla="*/ 3817620 h 3817620"/>
              <a:gd name="connsiteX3" fmla="*/ 0 w 6263640"/>
              <a:gd name="connsiteY3" fmla="*/ 3817620 h 3817620"/>
            </a:gdLst>
            <a:ahLst/>
            <a:cxnLst>
              <a:cxn ang="0">
                <a:pos x="connsiteX0" y="connsiteY0"/>
              </a:cxn>
              <a:cxn ang="0">
                <a:pos x="connsiteX1" y="connsiteY1"/>
              </a:cxn>
              <a:cxn ang="0">
                <a:pos x="connsiteX2" y="connsiteY2"/>
              </a:cxn>
              <a:cxn ang="0">
                <a:pos x="connsiteX3" y="connsiteY3"/>
              </a:cxn>
            </a:cxnLst>
            <a:rect l="l" t="t" r="r" b="b"/>
            <a:pathLst>
              <a:path w="6263640" h="3817620">
                <a:moveTo>
                  <a:pt x="0" y="0"/>
                </a:moveTo>
                <a:lnTo>
                  <a:pt x="6263640" y="0"/>
                </a:lnTo>
                <a:lnTo>
                  <a:pt x="6263640" y="3817620"/>
                </a:lnTo>
                <a:lnTo>
                  <a:pt x="0" y="3817620"/>
                </a:lnTo>
                <a:close/>
              </a:path>
            </a:pathLst>
          </a:custGeom>
          <a:blipFill dpi="0" rotWithShape="1">
            <a:blip r:embed="rId2"/>
            <a:stretch>
              <a:fillRect/>
            </a:stretch>
          </a:blipFill>
          <a:effectLst/>
          <a:scene3d>
            <a:camera prst="isometricLeftDown"/>
            <a:lightRig rig="threePt" dir="t"/>
          </a:scene3d>
        </p:spPr>
        <p:txBody>
          <a:bodyPr wrap="square" anchor="ctr">
            <a:noAutofit/>
          </a:bodyPr>
          <a:lstStyle>
            <a:lvl1pPr marL="0" indent="0" algn="ctr">
              <a:buFontTx/>
              <a:buNone/>
              <a:defRPr sz="1200"/>
            </a:lvl1pPr>
          </a:lstStyle>
          <a:p>
            <a:endParaRPr lang="en-US"/>
          </a:p>
        </p:txBody>
      </p:sp>
    </p:spTree>
    <p:extLst>
      <p:ext uri="{BB962C8B-B14F-4D97-AF65-F5344CB8AC3E}">
        <p14:creationId xmlns:p14="http://schemas.microsoft.com/office/powerpoint/2010/main" val="3986962674"/>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4" dur="1500" decel="10000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1500" fill="hold"/>
                                        <p:tgtEl>
                                          <p:spTgt spid="8"/>
                                        </p:tgtEl>
                                        <p:attrNameLst>
                                          <p:attrName>ppt_x</p:attrName>
                                        </p:attrNameLst>
                                      </p:cBhvr>
                                      <p:tavLst>
                                        <p:tav tm="0">
                                          <p:val>
                                            <p:strVal val="#ppt_x"/>
                                          </p:val>
                                        </p:tav>
                                        <p:tav tm="100000">
                                          <p:val>
                                            <p:strVal val="#ppt_x"/>
                                          </p:val>
                                        </p:tav>
                                      </p:tavLst>
                                    </p:anim>
                                    <p:anim calcmode="lin" valueType="num">
                                      <p:cBhvr additive="base">
                                        <p:cTn id="8" dur="1500" fill="hold"/>
                                        <p:tgtEl>
                                          <p:spTgt spid="8"/>
                                        </p:tgtEl>
                                        <p:attrNameLst>
                                          <p:attrName>ppt_y</p:attrName>
                                        </p:attrNameLst>
                                      </p:cBhvr>
                                      <p:tavLst>
                                        <p:tav tm="0">
                                          <p:val>
                                            <p:strVal val="1+#ppt_h/2"/>
                                          </p:val>
                                        </p:tav>
                                        <p:tav tm="100000">
                                          <p:val>
                                            <p:strVal val="#ppt_y"/>
                                          </p:val>
                                        </p:tav>
                                      </p:tavLst>
                                    </p:anim>
                                  </p:childTnLst>
                                </p:cTn>
                              </p:par>
                              <p:par>
                                <p:cTn id="9" presetID="2" presetClass="entr" presetSubtype="4" dur="1500" decel="100000" fill="hold" grpId="0" nodeType="withEffect">
                                  <p:stCondLst>
                                    <p:cond delay="200"/>
                                  </p:stCondLst>
                                  <p:childTnLst>
                                    <p:set>
                                      <p:cBhvr>
                                        <p:cTn id="10" dur="1" fill="hold">
                                          <p:stCondLst>
                                            <p:cond delay="0"/>
                                          </p:stCondLst>
                                        </p:cTn>
                                        <p:tgtEl>
                                          <p:spTgt spid="4"/>
                                        </p:tgtEl>
                                        <p:attrNameLst>
                                          <p:attrName>style.visibility</p:attrName>
                                        </p:attrNameLst>
                                      </p:cBhvr>
                                      <p:to>
                                        <p:strVal val="visible"/>
                                      </p:to>
                                    </p:set>
                                    <p:anim calcmode="lin" valueType="num">
                                      <p:cBhvr additive="base">
                                        <p:cTn id="11" dur="1500" fill="hold"/>
                                        <p:tgtEl>
                                          <p:spTgt spid="4"/>
                                        </p:tgtEl>
                                        <p:attrNameLst>
                                          <p:attrName>ppt_x</p:attrName>
                                        </p:attrNameLst>
                                      </p:cBhvr>
                                      <p:tavLst>
                                        <p:tav tm="0">
                                          <p:val>
                                            <p:strVal val="#ppt_x"/>
                                          </p:val>
                                        </p:tav>
                                        <p:tav tm="100000">
                                          <p:val>
                                            <p:strVal val="#ppt_x"/>
                                          </p:val>
                                        </p:tav>
                                      </p:tavLst>
                                    </p:anim>
                                    <p:anim calcmode="lin" valueType="num">
                                      <p:cBhvr additive="base">
                                        <p:cTn id="12" dur="1500" fill="hold"/>
                                        <p:tgtEl>
                                          <p:spTgt spid="4"/>
                                        </p:tgtEl>
                                        <p:attrNameLst>
                                          <p:attrName>ppt_y</p:attrName>
                                        </p:attrNameLst>
                                      </p:cBhvr>
                                      <p:tavLst>
                                        <p:tav tm="0">
                                          <p:val>
                                            <p:strVal val="1+#ppt_h/2"/>
                                          </p:val>
                                        </p:tav>
                                        <p:tav tm="100000">
                                          <p:val>
                                            <p:strVal val="#ppt_y"/>
                                          </p:val>
                                        </p:tav>
                                      </p:tavLst>
                                    </p:anim>
                                  </p:childTnLst>
                                </p:cTn>
                              </p:par>
                              <p:par>
                                <p:cTn id="13" presetID="2" presetClass="entr" presetSubtype="1" dur="1500" decel="100000" fill="hold" grpId="0" nodeType="withEffect">
                                  <p:stCondLst>
                                    <p:cond delay="400"/>
                                  </p:stCondLst>
                                  <p:childTnLst>
                                    <p:set>
                                      <p:cBhvr>
                                        <p:cTn id="14" dur="1" fill="hold">
                                          <p:stCondLst>
                                            <p:cond delay="0"/>
                                          </p:stCondLst>
                                        </p:cTn>
                                        <p:tgtEl>
                                          <p:spTgt spid="9"/>
                                        </p:tgtEl>
                                        <p:attrNameLst>
                                          <p:attrName>style.visibility</p:attrName>
                                        </p:attrNameLst>
                                      </p:cBhvr>
                                      <p:to>
                                        <p:strVal val="visible"/>
                                      </p:to>
                                    </p:set>
                                    <p:anim calcmode="lin" valueType="num">
                                      <p:cBhvr additive="base">
                                        <p:cTn id="15" dur="1500" fill="hold"/>
                                        <p:tgtEl>
                                          <p:spTgt spid="9"/>
                                        </p:tgtEl>
                                        <p:attrNameLst>
                                          <p:attrName>ppt_x</p:attrName>
                                        </p:attrNameLst>
                                      </p:cBhvr>
                                      <p:tavLst>
                                        <p:tav tm="0">
                                          <p:val>
                                            <p:strVal val="#ppt_x"/>
                                          </p:val>
                                        </p:tav>
                                        <p:tav tm="100000">
                                          <p:val>
                                            <p:strVal val="#ppt_x"/>
                                          </p:val>
                                        </p:tav>
                                      </p:tavLst>
                                    </p:anim>
                                    <p:anim calcmode="lin" valueType="num">
                                      <p:cBhvr additive="base">
                                        <p:cTn id="16" dur="1500" fill="hold"/>
                                        <p:tgtEl>
                                          <p:spTgt spid="9"/>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8" grpId="0" animBg="1"/>
      <p:bldP spid="4" grpId="0" animBg="1"/>
    </p:bldLst>
  </p:timing>
</p:sldLayout>
</file>

<file path=ppt/slideLayouts/slideLayout305.xml><?xml version="1.0" encoding="utf-8"?>
<p:sldLayout xmlns:a="http://schemas.openxmlformats.org/drawingml/2006/main" xmlns:r="http://schemas.openxmlformats.org/officeDocument/2006/relationships" xmlns:p="http://schemas.openxmlformats.org/presentationml/2006/main" userDrawn="1">
  <p:cSld name="66_Custom Layou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151603B5-AB83-43BF-A00A-6612535A162F}"/>
              </a:ext>
            </a:extLst>
          </p:cNvPr>
          <p:cNvSpPr>
            <a:spLocks noGrp="1" noChangeAspect="1"/>
          </p:cNvSpPr>
          <p:nvPr>
            <p:ph type="pic" sz="quarter" idx="13"/>
          </p:nvPr>
        </p:nvSpPr>
        <p:spPr>
          <a:xfrm>
            <a:off x="3500556" y="56076"/>
            <a:ext cx="4845689" cy="6654409"/>
          </a:xfrm>
          <a:custGeom>
            <a:avLst/>
            <a:gdLst>
              <a:gd name="connsiteX0" fmla="*/ 0 w 8965220"/>
              <a:gd name="connsiteY0" fmla="*/ 0 h 12310009"/>
              <a:gd name="connsiteX1" fmla="*/ 8965220 w 8965220"/>
              <a:gd name="connsiteY1" fmla="*/ 0 h 12310009"/>
              <a:gd name="connsiteX2" fmla="*/ 8965220 w 8965220"/>
              <a:gd name="connsiteY2" fmla="*/ 12310009 h 12310009"/>
              <a:gd name="connsiteX3" fmla="*/ 0 w 8965220"/>
              <a:gd name="connsiteY3" fmla="*/ 12310009 h 12310009"/>
            </a:gdLst>
            <a:ahLst/>
            <a:cxnLst>
              <a:cxn ang="0">
                <a:pos x="connsiteX0" y="connsiteY0"/>
              </a:cxn>
              <a:cxn ang="0">
                <a:pos x="connsiteX1" y="connsiteY1"/>
              </a:cxn>
              <a:cxn ang="0">
                <a:pos x="connsiteX2" y="connsiteY2"/>
              </a:cxn>
              <a:cxn ang="0">
                <a:pos x="connsiteX3" y="connsiteY3"/>
              </a:cxn>
            </a:cxnLst>
            <a:rect l="l" t="t" r="r" b="b"/>
            <a:pathLst>
              <a:path w="8965220" h="12310009">
                <a:moveTo>
                  <a:pt x="0" y="0"/>
                </a:moveTo>
                <a:lnTo>
                  <a:pt x="8965220" y="0"/>
                </a:lnTo>
                <a:lnTo>
                  <a:pt x="8965220" y="12310009"/>
                </a:lnTo>
                <a:lnTo>
                  <a:pt x="0" y="12310009"/>
                </a:lnTo>
                <a:close/>
              </a:path>
            </a:pathLst>
          </a:custGeom>
          <a:blipFill dpi="0" rotWithShape="1">
            <a:blip r:embed="rId2"/>
            <a:stretch>
              <a:fillRect/>
            </a:stretch>
          </a:blipFill>
          <a:effectLst/>
          <a:scene3d>
            <a:camera prst="isometricTopUp"/>
            <a:lightRig rig="threePt" dir="t"/>
          </a:scene3d>
        </p:spPr>
        <p:txBody>
          <a:bodyPr wrap="square" anchor="ctr">
            <a:noAutofit/>
          </a:bodyPr>
          <a:lstStyle>
            <a:lvl1pPr marL="0" indent="0" algn="ctr">
              <a:buFontTx/>
              <a:buNone/>
              <a:defRPr sz="1200"/>
            </a:lvl1pPr>
          </a:lstStyle>
          <a:p>
            <a:endParaRPr lang="en-US"/>
          </a:p>
        </p:txBody>
      </p:sp>
    </p:spTree>
    <p:extLst>
      <p:ext uri="{BB962C8B-B14F-4D97-AF65-F5344CB8AC3E}">
        <p14:creationId xmlns:p14="http://schemas.microsoft.com/office/powerpoint/2010/main" val="3267775412"/>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12" dur="1500" decel="10000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1500" fill="hold"/>
                                        <p:tgtEl>
                                          <p:spTgt spid="3"/>
                                        </p:tgtEl>
                                        <p:attrNameLst>
                                          <p:attrName>ppt_x</p:attrName>
                                        </p:attrNameLst>
                                      </p:cBhvr>
                                      <p:tavLst>
                                        <p:tav tm="0">
                                          <p:val>
                                            <p:strVal val="0-#ppt_w/2"/>
                                          </p:val>
                                        </p:tav>
                                        <p:tav tm="100000">
                                          <p:val>
                                            <p:strVal val="#ppt_x"/>
                                          </p:val>
                                        </p:tav>
                                      </p:tavLst>
                                    </p:anim>
                                    <p:anim calcmode="lin" valueType="num">
                                      <p:cBhvr additive="base">
                                        <p:cTn id="8" dur="1500" fill="hold"/>
                                        <p:tgtEl>
                                          <p:spTgt spid="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306.xml><?xml version="1.0" encoding="utf-8"?>
<p:sldLayout xmlns:a="http://schemas.openxmlformats.org/drawingml/2006/main" xmlns:r="http://schemas.openxmlformats.org/officeDocument/2006/relationships" xmlns:p="http://schemas.openxmlformats.org/presentationml/2006/main" userDrawn="1">
  <p:cSld name="67_Custom Layou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E847EA13-01D4-45C3-B0E5-1D3667AA00EB}"/>
              </a:ext>
            </a:extLst>
          </p:cNvPr>
          <p:cNvSpPr>
            <a:spLocks noGrp="1"/>
          </p:cNvSpPr>
          <p:nvPr>
            <p:ph type="pic" sz="quarter" idx="13"/>
          </p:nvPr>
        </p:nvSpPr>
        <p:spPr>
          <a:xfrm>
            <a:off x="4151339" y="834571"/>
            <a:ext cx="3874810" cy="5181601"/>
          </a:xfrm>
          <a:custGeom>
            <a:avLst/>
            <a:gdLst>
              <a:gd name="connsiteX0" fmla="*/ 0 w 7750629"/>
              <a:gd name="connsiteY0" fmla="*/ 0 h 10363201"/>
              <a:gd name="connsiteX1" fmla="*/ 7750629 w 7750629"/>
              <a:gd name="connsiteY1" fmla="*/ 0 h 10363201"/>
              <a:gd name="connsiteX2" fmla="*/ 7750629 w 7750629"/>
              <a:gd name="connsiteY2" fmla="*/ 10363201 h 10363201"/>
              <a:gd name="connsiteX3" fmla="*/ 0 w 7750629"/>
              <a:gd name="connsiteY3" fmla="*/ 10363201 h 10363201"/>
            </a:gdLst>
            <a:ahLst/>
            <a:cxnLst>
              <a:cxn ang="0">
                <a:pos x="connsiteX0" y="connsiteY0"/>
              </a:cxn>
              <a:cxn ang="0">
                <a:pos x="connsiteX1" y="connsiteY1"/>
              </a:cxn>
              <a:cxn ang="0">
                <a:pos x="connsiteX2" y="connsiteY2"/>
              </a:cxn>
              <a:cxn ang="0">
                <a:pos x="connsiteX3" y="connsiteY3"/>
              </a:cxn>
            </a:cxnLst>
            <a:rect l="l" t="t" r="r" b="b"/>
            <a:pathLst>
              <a:path w="7750629" h="10363201">
                <a:moveTo>
                  <a:pt x="0" y="0"/>
                </a:moveTo>
                <a:lnTo>
                  <a:pt x="7750629" y="0"/>
                </a:lnTo>
                <a:lnTo>
                  <a:pt x="7750629" y="10363201"/>
                </a:lnTo>
                <a:lnTo>
                  <a:pt x="0" y="10363201"/>
                </a:lnTo>
                <a:close/>
              </a:path>
            </a:pathLst>
          </a:custGeom>
          <a:blipFill>
            <a:blip r:embed="rId2"/>
            <a:stretch>
              <a:fillRect/>
            </a:stretch>
          </a:blipFill>
          <a:effectLst/>
        </p:spPr>
        <p:txBody>
          <a:bodyPr wrap="square" anchor="ctr">
            <a:noAutofit/>
          </a:bodyPr>
          <a:lstStyle>
            <a:lvl1pPr marL="0" indent="0" algn="ctr">
              <a:buFontTx/>
              <a:buNone/>
              <a:defRPr sz="1200"/>
            </a:lvl1pPr>
          </a:lstStyle>
          <a:p>
            <a:endParaRPr lang="en-US"/>
          </a:p>
        </p:txBody>
      </p:sp>
    </p:spTree>
    <p:extLst>
      <p:ext uri="{BB962C8B-B14F-4D97-AF65-F5344CB8AC3E}">
        <p14:creationId xmlns:p14="http://schemas.microsoft.com/office/powerpoint/2010/main" val="1879866003"/>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4" dur="2000" decel="10000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2000" fill="hold"/>
                                        <p:tgtEl>
                                          <p:spTgt spid="8"/>
                                        </p:tgtEl>
                                        <p:attrNameLst>
                                          <p:attrName>ppt_x</p:attrName>
                                        </p:attrNameLst>
                                      </p:cBhvr>
                                      <p:tavLst>
                                        <p:tav tm="0">
                                          <p:val>
                                            <p:strVal val="#ppt_x"/>
                                          </p:val>
                                        </p:tav>
                                        <p:tav tm="100000">
                                          <p:val>
                                            <p:strVal val="#ppt_x"/>
                                          </p:val>
                                        </p:tav>
                                      </p:tavLst>
                                    </p:anim>
                                    <p:anim calcmode="lin" valueType="num">
                                      <p:cBhvr additive="base">
                                        <p:cTn id="8" dur="20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Layout>
</file>

<file path=ppt/slideLayouts/slideLayout307.xml><?xml version="1.0" encoding="utf-8"?>
<p:sldLayout xmlns:a="http://schemas.openxmlformats.org/drawingml/2006/main" xmlns:r="http://schemas.openxmlformats.org/officeDocument/2006/relationships" xmlns:p="http://schemas.openxmlformats.org/presentationml/2006/main" userDrawn="1">
  <p:cSld name="68_Custom Layout">
    <p:bg>
      <p:bgPr>
        <a:solidFill>
          <a:schemeClr val="bg1"/>
        </a:soli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FD77B443-E4CE-4B2B-BCA4-5E82A0D3FC56}"/>
              </a:ext>
            </a:extLst>
          </p:cNvPr>
          <p:cNvSpPr>
            <a:spLocks noGrp="1"/>
          </p:cNvSpPr>
          <p:nvPr>
            <p:ph type="pic" sz="quarter" idx="14" hasCustomPrompt="1"/>
          </p:nvPr>
        </p:nvSpPr>
        <p:spPr>
          <a:xfrm>
            <a:off x="909826" y="1479237"/>
            <a:ext cx="3256941" cy="4468697"/>
          </a:xfrm>
          <a:custGeom>
            <a:avLst/>
            <a:gdLst>
              <a:gd name="connsiteX0" fmla="*/ 0 w 6514730"/>
              <a:gd name="connsiteY0" fmla="*/ 0 h 8937393"/>
              <a:gd name="connsiteX1" fmla="*/ 6514730 w 6514730"/>
              <a:gd name="connsiteY1" fmla="*/ 0 h 8937393"/>
              <a:gd name="connsiteX2" fmla="*/ 6514730 w 6514730"/>
              <a:gd name="connsiteY2" fmla="*/ 8937393 h 8937393"/>
              <a:gd name="connsiteX3" fmla="*/ 0 w 6514730"/>
              <a:gd name="connsiteY3" fmla="*/ 8937393 h 8937393"/>
            </a:gdLst>
            <a:ahLst/>
            <a:cxnLst>
              <a:cxn ang="0">
                <a:pos x="connsiteX0" y="connsiteY0"/>
              </a:cxn>
              <a:cxn ang="0">
                <a:pos x="connsiteX1" y="connsiteY1"/>
              </a:cxn>
              <a:cxn ang="0">
                <a:pos x="connsiteX2" y="connsiteY2"/>
              </a:cxn>
              <a:cxn ang="0">
                <a:pos x="connsiteX3" y="connsiteY3"/>
              </a:cxn>
            </a:cxnLst>
            <a:rect l="l" t="t" r="r" b="b"/>
            <a:pathLst>
              <a:path w="6514729" h="8937393">
                <a:moveTo>
                  <a:pt x="0" y="0"/>
                </a:moveTo>
                <a:lnTo>
                  <a:pt x="6514730" y="0"/>
                </a:lnTo>
                <a:lnTo>
                  <a:pt x="6514730" y="8937393"/>
                </a:lnTo>
                <a:lnTo>
                  <a:pt x="0" y="8937393"/>
                </a:lnTo>
                <a:close/>
              </a:path>
            </a:pathLst>
          </a:custGeom>
          <a:blipFill>
            <a:blip r:embed="rId2"/>
            <a:stretch>
              <a:fillRect/>
            </a:stretch>
          </a:blipFill>
          <a:effectLst/>
        </p:spPr>
        <p:txBody>
          <a:bodyPr wrap="square" anchor="ctr">
            <a:noAutofit/>
          </a:bodyPr>
          <a:lstStyle>
            <a:lvl1pPr marL="0" indent="0" algn="ctr">
              <a:buFontTx/>
              <a:buNone/>
              <a:defRPr sz="1200"/>
            </a:lvl1pPr>
          </a:lstStyle>
          <a:p>
            <a:r>
              <a:rPr lang="en-US"/>
              <a:t> </a:t>
            </a:r>
          </a:p>
        </p:txBody>
      </p:sp>
      <p:sp>
        <p:nvSpPr>
          <p:cNvPr id="8" name="Picture Placeholder 7">
            <a:extLst>
              <a:ext uri="{FF2B5EF4-FFF2-40B4-BE49-F238E27FC236}">
                <a16:creationId xmlns:a16="http://schemas.microsoft.com/office/drawing/2014/main" id="{33EDA427-109E-4E2F-B440-99F7E6FF3656}"/>
              </a:ext>
            </a:extLst>
          </p:cNvPr>
          <p:cNvSpPr>
            <a:spLocks noGrp="1"/>
          </p:cNvSpPr>
          <p:nvPr>
            <p:ph type="pic" sz="quarter" idx="13" hasCustomPrompt="1"/>
          </p:nvPr>
        </p:nvSpPr>
        <p:spPr>
          <a:xfrm>
            <a:off x="4213241" y="823246"/>
            <a:ext cx="3720054" cy="5113654"/>
          </a:xfrm>
          <a:custGeom>
            <a:avLst/>
            <a:gdLst>
              <a:gd name="connsiteX0" fmla="*/ 0 w 7441077"/>
              <a:gd name="connsiteY0" fmla="*/ 0 h 10227307"/>
              <a:gd name="connsiteX1" fmla="*/ 7441077 w 7441077"/>
              <a:gd name="connsiteY1" fmla="*/ 0 h 10227307"/>
              <a:gd name="connsiteX2" fmla="*/ 7441077 w 7441077"/>
              <a:gd name="connsiteY2" fmla="*/ 10227307 h 10227307"/>
              <a:gd name="connsiteX3" fmla="*/ 0 w 7441077"/>
              <a:gd name="connsiteY3" fmla="*/ 10227307 h 10227307"/>
            </a:gdLst>
            <a:ahLst/>
            <a:cxnLst>
              <a:cxn ang="0">
                <a:pos x="connsiteX0" y="connsiteY0"/>
              </a:cxn>
              <a:cxn ang="0">
                <a:pos x="connsiteX1" y="connsiteY1"/>
              </a:cxn>
              <a:cxn ang="0">
                <a:pos x="connsiteX2" y="connsiteY2"/>
              </a:cxn>
              <a:cxn ang="0">
                <a:pos x="connsiteX3" y="connsiteY3"/>
              </a:cxn>
            </a:cxnLst>
            <a:rect l="l" t="t" r="r" b="b"/>
            <a:pathLst>
              <a:path w="7441077" h="10227307">
                <a:moveTo>
                  <a:pt x="0" y="0"/>
                </a:moveTo>
                <a:lnTo>
                  <a:pt x="7441077" y="0"/>
                </a:lnTo>
                <a:lnTo>
                  <a:pt x="7441077" y="10227307"/>
                </a:lnTo>
                <a:lnTo>
                  <a:pt x="0" y="10227307"/>
                </a:lnTo>
                <a:close/>
              </a:path>
            </a:pathLst>
          </a:custGeom>
          <a:blipFill>
            <a:blip r:embed="rId2"/>
            <a:stretch>
              <a:fillRect/>
            </a:stretch>
          </a:blipFill>
          <a:effectLst/>
        </p:spPr>
        <p:txBody>
          <a:bodyPr wrap="square" anchor="ctr">
            <a:noAutofit/>
          </a:bodyPr>
          <a:lstStyle>
            <a:lvl1pPr marL="0" indent="0" algn="ctr">
              <a:buFontTx/>
              <a:buNone/>
              <a:defRPr sz="1200"/>
            </a:lvl1pPr>
          </a:lstStyle>
          <a:p>
            <a:r>
              <a:rPr lang="en-US"/>
              <a:t> </a:t>
            </a:r>
          </a:p>
        </p:txBody>
      </p:sp>
    </p:spTree>
    <p:extLst>
      <p:ext uri="{BB962C8B-B14F-4D97-AF65-F5344CB8AC3E}">
        <p14:creationId xmlns:p14="http://schemas.microsoft.com/office/powerpoint/2010/main" val="2328029222"/>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8" dur="1500" decel="10000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1500" fill="hold"/>
                                        <p:tgtEl>
                                          <p:spTgt spid="8"/>
                                        </p:tgtEl>
                                        <p:attrNameLst>
                                          <p:attrName>ppt_x</p:attrName>
                                        </p:attrNameLst>
                                      </p:cBhvr>
                                      <p:tavLst>
                                        <p:tav tm="0">
                                          <p:val>
                                            <p:strVal val="0-#ppt_w/2"/>
                                          </p:val>
                                        </p:tav>
                                        <p:tav tm="100000">
                                          <p:val>
                                            <p:strVal val="#ppt_x"/>
                                          </p:val>
                                        </p:tav>
                                      </p:tavLst>
                                    </p:anim>
                                    <p:anim calcmode="lin" valueType="num">
                                      <p:cBhvr additive="base">
                                        <p:cTn id="8" dur="1500" fill="hold"/>
                                        <p:tgtEl>
                                          <p:spTgt spid="8"/>
                                        </p:tgtEl>
                                        <p:attrNameLst>
                                          <p:attrName>ppt_y</p:attrName>
                                        </p:attrNameLst>
                                      </p:cBhvr>
                                      <p:tavLst>
                                        <p:tav tm="0">
                                          <p:val>
                                            <p:strVal val="#ppt_y"/>
                                          </p:val>
                                        </p:tav>
                                        <p:tav tm="100000">
                                          <p:val>
                                            <p:strVal val="#ppt_y"/>
                                          </p:val>
                                        </p:tav>
                                      </p:tavLst>
                                    </p:anim>
                                  </p:childTnLst>
                                </p:cTn>
                              </p:par>
                              <p:par>
                                <p:cTn id="9" presetID="2" presetClass="entr" presetSubtype="2" dur="2000" decel="100000" fill="hold" grpId="0" nodeType="withEffect">
                                  <p:stCondLst>
                                    <p:cond delay="70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2000" fill="hold"/>
                                        <p:tgtEl>
                                          <p:spTgt spid="9"/>
                                        </p:tgtEl>
                                        <p:attrNameLst>
                                          <p:attrName>ppt_x</p:attrName>
                                        </p:attrNameLst>
                                      </p:cBhvr>
                                      <p:tavLst>
                                        <p:tav tm="0">
                                          <p:val>
                                            <p:strVal val="1+#ppt_w/2"/>
                                          </p:val>
                                        </p:tav>
                                        <p:tav tm="100000">
                                          <p:val>
                                            <p:strVal val="#ppt_x"/>
                                          </p:val>
                                        </p:tav>
                                      </p:tavLst>
                                    </p:anim>
                                    <p:anim calcmode="lin" valueType="num">
                                      <p:cBhvr additive="base">
                                        <p:cTn id="12" dur="200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8" grpId="0" animBg="1"/>
    </p:bldLst>
  </p:timing>
</p:sldLayout>
</file>

<file path=ppt/slideLayouts/slideLayout308.xml><?xml version="1.0" encoding="utf-8"?>
<p:sldLayout xmlns:a="http://schemas.openxmlformats.org/drawingml/2006/main" xmlns:r="http://schemas.openxmlformats.org/officeDocument/2006/relationships" xmlns:p="http://schemas.openxmlformats.org/presentationml/2006/main" userDrawn="1">
  <p:cSld name="69_Custom Layout">
    <p:bg>
      <p:bgPr>
        <a:solidFill>
          <a:schemeClr val="bg1"/>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605AE822-AEAC-4FB9-A43E-290DA7E678D5}"/>
              </a:ext>
            </a:extLst>
          </p:cNvPr>
          <p:cNvSpPr>
            <a:spLocks noGrp="1" noChangeAspect="1"/>
          </p:cNvSpPr>
          <p:nvPr>
            <p:ph type="pic" sz="quarter" idx="13" hasCustomPrompt="1"/>
          </p:nvPr>
        </p:nvSpPr>
        <p:spPr>
          <a:xfrm>
            <a:off x="3077676" y="3000853"/>
            <a:ext cx="5991184" cy="8235591"/>
          </a:xfrm>
          <a:custGeom>
            <a:avLst/>
            <a:gdLst>
              <a:gd name="connsiteX0" fmla="*/ 0 w 7441077"/>
              <a:gd name="connsiteY0" fmla="*/ 0 h 10227307"/>
              <a:gd name="connsiteX1" fmla="*/ 7441077 w 7441077"/>
              <a:gd name="connsiteY1" fmla="*/ 0 h 10227307"/>
              <a:gd name="connsiteX2" fmla="*/ 7441077 w 7441077"/>
              <a:gd name="connsiteY2" fmla="*/ 10227307 h 10227307"/>
              <a:gd name="connsiteX3" fmla="*/ 0 w 7441077"/>
              <a:gd name="connsiteY3" fmla="*/ 10227307 h 10227307"/>
            </a:gdLst>
            <a:ahLst/>
            <a:cxnLst>
              <a:cxn ang="0">
                <a:pos x="connsiteX0" y="connsiteY0"/>
              </a:cxn>
              <a:cxn ang="0">
                <a:pos x="connsiteX1" y="connsiteY1"/>
              </a:cxn>
              <a:cxn ang="0">
                <a:pos x="connsiteX2" y="connsiteY2"/>
              </a:cxn>
              <a:cxn ang="0">
                <a:pos x="connsiteX3" y="connsiteY3"/>
              </a:cxn>
            </a:cxnLst>
            <a:rect l="l" t="t" r="r" b="b"/>
            <a:pathLst>
              <a:path w="7441077" h="10227307">
                <a:moveTo>
                  <a:pt x="0" y="0"/>
                </a:moveTo>
                <a:lnTo>
                  <a:pt x="7441077" y="0"/>
                </a:lnTo>
                <a:lnTo>
                  <a:pt x="7441077" y="10227307"/>
                </a:lnTo>
                <a:lnTo>
                  <a:pt x="0" y="10227307"/>
                </a:lnTo>
                <a:close/>
              </a:path>
            </a:pathLst>
          </a:custGeom>
          <a:blipFill>
            <a:blip r:embed="rId2"/>
            <a:stretch>
              <a:fillRect/>
            </a:stretch>
          </a:blipFill>
          <a:effectLst/>
        </p:spPr>
        <p:txBody>
          <a:bodyPr wrap="square" anchor="ctr">
            <a:noAutofit/>
          </a:bodyPr>
          <a:lstStyle>
            <a:lvl1pPr marL="0" indent="0" algn="ctr">
              <a:buFontTx/>
              <a:buNone/>
              <a:defRPr sz="1200"/>
            </a:lvl1pPr>
          </a:lstStyle>
          <a:p>
            <a:r>
              <a:rPr lang="en-US"/>
              <a:t> </a:t>
            </a:r>
          </a:p>
        </p:txBody>
      </p:sp>
    </p:spTree>
    <p:extLst>
      <p:ext uri="{BB962C8B-B14F-4D97-AF65-F5344CB8AC3E}">
        <p14:creationId xmlns:p14="http://schemas.microsoft.com/office/powerpoint/2010/main" val="777989482"/>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4" dur="1500" decel="10000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1500" fill="hold"/>
                                        <p:tgtEl>
                                          <p:spTgt spid="14"/>
                                        </p:tgtEl>
                                        <p:attrNameLst>
                                          <p:attrName>ppt_x</p:attrName>
                                        </p:attrNameLst>
                                      </p:cBhvr>
                                      <p:tavLst>
                                        <p:tav tm="0">
                                          <p:val>
                                            <p:strVal val="#ppt_x"/>
                                          </p:val>
                                        </p:tav>
                                        <p:tav tm="100000">
                                          <p:val>
                                            <p:strVal val="#ppt_x"/>
                                          </p:val>
                                        </p:tav>
                                      </p:tavLst>
                                    </p:anim>
                                    <p:anim calcmode="lin" valueType="num">
                                      <p:cBhvr additive="base">
                                        <p:cTn id="8" dur="1500" fill="hold"/>
                                        <p:tgtEl>
                                          <p:spTgt spid="1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Lst>
  </p:timing>
</p:sldLayout>
</file>

<file path=ppt/slideLayouts/slideLayout309.xml><?xml version="1.0" encoding="utf-8"?>
<p:sldLayout xmlns:a="http://schemas.openxmlformats.org/drawingml/2006/main" xmlns:r="http://schemas.openxmlformats.org/officeDocument/2006/relationships" xmlns:p="http://schemas.openxmlformats.org/presentationml/2006/main" userDrawn="1">
  <p:cSld name="73_Custom Layout">
    <p:bg>
      <p:bgPr>
        <a:solidFill>
          <a:schemeClr val="bg1"/>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DCE07B66-5987-495D-B793-0151B7A8F8DC}"/>
              </a:ext>
            </a:extLst>
          </p:cNvPr>
          <p:cNvSpPr>
            <a:spLocks noGrp="1" noChangeAspect="1"/>
          </p:cNvSpPr>
          <p:nvPr>
            <p:ph type="pic" sz="quarter" idx="13" hasCustomPrompt="1"/>
          </p:nvPr>
        </p:nvSpPr>
        <p:spPr>
          <a:xfrm>
            <a:off x="3086677" y="-542318"/>
            <a:ext cx="6399967" cy="8786779"/>
          </a:xfrm>
          <a:custGeom>
            <a:avLst/>
            <a:gdLst>
              <a:gd name="connsiteX0" fmla="*/ 0 w 5420811"/>
              <a:gd name="connsiteY0" fmla="*/ 0 h 7441488"/>
              <a:gd name="connsiteX1" fmla="*/ 5420811 w 5420811"/>
              <a:gd name="connsiteY1" fmla="*/ 0 h 7441488"/>
              <a:gd name="connsiteX2" fmla="*/ 5420811 w 5420811"/>
              <a:gd name="connsiteY2" fmla="*/ 7441488 h 7441488"/>
              <a:gd name="connsiteX3" fmla="*/ 0 w 5420811"/>
              <a:gd name="connsiteY3" fmla="*/ 7441488 h 7441488"/>
            </a:gdLst>
            <a:ahLst/>
            <a:cxnLst>
              <a:cxn ang="0">
                <a:pos x="connsiteX0" y="connsiteY0"/>
              </a:cxn>
              <a:cxn ang="0">
                <a:pos x="connsiteX1" y="connsiteY1"/>
              </a:cxn>
              <a:cxn ang="0">
                <a:pos x="connsiteX2" y="connsiteY2"/>
              </a:cxn>
              <a:cxn ang="0">
                <a:pos x="connsiteX3" y="connsiteY3"/>
              </a:cxn>
            </a:cxnLst>
            <a:rect l="l" t="t" r="r" b="b"/>
            <a:pathLst>
              <a:path w="5420811" h="7441488">
                <a:moveTo>
                  <a:pt x="0" y="0"/>
                </a:moveTo>
                <a:lnTo>
                  <a:pt x="5420811" y="0"/>
                </a:lnTo>
                <a:lnTo>
                  <a:pt x="5420811" y="7441488"/>
                </a:lnTo>
                <a:lnTo>
                  <a:pt x="0" y="7441488"/>
                </a:lnTo>
                <a:close/>
              </a:path>
            </a:pathLst>
          </a:custGeom>
          <a:blipFill>
            <a:blip r:embed="rId2"/>
            <a:stretch>
              <a:fillRect/>
            </a:stretch>
          </a:blipFill>
          <a:effectLst/>
          <a:scene3d>
            <a:camera prst="isometricTopUp">
              <a:rot lat="19391480" lon="17604000" rev="4500000"/>
            </a:camera>
            <a:lightRig rig="threePt" dir="t"/>
          </a:scene3d>
        </p:spPr>
        <p:txBody>
          <a:bodyPr wrap="square" anchor="ctr">
            <a:noAutofit/>
          </a:bodyPr>
          <a:lstStyle>
            <a:lvl1pPr marL="0" indent="0" algn="ctr">
              <a:buFontTx/>
              <a:buNone/>
              <a:defRPr sz="1200"/>
            </a:lvl1pPr>
          </a:lstStyle>
          <a:p>
            <a:r>
              <a:rPr lang="en-US"/>
              <a:t> </a:t>
            </a:r>
          </a:p>
        </p:txBody>
      </p:sp>
    </p:spTree>
    <p:extLst>
      <p:ext uri="{BB962C8B-B14F-4D97-AF65-F5344CB8AC3E}">
        <p14:creationId xmlns:p14="http://schemas.microsoft.com/office/powerpoint/2010/main" val="1145834336"/>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12" dur="1500"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1500" fill="hold"/>
                                        <p:tgtEl>
                                          <p:spTgt spid="6"/>
                                        </p:tgtEl>
                                        <p:attrNameLst>
                                          <p:attrName>ppt_x</p:attrName>
                                        </p:attrNameLst>
                                      </p:cBhvr>
                                      <p:tavLst>
                                        <p:tav tm="0">
                                          <p:val>
                                            <p:strVal val="0-#ppt_w/2"/>
                                          </p:val>
                                        </p:tav>
                                        <p:tav tm="100000">
                                          <p:val>
                                            <p:strVal val="#ppt_x"/>
                                          </p:val>
                                        </p:tav>
                                      </p:tavLst>
                                    </p:anim>
                                    <p:anim calcmode="lin" valueType="num">
                                      <p:cBhvr additive="base">
                                        <p:cTn id="8" dur="1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5_Custom Layout">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0B984625-FC00-409A-89CA-74509D2E04EF}"/>
              </a:ext>
            </a:extLst>
          </p:cNvPr>
          <p:cNvSpPr>
            <a:spLocks noGrp="1"/>
          </p:cNvSpPr>
          <p:nvPr>
            <p:ph type="pic" sz="quarter" idx="13"/>
          </p:nvPr>
        </p:nvSpPr>
        <p:spPr>
          <a:xfrm>
            <a:off x="822325" y="3591529"/>
            <a:ext cx="2594922" cy="2595260"/>
          </a:xfrm>
          <a:custGeom>
            <a:avLst/>
            <a:gdLst>
              <a:gd name="connsiteX0" fmla="*/ 0 w 5190519"/>
              <a:gd name="connsiteY0" fmla="*/ 0 h 5190519"/>
              <a:gd name="connsiteX1" fmla="*/ 5190519 w 5190519"/>
              <a:gd name="connsiteY1" fmla="*/ 0 h 5190519"/>
              <a:gd name="connsiteX2" fmla="*/ 5190519 w 5190519"/>
              <a:gd name="connsiteY2" fmla="*/ 5190519 h 5190519"/>
              <a:gd name="connsiteX3" fmla="*/ 0 w 5190519"/>
              <a:gd name="connsiteY3" fmla="*/ 5190519 h 5190519"/>
            </a:gdLst>
            <a:ahLst/>
            <a:cxnLst>
              <a:cxn ang="0">
                <a:pos x="connsiteX0" y="connsiteY0"/>
              </a:cxn>
              <a:cxn ang="0">
                <a:pos x="connsiteX1" y="connsiteY1"/>
              </a:cxn>
              <a:cxn ang="0">
                <a:pos x="connsiteX2" y="connsiteY2"/>
              </a:cxn>
              <a:cxn ang="0">
                <a:pos x="connsiteX3" y="connsiteY3"/>
              </a:cxn>
            </a:cxnLst>
            <a:rect l="l" t="t" r="r" b="b"/>
            <a:pathLst>
              <a:path w="5190519" h="5190519">
                <a:moveTo>
                  <a:pt x="0" y="0"/>
                </a:moveTo>
                <a:lnTo>
                  <a:pt x="5190519" y="0"/>
                </a:lnTo>
                <a:lnTo>
                  <a:pt x="5190519" y="5190519"/>
                </a:lnTo>
                <a:lnTo>
                  <a:pt x="0" y="5190519"/>
                </a:ln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
        <p:nvSpPr>
          <p:cNvPr id="10" name="Picture Placeholder 9">
            <a:extLst>
              <a:ext uri="{FF2B5EF4-FFF2-40B4-BE49-F238E27FC236}">
                <a16:creationId xmlns:a16="http://schemas.microsoft.com/office/drawing/2014/main" id="{A8A64EF6-6AAD-4A8E-A2BA-D31872C0F165}"/>
              </a:ext>
            </a:extLst>
          </p:cNvPr>
          <p:cNvSpPr>
            <a:spLocks noGrp="1"/>
          </p:cNvSpPr>
          <p:nvPr>
            <p:ph type="pic" sz="quarter" idx="14"/>
          </p:nvPr>
        </p:nvSpPr>
        <p:spPr>
          <a:xfrm>
            <a:off x="822325" y="871840"/>
            <a:ext cx="2594922" cy="2595260"/>
          </a:xfrm>
          <a:custGeom>
            <a:avLst/>
            <a:gdLst>
              <a:gd name="connsiteX0" fmla="*/ 0 w 5190519"/>
              <a:gd name="connsiteY0" fmla="*/ 0 h 5190519"/>
              <a:gd name="connsiteX1" fmla="*/ 5190519 w 5190519"/>
              <a:gd name="connsiteY1" fmla="*/ 0 h 5190519"/>
              <a:gd name="connsiteX2" fmla="*/ 5190519 w 5190519"/>
              <a:gd name="connsiteY2" fmla="*/ 5190519 h 5190519"/>
              <a:gd name="connsiteX3" fmla="*/ 0 w 5190519"/>
              <a:gd name="connsiteY3" fmla="*/ 5190519 h 5190519"/>
            </a:gdLst>
            <a:ahLst/>
            <a:cxnLst>
              <a:cxn ang="0">
                <a:pos x="connsiteX0" y="connsiteY0"/>
              </a:cxn>
              <a:cxn ang="0">
                <a:pos x="connsiteX1" y="connsiteY1"/>
              </a:cxn>
              <a:cxn ang="0">
                <a:pos x="connsiteX2" y="connsiteY2"/>
              </a:cxn>
              <a:cxn ang="0">
                <a:pos x="connsiteX3" y="connsiteY3"/>
              </a:cxn>
            </a:cxnLst>
            <a:rect l="l" t="t" r="r" b="b"/>
            <a:pathLst>
              <a:path w="5190519" h="5190519">
                <a:moveTo>
                  <a:pt x="0" y="0"/>
                </a:moveTo>
                <a:lnTo>
                  <a:pt x="5190519" y="0"/>
                </a:lnTo>
                <a:lnTo>
                  <a:pt x="5190519" y="5190519"/>
                </a:lnTo>
                <a:lnTo>
                  <a:pt x="0" y="5190519"/>
                </a:ln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
        <p:nvSpPr>
          <p:cNvPr id="8" name="Picture Placeholder 7">
            <a:extLst>
              <a:ext uri="{FF2B5EF4-FFF2-40B4-BE49-F238E27FC236}">
                <a16:creationId xmlns:a16="http://schemas.microsoft.com/office/drawing/2014/main" id="{CB58EF59-6144-4377-881E-7F3DA3CB9356}"/>
              </a:ext>
            </a:extLst>
          </p:cNvPr>
          <p:cNvSpPr>
            <a:spLocks noGrp="1"/>
          </p:cNvSpPr>
          <p:nvPr>
            <p:ph type="pic" sz="quarter" idx="15"/>
          </p:nvPr>
        </p:nvSpPr>
        <p:spPr>
          <a:xfrm>
            <a:off x="6210887" y="871538"/>
            <a:ext cx="5171855" cy="5305426"/>
          </a:xfrm>
          <a:custGeom>
            <a:avLst/>
            <a:gdLst>
              <a:gd name="connsiteX0" fmla="*/ 0 w 10345056"/>
              <a:gd name="connsiteY0" fmla="*/ 0 h 10610851"/>
              <a:gd name="connsiteX1" fmla="*/ 10345056 w 10345056"/>
              <a:gd name="connsiteY1" fmla="*/ 0 h 10610851"/>
              <a:gd name="connsiteX2" fmla="*/ 10345056 w 10345056"/>
              <a:gd name="connsiteY2" fmla="*/ 10610851 h 10610851"/>
              <a:gd name="connsiteX3" fmla="*/ 0 w 10345056"/>
              <a:gd name="connsiteY3" fmla="*/ 10610851 h 10610851"/>
            </a:gdLst>
            <a:ahLst/>
            <a:cxnLst>
              <a:cxn ang="0">
                <a:pos x="connsiteX0" y="connsiteY0"/>
              </a:cxn>
              <a:cxn ang="0">
                <a:pos x="connsiteX1" y="connsiteY1"/>
              </a:cxn>
              <a:cxn ang="0">
                <a:pos x="connsiteX2" y="connsiteY2"/>
              </a:cxn>
              <a:cxn ang="0">
                <a:pos x="connsiteX3" y="connsiteY3"/>
              </a:cxn>
            </a:cxnLst>
            <a:rect l="l" t="t" r="r" b="b"/>
            <a:pathLst>
              <a:path w="10345056" h="10610851">
                <a:moveTo>
                  <a:pt x="0" y="0"/>
                </a:moveTo>
                <a:lnTo>
                  <a:pt x="10345056" y="0"/>
                </a:lnTo>
                <a:lnTo>
                  <a:pt x="10345056" y="10610851"/>
                </a:lnTo>
                <a:lnTo>
                  <a:pt x="0" y="10610851"/>
                </a:ln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Tree>
    <p:extLst>
      <p:ext uri="{BB962C8B-B14F-4D97-AF65-F5344CB8AC3E}">
        <p14:creationId xmlns:p14="http://schemas.microsoft.com/office/powerpoint/2010/main" val="977436835"/>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4" dur="2000" decel="10000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2000" fill="hold"/>
                                        <p:tgtEl>
                                          <p:spTgt spid="8"/>
                                        </p:tgtEl>
                                        <p:attrNameLst>
                                          <p:attrName>ppt_x</p:attrName>
                                        </p:attrNameLst>
                                      </p:cBhvr>
                                      <p:tavLst>
                                        <p:tav tm="0">
                                          <p:val>
                                            <p:strVal val="#ppt_x"/>
                                          </p:val>
                                        </p:tav>
                                        <p:tav tm="100000">
                                          <p:val>
                                            <p:strVal val="#ppt_x"/>
                                          </p:val>
                                        </p:tav>
                                      </p:tavLst>
                                    </p:anim>
                                    <p:anim calcmode="lin" valueType="num">
                                      <p:cBhvr additive="base">
                                        <p:cTn id="8" dur="2000" fill="hold"/>
                                        <p:tgtEl>
                                          <p:spTgt spid="8"/>
                                        </p:tgtEl>
                                        <p:attrNameLst>
                                          <p:attrName>ppt_y</p:attrName>
                                        </p:attrNameLst>
                                      </p:cBhvr>
                                      <p:tavLst>
                                        <p:tav tm="0">
                                          <p:val>
                                            <p:strVal val="1+#ppt_h/2"/>
                                          </p:val>
                                        </p:tav>
                                        <p:tav tm="100000">
                                          <p:val>
                                            <p:strVal val="#ppt_y"/>
                                          </p:val>
                                        </p:tav>
                                      </p:tavLst>
                                    </p:anim>
                                  </p:childTnLst>
                                </p:cTn>
                              </p:par>
                              <p:par>
                                <p:cTn id="9" presetID="2" presetClass="entr" presetSubtype="4" dur="2000" decel="100000" fill="hold" grpId="0" nodeType="withEffect">
                                  <p:stCondLst>
                                    <p:cond delay="20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2000" fill="hold"/>
                                        <p:tgtEl>
                                          <p:spTgt spid="10"/>
                                        </p:tgtEl>
                                        <p:attrNameLst>
                                          <p:attrName>ppt_x</p:attrName>
                                        </p:attrNameLst>
                                      </p:cBhvr>
                                      <p:tavLst>
                                        <p:tav tm="0">
                                          <p:val>
                                            <p:strVal val="#ppt_x"/>
                                          </p:val>
                                        </p:tav>
                                        <p:tav tm="100000">
                                          <p:val>
                                            <p:strVal val="#ppt_x"/>
                                          </p:val>
                                        </p:tav>
                                      </p:tavLst>
                                    </p:anim>
                                    <p:anim calcmode="lin" valueType="num">
                                      <p:cBhvr additive="base">
                                        <p:cTn id="12" dur="2000" fill="hold"/>
                                        <p:tgtEl>
                                          <p:spTgt spid="10"/>
                                        </p:tgtEl>
                                        <p:attrNameLst>
                                          <p:attrName>ppt_y</p:attrName>
                                        </p:attrNameLst>
                                      </p:cBhvr>
                                      <p:tavLst>
                                        <p:tav tm="0">
                                          <p:val>
                                            <p:strVal val="1+#ppt_h/2"/>
                                          </p:val>
                                        </p:tav>
                                        <p:tav tm="100000">
                                          <p:val>
                                            <p:strVal val="#ppt_y"/>
                                          </p:val>
                                        </p:tav>
                                      </p:tavLst>
                                    </p:anim>
                                  </p:childTnLst>
                                </p:cTn>
                              </p:par>
                              <p:par>
                                <p:cTn id="13" presetID="2" presetClass="entr" presetSubtype="4" dur="2000" decel="100000" fill="hold" grpId="0" nodeType="withEffect">
                                  <p:stCondLst>
                                    <p:cond delay="400"/>
                                  </p:stCondLst>
                                  <p:childTnLst>
                                    <p:set>
                                      <p:cBhvr>
                                        <p:cTn id="14" dur="1" fill="hold">
                                          <p:stCondLst>
                                            <p:cond delay="0"/>
                                          </p:stCondLst>
                                        </p:cTn>
                                        <p:tgtEl>
                                          <p:spTgt spid="9"/>
                                        </p:tgtEl>
                                        <p:attrNameLst>
                                          <p:attrName>style.visibility</p:attrName>
                                        </p:attrNameLst>
                                      </p:cBhvr>
                                      <p:to>
                                        <p:strVal val="visible"/>
                                      </p:to>
                                    </p:set>
                                    <p:anim calcmode="lin" valueType="num">
                                      <p:cBhvr additive="base">
                                        <p:cTn id="15" dur="2000" fill="hold"/>
                                        <p:tgtEl>
                                          <p:spTgt spid="9"/>
                                        </p:tgtEl>
                                        <p:attrNameLst>
                                          <p:attrName>ppt_x</p:attrName>
                                        </p:attrNameLst>
                                      </p:cBhvr>
                                      <p:tavLst>
                                        <p:tav tm="0">
                                          <p:val>
                                            <p:strVal val="#ppt_x"/>
                                          </p:val>
                                        </p:tav>
                                        <p:tav tm="100000">
                                          <p:val>
                                            <p:strVal val="#ppt_x"/>
                                          </p:val>
                                        </p:tav>
                                      </p:tavLst>
                                    </p:anim>
                                    <p:anim calcmode="lin" valueType="num">
                                      <p:cBhvr additive="base">
                                        <p:cTn id="16" dur="20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8" grpId="0" animBg="1"/>
    </p:bldLst>
  </p:timing>
</p:sldLayout>
</file>

<file path=ppt/slideLayouts/slideLayout310.xml><?xml version="1.0" encoding="utf-8"?>
<p:sldLayout xmlns:a="http://schemas.openxmlformats.org/drawingml/2006/main" xmlns:r="http://schemas.openxmlformats.org/officeDocument/2006/relationships" xmlns:p="http://schemas.openxmlformats.org/presentationml/2006/main" userDrawn="1">
  <p:cSld name="78_Custom Layout">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83F78BE3-93BA-4AE7-9B9D-7F0CFDEBEEF1}"/>
              </a:ext>
            </a:extLst>
          </p:cNvPr>
          <p:cNvSpPr>
            <a:spLocks noGrp="1" noChangeAspect="1"/>
          </p:cNvSpPr>
          <p:nvPr>
            <p:ph type="pic" sz="quarter" idx="13" hasCustomPrompt="1"/>
          </p:nvPr>
        </p:nvSpPr>
        <p:spPr>
          <a:xfrm>
            <a:off x="2216167" y="477415"/>
            <a:ext cx="3369125" cy="462160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lightRig rig="threePt" dir="t"/>
          </a:scene3d>
          <a:sp3d prstMaterial="matte"/>
        </p:spPr>
        <p:txBody>
          <a:bodyPr wrap="square" anchor="ctr">
            <a:noAutofit/>
          </a:bodyPr>
          <a:lstStyle>
            <a:lvl1pPr marL="0" indent="0" algn="ctr">
              <a:buFontTx/>
              <a:buNone/>
              <a:defRPr sz="1200"/>
            </a:lvl1pPr>
          </a:lstStyle>
          <a:p>
            <a:r>
              <a:rPr lang="en-US"/>
              <a:t> </a:t>
            </a:r>
          </a:p>
        </p:txBody>
      </p:sp>
      <p:sp>
        <p:nvSpPr>
          <p:cNvPr id="14" name="Picture Placeholder 13">
            <a:extLst>
              <a:ext uri="{FF2B5EF4-FFF2-40B4-BE49-F238E27FC236}">
                <a16:creationId xmlns:a16="http://schemas.microsoft.com/office/drawing/2014/main" id="{BE979228-4867-46D4-8D83-B558D8D1F035}"/>
              </a:ext>
            </a:extLst>
          </p:cNvPr>
          <p:cNvSpPr>
            <a:spLocks noGrp="1" noChangeAspect="1"/>
          </p:cNvSpPr>
          <p:nvPr>
            <p:ph type="pic" sz="quarter" idx="14" hasCustomPrompt="1"/>
          </p:nvPr>
        </p:nvSpPr>
        <p:spPr>
          <a:xfrm>
            <a:off x="6707311" y="-30480"/>
            <a:ext cx="3369125" cy="462160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LeftDown"/>
            <a:lightRig rig="threePt" dir="t"/>
          </a:scene3d>
          <a:sp3d prstMaterial="matte"/>
        </p:spPr>
        <p:txBody>
          <a:bodyPr wrap="square" anchor="ctr">
            <a:noAutofit/>
          </a:bodyPr>
          <a:lstStyle>
            <a:lvl1pPr marL="0" indent="0" algn="ctr">
              <a:buFontTx/>
              <a:buNone/>
              <a:defRPr sz="1200"/>
            </a:lvl1pPr>
          </a:lstStyle>
          <a:p>
            <a:r>
              <a:rPr lang="en-US"/>
              <a:t> </a:t>
            </a:r>
          </a:p>
        </p:txBody>
      </p:sp>
      <p:sp>
        <p:nvSpPr>
          <p:cNvPr id="15" name="Picture Placeholder 14">
            <a:extLst>
              <a:ext uri="{FF2B5EF4-FFF2-40B4-BE49-F238E27FC236}">
                <a16:creationId xmlns:a16="http://schemas.microsoft.com/office/drawing/2014/main" id="{1E197C23-33DC-4B31-96DD-D6405E2FD36E}"/>
              </a:ext>
            </a:extLst>
          </p:cNvPr>
          <p:cNvSpPr>
            <a:spLocks noGrp="1" noChangeAspect="1"/>
          </p:cNvSpPr>
          <p:nvPr>
            <p:ph type="pic" sz="quarter" idx="15" hasCustomPrompt="1"/>
          </p:nvPr>
        </p:nvSpPr>
        <p:spPr>
          <a:xfrm>
            <a:off x="4532072" y="3119941"/>
            <a:ext cx="3369125" cy="462160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BottomDown"/>
            <a:lightRig rig="threePt" dir="t"/>
          </a:scene3d>
          <a:sp3d prstMaterial="matte"/>
        </p:spPr>
        <p:txBody>
          <a:bodyPr wrap="square" anchor="ctr">
            <a:noAutofit/>
          </a:bodyPr>
          <a:lstStyle>
            <a:lvl1pPr marL="0" indent="0" algn="ctr">
              <a:buFontTx/>
              <a:buNone/>
              <a:defRPr sz="1200"/>
            </a:lvl1pPr>
          </a:lstStyle>
          <a:p>
            <a:r>
              <a:rPr lang="en-US"/>
              <a:t> </a:t>
            </a:r>
          </a:p>
        </p:txBody>
      </p:sp>
    </p:spTree>
    <p:extLst>
      <p:ext uri="{BB962C8B-B14F-4D97-AF65-F5344CB8AC3E}">
        <p14:creationId xmlns:p14="http://schemas.microsoft.com/office/powerpoint/2010/main" val="1232778029"/>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10" presetClass="entr" presetSubtype="0" dur="30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300"/>
                                        <p:tgtEl>
                                          <p:spTgt spid="14"/>
                                        </p:tgtEl>
                                      </p:cBhvr>
                                    </p:animEffect>
                                  </p:childTnLst>
                                </p:cTn>
                              </p:par>
                              <p:par>
                                <p:cTn id="8" presetID="10" presetClass="entr" presetSubtype="0" dur="300" fill="hold" grpId="0" nodeType="withEffect">
                                  <p:stCondLst>
                                    <p:cond delay="20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300"/>
                                        <p:tgtEl>
                                          <p:spTgt spid="7"/>
                                        </p:tgtEl>
                                      </p:cBhvr>
                                    </p:animEffect>
                                  </p:childTnLst>
                                </p:cTn>
                              </p:par>
                              <p:par>
                                <p:cTn id="11" presetID="10" presetClass="entr" presetSubtype="0" dur="300" fill="hold" grpId="0" nodeType="withEffect">
                                  <p:stCondLst>
                                    <p:cond delay="400"/>
                                  </p:stCondLst>
                                  <p:childTnLst>
                                    <p:set>
                                      <p:cBhvr>
                                        <p:cTn id="12" dur="1" fill="hold">
                                          <p:stCondLst>
                                            <p:cond delay="0"/>
                                          </p:stCondLst>
                                        </p:cTn>
                                        <p:tgtEl>
                                          <p:spTgt spid="15"/>
                                        </p:tgtEl>
                                        <p:attrNameLst>
                                          <p:attrName>style.visibility</p:attrName>
                                        </p:attrNameLst>
                                      </p:cBhvr>
                                      <p:to>
                                        <p:strVal val="visible"/>
                                      </p:to>
                                    </p:set>
                                    <p:animEffect transition="in" filter="fade">
                                      <p:cBhvr>
                                        <p:cTn id="13" dur="3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4" grpId="0" animBg="1"/>
      <p:bldP spid="15" grpId="0" animBg="1"/>
    </p:bldLst>
  </p:timing>
</p:sldLayout>
</file>

<file path=ppt/slideLayouts/slideLayout311.xml><?xml version="1.0" encoding="utf-8"?>
<p:sldLayout xmlns:a="http://schemas.openxmlformats.org/drawingml/2006/main" xmlns:r="http://schemas.openxmlformats.org/officeDocument/2006/relationships" xmlns:p="http://schemas.openxmlformats.org/presentationml/2006/main" userDrawn="1">
  <p:cSld name="79_Custom Layout">
    <p:bg>
      <p:bgPr>
        <a:solidFill>
          <a:schemeClr val="bg1"/>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4E1B043C-CA58-4020-9ABB-9FC0E0BC68B9}"/>
              </a:ext>
            </a:extLst>
          </p:cNvPr>
          <p:cNvSpPr>
            <a:spLocks noGrp="1"/>
          </p:cNvSpPr>
          <p:nvPr>
            <p:ph type="pic" sz="quarter" idx="13" hasCustomPrompt="1"/>
          </p:nvPr>
        </p:nvSpPr>
        <p:spPr>
          <a:xfrm>
            <a:off x="4136234" y="19052"/>
            <a:ext cx="3976675" cy="6463349"/>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rot lat="1800000" lon="2250000" rev="2196000"/>
            </a:camera>
            <a:lightRig rig="threePt" dir="t"/>
          </a:scene3d>
          <a:sp3d prstMaterial="matte"/>
        </p:spPr>
        <p:txBody>
          <a:bodyPr wrap="square" anchor="ctr">
            <a:noAutofit/>
          </a:bodyPr>
          <a:lstStyle>
            <a:lvl1pPr marL="0" indent="0" algn="ctr">
              <a:buFontTx/>
              <a:buNone/>
              <a:defRPr sz="1200"/>
            </a:lvl1pPr>
          </a:lstStyle>
          <a:p>
            <a:r>
              <a:rPr lang="en-US"/>
              <a:t> </a:t>
            </a:r>
          </a:p>
        </p:txBody>
      </p:sp>
    </p:spTree>
    <p:extLst>
      <p:ext uri="{BB962C8B-B14F-4D97-AF65-F5344CB8AC3E}">
        <p14:creationId xmlns:p14="http://schemas.microsoft.com/office/powerpoint/2010/main" val="2724773886"/>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1" presetClass="entr" presetSubtype="0" dur="1" fill="hold" grpId="1" nodeType="withEffect">
                                  <p:stCondLst>
                                    <p:cond delay="100"/>
                                  </p:stCondLst>
                                  <p:childTnLst>
                                    <p:set>
                                      <p:cBhvr>
                                        <p:cTn id="6" dur="1" fill="hold">
                                          <p:stCondLst>
                                            <p:cond delay="0"/>
                                          </p:stCondLst>
                                        </p:cTn>
                                        <p:tgtEl>
                                          <p:spTgt spid="6"/>
                                        </p:tgtEl>
                                        <p:attrNameLst>
                                          <p:attrName>style.visibility</p:attrName>
                                        </p:attrNameLst>
                                      </p:cBhvr>
                                      <p:to>
                                        <p:strVal val="visible"/>
                                      </p:to>
                                    </p:set>
                                  </p:childTnLst>
                                </p:cTn>
                              </p:par>
                              <p:par>
                                <p:cTn id="7" presetID="42" presetClass="path" presetSubtype="0" dur="1500" decel="100000" fill="hold" grpId="0" nodeType="withEffect">
                                  <p:stCondLst>
                                    <p:cond delay="0"/>
                                  </p:stCondLst>
                                  <p:childTnLst>
                                    <p:animMotion origin="layout" path="M -3.44486E-06 1.66667E-06 L 0.3262 -0.18148" pathEditMode="relative" rAng="0" ptsTypes="AA">
                                      <p:cBhvr>
                                        <p:cTn id="8" dur="1500" spd="-100000" fill="hold"/>
                                        <p:tgtEl>
                                          <p:spTgt spid="6"/>
                                        </p:tgtEl>
                                        <p:attrNameLst>
                                          <p:attrName>ppt_x</p:attrName>
                                          <p:attrName>ppt_y</p:attrName>
                                        </p:attrNameLst>
                                      </p:cBhvr>
                                      <p:rCtr x="16306" y="-907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6" grpId="1" animBg="1"/>
    </p:bldLst>
  </p:timing>
</p:sldLayout>
</file>

<file path=ppt/slideLayouts/slideLayout312.xml><?xml version="1.0" encoding="utf-8"?>
<p:sldLayout xmlns:a="http://schemas.openxmlformats.org/drawingml/2006/main" xmlns:r="http://schemas.openxmlformats.org/officeDocument/2006/relationships" xmlns:p="http://schemas.openxmlformats.org/presentationml/2006/main" userDrawn="1">
  <p:cSld name="81_Custom Layout">
    <p:bg>
      <p:bgPr>
        <a:solidFill>
          <a:schemeClr val="bg1"/>
        </a:solidFill>
        <a:effectLst/>
      </p:bgPr>
    </p:bg>
    <p:spTree>
      <p:nvGrpSpPr>
        <p:cNvPr id="1" name=""/>
        <p:cNvGrpSpPr/>
        <p:nvPr/>
      </p:nvGrpSpPr>
      <p:grpSpPr>
        <a:xfrm>
          <a:off x="0" y="0"/>
          <a:ext cx="0" cy="0"/>
          <a:chOff x="0" y="0"/>
          <a:chExt cx="0" cy="0"/>
        </a:xfrm>
      </p:grpSpPr>
      <p:sp>
        <p:nvSpPr>
          <p:cNvPr id="8" name="Picture Placeholder 6">
            <a:extLst>
              <a:ext uri="{FF2B5EF4-FFF2-40B4-BE49-F238E27FC236}">
                <a16:creationId xmlns:a16="http://schemas.microsoft.com/office/drawing/2014/main" id="{A6497792-ED6D-4F54-8610-2FD55173DAC9}"/>
              </a:ext>
            </a:extLst>
          </p:cNvPr>
          <p:cNvSpPr>
            <a:spLocks noGrp="1"/>
          </p:cNvSpPr>
          <p:nvPr>
            <p:ph type="pic" sz="quarter" idx="14" hasCustomPrompt="1"/>
          </p:nvPr>
        </p:nvSpPr>
        <p:spPr>
          <a:xfrm>
            <a:off x="7130435" y="-1252135"/>
            <a:ext cx="3885694" cy="502920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rot lat="1440000" lon="2400000" rev="3660000"/>
            </a:camera>
            <a:lightRig rig="threePt" dir="t"/>
          </a:scene3d>
        </p:spPr>
        <p:txBody>
          <a:bodyPr wrap="square" anchor="ctr">
            <a:noAutofit/>
          </a:bodyPr>
          <a:lstStyle>
            <a:lvl1pPr marL="0" indent="0" algn="ctr">
              <a:buFontTx/>
              <a:buNone/>
              <a:defRPr sz="1200"/>
            </a:lvl1pPr>
          </a:lstStyle>
          <a:p>
            <a:r>
              <a:rPr lang="en-US"/>
              <a:t>  </a:t>
            </a:r>
          </a:p>
        </p:txBody>
      </p:sp>
      <p:sp>
        <p:nvSpPr>
          <p:cNvPr id="4" name="Picture Placeholder 6">
            <a:extLst>
              <a:ext uri="{FF2B5EF4-FFF2-40B4-BE49-F238E27FC236}">
                <a16:creationId xmlns:a16="http://schemas.microsoft.com/office/drawing/2014/main" id="{F395A455-90B6-47E0-8201-16D4F23F8B8B}"/>
              </a:ext>
            </a:extLst>
          </p:cNvPr>
          <p:cNvSpPr>
            <a:spLocks noGrp="1"/>
          </p:cNvSpPr>
          <p:nvPr>
            <p:ph type="pic" sz="quarter" idx="13" hasCustomPrompt="1"/>
          </p:nvPr>
        </p:nvSpPr>
        <p:spPr>
          <a:xfrm>
            <a:off x="4510480" y="952867"/>
            <a:ext cx="3163961" cy="5202959"/>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rot lat="0" lon="0" rev="2592000"/>
            </a:camera>
            <a:lightRig rig="threePt" dir="t"/>
          </a:scene3d>
        </p:spPr>
        <p:txBody>
          <a:bodyPr wrap="square" anchor="ctr">
            <a:noAutofit/>
          </a:bodyPr>
          <a:lstStyle>
            <a:lvl1pPr marL="0" indent="0" algn="ctr">
              <a:buFontTx/>
              <a:buNone/>
              <a:defRPr sz="1200"/>
            </a:lvl1pPr>
          </a:lstStyle>
          <a:p>
            <a:r>
              <a:rPr lang="en-US"/>
              <a:t> </a:t>
            </a:r>
          </a:p>
        </p:txBody>
      </p:sp>
      <p:sp>
        <p:nvSpPr>
          <p:cNvPr id="13" name="Picture Placeholder 6">
            <a:extLst>
              <a:ext uri="{FF2B5EF4-FFF2-40B4-BE49-F238E27FC236}">
                <a16:creationId xmlns:a16="http://schemas.microsoft.com/office/drawing/2014/main" id="{C8BF64FE-1E33-45BC-BDD7-7BD551FA39A6}"/>
              </a:ext>
            </a:extLst>
          </p:cNvPr>
          <p:cNvSpPr>
            <a:spLocks noGrp="1"/>
          </p:cNvSpPr>
          <p:nvPr>
            <p:ph type="pic" sz="quarter" idx="19" hasCustomPrompt="1"/>
          </p:nvPr>
        </p:nvSpPr>
        <p:spPr>
          <a:xfrm>
            <a:off x="372160" y="4958957"/>
            <a:ext cx="3885694" cy="502920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rot lat="1440000" lon="2400000" rev="3660000"/>
            </a:camera>
            <a:lightRig rig="threePt" dir="t"/>
          </a:scene3d>
        </p:spPr>
        <p:txBody>
          <a:bodyPr wrap="square" anchor="ctr">
            <a:noAutofit/>
          </a:bodyPr>
          <a:lstStyle>
            <a:lvl1pPr marL="0" indent="0" algn="ctr">
              <a:buFontTx/>
              <a:buNone/>
              <a:defRPr sz="1200"/>
            </a:lvl1pPr>
          </a:lstStyle>
          <a:p>
            <a:r>
              <a:rPr lang="en-US"/>
              <a:t> </a:t>
            </a:r>
          </a:p>
        </p:txBody>
      </p:sp>
      <p:sp>
        <p:nvSpPr>
          <p:cNvPr id="12" name="Picture Placeholder 6">
            <a:extLst>
              <a:ext uri="{FF2B5EF4-FFF2-40B4-BE49-F238E27FC236}">
                <a16:creationId xmlns:a16="http://schemas.microsoft.com/office/drawing/2014/main" id="{29ECFF06-47C2-4779-9C66-22674E15A749}"/>
              </a:ext>
            </a:extLst>
          </p:cNvPr>
          <p:cNvSpPr>
            <a:spLocks noGrp="1"/>
          </p:cNvSpPr>
          <p:nvPr>
            <p:ph type="pic" sz="quarter" idx="18" hasCustomPrompt="1"/>
          </p:nvPr>
        </p:nvSpPr>
        <p:spPr>
          <a:xfrm>
            <a:off x="9200746" y="4728760"/>
            <a:ext cx="3885694" cy="502920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rot lat="1440000" lon="2400000" rev="3660000"/>
            </a:camera>
            <a:lightRig rig="threePt" dir="t"/>
          </a:scene3d>
        </p:spPr>
        <p:txBody>
          <a:bodyPr wrap="square" anchor="ctr">
            <a:noAutofit/>
          </a:bodyPr>
          <a:lstStyle>
            <a:lvl1pPr marL="0" indent="0" algn="ctr">
              <a:buFontTx/>
              <a:buNone/>
              <a:defRPr sz="1200"/>
            </a:lvl1pPr>
          </a:lstStyle>
          <a:p>
            <a:r>
              <a:rPr lang="en-US"/>
              <a:t> </a:t>
            </a:r>
          </a:p>
        </p:txBody>
      </p:sp>
      <p:sp>
        <p:nvSpPr>
          <p:cNvPr id="11" name="Picture Placeholder 6">
            <a:extLst>
              <a:ext uri="{FF2B5EF4-FFF2-40B4-BE49-F238E27FC236}">
                <a16:creationId xmlns:a16="http://schemas.microsoft.com/office/drawing/2014/main" id="{6B245FDF-2A7F-47E6-A435-6D63863F3409}"/>
              </a:ext>
            </a:extLst>
          </p:cNvPr>
          <p:cNvSpPr>
            <a:spLocks noGrp="1"/>
          </p:cNvSpPr>
          <p:nvPr>
            <p:ph type="pic" sz="quarter" idx="17" hasCustomPrompt="1"/>
          </p:nvPr>
        </p:nvSpPr>
        <p:spPr>
          <a:xfrm>
            <a:off x="12555067" y="1705429"/>
            <a:ext cx="3885694" cy="502920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rot lat="1440000" lon="2400000" rev="3660000"/>
            </a:camera>
            <a:lightRig rig="threePt" dir="t"/>
          </a:scene3d>
        </p:spPr>
        <p:txBody>
          <a:bodyPr wrap="square" anchor="ctr">
            <a:noAutofit/>
          </a:bodyPr>
          <a:lstStyle>
            <a:lvl1pPr marL="0" indent="0" algn="ctr">
              <a:buFontTx/>
              <a:buNone/>
              <a:defRPr sz="1200"/>
            </a:lvl1pPr>
          </a:lstStyle>
          <a:p>
            <a:r>
              <a:rPr lang="en-US"/>
              <a:t> </a:t>
            </a:r>
          </a:p>
        </p:txBody>
      </p:sp>
      <p:sp>
        <p:nvSpPr>
          <p:cNvPr id="10" name="Picture Placeholder 6">
            <a:extLst>
              <a:ext uri="{FF2B5EF4-FFF2-40B4-BE49-F238E27FC236}">
                <a16:creationId xmlns:a16="http://schemas.microsoft.com/office/drawing/2014/main" id="{806396D0-282B-4936-BB42-1F4A486620B8}"/>
              </a:ext>
            </a:extLst>
          </p:cNvPr>
          <p:cNvSpPr>
            <a:spLocks noGrp="1"/>
          </p:cNvSpPr>
          <p:nvPr>
            <p:ph type="pic" sz="quarter" idx="16" hasCustomPrompt="1"/>
          </p:nvPr>
        </p:nvSpPr>
        <p:spPr>
          <a:xfrm>
            <a:off x="-1660359" y="-1161656"/>
            <a:ext cx="3885694" cy="502920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rot lat="1440000" lon="2400000" rev="3660000"/>
            </a:camera>
            <a:lightRig rig="threePt" dir="t"/>
          </a:scene3d>
        </p:spPr>
        <p:txBody>
          <a:bodyPr wrap="square" anchor="ctr">
            <a:noAutofit/>
          </a:bodyPr>
          <a:lstStyle>
            <a:lvl1pPr marL="0" indent="0" algn="ctr">
              <a:buFontTx/>
              <a:buNone/>
              <a:defRPr sz="1200"/>
            </a:lvl1pPr>
          </a:lstStyle>
          <a:p>
            <a:r>
              <a:rPr lang="en-US"/>
              <a:t> </a:t>
            </a:r>
          </a:p>
        </p:txBody>
      </p:sp>
      <p:sp>
        <p:nvSpPr>
          <p:cNvPr id="9" name="Picture Placeholder 6">
            <a:extLst>
              <a:ext uri="{FF2B5EF4-FFF2-40B4-BE49-F238E27FC236}">
                <a16:creationId xmlns:a16="http://schemas.microsoft.com/office/drawing/2014/main" id="{F81EECD4-1CBF-4857-A094-2EEA3921566A}"/>
              </a:ext>
            </a:extLst>
          </p:cNvPr>
          <p:cNvSpPr>
            <a:spLocks noGrp="1"/>
          </p:cNvSpPr>
          <p:nvPr>
            <p:ph type="pic" sz="quarter" idx="15" hasCustomPrompt="1"/>
          </p:nvPr>
        </p:nvSpPr>
        <p:spPr>
          <a:xfrm>
            <a:off x="1731615" y="-4228734"/>
            <a:ext cx="3885694" cy="502920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rot lat="1440000" lon="2400000" rev="3660000"/>
            </a:camera>
            <a:lightRig rig="threePt" dir="t"/>
          </a:scene3d>
        </p:spPr>
        <p:txBody>
          <a:bodyPr wrap="square" anchor="ctr">
            <a:noAutofit/>
          </a:bodyPr>
          <a:lstStyle>
            <a:lvl1pPr marL="0" indent="0" algn="ctr">
              <a:buFontTx/>
              <a:buNone/>
              <a:defRPr sz="1200"/>
            </a:lvl1pPr>
          </a:lstStyle>
          <a:p>
            <a:r>
              <a:rPr lang="en-US"/>
              <a:t> </a:t>
            </a:r>
          </a:p>
        </p:txBody>
      </p:sp>
    </p:spTree>
    <p:extLst>
      <p:ext uri="{BB962C8B-B14F-4D97-AF65-F5344CB8AC3E}">
        <p14:creationId xmlns:p14="http://schemas.microsoft.com/office/powerpoint/2010/main" val="3181973555"/>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10" presetClass="entr" presetSubtype="0" dur="50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 presetClass="entr" presetSubtype="0" dur="1" fill="hold" grpId="1" nodeType="withEffect">
                                  <p:stCondLst>
                                    <p:cond delay="500"/>
                                  </p:stCondLst>
                                  <p:childTnLst>
                                    <p:set>
                                      <p:cBhvr>
                                        <p:cTn id="9" dur="1" fill="hold">
                                          <p:stCondLst>
                                            <p:cond delay="0"/>
                                          </p:stCondLst>
                                        </p:cTn>
                                        <p:tgtEl>
                                          <p:spTgt spid="13"/>
                                        </p:tgtEl>
                                        <p:attrNameLst>
                                          <p:attrName>style.visibility</p:attrName>
                                        </p:attrNameLst>
                                      </p:cBhvr>
                                      <p:to>
                                        <p:strVal val="visible"/>
                                      </p:to>
                                    </p:set>
                                  </p:childTnLst>
                                </p:cTn>
                              </p:par>
                              <p:par>
                                <p:cTn id="10" presetID="42" presetClass="path" presetSubtype="0" dur="1500" decel="100000" fill="hold" grpId="0" nodeType="withEffect">
                                  <p:stCondLst>
                                    <p:cond delay="500"/>
                                  </p:stCondLst>
                                  <p:childTnLst>
                                    <p:animMotion origin="layout" path="M -4.12967E-06 -4.81481E-06 L -0.27893 0.45186" pathEditMode="relative" rAng="0" ptsTypes="AA">
                                      <p:cBhvr>
                                        <p:cTn id="11" dur="1500" spd="-100000" fill="hold"/>
                                        <p:tgtEl>
                                          <p:spTgt spid="13"/>
                                        </p:tgtEl>
                                        <p:attrNameLst>
                                          <p:attrName>ppt_x</p:attrName>
                                          <p:attrName>ppt_y</p:attrName>
                                        </p:attrNameLst>
                                      </p:cBhvr>
                                      <p:rCtr x="-13950" y="22593"/>
                                    </p:animMotion>
                                  </p:childTnLst>
                                </p:cTn>
                              </p:par>
                              <p:par>
                                <p:cTn id="12" presetID="1" presetClass="entr" presetSubtype="0" dur="1" fill="hold" grpId="0" nodeType="withEffect">
                                  <p:stCondLst>
                                    <p:cond delay="600"/>
                                  </p:stCondLst>
                                  <p:childTnLst>
                                    <p:set>
                                      <p:cBhvr>
                                        <p:cTn id="13" dur="1" fill="hold">
                                          <p:stCondLst>
                                            <p:cond delay="0"/>
                                          </p:stCondLst>
                                        </p:cTn>
                                        <p:tgtEl>
                                          <p:spTgt spid="12"/>
                                        </p:tgtEl>
                                        <p:attrNameLst>
                                          <p:attrName>style.visibility</p:attrName>
                                        </p:attrNameLst>
                                      </p:cBhvr>
                                      <p:to>
                                        <p:strVal val="visible"/>
                                      </p:to>
                                    </p:set>
                                  </p:childTnLst>
                                </p:cTn>
                              </p:par>
                              <p:par>
                                <p:cTn id="14" presetID="42" presetClass="path" presetSubtype="0" dur="1500" decel="100000" fill="hold" grpId="1" nodeType="withEffect">
                                  <p:stCondLst>
                                    <p:cond delay="600"/>
                                  </p:stCondLst>
                                  <p:childTnLst>
                                    <p:animMotion origin="layout" path="M 1.40737E-06 -4.25926E-06 L 0.34911 0.34387" pathEditMode="relative" rAng="0" ptsTypes="AA">
                                      <p:cBhvr>
                                        <p:cTn id="15" dur="1500" spd="-100000" fill="hold"/>
                                        <p:tgtEl>
                                          <p:spTgt spid="12"/>
                                        </p:tgtEl>
                                        <p:attrNameLst>
                                          <p:attrName>ppt_x</p:attrName>
                                          <p:attrName>ppt_y</p:attrName>
                                        </p:attrNameLst>
                                      </p:cBhvr>
                                      <p:rCtr x="17452" y="17188"/>
                                    </p:animMotion>
                                  </p:childTnLst>
                                </p:cTn>
                              </p:par>
                              <p:par>
                                <p:cTn id="16" presetID="1" presetClass="entr" presetSubtype="0" dur="1" fill="hold" grpId="0" nodeType="withEffect">
                                  <p:stCondLst>
                                    <p:cond delay="700"/>
                                  </p:stCondLst>
                                  <p:childTnLst>
                                    <p:set>
                                      <p:cBhvr>
                                        <p:cTn id="17" dur="1" fill="hold">
                                          <p:stCondLst>
                                            <p:cond delay="0"/>
                                          </p:stCondLst>
                                        </p:cTn>
                                        <p:tgtEl>
                                          <p:spTgt spid="11"/>
                                        </p:tgtEl>
                                        <p:attrNameLst>
                                          <p:attrName>style.visibility</p:attrName>
                                        </p:attrNameLst>
                                      </p:cBhvr>
                                      <p:to>
                                        <p:strVal val="visible"/>
                                      </p:to>
                                    </p:set>
                                  </p:childTnLst>
                                </p:cTn>
                              </p:par>
                              <p:par>
                                <p:cTn id="18" presetID="42" presetClass="path" presetSubtype="0" dur="1500" decel="100000" fill="hold" grpId="1" nodeType="withEffect">
                                  <p:stCondLst>
                                    <p:cond delay="700"/>
                                  </p:stCondLst>
                                  <p:childTnLst>
                                    <p:animMotion origin="layout" path="M 1.40737E-06 -4.25926E-06 L 0.34911 0.34387" pathEditMode="relative" rAng="0" ptsTypes="AA">
                                      <p:cBhvr>
                                        <p:cTn id="19" dur="1500" spd="-100000" fill="hold"/>
                                        <p:tgtEl>
                                          <p:spTgt spid="11"/>
                                        </p:tgtEl>
                                        <p:attrNameLst>
                                          <p:attrName>ppt_x</p:attrName>
                                          <p:attrName>ppt_y</p:attrName>
                                        </p:attrNameLst>
                                      </p:cBhvr>
                                      <p:rCtr x="17452" y="17188"/>
                                    </p:animMotion>
                                  </p:childTnLst>
                                </p:cTn>
                              </p:par>
                              <p:par>
                                <p:cTn id="20" presetID="1" presetClass="entr" presetSubtype="0" dur="1" fill="hold" grpId="0" nodeType="withEffect">
                                  <p:stCondLst>
                                    <p:cond delay="800"/>
                                  </p:stCondLst>
                                  <p:childTnLst>
                                    <p:set>
                                      <p:cBhvr>
                                        <p:cTn id="21" dur="1" fill="hold">
                                          <p:stCondLst>
                                            <p:cond delay="0"/>
                                          </p:stCondLst>
                                        </p:cTn>
                                        <p:tgtEl>
                                          <p:spTgt spid="8"/>
                                        </p:tgtEl>
                                        <p:attrNameLst>
                                          <p:attrName>style.visibility</p:attrName>
                                        </p:attrNameLst>
                                      </p:cBhvr>
                                      <p:to>
                                        <p:strVal val="visible"/>
                                      </p:to>
                                    </p:set>
                                  </p:childTnLst>
                                </p:cTn>
                              </p:par>
                              <p:par>
                                <p:cTn id="22" presetID="42" presetClass="path" presetSubtype="0" dur="1500" decel="100000" fill="hold" grpId="1" nodeType="withEffect">
                                  <p:stCondLst>
                                    <p:cond delay="800"/>
                                  </p:stCondLst>
                                  <p:childTnLst>
                                    <p:animMotion origin="layout" path="M -3.93569E-06 -3.51852E-06 L 0.29944 -0.49247" pathEditMode="relative" rAng="0" ptsTypes="AA">
                                      <p:cBhvr>
                                        <p:cTn id="23" dur="1500" spd="-100000" fill="hold"/>
                                        <p:tgtEl>
                                          <p:spTgt spid="8"/>
                                        </p:tgtEl>
                                        <p:attrNameLst>
                                          <p:attrName>ppt_x</p:attrName>
                                          <p:attrName>ppt_y</p:attrName>
                                        </p:attrNameLst>
                                      </p:cBhvr>
                                      <p:rCtr x="14972" y="-24618"/>
                                    </p:animMotion>
                                  </p:childTnLst>
                                </p:cTn>
                              </p:par>
                              <p:par>
                                <p:cTn id="24" presetID="1" presetClass="entr" presetSubtype="0" dur="1" fill="hold" grpId="0" nodeType="withEffect">
                                  <p:stCondLst>
                                    <p:cond delay="900"/>
                                  </p:stCondLst>
                                  <p:childTnLst>
                                    <p:set>
                                      <p:cBhvr>
                                        <p:cTn id="25" dur="1" fill="hold">
                                          <p:stCondLst>
                                            <p:cond delay="0"/>
                                          </p:stCondLst>
                                        </p:cTn>
                                        <p:tgtEl>
                                          <p:spTgt spid="9"/>
                                        </p:tgtEl>
                                        <p:attrNameLst>
                                          <p:attrName>style.visibility</p:attrName>
                                        </p:attrNameLst>
                                      </p:cBhvr>
                                      <p:to>
                                        <p:strVal val="visible"/>
                                      </p:to>
                                    </p:set>
                                  </p:childTnLst>
                                </p:cTn>
                              </p:par>
                              <p:par>
                                <p:cTn id="26" presetID="42" presetClass="path" presetSubtype="0" dur="1500" decel="100000" fill="hold" grpId="1" nodeType="withEffect">
                                  <p:stCondLst>
                                    <p:cond delay="900"/>
                                  </p:stCondLst>
                                  <p:childTnLst>
                                    <p:animMotion origin="layout" path="M -3.93569E-06 -3.51852E-06 L 0.29944 -0.49247" pathEditMode="relative" rAng="0" ptsTypes="AA">
                                      <p:cBhvr>
                                        <p:cTn id="27" dur="1500" spd="-100000" fill="hold"/>
                                        <p:tgtEl>
                                          <p:spTgt spid="9"/>
                                        </p:tgtEl>
                                        <p:attrNameLst>
                                          <p:attrName>ppt_x</p:attrName>
                                          <p:attrName>ppt_y</p:attrName>
                                        </p:attrNameLst>
                                      </p:cBhvr>
                                      <p:rCtr x="14972" y="-24618"/>
                                    </p:animMotion>
                                  </p:childTnLst>
                                </p:cTn>
                              </p:par>
                              <p:par>
                                <p:cTn id="28" presetID="1" presetClass="entr" presetSubtype="0" dur="1" fill="hold" grpId="0" nodeType="withEffect">
                                  <p:stCondLst>
                                    <p:cond delay="1000"/>
                                  </p:stCondLst>
                                  <p:childTnLst>
                                    <p:set>
                                      <p:cBhvr>
                                        <p:cTn id="29" dur="1" fill="hold">
                                          <p:stCondLst>
                                            <p:cond delay="0"/>
                                          </p:stCondLst>
                                        </p:cTn>
                                        <p:tgtEl>
                                          <p:spTgt spid="10"/>
                                        </p:tgtEl>
                                        <p:attrNameLst>
                                          <p:attrName>style.visibility</p:attrName>
                                        </p:attrNameLst>
                                      </p:cBhvr>
                                      <p:to>
                                        <p:strVal val="visible"/>
                                      </p:to>
                                    </p:set>
                                  </p:childTnLst>
                                </p:cTn>
                              </p:par>
                              <p:par>
                                <p:cTn id="30" presetID="42" presetClass="path" presetSubtype="0" dur="1500" decel="100000" fill="hold" grpId="1" nodeType="withEffect">
                                  <p:stCondLst>
                                    <p:cond delay="1000"/>
                                  </p:stCondLst>
                                  <p:childTnLst>
                                    <p:animMotion origin="layout" path="M -4.06588E-06 -2.22222E-06 L -0.41374 -0.39722" pathEditMode="relative" rAng="0" ptsTypes="AA">
                                      <p:cBhvr>
                                        <p:cTn id="31" dur="1500" spd="-100000" fill="hold"/>
                                        <p:tgtEl>
                                          <p:spTgt spid="10"/>
                                        </p:tgtEl>
                                        <p:attrNameLst>
                                          <p:attrName>ppt_x</p:attrName>
                                          <p:attrName>ppt_y</p:attrName>
                                        </p:attrNameLst>
                                      </p:cBhvr>
                                      <p:rCtr x="-20687" y="-1986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4" grpId="0" animBg="1"/>
      <p:bldP spid="13" grpId="0" animBg="1"/>
      <p:bldP spid="13" grpId="1" animBg="1"/>
      <p:bldP spid="12" grpId="0" animBg="1"/>
      <p:bldP spid="12" grpId="1" animBg="1"/>
      <p:bldP spid="11" grpId="0" animBg="1"/>
      <p:bldP spid="11" grpId="1" animBg="1"/>
      <p:bldP spid="10" grpId="0" animBg="1"/>
      <p:bldP spid="10" grpId="1" animBg="1"/>
      <p:bldP spid="9" grpId="0" animBg="1"/>
      <p:bldP spid="9" grpId="1" animBg="1"/>
    </p:bldLst>
  </p:timing>
</p:sldLayout>
</file>

<file path=ppt/slideLayouts/slideLayout313.xml><?xml version="1.0" encoding="utf-8"?>
<p:sldLayout xmlns:a="http://schemas.openxmlformats.org/drawingml/2006/main" xmlns:r="http://schemas.openxmlformats.org/officeDocument/2006/relationships" xmlns:p="http://schemas.openxmlformats.org/presentationml/2006/main" userDrawn="1">
  <p:cSld name="83_Custom Layout">
    <p:bg>
      <p:bgPr>
        <a:solidFill>
          <a:schemeClr val="bg1"/>
        </a:solidFill>
        <a:effectLst/>
      </p:bgPr>
    </p:bg>
    <p:spTree>
      <p:nvGrpSpPr>
        <p:cNvPr id="1" name=""/>
        <p:cNvGrpSpPr/>
        <p:nvPr/>
      </p:nvGrpSpPr>
      <p:grpSpPr>
        <a:xfrm>
          <a:off x="0" y="0"/>
          <a:ext cx="0" cy="0"/>
          <a:chOff x="0" y="0"/>
          <a:chExt cx="0" cy="0"/>
        </a:xfrm>
      </p:grpSpPr>
      <p:sp>
        <p:nvSpPr>
          <p:cNvPr id="3" name="Picture Placeholder 14">
            <a:extLst>
              <a:ext uri="{FF2B5EF4-FFF2-40B4-BE49-F238E27FC236}">
                <a16:creationId xmlns:a16="http://schemas.microsoft.com/office/drawing/2014/main" id="{1485ED5A-661D-47FA-AB95-328051D18E31}"/>
              </a:ext>
            </a:extLst>
          </p:cNvPr>
          <p:cNvSpPr>
            <a:spLocks noGrp="1"/>
          </p:cNvSpPr>
          <p:nvPr>
            <p:ph type="pic" sz="quarter" idx="15" hasCustomPrompt="1"/>
          </p:nvPr>
        </p:nvSpPr>
        <p:spPr>
          <a:xfrm>
            <a:off x="6008258" y="1298576"/>
            <a:ext cx="4068550" cy="626364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BottomDown">
              <a:rot lat="19620000" lon="3000000" rev="17412000"/>
            </a:camera>
            <a:lightRig rig="threePt" dir="t"/>
          </a:scene3d>
          <a:sp3d prstMaterial="matte"/>
        </p:spPr>
        <p:txBody>
          <a:bodyPr wrap="square" anchor="ctr">
            <a:noAutofit/>
          </a:bodyPr>
          <a:lstStyle>
            <a:lvl1pPr marL="0" indent="0" algn="ctr">
              <a:buFontTx/>
              <a:buNone/>
              <a:defRPr sz="1200"/>
            </a:lvl1pPr>
          </a:lstStyle>
          <a:p>
            <a:r>
              <a:rPr lang="en-US"/>
              <a:t> </a:t>
            </a:r>
          </a:p>
        </p:txBody>
      </p:sp>
      <p:sp>
        <p:nvSpPr>
          <p:cNvPr id="8" name="Picture Placeholder 14">
            <a:extLst>
              <a:ext uri="{FF2B5EF4-FFF2-40B4-BE49-F238E27FC236}">
                <a16:creationId xmlns:a16="http://schemas.microsoft.com/office/drawing/2014/main" id="{F86CCD24-EEBD-44B1-AAE0-E278A9981069}"/>
              </a:ext>
            </a:extLst>
          </p:cNvPr>
          <p:cNvSpPr>
            <a:spLocks noGrp="1"/>
          </p:cNvSpPr>
          <p:nvPr>
            <p:ph type="pic" sz="quarter" idx="16" hasCustomPrompt="1"/>
          </p:nvPr>
        </p:nvSpPr>
        <p:spPr>
          <a:xfrm>
            <a:off x="6008258" y="165346"/>
            <a:ext cx="4068550" cy="626364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outerShdw blurRad="1257300" dist="1041400" dir="1800000" sx="99000" sy="99000" algn="ctr" rotWithShape="0">
              <a:prstClr val="black">
                <a:alpha val="40000"/>
              </a:prstClr>
            </a:outerShdw>
          </a:effectLst>
          <a:scene3d>
            <a:camera prst="isometricBottomDown">
              <a:rot lat="19620000" lon="3000000" rev="17412000"/>
            </a:camera>
            <a:lightRig rig="threePt" dir="t"/>
          </a:scene3d>
          <a:sp3d prstMaterial="matte"/>
        </p:spPr>
        <p:txBody>
          <a:bodyPr wrap="square" anchor="ctr">
            <a:noAutofit/>
          </a:bodyPr>
          <a:lstStyle>
            <a:lvl1pPr marL="0" indent="0" algn="ctr">
              <a:buFontTx/>
              <a:buNone/>
              <a:defRPr sz="1200"/>
            </a:lvl1pPr>
          </a:lstStyle>
          <a:p>
            <a:r>
              <a:rPr lang="en-US"/>
              <a:t> </a:t>
            </a:r>
          </a:p>
        </p:txBody>
      </p:sp>
      <p:sp>
        <p:nvSpPr>
          <p:cNvPr id="9" name="Picture Placeholder 14">
            <a:extLst>
              <a:ext uri="{FF2B5EF4-FFF2-40B4-BE49-F238E27FC236}">
                <a16:creationId xmlns:a16="http://schemas.microsoft.com/office/drawing/2014/main" id="{ABA520E2-51C3-40D7-AEDE-9D02A83EC15D}"/>
              </a:ext>
            </a:extLst>
          </p:cNvPr>
          <p:cNvSpPr>
            <a:spLocks noGrp="1"/>
          </p:cNvSpPr>
          <p:nvPr>
            <p:ph type="pic" sz="quarter" idx="17" hasCustomPrompt="1"/>
          </p:nvPr>
        </p:nvSpPr>
        <p:spPr>
          <a:xfrm>
            <a:off x="6008258" y="-967883"/>
            <a:ext cx="4068550" cy="626364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outerShdw blurRad="1257300" dist="1041400" dir="1800000" sx="99000" sy="99000" algn="ctr" rotWithShape="0">
              <a:prstClr val="black">
                <a:alpha val="40000"/>
              </a:prstClr>
            </a:outerShdw>
          </a:effectLst>
          <a:scene3d>
            <a:camera prst="isometricBottomDown">
              <a:rot lat="19620000" lon="3000000" rev="17412000"/>
            </a:camera>
            <a:lightRig rig="threePt" dir="t"/>
          </a:scene3d>
          <a:sp3d prstMaterial="matte"/>
        </p:spPr>
        <p:txBody>
          <a:bodyPr wrap="square" anchor="ctr">
            <a:noAutofit/>
          </a:bodyPr>
          <a:lstStyle>
            <a:lvl1pPr marL="0" indent="0" algn="ctr">
              <a:buFontTx/>
              <a:buNone/>
              <a:defRPr sz="1200"/>
            </a:lvl1pPr>
          </a:lstStyle>
          <a:p>
            <a:r>
              <a:rPr lang="en-US"/>
              <a:t> </a:t>
            </a:r>
          </a:p>
        </p:txBody>
      </p:sp>
    </p:spTree>
    <p:extLst>
      <p:ext uri="{BB962C8B-B14F-4D97-AF65-F5344CB8AC3E}">
        <p14:creationId xmlns:p14="http://schemas.microsoft.com/office/powerpoint/2010/main" val="1022966609"/>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10" presetClass="entr" presetSubtype="0" dur="500" fill="hold" grpId="0" nodeType="withEffect">
                                  <p:stCondLst>
                                    <p:cond delay="230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dur="500" fill="hold" grpId="0" nodeType="withEffect">
                                  <p:stCondLst>
                                    <p:cond delay="270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42" presetClass="path" presetSubtype="0" dur="1500" decel="100000" fill="hold" grpId="1" nodeType="withEffect">
                                  <p:stCondLst>
                                    <p:cond delay="2100"/>
                                  </p:stCondLst>
                                  <p:childTnLst>
                                    <p:animMotion origin="layout" path="M -4.63351E-06 2.96296E-06 L -4.63351E-06 0.25" pathEditMode="relative" rAng="0" ptsTypes="AA">
                                      <p:cBhvr>
                                        <p:cTn id="12" dur="1500" spd="-100000" fill="hold"/>
                                        <p:tgtEl>
                                          <p:spTgt spid="8"/>
                                        </p:tgtEl>
                                        <p:attrNameLst>
                                          <p:attrName>ppt_x</p:attrName>
                                          <p:attrName>ppt_y</p:attrName>
                                        </p:attrNameLst>
                                      </p:cBhvr>
                                      <p:rCtr x="0" y="12500"/>
                                    </p:animMotion>
                                  </p:childTnLst>
                                </p:cTn>
                              </p:par>
                              <p:par>
                                <p:cTn id="13" presetID="10" presetClass="entr" presetSubtype="0" dur="500" fill="hold" grpId="0" nodeType="withEffect">
                                  <p:stCondLst>
                                    <p:cond delay="310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500"/>
                                        <p:tgtEl>
                                          <p:spTgt spid="9"/>
                                        </p:tgtEl>
                                      </p:cBhvr>
                                    </p:animEffect>
                                  </p:childTnLst>
                                </p:cTn>
                              </p:par>
                              <p:par>
                                <p:cTn id="16" presetID="42" presetClass="path" presetSubtype="0" dur="1500" decel="100000" fill="hold" grpId="1" nodeType="withEffect">
                                  <p:stCondLst>
                                    <p:cond delay="2500"/>
                                  </p:stCondLst>
                                  <p:childTnLst>
                                    <p:animMotion origin="layout" path="M -4.63351E-06 7.40741E-07 L -4.63351E-06 0.25" pathEditMode="relative" rAng="0" ptsTypes="AA">
                                      <p:cBhvr>
                                        <p:cTn id="17" dur="1500" spd="-100000" fill="hold"/>
                                        <p:tgtEl>
                                          <p:spTgt spid="9"/>
                                        </p:tgtEl>
                                        <p:attrNameLst>
                                          <p:attrName>ppt_x</p:attrName>
                                          <p:attrName>ppt_y</p:attrName>
                                        </p:attrNameLst>
                                      </p:cBhvr>
                                      <p:rCtr x="0" y="1250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8" grpId="0" animBg="1"/>
      <p:bldP spid="8" grpId="1" animBg="1"/>
      <p:bldP spid="9" grpId="0" animBg="1"/>
      <p:bldP spid="9" grpId="1" animBg="1"/>
    </p:bldLst>
  </p:timing>
</p:sldLayout>
</file>

<file path=ppt/slideLayouts/slideLayout314.xml><?xml version="1.0" encoding="utf-8"?>
<p:sldLayout xmlns:a="http://schemas.openxmlformats.org/drawingml/2006/main" xmlns:r="http://schemas.openxmlformats.org/officeDocument/2006/relationships" xmlns:p="http://schemas.openxmlformats.org/presentationml/2006/main" userDrawn="1">
  <p:cSld name="86_Custom Layout">
    <p:bg>
      <p:bgPr>
        <a:solidFill>
          <a:schemeClr val="bg1"/>
        </a:solidFill>
        <a:effectLst/>
      </p:bgPr>
    </p:bg>
    <p:spTree>
      <p:nvGrpSpPr>
        <p:cNvPr id="1" name=""/>
        <p:cNvGrpSpPr/>
        <p:nvPr/>
      </p:nvGrpSpPr>
      <p:grpSpPr>
        <a:xfrm>
          <a:off x="0" y="0"/>
          <a:ext cx="0" cy="0"/>
          <a:chOff x="0" y="0"/>
          <a:chExt cx="0" cy="0"/>
        </a:xfrm>
      </p:grpSpPr>
      <p:sp>
        <p:nvSpPr>
          <p:cNvPr id="11" name="Picture Placeholder 6">
            <a:extLst>
              <a:ext uri="{FF2B5EF4-FFF2-40B4-BE49-F238E27FC236}">
                <a16:creationId xmlns:a16="http://schemas.microsoft.com/office/drawing/2014/main" id="{97F12BB4-E64D-4CC7-BB98-979542600629}"/>
              </a:ext>
            </a:extLst>
          </p:cNvPr>
          <p:cNvSpPr>
            <a:spLocks noGrp="1"/>
          </p:cNvSpPr>
          <p:nvPr>
            <p:ph type="pic" sz="quarter" idx="13" hasCustomPrompt="1"/>
          </p:nvPr>
        </p:nvSpPr>
        <p:spPr>
          <a:xfrm>
            <a:off x="4284699" y="24182"/>
            <a:ext cx="3565696" cy="658368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rot lat="3000000" lon="3000000" rev="3960000"/>
            </a:camera>
            <a:lightRig rig="threePt" dir="t"/>
          </a:scene3d>
          <a:sp3d prstMaterial="matte"/>
        </p:spPr>
        <p:txBody>
          <a:bodyPr wrap="square" anchor="ctr">
            <a:noAutofit/>
          </a:bodyPr>
          <a:lstStyle>
            <a:lvl1pPr marL="0" indent="0" algn="ctr">
              <a:buFontTx/>
              <a:buNone/>
              <a:defRPr sz="1200"/>
            </a:lvl1pPr>
          </a:lstStyle>
          <a:p>
            <a:r>
              <a:rPr lang="en-US"/>
              <a:t> </a:t>
            </a:r>
          </a:p>
        </p:txBody>
      </p:sp>
      <p:sp>
        <p:nvSpPr>
          <p:cNvPr id="14" name="Picture Placeholder 6">
            <a:extLst>
              <a:ext uri="{FF2B5EF4-FFF2-40B4-BE49-F238E27FC236}">
                <a16:creationId xmlns:a16="http://schemas.microsoft.com/office/drawing/2014/main" id="{529CB4CC-F54C-4AA5-8343-ACE0D81CE77F}"/>
              </a:ext>
            </a:extLst>
          </p:cNvPr>
          <p:cNvSpPr>
            <a:spLocks noGrp="1"/>
          </p:cNvSpPr>
          <p:nvPr>
            <p:ph type="pic" sz="quarter" idx="16" hasCustomPrompt="1"/>
          </p:nvPr>
        </p:nvSpPr>
        <p:spPr>
          <a:xfrm>
            <a:off x="7670801" y="2007234"/>
            <a:ext cx="3565696" cy="658368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rot lat="18600000" lon="3000000" rev="17640000"/>
            </a:camera>
            <a:lightRig rig="threePt" dir="t"/>
          </a:scene3d>
          <a:sp3d prstMaterial="matte"/>
        </p:spPr>
        <p:txBody>
          <a:bodyPr wrap="square" anchor="ctr">
            <a:noAutofit/>
          </a:bodyPr>
          <a:lstStyle>
            <a:lvl1pPr marL="0" indent="0" algn="ctr">
              <a:buFontTx/>
              <a:buNone/>
              <a:defRPr sz="1200"/>
            </a:lvl1pPr>
          </a:lstStyle>
          <a:p>
            <a:r>
              <a:rPr lang="en-US"/>
              <a:t> </a:t>
            </a:r>
          </a:p>
        </p:txBody>
      </p:sp>
      <p:sp>
        <p:nvSpPr>
          <p:cNvPr id="24" name="Picture Placeholder 6">
            <a:extLst>
              <a:ext uri="{FF2B5EF4-FFF2-40B4-BE49-F238E27FC236}">
                <a16:creationId xmlns:a16="http://schemas.microsoft.com/office/drawing/2014/main" id="{3D99A0DA-7D07-4249-A498-3ECFEC79A936}"/>
              </a:ext>
            </a:extLst>
          </p:cNvPr>
          <p:cNvSpPr>
            <a:spLocks noGrp="1"/>
          </p:cNvSpPr>
          <p:nvPr>
            <p:ph type="pic" sz="quarter" idx="17" hasCustomPrompt="1"/>
          </p:nvPr>
        </p:nvSpPr>
        <p:spPr>
          <a:xfrm>
            <a:off x="4405964" y="4005045"/>
            <a:ext cx="3565696" cy="658368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rot lat="3000000" lon="3000000" rev="3960000"/>
            </a:camera>
            <a:lightRig rig="threePt" dir="t"/>
          </a:scene3d>
          <a:sp3d prstMaterial="matte"/>
        </p:spPr>
        <p:txBody>
          <a:bodyPr wrap="square" anchor="ctr">
            <a:noAutofit/>
          </a:bodyPr>
          <a:lstStyle>
            <a:lvl1pPr marL="0" indent="0" algn="ctr">
              <a:buFontTx/>
              <a:buNone/>
              <a:defRPr sz="1200"/>
            </a:lvl1pPr>
          </a:lstStyle>
          <a:p>
            <a:r>
              <a:rPr lang="en-US"/>
              <a:t> </a:t>
            </a:r>
          </a:p>
        </p:txBody>
      </p:sp>
      <p:sp>
        <p:nvSpPr>
          <p:cNvPr id="25" name="Picture Placeholder 6">
            <a:extLst>
              <a:ext uri="{FF2B5EF4-FFF2-40B4-BE49-F238E27FC236}">
                <a16:creationId xmlns:a16="http://schemas.microsoft.com/office/drawing/2014/main" id="{A40C83F4-4617-45B0-AEBC-B7A1DAEE8A4F}"/>
              </a:ext>
            </a:extLst>
          </p:cNvPr>
          <p:cNvSpPr>
            <a:spLocks noGrp="1"/>
          </p:cNvSpPr>
          <p:nvPr>
            <p:ph type="pic" sz="quarter" idx="18" hasCustomPrompt="1"/>
          </p:nvPr>
        </p:nvSpPr>
        <p:spPr>
          <a:xfrm>
            <a:off x="939785" y="2035093"/>
            <a:ext cx="3565696" cy="658368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rot lat="18600000" lon="3000000" rev="17640000"/>
            </a:camera>
            <a:lightRig rig="threePt" dir="t"/>
          </a:scene3d>
          <a:sp3d prstMaterial="matte"/>
        </p:spPr>
        <p:txBody>
          <a:bodyPr wrap="square" anchor="ctr">
            <a:noAutofit/>
          </a:bodyPr>
          <a:lstStyle>
            <a:lvl1pPr marL="0" indent="0" algn="ctr">
              <a:buFontTx/>
              <a:buNone/>
              <a:defRPr sz="1200"/>
            </a:lvl1pPr>
          </a:lstStyle>
          <a:p>
            <a:r>
              <a:rPr lang="en-US"/>
              <a:t> </a:t>
            </a:r>
          </a:p>
        </p:txBody>
      </p:sp>
      <p:sp>
        <p:nvSpPr>
          <p:cNvPr id="26" name="Picture Placeholder 6">
            <a:extLst>
              <a:ext uri="{FF2B5EF4-FFF2-40B4-BE49-F238E27FC236}">
                <a16:creationId xmlns:a16="http://schemas.microsoft.com/office/drawing/2014/main" id="{B2DDB705-8583-4205-A6AC-A0C9FE6C24C7}"/>
              </a:ext>
            </a:extLst>
          </p:cNvPr>
          <p:cNvSpPr>
            <a:spLocks noGrp="1"/>
          </p:cNvSpPr>
          <p:nvPr>
            <p:ph type="pic" sz="quarter" idx="19" hasCustomPrompt="1"/>
          </p:nvPr>
        </p:nvSpPr>
        <p:spPr>
          <a:xfrm>
            <a:off x="920738" y="-1993030"/>
            <a:ext cx="3565696" cy="658368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rot lat="18600000" lon="3000000" rev="17640000"/>
            </a:camera>
            <a:lightRig rig="threePt" dir="t"/>
          </a:scene3d>
          <a:sp3d prstMaterial="matte"/>
        </p:spPr>
        <p:txBody>
          <a:bodyPr wrap="square" anchor="ctr">
            <a:noAutofit/>
          </a:bodyPr>
          <a:lstStyle>
            <a:lvl1pPr marL="0" indent="0" algn="ctr">
              <a:buFontTx/>
              <a:buNone/>
              <a:defRPr sz="1200"/>
            </a:lvl1pPr>
          </a:lstStyle>
          <a:p>
            <a:r>
              <a:rPr lang="en-US"/>
              <a:t> </a:t>
            </a:r>
          </a:p>
        </p:txBody>
      </p:sp>
      <p:sp>
        <p:nvSpPr>
          <p:cNvPr id="27" name="Picture Placeholder 6">
            <a:extLst>
              <a:ext uri="{FF2B5EF4-FFF2-40B4-BE49-F238E27FC236}">
                <a16:creationId xmlns:a16="http://schemas.microsoft.com/office/drawing/2014/main" id="{F041FFFF-ABCB-478C-81C8-2748EDA068E5}"/>
              </a:ext>
            </a:extLst>
          </p:cNvPr>
          <p:cNvSpPr>
            <a:spLocks noGrp="1"/>
          </p:cNvSpPr>
          <p:nvPr>
            <p:ph type="pic" sz="quarter" idx="20" hasCustomPrompt="1"/>
          </p:nvPr>
        </p:nvSpPr>
        <p:spPr>
          <a:xfrm>
            <a:off x="7637782" y="-1985773"/>
            <a:ext cx="3565696" cy="658368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rot lat="18600000" lon="3000000" rev="17640000"/>
            </a:camera>
            <a:lightRig rig="threePt" dir="t"/>
          </a:scene3d>
          <a:sp3d prstMaterial="matte"/>
        </p:spPr>
        <p:txBody>
          <a:bodyPr wrap="square" anchor="ctr">
            <a:noAutofit/>
          </a:bodyPr>
          <a:lstStyle>
            <a:lvl1pPr marL="0" indent="0" algn="ctr">
              <a:buFontTx/>
              <a:buNone/>
              <a:defRPr sz="1200"/>
            </a:lvl1pPr>
          </a:lstStyle>
          <a:p>
            <a:r>
              <a:rPr lang="en-US"/>
              <a:t> </a:t>
            </a:r>
          </a:p>
        </p:txBody>
      </p:sp>
      <p:sp>
        <p:nvSpPr>
          <p:cNvPr id="28" name="Picture Placeholder 6">
            <a:extLst>
              <a:ext uri="{FF2B5EF4-FFF2-40B4-BE49-F238E27FC236}">
                <a16:creationId xmlns:a16="http://schemas.microsoft.com/office/drawing/2014/main" id="{E8C46F02-D220-4F1D-A205-CD188B1EADC6}"/>
              </a:ext>
            </a:extLst>
          </p:cNvPr>
          <p:cNvSpPr>
            <a:spLocks noGrp="1"/>
          </p:cNvSpPr>
          <p:nvPr>
            <p:ph type="pic" sz="quarter" idx="21" hasCustomPrompt="1"/>
          </p:nvPr>
        </p:nvSpPr>
        <p:spPr>
          <a:xfrm>
            <a:off x="11021082" y="5552"/>
            <a:ext cx="3565696" cy="658368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rot lat="3000000" lon="3000000" rev="3960000"/>
            </a:camera>
            <a:lightRig rig="threePt" dir="t"/>
          </a:scene3d>
          <a:sp3d prstMaterial="matte"/>
        </p:spPr>
        <p:txBody>
          <a:bodyPr wrap="square" anchor="ctr">
            <a:noAutofit/>
          </a:bodyPr>
          <a:lstStyle>
            <a:lvl1pPr marL="0" indent="0" algn="ctr">
              <a:buFontTx/>
              <a:buNone/>
              <a:defRPr sz="1200"/>
            </a:lvl1pPr>
          </a:lstStyle>
          <a:p>
            <a:r>
              <a:rPr lang="en-US"/>
              <a:t> </a:t>
            </a:r>
          </a:p>
        </p:txBody>
      </p:sp>
      <p:sp>
        <p:nvSpPr>
          <p:cNvPr id="29" name="Picture Placeholder 6">
            <a:extLst>
              <a:ext uri="{FF2B5EF4-FFF2-40B4-BE49-F238E27FC236}">
                <a16:creationId xmlns:a16="http://schemas.microsoft.com/office/drawing/2014/main" id="{EF1A4BA8-0A92-4533-9270-471B0E0C082E}"/>
              </a:ext>
            </a:extLst>
          </p:cNvPr>
          <p:cNvSpPr>
            <a:spLocks noGrp="1"/>
          </p:cNvSpPr>
          <p:nvPr>
            <p:ph type="pic" sz="quarter" idx="22" hasCustomPrompt="1"/>
          </p:nvPr>
        </p:nvSpPr>
        <p:spPr>
          <a:xfrm>
            <a:off x="4288626" y="-4013106"/>
            <a:ext cx="3565696" cy="658368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rot lat="3000000" lon="3000000" rev="3960000"/>
            </a:camera>
            <a:lightRig rig="threePt" dir="t"/>
          </a:scene3d>
          <a:sp3d prstMaterial="matte"/>
        </p:spPr>
        <p:txBody>
          <a:bodyPr wrap="square" anchor="ctr">
            <a:noAutofit/>
          </a:bodyPr>
          <a:lstStyle>
            <a:lvl1pPr marL="0" indent="0" algn="ctr">
              <a:buFontTx/>
              <a:buNone/>
              <a:defRPr sz="1200"/>
            </a:lvl1pPr>
          </a:lstStyle>
          <a:p>
            <a:r>
              <a:rPr lang="en-US"/>
              <a:t> </a:t>
            </a:r>
          </a:p>
        </p:txBody>
      </p:sp>
      <p:sp>
        <p:nvSpPr>
          <p:cNvPr id="32" name="Picture Placeholder 6">
            <a:extLst>
              <a:ext uri="{FF2B5EF4-FFF2-40B4-BE49-F238E27FC236}">
                <a16:creationId xmlns:a16="http://schemas.microsoft.com/office/drawing/2014/main" id="{9DC83989-293D-49EE-BAB8-4BA6670BF53C}"/>
              </a:ext>
            </a:extLst>
          </p:cNvPr>
          <p:cNvSpPr>
            <a:spLocks noGrp="1"/>
          </p:cNvSpPr>
          <p:nvPr>
            <p:ph type="pic" sz="quarter" idx="23" hasCustomPrompt="1"/>
          </p:nvPr>
        </p:nvSpPr>
        <p:spPr>
          <a:xfrm>
            <a:off x="-2510582" y="3574"/>
            <a:ext cx="3565696" cy="658368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rot lat="3000000" lon="3000000" rev="3960000"/>
            </a:camera>
            <a:lightRig rig="threePt" dir="t"/>
          </a:scene3d>
          <a:sp3d prstMaterial="matte"/>
        </p:spPr>
        <p:txBody>
          <a:bodyPr wrap="square" anchor="ctr">
            <a:noAutofit/>
          </a:bodyPr>
          <a:lstStyle>
            <a:lvl1pPr marL="0" indent="0" algn="ctr">
              <a:buFontTx/>
              <a:buNone/>
              <a:defRPr sz="1200"/>
            </a:lvl1pPr>
          </a:lstStyle>
          <a:p>
            <a:r>
              <a:rPr lang="en-US"/>
              <a:t> </a:t>
            </a:r>
          </a:p>
        </p:txBody>
      </p:sp>
    </p:spTree>
    <p:extLst>
      <p:ext uri="{BB962C8B-B14F-4D97-AF65-F5344CB8AC3E}">
        <p14:creationId xmlns:p14="http://schemas.microsoft.com/office/powerpoint/2010/main" val="644845059"/>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10" presetClass="entr" presetSubtype="0" dur="300" fill="hold" grpId="0" nodeType="withEffect">
                                  <p:stCondLst>
                                    <p:cond delay="130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300"/>
                                        <p:tgtEl>
                                          <p:spTgt spid="11"/>
                                        </p:tgtEl>
                                      </p:cBhvr>
                                    </p:animEffect>
                                  </p:childTnLst>
                                </p:cTn>
                              </p:par>
                              <p:par>
                                <p:cTn id="8" presetID="10" presetClass="entr" presetSubtype="0" dur="300" fill="hold" grpId="0" nodeType="withEffect">
                                  <p:stCondLst>
                                    <p:cond delay="2300"/>
                                  </p:stCondLst>
                                  <p:childTnLst>
                                    <p:set>
                                      <p:cBhvr>
                                        <p:cTn id="9" dur="1" fill="hold">
                                          <p:stCondLst>
                                            <p:cond delay="0"/>
                                          </p:stCondLst>
                                        </p:cTn>
                                        <p:tgtEl>
                                          <p:spTgt spid="14"/>
                                        </p:tgtEl>
                                        <p:attrNameLst>
                                          <p:attrName>style.visibility</p:attrName>
                                        </p:attrNameLst>
                                      </p:cBhvr>
                                      <p:to>
                                        <p:strVal val="visible"/>
                                      </p:to>
                                    </p:set>
                                    <p:animEffect transition="in" filter="fade">
                                      <p:cBhvr>
                                        <p:cTn id="10" dur="300"/>
                                        <p:tgtEl>
                                          <p:spTgt spid="14"/>
                                        </p:tgtEl>
                                      </p:cBhvr>
                                    </p:animEffect>
                                  </p:childTnLst>
                                </p:cTn>
                              </p:par>
                              <p:par>
                                <p:cTn id="11" presetID="10" presetClass="entr" presetSubtype="0" dur="300" fill="hold" grpId="0" nodeType="withEffect">
                                  <p:stCondLst>
                                    <p:cond delay="2400"/>
                                  </p:stCondLst>
                                  <p:childTnLst>
                                    <p:set>
                                      <p:cBhvr>
                                        <p:cTn id="12" dur="1" fill="hold">
                                          <p:stCondLst>
                                            <p:cond delay="0"/>
                                          </p:stCondLst>
                                        </p:cTn>
                                        <p:tgtEl>
                                          <p:spTgt spid="24"/>
                                        </p:tgtEl>
                                        <p:attrNameLst>
                                          <p:attrName>style.visibility</p:attrName>
                                        </p:attrNameLst>
                                      </p:cBhvr>
                                      <p:to>
                                        <p:strVal val="visible"/>
                                      </p:to>
                                    </p:set>
                                    <p:animEffect transition="in" filter="fade">
                                      <p:cBhvr>
                                        <p:cTn id="13" dur="300"/>
                                        <p:tgtEl>
                                          <p:spTgt spid="24"/>
                                        </p:tgtEl>
                                      </p:cBhvr>
                                    </p:animEffect>
                                  </p:childTnLst>
                                </p:cTn>
                              </p:par>
                              <p:par>
                                <p:cTn id="14" presetID="10" presetClass="entr" presetSubtype="0" dur="300" fill="hold" grpId="0" nodeType="withEffect">
                                  <p:stCondLst>
                                    <p:cond delay="2500"/>
                                  </p:stCondLst>
                                  <p:childTnLst>
                                    <p:set>
                                      <p:cBhvr>
                                        <p:cTn id="15" dur="1" fill="hold">
                                          <p:stCondLst>
                                            <p:cond delay="0"/>
                                          </p:stCondLst>
                                        </p:cTn>
                                        <p:tgtEl>
                                          <p:spTgt spid="25"/>
                                        </p:tgtEl>
                                        <p:attrNameLst>
                                          <p:attrName>style.visibility</p:attrName>
                                        </p:attrNameLst>
                                      </p:cBhvr>
                                      <p:to>
                                        <p:strVal val="visible"/>
                                      </p:to>
                                    </p:set>
                                    <p:animEffect transition="in" filter="fade">
                                      <p:cBhvr>
                                        <p:cTn id="16" dur="300"/>
                                        <p:tgtEl>
                                          <p:spTgt spid="25"/>
                                        </p:tgtEl>
                                      </p:cBhvr>
                                    </p:animEffect>
                                  </p:childTnLst>
                                </p:cTn>
                              </p:par>
                              <p:par>
                                <p:cTn id="17" presetID="10" presetClass="entr" presetSubtype="0" dur="300" fill="hold" grpId="0" nodeType="withEffect">
                                  <p:stCondLst>
                                    <p:cond delay="2600"/>
                                  </p:stCondLst>
                                  <p:childTnLst>
                                    <p:set>
                                      <p:cBhvr>
                                        <p:cTn id="18" dur="1" fill="hold">
                                          <p:stCondLst>
                                            <p:cond delay="0"/>
                                          </p:stCondLst>
                                        </p:cTn>
                                        <p:tgtEl>
                                          <p:spTgt spid="32"/>
                                        </p:tgtEl>
                                        <p:attrNameLst>
                                          <p:attrName>style.visibility</p:attrName>
                                        </p:attrNameLst>
                                      </p:cBhvr>
                                      <p:to>
                                        <p:strVal val="visible"/>
                                      </p:to>
                                    </p:set>
                                    <p:animEffect transition="in" filter="fade">
                                      <p:cBhvr>
                                        <p:cTn id="19" dur="300"/>
                                        <p:tgtEl>
                                          <p:spTgt spid="32"/>
                                        </p:tgtEl>
                                      </p:cBhvr>
                                    </p:animEffect>
                                  </p:childTnLst>
                                </p:cTn>
                              </p:par>
                              <p:par>
                                <p:cTn id="20" presetID="10" presetClass="entr" presetSubtype="0" dur="300" fill="hold" grpId="0" nodeType="withEffect">
                                  <p:stCondLst>
                                    <p:cond delay="2700"/>
                                  </p:stCondLst>
                                  <p:childTnLst>
                                    <p:set>
                                      <p:cBhvr>
                                        <p:cTn id="21" dur="1" fill="hold">
                                          <p:stCondLst>
                                            <p:cond delay="0"/>
                                          </p:stCondLst>
                                        </p:cTn>
                                        <p:tgtEl>
                                          <p:spTgt spid="26"/>
                                        </p:tgtEl>
                                        <p:attrNameLst>
                                          <p:attrName>style.visibility</p:attrName>
                                        </p:attrNameLst>
                                      </p:cBhvr>
                                      <p:to>
                                        <p:strVal val="visible"/>
                                      </p:to>
                                    </p:set>
                                    <p:animEffect transition="in" filter="fade">
                                      <p:cBhvr>
                                        <p:cTn id="22" dur="300"/>
                                        <p:tgtEl>
                                          <p:spTgt spid="26"/>
                                        </p:tgtEl>
                                      </p:cBhvr>
                                    </p:animEffect>
                                  </p:childTnLst>
                                </p:cTn>
                              </p:par>
                              <p:par>
                                <p:cTn id="23" presetID="10" presetClass="entr" presetSubtype="0" dur="300" fill="hold" grpId="0" nodeType="withEffect">
                                  <p:stCondLst>
                                    <p:cond delay="2800"/>
                                  </p:stCondLst>
                                  <p:childTnLst>
                                    <p:set>
                                      <p:cBhvr>
                                        <p:cTn id="24" dur="1" fill="hold">
                                          <p:stCondLst>
                                            <p:cond delay="0"/>
                                          </p:stCondLst>
                                        </p:cTn>
                                        <p:tgtEl>
                                          <p:spTgt spid="29"/>
                                        </p:tgtEl>
                                        <p:attrNameLst>
                                          <p:attrName>style.visibility</p:attrName>
                                        </p:attrNameLst>
                                      </p:cBhvr>
                                      <p:to>
                                        <p:strVal val="visible"/>
                                      </p:to>
                                    </p:set>
                                    <p:animEffect transition="in" filter="fade">
                                      <p:cBhvr>
                                        <p:cTn id="25" dur="300"/>
                                        <p:tgtEl>
                                          <p:spTgt spid="29"/>
                                        </p:tgtEl>
                                      </p:cBhvr>
                                    </p:animEffect>
                                  </p:childTnLst>
                                </p:cTn>
                              </p:par>
                              <p:par>
                                <p:cTn id="26" presetID="10" presetClass="entr" presetSubtype="0" dur="300" fill="hold" grpId="0" nodeType="withEffect">
                                  <p:stCondLst>
                                    <p:cond delay="2900"/>
                                  </p:stCondLst>
                                  <p:childTnLst>
                                    <p:set>
                                      <p:cBhvr>
                                        <p:cTn id="27" dur="1" fill="hold">
                                          <p:stCondLst>
                                            <p:cond delay="0"/>
                                          </p:stCondLst>
                                        </p:cTn>
                                        <p:tgtEl>
                                          <p:spTgt spid="27"/>
                                        </p:tgtEl>
                                        <p:attrNameLst>
                                          <p:attrName>style.visibility</p:attrName>
                                        </p:attrNameLst>
                                      </p:cBhvr>
                                      <p:to>
                                        <p:strVal val="visible"/>
                                      </p:to>
                                    </p:set>
                                    <p:animEffect transition="in" filter="fade">
                                      <p:cBhvr>
                                        <p:cTn id="28" dur="300"/>
                                        <p:tgtEl>
                                          <p:spTgt spid="27"/>
                                        </p:tgtEl>
                                      </p:cBhvr>
                                    </p:animEffect>
                                  </p:childTnLst>
                                </p:cTn>
                              </p:par>
                              <p:par>
                                <p:cTn id="29" presetID="10" presetClass="entr" presetSubtype="0" dur="300" fill="hold" grpId="0" nodeType="withEffect">
                                  <p:stCondLst>
                                    <p:cond delay="3000"/>
                                  </p:stCondLst>
                                  <p:childTnLst>
                                    <p:set>
                                      <p:cBhvr>
                                        <p:cTn id="30" dur="1" fill="hold">
                                          <p:stCondLst>
                                            <p:cond delay="0"/>
                                          </p:stCondLst>
                                        </p:cTn>
                                        <p:tgtEl>
                                          <p:spTgt spid="28"/>
                                        </p:tgtEl>
                                        <p:attrNameLst>
                                          <p:attrName>style.visibility</p:attrName>
                                        </p:attrNameLst>
                                      </p:cBhvr>
                                      <p:to>
                                        <p:strVal val="visible"/>
                                      </p:to>
                                    </p:set>
                                    <p:animEffect transition="in" filter="fade">
                                      <p:cBhvr>
                                        <p:cTn id="31" dur="3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4" grpId="0" animBg="1"/>
      <p:bldP spid="24" grpId="0" animBg="1"/>
      <p:bldP spid="25" grpId="0" animBg="1"/>
      <p:bldP spid="26" grpId="0" animBg="1"/>
      <p:bldP spid="27" grpId="0" animBg="1"/>
      <p:bldP spid="28" grpId="0" animBg="1"/>
      <p:bldP spid="29" grpId="0" animBg="1"/>
      <p:bldP spid="32" grpId="0" animBg="1"/>
    </p:bldLst>
  </p:timing>
</p:sldLayout>
</file>

<file path=ppt/slideLayouts/slideLayout315.xml><?xml version="1.0" encoding="utf-8"?>
<p:sldLayout xmlns:a="http://schemas.openxmlformats.org/drawingml/2006/main" xmlns:r="http://schemas.openxmlformats.org/officeDocument/2006/relationships" xmlns:p="http://schemas.openxmlformats.org/presentationml/2006/main" userDrawn="1">
  <p:cSld name="88_Custom Layout">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F2516F8B-E0FE-4C4A-820B-A5DC7B2F2B55}"/>
              </a:ext>
            </a:extLst>
          </p:cNvPr>
          <p:cNvSpPr>
            <a:spLocks noGrp="1"/>
          </p:cNvSpPr>
          <p:nvPr>
            <p:ph type="pic" sz="quarter" idx="19" hasCustomPrompt="1"/>
          </p:nvPr>
        </p:nvSpPr>
        <p:spPr>
          <a:xfrm>
            <a:off x="4178324" y="-82822"/>
            <a:ext cx="3154269" cy="749808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rot lat="18420000" lon="3000000" rev="17310000"/>
            </a:camera>
            <a:lightRig rig="threePt" dir="t"/>
          </a:scene3d>
          <a:sp3d prstMaterial="matte"/>
        </p:spPr>
        <p:txBody>
          <a:bodyPr wrap="square" anchor="ctr">
            <a:noAutofit/>
          </a:bodyPr>
          <a:lstStyle>
            <a:lvl1pPr marL="0" indent="0" algn="ctr">
              <a:buFontTx/>
              <a:buNone/>
              <a:defRPr sz="1200"/>
            </a:lvl1pPr>
          </a:lstStyle>
          <a:p>
            <a:r>
              <a:rPr lang="en-US"/>
              <a:t> </a:t>
            </a:r>
          </a:p>
        </p:txBody>
      </p:sp>
      <p:sp>
        <p:nvSpPr>
          <p:cNvPr id="23" name="Picture Placeholder 6">
            <a:extLst>
              <a:ext uri="{FF2B5EF4-FFF2-40B4-BE49-F238E27FC236}">
                <a16:creationId xmlns:a16="http://schemas.microsoft.com/office/drawing/2014/main" id="{A4626463-2253-4697-9500-AEF47C1C3A30}"/>
              </a:ext>
            </a:extLst>
          </p:cNvPr>
          <p:cNvSpPr>
            <a:spLocks noGrp="1"/>
          </p:cNvSpPr>
          <p:nvPr>
            <p:ph type="pic" sz="quarter" idx="20" hasCustomPrompt="1"/>
          </p:nvPr>
        </p:nvSpPr>
        <p:spPr>
          <a:xfrm>
            <a:off x="9435489" y="-1820952"/>
            <a:ext cx="3154269" cy="749808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rot lat="18420000" lon="3000000" rev="17310000"/>
            </a:camera>
            <a:lightRig rig="threePt" dir="t"/>
          </a:scene3d>
          <a:sp3d prstMaterial="matte"/>
        </p:spPr>
        <p:txBody>
          <a:bodyPr wrap="square" anchor="ctr">
            <a:noAutofit/>
          </a:bodyPr>
          <a:lstStyle>
            <a:lvl1pPr marL="0" indent="0" algn="ctr">
              <a:buFontTx/>
              <a:buNone/>
              <a:defRPr sz="1200"/>
            </a:lvl1pPr>
          </a:lstStyle>
          <a:p>
            <a:r>
              <a:rPr lang="en-US"/>
              <a:t> </a:t>
            </a:r>
          </a:p>
        </p:txBody>
      </p:sp>
      <p:sp>
        <p:nvSpPr>
          <p:cNvPr id="24" name="Picture Placeholder 6">
            <a:extLst>
              <a:ext uri="{FF2B5EF4-FFF2-40B4-BE49-F238E27FC236}">
                <a16:creationId xmlns:a16="http://schemas.microsoft.com/office/drawing/2014/main" id="{7703B000-8D12-4B1A-ACB6-C06DD087F7AB}"/>
              </a:ext>
            </a:extLst>
          </p:cNvPr>
          <p:cNvSpPr>
            <a:spLocks noGrp="1"/>
          </p:cNvSpPr>
          <p:nvPr>
            <p:ph type="pic" sz="quarter" idx="21" hasCustomPrompt="1"/>
          </p:nvPr>
        </p:nvSpPr>
        <p:spPr>
          <a:xfrm>
            <a:off x="-1024430" y="1650794"/>
            <a:ext cx="3154269" cy="749808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rot lat="18420000" lon="3000000" rev="17310000"/>
            </a:camera>
            <a:lightRig rig="threePt" dir="t"/>
          </a:scene3d>
          <a:sp3d prstMaterial="matte"/>
        </p:spPr>
        <p:txBody>
          <a:bodyPr wrap="square" anchor="ctr">
            <a:noAutofit/>
          </a:bodyPr>
          <a:lstStyle>
            <a:lvl1pPr marL="0" indent="0" algn="ctr">
              <a:buFontTx/>
              <a:buNone/>
              <a:defRPr sz="1200"/>
            </a:lvl1pPr>
          </a:lstStyle>
          <a:p>
            <a:r>
              <a:rPr lang="en-US"/>
              <a:t> </a:t>
            </a:r>
          </a:p>
        </p:txBody>
      </p:sp>
      <p:sp>
        <p:nvSpPr>
          <p:cNvPr id="25" name="Picture Placeholder 6">
            <a:extLst>
              <a:ext uri="{FF2B5EF4-FFF2-40B4-BE49-F238E27FC236}">
                <a16:creationId xmlns:a16="http://schemas.microsoft.com/office/drawing/2014/main" id="{8000927B-DD2F-4561-A86B-BAA2792A8F74}"/>
              </a:ext>
            </a:extLst>
          </p:cNvPr>
          <p:cNvSpPr>
            <a:spLocks noGrp="1"/>
          </p:cNvSpPr>
          <p:nvPr>
            <p:ph type="pic" sz="quarter" idx="22" hasCustomPrompt="1"/>
          </p:nvPr>
        </p:nvSpPr>
        <p:spPr>
          <a:xfrm>
            <a:off x="-6246799" y="3379874"/>
            <a:ext cx="3154269" cy="749808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rot lat="18420000" lon="3000000" rev="17310000"/>
            </a:camera>
            <a:lightRig rig="threePt" dir="t"/>
          </a:scene3d>
          <a:sp3d prstMaterial="matte"/>
        </p:spPr>
        <p:txBody>
          <a:bodyPr wrap="square" anchor="ctr">
            <a:noAutofit/>
          </a:bodyPr>
          <a:lstStyle>
            <a:lvl1pPr marL="0" indent="0" algn="ctr">
              <a:buFontTx/>
              <a:buNone/>
              <a:defRPr sz="1200"/>
            </a:lvl1pPr>
          </a:lstStyle>
          <a:p>
            <a:r>
              <a:rPr lang="en-US"/>
              <a:t> </a:t>
            </a:r>
          </a:p>
        </p:txBody>
      </p:sp>
      <p:sp>
        <p:nvSpPr>
          <p:cNvPr id="26" name="Picture Placeholder 6">
            <a:extLst>
              <a:ext uri="{FF2B5EF4-FFF2-40B4-BE49-F238E27FC236}">
                <a16:creationId xmlns:a16="http://schemas.microsoft.com/office/drawing/2014/main" id="{0A9600A9-5EAC-4F18-91A0-4E6C5F394585}"/>
              </a:ext>
            </a:extLst>
          </p:cNvPr>
          <p:cNvSpPr>
            <a:spLocks noGrp="1"/>
          </p:cNvSpPr>
          <p:nvPr>
            <p:ph type="pic" sz="quarter" idx="23" hasCustomPrompt="1"/>
          </p:nvPr>
        </p:nvSpPr>
        <p:spPr>
          <a:xfrm>
            <a:off x="-11632841" y="5171234"/>
            <a:ext cx="3154269" cy="749808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rot lat="18420000" lon="3000000" rev="17310000"/>
            </a:camera>
            <a:lightRig rig="threePt" dir="t"/>
          </a:scene3d>
          <a:sp3d prstMaterial="matte"/>
        </p:spPr>
        <p:txBody>
          <a:bodyPr wrap="square" anchor="ctr">
            <a:noAutofit/>
          </a:bodyPr>
          <a:lstStyle>
            <a:lvl1pPr marL="0" indent="0" algn="ctr">
              <a:buFontTx/>
              <a:buNone/>
              <a:defRPr sz="1200"/>
            </a:lvl1pPr>
          </a:lstStyle>
          <a:p>
            <a:r>
              <a:rPr lang="en-US"/>
              <a:t> </a:t>
            </a:r>
          </a:p>
        </p:txBody>
      </p:sp>
      <p:sp>
        <p:nvSpPr>
          <p:cNvPr id="27" name="Picture Placeholder 6">
            <a:extLst>
              <a:ext uri="{FF2B5EF4-FFF2-40B4-BE49-F238E27FC236}">
                <a16:creationId xmlns:a16="http://schemas.microsoft.com/office/drawing/2014/main" id="{37EEC992-E907-4E25-8861-053D3E578F0C}"/>
              </a:ext>
            </a:extLst>
          </p:cNvPr>
          <p:cNvSpPr>
            <a:spLocks noGrp="1"/>
          </p:cNvSpPr>
          <p:nvPr>
            <p:ph type="pic" sz="quarter" idx="24" hasCustomPrompt="1"/>
          </p:nvPr>
        </p:nvSpPr>
        <p:spPr>
          <a:xfrm>
            <a:off x="20764331" y="-2359182"/>
            <a:ext cx="3154269" cy="749808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rot lat="18420000" lon="3000000" rev="17310000"/>
            </a:camera>
            <a:lightRig rig="threePt" dir="t"/>
          </a:scene3d>
          <a:sp3d prstMaterial="matte"/>
        </p:spPr>
        <p:txBody>
          <a:bodyPr wrap="square" anchor="ctr">
            <a:noAutofit/>
          </a:bodyPr>
          <a:lstStyle>
            <a:lvl1pPr marL="0" indent="0" algn="ctr">
              <a:buFontTx/>
              <a:buNone/>
              <a:defRPr sz="1200"/>
            </a:lvl1pPr>
          </a:lstStyle>
          <a:p>
            <a:r>
              <a:rPr lang="en-US"/>
              <a:t> </a:t>
            </a:r>
          </a:p>
        </p:txBody>
      </p:sp>
      <p:sp>
        <p:nvSpPr>
          <p:cNvPr id="28" name="Picture Placeholder 6">
            <a:extLst>
              <a:ext uri="{FF2B5EF4-FFF2-40B4-BE49-F238E27FC236}">
                <a16:creationId xmlns:a16="http://schemas.microsoft.com/office/drawing/2014/main" id="{611DF2A1-D74B-4D29-98F3-927F8A285DB3}"/>
              </a:ext>
            </a:extLst>
          </p:cNvPr>
          <p:cNvSpPr>
            <a:spLocks noGrp="1"/>
          </p:cNvSpPr>
          <p:nvPr>
            <p:ph type="pic" sz="quarter" idx="25" hasCustomPrompt="1"/>
          </p:nvPr>
        </p:nvSpPr>
        <p:spPr>
          <a:xfrm>
            <a:off x="26021497" y="-4097312"/>
            <a:ext cx="3154269" cy="749808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rot lat="18420000" lon="3000000" rev="17310000"/>
            </a:camera>
            <a:lightRig rig="threePt" dir="t"/>
          </a:scene3d>
          <a:sp3d prstMaterial="matte"/>
        </p:spPr>
        <p:txBody>
          <a:bodyPr wrap="square" anchor="ctr">
            <a:noAutofit/>
          </a:bodyPr>
          <a:lstStyle>
            <a:lvl1pPr marL="0" indent="0" algn="ctr">
              <a:buFontTx/>
              <a:buNone/>
              <a:defRPr sz="1200"/>
            </a:lvl1pPr>
          </a:lstStyle>
          <a:p>
            <a:r>
              <a:rPr lang="en-US"/>
              <a:t> </a:t>
            </a:r>
          </a:p>
        </p:txBody>
      </p:sp>
      <p:sp>
        <p:nvSpPr>
          <p:cNvPr id="29" name="Picture Placeholder 6">
            <a:extLst>
              <a:ext uri="{FF2B5EF4-FFF2-40B4-BE49-F238E27FC236}">
                <a16:creationId xmlns:a16="http://schemas.microsoft.com/office/drawing/2014/main" id="{4E68B947-3A67-4B79-9911-051D6B757252}"/>
              </a:ext>
            </a:extLst>
          </p:cNvPr>
          <p:cNvSpPr>
            <a:spLocks noGrp="1"/>
          </p:cNvSpPr>
          <p:nvPr>
            <p:ph type="pic" sz="quarter" idx="26" hasCustomPrompt="1"/>
          </p:nvPr>
        </p:nvSpPr>
        <p:spPr>
          <a:xfrm>
            <a:off x="15561577" y="-625566"/>
            <a:ext cx="3154269" cy="749808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rot lat="18420000" lon="3000000" rev="17310000"/>
            </a:camera>
            <a:lightRig rig="threePt" dir="t"/>
          </a:scene3d>
          <a:sp3d prstMaterial="matte"/>
        </p:spPr>
        <p:txBody>
          <a:bodyPr wrap="square" anchor="ctr">
            <a:noAutofit/>
          </a:bodyPr>
          <a:lstStyle>
            <a:lvl1pPr marL="0" indent="0" algn="ctr">
              <a:buFontTx/>
              <a:buNone/>
              <a:defRPr sz="1200"/>
            </a:lvl1pPr>
          </a:lstStyle>
          <a:p>
            <a:r>
              <a:rPr lang="en-US"/>
              <a:t> </a:t>
            </a:r>
          </a:p>
        </p:txBody>
      </p:sp>
      <p:sp>
        <p:nvSpPr>
          <p:cNvPr id="30" name="Picture Placeholder 6">
            <a:extLst>
              <a:ext uri="{FF2B5EF4-FFF2-40B4-BE49-F238E27FC236}">
                <a16:creationId xmlns:a16="http://schemas.microsoft.com/office/drawing/2014/main" id="{4060BDBD-2126-4E95-81A9-F0DE44CC68D1}"/>
              </a:ext>
            </a:extLst>
          </p:cNvPr>
          <p:cNvSpPr>
            <a:spLocks noGrp="1"/>
          </p:cNvSpPr>
          <p:nvPr>
            <p:ph type="pic" sz="quarter" idx="27" hasCustomPrompt="1"/>
          </p:nvPr>
        </p:nvSpPr>
        <p:spPr>
          <a:xfrm>
            <a:off x="10339208" y="1103514"/>
            <a:ext cx="3154269" cy="749808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rot lat="18420000" lon="3000000" rev="17310000"/>
            </a:camera>
            <a:lightRig rig="threePt" dir="t"/>
          </a:scene3d>
          <a:sp3d prstMaterial="matte"/>
        </p:spPr>
        <p:txBody>
          <a:bodyPr wrap="square" anchor="ctr">
            <a:noAutofit/>
          </a:bodyPr>
          <a:lstStyle>
            <a:lvl1pPr marL="0" indent="0" algn="ctr">
              <a:buFontTx/>
              <a:buNone/>
              <a:defRPr sz="1200"/>
            </a:lvl1pPr>
          </a:lstStyle>
          <a:p>
            <a:r>
              <a:rPr lang="en-US"/>
              <a:t> </a:t>
            </a:r>
          </a:p>
        </p:txBody>
      </p:sp>
      <p:sp>
        <p:nvSpPr>
          <p:cNvPr id="31" name="Picture Placeholder 6">
            <a:extLst>
              <a:ext uri="{FF2B5EF4-FFF2-40B4-BE49-F238E27FC236}">
                <a16:creationId xmlns:a16="http://schemas.microsoft.com/office/drawing/2014/main" id="{7D11A113-C1B4-4B9C-AC18-EC628568D82B}"/>
              </a:ext>
            </a:extLst>
          </p:cNvPr>
          <p:cNvSpPr>
            <a:spLocks noGrp="1"/>
          </p:cNvSpPr>
          <p:nvPr>
            <p:ph type="pic" sz="quarter" idx="28" hasCustomPrompt="1"/>
          </p:nvPr>
        </p:nvSpPr>
        <p:spPr>
          <a:xfrm>
            <a:off x="4953166" y="2894874"/>
            <a:ext cx="3154269" cy="749808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rot lat="18420000" lon="3000000" rev="17310000"/>
            </a:camera>
            <a:lightRig rig="threePt" dir="t"/>
          </a:scene3d>
          <a:sp3d prstMaterial="matte"/>
        </p:spPr>
        <p:txBody>
          <a:bodyPr wrap="square" anchor="ctr">
            <a:noAutofit/>
          </a:bodyPr>
          <a:lstStyle>
            <a:lvl1pPr marL="0" indent="0" algn="ctr">
              <a:buFontTx/>
              <a:buNone/>
              <a:defRPr sz="1200"/>
            </a:lvl1pPr>
          </a:lstStyle>
          <a:p>
            <a:r>
              <a:rPr lang="en-US"/>
              <a:t> </a:t>
            </a:r>
          </a:p>
        </p:txBody>
      </p:sp>
      <p:sp>
        <p:nvSpPr>
          <p:cNvPr id="32" name="Picture Placeholder 6">
            <a:extLst>
              <a:ext uri="{FF2B5EF4-FFF2-40B4-BE49-F238E27FC236}">
                <a16:creationId xmlns:a16="http://schemas.microsoft.com/office/drawing/2014/main" id="{71596971-2921-4B94-B0AB-B47F97CA222A}"/>
              </a:ext>
            </a:extLst>
          </p:cNvPr>
          <p:cNvSpPr>
            <a:spLocks noGrp="1"/>
          </p:cNvSpPr>
          <p:nvPr>
            <p:ph type="pic" sz="quarter" idx="29" hasCustomPrompt="1"/>
          </p:nvPr>
        </p:nvSpPr>
        <p:spPr>
          <a:xfrm>
            <a:off x="13826551" y="-6479347"/>
            <a:ext cx="3154269" cy="749808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rot lat="18420000" lon="3000000" rev="17310000"/>
            </a:camera>
            <a:lightRig rig="threePt" dir="t"/>
          </a:scene3d>
          <a:sp3d prstMaterial="matte"/>
        </p:spPr>
        <p:txBody>
          <a:bodyPr wrap="square" anchor="ctr">
            <a:noAutofit/>
          </a:bodyPr>
          <a:lstStyle>
            <a:lvl1pPr marL="0" indent="0" algn="ctr">
              <a:buFontTx/>
              <a:buNone/>
              <a:defRPr sz="1200"/>
            </a:lvl1pPr>
          </a:lstStyle>
          <a:p>
            <a:r>
              <a:rPr lang="en-US"/>
              <a:t> </a:t>
            </a:r>
          </a:p>
        </p:txBody>
      </p:sp>
      <p:sp>
        <p:nvSpPr>
          <p:cNvPr id="33" name="Picture Placeholder 6">
            <a:extLst>
              <a:ext uri="{FF2B5EF4-FFF2-40B4-BE49-F238E27FC236}">
                <a16:creationId xmlns:a16="http://schemas.microsoft.com/office/drawing/2014/main" id="{0D869799-5865-4C17-A764-D9457241E00D}"/>
              </a:ext>
            </a:extLst>
          </p:cNvPr>
          <p:cNvSpPr>
            <a:spLocks noGrp="1"/>
          </p:cNvSpPr>
          <p:nvPr>
            <p:ph type="pic" sz="quarter" idx="30" hasCustomPrompt="1"/>
          </p:nvPr>
        </p:nvSpPr>
        <p:spPr>
          <a:xfrm>
            <a:off x="19083716" y="-8217477"/>
            <a:ext cx="3154269" cy="749808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rot lat="18420000" lon="3000000" rev="17310000"/>
            </a:camera>
            <a:lightRig rig="threePt" dir="t"/>
          </a:scene3d>
          <a:sp3d prstMaterial="matte"/>
        </p:spPr>
        <p:txBody>
          <a:bodyPr wrap="square" anchor="ctr">
            <a:noAutofit/>
          </a:bodyPr>
          <a:lstStyle>
            <a:lvl1pPr marL="0" indent="0" algn="ctr">
              <a:buFontTx/>
              <a:buNone/>
              <a:defRPr sz="1200"/>
            </a:lvl1pPr>
          </a:lstStyle>
          <a:p>
            <a:r>
              <a:rPr lang="en-US"/>
              <a:t> </a:t>
            </a:r>
          </a:p>
        </p:txBody>
      </p:sp>
      <p:sp>
        <p:nvSpPr>
          <p:cNvPr id="34" name="Picture Placeholder 6">
            <a:extLst>
              <a:ext uri="{FF2B5EF4-FFF2-40B4-BE49-F238E27FC236}">
                <a16:creationId xmlns:a16="http://schemas.microsoft.com/office/drawing/2014/main" id="{566937C7-F205-4656-A8E8-906793DD2E11}"/>
              </a:ext>
            </a:extLst>
          </p:cNvPr>
          <p:cNvSpPr>
            <a:spLocks noGrp="1"/>
          </p:cNvSpPr>
          <p:nvPr>
            <p:ph type="pic" sz="quarter" idx="31" hasCustomPrompt="1"/>
          </p:nvPr>
        </p:nvSpPr>
        <p:spPr>
          <a:xfrm>
            <a:off x="8623797" y="-4745731"/>
            <a:ext cx="3154269" cy="749808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rot lat="18420000" lon="3000000" rev="17310000"/>
            </a:camera>
            <a:lightRig rig="threePt" dir="t"/>
          </a:scene3d>
          <a:sp3d prstMaterial="matte"/>
        </p:spPr>
        <p:txBody>
          <a:bodyPr wrap="square" anchor="ctr">
            <a:noAutofit/>
          </a:bodyPr>
          <a:lstStyle>
            <a:lvl1pPr marL="0" indent="0" algn="ctr">
              <a:buFontTx/>
              <a:buNone/>
              <a:defRPr sz="1200"/>
            </a:lvl1pPr>
          </a:lstStyle>
          <a:p>
            <a:r>
              <a:rPr lang="en-US"/>
              <a:t> </a:t>
            </a:r>
          </a:p>
        </p:txBody>
      </p:sp>
      <p:sp>
        <p:nvSpPr>
          <p:cNvPr id="35" name="Picture Placeholder 6">
            <a:extLst>
              <a:ext uri="{FF2B5EF4-FFF2-40B4-BE49-F238E27FC236}">
                <a16:creationId xmlns:a16="http://schemas.microsoft.com/office/drawing/2014/main" id="{D72442AB-B35D-4075-8B3B-92AA68A6072F}"/>
              </a:ext>
            </a:extLst>
          </p:cNvPr>
          <p:cNvSpPr>
            <a:spLocks noGrp="1"/>
          </p:cNvSpPr>
          <p:nvPr>
            <p:ph type="pic" sz="quarter" idx="32" hasCustomPrompt="1"/>
          </p:nvPr>
        </p:nvSpPr>
        <p:spPr>
          <a:xfrm>
            <a:off x="3401428" y="-3016651"/>
            <a:ext cx="3154269" cy="749808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rot lat="18420000" lon="3000000" rev="17310000"/>
            </a:camera>
            <a:lightRig rig="threePt" dir="t"/>
          </a:scene3d>
          <a:sp3d prstMaterial="matte"/>
        </p:spPr>
        <p:txBody>
          <a:bodyPr wrap="square" anchor="ctr">
            <a:noAutofit/>
          </a:bodyPr>
          <a:lstStyle>
            <a:lvl1pPr marL="0" indent="0" algn="ctr">
              <a:buFontTx/>
              <a:buNone/>
              <a:defRPr sz="1200"/>
            </a:lvl1pPr>
          </a:lstStyle>
          <a:p>
            <a:r>
              <a:rPr lang="en-US"/>
              <a:t> </a:t>
            </a:r>
          </a:p>
        </p:txBody>
      </p:sp>
      <p:sp>
        <p:nvSpPr>
          <p:cNvPr id="36" name="Picture Placeholder 6">
            <a:extLst>
              <a:ext uri="{FF2B5EF4-FFF2-40B4-BE49-F238E27FC236}">
                <a16:creationId xmlns:a16="http://schemas.microsoft.com/office/drawing/2014/main" id="{6B46F04C-4E8E-4C12-BDE6-6EE31FC8A4EA}"/>
              </a:ext>
            </a:extLst>
          </p:cNvPr>
          <p:cNvSpPr>
            <a:spLocks noGrp="1"/>
          </p:cNvSpPr>
          <p:nvPr>
            <p:ph type="pic" sz="quarter" idx="33" hasCustomPrompt="1"/>
          </p:nvPr>
        </p:nvSpPr>
        <p:spPr>
          <a:xfrm>
            <a:off x="-1984613" y="-1225291"/>
            <a:ext cx="3154269" cy="749808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rot lat="18420000" lon="3000000" rev="17310000"/>
            </a:camera>
            <a:lightRig rig="threePt" dir="t"/>
          </a:scene3d>
          <a:sp3d prstMaterial="matte"/>
        </p:spPr>
        <p:txBody>
          <a:bodyPr wrap="square" anchor="ctr">
            <a:noAutofit/>
          </a:bodyPr>
          <a:lstStyle>
            <a:lvl1pPr marL="0" indent="0" algn="ctr">
              <a:buFontTx/>
              <a:buNone/>
              <a:defRPr sz="1200"/>
            </a:lvl1pPr>
          </a:lstStyle>
          <a:p>
            <a:r>
              <a:rPr lang="en-US"/>
              <a:t> </a:t>
            </a:r>
          </a:p>
        </p:txBody>
      </p:sp>
    </p:spTree>
    <p:extLst>
      <p:ext uri="{BB962C8B-B14F-4D97-AF65-F5344CB8AC3E}">
        <p14:creationId xmlns:p14="http://schemas.microsoft.com/office/powerpoint/2010/main" val="2392645862"/>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42" presetClass="path" presetSubtype="0" dur="6000" repeatCount="indefinite" accel="50000" decel="50000" autoRev="1" fill="hold" grpId="0" nodeType="withEffect">
                                  <p:stCondLst>
                                    <p:cond delay="0"/>
                                  </p:stCondLst>
                                  <p:childTnLst>
                                    <p:animMotion origin="layout" path="M 3.62062E-06 5E-06 L 0.86967 -0.51355" pathEditMode="relative" rAng="0" ptsTypes="AA">
                                      <p:cBhvr>
                                        <p:cTn id="6" dur="6000" fill="hold"/>
                                        <p:tgtEl>
                                          <p:spTgt spid="26"/>
                                        </p:tgtEl>
                                        <p:attrNameLst>
                                          <p:attrName>ppt_x</p:attrName>
                                          <p:attrName>ppt_y</p:attrName>
                                        </p:attrNameLst>
                                      </p:cBhvr>
                                      <p:rCtr x="43484" y="-25683"/>
                                    </p:animMotion>
                                  </p:childTnLst>
                                </p:cTn>
                              </p:par>
                              <p:par>
                                <p:cTn id="7" presetID="42" presetClass="path" presetSubtype="0" dur="6000" repeatCount="indefinite" accel="50000" decel="50000" autoRev="1" fill="hold" grpId="0" nodeType="withEffect">
                                  <p:stCondLst>
                                    <p:cond delay="0"/>
                                  </p:stCondLst>
                                  <p:childTnLst>
                                    <p:animMotion origin="layout" path="M 3.62062E-06 5E-06 L 0.86967 -0.51355" pathEditMode="relative" rAng="0" ptsTypes="AA">
                                      <p:cBhvr>
                                        <p:cTn id="8" dur="6000" fill="hold"/>
                                        <p:tgtEl>
                                          <p:spTgt spid="25"/>
                                        </p:tgtEl>
                                        <p:attrNameLst>
                                          <p:attrName>ppt_x</p:attrName>
                                          <p:attrName>ppt_y</p:attrName>
                                        </p:attrNameLst>
                                      </p:cBhvr>
                                      <p:rCtr x="43484" y="-25683"/>
                                    </p:animMotion>
                                  </p:childTnLst>
                                </p:cTn>
                              </p:par>
                              <p:par>
                                <p:cTn id="9" presetID="42" presetClass="path" presetSubtype="0" dur="6000" repeatCount="indefinite" accel="50000" decel="50000" autoRev="1" fill="hold" grpId="0" nodeType="withEffect">
                                  <p:stCondLst>
                                    <p:cond delay="0"/>
                                  </p:stCondLst>
                                  <p:childTnLst>
                                    <p:animMotion origin="layout" path="M 3.62062E-06 5E-06 L 0.86967 -0.51355" pathEditMode="relative" rAng="0" ptsTypes="AA">
                                      <p:cBhvr>
                                        <p:cTn id="10" dur="6000" fill="hold"/>
                                        <p:tgtEl>
                                          <p:spTgt spid="24"/>
                                        </p:tgtEl>
                                        <p:attrNameLst>
                                          <p:attrName>ppt_x</p:attrName>
                                          <p:attrName>ppt_y</p:attrName>
                                        </p:attrNameLst>
                                      </p:cBhvr>
                                      <p:rCtr x="43484" y="-25683"/>
                                    </p:animMotion>
                                  </p:childTnLst>
                                </p:cTn>
                              </p:par>
                              <p:par>
                                <p:cTn id="11" presetID="42" presetClass="path" presetSubtype="0" dur="6000" repeatCount="indefinite" accel="50000" decel="50000" autoRev="1" fill="hold" grpId="0" nodeType="withEffect">
                                  <p:stCondLst>
                                    <p:cond delay="0"/>
                                  </p:stCondLst>
                                  <p:childTnLst>
                                    <p:animMotion origin="layout" path="M 3.62062E-06 5E-06 L 0.86967 -0.51355" pathEditMode="relative" rAng="0" ptsTypes="AA">
                                      <p:cBhvr>
                                        <p:cTn id="12" dur="6000" fill="hold"/>
                                        <p:tgtEl>
                                          <p:spTgt spid="7"/>
                                        </p:tgtEl>
                                        <p:attrNameLst>
                                          <p:attrName>ppt_x</p:attrName>
                                          <p:attrName>ppt_y</p:attrName>
                                        </p:attrNameLst>
                                      </p:cBhvr>
                                      <p:rCtr x="43484" y="-25683"/>
                                    </p:animMotion>
                                  </p:childTnLst>
                                </p:cTn>
                              </p:par>
                              <p:par>
                                <p:cTn id="13" presetID="42" presetClass="path" presetSubtype="0" dur="6000" repeatCount="indefinite" accel="50000" decel="50000" autoRev="1" fill="hold" grpId="0" nodeType="withEffect">
                                  <p:stCondLst>
                                    <p:cond delay="0"/>
                                  </p:stCondLst>
                                  <p:childTnLst>
                                    <p:animMotion origin="layout" path="M 3.62062E-06 5E-06 L 0.86967 -0.51355" pathEditMode="relative" rAng="0" ptsTypes="AA">
                                      <p:cBhvr>
                                        <p:cTn id="14" dur="6000" fill="hold"/>
                                        <p:tgtEl>
                                          <p:spTgt spid="23"/>
                                        </p:tgtEl>
                                        <p:attrNameLst>
                                          <p:attrName>ppt_x</p:attrName>
                                          <p:attrName>ppt_y</p:attrName>
                                        </p:attrNameLst>
                                      </p:cBhvr>
                                      <p:rCtr x="43484" y="-25683"/>
                                    </p:animMotion>
                                  </p:childTnLst>
                                </p:cTn>
                              </p:par>
                              <p:par>
                                <p:cTn id="15" presetID="42" presetClass="path" presetSubtype="0" dur="8000" repeatCount="indefinite" accel="50000" decel="50000" autoRev="1" fill="hold" grpId="0" nodeType="withEffect">
                                  <p:stCondLst>
                                    <p:cond delay="0"/>
                                  </p:stCondLst>
                                  <p:childTnLst>
                                    <p:animMotion origin="layout" path="M 3.09855E-06 1.2963E-06 L -1.28714 0.75949" pathEditMode="relative" rAng="0" ptsTypes="AA">
                                      <p:cBhvr>
                                        <p:cTn id="16" dur="8000" fill="hold"/>
                                        <p:tgtEl>
                                          <p:spTgt spid="28"/>
                                        </p:tgtEl>
                                        <p:attrNameLst>
                                          <p:attrName>ppt_x</p:attrName>
                                          <p:attrName>ppt_y</p:attrName>
                                        </p:attrNameLst>
                                      </p:cBhvr>
                                      <p:rCtr x="-64360" y="37975"/>
                                    </p:animMotion>
                                  </p:childTnLst>
                                </p:cTn>
                              </p:par>
                              <p:par>
                                <p:cTn id="17" presetID="42" presetClass="path" presetSubtype="0" dur="8000" repeatCount="indefinite" accel="50000" decel="50000" autoRev="1" fill="hold" grpId="0" nodeType="withEffect">
                                  <p:stCondLst>
                                    <p:cond delay="0"/>
                                  </p:stCondLst>
                                  <p:childTnLst>
                                    <p:animMotion origin="layout" path="M 3.09855E-06 1.2963E-06 L -1.28714 0.75949" pathEditMode="relative" rAng="0" ptsTypes="AA">
                                      <p:cBhvr>
                                        <p:cTn id="18" dur="8000" fill="hold"/>
                                        <p:tgtEl>
                                          <p:spTgt spid="27"/>
                                        </p:tgtEl>
                                        <p:attrNameLst>
                                          <p:attrName>ppt_x</p:attrName>
                                          <p:attrName>ppt_y</p:attrName>
                                        </p:attrNameLst>
                                      </p:cBhvr>
                                      <p:rCtr x="-64360" y="37975"/>
                                    </p:animMotion>
                                  </p:childTnLst>
                                </p:cTn>
                              </p:par>
                              <p:par>
                                <p:cTn id="19" presetID="42" presetClass="path" presetSubtype="0" dur="8000" repeatCount="indefinite" accel="50000" decel="50000" autoRev="1" fill="hold" grpId="0" nodeType="withEffect">
                                  <p:stCondLst>
                                    <p:cond delay="0"/>
                                  </p:stCondLst>
                                  <p:childTnLst>
                                    <p:animMotion origin="layout" path="M 3.09855E-06 1.2963E-06 L -1.28714 0.75949" pathEditMode="relative" rAng="0" ptsTypes="AA">
                                      <p:cBhvr>
                                        <p:cTn id="20" dur="8000" fill="hold"/>
                                        <p:tgtEl>
                                          <p:spTgt spid="29"/>
                                        </p:tgtEl>
                                        <p:attrNameLst>
                                          <p:attrName>ppt_x</p:attrName>
                                          <p:attrName>ppt_y</p:attrName>
                                        </p:attrNameLst>
                                      </p:cBhvr>
                                      <p:rCtr x="-64360" y="37975"/>
                                    </p:animMotion>
                                  </p:childTnLst>
                                </p:cTn>
                              </p:par>
                              <p:par>
                                <p:cTn id="21" presetID="42" presetClass="path" presetSubtype="0" dur="8000" repeatCount="indefinite" accel="50000" decel="50000" autoRev="1" fill="hold" grpId="0" nodeType="withEffect">
                                  <p:stCondLst>
                                    <p:cond delay="0"/>
                                  </p:stCondLst>
                                  <p:childTnLst>
                                    <p:animMotion origin="layout" path="M 3.09855E-06 1.2963E-06 L -1.28714 0.75949" pathEditMode="relative" rAng="0" ptsTypes="AA">
                                      <p:cBhvr>
                                        <p:cTn id="22" dur="8000" fill="hold"/>
                                        <p:tgtEl>
                                          <p:spTgt spid="30"/>
                                        </p:tgtEl>
                                        <p:attrNameLst>
                                          <p:attrName>ppt_x</p:attrName>
                                          <p:attrName>ppt_y</p:attrName>
                                        </p:attrNameLst>
                                      </p:cBhvr>
                                      <p:rCtr x="-64360" y="37975"/>
                                    </p:animMotion>
                                  </p:childTnLst>
                                </p:cTn>
                              </p:par>
                              <p:par>
                                <p:cTn id="23" presetID="42" presetClass="path" presetSubtype="0" dur="8000" repeatCount="indefinite" accel="50000" decel="50000" autoRev="1" fill="hold" grpId="0" nodeType="withEffect">
                                  <p:stCondLst>
                                    <p:cond delay="0"/>
                                  </p:stCondLst>
                                  <p:childTnLst>
                                    <p:animMotion origin="layout" path="M 3.09855E-06 1.2963E-06 L -1.28714 0.75949" pathEditMode="relative" rAng="0" ptsTypes="AA">
                                      <p:cBhvr>
                                        <p:cTn id="24" dur="8000" fill="hold"/>
                                        <p:tgtEl>
                                          <p:spTgt spid="31"/>
                                        </p:tgtEl>
                                        <p:attrNameLst>
                                          <p:attrName>ppt_x</p:attrName>
                                          <p:attrName>ppt_y</p:attrName>
                                        </p:attrNameLst>
                                      </p:cBhvr>
                                      <p:rCtr x="-64360" y="37975"/>
                                    </p:animMotion>
                                  </p:childTnLst>
                                </p:cTn>
                              </p:par>
                              <p:par>
                                <p:cTn id="25" presetID="42" presetClass="path" presetSubtype="0" dur="10000" repeatCount="indefinite" accel="50000" decel="50000" autoRev="1" fill="hold" grpId="0" nodeType="withEffect">
                                  <p:stCondLst>
                                    <p:cond delay="0"/>
                                  </p:stCondLst>
                                  <p:childTnLst>
                                    <p:animMotion origin="layout" path="M 3.09855E-06 1.2963E-06 L -1.28714 0.75949" pathEditMode="relative" rAng="0" ptsTypes="AA">
                                      <p:cBhvr>
                                        <p:cTn id="26" dur="10000" fill="hold"/>
                                        <p:tgtEl>
                                          <p:spTgt spid="33"/>
                                        </p:tgtEl>
                                        <p:attrNameLst>
                                          <p:attrName>ppt_x</p:attrName>
                                          <p:attrName>ppt_y</p:attrName>
                                        </p:attrNameLst>
                                      </p:cBhvr>
                                      <p:rCtr x="-64360" y="37975"/>
                                    </p:animMotion>
                                  </p:childTnLst>
                                </p:cTn>
                              </p:par>
                              <p:par>
                                <p:cTn id="27" presetID="42" presetClass="path" presetSubtype="0" dur="10000" repeatCount="indefinite" accel="50000" decel="50000" autoRev="1" fill="hold" grpId="0" nodeType="withEffect">
                                  <p:stCondLst>
                                    <p:cond delay="0"/>
                                  </p:stCondLst>
                                  <p:childTnLst>
                                    <p:animMotion origin="layout" path="M 3.09855E-06 1.2963E-06 L -1.28714 0.75949" pathEditMode="relative" rAng="0" ptsTypes="AA">
                                      <p:cBhvr>
                                        <p:cTn id="28" dur="10000" fill="hold"/>
                                        <p:tgtEl>
                                          <p:spTgt spid="32"/>
                                        </p:tgtEl>
                                        <p:attrNameLst>
                                          <p:attrName>ppt_x</p:attrName>
                                          <p:attrName>ppt_y</p:attrName>
                                        </p:attrNameLst>
                                      </p:cBhvr>
                                      <p:rCtr x="-64360" y="37975"/>
                                    </p:animMotion>
                                  </p:childTnLst>
                                </p:cTn>
                              </p:par>
                              <p:par>
                                <p:cTn id="29" presetID="42" presetClass="path" presetSubtype="0" dur="10000" repeatCount="indefinite" accel="50000" decel="50000" autoRev="1" fill="hold" grpId="0" nodeType="withEffect">
                                  <p:stCondLst>
                                    <p:cond delay="0"/>
                                  </p:stCondLst>
                                  <p:childTnLst>
                                    <p:animMotion origin="layout" path="M 3.09855E-06 1.2963E-06 L -1.28714 0.75949" pathEditMode="relative" rAng="0" ptsTypes="AA">
                                      <p:cBhvr>
                                        <p:cTn id="30" dur="10000" fill="hold"/>
                                        <p:tgtEl>
                                          <p:spTgt spid="34"/>
                                        </p:tgtEl>
                                        <p:attrNameLst>
                                          <p:attrName>ppt_x</p:attrName>
                                          <p:attrName>ppt_y</p:attrName>
                                        </p:attrNameLst>
                                      </p:cBhvr>
                                      <p:rCtr x="-64360" y="37975"/>
                                    </p:animMotion>
                                  </p:childTnLst>
                                </p:cTn>
                              </p:par>
                              <p:par>
                                <p:cTn id="31" presetID="42" presetClass="path" presetSubtype="0" dur="10000" repeatCount="indefinite" accel="50000" decel="50000" autoRev="1" fill="hold" grpId="0" nodeType="withEffect">
                                  <p:stCondLst>
                                    <p:cond delay="0"/>
                                  </p:stCondLst>
                                  <p:childTnLst>
                                    <p:animMotion origin="layout" path="M 3.09855E-06 1.2963E-06 L -1.28714 0.75949" pathEditMode="relative" rAng="0" ptsTypes="AA">
                                      <p:cBhvr>
                                        <p:cTn id="32" dur="10000" fill="hold"/>
                                        <p:tgtEl>
                                          <p:spTgt spid="35"/>
                                        </p:tgtEl>
                                        <p:attrNameLst>
                                          <p:attrName>ppt_x</p:attrName>
                                          <p:attrName>ppt_y</p:attrName>
                                        </p:attrNameLst>
                                      </p:cBhvr>
                                      <p:rCtr x="-64360" y="37975"/>
                                    </p:animMotion>
                                  </p:childTnLst>
                                </p:cTn>
                              </p:par>
                              <p:par>
                                <p:cTn id="33" presetID="42" presetClass="path" presetSubtype="0" dur="10000" repeatCount="indefinite" accel="50000" decel="50000" autoRev="1" fill="hold" grpId="0" nodeType="withEffect">
                                  <p:stCondLst>
                                    <p:cond delay="0"/>
                                  </p:stCondLst>
                                  <p:childTnLst>
                                    <p:animMotion origin="layout" path="M 3.09855E-06 1.2963E-06 L -1.28714 0.75949" pathEditMode="relative" rAng="0" ptsTypes="AA">
                                      <p:cBhvr>
                                        <p:cTn id="34" dur="10000" fill="hold"/>
                                        <p:tgtEl>
                                          <p:spTgt spid="36"/>
                                        </p:tgtEl>
                                        <p:attrNameLst>
                                          <p:attrName>ppt_x</p:attrName>
                                          <p:attrName>ppt_y</p:attrName>
                                        </p:attrNameLst>
                                      </p:cBhvr>
                                      <p:rCtr x="-64360" y="3797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23" grpId="0" animBg="1"/>
      <p:bldP spid="24" grpId="0" animBg="1"/>
      <p:bldP spid="25" grpId="0" animBg="1"/>
      <p:bldP spid="26" grpId="0" animBg="1"/>
      <p:bldP spid="27" grpId="0" animBg="1"/>
      <p:bldP spid="28" grpId="0" animBg="1"/>
      <p:bldP spid="29" grpId="0" animBg="1"/>
      <p:bldP spid="30" grpId="0" animBg="1"/>
      <p:bldP spid="31" grpId="0" animBg="1"/>
      <p:bldP spid="32" grpId="0" animBg="1"/>
      <p:bldP spid="33" grpId="0" animBg="1"/>
      <p:bldP spid="34" grpId="0" animBg="1"/>
      <p:bldP spid="35" grpId="0" animBg="1"/>
      <p:bldP spid="36" grpId="0" animBg="1"/>
    </p:bldLst>
  </p:timing>
</p:sldLayout>
</file>

<file path=ppt/slideLayouts/slideLayout316.xml><?xml version="1.0" encoding="utf-8"?>
<p:sldLayout xmlns:a="http://schemas.openxmlformats.org/drawingml/2006/main" xmlns:r="http://schemas.openxmlformats.org/officeDocument/2006/relationships" xmlns:p="http://schemas.openxmlformats.org/presentationml/2006/main" type="title">
  <p:cSld name="Blank Page Light">
    <p:spTree>
      <p:nvGrpSpPr>
        <p:cNvPr id="1" name=""/>
        <p:cNvGrpSpPr/>
        <p:nvPr/>
      </p:nvGrpSpPr>
      <p:grpSpPr>
        <a:xfrm>
          <a:off x="0" y="0"/>
          <a:ext cx="0" cy="0"/>
          <a:chOff x="0" y="0"/>
          <a:chExt cx="0" cy="0"/>
        </a:xfrm>
      </p:grpSpPr>
      <p:sp>
        <p:nvSpPr>
          <p:cNvPr id="11" name="Foliennumm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587204735"/>
      </p:ext>
    </p:extLst>
  </p:cSld>
  <p:clrMapOvr>
    <a:masterClrMapping/>
  </p:clrMapOvr>
  <p:transition spd="med"/>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WELCOME SLIDE">
    <p:spTree>
      <p:nvGrpSpPr>
        <p:cNvPr id="1" name=""/>
        <p:cNvGrpSpPr/>
        <p:nvPr/>
      </p:nvGrpSpPr>
      <p:grpSpPr>
        <a:xfrm>
          <a:off x="0" y="0"/>
          <a:ext cx="0" cy="0"/>
          <a:chOff x="0" y="0"/>
          <a:chExt cx="0" cy="0"/>
        </a:xfrm>
      </p:grpSpPr>
      <p:sp>
        <p:nvSpPr>
          <p:cNvPr id="33" name="Rechteck 32">
            <a:extLst>
              <a:ext uri="{FF2B5EF4-FFF2-40B4-BE49-F238E27FC236}">
                <a16:creationId xmlns:a16="http://schemas.microsoft.com/office/drawing/2014/main" id="{95791B20-6611-4BC3-9643-F8853AFBD8B7}"/>
              </a:ext>
            </a:extLst>
          </p:cNvPr>
          <p:cNvSpPr/>
          <p:nvPr userDrawn="1"/>
        </p:nvSpPr>
        <p:spPr>
          <a:xfrm>
            <a:off x="0" y="0"/>
            <a:ext cx="5772243" cy="990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5" name="Titel 1">
            <a:extLst>
              <a:ext uri="{FF2B5EF4-FFF2-40B4-BE49-F238E27FC236}">
                <a16:creationId xmlns:a16="http://schemas.microsoft.com/office/drawing/2014/main" id="{E49B6C10-9696-4A20-A390-BBF8A02CA45E}"/>
              </a:ext>
            </a:extLst>
          </p:cNvPr>
          <p:cNvSpPr>
            <a:spLocks noGrp="1"/>
          </p:cNvSpPr>
          <p:nvPr>
            <p:ph type="title"/>
          </p:nvPr>
        </p:nvSpPr>
        <p:spPr>
          <a:xfrm>
            <a:off x="815952" y="3728788"/>
            <a:ext cx="10560096" cy="1148012"/>
          </a:xfrm>
        </p:spPr>
        <p:txBody>
          <a:bodyPr anchor="t">
            <a:normAutofit/>
          </a:bodyPr>
          <a:lstStyle>
            <a:lvl1pPr algn="ctr">
              <a:lnSpc>
                <a:spcPct val="100000"/>
              </a:lnSpc>
              <a:defRPr sz="3600">
                <a:solidFill>
                  <a:schemeClr val="bg1"/>
                </a:solidFill>
              </a:defRPr>
            </a:lvl1pPr>
          </a:lstStyle>
          <a:p>
            <a:endParaRPr lang="de-DE"/>
          </a:p>
        </p:txBody>
      </p:sp>
      <p:pic>
        <p:nvPicPr>
          <p:cNvPr id="5" name="תמונה 4">
            <a:extLst>
              <a:ext uri="{FF2B5EF4-FFF2-40B4-BE49-F238E27FC236}">
                <a16:creationId xmlns:a16="http://schemas.microsoft.com/office/drawing/2014/main" id="{AA7B78CB-71F8-4FCB-8010-E849278FA84F}"/>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3244130" y="1778061"/>
            <a:ext cx="5703740" cy="1650939"/>
          </a:xfrm>
          <a:prstGeom prst="rect">
            <a:avLst/>
          </a:prstGeom>
        </p:spPr>
      </p:pic>
    </p:spTree>
    <p:extLst>
      <p:ext uri="{BB962C8B-B14F-4D97-AF65-F5344CB8AC3E}">
        <p14:creationId xmlns:p14="http://schemas.microsoft.com/office/powerpoint/2010/main" val="823504202"/>
      </p:ext>
    </p:extLst>
  </p:cSld>
  <p:clrMapOvr>
    <a:masterClrMapping/>
  </p:clrMapOvr>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5B327254-466C-4606-8589-BCC72CBDADDF}"/>
              </a:ext>
            </a:extLst>
          </p:cNvPr>
          <p:cNvSpPr>
            <a:spLocks noGrp="1"/>
          </p:cNvSpPr>
          <p:nvPr>
            <p:ph type="sldNum" sz="quarter" idx="10"/>
          </p:nvPr>
        </p:nvSpPr>
        <p:spPr/>
        <p:txBody>
          <a:bodyPr/>
          <a:lstStyle/>
          <a:p>
            <a:fld id="{A04BEB4F-8CE1-4F18-986F-6CE0A0BE9470}" type="slidenum">
              <a:rPr lang="de-DE" smtClean="0"/>
              <a:t>‹#›</a:t>
            </a:fld>
            <a:endParaRPr lang="de-DE"/>
          </a:p>
        </p:txBody>
      </p:sp>
      <p:sp>
        <p:nvSpPr>
          <p:cNvPr id="4" name="Textfeld 3">
            <a:extLst>
              <a:ext uri="{FF2B5EF4-FFF2-40B4-BE49-F238E27FC236}">
                <a16:creationId xmlns:a16="http://schemas.microsoft.com/office/drawing/2014/main" id="{1F1512C8-A5D3-4625-93D0-A51172C5F58F}"/>
              </a:ext>
            </a:extLst>
          </p:cNvPr>
          <p:cNvSpPr txBox="1"/>
          <p:nvPr userDrawn="1"/>
        </p:nvSpPr>
        <p:spPr>
          <a:xfrm>
            <a:off x="815951" y="1076602"/>
            <a:ext cx="2303253" cy="430887"/>
          </a:xfrm>
          <a:prstGeom prst="rect">
            <a:avLst/>
          </a:prstGeom>
          <a:noFill/>
        </p:spPr>
        <p:txBody>
          <a:bodyPr wrap="square" lIns="0" tIns="0" rIns="0" bIns="0" rtlCol="0">
            <a:spAutoFit/>
          </a:bodyPr>
          <a:lstStyle/>
          <a:p>
            <a:pPr algn="l"/>
            <a:r>
              <a:rPr lang="de-DE" sz="2800" kern="1200">
                <a:solidFill>
                  <a:schemeClr val="tx2"/>
                </a:solidFill>
                <a:latin typeface="+mj-lt"/>
                <a:ea typeface="+mj-ea"/>
                <a:cs typeface="+mj-cs"/>
              </a:rPr>
              <a:t>Agenda</a:t>
            </a:r>
          </a:p>
        </p:txBody>
      </p:sp>
      <p:sp>
        <p:nvSpPr>
          <p:cNvPr id="122" name="Freihandform: Form 121">
            <a:extLst>
              <a:ext uri="{FF2B5EF4-FFF2-40B4-BE49-F238E27FC236}">
                <a16:creationId xmlns:a16="http://schemas.microsoft.com/office/drawing/2014/main" id="{BC43029A-5265-4954-A3A5-CD3CB5C7478D}"/>
              </a:ext>
            </a:extLst>
          </p:cNvPr>
          <p:cNvSpPr/>
          <p:nvPr/>
        </p:nvSpPr>
        <p:spPr>
          <a:xfrm>
            <a:off x="11841261" y="4050916"/>
            <a:ext cx="347243" cy="376374"/>
          </a:xfrm>
          <a:custGeom>
            <a:avLst/>
            <a:gdLst>
              <a:gd name="connsiteX0" fmla="*/ 158473 w 347243"/>
              <a:gd name="connsiteY0" fmla="*/ 376375 h 376374"/>
              <a:gd name="connsiteX1" fmla="*/ 0 w 347243"/>
              <a:gd name="connsiteY1" fmla="*/ 376375 h 376374"/>
              <a:gd name="connsiteX2" fmla="*/ 185274 w 347243"/>
              <a:gd name="connsiteY2" fmla="*/ 189935 h 376374"/>
              <a:gd name="connsiteX3" fmla="*/ 0 w 347243"/>
              <a:gd name="connsiteY3" fmla="*/ 0 h 376374"/>
              <a:gd name="connsiteX4" fmla="*/ 161969 w 347243"/>
              <a:gd name="connsiteY4" fmla="*/ 0 h 376374"/>
              <a:gd name="connsiteX5" fmla="*/ 347244 w 347243"/>
              <a:gd name="connsiteY5" fmla="*/ 185274 h 376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7243" h="376374">
                <a:moveTo>
                  <a:pt x="158473" y="376375"/>
                </a:moveTo>
                <a:lnTo>
                  <a:pt x="0" y="376375"/>
                </a:lnTo>
                <a:lnTo>
                  <a:pt x="185274" y="189935"/>
                </a:lnTo>
                <a:lnTo>
                  <a:pt x="0" y="0"/>
                </a:lnTo>
                <a:lnTo>
                  <a:pt x="161969" y="0"/>
                </a:lnTo>
                <a:lnTo>
                  <a:pt x="347244" y="185274"/>
                </a:lnTo>
                <a:close/>
              </a:path>
            </a:pathLst>
          </a:custGeom>
          <a:solidFill>
            <a:srgbClr val="EEF2F5"/>
          </a:solidFill>
          <a:ln w="11643" cap="flat">
            <a:noFill/>
            <a:prstDash val="solid"/>
            <a:miter/>
          </a:ln>
        </p:spPr>
        <p:txBody>
          <a:bodyPr rtlCol="0" anchor="ctr"/>
          <a:lstStyle/>
          <a:p>
            <a:endParaRPr lang="de-DE"/>
          </a:p>
        </p:txBody>
      </p:sp>
      <p:sp>
        <p:nvSpPr>
          <p:cNvPr id="138" name="Freihandform: Form 137">
            <a:extLst>
              <a:ext uri="{FF2B5EF4-FFF2-40B4-BE49-F238E27FC236}">
                <a16:creationId xmlns:a16="http://schemas.microsoft.com/office/drawing/2014/main" id="{5B458F82-191F-4A0B-9761-26D447FE3BDA}"/>
              </a:ext>
            </a:extLst>
          </p:cNvPr>
          <p:cNvSpPr/>
          <p:nvPr/>
        </p:nvSpPr>
        <p:spPr>
          <a:xfrm>
            <a:off x="11841261" y="4405152"/>
            <a:ext cx="347243" cy="377540"/>
          </a:xfrm>
          <a:custGeom>
            <a:avLst/>
            <a:gdLst>
              <a:gd name="connsiteX0" fmla="*/ 158473 w 347243"/>
              <a:gd name="connsiteY0" fmla="*/ 377540 h 377540"/>
              <a:gd name="connsiteX1" fmla="*/ 0 w 347243"/>
              <a:gd name="connsiteY1" fmla="*/ 377540 h 377540"/>
              <a:gd name="connsiteX2" fmla="*/ 185274 w 347243"/>
              <a:gd name="connsiteY2" fmla="*/ 189935 h 377540"/>
              <a:gd name="connsiteX3" fmla="*/ 0 w 347243"/>
              <a:gd name="connsiteY3" fmla="*/ 0 h 377540"/>
              <a:gd name="connsiteX4" fmla="*/ 161969 w 347243"/>
              <a:gd name="connsiteY4" fmla="*/ 0 h 377540"/>
              <a:gd name="connsiteX5" fmla="*/ 347244 w 347243"/>
              <a:gd name="connsiteY5" fmla="*/ 185274 h 377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7243" h="377540">
                <a:moveTo>
                  <a:pt x="158473" y="377540"/>
                </a:moveTo>
                <a:lnTo>
                  <a:pt x="0" y="377540"/>
                </a:lnTo>
                <a:lnTo>
                  <a:pt x="185274" y="189935"/>
                </a:lnTo>
                <a:lnTo>
                  <a:pt x="0" y="0"/>
                </a:lnTo>
                <a:lnTo>
                  <a:pt x="161969" y="0"/>
                </a:lnTo>
                <a:lnTo>
                  <a:pt x="347244" y="185274"/>
                </a:lnTo>
                <a:close/>
              </a:path>
            </a:pathLst>
          </a:custGeom>
          <a:solidFill>
            <a:srgbClr val="EEF2F5"/>
          </a:solidFill>
          <a:ln w="11643" cap="flat">
            <a:noFill/>
            <a:prstDash val="solid"/>
            <a:miter/>
          </a:ln>
        </p:spPr>
        <p:txBody>
          <a:bodyPr rtlCol="0" anchor="ctr"/>
          <a:lstStyle/>
          <a:p>
            <a:endParaRPr lang="de-DE"/>
          </a:p>
        </p:txBody>
      </p:sp>
      <p:sp>
        <p:nvSpPr>
          <p:cNvPr id="105" name="Freihandform: Form 104">
            <a:extLst>
              <a:ext uri="{FF2B5EF4-FFF2-40B4-BE49-F238E27FC236}">
                <a16:creationId xmlns:a16="http://schemas.microsoft.com/office/drawing/2014/main" id="{5C4533A5-54AE-4D76-A4AF-E6486B2E759F}"/>
              </a:ext>
            </a:extLst>
          </p:cNvPr>
          <p:cNvSpPr/>
          <p:nvPr/>
        </p:nvSpPr>
        <p:spPr>
          <a:xfrm>
            <a:off x="11494017" y="3704837"/>
            <a:ext cx="330930" cy="358896"/>
          </a:xfrm>
          <a:custGeom>
            <a:avLst/>
            <a:gdLst>
              <a:gd name="connsiteX0" fmla="*/ 151482 w 330930"/>
              <a:gd name="connsiteY0" fmla="*/ 358896 h 358896"/>
              <a:gd name="connsiteX1" fmla="*/ 0 w 330930"/>
              <a:gd name="connsiteY1" fmla="*/ 358896 h 358896"/>
              <a:gd name="connsiteX2" fmla="*/ 177118 w 330930"/>
              <a:gd name="connsiteY2" fmla="*/ 180613 h 358896"/>
              <a:gd name="connsiteX3" fmla="*/ 0 w 330930"/>
              <a:gd name="connsiteY3" fmla="*/ 0 h 358896"/>
              <a:gd name="connsiteX4" fmla="*/ 154979 w 330930"/>
              <a:gd name="connsiteY4" fmla="*/ 0 h 358896"/>
              <a:gd name="connsiteX5" fmla="*/ 330931 w 330930"/>
              <a:gd name="connsiteY5" fmla="*/ 175953 h 358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930" h="358896">
                <a:moveTo>
                  <a:pt x="151482" y="358896"/>
                </a:moveTo>
                <a:lnTo>
                  <a:pt x="0" y="358896"/>
                </a:lnTo>
                <a:lnTo>
                  <a:pt x="177118" y="180613"/>
                </a:lnTo>
                <a:lnTo>
                  <a:pt x="0" y="0"/>
                </a:lnTo>
                <a:lnTo>
                  <a:pt x="154979" y="0"/>
                </a:lnTo>
                <a:lnTo>
                  <a:pt x="330931" y="175953"/>
                </a:lnTo>
                <a:close/>
              </a:path>
            </a:pathLst>
          </a:custGeom>
          <a:solidFill>
            <a:srgbClr val="EEF2F5"/>
          </a:solidFill>
          <a:ln w="11643" cap="flat">
            <a:noFill/>
            <a:prstDash val="solid"/>
            <a:miter/>
          </a:ln>
        </p:spPr>
        <p:txBody>
          <a:bodyPr rtlCol="0" anchor="ctr"/>
          <a:lstStyle/>
          <a:p>
            <a:endParaRPr lang="de-DE"/>
          </a:p>
        </p:txBody>
      </p:sp>
      <p:sp>
        <p:nvSpPr>
          <p:cNvPr id="121" name="Freihandform: Form 120">
            <a:extLst>
              <a:ext uri="{FF2B5EF4-FFF2-40B4-BE49-F238E27FC236}">
                <a16:creationId xmlns:a16="http://schemas.microsoft.com/office/drawing/2014/main" id="{2C765BDB-0971-4930-98E2-992157EFF29E}"/>
              </a:ext>
            </a:extLst>
          </p:cNvPr>
          <p:cNvSpPr/>
          <p:nvPr/>
        </p:nvSpPr>
        <p:spPr>
          <a:xfrm>
            <a:off x="11494017" y="4059073"/>
            <a:ext cx="330930" cy="360061"/>
          </a:xfrm>
          <a:custGeom>
            <a:avLst/>
            <a:gdLst>
              <a:gd name="connsiteX0" fmla="*/ 151482 w 330930"/>
              <a:gd name="connsiteY0" fmla="*/ 360062 h 360061"/>
              <a:gd name="connsiteX1" fmla="*/ 0 w 330930"/>
              <a:gd name="connsiteY1" fmla="*/ 360062 h 360061"/>
              <a:gd name="connsiteX2" fmla="*/ 177118 w 330930"/>
              <a:gd name="connsiteY2" fmla="*/ 181779 h 360061"/>
              <a:gd name="connsiteX3" fmla="*/ 0 w 330930"/>
              <a:gd name="connsiteY3" fmla="*/ 0 h 360061"/>
              <a:gd name="connsiteX4" fmla="*/ 154979 w 330930"/>
              <a:gd name="connsiteY4" fmla="*/ 0 h 360061"/>
              <a:gd name="connsiteX5" fmla="*/ 330931 w 330930"/>
              <a:gd name="connsiteY5" fmla="*/ 177118 h 360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930" h="360061">
                <a:moveTo>
                  <a:pt x="151482" y="360062"/>
                </a:moveTo>
                <a:lnTo>
                  <a:pt x="0" y="360062"/>
                </a:lnTo>
                <a:lnTo>
                  <a:pt x="177118" y="181779"/>
                </a:lnTo>
                <a:lnTo>
                  <a:pt x="0" y="0"/>
                </a:lnTo>
                <a:lnTo>
                  <a:pt x="154979" y="0"/>
                </a:lnTo>
                <a:lnTo>
                  <a:pt x="330931" y="177118"/>
                </a:lnTo>
                <a:close/>
              </a:path>
            </a:pathLst>
          </a:custGeom>
          <a:solidFill>
            <a:srgbClr val="EEF2F5"/>
          </a:solidFill>
          <a:ln w="11643" cap="flat">
            <a:noFill/>
            <a:prstDash val="solid"/>
            <a:miter/>
          </a:ln>
        </p:spPr>
        <p:txBody>
          <a:bodyPr rtlCol="0" anchor="ctr"/>
          <a:lstStyle/>
          <a:p>
            <a:endParaRPr lang="de-DE"/>
          </a:p>
        </p:txBody>
      </p:sp>
      <p:sp>
        <p:nvSpPr>
          <p:cNvPr id="137" name="Freihandform: Form 136">
            <a:extLst>
              <a:ext uri="{FF2B5EF4-FFF2-40B4-BE49-F238E27FC236}">
                <a16:creationId xmlns:a16="http://schemas.microsoft.com/office/drawing/2014/main" id="{FFF7FEBD-DC05-4243-8288-65567FB9B1FC}"/>
              </a:ext>
            </a:extLst>
          </p:cNvPr>
          <p:cNvSpPr/>
          <p:nvPr/>
        </p:nvSpPr>
        <p:spPr>
          <a:xfrm>
            <a:off x="11494017" y="4414474"/>
            <a:ext cx="330930" cy="358896"/>
          </a:xfrm>
          <a:custGeom>
            <a:avLst/>
            <a:gdLst>
              <a:gd name="connsiteX0" fmla="*/ 151482 w 330930"/>
              <a:gd name="connsiteY0" fmla="*/ 358896 h 358896"/>
              <a:gd name="connsiteX1" fmla="*/ 0 w 330930"/>
              <a:gd name="connsiteY1" fmla="*/ 358896 h 358896"/>
              <a:gd name="connsiteX2" fmla="*/ 177118 w 330930"/>
              <a:gd name="connsiteY2" fmla="*/ 180613 h 358896"/>
              <a:gd name="connsiteX3" fmla="*/ 0 w 330930"/>
              <a:gd name="connsiteY3" fmla="*/ 0 h 358896"/>
              <a:gd name="connsiteX4" fmla="*/ 154979 w 330930"/>
              <a:gd name="connsiteY4" fmla="*/ 0 h 358896"/>
              <a:gd name="connsiteX5" fmla="*/ 330931 w 330930"/>
              <a:gd name="connsiteY5" fmla="*/ 175952 h 358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930" h="358896">
                <a:moveTo>
                  <a:pt x="151482" y="358896"/>
                </a:moveTo>
                <a:lnTo>
                  <a:pt x="0" y="358896"/>
                </a:lnTo>
                <a:lnTo>
                  <a:pt x="177118" y="180613"/>
                </a:lnTo>
                <a:lnTo>
                  <a:pt x="0" y="0"/>
                </a:lnTo>
                <a:lnTo>
                  <a:pt x="154979" y="0"/>
                </a:lnTo>
                <a:lnTo>
                  <a:pt x="330931" y="175952"/>
                </a:lnTo>
                <a:close/>
              </a:path>
            </a:pathLst>
          </a:custGeom>
          <a:solidFill>
            <a:srgbClr val="EEF2F5"/>
          </a:solidFill>
          <a:ln w="11643" cap="flat">
            <a:noFill/>
            <a:prstDash val="solid"/>
            <a:miter/>
          </a:ln>
        </p:spPr>
        <p:txBody>
          <a:bodyPr rtlCol="0" anchor="ctr"/>
          <a:lstStyle/>
          <a:p>
            <a:endParaRPr lang="de-DE"/>
          </a:p>
        </p:txBody>
      </p:sp>
      <p:sp>
        <p:nvSpPr>
          <p:cNvPr id="154" name="Freihandform: Form 153">
            <a:extLst>
              <a:ext uri="{FF2B5EF4-FFF2-40B4-BE49-F238E27FC236}">
                <a16:creationId xmlns:a16="http://schemas.microsoft.com/office/drawing/2014/main" id="{46119847-314D-4401-B853-7CDAC232D928}"/>
              </a:ext>
            </a:extLst>
          </p:cNvPr>
          <p:cNvSpPr/>
          <p:nvPr/>
        </p:nvSpPr>
        <p:spPr>
          <a:xfrm>
            <a:off x="11494017" y="4768709"/>
            <a:ext cx="330930" cy="360061"/>
          </a:xfrm>
          <a:custGeom>
            <a:avLst/>
            <a:gdLst>
              <a:gd name="connsiteX0" fmla="*/ 151482 w 330930"/>
              <a:gd name="connsiteY0" fmla="*/ 360062 h 360061"/>
              <a:gd name="connsiteX1" fmla="*/ 0 w 330930"/>
              <a:gd name="connsiteY1" fmla="*/ 360062 h 360061"/>
              <a:gd name="connsiteX2" fmla="*/ 177118 w 330930"/>
              <a:gd name="connsiteY2" fmla="*/ 181779 h 360061"/>
              <a:gd name="connsiteX3" fmla="*/ 0 w 330930"/>
              <a:gd name="connsiteY3" fmla="*/ 0 h 360061"/>
              <a:gd name="connsiteX4" fmla="*/ 154979 w 330930"/>
              <a:gd name="connsiteY4" fmla="*/ 0 h 360061"/>
              <a:gd name="connsiteX5" fmla="*/ 330931 w 330930"/>
              <a:gd name="connsiteY5" fmla="*/ 177118 h 360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930" h="360061">
                <a:moveTo>
                  <a:pt x="151482" y="360062"/>
                </a:moveTo>
                <a:lnTo>
                  <a:pt x="0" y="360062"/>
                </a:lnTo>
                <a:lnTo>
                  <a:pt x="177118" y="181779"/>
                </a:lnTo>
                <a:lnTo>
                  <a:pt x="0" y="0"/>
                </a:lnTo>
                <a:lnTo>
                  <a:pt x="154979" y="0"/>
                </a:lnTo>
                <a:lnTo>
                  <a:pt x="330931" y="177118"/>
                </a:lnTo>
                <a:close/>
              </a:path>
            </a:pathLst>
          </a:custGeom>
          <a:solidFill>
            <a:srgbClr val="EEF2F5"/>
          </a:solidFill>
          <a:ln w="11643" cap="flat">
            <a:noFill/>
            <a:prstDash val="solid"/>
            <a:miter/>
          </a:ln>
        </p:spPr>
        <p:txBody>
          <a:bodyPr rtlCol="0" anchor="ctr"/>
          <a:lstStyle/>
          <a:p>
            <a:endParaRPr lang="de-DE"/>
          </a:p>
        </p:txBody>
      </p:sp>
      <p:sp>
        <p:nvSpPr>
          <p:cNvPr id="88" name="Freihandform: Form 87">
            <a:extLst>
              <a:ext uri="{FF2B5EF4-FFF2-40B4-BE49-F238E27FC236}">
                <a16:creationId xmlns:a16="http://schemas.microsoft.com/office/drawing/2014/main" id="{021EABD8-89C7-4331-9946-CAAC34E3DC2D}"/>
              </a:ext>
            </a:extLst>
          </p:cNvPr>
          <p:cNvSpPr/>
          <p:nvPr/>
        </p:nvSpPr>
        <p:spPr>
          <a:xfrm>
            <a:off x="11147939" y="3358759"/>
            <a:ext cx="314616" cy="341417"/>
          </a:xfrm>
          <a:custGeom>
            <a:avLst/>
            <a:gdLst>
              <a:gd name="connsiteX0" fmla="*/ 143325 w 314616"/>
              <a:gd name="connsiteY0" fmla="*/ 341418 h 341417"/>
              <a:gd name="connsiteX1" fmla="*/ 0 w 314616"/>
              <a:gd name="connsiteY1" fmla="*/ 341418 h 341417"/>
              <a:gd name="connsiteX2" fmla="*/ 167795 w 314616"/>
              <a:gd name="connsiteY2" fmla="*/ 172457 h 341417"/>
              <a:gd name="connsiteX3" fmla="*/ 0 w 314616"/>
              <a:gd name="connsiteY3" fmla="*/ 0 h 341417"/>
              <a:gd name="connsiteX4" fmla="*/ 146821 w 314616"/>
              <a:gd name="connsiteY4" fmla="*/ 0 h 341417"/>
              <a:gd name="connsiteX5" fmla="*/ 314617 w 314616"/>
              <a:gd name="connsiteY5" fmla="*/ 167796 h 341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4616" h="341417">
                <a:moveTo>
                  <a:pt x="143325" y="341418"/>
                </a:moveTo>
                <a:lnTo>
                  <a:pt x="0" y="341418"/>
                </a:lnTo>
                <a:lnTo>
                  <a:pt x="167795" y="172457"/>
                </a:lnTo>
                <a:lnTo>
                  <a:pt x="0" y="0"/>
                </a:lnTo>
                <a:lnTo>
                  <a:pt x="146821" y="0"/>
                </a:lnTo>
                <a:lnTo>
                  <a:pt x="314617" y="167796"/>
                </a:lnTo>
                <a:close/>
              </a:path>
            </a:pathLst>
          </a:custGeom>
          <a:solidFill>
            <a:srgbClr val="EEF2F5"/>
          </a:solidFill>
          <a:ln w="11643" cap="flat">
            <a:noFill/>
            <a:prstDash val="solid"/>
            <a:miter/>
          </a:ln>
        </p:spPr>
        <p:txBody>
          <a:bodyPr rtlCol="0" anchor="ctr"/>
          <a:lstStyle/>
          <a:p>
            <a:endParaRPr lang="de-DE"/>
          </a:p>
        </p:txBody>
      </p:sp>
      <p:sp>
        <p:nvSpPr>
          <p:cNvPr id="104" name="Freihandform: Form 103">
            <a:extLst>
              <a:ext uri="{FF2B5EF4-FFF2-40B4-BE49-F238E27FC236}">
                <a16:creationId xmlns:a16="http://schemas.microsoft.com/office/drawing/2014/main" id="{2DAD8994-DFB7-4D8A-B3A1-95AEBE830246}"/>
              </a:ext>
            </a:extLst>
          </p:cNvPr>
          <p:cNvSpPr/>
          <p:nvPr/>
        </p:nvSpPr>
        <p:spPr>
          <a:xfrm>
            <a:off x="11147939" y="3714159"/>
            <a:ext cx="314616" cy="340252"/>
          </a:xfrm>
          <a:custGeom>
            <a:avLst/>
            <a:gdLst>
              <a:gd name="connsiteX0" fmla="*/ 143325 w 314616"/>
              <a:gd name="connsiteY0" fmla="*/ 340252 h 340252"/>
              <a:gd name="connsiteX1" fmla="*/ 0 w 314616"/>
              <a:gd name="connsiteY1" fmla="*/ 340252 h 340252"/>
              <a:gd name="connsiteX2" fmla="*/ 167795 w 314616"/>
              <a:gd name="connsiteY2" fmla="*/ 171291 h 340252"/>
              <a:gd name="connsiteX3" fmla="*/ 0 w 314616"/>
              <a:gd name="connsiteY3" fmla="*/ 0 h 340252"/>
              <a:gd name="connsiteX4" fmla="*/ 146821 w 314616"/>
              <a:gd name="connsiteY4" fmla="*/ 0 h 340252"/>
              <a:gd name="connsiteX5" fmla="*/ 314617 w 314616"/>
              <a:gd name="connsiteY5" fmla="*/ 166631 h 340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4616" h="340252">
                <a:moveTo>
                  <a:pt x="143325" y="340252"/>
                </a:moveTo>
                <a:lnTo>
                  <a:pt x="0" y="340252"/>
                </a:lnTo>
                <a:lnTo>
                  <a:pt x="167795" y="171291"/>
                </a:lnTo>
                <a:lnTo>
                  <a:pt x="0" y="0"/>
                </a:lnTo>
                <a:lnTo>
                  <a:pt x="146821" y="0"/>
                </a:lnTo>
                <a:lnTo>
                  <a:pt x="314617" y="166631"/>
                </a:lnTo>
                <a:close/>
              </a:path>
            </a:pathLst>
          </a:custGeom>
          <a:solidFill>
            <a:srgbClr val="EEF2F5"/>
          </a:solidFill>
          <a:ln w="11643" cap="flat">
            <a:noFill/>
            <a:prstDash val="solid"/>
            <a:miter/>
          </a:ln>
        </p:spPr>
        <p:txBody>
          <a:bodyPr rtlCol="0" anchor="ctr"/>
          <a:lstStyle/>
          <a:p>
            <a:endParaRPr lang="de-DE"/>
          </a:p>
        </p:txBody>
      </p:sp>
      <p:sp>
        <p:nvSpPr>
          <p:cNvPr id="120" name="Freihandform: Form 119">
            <a:extLst>
              <a:ext uri="{FF2B5EF4-FFF2-40B4-BE49-F238E27FC236}">
                <a16:creationId xmlns:a16="http://schemas.microsoft.com/office/drawing/2014/main" id="{9CAC8A30-61AB-4046-B8E4-22F4EC6F7681}"/>
              </a:ext>
            </a:extLst>
          </p:cNvPr>
          <p:cNvSpPr/>
          <p:nvPr/>
        </p:nvSpPr>
        <p:spPr>
          <a:xfrm>
            <a:off x="11147939" y="4068395"/>
            <a:ext cx="314616" cy="341417"/>
          </a:xfrm>
          <a:custGeom>
            <a:avLst/>
            <a:gdLst>
              <a:gd name="connsiteX0" fmla="*/ 143325 w 314616"/>
              <a:gd name="connsiteY0" fmla="*/ 341418 h 341417"/>
              <a:gd name="connsiteX1" fmla="*/ 0 w 314616"/>
              <a:gd name="connsiteY1" fmla="*/ 341418 h 341417"/>
              <a:gd name="connsiteX2" fmla="*/ 167795 w 314616"/>
              <a:gd name="connsiteY2" fmla="*/ 172457 h 341417"/>
              <a:gd name="connsiteX3" fmla="*/ 0 w 314616"/>
              <a:gd name="connsiteY3" fmla="*/ 0 h 341417"/>
              <a:gd name="connsiteX4" fmla="*/ 146821 w 314616"/>
              <a:gd name="connsiteY4" fmla="*/ 0 h 341417"/>
              <a:gd name="connsiteX5" fmla="*/ 314617 w 314616"/>
              <a:gd name="connsiteY5" fmla="*/ 167796 h 341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4616" h="341417">
                <a:moveTo>
                  <a:pt x="143325" y="341418"/>
                </a:moveTo>
                <a:lnTo>
                  <a:pt x="0" y="341418"/>
                </a:lnTo>
                <a:lnTo>
                  <a:pt x="167795" y="172457"/>
                </a:lnTo>
                <a:lnTo>
                  <a:pt x="0" y="0"/>
                </a:lnTo>
                <a:lnTo>
                  <a:pt x="146821" y="0"/>
                </a:lnTo>
                <a:lnTo>
                  <a:pt x="314617" y="167796"/>
                </a:lnTo>
                <a:close/>
              </a:path>
            </a:pathLst>
          </a:custGeom>
          <a:solidFill>
            <a:srgbClr val="EEF2F5"/>
          </a:solidFill>
          <a:ln w="11643" cap="flat">
            <a:noFill/>
            <a:prstDash val="solid"/>
            <a:miter/>
          </a:ln>
        </p:spPr>
        <p:txBody>
          <a:bodyPr rtlCol="0" anchor="ctr"/>
          <a:lstStyle/>
          <a:p>
            <a:endParaRPr lang="de-DE"/>
          </a:p>
        </p:txBody>
      </p:sp>
      <p:sp>
        <p:nvSpPr>
          <p:cNvPr id="136" name="Freihandform: Form 135">
            <a:extLst>
              <a:ext uri="{FF2B5EF4-FFF2-40B4-BE49-F238E27FC236}">
                <a16:creationId xmlns:a16="http://schemas.microsoft.com/office/drawing/2014/main" id="{514370C7-4CF6-451C-90DF-3B79CA5A0A59}"/>
              </a:ext>
            </a:extLst>
          </p:cNvPr>
          <p:cNvSpPr/>
          <p:nvPr/>
        </p:nvSpPr>
        <p:spPr>
          <a:xfrm>
            <a:off x="11147939" y="4423796"/>
            <a:ext cx="314616" cy="340252"/>
          </a:xfrm>
          <a:custGeom>
            <a:avLst/>
            <a:gdLst>
              <a:gd name="connsiteX0" fmla="*/ 143325 w 314616"/>
              <a:gd name="connsiteY0" fmla="*/ 340252 h 340252"/>
              <a:gd name="connsiteX1" fmla="*/ 0 w 314616"/>
              <a:gd name="connsiteY1" fmla="*/ 340252 h 340252"/>
              <a:gd name="connsiteX2" fmla="*/ 167795 w 314616"/>
              <a:gd name="connsiteY2" fmla="*/ 171291 h 340252"/>
              <a:gd name="connsiteX3" fmla="*/ 0 w 314616"/>
              <a:gd name="connsiteY3" fmla="*/ 0 h 340252"/>
              <a:gd name="connsiteX4" fmla="*/ 146821 w 314616"/>
              <a:gd name="connsiteY4" fmla="*/ 0 h 340252"/>
              <a:gd name="connsiteX5" fmla="*/ 314617 w 314616"/>
              <a:gd name="connsiteY5" fmla="*/ 167796 h 340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4616" h="340252">
                <a:moveTo>
                  <a:pt x="143325" y="340252"/>
                </a:moveTo>
                <a:lnTo>
                  <a:pt x="0" y="340252"/>
                </a:lnTo>
                <a:lnTo>
                  <a:pt x="167795" y="171291"/>
                </a:lnTo>
                <a:lnTo>
                  <a:pt x="0" y="0"/>
                </a:lnTo>
                <a:lnTo>
                  <a:pt x="146821" y="0"/>
                </a:lnTo>
                <a:lnTo>
                  <a:pt x="314617" y="167796"/>
                </a:lnTo>
                <a:close/>
              </a:path>
            </a:pathLst>
          </a:custGeom>
          <a:solidFill>
            <a:srgbClr val="EEF2F5"/>
          </a:solidFill>
          <a:ln w="11643" cap="flat">
            <a:noFill/>
            <a:prstDash val="solid"/>
            <a:miter/>
          </a:ln>
        </p:spPr>
        <p:txBody>
          <a:bodyPr rtlCol="0" anchor="ctr"/>
          <a:lstStyle/>
          <a:p>
            <a:endParaRPr lang="de-DE"/>
          </a:p>
        </p:txBody>
      </p:sp>
      <p:sp>
        <p:nvSpPr>
          <p:cNvPr id="153" name="Freihandform: Form 152">
            <a:extLst>
              <a:ext uri="{FF2B5EF4-FFF2-40B4-BE49-F238E27FC236}">
                <a16:creationId xmlns:a16="http://schemas.microsoft.com/office/drawing/2014/main" id="{6D62BA37-26ED-4588-AD4A-3F0CC1E972FD}"/>
              </a:ext>
            </a:extLst>
          </p:cNvPr>
          <p:cNvSpPr/>
          <p:nvPr/>
        </p:nvSpPr>
        <p:spPr>
          <a:xfrm>
            <a:off x="11147939" y="4778031"/>
            <a:ext cx="314616" cy="341417"/>
          </a:xfrm>
          <a:custGeom>
            <a:avLst/>
            <a:gdLst>
              <a:gd name="connsiteX0" fmla="*/ 143325 w 314616"/>
              <a:gd name="connsiteY0" fmla="*/ 341418 h 341417"/>
              <a:gd name="connsiteX1" fmla="*/ 0 w 314616"/>
              <a:gd name="connsiteY1" fmla="*/ 341418 h 341417"/>
              <a:gd name="connsiteX2" fmla="*/ 167795 w 314616"/>
              <a:gd name="connsiteY2" fmla="*/ 172457 h 341417"/>
              <a:gd name="connsiteX3" fmla="*/ 0 w 314616"/>
              <a:gd name="connsiteY3" fmla="*/ 0 h 341417"/>
              <a:gd name="connsiteX4" fmla="*/ 146821 w 314616"/>
              <a:gd name="connsiteY4" fmla="*/ 0 h 341417"/>
              <a:gd name="connsiteX5" fmla="*/ 314617 w 314616"/>
              <a:gd name="connsiteY5" fmla="*/ 167796 h 341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4616" h="341417">
                <a:moveTo>
                  <a:pt x="143325" y="341418"/>
                </a:moveTo>
                <a:lnTo>
                  <a:pt x="0" y="341418"/>
                </a:lnTo>
                <a:lnTo>
                  <a:pt x="167795" y="172457"/>
                </a:lnTo>
                <a:lnTo>
                  <a:pt x="0" y="0"/>
                </a:lnTo>
                <a:lnTo>
                  <a:pt x="146821" y="0"/>
                </a:lnTo>
                <a:lnTo>
                  <a:pt x="314617" y="167796"/>
                </a:lnTo>
                <a:close/>
              </a:path>
            </a:pathLst>
          </a:custGeom>
          <a:solidFill>
            <a:srgbClr val="EEF2F5"/>
          </a:solidFill>
          <a:ln w="11643" cap="flat">
            <a:noFill/>
            <a:prstDash val="solid"/>
            <a:miter/>
          </a:ln>
        </p:spPr>
        <p:txBody>
          <a:bodyPr rtlCol="0" anchor="ctr"/>
          <a:lstStyle/>
          <a:p>
            <a:endParaRPr lang="de-DE"/>
          </a:p>
        </p:txBody>
      </p:sp>
      <p:sp>
        <p:nvSpPr>
          <p:cNvPr id="170" name="Freihandform: Form 169">
            <a:extLst>
              <a:ext uri="{FF2B5EF4-FFF2-40B4-BE49-F238E27FC236}">
                <a16:creationId xmlns:a16="http://schemas.microsoft.com/office/drawing/2014/main" id="{6E70AB4A-6E36-4A08-8730-471DDB749A6F}"/>
              </a:ext>
            </a:extLst>
          </p:cNvPr>
          <p:cNvSpPr/>
          <p:nvPr/>
        </p:nvSpPr>
        <p:spPr>
          <a:xfrm>
            <a:off x="11147939" y="5133432"/>
            <a:ext cx="314616" cy="341417"/>
          </a:xfrm>
          <a:custGeom>
            <a:avLst/>
            <a:gdLst>
              <a:gd name="connsiteX0" fmla="*/ 143325 w 314616"/>
              <a:gd name="connsiteY0" fmla="*/ 341418 h 341417"/>
              <a:gd name="connsiteX1" fmla="*/ 0 w 314616"/>
              <a:gd name="connsiteY1" fmla="*/ 341418 h 341417"/>
              <a:gd name="connsiteX2" fmla="*/ 167795 w 314616"/>
              <a:gd name="connsiteY2" fmla="*/ 171292 h 341417"/>
              <a:gd name="connsiteX3" fmla="*/ 0 w 314616"/>
              <a:gd name="connsiteY3" fmla="*/ 0 h 341417"/>
              <a:gd name="connsiteX4" fmla="*/ 146821 w 314616"/>
              <a:gd name="connsiteY4" fmla="*/ 0 h 341417"/>
              <a:gd name="connsiteX5" fmla="*/ 314617 w 314616"/>
              <a:gd name="connsiteY5" fmla="*/ 167796 h 341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4616" h="341417">
                <a:moveTo>
                  <a:pt x="143325" y="341418"/>
                </a:moveTo>
                <a:lnTo>
                  <a:pt x="0" y="341418"/>
                </a:lnTo>
                <a:lnTo>
                  <a:pt x="167795" y="171292"/>
                </a:lnTo>
                <a:lnTo>
                  <a:pt x="0" y="0"/>
                </a:lnTo>
                <a:lnTo>
                  <a:pt x="146821" y="0"/>
                </a:lnTo>
                <a:lnTo>
                  <a:pt x="314617" y="167796"/>
                </a:lnTo>
                <a:close/>
              </a:path>
            </a:pathLst>
          </a:custGeom>
          <a:solidFill>
            <a:srgbClr val="EEF2F5"/>
          </a:solidFill>
          <a:ln w="11643" cap="flat">
            <a:noFill/>
            <a:prstDash val="solid"/>
            <a:miter/>
          </a:ln>
        </p:spPr>
        <p:txBody>
          <a:bodyPr rtlCol="0" anchor="ctr"/>
          <a:lstStyle/>
          <a:p>
            <a:endParaRPr lang="de-DE"/>
          </a:p>
        </p:txBody>
      </p:sp>
      <p:sp>
        <p:nvSpPr>
          <p:cNvPr id="71" name="Freihandform: Form 70">
            <a:extLst>
              <a:ext uri="{FF2B5EF4-FFF2-40B4-BE49-F238E27FC236}">
                <a16:creationId xmlns:a16="http://schemas.microsoft.com/office/drawing/2014/main" id="{EC37F69B-71A5-4B22-89E2-2B86538897C6}"/>
              </a:ext>
            </a:extLst>
          </p:cNvPr>
          <p:cNvSpPr/>
          <p:nvPr/>
        </p:nvSpPr>
        <p:spPr>
          <a:xfrm>
            <a:off x="10801860" y="3012680"/>
            <a:ext cx="297138" cy="323938"/>
          </a:xfrm>
          <a:custGeom>
            <a:avLst/>
            <a:gdLst>
              <a:gd name="connsiteX0" fmla="*/ 135168 w 297138"/>
              <a:gd name="connsiteY0" fmla="*/ 323939 h 323938"/>
              <a:gd name="connsiteX1" fmla="*/ 0 w 297138"/>
              <a:gd name="connsiteY1" fmla="*/ 323939 h 323938"/>
              <a:gd name="connsiteX2" fmla="*/ 158473 w 297138"/>
              <a:gd name="connsiteY2" fmla="*/ 163135 h 323938"/>
              <a:gd name="connsiteX3" fmla="*/ 0 w 297138"/>
              <a:gd name="connsiteY3" fmla="*/ 0 h 323938"/>
              <a:gd name="connsiteX4" fmla="*/ 138664 w 297138"/>
              <a:gd name="connsiteY4" fmla="*/ 0 h 323938"/>
              <a:gd name="connsiteX5" fmla="*/ 297138 w 297138"/>
              <a:gd name="connsiteY5" fmla="*/ 159639 h 323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3938">
                <a:moveTo>
                  <a:pt x="135168" y="323939"/>
                </a:moveTo>
                <a:lnTo>
                  <a:pt x="0" y="323939"/>
                </a:lnTo>
                <a:lnTo>
                  <a:pt x="158473" y="163135"/>
                </a:lnTo>
                <a:lnTo>
                  <a:pt x="0" y="0"/>
                </a:lnTo>
                <a:lnTo>
                  <a:pt x="138664" y="0"/>
                </a:lnTo>
                <a:lnTo>
                  <a:pt x="297138" y="159639"/>
                </a:lnTo>
                <a:close/>
              </a:path>
            </a:pathLst>
          </a:custGeom>
          <a:solidFill>
            <a:srgbClr val="EEF2F5"/>
          </a:solidFill>
          <a:ln w="11643" cap="flat">
            <a:noFill/>
            <a:prstDash val="solid"/>
            <a:miter/>
          </a:ln>
        </p:spPr>
        <p:txBody>
          <a:bodyPr rtlCol="0" anchor="ctr"/>
          <a:lstStyle/>
          <a:p>
            <a:endParaRPr lang="de-DE"/>
          </a:p>
        </p:txBody>
      </p:sp>
      <p:sp>
        <p:nvSpPr>
          <p:cNvPr id="87" name="Freihandform: Form 86">
            <a:extLst>
              <a:ext uri="{FF2B5EF4-FFF2-40B4-BE49-F238E27FC236}">
                <a16:creationId xmlns:a16="http://schemas.microsoft.com/office/drawing/2014/main" id="{6027B9E1-4632-4B82-9FA3-1E60661DE0B8}"/>
              </a:ext>
            </a:extLst>
          </p:cNvPr>
          <p:cNvSpPr/>
          <p:nvPr/>
        </p:nvSpPr>
        <p:spPr>
          <a:xfrm>
            <a:off x="10801860" y="3368081"/>
            <a:ext cx="297138" cy="322773"/>
          </a:xfrm>
          <a:custGeom>
            <a:avLst/>
            <a:gdLst>
              <a:gd name="connsiteX0" fmla="*/ 135168 w 297138"/>
              <a:gd name="connsiteY0" fmla="*/ 322774 h 322773"/>
              <a:gd name="connsiteX1" fmla="*/ 0 w 297138"/>
              <a:gd name="connsiteY1" fmla="*/ 322774 h 322773"/>
              <a:gd name="connsiteX2" fmla="*/ 158473 w 297138"/>
              <a:gd name="connsiteY2" fmla="*/ 163135 h 322773"/>
              <a:gd name="connsiteX3" fmla="*/ 0 w 297138"/>
              <a:gd name="connsiteY3" fmla="*/ 0 h 322773"/>
              <a:gd name="connsiteX4" fmla="*/ 138664 w 297138"/>
              <a:gd name="connsiteY4" fmla="*/ 0 h 322773"/>
              <a:gd name="connsiteX5" fmla="*/ 297138 w 297138"/>
              <a:gd name="connsiteY5" fmla="*/ 158474 h 322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2773">
                <a:moveTo>
                  <a:pt x="135168" y="322774"/>
                </a:moveTo>
                <a:lnTo>
                  <a:pt x="0" y="322774"/>
                </a:lnTo>
                <a:lnTo>
                  <a:pt x="158473" y="163135"/>
                </a:lnTo>
                <a:lnTo>
                  <a:pt x="0" y="0"/>
                </a:lnTo>
                <a:lnTo>
                  <a:pt x="138664" y="0"/>
                </a:lnTo>
                <a:lnTo>
                  <a:pt x="297138" y="158474"/>
                </a:lnTo>
                <a:close/>
              </a:path>
            </a:pathLst>
          </a:custGeom>
          <a:solidFill>
            <a:srgbClr val="EEF2F5"/>
          </a:solidFill>
          <a:ln w="11643" cap="flat">
            <a:noFill/>
            <a:prstDash val="solid"/>
            <a:miter/>
          </a:ln>
        </p:spPr>
        <p:txBody>
          <a:bodyPr rtlCol="0" anchor="ctr"/>
          <a:lstStyle/>
          <a:p>
            <a:endParaRPr lang="de-DE"/>
          </a:p>
        </p:txBody>
      </p:sp>
      <p:sp>
        <p:nvSpPr>
          <p:cNvPr id="103" name="Freihandform: Form 102">
            <a:extLst>
              <a:ext uri="{FF2B5EF4-FFF2-40B4-BE49-F238E27FC236}">
                <a16:creationId xmlns:a16="http://schemas.microsoft.com/office/drawing/2014/main" id="{A133033E-1247-4F36-9A54-C51B13CBD1CE}"/>
              </a:ext>
            </a:extLst>
          </p:cNvPr>
          <p:cNvSpPr/>
          <p:nvPr/>
        </p:nvSpPr>
        <p:spPr>
          <a:xfrm>
            <a:off x="10801860" y="3722316"/>
            <a:ext cx="297138" cy="323938"/>
          </a:xfrm>
          <a:custGeom>
            <a:avLst/>
            <a:gdLst>
              <a:gd name="connsiteX0" fmla="*/ 135168 w 297138"/>
              <a:gd name="connsiteY0" fmla="*/ 323939 h 323938"/>
              <a:gd name="connsiteX1" fmla="*/ 0 w 297138"/>
              <a:gd name="connsiteY1" fmla="*/ 323939 h 323938"/>
              <a:gd name="connsiteX2" fmla="*/ 158473 w 297138"/>
              <a:gd name="connsiteY2" fmla="*/ 163135 h 323938"/>
              <a:gd name="connsiteX3" fmla="*/ 0 w 297138"/>
              <a:gd name="connsiteY3" fmla="*/ 0 h 323938"/>
              <a:gd name="connsiteX4" fmla="*/ 138664 w 297138"/>
              <a:gd name="connsiteY4" fmla="*/ 0 h 323938"/>
              <a:gd name="connsiteX5" fmla="*/ 297138 w 297138"/>
              <a:gd name="connsiteY5" fmla="*/ 159639 h 323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3938">
                <a:moveTo>
                  <a:pt x="135168" y="323939"/>
                </a:moveTo>
                <a:lnTo>
                  <a:pt x="0" y="323939"/>
                </a:lnTo>
                <a:lnTo>
                  <a:pt x="158473" y="163135"/>
                </a:lnTo>
                <a:lnTo>
                  <a:pt x="0" y="0"/>
                </a:lnTo>
                <a:lnTo>
                  <a:pt x="138664" y="0"/>
                </a:lnTo>
                <a:lnTo>
                  <a:pt x="297138" y="159639"/>
                </a:lnTo>
                <a:close/>
              </a:path>
            </a:pathLst>
          </a:custGeom>
          <a:solidFill>
            <a:srgbClr val="EEF2F5"/>
          </a:solidFill>
          <a:ln w="11643" cap="flat">
            <a:noFill/>
            <a:prstDash val="solid"/>
            <a:miter/>
          </a:ln>
        </p:spPr>
        <p:txBody>
          <a:bodyPr rtlCol="0" anchor="ctr"/>
          <a:lstStyle/>
          <a:p>
            <a:endParaRPr lang="de-DE"/>
          </a:p>
        </p:txBody>
      </p:sp>
      <p:sp>
        <p:nvSpPr>
          <p:cNvPr id="119" name="Freihandform: Form 118">
            <a:extLst>
              <a:ext uri="{FF2B5EF4-FFF2-40B4-BE49-F238E27FC236}">
                <a16:creationId xmlns:a16="http://schemas.microsoft.com/office/drawing/2014/main" id="{48E055C3-701A-4F5A-8DFA-C4FA735748CE}"/>
              </a:ext>
            </a:extLst>
          </p:cNvPr>
          <p:cNvSpPr/>
          <p:nvPr/>
        </p:nvSpPr>
        <p:spPr>
          <a:xfrm>
            <a:off x="10801860" y="4077717"/>
            <a:ext cx="297138" cy="322773"/>
          </a:xfrm>
          <a:custGeom>
            <a:avLst/>
            <a:gdLst>
              <a:gd name="connsiteX0" fmla="*/ 135168 w 297138"/>
              <a:gd name="connsiteY0" fmla="*/ 322774 h 322773"/>
              <a:gd name="connsiteX1" fmla="*/ 0 w 297138"/>
              <a:gd name="connsiteY1" fmla="*/ 322774 h 322773"/>
              <a:gd name="connsiteX2" fmla="*/ 158473 w 297138"/>
              <a:gd name="connsiteY2" fmla="*/ 163135 h 322773"/>
              <a:gd name="connsiteX3" fmla="*/ 0 w 297138"/>
              <a:gd name="connsiteY3" fmla="*/ 0 h 322773"/>
              <a:gd name="connsiteX4" fmla="*/ 138664 w 297138"/>
              <a:gd name="connsiteY4" fmla="*/ 0 h 322773"/>
              <a:gd name="connsiteX5" fmla="*/ 297138 w 297138"/>
              <a:gd name="connsiteY5" fmla="*/ 158474 h 322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2773">
                <a:moveTo>
                  <a:pt x="135168" y="322774"/>
                </a:moveTo>
                <a:lnTo>
                  <a:pt x="0" y="322774"/>
                </a:lnTo>
                <a:lnTo>
                  <a:pt x="158473" y="163135"/>
                </a:lnTo>
                <a:lnTo>
                  <a:pt x="0" y="0"/>
                </a:lnTo>
                <a:lnTo>
                  <a:pt x="138664" y="0"/>
                </a:lnTo>
                <a:lnTo>
                  <a:pt x="297138" y="158474"/>
                </a:lnTo>
                <a:close/>
              </a:path>
            </a:pathLst>
          </a:custGeom>
          <a:solidFill>
            <a:srgbClr val="EEF2F5"/>
          </a:solidFill>
          <a:ln w="11643" cap="flat">
            <a:noFill/>
            <a:prstDash val="solid"/>
            <a:miter/>
          </a:ln>
        </p:spPr>
        <p:txBody>
          <a:bodyPr rtlCol="0" anchor="ctr"/>
          <a:lstStyle/>
          <a:p>
            <a:endParaRPr lang="de-DE"/>
          </a:p>
        </p:txBody>
      </p:sp>
      <p:sp>
        <p:nvSpPr>
          <p:cNvPr id="135" name="Freihandform: Form 134">
            <a:extLst>
              <a:ext uri="{FF2B5EF4-FFF2-40B4-BE49-F238E27FC236}">
                <a16:creationId xmlns:a16="http://schemas.microsoft.com/office/drawing/2014/main" id="{BCADBC01-33BC-4B7C-9DB7-FA73F490E349}"/>
              </a:ext>
            </a:extLst>
          </p:cNvPr>
          <p:cNvSpPr/>
          <p:nvPr/>
        </p:nvSpPr>
        <p:spPr>
          <a:xfrm>
            <a:off x="10801860" y="4431952"/>
            <a:ext cx="297138" cy="323938"/>
          </a:xfrm>
          <a:custGeom>
            <a:avLst/>
            <a:gdLst>
              <a:gd name="connsiteX0" fmla="*/ 135168 w 297138"/>
              <a:gd name="connsiteY0" fmla="*/ 323939 h 323938"/>
              <a:gd name="connsiteX1" fmla="*/ 0 w 297138"/>
              <a:gd name="connsiteY1" fmla="*/ 323939 h 323938"/>
              <a:gd name="connsiteX2" fmla="*/ 158473 w 297138"/>
              <a:gd name="connsiteY2" fmla="*/ 163135 h 323938"/>
              <a:gd name="connsiteX3" fmla="*/ 0 w 297138"/>
              <a:gd name="connsiteY3" fmla="*/ 0 h 323938"/>
              <a:gd name="connsiteX4" fmla="*/ 138664 w 297138"/>
              <a:gd name="connsiteY4" fmla="*/ 0 h 323938"/>
              <a:gd name="connsiteX5" fmla="*/ 297138 w 297138"/>
              <a:gd name="connsiteY5" fmla="*/ 159639 h 323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3938">
                <a:moveTo>
                  <a:pt x="135168" y="323939"/>
                </a:moveTo>
                <a:lnTo>
                  <a:pt x="0" y="323939"/>
                </a:lnTo>
                <a:lnTo>
                  <a:pt x="158473" y="163135"/>
                </a:lnTo>
                <a:lnTo>
                  <a:pt x="0" y="0"/>
                </a:lnTo>
                <a:lnTo>
                  <a:pt x="138664" y="0"/>
                </a:lnTo>
                <a:lnTo>
                  <a:pt x="297138" y="159639"/>
                </a:lnTo>
                <a:close/>
              </a:path>
            </a:pathLst>
          </a:custGeom>
          <a:solidFill>
            <a:srgbClr val="EEF2F5"/>
          </a:solidFill>
          <a:ln w="11643" cap="flat">
            <a:noFill/>
            <a:prstDash val="solid"/>
            <a:miter/>
          </a:ln>
        </p:spPr>
        <p:txBody>
          <a:bodyPr rtlCol="0" anchor="ctr"/>
          <a:lstStyle/>
          <a:p>
            <a:endParaRPr lang="de-DE"/>
          </a:p>
        </p:txBody>
      </p:sp>
      <p:sp>
        <p:nvSpPr>
          <p:cNvPr id="152" name="Freihandform: Form 151">
            <a:extLst>
              <a:ext uri="{FF2B5EF4-FFF2-40B4-BE49-F238E27FC236}">
                <a16:creationId xmlns:a16="http://schemas.microsoft.com/office/drawing/2014/main" id="{5F12261A-EADD-41CA-AC37-DF4EAA94F5DA}"/>
              </a:ext>
            </a:extLst>
          </p:cNvPr>
          <p:cNvSpPr/>
          <p:nvPr/>
        </p:nvSpPr>
        <p:spPr>
          <a:xfrm>
            <a:off x="10801860" y="4787353"/>
            <a:ext cx="297138" cy="322773"/>
          </a:xfrm>
          <a:custGeom>
            <a:avLst/>
            <a:gdLst>
              <a:gd name="connsiteX0" fmla="*/ 135168 w 297138"/>
              <a:gd name="connsiteY0" fmla="*/ 322774 h 322773"/>
              <a:gd name="connsiteX1" fmla="*/ 0 w 297138"/>
              <a:gd name="connsiteY1" fmla="*/ 322774 h 322773"/>
              <a:gd name="connsiteX2" fmla="*/ 158473 w 297138"/>
              <a:gd name="connsiteY2" fmla="*/ 163135 h 322773"/>
              <a:gd name="connsiteX3" fmla="*/ 0 w 297138"/>
              <a:gd name="connsiteY3" fmla="*/ 0 h 322773"/>
              <a:gd name="connsiteX4" fmla="*/ 138664 w 297138"/>
              <a:gd name="connsiteY4" fmla="*/ 0 h 322773"/>
              <a:gd name="connsiteX5" fmla="*/ 297138 w 297138"/>
              <a:gd name="connsiteY5" fmla="*/ 158474 h 322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2773">
                <a:moveTo>
                  <a:pt x="135168" y="322774"/>
                </a:moveTo>
                <a:lnTo>
                  <a:pt x="0" y="322774"/>
                </a:lnTo>
                <a:lnTo>
                  <a:pt x="158473" y="163135"/>
                </a:lnTo>
                <a:lnTo>
                  <a:pt x="0" y="0"/>
                </a:lnTo>
                <a:lnTo>
                  <a:pt x="138664" y="0"/>
                </a:lnTo>
                <a:lnTo>
                  <a:pt x="297138" y="158474"/>
                </a:lnTo>
                <a:close/>
              </a:path>
            </a:pathLst>
          </a:custGeom>
          <a:solidFill>
            <a:srgbClr val="EEF2F5"/>
          </a:solidFill>
          <a:ln w="11643" cap="flat">
            <a:noFill/>
            <a:prstDash val="solid"/>
            <a:miter/>
          </a:ln>
        </p:spPr>
        <p:txBody>
          <a:bodyPr rtlCol="0" anchor="ctr"/>
          <a:lstStyle/>
          <a:p>
            <a:endParaRPr lang="de-DE"/>
          </a:p>
        </p:txBody>
      </p:sp>
      <p:sp>
        <p:nvSpPr>
          <p:cNvPr id="169" name="Freihandform: Form 168">
            <a:extLst>
              <a:ext uri="{FF2B5EF4-FFF2-40B4-BE49-F238E27FC236}">
                <a16:creationId xmlns:a16="http://schemas.microsoft.com/office/drawing/2014/main" id="{2684278A-133A-44B1-BD42-3154900841C6}"/>
              </a:ext>
            </a:extLst>
          </p:cNvPr>
          <p:cNvSpPr/>
          <p:nvPr/>
        </p:nvSpPr>
        <p:spPr>
          <a:xfrm>
            <a:off x="10801860" y="5141588"/>
            <a:ext cx="297138" cy="323938"/>
          </a:xfrm>
          <a:custGeom>
            <a:avLst/>
            <a:gdLst>
              <a:gd name="connsiteX0" fmla="*/ 135168 w 297138"/>
              <a:gd name="connsiteY0" fmla="*/ 323939 h 323938"/>
              <a:gd name="connsiteX1" fmla="*/ 0 w 297138"/>
              <a:gd name="connsiteY1" fmla="*/ 323939 h 323938"/>
              <a:gd name="connsiteX2" fmla="*/ 158473 w 297138"/>
              <a:gd name="connsiteY2" fmla="*/ 163135 h 323938"/>
              <a:gd name="connsiteX3" fmla="*/ 0 w 297138"/>
              <a:gd name="connsiteY3" fmla="*/ 0 h 323938"/>
              <a:gd name="connsiteX4" fmla="*/ 138664 w 297138"/>
              <a:gd name="connsiteY4" fmla="*/ 0 h 323938"/>
              <a:gd name="connsiteX5" fmla="*/ 297138 w 297138"/>
              <a:gd name="connsiteY5" fmla="*/ 159639 h 323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3938">
                <a:moveTo>
                  <a:pt x="135168" y="323939"/>
                </a:moveTo>
                <a:lnTo>
                  <a:pt x="0" y="323939"/>
                </a:lnTo>
                <a:lnTo>
                  <a:pt x="158473" y="163135"/>
                </a:lnTo>
                <a:lnTo>
                  <a:pt x="0" y="0"/>
                </a:lnTo>
                <a:lnTo>
                  <a:pt x="138664" y="0"/>
                </a:lnTo>
                <a:lnTo>
                  <a:pt x="297138" y="159639"/>
                </a:lnTo>
                <a:close/>
              </a:path>
            </a:pathLst>
          </a:custGeom>
          <a:solidFill>
            <a:srgbClr val="EEF2F5"/>
          </a:solidFill>
          <a:ln w="11643" cap="flat">
            <a:noFill/>
            <a:prstDash val="solid"/>
            <a:miter/>
          </a:ln>
        </p:spPr>
        <p:txBody>
          <a:bodyPr rtlCol="0" anchor="ctr"/>
          <a:lstStyle/>
          <a:p>
            <a:endParaRPr lang="de-DE"/>
          </a:p>
        </p:txBody>
      </p:sp>
      <p:sp>
        <p:nvSpPr>
          <p:cNvPr id="186" name="Freihandform: Form 185">
            <a:extLst>
              <a:ext uri="{FF2B5EF4-FFF2-40B4-BE49-F238E27FC236}">
                <a16:creationId xmlns:a16="http://schemas.microsoft.com/office/drawing/2014/main" id="{51341657-6CDA-48E4-A038-7E086040DA70}"/>
              </a:ext>
            </a:extLst>
          </p:cNvPr>
          <p:cNvSpPr/>
          <p:nvPr/>
        </p:nvSpPr>
        <p:spPr>
          <a:xfrm>
            <a:off x="10801860" y="5496989"/>
            <a:ext cx="297138" cy="322773"/>
          </a:xfrm>
          <a:custGeom>
            <a:avLst/>
            <a:gdLst>
              <a:gd name="connsiteX0" fmla="*/ 135168 w 297138"/>
              <a:gd name="connsiteY0" fmla="*/ 322773 h 322773"/>
              <a:gd name="connsiteX1" fmla="*/ 0 w 297138"/>
              <a:gd name="connsiteY1" fmla="*/ 322773 h 322773"/>
              <a:gd name="connsiteX2" fmla="*/ 158473 w 297138"/>
              <a:gd name="connsiteY2" fmla="*/ 163135 h 322773"/>
              <a:gd name="connsiteX3" fmla="*/ 0 w 297138"/>
              <a:gd name="connsiteY3" fmla="*/ 0 h 322773"/>
              <a:gd name="connsiteX4" fmla="*/ 138664 w 297138"/>
              <a:gd name="connsiteY4" fmla="*/ 0 h 322773"/>
              <a:gd name="connsiteX5" fmla="*/ 297138 w 297138"/>
              <a:gd name="connsiteY5" fmla="*/ 158473 h 322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2773">
                <a:moveTo>
                  <a:pt x="135168" y="322773"/>
                </a:moveTo>
                <a:lnTo>
                  <a:pt x="0" y="322773"/>
                </a:lnTo>
                <a:lnTo>
                  <a:pt x="158473" y="163135"/>
                </a:lnTo>
                <a:lnTo>
                  <a:pt x="0" y="0"/>
                </a:lnTo>
                <a:lnTo>
                  <a:pt x="138664" y="0"/>
                </a:lnTo>
                <a:lnTo>
                  <a:pt x="297138" y="158473"/>
                </a:lnTo>
                <a:close/>
              </a:path>
            </a:pathLst>
          </a:custGeom>
          <a:solidFill>
            <a:srgbClr val="EEF2F5"/>
          </a:solidFill>
          <a:ln w="11643" cap="flat">
            <a:noFill/>
            <a:prstDash val="solid"/>
            <a:miter/>
          </a:ln>
        </p:spPr>
        <p:txBody>
          <a:bodyPr rtlCol="0" anchor="ctr"/>
          <a:lstStyle/>
          <a:p>
            <a:endParaRPr lang="de-DE"/>
          </a:p>
        </p:txBody>
      </p:sp>
      <p:sp>
        <p:nvSpPr>
          <p:cNvPr id="54" name="Freihandform: Form 53">
            <a:extLst>
              <a:ext uri="{FF2B5EF4-FFF2-40B4-BE49-F238E27FC236}">
                <a16:creationId xmlns:a16="http://schemas.microsoft.com/office/drawing/2014/main" id="{7C58B8B7-C0D0-45C0-A524-368D9D8EC1A1}"/>
              </a:ext>
            </a:extLst>
          </p:cNvPr>
          <p:cNvSpPr/>
          <p:nvPr/>
        </p:nvSpPr>
        <p:spPr>
          <a:xfrm>
            <a:off x="10454616" y="2667767"/>
            <a:ext cx="280824" cy="304129"/>
          </a:xfrm>
          <a:custGeom>
            <a:avLst/>
            <a:gdLst>
              <a:gd name="connsiteX0" fmla="*/ 129343 w 280824"/>
              <a:gd name="connsiteY0" fmla="*/ 304130 h 304129"/>
              <a:gd name="connsiteX1" fmla="*/ 0 w 280824"/>
              <a:gd name="connsiteY1" fmla="*/ 304130 h 304129"/>
              <a:gd name="connsiteX2" fmla="*/ 150317 w 280824"/>
              <a:gd name="connsiteY2" fmla="*/ 153813 h 304129"/>
              <a:gd name="connsiteX3" fmla="*/ 0 w 280824"/>
              <a:gd name="connsiteY3" fmla="*/ 0 h 304129"/>
              <a:gd name="connsiteX4" fmla="*/ 131673 w 280824"/>
              <a:gd name="connsiteY4" fmla="*/ 0 h 304129"/>
              <a:gd name="connsiteX5" fmla="*/ 280825 w 280824"/>
              <a:gd name="connsiteY5" fmla="*/ 149152 h 304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4129">
                <a:moveTo>
                  <a:pt x="129343" y="304130"/>
                </a:moveTo>
                <a:lnTo>
                  <a:pt x="0" y="304130"/>
                </a:lnTo>
                <a:lnTo>
                  <a:pt x="150317" y="153813"/>
                </a:lnTo>
                <a:lnTo>
                  <a:pt x="0" y="0"/>
                </a:lnTo>
                <a:lnTo>
                  <a:pt x="131673" y="0"/>
                </a:lnTo>
                <a:lnTo>
                  <a:pt x="280825" y="149152"/>
                </a:lnTo>
                <a:close/>
              </a:path>
            </a:pathLst>
          </a:custGeom>
          <a:solidFill>
            <a:srgbClr val="EEF2F5"/>
          </a:solidFill>
          <a:ln w="11643" cap="flat">
            <a:noFill/>
            <a:prstDash val="solid"/>
            <a:miter/>
          </a:ln>
        </p:spPr>
        <p:txBody>
          <a:bodyPr rtlCol="0" anchor="ctr"/>
          <a:lstStyle/>
          <a:p>
            <a:endParaRPr lang="de-DE"/>
          </a:p>
        </p:txBody>
      </p:sp>
      <p:sp>
        <p:nvSpPr>
          <p:cNvPr id="70" name="Freihandform: Form 69">
            <a:extLst>
              <a:ext uri="{FF2B5EF4-FFF2-40B4-BE49-F238E27FC236}">
                <a16:creationId xmlns:a16="http://schemas.microsoft.com/office/drawing/2014/main" id="{B108D00B-F584-45AE-88D7-637B206C908C}"/>
              </a:ext>
            </a:extLst>
          </p:cNvPr>
          <p:cNvSpPr/>
          <p:nvPr/>
        </p:nvSpPr>
        <p:spPr>
          <a:xfrm>
            <a:off x="10454616" y="3022002"/>
            <a:ext cx="280824" cy="305294"/>
          </a:xfrm>
          <a:custGeom>
            <a:avLst/>
            <a:gdLst>
              <a:gd name="connsiteX0" fmla="*/ 129343 w 280824"/>
              <a:gd name="connsiteY0" fmla="*/ 305295 h 305294"/>
              <a:gd name="connsiteX1" fmla="*/ 0 w 280824"/>
              <a:gd name="connsiteY1" fmla="*/ 305295 h 305294"/>
              <a:gd name="connsiteX2" fmla="*/ 150317 w 280824"/>
              <a:gd name="connsiteY2" fmla="*/ 153813 h 305294"/>
              <a:gd name="connsiteX3" fmla="*/ 0 w 280824"/>
              <a:gd name="connsiteY3" fmla="*/ 0 h 305294"/>
              <a:gd name="connsiteX4" fmla="*/ 131673 w 280824"/>
              <a:gd name="connsiteY4" fmla="*/ 0 h 305294"/>
              <a:gd name="connsiteX5" fmla="*/ 280825 w 280824"/>
              <a:gd name="connsiteY5" fmla="*/ 150317 h 305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5294">
                <a:moveTo>
                  <a:pt x="129343" y="305295"/>
                </a:moveTo>
                <a:lnTo>
                  <a:pt x="0" y="305295"/>
                </a:lnTo>
                <a:lnTo>
                  <a:pt x="150317" y="153813"/>
                </a:lnTo>
                <a:lnTo>
                  <a:pt x="0" y="0"/>
                </a:lnTo>
                <a:lnTo>
                  <a:pt x="131673" y="0"/>
                </a:lnTo>
                <a:lnTo>
                  <a:pt x="280825" y="150317"/>
                </a:lnTo>
                <a:close/>
              </a:path>
            </a:pathLst>
          </a:custGeom>
          <a:solidFill>
            <a:srgbClr val="EEF2F5"/>
          </a:solidFill>
          <a:ln w="11643" cap="flat">
            <a:noFill/>
            <a:prstDash val="solid"/>
            <a:miter/>
          </a:ln>
        </p:spPr>
        <p:txBody>
          <a:bodyPr rtlCol="0" anchor="ctr"/>
          <a:lstStyle/>
          <a:p>
            <a:endParaRPr lang="de-DE"/>
          </a:p>
        </p:txBody>
      </p:sp>
      <p:sp>
        <p:nvSpPr>
          <p:cNvPr id="86" name="Freihandform: Form 85">
            <a:extLst>
              <a:ext uri="{FF2B5EF4-FFF2-40B4-BE49-F238E27FC236}">
                <a16:creationId xmlns:a16="http://schemas.microsoft.com/office/drawing/2014/main" id="{63D6ECD9-E964-4D15-AC74-F1865C75FC49}"/>
              </a:ext>
            </a:extLst>
          </p:cNvPr>
          <p:cNvSpPr/>
          <p:nvPr/>
        </p:nvSpPr>
        <p:spPr>
          <a:xfrm>
            <a:off x="10454616" y="3377403"/>
            <a:ext cx="280824" cy="304129"/>
          </a:xfrm>
          <a:custGeom>
            <a:avLst/>
            <a:gdLst>
              <a:gd name="connsiteX0" fmla="*/ 129343 w 280824"/>
              <a:gd name="connsiteY0" fmla="*/ 304130 h 304129"/>
              <a:gd name="connsiteX1" fmla="*/ 0 w 280824"/>
              <a:gd name="connsiteY1" fmla="*/ 304130 h 304129"/>
              <a:gd name="connsiteX2" fmla="*/ 150317 w 280824"/>
              <a:gd name="connsiteY2" fmla="*/ 153813 h 304129"/>
              <a:gd name="connsiteX3" fmla="*/ 0 w 280824"/>
              <a:gd name="connsiteY3" fmla="*/ 0 h 304129"/>
              <a:gd name="connsiteX4" fmla="*/ 131673 w 280824"/>
              <a:gd name="connsiteY4" fmla="*/ 0 h 304129"/>
              <a:gd name="connsiteX5" fmla="*/ 280825 w 280824"/>
              <a:gd name="connsiteY5" fmla="*/ 149152 h 304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4129">
                <a:moveTo>
                  <a:pt x="129343" y="304130"/>
                </a:moveTo>
                <a:lnTo>
                  <a:pt x="0" y="304130"/>
                </a:lnTo>
                <a:lnTo>
                  <a:pt x="150317" y="153813"/>
                </a:lnTo>
                <a:lnTo>
                  <a:pt x="0" y="0"/>
                </a:lnTo>
                <a:lnTo>
                  <a:pt x="131673" y="0"/>
                </a:lnTo>
                <a:lnTo>
                  <a:pt x="280825" y="149152"/>
                </a:lnTo>
                <a:close/>
              </a:path>
            </a:pathLst>
          </a:custGeom>
          <a:solidFill>
            <a:srgbClr val="EEF2F5"/>
          </a:solidFill>
          <a:ln w="11643" cap="flat">
            <a:noFill/>
            <a:prstDash val="solid"/>
            <a:miter/>
          </a:ln>
        </p:spPr>
        <p:txBody>
          <a:bodyPr rtlCol="0" anchor="ctr"/>
          <a:lstStyle/>
          <a:p>
            <a:endParaRPr lang="de-DE"/>
          </a:p>
        </p:txBody>
      </p:sp>
      <p:sp>
        <p:nvSpPr>
          <p:cNvPr id="102" name="Freihandform: Form 101">
            <a:extLst>
              <a:ext uri="{FF2B5EF4-FFF2-40B4-BE49-F238E27FC236}">
                <a16:creationId xmlns:a16="http://schemas.microsoft.com/office/drawing/2014/main" id="{1A517635-BE85-4E6F-8720-FFD3AE9C8A9E}"/>
              </a:ext>
            </a:extLst>
          </p:cNvPr>
          <p:cNvSpPr/>
          <p:nvPr/>
        </p:nvSpPr>
        <p:spPr>
          <a:xfrm>
            <a:off x="10454616" y="3731638"/>
            <a:ext cx="280824" cy="305294"/>
          </a:xfrm>
          <a:custGeom>
            <a:avLst/>
            <a:gdLst>
              <a:gd name="connsiteX0" fmla="*/ 129343 w 280824"/>
              <a:gd name="connsiteY0" fmla="*/ 305295 h 305294"/>
              <a:gd name="connsiteX1" fmla="*/ 0 w 280824"/>
              <a:gd name="connsiteY1" fmla="*/ 305295 h 305294"/>
              <a:gd name="connsiteX2" fmla="*/ 150317 w 280824"/>
              <a:gd name="connsiteY2" fmla="*/ 153813 h 305294"/>
              <a:gd name="connsiteX3" fmla="*/ 0 w 280824"/>
              <a:gd name="connsiteY3" fmla="*/ 0 h 305294"/>
              <a:gd name="connsiteX4" fmla="*/ 131673 w 280824"/>
              <a:gd name="connsiteY4" fmla="*/ 0 h 305294"/>
              <a:gd name="connsiteX5" fmla="*/ 280825 w 280824"/>
              <a:gd name="connsiteY5" fmla="*/ 150317 h 305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5294">
                <a:moveTo>
                  <a:pt x="129343" y="305295"/>
                </a:moveTo>
                <a:lnTo>
                  <a:pt x="0" y="305295"/>
                </a:lnTo>
                <a:lnTo>
                  <a:pt x="150317" y="153813"/>
                </a:lnTo>
                <a:lnTo>
                  <a:pt x="0" y="0"/>
                </a:lnTo>
                <a:lnTo>
                  <a:pt x="131673" y="0"/>
                </a:lnTo>
                <a:lnTo>
                  <a:pt x="280825" y="150317"/>
                </a:lnTo>
                <a:close/>
              </a:path>
            </a:pathLst>
          </a:custGeom>
          <a:solidFill>
            <a:srgbClr val="EEF2F5"/>
          </a:solidFill>
          <a:ln w="11643" cap="flat">
            <a:noFill/>
            <a:prstDash val="solid"/>
            <a:miter/>
          </a:ln>
        </p:spPr>
        <p:txBody>
          <a:bodyPr rtlCol="0" anchor="ctr"/>
          <a:lstStyle/>
          <a:p>
            <a:endParaRPr lang="de-DE"/>
          </a:p>
        </p:txBody>
      </p:sp>
      <p:sp>
        <p:nvSpPr>
          <p:cNvPr id="118" name="Freihandform: Form 117">
            <a:extLst>
              <a:ext uri="{FF2B5EF4-FFF2-40B4-BE49-F238E27FC236}">
                <a16:creationId xmlns:a16="http://schemas.microsoft.com/office/drawing/2014/main" id="{107FD09D-7EF2-4E43-8333-1BB41EE81E8C}"/>
              </a:ext>
            </a:extLst>
          </p:cNvPr>
          <p:cNvSpPr/>
          <p:nvPr/>
        </p:nvSpPr>
        <p:spPr>
          <a:xfrm>
            <a:off x="10454616" y="4087039"/>
            <a:ext cx="280824" cy="304129"/>
          </a:xfrm>
          <a:custGeom>
            <a:avLst/>
            <a:gdLst>
              <a:gd name="connsiteX0" fmla="*/ 129343 w 280824"/>
              <a:gd name="connsiteY0" fmla="*/ 304130 h 304129"/>
              <a:gd name="connsiteX1" fmla="*/ 0 w 280824"/>
              <a:gd name="connsiteY1" fmla="*/ 304130 h 304129"/>
              <a:gd name="connsiteX2" fmla="*/ 150317 w 280824"/>
              <a:gd name="connsiteY2" fmla="*/ 153813 h 304129"/>
              <a:gd name="connsiteX3" fmla="*/ 0 w 280824"/>
              <a:gd name="connsiteY3" fmla="*/ 0 h 304129"/>
              <a:gd name="connsiteX4" fmla="*/ 131673 w 280824"/>
              <a:gd name="connsiteY4" fmla="*/ 0 h 304129"/>
              <a:gd name="connsiteX5" fmla="*/ 280825 w 280824"/>
              <a:gd name="connsiteY5" fmla="*/ 149152 h 304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4129">
                <a:moveTo>
                  <a:pt x="129343" y="304130"/>
                </a:moveTo>
                <a:lnTo>
                  <a:pt x="0" y="304130"/>
                </a:lnTo>
                <a:lnTo>
                  <a:pt x="150317" y="153813"/>
                </a:lnTo>
                <a:lnTo>
                  <a:pt x="0" y="0"/>
                </a:lnTo>
                <a:lnTo>
                  <a:pt x="131673" y="0"/>
                </a:lnTo>
                <a:lnTo>
                  <a:pt x="280825" y="149152"/>
                </a:lnTo>
                <a:close/>
              </a:path>
            </a:pathLst>
          </a:custGeom>
          <a:solidFill>
            <a:srgbClr val="EEF2F5"/>
          </a:solidFill>
          <a:ln w="11643" cap="flat">
            <a:noFill/>
            <a:prstDash val="solid"/>
            <a:miter/>
          </a:ln>
        </p:spPr>
        <p:txBody>
          <a:bodyPr rtlCol="0" anchor="ctr"/>
          <a:lstStyle/>
          <a:p>
            <a:endParaRPr lang="de-DE"/>
          </a:p>
        </p:txBody>
      </p:sp>
      <p:sp>
        <p:nvSpPr>
          <p:cNvPr id="134" name="Freihandform: Form 133">
            <a:extLst>
              <a:ext uri="{FF2B5EF4-FFF2-40B4-BE49-F238E27FC236}">
                <a16:creationId xmlns:a16="http://schemas.microsoft.com/office/drawing/2014/main" id="{D630C772-EA61-4CD9-88F3-B5A40C068A2C}"/>
              </a:ext>
            </a:extLst>
          </p:cNvPr>
          <p:cNvSpPr/>
          <p:nvPr/>
        </p:nvSpPr>
        <p:spPr>
          <a:xfrm>
            <a:off x="10454616" y="4441274"/>
            <a:ext cx="280824" cy="305294"/>
          </a:xfrm>
          <a:custGeom>
            <a:avLst/>
            <a:gdLst>
              <a:gd name="connsiteX0" fmla="*/ 129343 w 280824"/>
              <a:gd name="connsiteY0" fmla="*/ 305295 h 305294"/>
              <a:gd name="connsiteX1" fmla="*/ 0 w 280824"/>
              <a:gd name="connsiteY1" fmla="*/ 305295 h 305294"/>
              <a:gd name="connsiteX2" fmla="*/ 150317 w 280824"/>
              <a:gd name="connsiteY2" fmla="*/ 153813 h 305294"/>
              <a:gd name="connsiteX3" fmla="*/ 0 w 280824"/>
              <a:gd name="connsiteY3" fmla="*/ 0 h 305294"/>
              <a:gd name="connsiteX4" fmla="*/ 131673 w 280824"/>
              <a:gd name="connsiteY4" fmla="*/ 0 h 305294"/>
              <a:gd name="connsiteX5" fmla="*/ 280825 w 280824"/>
              <a:gd name="connsiteY5" fmla="*/ 150317 h 305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5294">
                <a:moveTo>
                  <a:pt x="129343" y="305295"/>
                </a:moveTo>
                <a:lnTo>
                  <a:pt x="0" y="305295"/>
                </a:lnTo>
                <a:lnTo>
                  <a:pt x="150317" y="153813"/>
                </a:lnTo>
                <a:lnTo>
                  <a:pt x="0" y="0"/>
                </a:lnTo>
                <a:lnTo>
                  <a:pt x="131673" y="0"/>
                </a:lnTo>
                <a:lnTo>
                  <a:pt x="280825" y="150317"/>
                </a:lnTo>
                <a:close/>
              </a:path>
            </a:pathLst>
          </a:custGeom>
          <a:solidFill>
            <a:srgbClr val="EEF2F5"/>
          </a:solidFill>
          <a:ln w="11643" cap="flat">
            <a:noFill/>
            <a:prstDash val="solid"/>
            <a:miter/>
          </a:ln>
        </p:spPr>
        <p:txBody>
          <a:bodyPr rtlCol="0" anchor="ctr"/>
          <a:lstStyle/>
          <a:p>
            <a:endParaRPr lang="de-DE"/>
          </a:p>
        </p:txBody>
      </p:sp>
      <p:sp>
        <p:nvSpPr>
          <p:cNvPr id="151" name="Freihandform: Form 150">
            <a:extLst>
              <a:ext uri="{FF2B5EF4-FFF2-40B4-BE49-F238E27FC236}">
                <a16:creationId xmlns:a16="http://schemas.microsoft.com/office/drawing/2014/main" id="{B58FDE5A-4CC1-4494-B722-D4785E2E9E92}"/>
              </a:ext>
            </a:extLst>
          </p:cNvPr>
          <p:cNvSpPr/>
          <p:nvPr/>
        </p:nvSpPr>
        <p:spPr>
          <a:xfrm>
            <a:off x="10454616" y="4796675"/>
            <a:ext cx="280824" cy="304129"/>
          </a:xfrm>
          <a:custGeom>
            <a:avLst/>
            <a:gdLst>
              <a:gd name="connsiteX0" fmla="*/ 129343 w 280824"/>
              <a:gd name="connsiteY0" fmla="*/ 304130 h 304129"/>
              <a:gd name="connsiteX1" fmla="*/ 0 w 280824"/>
              <a:gd name="connsiteY1" fmla="*/ 304130 h 304129"/>
              <a:gd name="connsiteX2" fmla="*/ 150317 w 280824"/>
              <a:gd name="connsiteY2" fmla="*/ 153813 h 304129"/>
              <a:gd name="connsiteX3" fmla="*/ 0 w 280824"/>
              <a:gd name="connsiteY3" fmla="*/ 0 h 304129"/>
              <a:gd name="connsiteX4" fmla="*/ 131673 w 280824"/>
              <a:gd name="connsiteY4" fmla="*/ 0 h 304129"/>
              <a:gd name="connsiteX5" fmla="*/ 280825 w 280824"/>
              <a:gd name="connsiteY5" fmla="*/ 149152 h 304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4129">
                <a:moveTo>
                  <a:pt x="129343" y="304130"/>
                </a:moveTo>
                <a:lnTo>
                  <a:pt x="0" y="304130"/>
                </a:lnTo>
                <a:lnTo>
                  <a:pt x="150317" y="153813"/>
                </a:lnTo>
                <a:lnTo>
                  <a:pt x="0" y="0"/>
                </a:lnTo>
                <a:lnTo>
                  <a:pt x="131673" y="0"/>
                </a:lnTo>
                <a:lnTo>
                  <a:pt x="280825" y="149152"/>
                </a:lnTo>
                <a:close/>
              </a:path>
            </a:pathLst>
          </a:custGeom>
          <a:solidFill>
            <a:srgbClr val="EEF2F5"/>
          </a:solidFill>
          <a:ln w="11643" cap="flat">
            <a:noFill/>
            <a:prstDash val="solid"/>
            <a:miter/>
          </a:ln>
        </p:spPr>
        <p:txBody>
          <a:bodyPr rtlCol="0" anchor="ctr"/>
          <a:lstStyle/>
          <a:p>
            <a:endParaRPr lang="de-DE"/>
          </a:p>
        </p:txBody>
      </p:sp>
      <p:sp>
        <p:nvSpPr>
          <p:cNvPr id="168" name="Freihandform: Form 167">
            <a:extLst>
              <a:ext uri="{FF2B5EF4-FFF2-40B4-BE49-F238E27FC236}">
                <a16:creationId xmlns:a16="http://schemas.microsoft.com/office/drawing/2014/main" id="{0AC8C872-76B8-4053-8B0A-1A7AAE0AA7A1}"/>
              </a:ext>
            </a:extLst>
          </p:cNvPr>
          <p:cNvSpPr/>
          <p:nvPr/>
        </p:nvSpPr>
        <p:spPr>
          <a:xfrm>
            <a:off x="10454616" y="5150910"/>
            <a:ext cx="280824" cy="305295"/>
          </a:xfrm>
          <a:custGeom>
            <a:avLst/>
            <a:gdLst>
              <a:gd name="connsiteX0" fmla="*/ 129343 w 280824"/>
              <a:gd name="connsiteY0" fmla="*/ 305295 h 305295"/>
              <a:gd name="connsiteX1" fmla="*/ 0 w 280824"/>
              <a:gd name="connsiteY1" fmla="*/ 305295 h 305295"/>
              <a:gd name="connsiteX2" fmla="*/ 150317 w 280824"/>
              <a:gd name="connsiteY2" fmla="*/ 153813 h 305295"/>
              <a:gd name="connsiteX3" fmla="*/ 0 w 280824"/>
              <a:gd name="connsiteY3" fmla="*/ 0 h 305295"/>
              <a:gd name="connsiteX4" fmla="*/ 131673 w 280824"/>
              <a:gd name="connsiteY4" fmla="*/ 0 h 305295"/>
              <a:gd name="connsiteX5" fmla="*/ 280825 w 280824"/>
              <a:gd name="connsiteY5" fmla="*/ 150317 h 305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5295">
                <a:moveTo>
                  <a:pt x="129343" y="305295"/>
                </a:moveTo>
                <a:lnTo>
                  <a:pt x="0" y="305295"/>
                </a:lnTo>
                <a:lnTo>
                  <a:pt x="150317" y="153813"/>
                </a:lnTo>
                <a:lnTo>
                  <a:pt x="0" y="0"/>
                </a:lnTo>
                <a:lnTo>
                  <a:pt x="131673" y="0"/>
                </a:lnTo>
                <a:lnTo>
                  <a:pt x="280825" y="150317"/>
                </a:lnTo>
                <a:close/>
              </a:path>
            </a:pathLst>
          </a:custGeom>
          <a:solidFill>
            <a:srgbClr val="EEF2F5"/>
          </a:solidFill>
          <a:ln w="11643" cap="flat">
            <a:noFill/>
            <a:prstDash val="solid"/>
            <a:miter/>
          </a:ln>
        </p:spPr>
        <p:txBody>
          <a:bodyPr rtlCol="0" anchor="ctr"/>
          <a:lstStyle/>
          <a:p>
            <a:endParaRPr lang="de-DE"/>
          </a:p>
        </p:txBody>
      </p:sp>
      <p:sp>
        <p:nvSpPr>
          <p:cNvPr id="185" name="Freihandform: Form 184">
            <a:extLst>
              <a:ext uri="{FF2B5EF4-FFF2-40B4-BE49-F238E27FC236}">
                <a16:creationId xmlns:a16="http://schemas.microsoft.com/office/drawing/2014/main" id="{0A1E16EF-F3A1-4575-8F8F-D7FE734A79FD}"/>
              </a:ext>
            </a:extLst>
          </p:cNvPr>
          <p:cNvSpPr/>
          <p:nvPr/>
        </p:nvSpPr>
        <p:spPr>
          <a:xfrm>
            <a:off x="10454616" y="5506311"/>
            <a:ext cx="280824" cy="305295"/>
          </a:xfrm>
          <a:custGeom>
            <a:avLst/>
            <a:gdLst>
              <a:gd name="connsiteX0" fmla="*/ 129343 w 280824"/>
              <a:gd name="connsiteY0" fmla="*/ 305295 h 305295"/>
              <a:gd name="connsiteX1" fmla="*/ 0 w 280824"/>
              <a:gd name="connsiteY1" fmla="*/ 305295 h 305295"/>
              <a:gd name="connsiteX2" fmla="*/ 150317 w 280824"/>
              <a:gd name="connsiteY2" fmla="*/ 153813 h 305295"/>
              <a:gd name="connsiteX3" fmla="*/ 0 w 280824"/>
              <a:gd name="connsiteY3" fmla="*/ 0 h 305295"/>
              <a:gd name="connsiteX4" fmla="*/ 131673 w 280824"/>
              <a:gd name="connsiteY4" fmla="*/ 0 h 305295"/>
              <a:gd name="connsiteX5" fmla="*/ 280825 w 280824"/>
              <a:gd name="connsiteY5" fmla="*/ 149152 h 305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5295">
                <a:moveTo>
                  <a:pt x="129343" y="305295"/>
                </a:moveTo>
                <a:lnTo>
                  <a:pt x="0" y="305295"/>
                </a:lnTo>
                <a:lnTo>
                  <a:pt x="150317" y="153813"/>
                </a:lnTo>
                <a:lnTo>
                  <a:pt x="0" y="0"/>
                </a:lnTo>
                <a:lnTo>
                  <a:pt x="131673" y="0"/>
                </a:lnTo>
                <a:lnTo>
                  <a:pt x="280825" y="149152"/>
                </a:lnTo>
                <a:close/>
              </a:path>
            </a:pathLst>
          </a:custGeom>
          <a:solidFill>
            <a:srgbClr val="EEF2F5"/>
          </a:solidFill>
          <a:ln w="11643" cap="flat">
            <a:noFill/>
            <a:prstDash val="solid"/>
            <a:miter/>
          </a:ln>
        </p:spPr>
        <p:txBody>
          <a:bodyPr rtlCol="0" anchor="ctr"/>
          <a:lstStyle/>
          <a:p>
            <a:endParaRPr lang="de-DE"/>
          </a:p>
        </p:txBody>
      </p:sp>
      <p:sp>
        <p:nvSpPr>
          <p:cNvPr id="202" name="Freihandform: Form 201">
            <a:extLst>
              <a:ext uri="{FF2B5EF4-FFF2-40B4-BE49-F238E27FC236}">
                <a16:creationId xmlns:a16="http://schemas.microsoft.com/office/drawing/2014/main" id="{C2091647-BDE3-4497-8513-4EEAA0FFCE88}"/>
              </a:ext>
            </a:extLst>
          </p:cNvPr>
          <p:cNvSpPr/>
          <p:nvPr/>
        </p:nvSpPr>
        <p:spPr>
          <a:xfrm>
            <a:off x="10454616" y="5860546"/>
            <a:ext cx="280824" cy="305295"/>
          </a:xfrm>
          <a:custGeom>
            <a:avLst/>
            <a:gdLst>
              <a:gd name="connsiteX0" fmla="*/ 129343 w 280824"/>
              <a:gd name="connsiteY0" fmla="*/ 305295 h 305295"/>
              <a:gd name="connsiteX1" fmla="*/ 0 w 280824"/>
              <a:gd name="connsiteY1" fmla="*/ 305295 h 305295"/>
              <a:gd name="connsiteX2" fmla="*/ 150317 w 280824"/>
              <a:gd name="connsiteY2" fmla="*/ 153813 h 305295"/>
              <a:gd name="connsiteX3" fmla="*/ 0 w 280824"/>
              <a:gd name="connsiteY3" fmla="*/ 0 h 305295"/>
              <a:gd name="connsiteX4" fmla="*/ 131673 w 280824"/>
              <a:gd name="connsiteY4" fmla="*/ 0 h 305295"/>
              <a:gd name="connsiteX5" fmla="*/ 280825 w 280824"/>
              <a:gd name="connsiteY5" fmla="*/ 150317 h 305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5295">
                <a:moveTo>
                  <a:pt x="129343" y="305295"/>
                </a:moveTo>
                <a:lnTo>
                  <a:pt x="0" y="305295"/>
                </a:lnTo>
                <a:lnTo>
                  <a:pt x="150317" y="153813"/>
                </a:lnTo>
                <a:lnTo>
                  <a:pt x="0" y="0"/>
                </a:lnTo>
                <a:lnTo>
                  <a:pt x="131673" y="0"/>
                </a:lnTo>
                <a:lnTo>
                  <a:pt x="280825" y="150317"/>
                </a:lnTo>
                <a:close/>
              </a:path>
            </a:pathLst>
          </a:custGeom>
          <a:solidFill>
            <a:srgbClr val="EEF2F5"/>
          </a:solidFill>
          <a:ln w="11643" cap="flat">
            <a:noFill/>
            <a:prstDash val="solid"/>
            <a:miter/>
          </a:ln>
        </p:spPr>
        <p:txBody>
          <a:bodyPr rtlCol="0" anchor="ctr"/>
          <a:lstStyle/>
          <a:p>
            <a:endParaRPr lang="de-DE"/>
          </a:p>
        </p:txBody>
      </p:sp>
      <p:sp>
        <p:nvSpPr>
          <p:cNvPr id="37" name="Freihandform: Form 36">
            <a:extLst>
              <a:ext uri="{FF2B5EF4-FFF2-40B4-BE49-F238E27FC236}">
                <a16:creationId xmlns:a16="http://schemas.microsoft.com/office/drawing/2014/main" id="{0197700D-5496-490A-8DC7-CB8C17414912}"/>
              </a:ext>
            </a:extLst>
          </p:cNvPr>
          <p:cNvSpPr/>
          <p:nvPr/>
        </p:nvSpPr>
        <p:spPr>
          <a:xfrm>
            <a:off x="10108537" y="2321688"/>
            <a:ext cx="264511" cy="286650"/>
          </a:xfrm>
          <a:custGeom>
            <a:avLst/>
            <a:gdLst>
              <a:gd name="connsiteX0" fmla="*/ 121186 w 264511"/>
              <a:gd name="connsiteY0" fmla="*/ 286651 h 286650"/>
              <a:gd name="connsiteX1" fmla="*/ 0 w 264511"/>
              <a:gd name="connsiteY1" fmla="*/ 286651 h 286650"/>
              <a:gd name="connsiteX2" fmla="*/ 140995 w 264511"/>
              <a:gd name="connsiteY2" fmla="*/ 144491 h 286650"/>
              <a:gd name="connsiteX3" fmla="*/ 0 w 264511"/>
              <a:gd name="connsiteY3" fmla="*/ 0 h 286650"/>
              <a:gd name="connsiteX4" fmla="*/ 123516 w 264511"/>
              <a:gd name="connsiteY4" fmla="*/ 0 h 286650"/>
              <a:gd name="connsiteX5" fmla="*/ 264511 w 264511"/>
              <a:gd name="connsiteY5" fmla="*/ 140995 h 28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0">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53" name="Freihandform: Form 52">
            <a:extLst>
              <a:ext uri="{FF2B5EF4-FFF2-40B4-BE49-F238E27FC236}">
                <a16:creationId xmlns:a16="http://schemas.microsoft.com/office/drawing/2014/main" id="{76A9C547-A085-4B5D-B3A0-6461D8694E0B}"/>
              </a:ext>
            </a:extLst>
          </p:cNvPr>
          <p:cNvSpPr/>
          <p:nvPr/>
        </p:nvSpPr>
        <p:spPr>
          <a:xfrm>
            <a:off x="10108537" y="2675924"/>
            <a:ext cx="264511" cy="286650"/>
          </a:xfrm>
          <a:custGeom>
            <a:avLst/>
            <a:gdLst>
              <a:gd name="connsiteX0" fmla="*/ 121186 w 264511"/>
              <a:gd name="connsiteY0" fmla="*/ 286651 h 286650"/>
              <a:gd name="connsiteX1" fmla="*/ 0 w 264511"/>
              <a:gd name="connsiteY1" fmla="*/ 286651 h 286650"/>
              <a:gd name="connsiteX2" fmla="*/ 140995 w 264511"/>
              <a:gd name="connsiteY2" fmla="*/ 144491 h 286650"/>
              <a:gd name="connsiteX3" fmla="*/ 0 w 264511"/>
              <a:gd name="connsiteY3" fmla="*/ 0 h 286650"/>
              <a:gd name="connsiteX4" fmla="*/ 123516 w 264511"/>
              <a:gd name="connsiteY4" fmla="*/ 0 h 286650"/>
              <a:gd name="connsiteX5" fmla="*/ 264511 w 264511"/>
              <a:gd name="connsiteY5" fmla="*/ 140995 h 28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0">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69" name="Freihandform: Form 68">
            <a:extLst>
              <a:ext uri="{FF2B5EF4-FFF2-40B4-BE49-F238E27FC236}">
                <a16:creationId xmlns:a16="http://schemas.microsoft.com/office/drawing/2014/main" id="{60D25080-D9B9-4692-9129-2C6183DC021A}"/>
              </a:ext>
            </a:extLst>
          </p:cNvPr>
          <p:cNvSpPr/>
          <p:nvPr/>
        </p:nvSpPr>
        <p:spPr>
          <a:xfrm>
            <a:off x="10108537" y="3031324"/>
            <a:ext cx="264511" cy="286650"/>
          </a:xfrm>
          <a:custGeom>
            <a:avLst/>
            <a:gdLst>
              <a:gd name="connsiteX0" fmla="*/ 121186 w 264511"/>
              <a:gd name="connsiteY0" fmla="*/ 286651 h 286650"/>
              <a:gd name="connsiteX1" fmla="*/ 0 w 264511"/>
              <a:gd name="connsiteY1" fmla="*/ 286651 h 286650"/>
              <a:gd name="connsiteX2" fmla="*/ 140995 w 264511"/>
              <a:gd name="connsiteY2" fmla="*/ 144491 h 286650"/>
              <a:gd name="connsiteX3" fmla="*/ 0 w 264511"/>
              <a:gd name="connsiteY3" fmla="*/ 0 h 286650"/>
              <a:gd name="connsiteX4" fmla="*/ 123516 w 264511"/>
              <a:gd name="connsiteY4" fmla="*/ 0 h 286650"/>
              <a:gd name="connsiteX5" fmla="*/ 264511 w 264511"/>
              <a:gd name="connsiteY5" fmla="*/ 140995 h 28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0">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85" name="Freihandform: Form 84">
            <a:extLst>
              <a:ext uri="{FF2B5EF4-FFF2-40B4-BE49-F238E27FC236}">
                <a16:creationId xmlns:a16="http://schemas.microsoft.com/office/drawing/2014/main" id="{2A48DA5F-5A65-4484-99B7-06DB28D0E54D}"/>
              </a:ext>
            </a:extLst>
          </p:cNvPr>
          <p:cNvSpPr/>
          <p:nvPr/>
        </p:nvSpPr>
        <p:spPr>
          <a:xfrm>
            <a:off x="10108537" y="3385560"/>
            <a:ext cx="264511" cy="287816"/>
          </a:xfrm>
          <a:custGeom>
            <a:avLst/>
            <a:gdLst>
              <a:gd name="connsiteX0" fmla="*/ 121186 w 264511"/>
              <a:gd name="connsiteY0" fmla="*/ 287816 h 287816"/>
              <a:gd name="connsiteX1" fmla="*/ 0 w 264511"/>
              <a:gd name="connsiteY1" fmla="*/ 287816 h 287816"/>
              <a:gd name="connsiteX2" fmla="*/ 140995 w 264511"/>
              <a:gd name="connsiteY2" fmla="*/ 145656 h 287816"/>
              <a:gd name="connsiteX3" fmla="*/ 0 w 264511"/>
              <a:gd name="connsiteY3" fmla="*/ 0 h 287816"/>
              <a:gd name="connsiteX4" fmla="*/ 123516 w 264511"/>
              <a:gd name="connsiteY4" fmla="*/ 0 h 287816"/>
              <a:gd name="connsiteX5" fmla="*/ 264511 w 264511"/>
              <a:gd name="connsiteY5" fmla="*/ 140995 h 287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7816">
                <a:moveTo>
                  <a:pt x="121186" y="287816"/>
                </a:moveTo>
                <a:lnTo>
                  <a:pt x="0" y="287816"/>
                </a:lnTo>
                <a:lnTo>
                  <a:pt x="140995" y="145656"/>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101" name="Freihandform: Form 100">
            <a:extLst>
              <a:ext uri="{FF2B5EF4-FFF2-40B4-BE49-F238E27FC236}">
                <a16:creationId xmlns:a16="http://schemas.microsoft.com/office/drawing/2014/main" id="{44A6A546-5137-4093-9C59-F32093CD42C4}"/>
              </a:ext>
            </a:extLst>
          </p:cNvPr>
          <p:cNvSpPr/>
          <p:nvPr/>
        </p:nvSpPr>
        <p:spPr>
          <a:xfrm>
            <a:off x="10108537" y="3740960"/>
            <a:ext cx="264511" cy="286651"/>
          </a:xfrm>
          <a:custGeom>
            <a:avLst/>
            <a:gdLst>
              <a:gd name="connsiteX0" fmla="*/ 121186 w 264511"/>
              <a:gd name="connsiteY0" fmla="*/ 286651 h 286651"/>
              <a:gd name="connsiteX1" fmla="*/ 0 w 264511"/>
              <a:gd name="connsiteY1" fmla="*/ 286651 h 286651"/>
              <a:gd name="connsiteX2" fmla="*/ 140995 w 264511"/>
              <a:gd name="connsiteY2" fmla="*/ 144491 h 286651"/>
              <a:gd name="connsiteX3" fmla="*/ 0 w 264511"/>
              <a:gd name="connsiteY3" fmla="*/ 0 h 286651"/>
              <a:gd name="connsiteX4" fmla="*/ 123516 w 264511"/>
              <a:gd name="connsiteY4" fmla="*/ 0 h 286651"/>
              <a:gd name="connsiteX5" fmla="*/ 264511 w 264511"/>
              <a:gd name="connsiteY5" fmla="*/ 140995 h 286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1">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117" name="Freihandform: Form 116">
            <a:extLst>
              <a:ext uri="{FF2B5EF4-FFF2-40B4-BE49-F238E27FC236}">
                <a16:creationId xmlns:a16="http://schemas.microsoft.com/office/drawing/2014/main" id="{AB7F8976-AA8B-4089-A252-6E621A6336A0}"/>
              </a:ext>
            </a:extLst>
          </p:cNvPr>
          <p:cNvSpPr/>
          <p:nvPr/>
        </p:nvSpPr>
        <p:spPr>
          <a:xfrm>
            <a:off x="10108537" y="4095195"/>
            <a:ext cx="264511" cy="287816"/>
          </a:xfrm>
          <a:custGeom>
            <a:avLst/>
            <a:gdLst>
              <a:gd name="connsiteX0" fmla="*/ 121186 w 264511"/>
              <a:gd name="connsiteY0" fmla="*/ 287816 h 287816"/>
              <a:gd name="connsiteX1" fmla="*/ 0 w 264511"/>
              <a:gd name="connsiteY1" fmla="*/ 287816 h 287816"/>
              <a:gd name="connsiteX2" fmla="*/ 140995 w 264511"/>
              <a:gd name="connsiteY2" fmla="*/ 145656 h 287816"/>
              <a:gd name="connsiteX3" fmla="*/ 0 w 264511"/>
              <a:gd name="connsiteY3" fmla="*/ 0 h 287816"/>
              <a:gd name="connsiteX4" fmla="*/ 123516 w 264511"/>
              <a:gd name="connsiteY4" fmla="*/ 0 h 287816"/>
              <a:gd name="connsiteX5" fmla="*/ 264511 w 264511"/>
              <a:gd name="connsiteY5" fmla="*/ 140995 h 287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7816">
                <a:moveTo>
                  <a:pt x="121186" y="287816"/>
                </a:moveTo>
                <a:lnTo>
                  <a:pt x="0" y="287816"/>
                </a:lnTo>
                <a:lnTo>
                  <a:pt x="140995" y="145656"/>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133" name="Freihandform: Form 132">
            <a:extLst>
              <a:ext uri="{FF2B5EF4-FFF2-40B4-BE49-F238E27FC236}">
                <a16:creationId xmlns:a16="http://schemas.microsoft.com/office/drawing/2014/main" id="{83F4FE5F-E30B-4C91-B22F-C67DA72E3DB6}"/>
              </a:ext>
            </a:extLst>
          </p:cNvPr>
          <p:cNvSpPr/>
          <p:nvPr/>
        </p:nvSpPr>
        <p:spPr>
          <a:xfrm>
            <a:off x="10108537" y="4450596"/>
            <a:ext cx="264511" cy="286651"/>
          </a:xfrm>
          <a:custGeom>
            <a:avLst/>
            <a:gdLst>
              <a:gd name="connsiteX0" fmla="*/ 121186 w 264511"/>
              <a:gd name="connsiteY0" fmla="*/ 286651 h 286651"/>
              <a:gd name="connsiteX1" fmla="*/ 0 w 264511"/>
              <a:gd name="connsiteY1" fmla="*/ 286651 h 286651"/>
              <a:gd name="connsiteX2" fmla="*/ 140995 w 264511"/>
              <a:gd name="connsiteY2" fmla="*/ 144491 h 286651"/>
              <a:gd name="connsiteX3" fmla="*/ 0 w 264511"/>
              <a:gd name="connsiteY3" fmla="*/ 0 h 286651"/>
              <a:gd name="connsiteX4" fmla="*/ 123516 w 264511"/>
              <a:gd name="connsiteY4" fmla="*/ 0 h 286651"/>
              <a:gd name="connsiteX5" fmla="*/ 264511 w 264511"/>
              <a:gd name="connsiteY5" fmla="*/ 140995 h 286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1">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150" name="Freihandform: Form 149">
            <a:extLst>
              <a:ext uri="{FF2B5EF4-FFF2-40B4-BE49-F238E27FC236}">
                <a16:creationId xmlns:a16="http://schemas.microsoft.com/office/drawing/2014/main" id="{A0F76902-2111-4900-A1DA-A0A919DABDFD}"/>
              </a:ext>
            </a:extLst>
          </p:cNvPr>
          <p:cNvSpPr/>
          <p:nvPr/>
        </p:nvSpPr>
        <p:spPr>
          <a:xfrm>
            <a:off x="10108537" y="4805997"/>
            <a:ext cx="264511" cy="286651"/>
          </a:xfrm>
          <a:custGeom>
            <a:avLst/>
            <a:gdLst>
              <a:gd name="connsiteX0" fmla="*/ 121186 w 264511"/>
              <a:gd name="connsiteY0" fmla="*/ 286651 h 286651"/>
              <a:gd name="connsiteX1" fmla="*/ 0 w 264511"/>
              <a:gd name="connsiteY1" fmla="*/ 286651 h 286651"/>
              <a:gd name="connsiteX2" fmla="*/ 140995 w 264511"/>
              <a:gd name="connsiteY2" fmla="*/ 144491 h 286651"/>
              <a:gd name="connsiteX3" fmla="*/ 0 w 264511"/>
              <a:gd name="connsiteY3" fmla="*/ 0 h 286651"/>
              <a:gd name="connsiteX4" fmla="*/ 123516 w 264511"/>
              <a:gd name="connsiteY4" fmla="*/ 0 h 286651"/>
              <a:gd name="connsiteX5" fmla="*/ 264511 w 264511"/>
              <a:gd name="connsiteY5" fmla="*/ 139830 h 286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1">
                <a:moveTo>
                  <a:pt x="121186" y="286651"/>
                </a:moveTo>
                <a:lnTo>
                  <a:pt x="0" y="286651"/>
                </a:lnTo>
                <a:lnTo>
                  <a:pt x="140995" y="144491"/>
                </a:lnTo>
                <a:lnTo>
                  <a:pt x="0" y="0"/>
                </a:lnTo>
                <a:lnTo>
                  <a:pt x="123516" y="0"/>
                </a:lnTo>
                <a:lnTo>
                  <a:pt x="264511" y="139830"/>
                </a:lnTo>
                <a:close/>
              </a:path>
            </a:pathLst>
          </a:custGeom>
          <a:solidFill>
            <a:srgbClr val="EEF2F5"/>
          </a:solidFill>
          <a:ln w="11643" cap="flat">
            <a:noFill/>
            <a:prstDash val="solid"/>
            <a:miter/>
          </a:ln>
        </p:spPr>
        <p:txBody>
          <a:bodyPr rtlCol="0" anchor="ctr"/>
          <a:lstStyle/>
          <a:p>
            <a:endParaRPr lang="de-DE"/>
          </a:p>
        </p:txBody>
      </p:sp>
      <p:sp>
        <p:nvSpPr>
          <p:cNvPr id="167" name="Freihandform: Form 166">
            <a:extLst>
              <a:ext uri="{FF2B5EF4-FFF2-40B4-BE49-F238E27FC236}">
                <a16:creationId xmlns:a16="http://schemas.microsoft.com/office/drawing/2014/main" id="{9C3904EA-5E6B-4F77-8FB0-BFFAE9C65946}"/>
              </a:ext>
            </a:extLst>
          </p:cNvPr>
          <p:cNvSpPr/>
          <p:nvPr/>
        </p:nvSpPr>
        <p:spPr>
          <a:xfrm>
            <a:off x="10108537" y="5160232"/>
            <a:ext cx="264511" cy="286651"/>
          </a:xfrm>
          <a:custGeom>
            <a:avLst/>
            <a:gdLst>
              <a:gd name="connsiteX0" fmla="*/ 121186 w 264511"/>
              <a:gd name="connsiteY0" fmla="*/ 286651 h 286651"/>
              <a:gd name="connsiteX1" fmla="*/ 0 w 264511"/>
              <a:gd name="connsiteY1" fmla="*/ 286651 h 286651"/>
              <a:gd name="connsiteX2" fmla="*/ 140995 w 264511"/>
              <a:gd name="connsiteY2" fmla="*/ 144491 h 286651"/>
              <a:gd name="connsiteX3" fmla="*/ 0 w 264511"/>
              <a:gd name="connsiteY3" fmla="*/ 0 h 286651"/>
              <a:gd name="connsiteX4" fmla="*/ 123516 w 264511"/>
              <a:gd name="connsiteY4" fmla="*/ 0 h 286651"/>
              <a:gd name="connsiteX5" fmla="*/ 264511 w 264511"/>
              <a:gd name="connsiteY5" fmla="*/ 140995 h 286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1">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184" name="Freihandform: Form 183">
            <a:extLst>
              <a:ext uri="{FF2B5EF4-FFF2-40B4-BE49-F238E27FC236}">
                <a16:creationId xmlns:a16="http://schemas.microsoft.com/office/drawing/2014/main" id="{99280CAD-3553-4542-850A-90F0AD935DFE}"/>
              </a:ext>
            </a:extLst>
          </p:cNvPr>
          <p:cNvSpPr/>
          <p:nvPr/>
        </p:nvSpPr>
        <p:spPr>
          <a:xfrm>
            <a:off x="10108537" y="5515633"/>
            <a:ext cx="264511" cy="286651"/>
          </a:xfrm>
          <a:custGeom>
            <a:avLst/>
            <a:gdLst>
              <a:gd name="connsiteX0" fmla="*/ 121186 w 264511"/>
              <a:gd name="connsiteY0" fmla="*/ 286651 h 286651"/>
              <a:gd name="connsiteX1" fmla="*/ 0 w 264511"/>
              <a:gd name="connsiteY1" fmla="*/ 286651 h 286651"/>
              <a:gd name="connsiteX2" fmla="*/ 140995 w 264511"/>
              <a:gd name="connsiteY2" fmla="*/ 144491 h 286651"/>
              <a:gd name="connsiteX3" fmla="*/ 0 w 264511"/>
              <a:gd name="connsiteY3" fmla="*/ 0 h 286651"/>
              <a:gd name="connsiteX4" fmla="*/ 123516 w 264511"/>
              <a:gd name="connsiteY4" fmla="*/ 0 h 286651"/>
              <a:gd name="connsiteX5" fmla="*/ 264511 w 264511"/>
              <a:gd name="connsiteY5" fmla="*/ 140995 h 286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1">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201" name="Freihandform: Form 200">
            <a:extLst>
              <a:ext uri="{FF2B5EF4-FFF2-40B4-BE49-F238E27FC236}">
                <a16:creationId xmlns:a16="http://schemas.microsoft.com/office/drawing/2014/main" id="{E8A013AF-F105-4965-95B7-AC96F227E824}"/>
              </a:ext>
            </a:extLst>
          </p:cNvPr>
          <p:cNvSpPr/>
          <p:nvPr/>
        </p:nvSpPr>
        <p:spPr>
          <a:xfrm>
            <a:off x="10108537" y="5869868"/>
            <a:ext cx="264511" cy="286650"/>
          </a:xfrm>
          <a:custGeom>
            <a:avLst/>
            <a:gdLst>
              <a:gd name="connsiteX0" fmla="*/ 121186 w 264511"/>
              <a:gd name="connsiteY0" fmla="*/ 286651 h 286650"/>
              <a:gd name="connsiteX1" fmla="*/ 0 w 264511"/>
              <a:gd name="connsiteY1" fmla="*/ 286651 h 286650"/>
              <a:gd name="connsiteX2" fmla="*/ 140995 w 264511"/>
              <a:gd name="connsiteY2" fmla="*/ 144491 h 286650"/>
              <a:gd name="connsiteX3" fmla="*/ 0 w 264511"/>
              <a:gd name="connsiteY3" fmla="*/ 0 h 286650"/>
              <a:gd name="connsiteX4" fmla="*/ 123516 w 264511"/>
              <a:gd name="connsiteY4" fmla="*/ 0 h 286650"/>
              <a:gd name="connsiteX5" fmla="*/ 264511 w 264511"/>
              <a:gd name="connsiteY5" fmla="*/ 140995 h 28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0">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218" name="Freihandform: Form 217">
            <a:extLst>
              <a:ext uri="{FF2B5EF4-FFF2-40B4-BE49-F238E27FC236}">
                <a16:creationId xmlns:a16="http://schemas.microsoft.com/office/drawing/2014/main" id="{7F42F650-844E-4C84-9059-2EC117988F05}"/>
              </a:ext>
            </a:extLst>
          </p:cNvPr>
          <p:cNvSpPr/>
          <p:nvPr/>
        </p:nvSpPr>
        <p:spPr>
          <a:xfrm>
            <a:off x="10108537" y="6225269"/>
            <a:ext cx="264511" cy="286650"/>
          </a:xfrm>
          <a:custGeom>
            <a:avLst/>
            <a:gdLst>
              <a:gd name="connsiteX0" fmla="*/ 121186 w 264511"/>
              <a:gd name="connsiteY0" fmla="*/ 286651 h 286650"/>
              <a:gd name="connsiteX1" fmla="*/ 0 w 264511"/>
              <a:gd name="connsiteY1" fmla="*/ 286651 h 286650"/>
              <a:gd name="connsiteX2" fmla="*/ 140995 w 264511"/>
              <a:gd name="connsiteY2" fmla="*/ 144491 h 286650"/>
              <a:gd name="connsiteX3" fmla="*/ 0 w 264511"/>
              <a:gd name="connsiteY3" fmla="*/ 0 h 286650"/>
              <a:gd name="connsiteX4" fmla="*/ 123516 w 264511"/>
              <a:gd name="connsiteY4" fmla="*/ 0 h 286650"/>
              <a:gd name="connsiteX5" fmla="*/ 264511 w 264511"/>
              <a:gd name="connsiteY5" fmla="*/ 140995 h 28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0">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5" name="Freihandform: Form 4">
            <a:extLst>
              <a:ext uri="{FF2B5EF4-FFF2-40B4-BE49-F238E27FC236}">
                <a16:creationId xmlns:a16="http://schemas.microsoft.com/office/drawing/2014/main" id="{37FF9268-487B-457F-B2C7-1E1C142BF17B}"/>
              </a:ext>
            </a:extLst>
          </p:cNvPr>
          <p:cNvSpPr/>
          <p:nvPr/>
        </p:nvSpPr>
        <p:spPr>
          <a:xfrm>
            <a:off x="4909201" y="2101456"/>
            <a:ext cx="16313" cy="17478"/>
          </a:xfrm>
          <a:custGeom>
            <a:avLst/>
            <a:gdLst>
              <a:gd name="connsiteX0" fmla="*/ 8157 w 16313"/>
              <a:gd name="connsiteY0" fmla="*/ 17479 h 17478"/>
              <a:gd name="connsiteX1" fmla="*/ 0 w 16313"/>
              <a:gd name="connsiteY1" fmla="*/ 17479 h 17478"/>
              <a:gd name="connsiteX2" fmla="*/ 9322 w 16313"/>
              <a:gd name="connsiteY2" fmla="*/ 8157 h 17478"/>
              <a:gd name="connsiteX3" fmla="*/ 0 w 16313"/>
              <a:gd name="connsiteY3" fmla="*/ 0 h 17478"/>
              <a:gd name="connsiteX4" fmla="*/ 8157 w 16313"/>
              <a:gd name="connsiteY4" fmla="*/ 0 h 17478"/>
              <a:gd name="connsiteX5" fmla="*/ 16313 w 16313"/>
              <a:gd name="connsiteY5" fmla="*/ 8157 h 17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13" h="17478">
                <a:moveTo>
                  <a:pt x="8157" y="17479"/>
                </a:moveTo>
                <a:lnTo>
                  <a:pt x="0" y="17479"/>
                </a:lnTo>
                <a:lnTo>
                  <a:pt x="9322" y="8157"/>
                </a:lnTo>
                <a:lnTo>
                  <a:pt x="0" y="0"/>
                </a:lnTo>
                <a:lnTo>
                  <a:pt x="8157" y="0"/>
                </a:lnTo>
                <a:lnTo>
                  <a:pt x="16313" y="8157"/>
                </a:lnTo>
                <a:close/>
              </a:path>
            </a:pathLst>
          </a:custGeom>
          <a:solidFill>
            <a:srgbClr val="EEF2F5"/>
          </a:solidFill>
          <a:ln w="11643" cap="flat">
            <a:noFill/>
            <a:prstDash val="solid"/>
            <a:miter/>
          </a:ln>
        </p:spPr>
        <p:txBody>
          <a:bodyPr rtlCol="0" anchor="ctr"/>
          <a:lstStyle/>
          <a:p>
            <a:endParaRPr lang="de-DE"/>
          </a:p>
        </p:txBody>
      </p:sp>
      <p:sp>
        <p:nvSpPr>
          <p:cNvPr id="22" name="Freihandform: Form 21">
            <a:extLst>
              <a:ext uri="{FF2B5EF4-FFF2-40B4-BE49-F238E27FC236}">
                <a16:creationId xmlns:a16="http://schemas.microsoft.com/office/drawing/2014/main" id="{67427BC4-9149-4C28-A507-8AD1464E8243}"/>
              </a:ext>
            </a:extLst>
          </p:cNvPr>
          <p:cNvSpPr/>
          <p:nvPr/>
        </p:nvSpPr>
        <p:spPr>
          <a:xfrm>
            <a:off x="4909201" y="2455692"/>
            <a:ext cx="16313" cy="18643"/>
          </a:xfrm>
          <a:custGeom>
            <a:avLst/>
            <a:gdLst>
              <a:gd name="connsiteX0" fmla="*/ 8157 w 16313"/>
              <a:gd name="connsiteY0" fmla="*/ 18644 h 18643"/>
              <a:gd name="connsiteX1" fmla="*/ 0 w 16313"/>
              <a:gd name="connsiteY1" fmla="*/ 18644 h 18643"/>
              <a:gd name="connsiteX2" fmla="*/ 9322 w 16313"/>
              <a:gd name="connsiteY2" fmla="*/ 9322 h 18643"/>
              <a:gd name="connsiteX3" fmla="*/ 0 w 16313"/>
              <a:gd name="connsiteY3" fmla="*/ 0 h 18643"/>
              <a:gd name="connsiteX4" fmla="*/ 8157 w 16313"/>
              <a:gd name="connsiteY4" fmla="*/ 0 h 18643"/>
              <a:gd name="connsiteX5" fmla="*/ 16313 w 16313"/>
              <a:gd name="connsiteY5" fmla="*/ 9322 h 18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13" h="18643">
                <a:moveTo>
                  <a:pt x="8157" y="18644"/>
                </a:moveTo>
                <a:lnTo>
                  <a:pt x="0" y="18644"/>
                </a:lnTo>
                <a:lnTo>
                  <a:pt x="9322" y="9322"/>
                </a:lnTo>
                <a:lnTo>
                  <a:pt x="0" y="0"/>
                </a:lnTo>
                <a:lnTo>
                  <a:pt x="8157" y="0"/>
                </a:lnTo>
                <a:lnTo>
                  <a:pt x="16313" y="9322"/>
                </a:lnTo>
                <a:close/>
              </a:path>
            </a:pathLst>
          </a:custGeom>
          <a:solidFill>
            <a:srgbClr val="EEF2F5"/>
          </a:solidFill>
          <a:ln w="11643" cap="flat">
            <a:noFill/>
            <a:prstDash val="solid"/>
            <a:miter/>
          </a:ln>
        </p:spPr>
        <p:txBody>
          <a:bodyPr rtlCol="0" anchor="ctr"/>
          <a:lstStyle/>
          <a:p>
            <a:endParaRPr lang="de-DE"/>
          </a:p>
        </p:txBody>
      </p:sp>
      <p:sp>
        <p:nvSpPr>
          <p:cNvPr id="38" name="Freihandform: Form 37">
            <a:extLst>
              <a:ext uri="{FF2B5EF4-FFF2-40B4-BE49-F238E27FC236}">
                <a16:creationId xmlns:a16="http://schemas.microsoft.com/office/drawing/2014/main" id="{86AC6BBB-1E60-4206-8581-A22FBBC2FD4E}"/>
              </a:ext>
            </a:extLst>
          </p:cNvPr>
          <p:cNvSpPr/>
          <p:nvPr/>
        </p:nvSpPr>
        <p:spPr>
          <a:xfrm>
            <a:off x="4909201" y="2811092"/>
            <a:ext cx="16313" cy="17478"/>
          </a:xfrm>
          <a:custGeom>
            <a:avLst/>
            <a:gdLst>
              <a:gd name="connsiteX0" fmla="*/ 8157 w 16313"/>
              <a:gd name="connsiteY0" fmla="*/ 17479 h 17478"/>
              <a:gd name="connsiteX1" fmla="*/ 0 w 16313"/>
              <a:gd name="connsiteY1" fmla="*/ 17479 h 17478"/>
              <a:gd name="connsiteX2" fmla="*/ 9322 w 16313"/>
              <a:gd name="connsiteY2" fmla="*/ 8157 h 17478"/>
              <a:gd name="connsiteX3" fmla="*/ 0 w 16313"/>
              <a:gd name="connsiteY3" fmla="*/ 0 h 17478"/>
              <a:gd name="connsiteX4" fmla="*/ 8157 w 16313"/>
              <a:gd name="connsiteY4" fmla="*/ 0 h 17478"/>
              <a:gd name="connsiteX5" fmla="*/ 16313 w 16313"/>
              <a:gd name="connsiteY5" fmla="*/ 8157 h 17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13" h="17478">
                <a:moveTo>
                  <a:pt x="8157" y="17479"/>
                </a:moveTo>
                <a:lnTo>
                  <a:pt x="0" y="17479"/>
                </a:lnTo>
                <a:lnTo>
                  <a:pt x="9322" y="8157"/>
                </a:lnTo>
                <a:lnTo>
                  <a:pt x="0" y="0"/>
                </a:lnTo>
                <a:lnTo>
                  <a:pt x="8157" y="0"/>
                </a:lnTo>
                <a:lnTo>
                  <a:pt x="16313" y="8157"/>
                </a:lnTo>
                <a:close/>
              </a:path>
            </a:pathLst>
          </a:custGeom>
          <a:solidFill>
            <a:srgbClr val="EEF2F5"/>
          </a:solidFill>
          <a:ln w="11643" cap="flat">
            <a:noFill/>
            <a:prstDash val="solid"/>
            <a:miter/>
          </a:ln>
        </p:spPr>
        <p:txBody>
          <a:bodyPr rtlCol="0" anchor="ctr"/>
          <a:lstStyle/>
          <a:p>
            <a:endParaRPr lang="de-DE"/>
          </a:p>
        </p:txBody>
      </p:sp>
      <p:sp>
        <p:nvSpPr>
          <p:cNvPr id="203" name="Freihandform: Form 202">
            <a:extLst>
              <a:ext uri="{FF2B5EF4-FFF2-40B4-BE49-F238E27FC236}">
                <a16:creationId xmlns:a16="http://schemas.microsoft.com/office/drawing/2014/main" id="{A954D734-5BDB-4F7E-8A7B-09593EE1C30A}"/>
              </a:ext>
            </a:extLst>
          </p:cNvPr>
          <p:cNvSpPr/>
          <p:nvPr/>
        </p:nvSpPr>
        <p:spPr>
          <a:xfrm>
            <a:off x="4909201" y="6359273"/>
            <a:ext cx="16313" cy="18643"/>
          </a:xfrm>
          <a:custGeom>
            <a:avLst/>
            <a:gdLst>
              <a:gd name="connsiteX0" fmla="*/ 8157 w 16313"/>
              <a:gd name="connsiteY0" fmla="*/ 18644 h 18643"/>
              <a:gd name="connsiteX1" fmla="*/ 0 w 16313"/>
              <a:gd name="connsiteY1" fmla="*/ 18644 h 18643"/>
              <a:gd name="connsiteX2" fmla="*/ 9322 w 16313"/>
              <a:gd name="connsiteY2" fmla="*/ 9322 h 18643"/>
              <a:gd name="connsiteX3" fmla="*/ 0 w 16313"/>
              <a:gd name="connsiteY3" fmla="*/ 0 h 18643"/>
              <a:gd name="connsiteX4" fmla="*/ 8157 w 16313"/>
              <a:gd name="connsiteY4" fmla="*/ 0 h 18643"/>
              <a:gd name="connsiteX5" fmla="*/ 16313 w 16313"/>
              <a:gd name="connsiteY5" fmla="*/ 9322 h 18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13" h="18643">
                <a:moveTo>
                  <a:pt x="8157" y="18644"/>
                </a:moveTo>
                <a:lnTo>
                  <a:pt x="0" y="18644"/>
                </a:lnTo>
                <a:lnTo>
                  <a:pt x="9322" y="9322"/>
                </a:lnTo>
                <a:lnTo>
                  <a:pt x="0" y="0"/>
                </a:lnTo>
                <a:lnTo>
                  <a:pt x="8157" y="0"/>
                </a:lnTo>
                <a:lnTo>
                  <a:pt x="16313" y="9322"/>
                </a:lnTo>
                <a:close/>
              </a:path>
            </a:pathLst>
          </a:custGeom>
          <a:solidFill>
            <a:srgbClr val="EEF2F5"/>
          </a:solidFill>
          <a:ln w="11643" cap="flat">
            <a:noFill/>
            <a:prstDash val="solid"/>
            <a:miter/>
          </a:ln>
        </p:spPr>
        <p:txBody>
          <a:bodyPr rtlCol="0" anchor="ctr"/>
          <a:lstStyle/>
          <a:p>
            <a:endParaRPr lang="de-DE"/>
          </a:p>
        </p:txBody>
      </p:sp>
      <p:sp>
        <p:nvSpPr>
          <p:cNvPr id="219" name="Freihandform: Form 218">
            <a:extLst>
              <a:ext uri="{FF2B5EF4-FFF2-40B4-BE49-F238E27FC236}">
                <a16:creationId xmlns:a16="http://schemas.microsoft.com/office/drawing/2014/main" id="{11ACA275-0A27-41DD-8AD0-A37EF069B3DC}"/>
              </a:ext>
            </a:extLst>
          </p:cNvPr>
          <p:cNvSpPr/>
          <p:nvPr/>
        </p:nvSpPr>
        <p:spPr>
          <a:xfrm>
            <a:off x="4909201" y="6714673"/>
            <a:ext cx="16313" cy="17478"/>
          </a:xfrm>
          <a:custGeom>
            <a:avLst/>
            <a:gdLst>
              <a:gd name="connsiteX0" fmla="*/ 8157 w 16313"/>
              <a:gd name="connsiteY0" fmla="*/ 17479 h 17478"/>
              <a:gd name="connsiteX1" fmla="*/ 0 w 16313"/>
              <a:gd name="connsiteY1" fmla="*/ 17479 h 17478"/>
              <a:gd name="connsiteX2" fmla="*/ 9322 w 16313"/>
              <a:gd name="connsiteY2" fmla="*/ 8157 h 17478"/>
              <a:gd name="connsiteX3" fmla="*/ 0 w 16313"/>
              <a:gd name="connsiteY3" fmla="*/ 0 h 17478"/>
              <a:gd name="connsiteX4" fmla="*/ 8157 w 16313"/>
              <a:gd name="connsiteY4" fmla="*/ 0 h 17478"/>
              <a:gd name="connsiteX5" fmla="*/ 16313 w 16313"/>
              <a:gd name="connsiteY5" fmla="*/ 8157 h 17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13" h="17478">
                <a:moveTo>
                  <a:pt x="8157" y="17479"/>
                </a:moveTo>
                <a:lnTo>
                  <a:pt x="0" y="17479"/>
                </a:lnTo>
                <a:lnTo>
                  <a:pt x="9322" y="8157"/>
                </a:lnTo>
                <a:lnTo>
                  <a:pt x="0" y="0"/>
                </a:lnTo>
                <a:lnTo>
                  <a:pt x="8157" y="0"/>
                </a:lnTo>
                <a:lnTo>
                  <a:pt x="16313" y="8157"/>
                </a:lnTo>
                <a:close/>
              </a:path>
            </a:pathLst>
          </a:custGeom>
          <a:solidFill>
            <a:srgbClr val="EEF2F5"/>
          </a:solidFill>
          <a:ln w="11643" cap="flat">
            <a:noFill/>
            <a:prstDash val="solid"/>
            <a:miter/>
          </a:ln>
        </p:spPr>
        <p:txBody>
          <a:bodyPr rtlCol="0" anchor="ctr"/>
          <a:lstStyle/>
          <a:p>
            <a:endParaRPr lang="de-DE"/>
          </a:p>
        </p:txBody>
      </p:sp>
      <p:sp>
        <p:nvSpPr>
          <p:cNvPr id="6" name="Freihandform: Form 5">
            <a:extLst>
              <a:ext uri="{FF2B5EF4-FFF2-40B4-BE49-F238E27FC236}">
                <a16:creationId xmlns:a16="http://schemas.microsoft.com/office/drawing/2014/main" id="{8A4E51D5-9A40-4C2C-A7AF-1757E2BA77A0}"/>
              </a:ext>
            </a:extLst>
          </p:cNvPr>
          <p:cNvSpPr/>
          <p:nvPr/>
        </p:nvSpPr>
        <p:spPr>
          <a:xfrm>
            <a:off x="5255279" y="2092134"/>
            <a:ext cx="33792" cy="36122"/>
          </a:xfrm>
          <a:custGeom>
            <a:avLst/>
            <a:gdLst>
              <a:gd name="connsiteX0" fmla="*/ 15148 w 33792"/>
              <a:gd name="connsiteY0" fmla="*/ 36123 h 36122"/>
              <a:gd name="connsiteX1" fmla="*/ 0 w 33792"/>
              <a:gd name="connsiteY1" fmla="*/ 36123 h 36122"/>
              <a:gd name="connsiteX2" fmla="*/ 18644 w 33792"/>
              <a:gd name="connsiteY2" fmla="*/ 17479 h 36122"/>
              <a:gd name="connsiteX3" fmla="*/ 0 w 33792"/>
              <a:gd name="connsiteY3" fmla="*/ 0 h 36122"/>
              <a:gd name="connsiteX4" fmla="*/ 16313 w 33792"/>
              <a:gd name="connsiteY4" fmla="*/ 0 h 36122"/>
              <a:gd name="connsiteX5" fmla="*/ 33792 w 33792"/>
              <a:gd name="connsiteY5" fmla="*/ 17479 h 3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92" h="36122">
                <a:moveTo>
                  <a:pt x="15148" y="36123"/>
                </a:moveTo>
                <a:lnTo>
                  <a:pt x="0" y="36123"/>
                </a:lnTo>
                <a:lnTo>
                  <a:pt x="18644" y="17479"/>
                </a:lnTo>
                <a:lnTo>
                  <a:pt x="0" y="0"/>
                </a:lnTo>
                <a:lnTo>
                  <a:pt x="16313" y="0"/>
                </a:lnTo>
                <a:lnTo>
                  <a:pt x="33792" y="17479"/>
                </a:lnTo>
                <a:close/>
              </a:path>
            </a:pathLst>
          </a:custGeom>
          <a:solidFill>
            <a:srgbClr val="EEF2F5"/>
          </a:solidFill>
          <a:ln w="11643" cap="flat">
            <a:noFill/>
            <a:prstDash val="solid"/>
            <a:miter/>
          </a:ln>
        </p:spPr>
        <p:txBody>
          <a:bodyPr rtlCol="0" anchor="ctr"/>
          <a:lstStyle/>
          <a:p>
            <a:endParaRPr lang="de-DE"/>
          </a:p>
        </p:txBody>
      </p:sp>
      <p:sp>
        <p:nvSpPr>
          <p:cNvPr id="23" name="Freihandform: Form 22">
            <a:extLst>
              <a:ext uri="{FF2B5EF4-FFF2-40B4-BE49-F238E27FC236}">
                <a16:creationId xmlns:a16="http://schemas.microsoft.com/office/drawing/2014/main" id="{EFF8D231-0526-443F-B572-FBC0C0A7C2F2}"/>
              </a:ext>
            </a:extLst>
          </p:cNvPr>
          <p:cNvSpPr/>
          <p:nvPr/>
        </p:nvSpPr>
        <p:spPr>
          <a:xfrm>
            <a:off x="5255279" y="2446370"/>
            <a:ext cx="33792" cy="36122"/>
          </a:xfrm>
          <a:custGeom>
            <a:avLst/>
            <a:gdLst>
              <a:gd name="connsiteX0" fmla="*/ 15148 w 33792"/>
              <a:gd name="connsiteY0" fmla="*/ 36123 h 36122"/>
              <a:gd name="connsiteX1" fmla="*/ 0 w 33792"/>
              <a:gd name="connsiteY1" fmla="*/ 36123 h 36122"/>
              <a:gd name="connsiteX2" fmla="*/ 18644 w 33792"/>
              <a:gd name="connsiteY2" fmla="*/ 18644 h 36122"/>
              <a:gd name="connsiteX3" fmla="*/ 0 w 33792"/>
              <a:gd name="connsiteY3" fmla="*/ 0 h 36122"/>
              <a:gd name="connsiteX4" fmla="*/ 16313 w 33792"/>
              <a:gd name="connsiteY4" fmla="*/ 0 h 36122"/>
              <a:gd name="connsiteX5" fmla="*/ 33792 w 33792"/>
              <a:gd name="connsiteY5" fmla="*/ 18644 h 3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92" h="36122">
                <a:moveTo>
                  <a:pt x="15148" y="36123"/>
                </a:moveTo>
                <a:lnTo>
                  <a:pt x="0" y="36123"/>
                </a:lnTo>
                <a:lnTo>
                  <a:pt x="18644" y="18644"/>
                </a:lnTo>
                <a:lnTo>
                  <a:pt x="0" y="0"/>
                </a:lnTo>
                <a:lnTo>
                  <a:pt x="16313" y="0"/>
                </a:lnTo>
                <a:lnTo>
                  <a:pt x="33792" y="18644"/>
                </a:lnTo>
                <a:close/>
              </a:path>
            </a:pathLst>
          </a:custGeom>
          <a:solidFill>
            <a:srgbClr val="EEF2F5"/>
          </a:solidFill>
          <a:ln w="11643" cap="flat">
            <a:noFill/>
            <a:prstDash val="solid"/>
            <a:miter/>
          </a:ln>
        </p:spPr>
        <p:txBody>
          <a:bodyPr rtlCol="0" anchor="ctr"/>
          <a:lstStyle/>
          <a:p>
            <a:endParaRPr lang="de-DE"/>
          </a:p>
        </p:txBody>
      </p:sp>
      <p:sp>
        <p:nvSpPr>
          <p:cNvPr id="39" name="Freihandform: Form 38">
            <a:extLst>
              <a:ext uri="{FF2B5EF4-FFF2-40B4-BE49-F238E27FC236}">
                <a16:creationId xmlns:a16="http://schemas.microsoft.com/office/drawing/2014/main" id="{4663B524-8E70-411B-AF82-46000FF0D969}"/>
              </a:ext>
            </a:extLst>
          </p:cNvPr>
          <p:cNvSpPr/>
          <p:nvPr/>
        </p:nvSpPr>
        <p:spPr>
          <a:xfrm>
            <a:off x="5255279" y="2801770"/>
            <a:ext cx="33792" cy="36122"/>
          </a:xfrm>
          <a:custGeom>
            <a:avLst/>
            <a:gdLst>
              <a:gd name="connsiteX0" fmla="*/ 15148 w 33792"/>
              <a:gd name="connsiteY0" fmla="*/ 36123 h 36122"/>
              <a:gd name="connsiteX1" fmla="*/ 0 w 33792"/>
              <a:gd name="connsiteY1" fmla="*/ 36123 h 36122"/>
              <a:gd name="connsiteX2" fmla="*/ 18644 w 33792"/>
              <a:gd name="connsiteY2" fmla="*/ 17479 h 36122"/>
              <a:gd name="connsiteX3" fmla="*/ 0 w 33792"/>
              <a:gd name="connsiteY3" fmla="*/ 0 h 36122"/>
              <a:gd name="connsiteX4" fmla="*/ 16313 w 33792"/>
              <a:gd name="connsiteY4" fmla="*/ 0 h 36122"/>
              <a:gd name="connsiteX5" fmla="*/ 33792 w 33792"/>
              <a:gd name="connsiteY5" fmla="*/ 17479 h 3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92" h="36122">
                <a:moveTo>
                  <a:pt x="15148" y="36123"/>
                </a:moveTo>
                <a:lnTo>
                  <a:pt x="0" y="36123"/>
                </a:lnTo>
                <a:lnTo>
                  <a:pt x="18644" y="17479"/>
                </a:lnTo>
                <a:lnTo>
                  <a:pt x="0" y="0"/>
                </a:lnTo>
                <a:lnTo>
                  <a:pt x="16313" y="0"/>
                </a:lnTo>
                <a:lnTo>
                  <a:pt x="33792" y="17479"/>
                </a:lnTo>
                <a:close/>
              </a:path>
            </a:pathLst>
          </a:custGeom>
          <a:solidFill>
            <a:srgbClr val="EEF2F5"/>
          </a:solidFill>
          <a:ln w="11643" cap="flat">
            <a:noFill/>
            <a:prstDash val="solid"/>
            <a:miter/>
          </a:ln>
        </p:spPr>
        <p:txBody>
          <a:bodyPr rtlCol="0" anchor="ctr"/>
          <a:lstStyle/>
          <a:p>
            <a:endParaRPr lang="de-DE"/>
          </a:p>
        </p:txBody>
      </p:sp>
      <p:sp>
        <p:nvSpPr>
          <p:cNvPr id="55" name="Freihandform: Form 54">
            <a:extLst>
              <a:ext uri="{FF2B5EF4-FFF2-40B4-BE49-F238E27FC236}">
                <a16:creationId xmlns:a16="http://schemas.microsoft.com/office/drawing/2014/main" id="{F4D09A89-D99B-46C8-9144-5A77F64C551B}"/>
              </a:ext>
            </a:extLst>
          </p:cNvPr>
          <p:cNvSpPr/>
          <p:nvPr/>
        </p:nvSpPr>
        <p:spPr>
          <a:xfrm>
            <a:off x="5255279" y="3156006"/>
            <a:ext cx="33792" cy="36122"/>
          </a:xfrm>
          <a:custGeom>
            <a:avLst/>
            <a:gdLst>
              <a:gd name="connsiteX0" fmla="*/ 15148 w 33792"/>
              <a:gd name="connsiteY0" fmla="*/ 36123 h 36122"/>
              <a:gd name="connsiteX1" fmla="*/ 0 w 33792"/>
              <a:gd name="connsiteY1" fmla="*/ 36123 h 36122"/>
              <a:gd name="connsiteX2" fmla="*/ 18644 w 33792"/>
              <a:gd name="connsiteY2" fmla="*/ 18644 h 36122"/>
              <a:gd name="connsiteX3" fmla="*/ 0 w 33792"/>
              <a:gd name="connsiteY3" fmla="*/ 0 h 36122"/>
              <a:gd name="connsiteX4" fmla="*/ 16313 w 33792"/>
              <a:gd name="connsiteY4" fmla="*/ 0 h 36122"/>
              <a:gd name="connsiteX5" fmla="*/ 33792 w 33792"/>
              <a:gd name="connsiteY5" fmla="*/ 18644 h 3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92" h="36122">
                <a:moveTo>
                  <a:pt x="15148" y="36123"/>
                </a:moveTo>
                <a:lnTo>
                  <a:pt x="0" y="36123"/>
                </a:lnTo>
                <a:lnTo>
                  <a:pt x="18644" y="18644"/>
                </a:lnTo>
                <a:lnTo>
                  <a:pt x="0" y="0"/>
                </a:lnTo>
                <a:lnTo>
                  <a:pt x="16313" y="0"/>
                </a:lnTo>
                <a:lnTo>
                  <a:pt x="33792" y="18644"/>
                </a:lnTo>
                <a:close/>
              </a:path>
            </a:pathLst>
          </a:custGeom>
          <a:solidFill>
            <a:srgbClr val="EEF2F5"/>
          </a:solidFill>
          <a:ln w="11643" cap="flat">
            <a:noFill/>
            <a:prstDash val="solid"/>
            <a:miter/>
          </a:ln>
        </p:spPr>
        <p:txBody>
          <a:bodyPr rtlCol="0" anchor="ctr"/>
          <a:lstStyle/>
          <a:p>
            <a:endParaRPr lang="de-DE"/>
          </a:p>
        </p:txBody>
      </p:sp>
      <p:sp>
        <p:nvSpPr>
          <p:cNvPr id="187" name="Freihandform: Form 186">
            <a:extLst>
              <a:ext uri="{FF2B5EF4-FFF2-40B4-BE49-F238E27FC236}">
                <a16:creationId xmlns:a16="http://schemas.microsoft.com/office/drawing/2014/main" id="{9405F1EC-B6AA-4E71-9517-3317B5730FD9}"/>
              </a:ext>
            </a:extLst>
          </p:cNvPr>
          <p:cNvSpPr/>
          <p:nvPr/>
        </p:nvSpPr>
        <p:spPr>
          <a:xfrm>
            <a:off x="5255279" y="5995715"/>
            <a:ext cx="33792" cy="36122"/>
          </a:xfrm>
          <a:custGeom>
            <a:avLst/>
            <a:gdLst>
              <a:gd name="connsiteX0" fmla="*/ 15148 w 33792"/>
              <a:gd name="connsiteY0" fmla="*/ 36123 h 36122"/>
              <a:gd name="connsiteX1" fmla="*/ 0 w 33792"/>
              <a:gd name="connsiteY1" fmla="*/ 36123 h 36122"/>
              <a:gd name="connsiteX2" fmla="*/ 18644 w 33792"/>
              <a:gd name="connsiteY2" fmla="*/ 17479 h 36122"/>
              <a:gd name="connsiteX3" fmla="*/ 0 w 33792"/>
              <a:gd name="connsiteY3" fmla="*/ 0 h 36122"/>
              <a:gd name="connsiteX4" fmla="*/ 16313 w 33792"/>
              <a:gd name="connsiteY4" fmla="*/ 0 h 36122"/>
              <a:gd name="connsiteX5" fmla="*/ 33792 w 33792"/>
              <a:gd name="connsiteY5" fmla="*/ 17479 h 3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92" h="36122">
                <a:moveTo>
                  <a:pt x="15148" y="36123"/>
                </a:moveTo>
                <a:lnTo>
                  <a:pt x="0" y="36123"/>
                </a:lnTo>
                <a:lnTo>
                  <a:pt x="18644" y="17479"/>
                </a:lnTo>
                <a:lnTo>
                  <a:pt x="0" y="0"/>
                </a:lnTo>
                <a:lnTo>
                  <a:pt x="16313" y="0"/>
                </a:lnTo>
                <a:lnTo>
                  <a:pt x="33792" y="17479"/>
                </a:lnTo>
                <a:close/>
              </a:path>
            </a:pathLst>
          </a:custGeom>
          <a:solidFill>
            <a:srgbClr val="EEF2F5"/>
          </a:solidFill>
          <a:ln w="11643" cap="flat">
            <a:noFill/>
            <a:prstDash val="solid"/>
            <a:miter/>
          </a:ln>
        </p:spPr>
        <p:txBody>
          <a:bodyPr rtlCol="0" anchor="ctr"/>
          <a:lstStyle/>
          <a:p>
            <a:endParaRPr lang="de-DE"/>
          </a:p>
        </p:txBody>
      </p:sp>
      <p:sp>
        <p:nvSpPr>
          <p:cNvPr id="204" name="Freihandform: Form 203">
            <a:extLst>
              <a:ext uri="{FF2B5EF4-FFF2-40B4-BE49-F238E27FC236}">
                <a16:creationId xmlns:a16="http://schemas.microsoft.com/office/drawing/2014/main" id="{455ED072-A29F-4FE5-8724-C330B2893FE8}"/>
              </a:ext>
            </a:extLst>
          </p:cNvPr>
          <p:cNvSpPr/>
          <p:nvPr/>
        </p:nvSpPr>
        <p:spPr>
          <a:xfrm>
            <a:off x="5255279" y="6349950"/>
            <a:ext cx="33792" cy="36122"/>
          </a:xfrm>
          <a:custGeom>
            <a:avLst/>
            <a:gdLst>
              <a:gd name="connsiteX0" fmla="*/ 15148 w 33792"/>
              <a:gd name="connsiteY0" fmla="*/ 36123 h 36122"/>
              <a:gd name="connsiteX1" fmla="*/ 0 w 33792"/>
              <a:gd name="connsiteY1" fmla="*/ 36123 h 36122"/>
              <a:gd name="connsiteX2" fmla="*/ 18644 w 33792"/>
              <a:gd name="connsiteY2" fmla="*/ 18644 h 36122"/>
              <a:gd name="connsiteX3" fmla="*/ 0 w 33792"/>
              <a:gd name="connsiteY3" fmla="*/ 0 h 36122"/>
              <a:gd name="connsiteX4" fmla="*/ 16313 w 33792"/>
              <a:gd name="connsiteY4" fmla="*/ 0 h 36122"/>
              <a:gd name="connsiteX5" fmla="*/ 33792 w 33792"/>
              <a:gd name="connsiteY5" fmla="*/ 17479 h 3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92" h="36122">
                <a:moveTo>
                  <a:pt x="15148" y="36123"/>
                </a:moveTo>
                <a:lnTo>
                  <a:pt x="0" y="36123"/>
                </a:lnTo>
                <a:lnTo>
                  <a:pt x="18644" y="18644"/>
                </a:lnTo>
                <a:lnTo>
                  <a:pt x="0" y="0"/>
                </a:lnTo>
                <a:lnTo>
                  <a:pt x="16313" y="0"/>
                </a:lnTo>
                <a:lnTo>
                  <a:pt x="33792" y="17479"/>
                </a:lnTo>
                <a:close/>
              </a:path>
            </a:pathLst>
          </a:custGeom>
          <a:solidFill>
            <a:srgbClr val="EEF2F5"/>
          </a:solidFill>
          <a:ln w="11643" cap="flat">
            <a:noFill/>
            <a:prstDash val="solid"/>
            <a:miter/>
          </a:ln>
        </p:spPr>
        <p:txBody>
          <a:bodyPr rtlCol="0" anchor="ctr"/>
          <a:lstStyle/>
          <a:p>
            <a:endParaRPr lang="de-DE"/>
          </a:p>
        </p:txBody>
      </p:sp>
      <p:sp>
        <p:nvSpPr>
          <p:cNvPr id="220" name="Freihandform: Form 219">
            <a:extLst>
              <a:ext uri="{FF2B5EF4-FFF2-40B4-BE49-F238E27FC236}">
                <a16:creationId xmlns:a16="http://schemas.microsoft.com/office/drawing/2014/main" id="{99942471-7679-49B5-9D52-AEDAA896BBEA}"/>
              </a:ext>
            </a:extLst>
          </p:cNvPr>
          <p:cNvSpPr/>
          <p:nvPr/>
        </p:nvSpPr>
        <p:spPr>
          <a:xfrm>
            <a:off x="5255279" y="6705351"/>
            <a:ext cx="33792" cy="36122"/>
          </a:xfrm>
          <a:custGeom>
            <a:avLst/>
            <a:gdLst>
              <a:gd name="connsiteX0" fmla="*/ 15148 w 33792"/>
              <a:gd name="connsiteY0" fmla="*/ 36123 h 36122"/>
              <a:gd name="connsiteX1" fmla="*/ 0 w 33792"/>
              <a:gd name="connsiteY1" fmla="*/ 36123 h 36122"/>
              <a:gd name="connsiteX2" fmla="*/ 18644 w 33792"/>
              <a:gd name="connsiteY2" fmla="*/ 17479 h 36122"/>
              <a:gd name="connsiteX3" fmla="*/ 0 w 33792"/>
              <a:gd name="connsiteY3" fmla="*/ 0 h 36122"/>
              <a:gd name="connsiteX4" fmla="*/ 16313 w 33792"/>
              <a:gd name="connsiteY4" fmla="*/ 0 h 36122"/>
              <a:gd name="connsiteX5" fmla="*/ 33792 w 33792"/>
              <a:gd name="connsiteY5" fmla="*/ 17479 h 3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92" h="36122">
                <a:moveTo>
                  <a:pt x="15148" y="36123"/>
                </a:moveTo>
                <a:lnTo>
                  <a:pt x="0" y="36123"/>
                </a:lnTo>
                <a:lnTo>
                  <a:pt x="18644" y="17479"/>
                </a:lnTo>
                <a:lnTo>
                  <a:pt x="0" y="0"/>
                </a:lnTo>
                <a:lnTo>
                  <a:pt x="16313" y="0"/>
                </a:lnTo>
                <a:lnTo>
                  <a:pt x="33792" y="17479"/>
                </a:lnTo>
                <a:close/>
              </a:path>
            </a:pathLst>
          </a:custGeom>
          <a:solidFill>
            <a:srgbClr val="EEF2F5"/>
          </a:solidFill>
          <a:ln w="11643" cap="flat">
            <a:noFill/>
            <a:prstDash val="solid"/>
            <a:miter/>
          </a:ln>
        </p:spPr>
        <p:txBody>
          <a:bodyPr rtlCol="0" anchor="ctr"/>
          <a:lstStyle/>
          <a:p>
            <a:endParaRPr lang="de-DE"/>
          </a:p>
        </p:txBody>
      </p:sp>
      <p:sp>
        <p:nvSpPr>
          <p:cNvPr id="7" name="Freihandform: Form 6">
            <a:extLst>
              <a:ext uri="{FF2B5EF4-FFF2-40B4-BE49-F238E27FC236}">
                <a16:creationId xmlns:a16="http://schemas.microsoft.com/office/drawing/2014/main" id="{4036A95C-4698-466B-86BD-E5C4BEBC8F14}"/>
              </a:ext>
            </a:extLst>
          </p:cNvPr>
          <p:cNvSpPr/>
          <p:nvPr/>
        </p:nvSpPr>
        <p:spPr>
          <a:xfrm>
            <a:off x="5602523" y="2082812"/>
            <a:ext cx="50105" cy="54766"/>
          </a:xfrm>
          <a:custGeom>
            <a:avLst/>
            <a:gdLst>
              <a:gd name="connsiteX0" fmla="*/ 22140 w 50105"/>
              <a:gd name="connsiteY0" fmla="*/ 54767 h 54766"/>
              <a:gd name="connsiteX1" fmla="*/ 0 w 50105"/>
              <a:gd name="connsiteY1" fmla="*/ 54767 h 54766"/>
              <a:gd name="connsiteX2" fmla="*/ 26801 w 50105"/>
              <a:gd name="connsiteY2" fmla="*/ 27966 h 54766"/>
              <a:gd name="connsiteX3" fmla="*/ 0 w 50105"/>
              <a:gd name="connsiteY3" fmla="*/ 0 h 54766"/>
              <a:gd name="connsiteX4" fmla="*/ 23305 w 50105"/>
              <a:gd name="connsiteY4" fmla="*/ 0 h 54766"/>
              <a:gd name="connsiteX5" fmla="*/ 50106 w 50105"/>
              <a:gd name="connsiteY5" fmla="*/ 26801 h 5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4765">
                <a:moveTo>
                  <a:pt x="22140" y="54767"/>
                </a:moveTo>
                <a:lnTo>
                  <a:pt x="0" y="54767"/>
                </a:lnTo>
                <a:lnTo>
                  <a:pt x="26801" y="27966"/>
                </a:lnTo>
                <a:lnTo>
                  <a:pt x="0" y="0"/>
                </a:lnTo>
                <a:lnTo>
                  <a:pt x="23305" y="0"/>
                </a:lnTo>
                <a:lnTo>
                  <a:pt x="50106" y="26801"/>
                </a:lnTo>
                <a:close/>
              </a:path>
            </a:pathLst>
          </a:custGeom>
          <a:solidFill>
            <a:srgbClr val="EEF2F5"/>
          </a:solidFill>
          <a:ln w="11643" cap="flat">
            <a:noFill/>
            <a:prstDash val="solid"/>
            <a:miter/>
          </a:ln>
        </p:spPr>
        <p:txBody>
          <a:bodyPr rtlCol="0" anchor="ctr"/>
          <a:lstStyle/>
          <a:p>
            <a:endParaRPr lang="de-DE"/>
          </a:p>
        </p:txBody>
      </p:sp>
      <p:sp>
        <p:nvSpPr>
          <p:cNvPr id="24" name="Freihandform: Form 23">
            <a:extLst>
              <a:ext uri="{FF2B5EF4-FFF2-40B4-BE49-F238E27FC236}">
                <a16:creationId xmlns:a16="http://schemas.microsoft.com/office/drawing/2014/main" id="{BF542F85-6793-447F-ABC7-4DD68400D714}"/>
              </a:ext>
            </a:extLst>
          </p:cNvPr>
          <p:cNvSpPr/>
          <p:nvPr/>
        </p:nvSpPr>
        <p:spPr>
          <a:xfrm>
            <a:off x="5602523" y="2438213"/>
            <a:ext cx="50105" cy="53601"/>
          </a:xfrm>
          <a:custGeom>
            <a:avLst/>
            <a:gdLst>
              <a:gd name="connsiteX0" fmla="*/ 22140 w 50105"/>
              <a:gd name="connsiteY0" fmla="*/ 53601 h 53601"/>
              <a:gd name="connsiteX1" fmla="*/ 0 w 50105"/>
              <a:gd name="connsiteY1" fmla="*/ 53601 h 53601"/>
              <a:gd name="connsiteX2" fmla="*/ 26801 w 50105"/>
              <a:gd name="connsiteY2" fmla="*/ 26801 h 53601"/>
              <a:gd name="connsiteX3" fmla="*/ 0 w 50105"/>
              <a:gd name="connsiteY3" fmla="*/ 0 h 53601"/>
              <a:gd name="connsiteX4" fmla="*/ 23305 w 50105"/>
              <a:gd name="connsiteY4" fmla="*/ 0 h 53601"/>
              <a:gd name="connsiteX5" fmla="*/ 50106 w 50105"/>
              <a:gd name="connsiteY5" fmla="*/ 25635 h 53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3601">
                <a:moveTo>
                  <a:pt x="22140" y="53601"/>
                </a:moveTo>
                <a:lnTo>
                  <a:pt x="0" y="53601"/>
                </a:lnTo>
                <a:lnTo>
                  <a:pt x="26801" y="26801"/>
                </a:lnTo>
                <a:lnTo>
                  <a:pt x="0" y="0"/>
                </a:lnTo>
                <a:lnTo>
                  <a:pt x="23305" y="0"/>
                </a:lnTo>
                <a:lnTo>
                  <a:pt x="50106" y="25635"/>
                </a:lnTo>
                <a:close/>
              </a:path>
            </a:pathLst>
          </a:custGeom>
          <a:solidFill>
            <a:srgbClr val="EEF2F5"/>
          </a:solidFill>
          <a:ln w="11643" cap="flat">
            <a:noFill/>
            <a:prstDash val="solid"/>
            <a:miter/>
          </a:ln>
        </p:spPr>
        <p:txBody>
          <a:bodyPr rtlCol="0" anchor="ctr"/>
          <a:lstStyle/>
          <a:p>
            <a:endParaRPr lang="de-DE"/>
          </a:p>
        </p:txBody>
      </p:sp>
      <p:sp>
        <p:nvSpPr>
          <p:cNvPr id="40" name="Freihandform: Form 39">
            <a:extLst>
              <a:ext uri="{FF2B5EF4-FFF2-40B4-BE49-F238E27FC236}">
                <a16:creationId xmlns:a16="http://schemas.microsoft.com/office/drawing/2014/main" id="{740F153C-C05E-494B-8276-37D3E8653A98}"/>
              </a:ext>
            </a:extLst>
          </p:cNvPr>
          <p:cNvSpPr/>
          <p:nvPr/>
        </p:nvSpPr>
        <p:spPr>
          <a:xfrm>
            <a:off x="5602523" y="2792448"/>
            <a:ext cx="50105" cy="54766"/>
          </a:xfrm>
          <a:custGeom>
            <a:avLst/>
            <a:gdLst>
              <a:gd name="connsiteX0" fmla="*/ 22140 w 50105"/>
              <a:gd name="connsiteY0" fmla="*/ 54767 h 54766"/>
              <a:gd name="connsiteX1" fmla="*/ 0 w 50105"/>
              <a:gd name="connsiteY1" fmla="*/ 54767 h 54766"/>
              <a:gd name="connsiteX2" fmla="*/ 26801 w 50105"/>
              <a:gd name="connsiteY2" fmla="*/ 27966 h 54766"/>
              <a:gd name="connsiteX3" fmla="*/ 0 w 50105"/>
              <a:gd name="connsiteY3" fmla="*/ 0 h 54766"/>
              <a:gd name="connsiteX4" fmla="*/ 23305 w 50105"/>
              <a:gd name="connsiteY4" fmla="*/ 0 h 54766"/>
              <a:gd name="connsiteX5" fmla="*/ 50106 w 50105"/>
              <a:gd name="connsiteY5" fmla="*/ 26801 h 5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4765">
                <a:moveTo>
                  <a:pt x="22140" y="54767"/>
                </a:moveTo>
                <a:lnTo>
                  <a:pt x="0" y="54767"/>
                </a:lnTo>
                <a:lnTo>
                  <a:pt x="26801" y="27966"/>
                </a:lnTo>
                <a:lnTo>
                  <a:pt x="0" y="0"/>
                </a:lnTo>
                <a:lnTo>
                  <a:pt x="23305" y="0"/>
                </a:lnTo>
                <a:lnTo>
                  <a:pt x="50106" y="26801"/>
                </a:lnTo>
                <a:close/>
              </a:path>
            </a:pathLst>
          </a:custGeom>
          <a:solidFill>
            <a:srgbClr val="EEF2F5"/>
          </a:solidFill>
          <a:ln w="11643" cap="flat">
            <a:noFill/>
            <a:prstDash val="solid"/>
            <a:miter/>
          </a:ln>
        </p:spPr>
        <p:txBody>
          <a:bodyPr rtlCol="0" anchor="ctr"/>
          <a:lstStyle/>
          <a:p>
            <a:endParaRPr lang="de-DE"/>
          </a:p>
        </p:txBody>
      </p:sp>
      <p:sp>
        <p:nvSpPr>
          <p:cNvPr id="56" name="Freihandform: Form 55">
            <a:extLst>
              <a:ext uri="{FF2B5EF4-FFF2-40B4-BE49-F238E27FC236}">
                <a16:creationId xmlns:a16="http://schemas.microsoft.com/office/drawing/2014/main" id="{6DC9BB73-A50E-4E7E-85F9-1EC71DEC332C}"/>
              </a:ext>
            </a:extLst>
          </p:cNvPr>
          <p:cNvSpPr/>
          <p:nvPr/>
        </p:nvSpPr>
        <p:spPr>
          <a:xfrm>
            <a:off x="5602523" y="3147849"/>
            <a:ext cx="50105" cy="53601"/>
          </a:xfrm>
          <a:custGeom>
            <a:avLst/>
            <a:gdLst>
              <a:gd name="connsiteX0" fmla="*/ 22140 w 50105"/>
              <a:gd name="connsiteY0" fmla="*/ 53601 h 53601"/>
              <a:gd name="connsiteX1" fmla="*/ 0 w 50105"/>
              <a:gd name="connsiteY1" fmla="*/ 53601 h 53601"/>
              <a:gd name="connsiteX2" fmla="*/ 26801 w 50105"/>
              <a:gd name="connsiteY2" fmla="*/ 26801 h 53601"/>
              <a:gd name="connsiteX3" fmla="*/ 0 w 50105"/>
              <a:gd name="connsiteY3" fmla="*/ 0 h 53601"/>
              <a:gd name="connsiteX4" fmla="*/ 23305 w 50105"/>
              <a:gd name="connsiteY4" fmla="*/ 0 h 53601"/>
              <a:gd name="connsiteX5" fmla="*/ 50106 w 50105"/>
              <a:gd name="connsiteY5" fmla="*/ 26801 h 53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3601">
                <a:moveTo>
                  <a:pt x="22140" y="53601"/>
                </a:moveTo>
                <a:lnTo>
                  <a:pt x="0" y="53601"/>
                </a:lnTo>
                <a:lnTo>
                  <a:pt x="26801" y="26801"/>
                </a:lnTo>
                <a:lnTo>
                  <a:pt x="0" y="0"/>
                </a:lnTo>
                <a:lnTo>
                  <a:pt x="23305" y="0"/>
                </a:lnTo>
                <a:lnTo>
                  <a:pt x="50106" y="26801"/>
                </a:lnTo>
                <a:close/>
              </a:path>
            </a:pathLst>
          </a:custGeom>
          <a:solidFill>
            <a:srgbClr val="EEF2F5"/>
          </a:solidFill>
          <a:ln w="11643" cap="flat">
            <a:noFill/>
            <a:prstDash val="solid"/>
            <a:miter/>
          </a:ln>
        </p:spPr>
        <p:txBody>
          <a:bodyPr rtlCol="0" anchor="ctr"/>
          <a:lstStyle/>
          <a:p>
            <a:endParaRPr lang="de-DE"/>
          </a:p>
        </p:txBody>
      </p:sp>
      <p:sp>
        <p:nvSpPr>
          <p:cNvPr id="72" name="Freihandform: Form 71">
            <a:extLst>
              <a:ext uri="{FF2B5EF4-FFF2-40B4-BE49-F238E27FC236}">
                <a16:creationId xmlns:a16="http://schemas.microsoft.com/office/drawing/2014/main" id="{15AE0A81-8164-4015-8158-36F576D4E31D}"/>
              </a:ext>
            </a:extLst>
          </p:cNvPr>
          <p:cNvSpPr/>
          <p:nvPr/>
        </p:nvSpPr>
        <p:spPr>
          <a:xfrm>
            <a:off x="5602523" y="3502084"/>
            <a:ext cx="50105" cy="54766"/>
          </a:xfrm>
          <a:custGeom>
            <a:avLst/>
            <a:gdLst>
              <a:gd name="connsiteX0" fmla="*/ 22140 w 50105"/>
              <a:gd name="connsiteY0" fmla="*/ 54767 h 54766"/>
              <a:gd name="connsiteX1" fmla="*/ 0 w 50105"/>
              <a:gd name="connsiteY1" fmla="*/ 54767 h 54766"/>
              <a:gd name="connsiteX2" fmla="*/ 26801 w 50105"/>
              <a:gd name="connsiteY2" fmla="*/ 27966 h 54766"/>
              <a:gd name="connsiteX3" fmla="*/ 0 w 50105"/>
              <a:gd name="connsiteY3" fmla="*/ 0 h 54766"/>
              <a:gd name="connsiteX4" fmla="*/ 23305 w 50105"/>
              <a:gd name="connsiteY4" fmla="*/ 0 h 54766"/>
              <a:gd name="connsiteX5" fmla="*/ 50106 w 50105"/>
              <a:gd name="connsiteY5" fmla="*/ 26801 h 5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4765">
                <a:moveTo>
                  <a:pt x="22140" y="54767"/>
                </a:moveTo>
                <a:lnTo>
                  <a:pt x="0" y="54767"/>
                </a:lnTo>
                <a:lnTo>
                  <a:pt x="26801" y="27966"/>
                </a:lnTo>
                <a:lnTo>
                  <a:pt x="0" y="0"/>
                </a:lnTo>
                <a:lnTo>
                  <a:pt x="23305" y="0"/>
                </a:lnTo>
                <a:lnTo>
                  <a:pt x="50106" y="26801"/>
                </a:lnTo>
                <a:close/>
              </a:path>
            </a:pathLst>
          </a:custGeom>
          <a:solidFill>
            <a:srgbClr val="EEF2F5"/>
          </a:solidFill>
          <a:ln w="11643" cap="flat">
            <a:noFill/>
            <a:prstDash val="solid"/>
            <a:miter/>
          </a:ln>
        </p:spPr>
        <p:txBody>
          <a:bodyPr rtlCol="0" anchor="ctr"/>
          <a:lstStyle/>
          <a:p>
            <a:endParaRPr lang="de-DE"/>
          </a:p>
        </p:txBody>
      </p:sp>
      <p:sp>
        <p:nvSpPr>
          <p:cNvPr id="171" name="Freihandform: Form 170">
            <a:extLst>
              <a:ext uri="{FF2B5EF4-FFF2-40B4-BE49-F238E27FC236}">
                <a16:creationId xmlns:a16="http://schemas.microsoft.com/office/drawing/2014/main" id="{F7E7E68A-1C17-4FA5-88E2-BA53C7F9EC18}"/>
              </a:ext>
            </a:extLst>
          </p:cNvPr>
          <p:cNvSpPr/>
          <p:nvPr/>
        </p:nvSpPr>
        <p:spPr>
          <a:xfrm>
            <a:off x="5602523" y="5630993"/>
            <a:ext cx="50105" cy="54766"/>
          </a:xfrm>
          <a:custGeom>
            <a:avLst/>
            <a:gdLst>
              <a:gd name="connsiteX0" fmla="*/ 22140 w 50105"/>
              <a:gd name="connsiteY0" fmla="*/ 54766 h 54766"/>
              <a:gd name="connsiteX1" fmla="*/ 0 w 50105"/>
              <a:gd name="connsiteY1" fmla="*/ 54766 h 54766"/>
              <a:gd name="connsiteX2" fmla="*/ 26801 w 50105"/>
              <a:gd name="connsiteY2" fmla="*/ 27966 h 54766"/>
              <a:gd name="connsiteX3" fmla="*/ 0 w 50105"/>
              <a:gd name="connsiteY3" fmla="*/ 0 h 54766"/>
              <a:gd name="connsiteX4" fmla="*/ 23305 w 50105"/>
              <a:gd name="connsiteY4" fmla="*/ 0 h 54766"/>
              <a:gd name="connsiteX5" fmla="*/ 50106 w 50105"/>
              <a:gd name="connsiteY5" fmla="*/ 26801 h 5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4765">
                <a:moveTo>
                  <a:pt x="22140" y="54766"/>
                </a:moveTo>
                <a:lnTo>
                  <a:pt x="0" y="54766"/>
                </a:lnTo>
                <a:lnTo>
                  <a:pt x="26801" y="27966"/>
                </a:lnTo>
                <a:lnTo>
                  <a:pt x="0" y="0"/>
                </a:lnTo>
                <a:lnTo>
                  <a:pt x="23305" y="0"/>
                </a:lnTo>
                <a:lnTo>
                  <a:pt x="50106" y="26801"/>
                </a:lnTo>
                <a:close/>
              </a:path>
            </a:pathLst>
          </a:custGeom>
          <a:solidFill>
            <a:srgbClr val="EEF2F5"/>
          </a:solidFill>
          <a:ln w="11643" cap="flat">
            <a:noFill/>
            <a:prstDash val="solid"/>
            <a:miter/>
          </a:ln>
        </p:spPr>
        <p:txBody>
          <a:bodyPr rtlCol="0" anchor="ctr"/>
          <a:lstStyle/>
          <a:p>
            <a:endParaRPr lang="de-DE"/>
          </a:p>
        </p:txBody>
      </p:sp>
      <p:sp>
        <p:nvSpPr>
          <p:cNvPr id="188" name="Freihandform: Form 187">
            <a:extLst>
              <a:ext uri="{FF2B5EF4-FFF2-40B4-BE49-F238E27FC236}">
                <a16:creationId xmlns:a16="http://schemas.microsoft.com/office/drawing/2014/main" id="{D858DCE1-2FBD-4D17-8C06-66D6048D5493}"/>
              </a:ext>
            </a:extLst>
          </p:cNvPr>
          <p:cNvSpPr/>
          <p:nvPr/>
        </p:nvSpPr>
        <p:spPr>
          <a:xfrm>
            <a:off x="5602523" y="5986393"/>
            <a:ext cx="50105" cy="54766"/>
          </a:xfrm>
          <a:custGeom>
            <a:avLst/>
            <a:gdLst>
              <a:gd name="connsiteX0" fmla="*/ 22140 w 50105"/>
              <a:gd name="connsiteY0" fmla="*/ 54766 h 54766"/>
              <a:gd name="connsiteX1" fmla="*/ 0 w 50105"/>
              <a:gd name="connsiteY1" fmla="*/ 54766 h 54766"/>
              <a:gd name="connsiteX2" fmla="*/ 26801 w 50105"/>
              <a:gd name="connsiteY2" fmla="*/ 26801 h 54766"/>
              <a:gd name="connsiteX3" fmla="*/ 0 w 50105"/>
              <a:gd name="connsiteY3" fmla="*/ 0 h 54766"/>
              <a:gd name="connsiteX4" fmla="*/ 23305 w 50105"/>
              <a:gd name="connsiteY4" fmla="*/ 0 h 54766"/>
              <a:gd name="connsiteX5" fmla="*/ 50106 w 50105"/>
              <a:gd name="connsiteY5" fmla="*/ 26801 h 5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4765">
                <a:moveTo>
                  <a:pt x="22140" y="54766"/>
                </a:moveTo>
                <a:lnTo>
                  <a:pt x="0" y="54766"/>
                </a:lnTo>
                <a:lnTo>
                  <a:pt x="26801" y="26801"/>
                </a:lnTo>
                <a:lnTo>
                  <a:pt x="0" y="0"/>
                </a:lnTo>
                <a:lnTo>
                  <a:pt x="23305" y="0"/>
                </a:lnTo>
                <a:lnTo>
                  <a:pt x="50106" y="26801"/>
                </a:lnTo>
                <a:close/>
              </a:path>
            </a:pathLst>
          </a:custGeom>
          <a:solidFill>
            <a:srgbClr val="EEF2F5"/>
          </a:solidFill>
          <a:ln w="11643" cap="flat">
            <a:noFill/>
            <a:prstDash val="solid"/>
            <a:miter/>
          </a:ln>
        </p:spPr>
        <p:txBody>
          <a:bodyPr rtlCol="0" anchor="ctr"/>
          <a:lstStyle/>
          <a:p>
            <a:endParaRPr lang="de-DE"/>
          </a:p>
        </p:txBody>
      </p:sp>
      <p:sp>
        <p:nvSpPr>
          <p:cNvPr id="205" name="Freihandform: Form 204">
            <a:extLst>
              <a:ext uri="{FF2B5EF4-FFF2-40B4-BE49-F238E27FC236}">
                <a16:creationId xmlns:a16="http://schemas.microsoft.com/office/drawing/2014/main" id="{A776D8C8-F6BD-495D-AE14-B62B445F9D30}"/>
              </a:ext>
            </a:extLst>
          </p:cNvPr>
          <p:cNvSpPr/>
          <p:nvPr/>
        </p:nvSpPr>
        <p:spPr>
          <a:xfrm>
            <a:off x="5602523" y="6340628"/>
            <a:ext cx="50105" cy="54766"/>
          </a:xfrm>
          <a:custGeom>
            <a:avLst/>
            <a:gdLst>
              <a:gd name="connsiteX0" fmla="*/ 22140 w 50105"/>
              <a:gd name="connsiteY0" fmla="*/ 54766 h 54766"/>
              <a:gd name="connsiteX1" fmla="*/ 0 w 50105"/>
              <a:gd name="connsiteY1" fmla="*/ 54766 h 54766"/>
              <a:gd name="connsiteX2" fmla="*/ 26801 w 50105"/>
              <a:gd name="connsiteY2" fmla="*/ 27966 h 54766"/>
              <a:gd name="connsiteX3" fmla="*/ 0 w 50105"/>
              <a:gd name="connsiteY3" fmla="*/ 0 h 54766"/>
              <a:gd name="connsiteX4" fmla="*/ 23305 w 50105"/>
              <a:gd name="connsiteY4" fmla="*/ 0 h 54766"/>
              <a:gd name="connsiteX5" fmla="*/ 50106 w 50105"/>
              <a:gd name="connsiteY5" fmla="*/ 26801 h 5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4765">
                <a:moveTo>
                  <a:pt x="22140" y="54766"/>
                </a:moveTo>
                <a:lnTo>
                  <a:pt x="0" y="54766"/>
                </a:lnTo>
                <a:lnTo>
                  <a:pt x="26801" y="27966"/>
                </a:lnTo>
                <a:lnTo>
                  <a:pt x="0" y="0"/>
                </a:lnTo>
                <a:lnTo>
                  <a:pt x="23305" y="0"/>
                </a:lnTo>
                <a:lnTo>
                  <a:pt x="50106" y="26801"/>
                </a:lnTo>
                <a:close/>
              </a:path>
            </a:pathLst>
          </a:custGeom>
          <a:solidFill>
            <a:srgbClr val="EEF2F5"/>
          </a:solidFill>
          <a:ln w="11643" cap="flat">
            <a:noFill/>
            <a:prstDash val="solid"/>
            <a:miter/>
          </a:ln>
        </p:spPr>
        <p:txBody>
          <a:bodyPr rtlCol="0" anchor="ctr"/>
          <a:lstStyle/>
          <a:p>
            <a:endParaRPr lang="de-DE"/>
          </a:p>
        </p:txBody>
      </p:sp>
      <p:sp>
        <p:nvSpPr>
          <p:cNvPr id="221" name="Freihandform: Form 220">
            <a:extLst>
              <a:ext uri="{FF2B5EF4-FFF2-40B4-BE49-F238E27FC236}">
                <a16:creationId xmlns:a16="http://schemas.microsoft.com/office/drawing/2014/main" id="{335AC205-F15B-44A8-85C9-E62E3F81F25D}"/>
              </a:ext>
            </a:extLst>
          </p:cNvPr>
          <p:cNvSpPr/>
          <p:nvPr/>
        </p:nvSpPr>
        <p:spPr>
          <a:xfrm>
            <a:off x="5602523" y="6696029"/>
            <a:ext cx="50105" cy="54766"/>
          </a:xfrm>
          <a:custGeom>
            <a:avLst/>
            <a:gdLst>
              <a:gd name="connsiteX0" fmla="*/ 22140 w 50105"/>
              <a:gd name="connsiteY0" fmla="*/ 54766 h 54766"/>
              <a:gd name="connsiteX1" fmla="*/ 0 w 50105"/>
              <a:gd name="connsiteY1" fmla="*/ 54766 h 54766"/>
              <a:gd name="connsiteX2" fmla="*/ 26801 w 50105"/>
              <a:gd name="connsiteY2" fmla="*/ 27966 h 54766"/>
              <a:gd name="connsiteX3" fmla="*/ 0 w 50105"/>
              <a:gd name="connsiteY3" fmla="*/ 0 h 54766"/>
              <a:gd name="connsiteX4" fmla="*/ 23305 w 50105"/>
              <a:gd name="connsiteY4" fmla="*/ 0 h 54766"/>
              <a:gd name="connsiteX5" fmla="*/ 50106 w 50105"/>
              <a:gd name="connsiteY5" fmla="*/ 26801 h 5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4765">
                <a:moveTo>
                  <a:pt x="22140" y="54766"/>
                </a:moveTo>
                <a:lnTo>
                  <a:pt x="0" y="54766"/>
                </a:lnTo>
                <a:lnTo>
                  <a:pt x="26801" y="27966"/>
                </a:lnTo>
                <a:lnTo>
                  <a:pt x="0" y="0"/>
                </a:lnTo>
                <a:lnTo>
                  <a:pt x="23305" y="0"/>
                </a:lnTo>
                <a:lnTo>
                  <a:pt x="50106" y="26801"/>
                </a:lnTo>
                <a:close/>
              </a:path>
            </a:pathLst>
          </a:custGeom>
          <a:solidFill>
            <a:srgbClr val="EEF2F5"/>
          </a:solidFill>
          <a:ln w="11643" cap="flat">
            <a:noFill/>
            <a:prstDash val="solid"/>
            <a:miter/>
          </a:ln>
        </p:spPr>
        <p:txBody>
          <a:bodyPr rtlCol="0" anchor="ctr"/>
          <a:lstStyle/>
          <a:p>
            <a:endParaRPr lang="de-DE"/>
          </a:p>
        </p:txBody>
      </p:sp>
      <p:sp>
        <p:nvSpPr>
          <p:cNvPr id="8" name="Freihandform: Form 7">
            <a:extLst>
              <a:ext uri="{FF2B5EF4-FFF2-40B4-BE49-F238E27FC236}">
                <a16:creationId xmlns:a16="http://schemas.microsoft.com/office/drawing/2014/main" id="{D0D01710-DC2E-4828-86F6-D324528021A5}"/>
              </a:ext>
            </a:extLst>
          </p:cNvPr>
          <p:cNvSpPr/>
          <p:nvPr/>
        </p:nvSpPr>
        <p:spPr>
          <a:xfrm>
            <a:off x="5948602" y="2073490"/>
            <a:ext cx="66419" cy="72245"/>
          </a:xfrm>
          <a:custGeom>
            <a:avLst/>
            <a:gdLst>
              <a:gd name="connsiteX0" fmla="*/ 30297 w 66419"/>
              <a:gd name="connsiteY0" fmla="*/ 72245 h 72245"/>
              <a:gd name="connsiteX1" fmla="*/ 0 w 66419"/>
              <a:gd name="connsiteY1" fmla="*/ 72245 h 72245"/>
              <a:gd name="connsiteX2" fmla="*/ 36123 w 66419"/>
              <a:gd name="connsiteY2" fmla="*/ 37288 h 72245"/>
              <a:gd name="connsiteX3" fmla="*/ 0 w 66419"/>
              <a:gd name="connsiteY3" fmla="*/ 0 h 72245"/>
              <a:gd name="connsiteX4" fmla="*/ 31462 w 66419"/>
              <a:gd name="connsiteY4" fmla="*/ 0 h 72245"/>
              <a:gd name="connsiteX5" fmla="*/ 66419 w 66419"/>
              <a:gd name="connsiteY5" fmla="*/ 36123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5"/>
                </a:moveTo>
                <a:lnTo>
                  <a:pt x="0" y="72245"/>
                </a:lnTo>
                <a:lnTo>
                  <a:pt x="36123" y="37288"/>
                </a:lnTo>
                <a:lnTo>
                  <a:pt x="0" y="0"/>
                </a:lnTo>
                <a:lnTo>
                  <a:pt x="31462" y="0"/>
                </a:lnTo>
                <a:lnTo>
                  <a:pt x="66419" y="36123"/>
                </a:lnTo>
                <a:close/>
              </a:path>
            </a:pathLst>
          </a:custGeom>
          <a:solidFill>
            <a:srgbClr val="EEF2F5"/>
          </a:solidFill>
          <a:ln w="11643" cap="flat">
            <a:noFill/>
            <a:prstDash val="solid"/>
            <a:miter/>
          </a:ln>
        </p:spPr>
        <p:txBody>
          <a:bodyPr rtlCol="0" anchor="ctr"/>
          <a:lstStyle/>
          <a:p>
            <a:endParaRPr lang="de-DE"/>
          </a:p>
        </p:txBody>
      </p:sp>
      <p:sp>
        <p:nvSpPr>
          <p:cNvPr id="25" name="Freihandform: Form 24">
            <a:extLst>
              <a:ext uri="{FF2B5EF4-FFF2-40B4-BE49-F238E27FC236}">
                <a16:creationId xmlns:a16="http://schemas.microsoft.com/office/drawing/2014/main" id="{31123F88-1002-4B81-B9C6-413FE13BBA3A}"/>
              </a:ext>
            </a:extLst>
          </p:cNvPr>
          <p:cNvSpPr/>
          <p:nvPr/>
        </p:nvSpPr>
        <p:spPr>
          <a:xfrm>
            <a:off x="5948602" y="2428891"/>
            <a:ext cx="66419" cy="72245"/>
          </a:xfrm>
          <a:custGeom>
            <a:avLst/>
            <a:gdLst>
              <a:gd name="connsiteX0" fmla="*/ 30297 w 66419"/>
              <a:gd name="connsiteY0" fmla="*/ 72245 h 72245"/>
              <a:gd name="connsiteX1" fmla="*/ 0 w 66419"/>
              <a:gd name="connsiteY1" fmla="*/ 72245 h 72245"/>
              <a:gd name="connsiteX2" fmla="*/ 36123 w 66419"/>
              <a:gd name="connsiteY2" fmla="*/ 36123 h 72245"/>
              <a:gd name="connsiteX3" fmla="*/ 0 w 66419"/>
              <a:gd name="connsiteY3" fmla="*/ 0 h 72245"/>
              <a:gd name="connsiteX4" fmla="*/ 31462 w 66419"/>
              <a:gd name="connsiteY4" fmla="*/ 0 h 72245"/>
              <a:gd name="connsiteX5" fmla="*/ 66419 w 66419"/>
              <a:gd name="connsiteY5" fmla="*/ 34957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5"/>
                </a:moveTo>
                <a:lnTo>
                  <a:pt x="0" y="72245"/>
                </a:lnTo>
                <a:lnTo>
                  <a:pt x="36123" y="36123"/>
                </a:lnTo>
                <a:lnTo>
                  <a:pt x="0" y="0"/>
                </a:lnTo>
                <a:lnTo>
                  <a:pt x="31462" y="0"/>
                </a:lnTo>
                <a:lnTo>
                  <a:pt x="66419" y="34957"/>
                </a:lnTo>
                <a:close/>
              </a:path>
            </a:pathLst>
          </a:custGeom>
          <a:solidFill>
            <a:srgbClr val="EEF2F5"/>
          </a:solidFill>
          <a:ln w="11643" cap="flat">
            <a:noFill/>
            <a:prstDash val="solid"/>
            <a:miter/>
          </a:ln>
        </p:spPr>
        <p:txBody>
          <a:bodyPr rtlCol="0" anchor="ctr"/>
          <a:lstStyle/>
          <a:p>
            <a:endParaRPr lang="de-DE"/>
          </a:p>
        </p:txBody>
      </p:sp>
      <p:sp>
        <p:nvSpPr>
          <p:cNvPr id="41" name="Freihandform: Form 40">
            <a:extLst>
              <a:ext uri="{FF2B5EF4-FFF2-40B4-BE49-F238E27FC236}">
                <a16:creationId xmlns:a16="http://schemas.microsoft.com/office/drawing/2014/main" id="{BA5C8D95-A4B2-4EE7-814A-A5E3649F4137}"/>
              </a:ext>
            </a:extLst>
          </p:cNvPr>
          <p:cNvSpPr/>
          <p:nvPr/>
        </p:nvSpPr>
        <p:spPr>
          <a:xfrm>
            <a:off x="5948602" y="2783126"/>
            <a:ext cx="66419" cy="72245"/>
          </a:xfrm>
          <a:custGeom>
            <a:avLst/>
            <a:gdLst>
              <a:gd name="connsiteX0" fmla="*/ 30297 w 66419"/>
              <a:gd name="connsiteY0" fmla="*/ 72245 h 72245"/>
              <a:gd name="connsiteX1" fmla="*/ 0 w 66419"/>
              <a:gd name="connsiteY1" fmla="*/ 72245 h 72245"/>
              <a:gd name="connsiteX2" fmla="*/ 36123 w 66419"/>
              <a:gd name="connsiteY2" fmla="*/ 37288 h 72245"/>
              <a:gd name="connsiteX3" fmla="*/ 0 w 66419"/>
              <a:gd name="connsiteY3" fmla="*/ 0 h 72245"/>
              <a:gd name="connsiteX4" fmla="*/ 31462 w 66419"/>
              <a:gd name="connsiteY4" fmla="*/ 0 h 72245"/>
              <a:gd name="connsiteX5" fmla="*/ 66419 w 66419"/>
              <a:gd name="connsiteY5" fmla="*/ 36123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5"/>
                </a:moveTo>
                <a:lnTo>
                  <a:pt x="0" y="72245"/>
                </a:lnTo>
                <a:lnTo>
                  <a:pt x="36123" y="37288"/>
                </a:lnTo>
                <a:lnTo>
                  <a:pt x="0" y="0"/>
                </a:lnTo>
                <a:lnTo>
                  <a:pt x="31462" y="0"/>
                </a:lnTo>
                <a:lnTo>
                  <a:pt x="66419" y="36123"/>
                </a:lnTo>
                <a:close/>
              </a:path>
            </a:pathLst>
          </a:custGeom>
          <a:solidFill>
            <a:srgbClr val="EEF2F5"/>
          </a:solidFill>
          <a:ln w="11643" cap="flat">
            <a:noFill/>
            <a:prstDash val="solid"/>
            <a:miter/>
          </a:ln>
        </p:spPr>
        <p:txBody>
          <a:bodyPr rtlCol="0" anchor="ctr"/>
          <a:lstStyle/>
          <a:p>
            <a:endParaRPr lang="de-DE"/>
          </a:p>
        </p:txBody>
      </p:sp>
      <p:sp>
        <p:nvSpPr>
          <p:cNvPr id="57" name="Freihandform: Form 56">
            <a:extLst>
              <a:ext uri="{FF2B5EF4-FFF2-40B4-BE49-F238E27FC236}">
                <a16:creationId xmlns:a16="http://schemas.microsoft.com/office/drawing/2014/main" id="{636D7BF9-1E35-425E-994B-CE960B642C82}"/>
              </a:ext>
            </a:extLst>
          </p:cNvPr>
          <p:cNvSpPr/>
          <p:nvPr/>
        </p:nvSpPr>
        <p:spPr>
          <a:xfrm>
            <a:off x="5948602" y="3138527"/>
            <a:ext cx="66419" cy="72245"/>
          </a:xfrm>
          <a:custGeom>
            <a:avLst/>
            <a:gdLst>
              <a:gd name="connsiteX0" fmla="*/ 30297 w 66419"/>
              <a:gd name="connsiteY0" fmla="*/ 72245 h 72245"/>
              <a:gd name="connsiteX1" fmla="*/ 0 w 66419"/>
              <a:gd name="connsiteY1" fmla="*/ 72245 h 72245"/>
              <a:gd name="connsiteX2" fmla="*/ 36123 w 66419"/>
              <a:gd name="connsiteY2" fmla="*/ 36123 h 72245"/>
              <a:gd name="connsiteX3" fmla="*/ 0 w 66419"/>
              <a:gd name="connsiteY3" fmla="*/ 0 h 72245"/>
              <a:gd name="connsiteX4" fmla="*/ 31462 w 66419"/>
              <a:gd name="connsiteY4" fmla="*/ 0 h 72245"/>
              <a:gd name="connsiteX5" fmla="*/ 66419 w 66419"/>
              <a:gd name="connsiteY5" fmla="*/ 34957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5"/>
                </a:moveTo>
                <a:lnTo>
                  <a:pt x="0" y="72245"/>
                </a:lnTo>
                <a:lnTo>
                  <a:pt x="36123" y="36123"/>
                </a:lnTo>
                <a:lnTo>
                  <a:pt x="0" y="0"/>
                </a:lnTo>
                <a:lnTo>
                  <a:pt x="31462" y="0"/>
                </a:lnTo>
                <a:lnTo>
                  <a:pt x="66419" y="34957"/>
                </a:lnTo>
                <a:close/>
              </a:path>
            </a:pathLst>
          </a:custGeom>
          <a:solidFill>
            <a:srgbClr val="EEF2F5"/>
          </a:solidFill>
          <a:ln w="11643" cap="flat">
            <a:noFill/>
            <a:prstDash val="solid"/>
            <a:miter/>
          </a:ln>
        </p:spPr>
        <p:txBody>
          <a:bodyPr rtlCol="0" anchor="ctr"/>
          <a:lstStyle/>
          <a:p>
            <a:endParaRPr lang="de-DE"/>
          </a:p>
        </p:txBody>
      </p:sp>
      <p:sp>
        <p:nvSpPr>
          <p:cNvPr id="73" name="Freihandform: Form 72">
            <a:extLst>
              <a:ext uri="{FF2B5EF4-FFF2-40B4-BE49-F238E27FC236}">
                <a16:creationId xmlns:a16="http://schemas.microsoft.com/office/drawing/2014/main" id="{DFBDD53B-EB0E-4F44-B437-1C679A10EA5C}"/>
              </a:ext>
            </a:extLst>
          </p:cNvPr>
          <p:cNvSpPr/>
          <p:nvPr/>
        </p:nvSpPr>
        <p:spPr>
          <a:xfrm>
            <a:off x="5948602" y="3492762"/>
            <a:ext cx="66419" cy="73410"/>
          </a:xfrm>
          <a:custGeom>
            <a:avLst/>
            <a:gdLst>
              <a:gd name="connsiteX0" fmla="*/ 30297 w 66419"/>
              <a:gd name="connsiteY0" fmla="*/ 73411 h 73410"/>
              <a:gd name="connsiteX1" fmla="*/ 0 w 66419"/>
              <a:gd name="connsiteY1" fmla="*/ 73411 h 73410"/>
              <a:gd name="connsiteX2" fmla="*/ 36123 w 66419"/>
              <a:gd name="connsiteY2" fmla="*/ 37288 h 73410"/>
              <a:gd name="connsiteX3" fmla="*/ 0 w 66419"/>
              <a:gd name="connsiteY3" fmla="*/ 0 h 73410"/>
              <a:gd name="connsiteX4" fmla="*/ 31462 w 66419"/>
              <a:gd name="connsiteY4" fmla="*/ 0 h 73410"/>
              <a:gd name="connsiteX5" fmla="*/ 66419 w 66419"/>
              <a:gd name="connsiteY5" fmla="*/ 36123 h 73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3410">
                <a:moveTo>
                  <a:pt x="30297" y="73411"/>
                </a:moveTo>
                <a:lnTo>
                  <a:pt x="0" y="73411"/>
                </a:lnTo>
                <a:lnTo>
                  <a:pt x="36123" y="37288"/>
                </a:lnTo>
                <a:lnTo>
                  <a:pt x="0" y="0"/>
                </a:lnTo>
                <a:lnTo>
                  <a:pt x="31462" y="0"/>
                </a:lnTo>
                <a:lnTo>
                  <a:pt x="66419" y="36123"/>
                </a:lnTo>
                <a:close/>
              </a:path>
            </a:pathLst>
          </a:custGeom>
          <a:solidFill>
            <a:srgbClr val="EEF2F5"/>
          </a:solidFill>
          <a:ln w="11643" cap="flat">
            <a:noFill/>
            <a:prstDash val="solid"/>
            <a:miter/>
          </a:ln>
        </p:spPr>
        <p:txBody>
          <a:bodyPr rtlCol="0" anchor="ctr"/>
          <a:lstStyle/>
          <a:p>
            <a:endParaRPr lang="de-DE"/>
          </a:p>
        </p:txBody>
      </p:sp>
      <p:sp>
        <p:nvSpPr>
          <p:cNvPr id="89" name="Freihandform: Form 88">
            <a:extLst>
              <a:ext uri="{FF2B5EF4-FFF2-40B4-BE49-F238E27FC236}">
                <a16:creationId xmlns:a16="http://schemas.microsoft.com/office/drawing/2014/main" id="{3107BFD1-BB04-45D5-9901-72F67CE0736C}"/>
              </a:ext>
            </a:extLst>
          </p:cNvPr>
          <p:cNvSpPr/>
          <p:nvPr/>
        </p:nvSpPr>
        <p:spPr>
          <a:xfrm>
            <a:off x="5948602" y="3848163"/>
            <a:ext cx="66419" cy="72245"/>
          </a:xfrm>
          <a:custGeom>
            <a:avLst/>
            <a:gdLst>
              <a:gd name="connsiteX0" fmla="*/ 30297 w 66419"/>
              <a:gd name="connsiteY0" fmla="*/ 72245 h 72245"/>
              <a:gd name="connsiteX1" fmla="*/ 0 w 66419"/>
              <a:gd name="connsiteY1" fmla="*/ 72245 h 72245"/>
              <a:gd name="connsiteX2" fmla="*/ 36123 w 66419"/>
              <a:gd name="connsiteY2" fmla="*/ 36123 h 72245"/>
              <a:gd name="connsiteX3" fmla="*/ 0 w 66419"/>
              <a:gd name="connsiteY3" fmla="*/ 0 h 72245"/>
              <a:gd name="connsiteX4" fmla="*/ 31462 w 66419"/>
              <a:gd name="connsiteY4" fmla="*/ 0 h 72245"/>
              <a:gd name="connsiteX5" fmla="*/ 66419 w 66419"/>
              <a:gd name="connsiteY5" fmla="*/ 34957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5"/>
                </a:moveTo>
                <a:lnTo>
                  <a:pt x="0" y="72245"/>
                </a:lnTo>
                <a:lnTo>
                  <a:pt x="36123" y="36123"/>
                </a:lnTo>
                <a:lnTo>
                  <a:pt x="0" y="0"/>
                </a:lnTo>
                <a:lnTo>
                  <a:pt x="31462" y="0"/>
                </a:lnTo>
                <a:lnTo>
                  <a:pt x="66419" y="34957"/>
                </a:lnTo>
                <a:close/>
              </a:path>
            </a:pathLst>
          </a:custGeom>
          <a:solidFill>
            <a:srgbClr val="EEF2F5"/>
          </a:solidFill>
          <a:ln w="11643" cap="flat">
            <a:noFill/>
            <a:prstDash val="solid"/>
            <a:miter/>
          </a:ln>
        </p:spPr>
        <p:txBody>
          <a:bodyPr rtlCol="0" anchor="ctr"/>
          <a:lstStyle/>
          <a:p>
            <a:endParaRPr lang="de-DE"/>
          </a:p>
        </p:txBody>
      </p:sp>
      <p:sp>
        <p:nvSpPr>
          <p:cNvPr id="155" name="Freihandform: Form 154">
            <a:extLst>
              <a:ext uri="{FF2B5EF4-FFF2-40B4-BE49-F238E27FC236}">
                <a16:creationId xmlns:a16="http://schemas.microsoft.com/office/drawing/2014/main" id="{0476C6FA-89C7-4150-9910-3BE37EF8061B}"/>
              </a:ext>
            </a:extLst>
          </p:cNvPr>
          <p:cNvSpPr/>
          <p:nvPr/>
        </p:nvSpPr>
        <p:spPr>
          <a:xfrm>
            <a:off x="5948602" y="5267435"/>
            <a:ext cx="66419" cy="72245"/>
          </a:xfrm>
          <a:custGeom>
            <a:avLst/>
            <a:gdLst>
              <a:gd name="connsiteX0" fmla="*/ 30297 w 66419"/>
              <a:gd name="connsiteY0" fmla="*/ 72246 h 72245"/>
              <a:gd name="connsiteX1" fmla="*/ 0 w 66419"/>
              <a:gd name="connsiteY1" fmla="*/ 72246 h 72245"/>
              <a:gd name="connsiteX2" fmla="*/ 36123 w 66419"/>
              <a:gd name="connsiteY2" fmla="*/ 36123 h 72245"/>
              <a:gd name="connsiteX3" fmla="*/ 0 w 66419"/>
              <a:gd name="connsiteY3" fmla="*/ 0 h 72245"/>
              <a:gd name="connsiteX4" fmla="*/ 31462 w 66419"/>
              <a:gd name="connsiteY4" fmla="*/ 0 h 72245"/>
              <a:gd name="connsiteX5" fmla="*/ 66419 w 66419"/>
              <a:gd name="connsiteY5" fmla="*/ 36123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6"/>
                </a:moveTo>
                <a:lnTo>
                  <a:pt x="0" y="72246"/>
                </a:lnTo>
                <a:lnTo>
                  <a:pt x="36123" y="36123"/>
                </a:lnTo>
                <a:lnTo>
                  <a:pt x="0" y="0"/>
                </a:lnTo>
                <a:lnTo>
                  <a:pt x="31462" y="0"/>
                </a:lnTo>
                <a:lnTo>
                  <a:pt x="66419" y="36123"/>
                </a:lnTo>
                <a:close/>
              </a:path>
            </a:pathLst>
          </a:custGeom>
          <a:solidFill>
            <a:srgbClr val="EEF2F5"/>
          </a:solidFill>
          <a:ln w="11643" cap="flat">
            <a:noFill/>
            <a:prstDash val="solid"/>
            <a:miter/>
          </a:ln>
        </p:spPr>
        <p:txBody>
          <a:bodyPr rtlCol="0" anchor="ctr"/>
          <a:lstStyle/>
          <a:p>
            <a:endParaRPr lang="de-DE"/>
          </a:p>
        </p:txBody>
      </p:sp>
      <p:sp>
        <p:nvSpPr>
          <p:cNvPr id="172" name="Freihandform: Form 171">
            <a:extLst>
              <a:ext uri="{FF2B5EF4-FFF2-40B4-BE49-F238E27FC236}">
                <a16:creationId xmlns:a16="http://schemas.microsoft.com/office/drawing/2014/main" id="{B7EA1921-A21C-4EEA-AF29-44E0ABBF486B}"/>
              </a:ext>
            </a:extLst>
          </p:cNvPr>
          <p:cNvSpPr/>
          <p:nvPr/>
        </p:nvSpPr>
        <p:spPr>
          <a:xfrm>
            <a:off x="5948602" y="5622836"/>
            <a:ext cx="66419" cy="72245"/>
          </a:xfrm>
          <a:custGeom>
            <a:avLst/>
            <a:gdLst>
              <a:gd name="connsiteX0" fmla="*/ 30297 w 66419"/>
              <a:gd name="connsiteY0" fmla="*/ 72246 h 72245"/>
              <a:gd name="connsiteX1" fmla="*/ 0 w 66419"/>
              <a:gd name="connsiteY1" fmla="*/ 72246 h 72245"/>
              <a:gd name="connsiteX2" fmla="*/ 36123 w 66419"/>
              <a:gd name="connsiteY2" fmla="*/ 36123 h 72245"/>
              <a:gd name="connsiteX3" fmla="*/ 0 w 66419"/>
              <a:gd name="connsiteY3" fmla="*/ 0 h 72245"/>
              <a:gd name="connsiteX4" fmla="*/ 31462 w 66419"/>
              <a:gd name="connsiteY4" fmla="*/ 0 h 72245"/>
              <a:gd name="connsiteX5" fmla="*/ 66419 w 66419"/>
              <a:gd name="connsiteY5" fmla="*/ 34957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6"/>
                </a:moveTo>
                <a:lnTo>
                  <a:pt x="0" y="72246"/>
                </a:lnTo>
                <a:lnTo>
                  <a:pt x="36123" y="36123"/>
                </a:lnTo>
                <a:lnTo>
                  <a:pt x="0" y="0"/>
                </a:lnTo>
                <a:lnTo>
                  <a:pt x="31462" y="0"/>
                </a:lnTo>
                <a:lnTo>
                  <a:pt x="66419" y="34957"/>
                </a:lnTo>
                <a:close/>
              </a:path>
            </a:pathLst>
          </a:custGeom>
          <a:solidFill>
            <a:srgbClr val="EEF2F5"/>
          </a:solidFill>
          <a:ln w="11643" cap="flat">
            <a:noFill/>
            <a:prstDash val="solid"/>
            <a:miter/>
          </a:ln>
        </p:spPr>
        <p:txBody>
          <a:bodyPr rtlCol="0" anchor="ctr"/>
          <a:lstStyle/>
          <a:p>
            <a:endParaRPr lang="de-DE"/>
          </a:p>
        </p:txBody>
      </p:sp>
      <p:sp>
        <p:nvSpPr>
          <p:cNvPr id="189" name="Freihandform: Form 188">
            <a:extLst>
              <a:ext uri="{FF2B5EF4-FFF2-40B4-BE49-F238E27FC236}">
                <a16:creationId xmlns:a16="http://schemas.microsoft.com/office/drawing/2014/main" id="{4B73D56C-9773-4937-82D9-0C129B27FB09}"/>
              </a:ext>
            </a:extLst>
          </p:cNvPr>
          <p:cNvSpPr/>
          <p:nvPr/>
        </p:nvSpPr>
        <p:spPr>
          <a:xfrm>
            <a:off x="5948602" y="5977071"/>
            <a:ext cx="66419" cy="72245"/>
          </a:xfrm>
          <a:custGeom>
            <a:avLst/>
            <a:gdLst>
              <a:gd name="connsiteX0" fmla="*/ 30297 w 66419"/>
              <a:gd name="connsiteY0" fmla="*/ 72246 h 72245"/>
              <a:gd name="connsiteX1" fmla="*/ 0 w 66419"/>
              <a:gd name="connsiteY1" fmla="*/ 72246 h 72245"/>
              <a:gd name="connsiteX2" fmla="*/ 36123 w 66419"/>
              <a:gd name="connsiteY2" fmla="*/ 36123 h 72245"/>
              <a:gd name="connsiteX3" fmla="*/ 0 w 66419"/>
              <a:gd name="connsiteY3" fmla="*/ 0 h 72245"/>
              <a:gd name="connsiteX4" fmla="*/ 31462 w 66419"/>
              <a:gd name="connsiteY4" fmla="*/ 0 h 72245"/>
              <a:gd name="connsiteX5" fmla="*/ 66419 w 66419"/>
              <a:gd name="connsiteY5" fmla="*/ 36123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6"/>
                </a:moveTo>
                <a:lnTo>
                  <a:pt x="0" y="72246"/>
                </a:lnTo>
                <a:lnTo>
                  <a:pt x="36123" y="36123"/>
                </a:lnTo>
                <a:lnTo>
                  <a:pt x="0" y="0"/>
                </a:lnTo>
                <a:lnTo>
                  <a:pt x="31462" y="0"/>
                </a:lnTo>
                <a:lnTo>
                  <a:pt x="66419" y="36123"/>
                </a:lnTo>
                <a:close/>
              </a:path>
            </a:pathLst>
          </a:custGeom>
          <a:solidFill>
            <a:srgbClr val="EEF2F5"/>
          </a:solidFill>
          <a:ln w="11643" cap="flat">
            <a:noFill/>
            <a:prstDash val="solid"/>
            <a:miter/>
          </a:ln>
        </p:spPr>
        <p:txBody>
          <a:bodyPr rtlCol="0" anchor="ctr"/>
          <a:lstStyle/>
          <a:p>
            <a:endParaRPr lang="de-DE"/>
          </a:p>
        </p:txBody>
      </p:sp>
      <p:sp>
        <p:nvSpPr>
          <p:cNvPr id="206" name="Freihandform: Form 205">
            <a:extLst>
              <a:ext uri="{FF2B5EF4-FFF2-40B4-BE49-F238E27FC236}">
                <a16:creationId xmlns:a16="http://schemas.microsoft.com/office/drawing/2014/main" id="{A2EEDBB3-F918-4A6E-A412-B8C8B911DDD3}"/>
              </a:ext>
            </a:extLst>
          </p:cNvPr>
          <p:cNvSpPr/>
          <p:nvPr/>
        </p:nvSpPr>
        <p:spPr>
          <a:xfrm>
            <a:off x="5948602" y="6332472"/>
            <a:ext cx="66419" cy="72245"/>
          </a:xfrm>
          <a:custGeom>
            <a:avLst/>
            <a:gdLst>
              <a:gd name="connsiteX0" fmla="*/ 30297 w 66419"/>
              <a:gd name="connsiteY0" fmla="*/ 72246 h 72245"/>
              <a:gd name="connsiteX1" fmla="*/ 0 w 66419"/>
              <a:gd name="connsiteY1" fmla="*/ 72246 h 72245"/>
              <a:gd name="connsiteX2" fmla="*/ 36123 w 66419"/>
              <a:gd name="connsiteY2" fmla="*/ 36123 h 72245"/>
              <a:gd name="connsiteX3" fmla="*/ 0 w 66419"/>
              <a:gd name="connsiteY3" fmla="*/ 0 h 72245"/>
              <a:gd name="connsiteX4" fmla="*/ 31462 w 66419"/>
              <a:gd name="connsiteY4" fmla="*/ 0 h 72245"/>
              <a:gd name="connsiteX5" fmla="*/ 66419 w 66419"/>
              <a:gd name="connsiteY5" fmla="*/ 34957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6"/>
                </a:moveTo>
                <a:lnTo>
                  <a:pt x="0" y="72246"/>
                </a:lnTo>
                <a:lnTo>
                  <a:pt x="36123" y="36123"/>
                </a:lnTo>
                <a:lnTo>
                  <a:pt x="0" y="0"/>
                </a:lnTo>
                <a:lnTo>
                  <a:pt x="31462" y="0"/>
                </a:lnTo>
                <a:lnTo>
                  <a:pt x="66419" y="34957"/>
                </a:lnTo>
                <a:close/>
              </a:path>
            </a:pathLst>
          </a:custGeom>
          <a:solidFill>
            <a:srgbClr val="EEF2F5"/>
          </a:solidFill>
          <a:ln w="11643" cap="flat">
            <a:noFill/>
            <a:prstDash val="solid"/>
            <a:miter/>
          </a:ln>
        </p:spPr>
        <p:txBody>
          <a:bodyPr rtlCol="0" anchor="ctr"/>
          <a:lstStyle/>
          <a:p>
            <a:endParaRPr lang="de-DE"/>
          </a:p>
        </p:txBody>
      </p:sp>
      <p:sp>
        <p:nvSpPr>
          <p:cNvPr id="222" name="Freihandform: Form 221">
            <a:extLst>
              <a:ext uri="{FF2B5EF4-FFF2-40B4-BE49-F238E27FC236}">
                <a16:creationId xmlns:a16="http://schemas.microsoft.com/office/drawing/2014/main" id="{E783B07A-D7A5-49D0-8D6F-D0064E121D70}"/>
              </a:ext>
            </a:extLst>
          </p:cNvPr>
          <p:cNvSpPr/>
          <p:nvPr/>
        </p:nvSpPr>
        <p:spPr>
          <a:xfrm>
            <a:off x="5948602" y="6686707"/>
            <a:ext cx="66419" cy="72245"/>
          </a:xfrm>
          <a:custGeom>
            <a:avLst/>
            <a:gdLst>
              <a:gd name="connsiteX0" fmla="*/ 30297 w 66419"/>
              <a:gd name="connsiteY0" fmla="*/ 72246 h 72245"/>
              <a:gd name="connsiteX1" fmla="*/ 0 w 66419"/>
              <a:gd name="connsiteY1" fmla="*/ 72246 h 72245"/>
              <a:gd name="connsiteX2" fmla="*/ 36123 w 66419"/>
              <a:gd name="connsiteY2" fmla="*/ 37288 h 72245"/>
              <a:gd name="connsiteX3" fmla="*/ 0 w 66419"/>
              <a:gd name="connsiteY3" fmla="*/ 0 h 72245"/>
              <a:gd name="connsiteX4" fmla="*/ 31462 w 66419"/>
              <a:gd name="connsiteY4" fmla="*/ 0 h 72245"/>
              <a:gd name="connsiteX5" fmla="*/ 66419 w 66419"/>
              <a:gd name="connsiteY5" fmla="*/ 36123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6"/>
                </a:moveTo>
                <a:lnTo>
                  <a:pt x="0" y="72246"/>
                </a:lnTo>
                <a:lnTo>
                  <a:pt x="36123" y="37288"/>
                </a:lnTo>
                <a:lnTo>
                  <a:pt x="0" y="0"/>
                </a:lnTo>
                <a:lnTo>
                  <a:pt x="31462" y="0"/>
                </a:lnTo>
                <a:lnTo>
                  <a:pt x="66419" y="36123"/>
                </a:lnTo>
                <a:close/>
              </a:path>
            </a:pathLst>
          </a:custGeom>
          <a:solidFill>
            <a:srgbClr val="EEF2F5"/>
          </a:solidFill>
          <a:ln w="11643" cap="flat">
            <a:noFill/>
            <a:prstDash val="solid"/>
            <a:miter/>
          </a:ln>
        </p:spPr>
        <p:txBody>
          <a:bodyPr rtlCol="0" anchor="ctr"/>
          <a:lstStyle/>
          <a:p>
            <a:endParaRPr lang="de-DE"/>
          </a:p>
        </p:txBody>
      </p:sp>
      <p:sp>
        <p:nvSpPr>
          <p:cNvPr id="11" name="Freihandform: Form 10">
            <a:extLst>
              <a:ext uri="{FF2B5EF4-FFF2-40B4-BE49-F238E27FC236}">
                <a16:creationId xmlns:a16="http://schemas.microsoft.com/office/drawing/2014/main" id="{75FBD411-81D5-40D9-85F5-17F8ADC51855}"/>
              </a:ext>
            </a:extLst>
          </p:cNvPr>
          <p:cNvSpPr/>
          <p:nvPr/>
        </p:nvSpPr>
        <p:spPr>
          <a:xfrm>
            <a:off x="6294680" y="2064168"/>
            <a:ext cx="83897" cy="90889"/>
          </a:xfrm>
          <a:custGeom>
            <a:avLst/>
            <a:gdLst>
              <a:gd name="connsiteX0" fmla="*/ 38453 w 83897"/>
              <a:gd name="connsiteY0" fmla="*/ 90889 h 90889"/>
              <a:gd name="connsiteX1" fmla="*/ 0 w 83897"/>
              <a:gd name="connsiteY1" fmla="*/ 90889 h 90889"/>
              <a:gd name="connsiteX2" fmla="*/ 45445 w 83897"/>
              <a:gd name="connsiteY2" fmla="*/ 46610 h 90889"/>
              <a:gd name="connsiteX3" fmla="*/ 0 w 83897"/>
              <a:gd name="connsiteY3" fmla="*/ 0 h 90889"/>
              <a:gd name="connsiteX4" fmla="*/ 39618 w 83897"/>
              <a:gd name="connsiteY4" fmla="*/ 0 h 90889"/>
              <a:gd name="connsiteX5" fmla="*/ 83898 w 83897"/>
              <a:gd name="connsiteY5" fmla="*/ 45445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6610"/>
                </a:lnTo>
                <a:lnTo>
                  <a:pt x="0" y="0"/>
                </a:lnTo>
                <a:lnTo>
                  <a:pt x="39618" y="0"/>
                </a:lnTo>
                <a:lnTo>
                  <a:pt x="83898" y="45445"/>
                </a:lnTo>
                <a:close/>
              </a:path>
            </a:pathLst>
          </a:custGeom>
          <a:solidFill>
            <a:srgbClr val="EEF2F5"/>
          </a:solidFill>
          <a:ln w="11643" cap="flat">
            <a:noFill/>
            <a:prstDash val="solid"/>
            <a:miter/>
          </a:ln>
        </p:spPr>
        <p:txBody>
          <a:bodyPr rtlCol="0" anchor="ctr"/>
          <a:lstStyle/>
          <a:p>
            <a:endParaRPr lang="de-DE"/>
          </a:p>
        </p:txBody>
      </p:sp>
      <p:sp>
        <p:nvSpPr>
          <p:cNvPr id="26" name="Freihandform: Form 25">
            <a:extLst>
              <a:ext uri="{FF2B5EF4-FFF2-40B4-BE49-F238E27FC236}">
                <a16:creationId xmlns:a16="http://schemas.microsoft.com/office/drawing/2014/main" id="{1BE891D4-79E8-4F6F-87F1-0D4367D86BBB}"/>
              </a:ext>
            </a:extLst>
          </p:cNvPr>
          <p:cNvSpPr/>
          <p:nvPr/>
        </p:nvSpPr>
        <p:spPr>
          <a:xfrm>
            <a:off x="6294680" y="2419569"/>
            <a:ext cx="83897" cy="90889"/>
          </a:xfrm>
          <a:custGeom>
            <a:avLst/>
            <a:gdLst>
              <a:gd name="connsiteX0" fmla="*/ 38453 w 83897"/>
              <a:gd name="connsiteY0" fmla="*/ 90889 h 90889"/>
              <a:gd name="connsiteX1" fmla="*/ 0 w 83897"/>
              <a:gd name="connsiteY1" fmla="*/ 90889 h 90889"/>
              <a:gd name="connsiteX2" fmla="*/ 45445 w 83897"/>
              <a:gd name="connsiteY2" fmla="*/ 45445 h 90889"/>
              <a:gd name="connsiteX3" fmla="*/ 0 w 83897"/>
              <a:gd name="connsiteY3" fmla="*/ 0 h 90889"/>
              <a:gd name="connsiteX4" fmla="*/ 39618 w 83897"/>
              <a:gd name="connsiteY4" fmla="*/ 0 h 90889"/>
              <a:gd name="connsiteX5" fmla="*/ 83898 w 83897"/>
              <a:gd name="connsiteY5" fmla="*/ 44279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endParaRPr lang="de-DE"/>
          </a:p>
        </p:txBody>
      </p:sp>
      <p:sp>
        <p:nvSpPr>
          <p:cNvPr id="42" name="Freihandform: Form 41">
            <a:extLst>
              <a:ext uri="{FF2B5EF4-FFF2-40B4-BE49-F238E27FC236}">
                <a16:creationId xmlns:a16="http://schemas.microsoft.com/office/drawing/2014/main" id="{3840402F-0CB7-4700-AB86-312936B9375A}"/>
              </a:ext>
            </a:extLst>
          </p:cNvPr>
          <p:cNvSpPr/>
          <p:nvPr/>
        </p:nvSpPr>
        <p:spPr>
          <a:xfrm>
            <a:off x="6294680" y="2773804"/>
            <a:ext cx="83897" cy="90889"/>
          </a:xfrm>
          <a:custGeom>
            <a:avLst/>
            <a:gdLst>
              <a:gd name="connsiteX0" fmla="*/ 38453 w 83897"/>
              <a:gd name="connsiteY0" fmla="*/ 90889 h 90889"/>
              <a:gd name="connsiteX1" fmla="*/ 0 w 83897"/>
              <a:gd name="connsiteY1" fmla="*/ 90889 h 90889"/>
              <a:gd name="connsiteX2" fmla="*/ 45445 w 83897"/>
              <a:gd name="connsiteY2" fmla="*/ 46610 h 90889"/>
              <a:gd name="connsiteX3" fmla="*/ 0 w 83897"/>
              <a:gd name="connsiteY3" fmla="*/ 0 h 90889"/>
              <a:gd name="connsiteX4" fmla="*/ 39618 w 83897"/>
              <a:gd name="connsiteY4" fmla="*/ 0 h 90889"/>
              <a:gd name="connsiteX5" fmla="*/ 83898 w 83897"/>
              <a:gd name="connsiteY5" fmla="*/ 45445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6610"/>
                </a:lnTo>
                <a:lnTo>
                  <a:pt x="0" y="0"/>
                </a:lnTo>
                <a:lnTo>
                  <a:pt x="39618" y="0"/>
                </a:lnTo>
                <a:lnTo>
                  <a:pt x="83898" y="45445"/>
                </a:lnTo>
                <a:close/>
              </a:path>
            </a:pathLst>
          </a:custGeom>
          <a:solidFill>
            <a:srgbClr val="EEF2F5"/>
          </a:solidFill>
          <a:ln w="11643" cap="flat">
            <a:noFill/>
            <a:prstDash val="solid"/>
            <a:miter/>
          </a:ln>
        </p:spPr>
        <p:txBody>
          <a:bodyPr rtlCol="0" anchor="ctr"/>
          <a:lstStyle/>
          <a:p>
            <a:endParaRPr lang="de-DE"/>
          </a:p>
        </p:txBody>
      </p:sp>
      <p:sp>
        <p:nvSpPr>
          <p:cNvPr id="58" name="Freihandform: Form 57">
            <a:extLst>
              <a:ext uri="{FF2B5EF4-FFF2-40B4-BE49-F238E27FC236}">
                <a16:creationId xmlns:a16="http://schemas.microsoft.com/office/drawing/2014/main" id="{C92817E7-21F5-4822-9D42-BC3A22B20F43}"/>
              </a:ext>
            </a:extLst>
          </p:cNvPr>
          <p:cNvSpPr/>
          <p:nvPr/>
        </p:nvSpPr>
        <p:spPr>
          <a:xfrm>
            <a:off x="6294680" y="3129205"/>
            <a:ext cx="83897" cy="90889"/>
          </a:xfrm>
          <a:custGeom>
            <a:avLst/>
            <a:gdLst>
              <a:gd name="connsiteX0" fmla="*/ 38453 w 83897"/>
              <a:gd name="connsiteY0" fmla="*/ 90889 h 90889"/>
              <a:gd name="connsiteX1" fmla="*/ 0 w 83897"/>
              <a:gd name="connsiteY1" fmla="*/ 90889 h 90889"/>
              <a:gd name="connsiteX2" fmla="*/ 45445 w 83897"/>
              <a:gd name="connsiteY2" fmla="*/ 45445 h 90889"/>
              <a:gd name="connsiteX3" fmla="*/ 0 w 83897"/>
              <a:gd name="connsiteY3" fmla="*/ 0 h 90889"/>
              <a:gd name="connsiteX4" fmla="*/ 39618 w 83897"/>
              <a:gd name="connsiteY4" fmla="*/ 0 h 90889"/>
              <a:gd name="connsiteX5" fmla="*/ 83898 w 83897"/>
              <a:gd name="connsiteY5" fmla="*/ 44279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endParaRPr lang="de-DE"/>
          </a:p>
        </p:txBody>
      </p:sp>
      <p:sp>
        <p:nvSpPr>
          <p:cNvPr id="74" name="Freihandform: Form 73">
            <a:extLst>
              <a:ext uri="{FF2B5EF4-FFF2-40B4-BE49-F238E27FC236}">
                <a16:creationId xmlns:a16="http://schemas.microsoft.com/office/drawing/2014/main" id="{B9D0716B-8D9A-4338-AEA4-79A7EEDD478B}"/>
              </a:ext>
            </a:extLst>
          </p:cNvPr>
          <p:cNvSpPr/>
          <p:nvPr/>
        </p:nvSpPr>
        <p:spPr>
          <a:xfrm>
            <a:off x="6294680" y="3484606"/>
            <a:ext cx="83897" cy="89724"/>
          </a:xfrm>
          <a:custGeom>
            <a:avLst/>
            <a:gdLst>
              <a:gd name="connsiteX0" fmla="*/ 38453 w 83897"/>
              <a:gd name="connsiteY0" fmla="*/ 89724 h 89724"/>
              <a:gd name="connsiteX1" fmla="*/ 0 w 83897"/>
              <a:gd name="connsiteY1" fmla="*/ 89724 h 89724"/>
              <a:gd name="connsiteX2" fmla="*/ 45445 w 83897"/>
              <a:gd name="connsiteY2" fmla="*/ 45445 h 89724"/>
              <a:gd name="connsiteX3" fmla="*/ 0 w 83897"/>
              <a:gd name="connsiteY3" fmla="*/ 0 h 89724"/>
              <a:gd name="connsiteX4" fmla="*/ 39618 w 83897"/>
              <a:gd name="connsiteY4" fmla="*/ 0 h 89724"/>
              <a:gd name="connsiteX5" fmla="*/ 83898 w 83897"/>
              <a:gd name="connsiteY5" fmla="*/ 44279 h 89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89724">
                <a:moveTo>
                  <a:pt x="38453" y="89724"/>
                </a:moveTo>
                <a:lnTo>
                  <a:pt x="0" y="89724"/>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endParaRPr lang="de-DE"/>
          </a:p>
        </p:txBody>
      </p:sp>
      <p:sp>
        <p:nvSpPr>
          <p:cNvPr id="90" name="Freihandform: Form 89">
            <a:extLst>
              <a:ext uri="{FF2B5EF4-FFF2-40B4-BE49-F238E27FC236}">
                <a16:creationId xmlns:a16="http://schemas.microsoft.com/office/drawing/2014/main" id="{9161924B-A7F2-4DF3-B909-33BF43FA25EF}"/>
              </a:ext>
            </a:extLst>
          </p:cNvPr>
          <p:cNvSpPr/>
          <p:nvPr/>
        </p:nvSpPr>
        <p:spPr>
          <a:xfrm>
            <a:off x="6294680" y="3838841"/>
            <a:ext cx="83897" cy="90889"/>
          </a:xfrm>
          <a:custGeom>
            <a:avLst/>
            <a:gdLst>
              <a:gd name="connsiteX0" fmla="*/ 38453 w 83897"/>
              <a:gd name="connsiteY0" fmla="*/ 90889 h 90889"/>
              <a:gd name="connsiteX1" fmla="*/ 0 w 83897"/>
              <a:gd name="connsiteY1" fmla="*/ 90889 h 90889"/>
              <a:gd name="connsiteX2" fmla="*/ 45445 w 83897"/>
              <a:gd name="connsiteY2" fmla="*/ 45445 h 90889"/>
              <a:gd name="connsiteX3" fmla="*/ 0 w 83897"/>
              <a:gd name="connsiteY3" fmla="*/ 0 h 90889"/>
              <a:gd name="connsiteX4" fmla="*/ 39618 w 83897"/>
              <a:gd name="connsiteY4" fmla="*/ 0 h 90889"/>
              <a:gd name="connsiteX5" fmla="*/ 83898 w 83897"/>
              <a:gd name="connsiteY5" fmla="*/ 44279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endParaRPr lang="de-DE"/>
          </a:p>
        </p:txBody>
      </p:sp>
      <p:sp>
        <p:nvSpPr>
          <p:cNvPr id="106" name="Freihandform: Form 105">
            <a:extLst>
              <a:ext uri="{FF2B5EF4-FFF2-40B4-BE49-F238E27FC236}">
                <a16:creationId xmlns:a16="http://schemas.microsoft.com/office/drawing/2014/main" id="{9F04DFFC-EA40-46F4-8195-B5F7E353EE2A}"/>
              </a:ext>
            </a:extLst>
          </p:cNvPr>
          <p:cNvSpPr/>
          <p:nvPr/>
        </p:nvSpPr>
        <p:spPr>
          <a:xfrm>
            <a:off x="6294680" y="4194242"/>
            <a:ext cx="83897" cy="89724"/>
          </a:xfrm>
          <a:custGeom>
            <a:avLst/>
            <a:gdLst>
              <a:gd name="connsiteX0" fmla="*/ 38453 w 83897"/>
              <a:gd name="connsiteY0" fmla="*/ 89724 h 89724"/>
              <a:gd name="connsiteX1" fmla="*/ 0 w 83897"/>
              <a:gd name="connsiteY1" fmla="*/ 89724 h 89724"/>
              <a:gd name="connsiteX2" fmla="*/ 45445 w 83897"/>
              <a:gd name="connsiteY2" fmla="*/ 45445 h 89724"/>
              <a:gd name="connsiteX3" fmla="*/ 0 w 83897"/>
              <a:gd name="connsiteY3" fmla="*/ 0 h 89724"/>
              <a:gd name="connsiteX4" fmla="*/ 39618 w 83897"/>
              <a:gd name="connsiteY4" fmla="*/ 0 h 89724"/>
              <a:gd name="connsiteX5" fmla="*/ 83898 w 83897"/>
              <a:gd name="connsiteY5" fmla="*/ 44279 h 89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89724">
                <a:moveTo>
                  <a:pt x="38453" y="89724"/>
                </a:moveTo>
                <a:lnTo>
                  <a:pt x="0" y="89724"/>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endParaRPr lang="de-DE"/>
          </a:p>
        </p:txBody>
      </p:sp>
      <p:sp>
        <p:nvSpPr>
          <p:cNvPr id="139" name="Freihandform: Form 138">
            <a:extLst>
              <a:ext uri="{FF2B5EF4-FFF2-40B4-BE49-F238E27FC236}">
                <a16:creationId xmlns:a16="http://schemas.microsoft.com/office/drawing/2014/main" id="{5362CBB1-E50A-41B7-8ED0-9FCFE213E9A5}"/>
              </a:ext>
            </a:extLst>
          </p:cNvPr>
          <p:cNvSpPr/>
          <p:nvPr/>
        </p:nvSpPr>
        <p:spPr>
          <a:xfrm>
            <a:off x="6294680" y="4903878"/>
            <a:ext cx="83897" cy="89724"/>
          </a:xfrm>
          <a:custGeom>
            <a:avLst/>
            <a:gdLst>
              <a:gd name="connsiteX0" fmla="*/ 38453 w 83897"/>
              <a:gd name="connsiteY0" fmla="*/ 89724 h 89724"/>
              <a:gd name="connsiteX1" fmla="*/ 0 w 83897"/>
              <a:gd name="connsiteY1" fmla="*/ 89724 h 89724"/>
              <a:gd name="connsiteX2" fmla="*/ 45445 w 83897"/>
              <a:gd name="connsiteY2" fmla="*/ 45445 h 89724"/>
              <a:gd name="connsiteX3" fmla="*/ 0 w 83897"/>
              <a:gd name="connsiteY3" fmla="*/ 0 h 89724"/>
              <a:gd name="connsiteX4" fmla="*/ 39618 w 83897"/>
              <a:gd name="connsiteY4" fmla="*/ 0 h 89724"/>
              <a:gd name="connsiteX5" fmla="*/ 83898 w 83897"/>
              <a:gd name="connsiteY5" fmla="*/ 44279 h 89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89724">
                <a:moveTo>
                  <a:pt x="38453" y="89724"/>
                </a:moveTo>
                <a:lnTo>
                  <a:pt x="0" y="89724"/>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endParaRPr lang="de-DE"/>
          </a:p>
        </p:txBody>
      </p:sp>
      <p:sp>
        <p:nvSpPr>
          <p:cNvPr id="156" name="Freihandform: Form 155">
            <a:extLst>
              <a:ext uri="{FF2B5EF4-FFF2-40B4-BE49-F238E27FC236}">
                <a16:creationId xmlns:a16="http://schemas.microsoft.com/office/drawing/2014/main" id="{2508847B-61E4-41D1-A3A0-A411189F6767}"/>
              </a:ext>
            </a:extLst>
          </p:cNvPr>
          <p:cNvSpPr/>
          <p:nvPr/>
        </p:nvSpPr>
        <p:spPr>
          <a:xfrm>
            <a:off x="6294680" y="5258113"/>
            <a:ext cx="83897" cy="90889"/>
          </a:xfrm>
          <a:custGeom>
            <a:avLst/>
            <a:gdLst>
              <a:gd name="connsiteX0" fmla="*/ 38453 w 83897"/>
              <a:gd name="connsiteY0" fmla="*/ 90889 h 90889"/>
              <a:gd name="connsiteX1" fmla="*/ 0 w 83897"/>
              <a:gd name="connsiteY1" fmla="*/ 90889 h 90889"/>
              <a:gd name="connsiteX2" fmla="*/ 45445 w 83897"/>
              <a:gd name="connsiteY2" fmla="*/ 45445 h 90889"/>
              <a:gd name="connsiteX3" fmla="*/ 0 w 83897"/>
              <a:gd name="connsiteY3" fmla="*/ 0 h 90889"/>
              <a:gd name="connsiteX4" fmla="*/ 39618 w 83897"/>
              <a:gd name="connsiteY4" fmla="*/ 0 h 90889"/>
              <a:gd name="connsiteX5" fmla="*/ 83898 w 83897"/>
              <a:gd name="connsiteY5" fmla="*/ 44279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endParaRPr lang="de-DE"/>
          </a:p>
        </p:txBody>
      </p:sp>
      <p:sp>
        <p:nvSpPr>
          <p:cNvPr id="173" name="Freihandform: Form 172">
            <a:extLst>
              <a:ext uri="{FF2B5EF4-FFF2-40B4-BE49-F238E27FC236}">
                <a16:creationId xmlns:a16="http://schemas.microsoft.com/office/drawing/2014/main" id="{E2A7CA26-A6FF-4830-89D6-0AE49ECECB52}"/>
              </a:ext>
            </a:extLst>
          </p:cNvPr>
          <p:cNvSpPr/>
          <p:nvPr/>
        </p:nvSpPr>
        <p:spPr>
          <a:xfrm>
            <a:off x="6294680" y="5613514"/>
            <a:ext cx="83897" cy="90889"/>
          </a:xfrm>
          <a:custGeom>
            <a:avLst/>
            <a:gdLst>
              <a:gd name="connsiteX0" fmla="*/ 38453 w 83897"/>
              <a:gd name="connsiteY0" fmla="*/ 90889 h 90889"/>
              <a:gd name="connsiteX1" fmla="*/ 0 w 83897"/>
              <a:gd name="connsiteY1" fmla="*/ 90889 h 90889"/>
              <a:gd name="connsiteX2" fmla="*/ 45445 w 83897"/>
              <a:gd name="connsiteY2" fmla="*/ 45445 h 90889"/>
              <a:gd name="connsiteX3" fmla="*/ 0 w 83897"/>
              <a:gd name="connsiteY3" fmla="*/ 0 h 90889"/>
              <a:gd name="connsiteX4" fmla="*/ 39618 w 83897"/>
              <a:gd name="connsiteY4" fmla="*/ 0 h 90889"/>
              <a:gd name="connsiteX5" fmla="*/ 83898 w 83897"/>
              <a:gd name="connsiteY5" fmla="*/ 44279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endParaRPr lang="de-DE"/>
          </a:p>
        </p:txBody>
      </p:sp>
      <p:sp>
        <p:nvSpPr>
          <p:cNvPr id="190" name="Freihandform: Form 189">
            <a:extLst>
              <a:ext uri="{FF2B5EF4-FFF2-40B4-BE49-F238E27FC236}">
                <a16:creationId xmlns:a16="http://schemas.microsoft.com/office/drawing/2014/main" id="{0D910AA1-D94C-4927-9F7F-6AE33C84B359}"/>
              </a:ext>
            </a:extLst>
          </p:cNvPr>
          <p:cNvSpPr/>
          <p:nvPr/>
        </p:nvSpPr>
        <p:spPr>
          <a:xfrm>
            <a:off x="6294680" y="5967749"/>
            <a:ext cx="83897" cy="90889"/>
          </a:xfrm>
          <a:custGeom>
            <a:avLst/>
            <a:gdLst>
              <a:gd name="connsiteX0" fmla="*/ 38453 w 83897"/>
              <a:gd name="connsiteY0" fmla="*/ 90889 h 90889"/>
              <a:gd name="connsiteX1" fmla="*/ 0 w 83897"/>
              <a:gd name="connsiteY1" fmla="*/ 90889 h 90889"/>
              <a:gd name="connsiteX2" fmla="*/ 45445 w 83897"/>
              <a:gd name="connsiteY2" fmla="*/ 46610 h 90889"/>
              <a:gd name="connsiteX3" fmla="*/ 0 w 83897"/>
              <a:gd name="connsiteY3" fmla="*/ 0 h 90889"/>
              <a:gd name="connsiteX4" fmla="*/ 39618 w 83897"/>
              <a:gd name="connsiteY4" fmla="*/ 0 h 90889"/>
              <a:gd name="connsiteX5" fmla="*/ 83898 w 83897"/>
              <a:gd name="connsiteY5" fmla="*/ 45445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6610"/>
                </a:lnTo>
                <a:lnTo>
                  <a:pt x="0" y="0"/>
                </a:lnTo>
                <a:lnTo>
                  <a:pt x="39618" y="0"/>
                </a:lnTo>
                <a:lnTo>
                  <a:pt x="83898" y="45445"/>
                </a:lnTo>
                <a:close/>
              </a:path>
            </a:pathLst>
          </a:custGeom>
          <a:solidFill>
            <a:srgbClr val="EEF2F5"/>
          </a:solidFill>
          <a:ln w="11643" cap="flat">
            <a:noFill/>
            <a:prstDash val="solid"/>
            <a:miter/>
          </a:ln>
        </p:spPr>
        <p:txBody>
          <a:bodyPr rtlCol="0" anchor="ctr"/>
          <a:lstStyle/>
          <a:p>
            <a:endParaRPr lang="de-DE"/>
          </a:p>
        </p:txBody>
      </p:sp>
      <p:sp>
        <p:nvSpPr>
          <p:cNvPr id="207" name="Freihandform: Form 206">
            <a:extLst>
              <a:ext uri="{FF2B5EF4-FFF2-40B4-BE49-F238E27FC236}">
                <a16:creationId xmlns:a16="http://schemas.microsoft.com/office/drawing/2014/main" id="{21DCF3C4-698C-4A65-960C-FC9526795073}"/>
              </a:ext>
            </a:extLst>
          </p:cNvPr>
          <p:cNvSpPr/>
          <p:nvPr/>
        </p:nvSpPr>
        <p:spPr>
          <a:xfrm>
            <a:off x="6294680" y="6323150"/>
            <a:ext cx="83897" cy="90889"/>
          </a:xfrm>
          <a:custGeom>
            <a:avLst/>
            <a:gdLst>
              <a:gd name="connsiteX0" fmla="*/ 38453 w 83897"/>
              <a:gd name="connsiteY0" fmla="*/ 90889 h 90889"/>
              <a:gd name="connsiteX1" fmla="*/ 0 w 83897"/>
              <a:gd name="connsiteY1" fmla="*/ 90889 h 90889"/>
              <a:gd name="connsiteX2" fmla="*/ 45445 w 83897"/>
              <a:gd name="connsiteY2" fmla="*/ 45445 h 90889"/>
              <a:gd name="connsiteX3" fmla="*/ 0 w 83897"/>
              <a:gd name="connsiteY3" fmla="*/ 0 h 90889"/>
              <a:gd name="connsiteX4" fmla="*/ 39618 w 83897"/>
              <a:gd name="connsiteY4" fmla="*/ 0 h 90889"/>
              <a:gd name="connsiteX5" fmla="*/ 83898 w 83897"/>
              <a:gd name="connsiteY5" fmla="*/ 44279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endParaRPr lang="de-DE"/>
          </a:p>
        </p:txBody>
      </p:sp>
      <p:sp>
        <p:nvSpPr>
          <p:cNvPr id="223" name="Freihandform: Form 222">
            <a:extLst>
              <a:ext uri="{FF2B5EF4-FFF2-40B4-BE49-F238E27FC236}">
                <a16:creationId xmlns:a16="http://schemas.microsoft.com/office/drawing/2014/main" id="{E38105B6-8D3F-48F3-9F5F-2328382B7C38}"/>
              </a:ext>
            </a:extLst>
          </p:cNvPr>
          <p:cNvSpPr/>
          <p:nvPr/>
        </p:nvSpPr>
        <p:spPr>
          <a:xfrm>
            <a:off x="6294680" y="6677385"/>
            <a:ext cx="83897" cy="90889"/>
          </a:xfrm>
          <a:custGeom>
            <a:avLst/>
            <a:gdLst>
              <a:gd name="connsiteX0" fmla="*/ 38453 w 83897"/>
              <a:gd name="connsiteY0" fmla="*/ 90889 h 90889"/>
              <a:gd name="connsiteX1" fmla="*/ 0 w 83897"/>
              <a:gd name="connsiteY1" fmla="*/ 90889 h 90889"/>
              <a:gd name="connsiteX2" fmla="*/ 45445 w 83897"/>
              <a:gd name="connsiteY2" fmla="*/ 46610 h 90889"/>
              <a:gd name="connsiteX3" fmla="*/ 0 w 83897"/>
              <a:gd name="connsiteY3" fmla="*/ 0 h 90889"/>
              <a:gd name="connsiteX4" fmla="*/ 39618 w 83897"/>
              <a:gd name="connsiteY4" fmla="*/ 0 h 90889"/>
              <a:gd name="connsiteX5" fmla="*/ 83898 w 83897"/>
              <a:gd name="connsiteY5" fmla="*/ 45445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6610"/>
                </a:lnTo>
                <a:lnTo>
                  <a:pt x="0" y="0"/>
                </a:lnTo>
                <a:lnTo>
                  <a:pt x="39618" y="0"/>
                </a:lnTo>
                <a:lnTo>
                  <a:pt x="83898" y="45445"/>
                </a:lnTo>
                <a:close/>
              </a:path>
            </a:pathLst>
          </a:custGeom>
          <a:solidFill>
            <a:srgbClr val="EEF2F5"/>
          </a:solidFill>
          <a:ln w="11643" cap="flat">
            <a:noFill/>
            <a:prstDash val="solid"/>
            <a:miter/>
          </a:ln>
        </p:spPr>
        <p:txBody>
          <a:bodyPr rtlCol="0" anchor="ctr"/>
          <a:lstStyle/>
          <a:p>
            <a:endParaRPr lang="de-DE"/>
          </a:p>
        </p:txBody>
      </p:sp>
      <p:sp>
        <p:nvSpPr>
          <p:cNvPr id="12" name="Freihandform: Form 11">
            <a:extLst>
              <a:ext uri="{FF2B5EF4-FFF2-40B4-BE49-F238E27FC236}">
                <a16:creationId xmlns:a16="http://schemas.microsoft.com/office/drawing/2014/main" id="{583AB347-5EFD-45EC-837F-436640EC31BF}"/>
              </a:ext>
            </a:extLst>
          </p:cNvPr>
          <p:cNvSpPr/>
          <p:nvPr/>
        </p:nvSpPr>
        <p:spPr>
          <a:xfrm>
            <a:off x="6641924" y="2056012"/>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3601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27" name="Freihandform: Form 26">
            <a:extLst>
              <a:ext uri="{FF2B5EF4-FFF2-40B4-BE49-F238E27FC236}">
                <a16:creationId xmlns:a16="http://schemas.microsoft.com/office/drawing/2014/main" id="{2C9F6191-45F4-4549-838F-728D0F86DCCC}"/>
              </a:ext>
            </a:extLst>
          </p:cNvPr>
          <p:cNvSpPr/>
          <p:nvPr/>
        </p:nvSpPr>
        <p:spPr>
          <a:xfrm>
            <a:off x="6641924" y="2410247"/>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3601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43" name="Freihandform: Form 42">
            <a:extLst>
              <a:ext uri="{FF2B5EF4-FFF2-40B4-BE49-F238E27FC236}">
                <a16:creationId xmlns:a16="http://schemas.microsoft.com/office/drawing/2014/main" id="{58997C67-D006-44A2-AD3D-33F34BD464B4}"/>
              </a:ext>
            </a:extLst>
          </p:cNvPr>
          <p:cNvSpPr/>
          <p:nvPr/>
        </p:nvSpPr>
        <p:spPr>
          <a:xfrm>
            <a:off x="6641924" y="2765648"/>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3601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59" name="Freihandform: Form 58">
            <a:extLst>
              <a:ext uri="{FF2B5EF4-FFF2-40B4-BE49-F238E27FC236}">
                <a16:creationId xmlns:a16="http://schemas.microsoft.com/office/drawing/2014/main" id="{C4E89A45-8CD6-4F72-A3FF-464AD5125F97}"/>
              </a:ext>
            </a:extLst>
          </p:cNvPr>
          <p:cNvSpPr/>
          <p:nvPr/>
        </p:nvSpPr>
        <p:spPr>
          <a:xfrm>
            <a:off x="6641924" y="3119883"/>
            <a:ext cx="100211" cy="109533"/>
          </a:xfrm>
          <a:custGeom>
            <a:avLst/>
            <a:gdLst>
              <a:gd name="connsiteX0" fmla="*/ 45445 w 100211"/>
              <a:gd name="connsiteY0" fmla="*/ 109533 h 109533"/>
              <a:gd name="connsiteX1" fmla="*/ 0 w 100211"/>
              <a:gd name="connsiteY1" fmla="*/ 109533 h 109533"/>
              <a:gd name="connsiteX2" fmla="*/ 53601 w 100211"/>
              <a:gd name="connsiteY2" fmla="*/ 54767 h 109533"/>
              <a:gd name="connsiteX3" fmla="*/ 0 w 100211"/>
              <a:gd name="connsiteY3" fmla="*/ 0 h 109533"/>
              <a:gd name="connsiteX4" fmla="*/ 46610 w 100211"/>
              <a:gd name="connsiteY4" fmla="*/ 0 h 109533"/>
              <a:gd name="connsiteX5" fmla="*/ 100211 w 100211"/>
              <a:gd name="connsiteY5" fmla="*/ 53601 h 109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9533">
                <a:moveTo>
                  <a:pt x="45445" y="109533"/>
                </a:moveTo>
                <a:lnTo>
                  <a:pt x="0" y="109533"/>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75" name="Freihandform: Form 74">
            <a:extLst>
              <a:ext uri="{FF2B5EF4-FFF2-40B4-BE49-F238E27FC236}">
                <a16:creationId xmlns:a16="http://schemas.microsoft.com/office/drawing/2014/main" id="{B9D7B804-0A3A-4555-AA49-BAAC4D841F25}"/>
              </a:ext>
            </a:extLst>
          </p:cNvPr>
          <p:cNvSpPr/>
          <p:nvPr/>
        </p:nvSpPr>
        <p:spPr>
          <a:xfrm>
            <a:off x="6641924" y="3475284"/>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3601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91" name="Freihandform: Form 90">
            <a:extLst>
              <a:ext uri="{FF2B5EF4-FFF2-40B4-BE49-F238E27FC236}">
                <a16:creationId xmlns:a16="http://schemas.microsoft.com/office/drawing/2014/main" id="{E186CBFA-7613-4BC9-8990-21E472FC7476}"/>
              </a:ext>
            </a:extLst>
          </p:cNvPr>
          <p:cNvSpPr/>
          <p:nvPr/>
        </p:nvSpPr>
        <p:spPr>
          <a:xfrm>
            <a:off x="6641924" y="3829519"/>
            <a:ext cx="100211" cy="109533"/>
          </a:xfrm>
          <a:custGeom>
            <a:avLst/>
            <a:gdLst>
              <a:gd name="connsiteX0" fmla="*/ 45445 w 100211"/>
              <a:gd name="connsiteY0" fmla="*/ 109533 h 109533"/>
              <a:gd name="connsiteX1" fmla="*/ 0 w 100211"/>
              <a:gd name="connsiteY1" fmla="*/ 109533 h 109533"/>
              <a:gd name="connsiteX2" fmla="*/ 53601 w 100211"/>
              <a:gd name="connsiteY2" fmla="*/ 54767 h 109533"/>
              <a:gd name="connsiteX3" fmla="*/ 0 w 100211"/>
              <a:gd name="connsiteY3" fmla="*/ 0 h 109533"/>
              <a:gd name="connsiteX4" fmla="*/ 46610 w 100211"/>
              <a:gd name="connsiteY4" fmla="*/ 0 h 109533"/>
              <a:gd name="connsiteX5" fmla="*/ 100211 w 100211"/>
              <a:gd name="connsiteY5" fmla="*/ 53601 h 109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9533">
                <a:moveTo>
                  <a:pt x="45445" y="109533"/>
                </a:moveTo>
                <a:lnTo>
                  <a:pt x="0" y="109533"/>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107" name="Freihandform: Form 106">
            <a:extLst>
              <a:ext uri="{FF2B5EF4-FFF2-40B4-BE49-F238E27FC236}">
                <a16:creationId xmlns:a16="http://schemas.microsoft.com/office/drawing/2014/main" id="{431E1B18-1EEB-4090-9700-F9FE3C0FED51}"/>
              </a:ext>
            </a:extLst>
          </p:cNvPr>
          <p:cNvSpPr/>
          <p:nvPr/>
        </p:nvSpPr>
        <p:spPr>
          <a:xfrm>
            <a:off x="6641924" y="4184920"/>
            <a:ext cx="100211" cy="108367"/>
          </a:xfrm>
          <a:custGeom>
            <a:avLst/>
            <a:gdLst>
              <a:gd name="connsiteX0" fmla="*/ 45445 w 100211"/>
              <a:gd name="connsiteY0" fmla="*/ 108368 h 108367"/>
              <a:gd name="connsiteX1" fmla="*/ 0 w 100211"/>
              <a:gd name="connsiteY1" fmla="*/ 108368 h 108367"/>
              <a:gd name="connsiteX2" fmla="*/ 53601 w 100211"/>
              <a:gd name="connsiteY2" fmla="*/ 54767 h 108367"/>
              <a:gd name="connsiteX3" fmla="*/ 0 w 100211"/>
              <a:gd name="connsiteY3" fmla="*/ 0 h 108367"/>
              <a:gd name="connsiteX4" fmla="*/ 46610 w 100211"/>
              <a:gd name="connsiteY4" fmla="*/ 0 h 108367"/>
              <a:gd name="connsiteX5" fmla="*/ 100211 w 100211"/>
              <a:gd name="connsiteY5" fmla="*/ 53601 h 108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7">
                <a:moveTo>
                  <a:pt x="45445" y="108368"/>
                </a:moveTo>
                <a:lnTo>
                  <a:pt x="0" y="108368"/>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123" name="Freihandform: Form 122">
            <a:extLst>
              <a:ext uri="{FF2B5EF4-FFF2-40B4-BE49-F238E27FC236}">
                <a16:creationId xmlns:a16="http://schemas.microsoft.com/office/drawing/2014/main" id="{DC2F5F31-D8DD-48D9-A875-60890175F7E1}"/>
              </a:ext>
            </a:extLst>
          </p:cNvPr>
          <p:cNvSpPr/>
          <p:nvPr/>
        </p:nvSpPr>
        <p:spPr>
          <a:xfrm>
            <a:off x="6641924" y="4539155"/>
            <a:ext cx="100211" cy="109533"/>
          </a:xfrm>
          <a:custGeom>
            <a:avLst/>
            <a:gdLst>
              <a:gd name="connsiteX0" fmla="*/ 45445 w 100211"/>
              <a:gd name="connsiteY0" fmla="*/ 109533 h 109533"/>
              <a:gd name="connsiteX1" fmla="*/ 0 w 100211"/>
              <a:gd name="connsiteY1" fmla="*/ 109533 h 109533"/>
              <a:gd name="connsiteX2" fmla="*/ 53601 w 100211"/>
              <a:gd name="connsiteY2" fmla="*/ 54767 h 109533"/>
              <a:gd name="connsiteX3" fmla="*/ 0 w 100211"/>
              <a:gd name="connsiteY3" fmla="*/ 0 h 109533"/>
              <a:gd name="connsiteX4" fmla="*/ 46610 w 100211"/>
              <a:gd name="connsiteY4" fmla="*/ 0 h 109533"/>
              <a:gd name="connsiteX5" fmla="*/ 100211 w 100211"/>
              <a:gd name="connsiteY5" fmla="*/ 53601 h 109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9533">
                <a:moveTo>
                  <a:pt x="45445" y="109533"/>
                </a:moveTo>
                <a:lnTo>
                  <a:pt x="0" y="109533"/>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140" name="Freihandform: Form 139">
            <a:extLst>
              <a:ext uri="{FF2B5EF4-FFF2-40B4-BE49-F238E27FC236}">
                <a16:creationId xmlns:a16="http://schemas.microsoft.com/office/drawing/2014/main" id="{76442F10-6EC9-4E34-AAE4-0D75456E4698}"/>
              </a:ext>
            </a:extLst>
          </p:cNvPr>
          <p:cNvSpPr/>
          <p:nvPr/>
        </p:nvSpPr>
        <p:spPr>
          <a:xfrm>
            <a:off x="6641924" y="4894556"/>
            <a:ext cx="100211" cy="108367"/>
          </a:xfrm>
          <a:custGeom>
            <a:avLst/>
            <a:gdLst>
              <a:gd name="connsiteX0" fmla="*/ 45445 w 100211"/>
              <a:gd name="connsiteY0" fmla="*/ 108368 h 108367"/>
              <a:gd name="connsiteX1" fmla="*/ 0 w 100211"/>
              <a:gd name="connsiteY1" fmla="*/ 108368 h 108367"/>
              <a:gd name="connsiteX2" fmla="*/ 53601 w 100211"/>
              <a:gd name="connsiteY2" fmla="*/ 54767 h 108367"/>
              <a:gd name="connsiteX3" fmla="*/ 0 w 100211"/>
              <a:gd name="connsiteY3" fmla="*/ 0 h 108367"/>
              <a:gd name="connsiteX4" fmla="*/ 46610 w 100211"/>
              <a:gd name="connsiteY4" fmla="*/ 0 h 108367"/>
              <a:gd name="connsiteX5" fmla="*/ 100211 w 100211"/>
              <a:gd name="connsiteY5" fmla="*/ 53601 h 108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7">
                <a:moveTo>
                  <a:pt x="45445" y="108368"/>
                </a:moveTo>
                <a:lnTo>
                  <a:pt x="0" y="108368"/>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157" name="Freihandform: Form 156">
            <a:extLst>
              <a:ext uri="{FF2B5EF4-FFF2-40B4-BE49-F238E27FC236}">
                <a16:creationId xmlns:a16="http://schemas.microsoft.com/office/drawing/2014/main" id="{3F3DF7DA-74D8-4504-A71D-F774354EAB93}"/>
              </a:ext>
            </a:extLst>
          </p:cNvPr>
          <p:cNvSpPr/>
          <p:nvPr/>
        </p:nvSpPr>
        <p:spPr>
          <a:xfrm>
            <a:off x="6641924" y="5249956"/>
            <a:ext cx="100211" cy="108367"/>
          </a:xfrm>
          <a:custGeom>
            <a:avLst/>
            <a:gdLst>
              <a:gd name="connsiteX0" fmla="*/ 45445 w 100211"/>
              <a:gd name="connsiteY0" fmla="*/ 108368 h 108367"/>
              <a:gd name="connsiteX1" fmla="*/ 0 w 100211"/>
              <a:gd name="connsiteY1" fmla="*/ 108368 h 108367"/>
              <a:gd name="connsiteX2" fmla="*/ 53601 w 100211"/>
              <a:gd name="connsiteY2" fmla="*/ 54767 h 108367"/>
              <a:gd name="connsiteX3" fmla="*/ 0 w 100211"/>
              <a:gd name="connsiteY3" fmla="*/ 0 h 108367"/>
              <a:gd name="connsiteX4" fmla="*/ 46610 w 100211"/>
              <a:gd name="connsiteY4" fmla="*/ 0 h 108367"/>
              <a:gd name="connsiteX5" fmla="*/ 100211 w 100211"/>
              <a:gd name="connsiteY5" fmla="*/ 52436 h 108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7">
                <a:moveTo>
                  <a:pt x="45445" y="108368"/>
                </a:moveTo>
                <a:lnTo>
                  <a:pt x="0" y="108368"/>
                </a:lnTo>
                <a:lnTo>
                  <a:pt x="53601" y="54767"/>
                </a:lnTo>
                <a:lnTo>
                  <a:pt x="0" y="0"/>
                </a:lnTo>
                <a:lnTo>
                  <a:pt x="46610" y="0"/>
                </a:lnTo>
                <a:lnTo>
                  <a:pt x="100211" y="52436"/>
                </a:lnTo>
                <a:close/>
              </a:path>
            </a:pathLst>
          </a:custGeom>
          <a:solidFill>
            <a:srgbClr val="EEF2F5"/>
          </a:solidFill>
          <a:ln w="11643" cap="flat">
            <a:noFill/>
            <a:prstDash val="solid"/>
            <a:miter/>
          </a:ln>
        </p:spPr>
        <p:txBody>
          <a:bodyPr rtlCol="0" anchor="ctr"/>
          <a:lstStyle/>
          <a:p>
            <a:endParaRPr lang="de-DE"/>
          </a:p>
        </p:txBody>
      </p:sp>
      <p:sp>
        <p:nvSpPr>
          <p:cNvPr id="174" name="Freihandform: Form 173">
            <a:extLst>
              <a:ext uri="{FF2B5EF4-FFF2-40B4-BE49-F238E27FC236}">
                <a16:creationId xmlns:a16="http://schemas.microsoft.com/office/drawing/2014/main" id="{89F7D4C0-B771-4BD2-8BB9-46691BD63CD6}"/>
              </a:ext>
            </a:extLst>
          </p:cNvPr>
          <p:cNvSpPr/>
          <p:nvPr/>
        </p:nvSpPr>
        <p:spPr>
          <a:xfrm>
            <a:off x="6641924" y="5604192"/>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3601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191" name="Freihandform: Form 190">
            <a:extLst>
              <a:ext uri="{FF2B5EF4-FFF2-40B4-BE49-F238E27FC236}">
                <a16:creationId xmlns:a16="http://schemas.microsoft.com/office/drawing/2014/main" id="{5A593B9A-6E44-429E-AEBA-35E20D56B0CE}"/>
              </a:ext>
            </a:extLst>
          </p:cNvPr>
          <p:cNvSpPr/>
          <p:nvPr/>
        </p:nvSpPr>
        <p:spPr>
          <a:xfrm>
            <a:off x="6641924" y="5959592"/>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2436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2436"/>
                </a:lnTo>
                <a:close/>
              </a:path>
            </a:pathLst>
          </a:custGeom>
          <a:solidFill>
            <a:srgbClr val="EEF2F5"/>
          </a:solidFill>
          <a:ln w="11643" cap="flat">
            <a:noFill/>
            <a:prstDash val="solid"/>
            <a:miter/>
          </a:ln>
        </p:spPr>
        <p:txBody>
          <a:bodyPr rtlCol="0" anchor="ctr"/>
          <a:lstStyle/>
          <a:p>
            <a:endParaRPr lang="de-DE"/>
          </a:p>
        </p:txBody>
      </p:sp>
      <p:sp>
        <p:nvSpPr>
          <p:cNvPr id="208" name="Freihandform: Form 207">
            <a:extLst>
              <a:ext uri="{FF2B5EF4-FFF2-40B4-BE49-F238E27FC236}">
                <a16:creationId xmlns:a16="http://schemas.microsoft.com/office/drawing/2014/main" id="{DF218C48-5CF6-4B07-AF60-4DE0F6FD1BC1}"/>
              </a:ext>
            </a:extLst>
          </p:cNvPr>
          <p:cNvSpPr/>
          <p:nvPr/>
        </p:nvSpPr>
        <p:spPr>
          <a:xfrm>
            <a:off x="6641924" y="6313828"/>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3601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224" name="Freihandform: Form 223">
            <a:extLst>
              <a:ext uri="{FF2B5EF4-FFF2-40B4-BE49-F238E27FC236}">
                <a16:creationId xmlns:a16="http://schemas.microsoft.com/office/drawing/2014/main" id="{AA5BC021-58DD-4FE3-BDC3-0802A56E539C}"/>
              </a:ext>
            </a:extLst>
          </p:cNvPr>
          <p:cNvSpPr/>
          <p:nvPr/>
        </p:nvSpPr>
        <p:spPr>
          <a:xfrm>
            <a:off x="6641924" y="6669228"/>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2436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2436"/>
                </a:lnTo>
                <a:close/>
              </a:path>
            </a:pathLst>
          </a:custGeom>
          <a:solidFill>
            <a:srgbClr val="EEF2F5"/>
          </a:solidFill>
          <a:ln w="11643" cap="flat">
            <a:noFill/>
            <a:prstDash val="solid"/>
            <a:miter/>
          </a:ln>
        </p:spPr>
        <p:txBody>
          <a:bodyPr rtlCol="0" anchor="ctr"/>
          <a:lstStyle/>
          <a:p>
            <a:endParaRPr lang="de-DE"/>
          </a:p>
        </p:txBody>
      </p:sp>
      <p:sp>
        <p:nvSpPr>
          <p:cNvPr id="13" name="Freihandform: Form 12">
            <a:extLst>
              <a:ext uri="{FF2B5EF4-FFF2-40B4-BE49-F238E27FC236}">
                <a16:creationId xmlns:a16="http://schemas.microsoft.com/office/drawing/2014/main" id="{41B3CD6E-4668-431E-B52B-BEFAFA264BED}"/>
              </a:ext>
            </a:extLst>
          </p:cNvPr>
          <p:cNvSpPr/>
          <p:nvPr/>
        </p:nvSpPr>
        <p:spPr>
          <a:xfrm>
            <a:off x="6988003" y="2046690"/>
            <a:ext cx="117690" cy="127012"/>
          </a:xfrm>
          <a:custGeom>
            <a:avLst/>
            <a:gdLst>
              <a:gd name="connsiteX0" fmla="*/ 53601 w 117690"/>
              <a:gd name="connsiteY0" fmla="*/ 127012 h 127012"/>
              <a:gd name="connsiteX1" fmla="*/ 0 w 117690"/>
              <a:gd name="connsiteY1" fmla="*/ 127012 h 127012"/>
              <a:gd name="connsiteX2" fmla="*/ 62924 w 117690"/>
              <a:gd name="connsiteY2" fmla="*/ 64089 h 127012"/>
              <a:gd name="connsiteX3" fmla="*/ 0 w 117690"/>
              <a:gd name="connsiteY3" fmla="*/ 0 h 127012"/>
              <a:gd name="connsiteX4" fmla="*/ 54767 w 117690"/>
              <a:gd name="connsiteY4" fmla="*/ 0 h 127012"/>
              <a:gd name="connsiteX5" fmla="*/ 117690 w 117690"/>
              <a:gd name="connsiteY5" fmla="*/ 61758 h 12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2">
                <a:moveTo>
                  <a:pt x="53601" y="127012"/>
                </a:moveTo>
                <a:lnTo>
                  <a:pt x="0" y="127012"/>
                </a:lnTo>
                <a:lnTo>
                  <a:pt x="62924" y="64089"/>
                </a:lnTo>
                <a:lnTo>
                  <a:pt x="0" y="0"/>
                </a:lnTo>
                <a:lnTo>
                  <a:pt x="54767" y="0"/>
                </a:lnTo>
                <a:lnTo>
                  <a:pt x="117690" y="61758"/>
                </a:lnTo>
                <a:close/>
              </a:path>
            </a:pathLst>
          </a:custGeom>
          <a:solidFill>
            <a:srgbClr val="EEF2F5"/>
          </a:solidFill>
          <a:ln w="11643" cap="flat">
            <a:noFill/>
            <a:prstDash val="solid"/>
            <a:miter/>
          </a:ln>
        </p:spPr>
        <p:txBody>
          <a:bodyPr rtlCol="0" anchor="ctr"/>
          <a:lstStyle/>
          <a:p>
            <a:endParaRPr lang="de-DE"/>
          </a:p>
        </p:txBody>
      </p:sp>
      <p:sp>
        <p:nvSpPr>
          <p:cNvPr id="28" name="Freihandform: Form 27">
            <a:extLst>
              <a:ext uri="{FF2B5EF4-FFF2-40B4-BE49-F238E27FC236}">
                <a16:creationId xmlns:a16="http://schemas.microsoft.com/office/drawing/2014/main" id="{44ADAD78-1959-4CDE-A14A-2F7982F10CE6}"/>
              </a:ext>
            </a:extLst>
          </p:cNvPr>
          <p:cNvSpPr/>
          <p:nvPr/>
        </p:nvSpPr>
        <p:spPr>
          <a:xfrm>
            <a:off x="6988003" y="2400925"/>
            <a:ext cx="117690" cy="127012"/>
          </a:xfrm>
          <a:custGeom>
            <a:avLst/>
            <a:gdLst>
              <a:gd name="connsiteX0" fmla="*/ 53601 w 117690"/>
              <a:gd name="connsiteY0" fmla="*/ 127012 h 127012"/>
              <a:gd name="connsiteX1" fmla="*/ 0 w 117690"/>
              <a:gd name="connsiteY1" fmla="*/ 127012 h 127012"/>
              <a:gd name="connsiteX2" fmla="*/ 62924 w 117690"/>
              <a:gd name="connsiteY2" fmla="*/ 64089 h 127012"/>
              <a:gd name="connsiteX3" fmla="*/ 0 w 117690"/>
              <a:gd name="connsiteY3" fmla="*/ 0 h 127012"/>
              <a:gd name="connsiteX4" fmla="*/ 54767 w 117690"/>
              <a:gd name="connsiteY4" fmla="*/ 0 h 127012"/>
              <a:gd name="connsiteX5" fmla="*/ 117690 w 117690"/>
              <a:gd name="connsiteY5" fmla="*/ 62923 h 12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2">
                <a:moveTo>
                  <a:pt x="53601" y="127012"/>
                </a:moveTo>
                <a:lnTo>
                  <a:pt x="0" y="127012"/>
                </a:lnTo>
                <a:lnTo>
                  <a:pt x="62924" y="64089"/>
                </a:lnTo>
                <a:lnTo>
                  <a:pt x="0" y="0"/>
                </a:lnTo>
                <a:lnTo>
                  <a:pt x="54767" y="0"/>
                </a:lnTo>
                <a:lnTo>
                  <a:pt x="117690" y="62923"/>
                </a:lnTo>
                <a:close/>
              </a:path>
            </a:pathLst>
          </a:custGeom>
          <a:solidFill>
            <a:srgbClr val="EEF2F5"/>
          </a:solidFill>
          <a:ln w="11643" cap="flat">
            <a:noFill/>
            <a:prstDash val="solid"/>
            <a:miter/>
          </a:ln>
        </p:spPr>
        <p:txBody>
          <a:bodyPr rtlCol="0" anchor="ctr"/>
          <a:lstStyle/>
          <a:p>
            <a:endParaRPr lang="de-DE"/>
          </a:p>
        </p:txBody>
      </p:sp>
      <p:sp>
        <p:nvSpPr>
          <p:cNvPr id="44" name="Freihandform: Form 43">
            <a:extLst>
              <a:ext uri="{FF2B5EF4-FFF2-40B4-BE49-F238E27FC236}">
                <a16:creationId xmlns:a16="http://schemas.microsoft.com/office/drawing/2014/main" id="{187A0A4D-77CA-456F-91F4-F6F8704B8154}"/>
              </a:ext>
            </a:extLst>
          </p:cNvPr>
          <p:cNvSpPr/>
          <p:nvPr/>
        </p:nvSpPr>
        <p:spPr>
          <a:xfrm>
            <a:off x="6988003" y="2756326"/>
            <a:ext cx="117690" cy="127012"/>
          </a:xfrm>
          <a:custGeom>
            <a:avLst/>
            <a:gdLst>
              <a:gd name="connsiteX0" fmla="*/ 53601 w 117690"/>
              <a:gd name="connsiteY0" fmla="*/ 127012 h 127012"/>
              <a:gd name="connsiteX1" fmla="*/ 0 w 117690"/>
              <a:gd name="connsiteY1" fmla="*/ 127012 h 127012"/>
              <a:gd name="connsiteX2" fmla="*/ 62924 w 117690"/>
              <a:gd name="connsiteY2" fmla="*/ 64089 h 127012"/>
              <a:gd name="connsiteX3" fmla="*/ 0 w 117690"/>
              <a:gd name="connsiteY3" fmla="*/ 0 h 127012"/>
              <a:gd name="connsiteX4" fmla="*/ 54767 w 117690"/>
              <a:gd name="connsiteY4" fmla="*/ 0 h 127012"/>
              <a:gd name="connsiteX5" fmla="*/ 117690 w 117690"/>
              <a:gd name="connsiteY5" fmla="*/ 61758 h 12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2">
                <a:moveTo>
                  <a:pt x="53601" y="127012"/>
                </a:moveTo>
                <a:lnTo>
                  <a:pt x="0" y="127012"/>
                </a:lnTo>
                <a:lnTo>
                  <a:pt x="62924" y="64089"/>
                </a:lnTo>
                <a:lnTo>
                  <a:pt x="0" y="0"/>
                </a:lnTo>
                <a:lnTo>
                  <a:pt x="54767" y="0"/>
                </a:lnTo>
                <a:lnTo>
                  <a:pt x="117690" y="61758"/>
                </a:lnTo>
                <a:close/>
              </a:path>
            </a:pathLst>
          </a:custGeom>
          <a:solidFill>
            <a:srgbClr val="EEF2F5"/>
          </a:solidFill>
          <a:ln w="11643" cap="flat">
            <a:noFill/>
            <a:prstDash val="solid"/>
            <a:miter/>
          </a:ln>
        </p:spPr>
        <p:txBody>
          <a:bodyPr rtlCol="0" anchor="ctr"/>
          <a:lstStyle/>
          <a:p>
            <a:endParaRPr lang="de-DE"/>
          </a:p>
        </p:txBody>
      </p:sp>
      <p:sp>
        <p:nvSpPr>
          <p:cNvPr id="60" name="Freihandform: Form 59">
            <a:extLst>
              <a:ext uri="{FF2B5EF4-FFF2-40B4-BE49-F238E27FC236}">
                <a16:creationId xmlns:a16="http://schemas.microsoft.com/office/drawing/2014/main" id="{CB07603B-B3CF-406B-8F49-C88DDBDF26D2}"/>
              </a:ext>
            </a:extLst>
          </p:cNvPr>
          <p:cNvSpPr/>
          <p:nvPr/>
        </p:nvSpPr>
        <p:spPr>
          <a:xfrm>
            <a:off x="6988003" y="3111726"/>
            <a:ext cx="117690" cy="125846"/>
          </a:xfrm>
          <a:custGeom>
            <a:avLst/>
            <a:gdLst>
              <a:gd name="connsiteX0" fmla="*/ 53601 w 117690"/>
              <a:gd name="connsiteY0" fmla="*/ 125847 h 125846"/>
              <a:gd name="connsiteX1" fmla="*/ 0 w 117690"/>
              <a:gd name="connsiteY1" fmla="*/ 125847 h 125846"/>
              <a:gd name="connsiteX2" fmla="*/ 62924 w 117690"/>
              <a:gd name="connsiteY2" fmla="*/ 62923 h 125846"/>
              <a:gd name="connsiteX3" fmla="*/ 0 w 117690"/>
              <a:gd name="connsiteY3" fmla="*/ 0 h 125846"/>
              <a:gd name="connsiteX4" fmla="*/ 54767 w 117690"/>
              <a:gd name="connsiteY4" fmla="*/ 0 h 125846"/>
              <a:gd name="connsiteX5" fmla="*/ 117690 w 117690"/>
              <a:gd name="connsiteY5" fmla="*/ 61758 h 125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5846">
                <a:moveTo>
                  <a:pt x="53601" y="125847"/>
                </a:moveTo>
                <a:lnTo>
                  <a:pt x="0" y="125847"/>
                </a:lnTo>
                <a:lnTo>
                  <a:pt x="62924" y="62923"/>
                </a:lnTo>
                <a:lnTo>
                  <a:pt x="0" y="0"/>
                </a:lnTo>
                <a:lnTo>
                  <a:pt x="54767" y="0"/>
                </a:lnTo>
                <a:lnTo>
                  <a:pt x="117690" y="61758"/>
                </a:lnTo>
                <a:close/>
              </a:path>
            </a:pathLst>
          </a:custGeom>
          <a:solidFill>
            <a:srgbClr val="EEF2F5"/>
          </a:solidFill>
          <a:ln w="11643" cap="flat">
            <a:noFill/>
            <a:prstDash val="solid"/>
            <a:miter/>
          </a:ln>
        </p:spPr>
        <p:txBody>
          <a:bodyPr rtlCol="0" anchor="ctr"/>
          <a:lstStyle/>
          <a:p>
            <a:endParaRPr lang="de-DE"/>
          </a:p>
        </p:txBody>
      </p:sp>
      <p:sp>
        <p:nvSpPr>
          <p:cNvPr id="76" name="Freihandform: Form 75">
            <a:extLst>
              <a:ext uri="{FF2B5EF4-FFF2-40B4-BE49-F238E27FC236}">
                <a16:creationId xmlns:a16="http://schemas.microsoft.com/office/drawing/2014/main" id="{C87C0BBB-E201-45AD-A8CC-B6DF36C9BFCA}"/>
              </a:ext>
            </a:extLst>
          </p:cNvPr>
          <p:cNvSpPr/>
          <p:nvPr/>
        </p:nvSpPr>
        <p:spPr>
          <a:xfrm>
            <a:off x="6988003" y="3465962"/>
            <a:ext cx="117690" cy="127012"/>
          </a:xfrm>
          <a:custGeom>
            <a:avLst/>
            <a:gdLst>
              <a:gd name="connsiteX0" fmla="*/ 53601 w 117690"/>
              <a:gd name="connsiteY0" fmla="*/ 127012 h 127012"/>
              <a:gd name="connsiteX1" fmla="*/ 0 w 117690"/>
              <a:gd name="connsiteY1" fmla="*/ 127012 h 127012"/>
              <a:gd name="connsiteX2" fmla="*/ 62924 w 117690"/>
              <a:gd name="connsiteY2" fmla="*/ 64089 h 127012"/>
              <a:gd name="connsiteX3" fmla="*/ 0 w 117690"/>
              <a:gd name="connsiteY3" fmla="*/ 0 h 127012"/>
              <a:gd name="connsiteX4" fmla="*/ 54767 w 117690"/>
              <a:gd name="connsiteY4" fmla="*/ 0 h 127012"/>
              <a:gd name="connsiteX5" fmla="*/ 117690 w 117690"/>
              <a:gd name="connsiteY5" fmla="*/ 62923 h 12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2">
                <a:moveTo>
                  <a:pt x="53601" y="127012"/>
                </a:moveTo>
                <a:lnTo>
                  <a:pt x="0" y="127012"/>
                </a:lnTo>
                <a:lnTo>
                  <a:pt x="62924" y="64089"/>
                </a:lnTo>
                <a:lnTo>
                  <a:pt x="0" y="0"/>
                </a:lnTo>
                <a:lnTo>
                  <a:pt x="54767" y="0"/>
                </a:lnTo>
                <a:lnTo>
                  <a:pt x="117690" y="62923"/>
                </a:lnTo>
                <a:close/>
              </a:path>
            </a:pathLst>
          </a:custGeom>
          <a:solidFill>
            <a:srgbClr val="EEF2F5"/>
          </a:solidFill>
          <a:ln w="11643" cap="flat">
            <a:noFill/>
            <a:prstDash val="solid"/>
            <a:miter/>
          </a:ln>
        </p:spPr>
        <p:txBody>
          <a:bodyPr rtlCol="0" anchor="ctr"/>
          <a:lstStyle/>
          <a:p>
            <a:endParaRPr lang="de-DE"/>
          </a:p>
        </p:txBody>
      </p:sp>
      <p:sp>
        <p:nvSpPr>
          <p:cNvPr id="92" name="Freihandform: Form 91">
            <a:extLst>
              <a:ext uri="{FF2B5EF4-FFF2-40B4-BE49-F238E27FC236}">
                <a16:creationId xmlns:a16="http://schemas.microsoft.com/office/drawing/2014/main" id="{E84E584C-AD1A-4283-9393-9ADAC5705999}"/>
              </a:ext>
            </a:extLst>
          </p:cNvPr>
          <p:cNvSpPr/>
          <p:nvPr/>
        </p:nvSpPr>
        <p:spPr>
          <a:xfrm>
            <a:off x="6988003" y="3821362"/>
            <a:ext cx="117690" cy="125846"/>
          </a:xfrm>
          <a:custGeom>
            <a:avLst/>
            <a:gdLst>
              <a:gd name="connsiteX0" fmla="*/ 53601 w 117690"/>
              <a:gd name="connsiteY0" fmla="*/ 125847 h 125846"/>
              <a:gd name="connsiteX1" fmla="*/ 0 w 117690"/>
              <a:gd name="connsiteY1" fmla="*/ 125847 h 125846"/>
              <a:gd name="connsiteX2" fmla="*/ 62924 w 117690"/>
              <a:gd name="connsiteY2" fmla="*/ 62923 h 125846"/>
              <a:gd name="connsiteX3" fmla="*/ 0 w 117690"/>
              <a:gd name="connsiteY3" fmla="*/ 0 h 125846"/>
              <a:gd name="connsiteX4" fmla="*/ 54767 w 117690"/>
              <a:gd name="connsiteY4" fmla="*/ 0 h 125846"/>
              <a:gd name="connsiteX5" fmla="*/ 117690 w 117690"/>
              <a:gd name="connsiteY5" fmla="*/ 61758 h 125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5846">
                <a:moveTo>
                  <a:pt x="53601" y="125847"/>
                </a:moveTo>
                <a:lnTo>
                  <a:pt x="0" y="125847"/>
                </a:lnTo>
                <a:lnTo>
                  <a:pt x="62924" y="62923"/>
                </a:lnTo>
                <a:lnTo>
                  <a:pt x="0" y="0"/>
                </a:lnTo>
                <a:lnTo>
                  <a:pt x="54767" y="0"/>
                </a:lnTo>
                <a:lnTo>
                  <a:pt x="117690" y="61758"/>
                </a:lnTo>
                <a:close/>
              </a:path>
            </a:pathLst>
          </a:custGeom>
          <a:solidFill>
            <a:srgbClr val="EEF2F5"/>
          </a:solidFill>
          <a:ln w="11643" cap="flat">
            <a:noFill/>
            <a:prstDash val="solid"/>
            <a:miter/>
          </a:ln>
        </p:spPr>
        <p:txBody>
          <a:bodyPr rtlCol="0" anchor="ctr"/>
          <a:lstStyle/>
          <a:p>
            <a:endParaRPr lang="de-DE"/>
          </a:p>
        </p:txBody>
      </p:sp>
      <p:sp>
        <p:nvSpPr>
          <p:cNvPr id="108" name="Freihandform: Form 107">
            <a:extLst>
              <a:ext uri="{FF2B5EF4-FFF2-40B4-BE49-F238E27FC236}">
                <a16:creationId xmlns:a16="http://schemas.microsoft.com/office/drawing/2014/main" id="{821A23CA-DB65-474C-8F4A-71EDD9066EAA}"/>
              </a:ext>
            </a:extLst>
          </p:cNvPr>
          <p:cNvSpPr/>
          <p:nvPr/>
        </p:nvSpPr>
        <p:spPr>
          <a:xfrm>
            <a:off x="6988003" y="4175598"/>
            <a:ext cx="117690" cy="127011"/>
          </a:xfrm>
          <a:custGeom>
            <a:avLst/>
            <a:gdLst>
              <a:gd name="connsiteX0" fmla="*/ 53601 w 117690"/>
              <a:gd name="connsiteY0" fmla="*/ 127012 h 127011"/>
              <a:gd name="connsiteX1" fmla="*/ 0 w 117690"/>
              <a:gd name="connsiteY1" fmla="*/ 127012 h 127011"/>
              <a:gd name="connsiteX2" fmla="*/ 62924 w 117690"/>
              <a:gd name="connsiteY2" fmla="*/ 64089 h 127011"/>
              <a:gd name="connsiteX3" fmla="*/ 0 w 117690"/>
              <a:gd name="connsiteY3" fmla="*/ 0 h 127011"/>
              <a:gd name="connsiteX4" fmla="*/ 54767 w 117690"/>
              <a:gd name="connsiteY4" fmla="*/ 0 h 127011"/>
              <a:gd name="connsiteX5" fmla="*/ 117690 w 117690"/>
              <a:gd name="connsiteY5" fmla="*/ 62923 h 12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1">
                <a:moveTo>
                  <a:pt x="53601" y="127012"/>
                </a:moveTo>
                <a:lnTo>
                  <a:pt x="0" y="127012"/>
                </a:lnTo>
                <a:lnTo>
                  <a:pt x="62924" y="64089"/>
                </a:lnTo>
                <a:lnTo>
                  <a:pt x="0" y="0"/>
                </a:lnTo>
                <a:lnTo>
                  <a:pt x="54767" y="0"/>
                </a:lnTo>
                <a:lnTo>
                  <a:pt x="117690" y="62923"/>
                </a:lnTo>
                <a:close/>
              </a:path>
            </a:pathLst>
          </a:custGeom>
          <a:solidFill>
            <a:srgbClr val="EEF2F5"/>
          </a:solidFill>
          <a:ln w="11643" cap="flat">
            <a:noFill/>
            <a:prstDash val="solid"/>
            <a:miter/>
          </a:ln>
        </p:spPr>
        <p:txBody>
          <a:bodyPr rtlCol="0" anchor="ctr"/>
          <a:lstStyle/>
          <a:p>
            <a:endParaRPr lang="de-DE"/>
          </a:p>
        </p:txBody>
      </p:sp>
      <p:sp>
        <p:nvSpPr>
          <p:cNvPr id="124" name="Freihandform: Form 123">
            <a:extLst>
              <a:ext uri="{FF2B5EF4-FFF2-40B4-BE49-F238E27FC236}">
                <a16:creationId xmlns:a16="http://schemas.microsoft.com/office/drawing/2014/main" id="{A21B059E-24B7-45F6-86CA-657F48380E87}"/>
              </a:ext>
            </a:extLst>
          </p:cNvPr>
          <p:cNvSpPr/>
          <p:nvPr/>
        </p:nvSpPr>
        <p:spPr>
          <a:xfrm>
            <a:off x="6988003" y="4530998"/>
            <a:ext cx="117690" cy="125846"/>
          </a:xfrm>
          <a:custGeom>
            <a:avLst/>
            <a:gdLst>
              <a:gd name="connsiteX0" fmla="*/ 53601 w 117690"/>
              <a:gd name="connsiteY0" fmla="*/ 125847 h 125846"/>
              <a:gd name="connsiteX1" fmla="*/ 0 w 117690"/>
              <a:gd name="connsiteY1" fmla="*/ 125847 h 125846"/>
              <a:gd name="connsiteX2" fmla="*/ 62924 w 117690"/>
              <a:gd name="connsiteY2" fmla="*/ 64089 h 125846"/>
              <a:gd name="connsiteX3" fmla="*/ 0 w 117690"/>
              <a:gd name="connsiteY3" fmla="*/ 0 h 125846"/>
              <a:gd name="connsiteX4" fmla="*/ 54767 w 117690"/>
              <a:gd name="connsiteY4" fmla="*/ 0 h 125846"/>
              <a:gd name="connsiteX5" fmla="*/ 117690 w 117690"/>
              <a:gd name="connsiteY5" fmla="*/ 61758 h 125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5846">
                <a:moveTo>
                  <a:pt x="53601" y="125847"/>
                </a:moveTo>
                <a:lnTo>
                  <a:pt x="0" y="125847"/>
                </a:lnTo>
                <a:lnTo>
                  <a:pt x="62924" y="64089"/>
                </a:lnTo>
                <a:lnTo>
                  <a:pt x="0" y="0"/>
                </a:lnTo>
                <a:lnTo>
                  <a:pt x="54767" y="0"/>
                </a:lnTo>
                <a:lnTo>
                  <a:pt x="117690" y="61758"/>
                </a:lnTo>
                <a:close/>
              </a:path>
            </a:pathLst>
          </a:custGeom>
          <a:solidFill>
            <a:srgbClr val="EEF2F5"/>
          </a:solidFill>
          <a:ln w="11643" cap="flat">
            <a:noFill/>
            <a:prstDash val="solid"/>
            <a:miter/>
          </a:ln>
        </p:spPr>
        <p:txBody>
          <a:bodyPr rtlCol="0" anchor="ctr"/>
          <a:lstStyle/>
          <a:p>
            <a:endParaRPr lang="de-DE"/>
          </a:p>
        </p:txBody>
      </p:sp>
      <p:sp>
        <p:nvSpPr>
          <p:cNvPr id="141" name="Freihandform: Form 140">
            <a:extLst>
              <a:ext uri="{FF2B5EF4-FFF2-40B4-BE49-F238E27FC236}">
                <a16:creationId xmlns:a16="http://schemas.microsoft.com/office/drawing/2014/main" id="{B826AAAD-4F78-48CC-8D7F-6FF66CB56257}"/>
              </a:ext>
            </a:extLst>
          </p:cNvPr>
          <p:cNvSpPr/>
          <p:nvPr/>
        </p:nvSpPr>
        <p:spPr>
          <a:xfrm>
            <a:off x="6988003" y="4885234"/>
            <a:ext cx="117690" cy="127012"/>
          </a:xfrm>
          <a:custGeom>
            <a:avLst/>
            <a:gdLst>
              <a:gd name="connsiteX0" fmla="*/ 53601 w 117690"/>
              <a:gd name="connsiteY0" fmla="*/ 127012 h 127012"/>
              <a:gd name="connsiteX1" fmla="*/ 0 w 117690"/>
              <a:gd name="connsiteY1" fmla="*/ 127012 h 127012"/>
              <a:gd name="connsiteX2" fmla="*/ 62924 w 117690"/>
              <a:gd name="connsiteY2" fmla="*/ 64089 h 127012"/>
              <a:gd name="connsiteX3" fmla="*/ 0 w 117690"/>
              <a:gd name="connsiteY3" fmla="*/ 0 h 127012"/>
              <a:gd name="connsiteX4" fmla="*/ 54767 w 117690"/>
              <a:gd name="connsiteY4" fmla="*/ 0 h 127012"/>
              <a:gd name="connsiteX5" fmla="*/ 117690 w 117690"/>
              <a:gd name="connsiteY5" fmla="*/ 62923 h 12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2">
                <a:moveTo>
                  <a:pt x="53601" y="127012"/>
                </a:moveTo>
                <a:lnTo>
                  <a:pt x="0" y="127012"/>
                </a:lnTo>
                <a:lnTo>
                  <a:pt x="62924" y="64089"/>
                </a:lnTo>
                <a:lnTo>
                  <a:pt x="0" y="0"/>
                </a:lnTo>
                <a:lnTo>
                  <a:pt x="54767" y="0"/>
                </a:lnTo>
                <a:lnTo>
                  <a:pt x="117690" y="62923"/>
                </a:lnTo>
                <a:close/>
              </a:path>
            </a:pathLst>
          </a:custGeom>
          <a:solidFill>
            <a:srgbClr val="EEF2F5"/>
          </a:solidFill>
          <a:ln w="11643" cap="flat">
            <a:noFill/>
            <a:prstDash val="solid"/>
            <a:miter/>
          </a:ln>
        </p:spPr>
        <p:txBody>
          <a:bodyPr rtlCol="0" anchor="ctr"/>
          <a:lstStyle/>
          <a:p>
            <a:endParaRPr lang="de-DE"/>
          </a:p>
        </p:txBody>
      </p:sp>
      <p:sp>
        <p:nvSpPr>
          <p:cNvPr id="158" name="Freihandform: Form 157">
            <a:extLst>
              <a:ext uri="{FF2B5EF4-FFF2-40B4-BE49-F238E27FC236}">
                <a16:creationId xmlns:a16="http://schemas.microsoft.com/office/drawing/2014/main" id="{52E552E0-7863-4113-BBA5-301C77EAF452}"/>
              </a:ext>
            </a:extLst>
          </p:cNvPr>
          <p:cNvSpPr/>
          <p:nvPr/>
        </p:nvSpPr>
        <p:spPr>
          <a:xfrm>
            <a:off x="6988003" y="5240634"/>
            <a:ext cx="117690" cy="127011"/>
          </a:xfrm>
          <a:custGeom>
            <a:avLst/>
            <a:gdLst>
              <a:gd name="connsiteX0" fmla="*/ 53601 w 117690"/>
              <a:gd name="connsiteY0" fmla="*/ 127012 h 127011"/>
              <a:gd name="connsiteX1" fmla="*/ 0 w 117690"/>
              <a:gd name="connsiteY1" fmla="*/ 127012 h 127011"/>
              <a:gd name="connsiteX2" fmla="*/ 62924 w 117690"/>
              <a:gd name="connsiteY2" fmla="*/ 64089 h 127011"/>
              <a:gd name="connsiteX3" fmla="*/ 0 w 117690"/>
              <a:gd name="connsiteY3" fmla="*/ 0 h 127011"/>
              <a:gd name="connsiteX4" fmla="*/ 54767 w 117690"/>
              <a:gd name="connsiteY4" fmla="*/ 0 h 127011"/>
              <a:gd name="connsiteX5" fmla="*/ 117690 w 117690"/>
              <a:gd name="connsiteY5" fmla="*/ 61758 h 12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1">
                <a:moveTo>
                  <a:pt x="53601" y="127012"/>
                </a:moveTo>
                <a:lnTo>
                  <a:pt x="0" y="127012"/>
                </a:lnTo>
                <a:lnTo>
                  <a:pt x="62924" y="64089"/>
                </a:lnTo>
                <a:lnTo>
                  <a:pt x="0" y="0"/>
                </a:lnTo>
                <a:lnTo>
                  <a:pt x="54767" y="0"/>
                </a:lnTo>
                <a:lnTo>
                  <a:pt x="117690" y="61758"/>
                </a:lnTo>
                <a:close/>
              </a:path>
            </a:pathLst>
          </a:custGeom>
          <a:solidFill>
            <a:srgbClr val="EEF2F5"/>
          </a:solidFill>
          <a:ln w="11643" cap="flat">
            <a:noFill/>
            <a:prstDash val="solid"/>
            <a:miter/>
          </a:ln>
        </p:spPr>
        <p:txBody>
          <a:bodyPr rtlCol="0" anchor="ctr"/>
          <a:lstStyle/>
          <a:p>
            <a:endParaRPr lang="de-DE"/>
          </a:p>
        </p:txBody>
      </p:sp>
      <p:sp>
        <p:nvSpPr>
          <p:cNvPr id="175" name="Freihandform: Form 174">
            <a:extLst>
              <a:ext uri="{FF2B5EF4-FFF2-40B4-BE49-F238E27FC236}">
                <a16:creationId xmlns:a16="http://schemas.microsoft.com/office/drawing/2014/main" id="{B682B6CF-0860-48B1-8C00-95D42CF736E9}"/>
              </a:ext>
            </a:extLst>
          </p:cNvPr>
          <p:cNvSpPr/>
          <p:nvPr/>
        </p:nvSpPr>
        <p:spPr>
          <a:xfrm>
            <a:off x="6988003" y="5594870"/>
            <a:ext cx="117690" cy="127011"/>
          </a:xfrm>
          <a:custGeom>
            <a:avLst/>
            <a:gdLst>
              <a:gd name="connsiteX0" fmla="*/ 53601 w 117690"/>
              <a:gd name="connsiteY0" fmla="*/ 127012 h 127011"/>
              <a:gd name="connsiteX1" fmla="*/ 0 w 117690"/>
              <a:gd name="connsiteY1" fmla="*/ 127012 h 127011"/>
              <a:gd name="connsiteX2" fmla="*/ 62924 w 117690"/>
              <a:gd name="connsiteY2" fmla="*/ 64089 h 127011"/>
              <a:gd name="connsiteX3" fmla="*/ 0 w 117690"/>
              <a:gd name="connsiteY3" fmla="*/ 0 h 127011"/>
              <a:gd name="connsiteX4" fmla="*/ 54767 w 117690"/>
              <a:gd name="connsiteY4" fmla="*/ 0 h 127011"/>
              <a:gd name="connsiteX5" fmla="*/ 117690 w 117690"/>
              <a:gd name="connsiteY5" fmla="*/ 62923 h 12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1">
                <a:moveTo>
                  <a:pt x="53601" y="127012"/>
                </a:moveTo>
                <a:lnTo>
                  <a:pt x="0" y="127012"/>
                </a:lnTo>
                <a:lnTo>
                  <a:pt x="62924" y="64089"/>
                </a:lnTo>
                <a:lnTo>
                  <a:pt x="0" y="0"/>
                </a:lnTo>
                <a:lnTo>
                  <a:pt x="54767" y="0"/>
                </a:lnTo>
                <a:lnTo>
                  <a:pt x="117690" y="62923"/>
                </a:lnTo>
                <a:close/>
              </a:path>
            </a:pathLst>
          </a:custGeom>
          <a:solidFill>
            <a:srgbClr val="EEF2F5"/>
          </a:solidFill>
          <a:ln w="11643" cap="flat">
            <a:noFill/>
            <a:prstDash val="solid"/>
            <a:miter/>
          </a:ln>
        </p:spPr>
        <p:txBody>
          <a:bodyPr rtlCol="0" anchor="ctr"/>
          <a:lstStyle/>
          <a:p>
            <a:endParaRPr lang="de-DE"/>
          </a:p>
        </p:txBody>
      </p:sp>
      <p:sp>
        <p:nvSpPr>
          <p:cNvPr id="192" name="Freihandform: Form 191">
            <a:extLst>
              <a:ext uri="{FF2B5EF4-FFF2-40B4-BE49-F238E27FC236}">
                <a16:creationId xmlns:a16="http://schemas.microsoft.com/office/drawing/2014/main" id="{454B7B92-8F20-486A-A2F6-3D352B2C3337}"/>
              </a:ext>
            </a:extLst>
          </p:cNvPr>
          <p:cNvSpPr/>
          <p:nvPr/>
        </p:nvSpPr>
        <p:spPr>
          <a:xfrm>
            <a:off x="6988003" y="5950270"/>
            <a:ext cx="117690" cy="127011"/>
          </a:xfrm>
          <a:custGeom>
            <a:avLst/>
            <a:gdLst>
              <a:gd name="connsiteX0" fmla="*/ 53601 w 117690"/>
              <a:gd name="connsiteY0" fmla="*/ 127012 h 127011"/>
              <a:gd name="connsiteX1" fmla="*/ 0 w 117690"/>
              <a:gd name="connsiteY1" fmla="*/ 127012 h 127011"/>
              <a:gd name="connsiteX2" fmla="*/ 62924 w 117690"/>
              <a:gd name="connsiteY2" fmla="*/ 64089 h 127011"/>
              <a:gd name="connsiteX3" fmla="*/ 0 w 117690"/>
              <a:gd name="connsiteY3" fmla="*/ 0 h 127011"/>
              <a:gd name="connsiteX4" fmla="*/ 54767 w 117690"/>
              <a:gd name="connsiteY4" fmla="*/ 0 h 127011"/>
              <a:gd name="connsiteX5" fmla="*/ 117690 w 117690"/>
              <a:gd name="connsiteY5" fmla="*/ 61758 h 12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1">
                <a:moveTo>
                  <a:pt x="53601" y="127012"/>
                </a:moveTo>
                <a:lnTo>
                  <a:pt x="0" y="127012"/>
                </a:lnTo>
                <a:lnTo>
                  <a:pt x="62924" y="64089"/>
                </a:lnTo>
                <a:lnTo>
                  <a:pt x="0" y="0"/>
                </a:lnTo>
                <a:lnTo>
                  <a:pt x="54767" y="0"/>
                </a:lnTo>
                <a:lnTo>
                  <a:pt x="117690" y="61758"/>
                </a:lnTo>
                <a:close/>
              </a:path>
            </a:pathLst>
          </a:custGeom>
          <a:solidFill>
            <a:srgbClr val="EEF2F5"/>
          </a:solidFill>
          <a:ln w="11643" cap="flat">
            <a:noFill/>
            <a:prstDash val="solid"/>
            <a:miter/>
          </a:ln>
        </p:spPr>
        <p:txBody>
          <a:bodyPr rtlCol="0" anchor="ctr"/>
          <a:lstStyle/>
          <a:p>
            <a:endParaRPr lang="de-DE"/>
          </a:p>
        </p:txBody>
      </p:sp>
      <p:sp>
        <p:nvSpPr>
          <p:cNvPr id="209" name="Freihandform: Form 208">
            <a:extLst>
              <a:ext uri="{FF2B5EF4-FFF2-40B4-BE49-F238E27FC236}">
                <a16:creationId xmlns:a16="http://schemas.microsoft.com/office/drawing/2014/main" id="{731C9EF6-821F-43D3-AF27-A0A6EE4233B2}"/>
              </a:ext>
            </a:extLst>
          </p:cNvPr>
          <p:cNvSpPr/>
          <p:nvPr/>
        </p:nvSpPr>
        <p:spPr>
          <a:xfrm>
            <a:off x="6988003" y="6304506"/>
            <a:ext cx="117690" cy="127011"/>
          </a:xfrm>
          <a:custGeom>
            <a:avLst/>
            <a:gdLst>
              <a:gd name="connsiteX0" fmla="*/ 53601 w 117690"/>
              <a:gd name="connsiteY0" fmla="*/ 127012 h 127011"/>
              <a:gd name="connsiteX1" fmla="*/ 0 w 117690"/>
              <a:gd name="connsiteY1" fmla="*/ 127012 h 127011"/>
              <a:gd name="connsiteX2" fmla="*/ 62924 w 117690"/>
              <a:gd name="connsiteY2" fmla="*/ 64089 h 127011"/>
              <a:gd name="connsiteX3" fmla="*/ 0 w 117690"/>
              <a:gd name="connsiteY3" fmla="*/ 0 h 127011"/>
              <a:gd name="connsiteX4" fmla="*/ 54767 w 117690"/>
              <a:gd name="connsiteY4" fmla="*/ 0 h 127011"/>
              <a:gd name="connsiteX5" fmla="*/ 117690 w 117690"/>
              <a:gd name="connsiteY5" fmla="*/ 62923 h 12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1">
                <a:moveTo>
                  <a:pt x="53601" y="127012"/>
                </a:moveTo>
                <a:lnTo>
                  <a:pt x="0" y="127012"/>
                </a:lnTo>
                <a:lnTo>
                  <a:pt x="62924" y="64089"/>
                </a:lnTo>
                <a:lnTo>
                  <a:pt x="0" y="0"/>
                </a:lnTo>
                <a:lnTo>
                  <a:pt x="54767" y="0"/>
                </a:lnTo>
                <a:lnTo>
                  <a:pt x="117690" y="62923"/>
                </a:lnTo>
                <a:close/>
              </a:path>
            </a:pathLst>
          </a:custGeom>
          <a:solidFill>
            <a:srgbClr val="EEF2F5"/>
          </a:solidFill>
          <a:ln w="11643" cap="flat">
            <a:noFill/>
            <a:prstDash val="solid"/>
            <a:miter/>
          </a:ln>
        </p:spPr>
        <p:txBody>
          <a:bodyPr rtlCol="0" anchor="ctr"/>
          <a:lstStyle/>
          <a:p>
            <a:endParaRPr lang="de-DE"/>
          </a:p>
        </p:txBody>
      </p:sp>
      <p:sp>
        <p:nvSpPr>
          <p:cNvPr id="225" name="Freihandform: Form 224">
            <a:extLst>
              <a:ext uri="{FF2B5EF4-FFF2-40B4-BE49-F238E27FC236}">
                <a16:creationId xmlns:a16="http://schemas.microsoft.com/office/drawing/2014/main" id="{E9AB3220-DE9C-44AE-ADC2-AF15E390E82D}"/>
              </a:ext>
            </a:extLst>
          </p:cNvPr>
          <p:cNvSpPr/>
          <p:nvPr/>
        </p:nvSpPr>
        <p:spPr>
          <a:xfrm>
            <a:off x="6988003" y="6659906"/>
            <a:ext cx="117690" cy="127011"/>
          </a:xfrm>
          <a:custGeom>
            <a:avLst/>
            <a:gdLst>
              <a:gd name="connsiteX0" fmla="*/ 53601 w 117690"/>
              <a:gd name="connsiteY0" fmla="*/ 127012 h 127011"/>
              <a:gd name="connsiteX1" fmla="*/ 0 w 117690"/>
              <a:gd name="connsiteY1" fmla="*/ 127012 h 127011"/>
              <a:gd name="connsiteX2" fmla="*/ 62924 w 117690"/>
              <a:gd name="connsiteY2" fmla="*/ 64089 h 127011"/>
              <a:gd name="connsiteX3" fmla="*/ 0 w 117690"/>
              <a:gd name="connsiteY3" fmla="*/ 0 h 127011"/>
              <a:gd name="connsiteX4" fmla="*/ 54767 w 117690"/>
              <a:gd name="connsiteY4" fmla="*/ 0 h 127011"/>
              <a:gd name="connsiteX5" fmla="*/ 117690 w 117690"/>
              <a:gd name="connsiteY5" fmla="*/ 61758 h 12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1">
                <a:moveTo>
                  <a:pt x="53601" y="127012"/>
                </a:moveTo>
                <a:lnTo>
                  <a:pt x="0" y="127012"/>
                </a:lnTo>
                <a:lnTo>
                  <a:pt x="62924" y="64089"/>
                </a:lnTo>
                <a:lnTo>
                  <a:pt x="0" y="0"/>
                </a:lnTo>
                <a:lnTo>
                  <a:pt x="54767" y="0"/>
                </a:lnTo>
                <a:lnTo>
                  <a:pt x="117690" y="61758"/>
                </a:lnTo>
                <a:close/>
              </a:path>
            </a:pathLst>
          </a:custGeom>
          <a:solidFill>
            <a:srgbClr val="EEF2F5"/>
          </a:solidFill>
          <a:ln w="11643" cap="flat">
            <a:noFill/>
            <a:prstDash val="solid"/>
            <a:miter/>
          </a:ln>
        </p:spPr>
        <p:txBody>
          <a:bodyPr rtlCol="0" anchor="ctr"/>
          <a:lstStyle/>
          <a:p>
            <a:endParaRPr lang="de-DE"/>
          </a:p>
        </p:txBody>
      </p:sp>
      <p:sp>
        <p:nvSpPr>
          <p:cNvPr id="14" name="Freihandform: Form 13">
            <a:extLst>
              <a:ext uri="{FF2B5EF4-FFF2-40B4-BE49-F238E27FC236}">
                <a16:creationId xmlns:a16="http://schemas.microsoft.com/office/drawing/2014/main" id="{EFAF6EFC-5984-485E-8562-F3C5B1286F10}"/>
              </a:ext>
            </a:extLst>
          </p:cNvPr>
          <p:cNvSpPr/>
          <p:nvPr/>
        </p:nvSpPr>
        <p:spPr>
          <a:xfrm>
            <a:off x="7335247" y="2038533"/>
            <a:ext cx="132838" cy="143325"/>
          </a:xfrm>
          <a:custGeom>
            <a:avLst/>
            <a:gdLst>
              <a:gd name="connsiteX0" fmla="*/ 60593 w 132838"/>
              <a:gd name="connsiteY0" fmla="*/ 143326 h 143325"/>
              <a:gd name="connsiteX1" fmla="*/ 0 w 132838"/>
              <a:gd name="connsiteY1" fmla="*/ 143326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6"/>
                </a:moveTo>
                <a:lnTo>
                  <a:pt x="0" y="143326"/>
                </a:lnTo>
                <a:lnTo>
                  <a:pt x="71080" y="72245"/>
                </a:lnTo>
                <a:lnTo>
                  <a:pt x="0" y="0"/>
                </a:lnTo>
                <a:lnTo>
                  <a:pt x="61758" y="0"/>
                </a:lnTo>
                <a:lnTo>
                  <a:pt x="132838" y="69915"/>
                </a:lnTo>
                <a:close/>
              </a:path>
            </a:pathLst>
          </a:custGeom>
          <a:solidFill>
            <a:srgbClr val="EEF2F5"/>
          </a:solidFill>
          <a:ln w="11643" cap="flat">
            <a:noFill/>
            <a:prstDash val="solid"/>
            <a:miter/>
          </a:ln>
        </p:spPr>
        <p:txBody>
          <a:bodyPr rtlCol="0" anchor="ctr"/>
          <a:lstStyle/>
          <a:p>
            <a:endParaRPr lang="de-DE"/>
          </a:p>
        </p:txBody>
      </p:sp>
      <p:sp>
        <p:nvSpPr>
          <p:cNvPr id="29" name="Freihandform: Form 28">
            <a:extLst>
              <a:ext uri="{FF2B5EF4-FFF2-40B4-BE49-F238E27FC236}">
                <a16:creationId xmlns:a16="http://schemas.microsoft.com/office/drawing/2014/main" id="{C38B5C98-4ABA-4DD0-92EE-6AE4E7466D1F}"/>
              </a:ext>
            </a:extLst>
          </p:cNvPr>
          <p:cNvSpPr/>
          <p:nvPr/>
        </p:nvSpPr>
        <p:spPr>
          <a:xfrm>
            <a:off x="7335247" y="2392768"/>
            <a:ext cx="132838" cy="143325"/>
          </a:xfrm>
          <a:custGeom>
            <a:avLst/>
            <a:gdLst>
              <a:gd name="connsiteX0" fmla="*/ 60593 w 132838"/>
              <a:gd name="connsiteY0" fmla="*/ 143325 h 143325"/>
              <a:gd name="connsiteX1" fmla="*/ 0 w 132838"/>
              <a:gd name="connsiteY1" fmla="*/ 143325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71080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5"/>
                </a:moveTo>
                <a:lnTo>
                  <a:pt x="0" y="143325"/>
                </a:lnTo>
                <a:lnTo>
                  <a:pt x="71080" y="72245"/>
                </a:lnTo>
                <a:lnTo>
                  <a:pt x="0" y="0"/>
                </a:lnTo>
                <a:lnTo>
                  <a:pt x="61758" y="0"/>
                </a:lnTo>
                <a:lnTo>
                  <a:pt x="132838" y="71080"/>
                </a:lnTo>
                <a:close/>
              </a:path>
            </a:pathLst>
          </a:custGeom>
          <a:solidFill>
            <a:srgbClr val="EEF2F5"/>
          </a:solidFill>
          <a:ln w="11643" cap="flat">
            <a:noFill/>
            <a:prstDash val="solid"/>
            <a:miter/>
          </a:ln>
        </p:spPr>
        <p:txBody>
          <a:bodyPr rtlCol="0" anchor="ctr"/>
          <a:lstStyle/>
          <a:p>
            <a:endParaRPr lang="de-DE"/>
          </a:p>
        </p:txBody>
      </p:sp>
      <p:sp>
        <p:nvSpPr>
          <p:cNvPr id="45" name="Freihandform: Form 44">
            <a:extLst>
              <a:ext uri="{FF2B5EF4-FFF2-40B4-BE49-F238E27FC236}">
                <a16:creationId xmlns:a16="http://schemas.microsoft.com/office/drawing/2014/main" id="{79F3C30E-5951-4096-8825-BA1A1F523534}"/>
              </a:ext>
            </a:extLst>
          </p:cNvPr>
          <p:cNvSpPr/>
          <p:nvPr/>
        </p:nvSpPr>
        <p:spPr>
          <a:xfrm>
            <a:off x="7335247" y="2748169"/>
            <a:ext cx="132838" cy="143325"/>
          </a:xfrm>
          <a:custGeom>
            <a:avLst/>
            <a:gdLst>
              <a:gd name="connsiteX0" fmla="*/ 60593 w 132838"/>
              <a:gd name="connsiteY0" fmla="*/ 143325 h 143325"/>
              <a:gd name="connsiteX1" fmla="*/ 0 w 132838"/>
              <a:gd name="connsiteY1" fmla="*/ 143325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5"/>
                </a:moveTo>
                <a:lnTo>
                  <a:pt x="0" y="143325"/>
                </a:lnTo>
                <a:lnTo>
                  <a:pt x="71080" y="72245"/>
                </a:lnTo>
                <a:lnTo>
                  <a:pt x="0" y="0"/>
                </a:lnTo>
                <a:lnTo>
                  <a:pt x="61758" y="0"/>
                </a:lnTo>
                <a:lnTo>
                  <a:pt x="132838" y="69915"/>
                </a:lnTo>
                <a:close/>
              </a:path>
            </a:pathLst>
          </a:custGeom>
          <a:solidFill>
            <a:srgbClr val="EEF2F5"/>
          </a:solidFill>
          <a:ln w="11643" cap="flat">
            <a:noFill/>
            <a:prstDash val="solid"/>
            <a:miter/>
          </a:ln>
        </p:spPr>
        <p:txBody>
          <a:bodyPr rtlCol="0" anchor="ctr"/>
          <a:lstStyle/>
          <a:p>
            <a:endParaRPr lang="de-DE"/>
          </a:p>
        </p:txBody>
      </p:sp>
      <p:sp>
        <p:nvSpPr>
          <p:cNvPr id="61" name="Freihandform: Form 60">
            <a:extLst>
              <a:ext uri="{FF2B5EF4-FFF2-40B4-BE49-F238E27FC236}">
                <a16:creationId xmlns:a16="http://schemas.microsoft.com/office/drawing/2014/main" id="{72D38BC9-A038-42F1-84CC-8FE548646FD4}"/>
              </a:ext>
            </a:extLst>
          </p:cNvPr>
          <p:cNvSpPr/>
          <p:nvPr/>
        </p:nvSpPr>
        <p:spPr>
          <a:xfrm>
            <a:off x="7335247" y="3102404"/>
            <a:ext cx="132838" cy="143325"/>
          </a:xfrm>
          <a:custGeom>
            <a:avLst/>
            <a:gdLst>
              <a:gd name="connsiteX0" fmla="*/ 60593 w 132838"/>
              <a:gd name="connsiteY0" fmla="*/ 143326 h 143325"/>
              <a:gd name="connsiteX1" fmla="*/ 0 w 132838"/>
              <a:gd name="connsiteY1" fmla="*/ 143326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71080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6"/>
                </a:moveTo>
                <a:lnTo>
                  <a:pt x="0" y="143326"/>
                </a:lnTo>
                <a:lnTo>
                  <a:pt x="71080" y="72245"/>
                </a:lnTo>
                <a:lnTo>
                  <a:pt x="0" y="0"/>
                </a:lnTo>
                <a:lnTo>
                  <a:pt x="61758" y="0"/>
                </a:lnTo>
                <a:lnTo>
                  <a:pt x="132838" y="71080"/>
                </a:lnTo>
                <a:close/>
              </a:path>
            </a:pathLst>
          </a:custGeom>
          <a:solidFill>
            <a:srgbClr val="EEF2F5"/>
          </a:solidFill>
          <a:ln w="11643" cap="flat">
            <a:noFill/>
            <a:prstDash val="solid"/>
            <a:miter/>
          </a:ln>
        </p:spPr>
        <p:txBody>
          <a:bodyPr rtlCol="0" anchor="ctr"/>
          <a:lstStyle/>
          <a:p>
            <a:endParaRPr lang="de-DE"/>
          </a:p>
        </p:txBody>
      </p:sp>
      <p:sp>
        <p:nvSpPr>
          <p:cNvPr id="77" name="Freihandform: Form 76">
            <a:extLst>
              <a:ext uri="{FF2B5EF4-FFF2-40B4-BE49-F238E27FC236}">
                <a16:creationId xmlns:a16="http://schemas.microsoft.com/office/drawing/2014/main" id="{4C23EFB8-6839-469E-BA4B-6EBF505449D2}"/>
              </a:ext>
            </a:extLst>
          </p:cNvPr>
          <p:cNvSpPr/>
          <p:nvPr/>
        </p:nvSpPr>
        <p:spPr>
          <a:xfrm>
            <a:off x="7335247" y="3457805"/>
            <a:ext cx="132838" cy="143325"/>
          </a:xfrm>
          <a:custGeom>
            <a:avLst/>
            <a:gdLst>
              <a:gd name="connsiteX0" fmla="*/ 60593 w 132838"/>
              <a:gd name="connsiteY0" fmla="*/ 143326 h 143325"/>
              <a:gd name="connsiteX1" fmla="*/ 0 w 132838"/>
              <a:gd name="connsiteY1" fmla="*/ 143326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6"/>
                </a:moveTo>
                <a:lnTo>
                  <a:pt x="0" y="143326"/>
                </a:lnTo>
                <a:lnTo>
                  <a:pt x="71080" y="72245"/>
                </a:lnTo>
                <a:lnTo>
                  <a:pt x="0" y="0"/>
                </a:lnTo>
                <a:lnTo>
                  <a:pt x="61758" y="0"/>
                </a:lnTo>
                <a:lnTo>
                  <a:pt x="132838" y="69915"/>
                </a:lnTo>
                <a:close/>
              </a:path>
            </a:pathLst>
          </a:custGeom>
          <a:solidFill>
            <a:srgbClr val="EEF2F5"/>
          </a:solidFill>
          <a:ln w="11643" cap="flat">
            <a:noFill/>
            <a:prstDash val="solid"/>
            <a:miter/>
          </a:ln>
        </p:spPr>
        <p:txBody>
          <a:bodyPr rtlCol="0" anchor="ctr"/>
          <a:lstStyle/>
          <a:p>
            <a:endParaRPr lang="de-DE"/>
          </a:p>
        </p:txBody>
      </p:sp>
      <p:sp>
        <p:nvSpPr>
          <p:cNvPr id="93" name="Freihandform: Form 92">
            <a:extLst>
              <a:ext uri="{FF2B5EF4-FFF2-40B4-BE49-F238E27FC236}">
                <a16:creationId xmlns:a16="http://schemas.microsoft.com/office/drawing/2014/main" id="{45EE2EBC-AC9B-4F66-BE0E-F697842CD09A}"/>
              </a:ext>
            </a:extLst>
          </p:cNvPr>
          <p:cNvSpPr/>
          <p:nvPr/>
        </p:nvSpPr>
        <p:spPr>
          <a:xfrm>
            <a:off x="7335247" y="3812040"/>
            <a:ext cx="132838" cy="144490"/>
          </a:xfrm>
          <a:custGeom>
            <a:avLst/>
            <a:gdLst>
              <a:gd name="connsiteX0" fmla="*/ 60593 w 132838"/>
              <a:gd name="connsiteY0" fmla="*/ 144491 h 144490"/>
              <a:gd name="connsiteX1" fmla="*/ 0 w 132838"/>
              <a:gd name="connsiteY1" fmla="*/ 144491 h 144490"/>
              <a:gd name="connsiteX2" fmla="*/ 71080 w 132838"/>
              <a:gd name="connsiteY2" fmla="*/ 73410 h 144490"/>
              <a:gd name="connsiteX3" fmla="*/ 0 w 132838"/>
              <a:gd name="connsiteY3" fmla="*/ 0 h 144490"/>
              <a:gd name="connsiteX4" fmla="*/ 61758 w 132838"/>
              <a:gd name="connsiteY4" fmla="*/ 0 h 144490"/>
              <a:gd name="connsiteX5" fmla="*/ 132838 w 132838"/>
              <a:gd name="connsiteY5" fmla="*/ 71080 h 144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4490">
                <a:moveTo>
                  <a:pt x="60593" y="144491"/>
                </a:moveTo>
                <a:lnTo>
                  <a:pt x="0" y="144491"/>
                </a:lnTo>
                <a:lnTo>
                  <a:pt x="71080" y="73410"/>
                </a:lnTo>
                <a:lnTo>
                  <a:pt x="0" y="0"/>
                </a:lnTo>
                <a:lnTo>
                  <a:pt x="61758" y="0"/>
                </a:lnTo>
                <a:lnTo>
                  <a:pt x="132838" y="71080"/>
                </a:lnTo>
                <a:close/>
              </a:path>
            </a:pathLst>
          </a:custGeom>
          <a:solidFill>
            <a:srgbClr val="EEF2F5"/>
          </a:solidFill>
          <a:ln w="11643" cap="flat">
            <a:noFill/>
            <a:prstDash val="solid"/>
            <a:miter/>
          </a:ln>
        </p:spPr>
        <p:txBody>
          <a:bodyPr rtlCol="0" anchor="ctr"/>
          <a:lstStyle/>
          <a:p>
            <a:endParaRPr lang="de-DE"/>
          </a:p>
        </p:txBody>
      </p:sp>
      <p:sp>
        <p:nvSpPr>
          <p:cNvPr id="109" name="Freihandform: Form 108">
            <a:extLst>
              <a:ext uri="{FF2B5EF4-FFF2-40B4-BE49-F238E27FC236}">
                <a16:creationId xmlns:a16="http://schemas.microsoft.com/office/drawing/2014/main" id="{23A8A58E-C664-472A-80B9-B34A798D133E}"/>
              </a:ext>
            </a:extLst>
          </p:cNvPr>
          <p:cNvSpPr/>
          <p:nvPr/>
        </p:nvSpPr>
        <p:spPr>
          <a:xfrm>
            <a:off x="7335247" y="4167441"/>
            <a:ext cx="132838" cy="143325"/>
          </a:xfrm>
          <a:custGeom>
            <a:avLst/>
            <a:gdLst>
              <a:gd name="connsiteX0" fmla="*/ 60593 w 132838"/>
              <a:gd name="connsiteY0" fmla="*/ 143325 h 143325"/>
              <a:gd name="connsiteX1" fmla="*/ 0 w 132838"/>
              <a:gd name="connsiteY1" fmla="*/ 143325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5"/>
                </a:moveTo>
                <a:lnTo>
                  <a:pt x="0" y="143325"/>
                </a:lnTo>
                <a:lnTo>
                  <a:pt x="71080" y="72245"/>
                </a:lnTo>
                <a:lnTo>
                  <a:pt x="0" y="0"/>
                </a:lnTo>
                <a:lnTo>
                  <a:pt x="61758" y="0"/>
                </a:lnTo>
                <a:lnTo>
                  <a:pt x="132838" y="69915"/>
                </a:lnTo>
                <a:close/>
              </a:path>
            </a:pathLst>
          </a:custGeom>
          <a:solidFill>
            <a:srgbClr val="EEF2F5"/>
          </a:solidFill>
          <a:ln w="11643" cap="flat">
            <a:noFill/>
            <a:prstDash val="solid"/>
            <a:miter/>
          </a:ln>
        </p:spPr>
        <p:txBody>
          <a:bodyPr rtlCol="0" anchor="ctr"/>
          <a:lstStyle/>
          <a:p>
            <a:endParaRPr lang="de-DE"/>
          </a:p>
        </p:txBody>
      </p:sp>
      <p:sp>
        <p:nvSpPr>
          <p:cNvPr id="125" name="Freihandform: Form 124">
            <a:extLst>
              <a:ext uri="{FF2B5EF4-FFF2-40B4-BE49-F238E27FC236}">
                <a16:creationId xmlns:a16="http://schemas.microsoft.com/office/drawing/2014/main" id="{C3B2D139-38F0-4A0D-927D-BDFD81D0A329}"/>
              </a:ext>
            </a:extLst>
          </p:cNvPr>
          <p:cNvSpPr/>
          <p:nvPr/>
        </p:nvSpPr>
        <p:spPr>
          <a:xfrm>
            <a:off x="7335247" y="4522842"/>
            <a:ext cx="132838" cy="143325"/>
          </a:xfrm>
          <a:custGeom>
            <a:avLst/>
            <a:gdLst>
              <a:gd name="connsiteX0" fmla="*/ 60593 w 132838"/>
              <a:gd name="connsiteY0" fmla="*/ 143325 h 143325"/>
              <a:gd name="connsiteX1" fmla="*/ 0 w 132838"/>
              <a:gd name="connsiteY1" fmla="*/ 143325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5"/>
                </a:moveTo>
                <a:lnTo>
                  <a:pt x="0" y="143325"/>
                </a:lnTo>
                <a:lnTo>
                  <a:pt x="71080" y="72245"/>
                </a:lnTo>
                <a:lnTo>
                  <a:pt x="0" y="0"/>
                </a:lnTo>
                <a:lnTo>
                  <a:pt x="61758" y="0"/>
                </a:lnTo>
                <a:lnTo>
                  <a:pt x="132838" y="69915"/>
                </a:lnTo>
                <a:close/>
              </a:path>
            </a:pathLst>
          </a:custGeom>
          <a:solidFill>
            <a:srgbClr val="EEF2F5"/>
          </a:solidFill>
          <a:ln w="11643" cap="flat">
            <a:noFill/>
            <a:prstDash val="solid"/>
            <a:miter/>
          </a:ln>
        </p:spPr>
        <p:txBody>
          <a:bodyPr rtlCol="0" anchor="ctr"/>
          <a:lstStyle/>
          <a:p>
            <a:endParaRPr lang="de-DE"/>
          </a:p>
        </p:txBody>
      </p:sp>
      <p:sp>
        <p:nvSpPr>
          <p:cNvPr id="142" name="Freihandform: Form 141">
            <a:extLst>
              <a:ext uri="{FF2B5EF4-FFF2-40B4-BE49-F238E27FC236}">
                <a16:creationId xmlns:a16="http://schemas.microsoft.com/office/drawing/2014/main" id="{B85C4BDF-6D64-4824-8953-A0E638E3F3C2}"/>
              </a:ext>
            </a:extLst>
          </p:cNvPr>
          <p:cNvSpPr/>
          <p:nvPr/>
        </p:nvSpPr>
        <p:spPr>
          <a:xfrm>
            <a:off x="7335247" y="4877077"/>
            <a:ext cx="132838" cy="143325"/>
          </a:xfrm>
          <a:custGeom>
            <a:avLst/>
            <a:gdLst>
              <a:gd name="connsiteX0" fmla="*/ 60593 w 132838"/>
              <a:gd name="connsiteY0" fmla="*/ 143325 h 143325"/>
              <a:gd name="connsiteX1" fmla="*/ 0 w 132838"/>
              <a:gd name="connsiteY1" fmla="*/ 143325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71080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5"/>
                </a:moveTo>
                <a:lnTo>
                  <a:pt x="0" y="143325"/>
                </a:lnTo>
                <a:lnTo>
                  <a:pt x="71080" y="72245"/>
                </a:lnTo>
                <a:lnTo>
                  <a:pt x="0" y="0"/>
                </a:lnTo>
                <a:lnTo>
                  <a:pt x="61758" y="0"/>
                </a:lnTo>
                <a:lnTo>
                  <a:pt x="132838" y="71080"/>
                </a:lnTo>
                <a:close/>
              </a:path>
            </a:pathLst>
          </a:custGeom>
          <a:solidFill>
            <a:srgbClr val="EEF2F5"/>
          </a:solidFill>
          <a:ln w="11643" cap="flat">
            <a:noFill/>
            <a:prstDash val="solid"/>
            <a:miter/>
          </a:ln>
        </p:spPr>
        <p:txBody>
          <a:bodyPr rtlCol="0" anchor="ctr"/>
          <a:lstStyle/>
          <a:p>
            <a:endParaRPr lang="de-DE"/>
          </a:p>
        </p:txBody>
      </p:sp>
      <p:sp>
        <p:nvSpPr>
          <p:cNvPr id="159" name="Freihandform: Form 158">
            <a:extLst>
              <a:ext uri="{FF2B5EF4-FFF2-40B4-BE49-F238E27FC236}">
                <a16:creationId xmlns:a16="http://schemas.microsoft.com/office/drawing/2014/main" id="{847A43FF-6A21-4A02-A0F3-7A25CB4C4A3E}"/>
              </a:ext>
            </a:extLst>
          </p:cNvPr>
          <p:cNvSpPr/>
          <p:nvPr/>
        </p:nvSpPr>
        <p:spPr>
          <a:xfrm>
            <a:off x="7335247" y="5232478"/>
            <a:ext cx="132838" cy="143325"/>
          </a:xfrm>
          <a:custGeom>
            <a:avLst/>
            <a:gdLst>
              <a:gd name="connsiteX0" fmla="*/ 60593 w 132838"/>
              <a:gd name="connsiteY0" fmla="*/ 143325 h 143325"/>
              <a:gd name="connsiteX1" fmla="*/ 0 w 132838"/>
              <a:gd name="connsiteY1" fmla="*/ 143325 h 143325"/>
              <a:gd name="connsiteX2" fmla="*/ 71080 w 132838"/>
              <a:gd name="connsiteY2" fmla="*/ 72246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5"/>
                </a:moveTo>
                <a:lnTo>
                  <a:pt x="0" y="143325"/>
                </a:lnTo>
                <a:lnTo>
                  <a:pt x="71080" y="72246"/>
                </a:lnTo>
                <a:lnTo>
                  <a:pt x="0" y="0"/>
                </a:lnTo>
                <a:lnTo>
                  <a:pt x="61758" y="0"/>
                </a:lnTo>
                <a:lnTo>
                  <a:pt x="132838" y="69915"/>
                </a:lnTo>
                <a:close/>
              </a:path>
            </a:pathLst>
          </a:custGeom>
          <a:solidFill>
            <a:srgbClr val="EEF2F5"/>
          </a:solidFill>
          <a:ln w="11643" cap="flat">
            <a:noFill/>
            <a:prstDash val="solid"/>
            <a:miter/>
          </a:ln>
        </p:spPr>
        <p:txBody>
          <a:bodyPr rtlCol="0" anchor="ctr"/>
          <a:lstStyle/>
          <a:p>
            <a:endParaRPr lang="de-DE"/>
          </a:p>
        </p:txBody>
      </p:sp>
      <p:sp>
        <p:nvSpPr>
          <p:cNvPr id="176" name="Freihandform: Form 175">
            <a:extLst>
              <a:ext uri="{FF2B5EF4-FFF2-40B4-BE49-F238E27FC236}">
                <a16:creationId xmlns:a16="http://schemas.microsoft.com/office/drawing/2014/main" id="{5F6F18CA-B559-43C7-A028-9927FEF76A9E}"/>
              </a:ext>
            </a:extLst>
          </p:cNvPr>
          <p:cNvSpPr/>
          <p:nvPr/>
        </p:nvSpPr>
        <p:spPr>
          <a:xfrm>
            <a:off x="7335247" y="5586713"/>
            <a:ext cx="132838" cy="143325"/>
          </a:xfrm>
          <a:custGeom>
            <a:avLst/>
            <a:gdLst>
              <a:gd name="connsiteX0" fmla="*/ 60593 w 132838"/>
              <a:gd name="connsiteY0" fmla="*/ 143326 h 143325"/>
              <a:gd name="connsiteX1" fmla="*/ 0 w 132838"/>
              <a:gd name="connsiteY1" fmla="*/ 143326 h 143325"/>
              <a:gd name="connsiteX2" fmla="*/ 71080 w 132838"/>
              <a:gd name="connsiteY2" fmla="*/ 72246 h 143325"/>
              <a:gd name="connsiteX3" fmla="*/ 0 w 132838"/>
              <a:gd name="connsiteY3" fmla="*/ 0 h 143325"/>
              <a:gd name="connsiteX4" fmla="*/ 61758 w 132838"/>
              <a:gd name="connsiteY4" fmla="*/ 0 h 143325"/>
              <a:gd name="connsiteX5" fmla="*/ 132838 w 132838"/>
              <a:gd name="connsiteY5" fmla="*/ 71080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6"/>
                </a:moveTo>
                <a:lnTo>
                  <a:pt x="0" y="143326"/>
                </a:lnTo>
                <a:lnTo>
                  <a:pt x="71080" y="72246"/>
                </a:lnTo>
                <a:lnTo>
                  <a:pt x="0" y="0"/>
                </a:lnTo>
                <a:lnTo>
                  <a:pt x="61758" y="0"/>
                </a:lnTo>
                <a:lnTo>
                  <a:pt x="132838" y="71080"/>
                </a:lnTo>
                <a:close/>
              </a:path>
            </a:pathLst>
          </a:custGeom>
          <a:solidFill>
            <a:srgbClr val="EEF2F5"/>
          </a:solidFill>
          <a:ln w="11643" cap="flat">
            <a:noFill/>
            <a:prstDash val="solid"/>
            <a:miter/>
          </a:ln>
        </p:spPr>
        <p:txBody>
          <a:bodyPr rtlCol="0" anchor="ctr"/>
          <a:lstStyle/>
          <a:p>
            <a:endParaRPr lang="de-DE"/>
          </a:p>
        </p:txBody>
      </p:sp>
      <p:sp>
        <p:nvSpPr>
          <p:cNvPr id="193" name="Freihandform: Form 192">
            <a:extLst>
              <a:ext uri="{FF2B5EF4-FFF2-40B4-BE49-F238E27FC236}">
                <a16:creationId xmlns:a16="http://schemas.microsoft.com/office/drawing/2014/main" id="{CA0955FD-7B34-49C4-9B74-6CBFAD6AC0D2}"/>
              </a:ext>
            </a:extLst>
          </p:cNvPr>
          <p:cNvSpPr/>
          <p:nvPr/>
        </p:nvSpPr>
        <p:spPr>
          <a:xfrm>
            <a:off x="7335247" y="5942114"/>
            <a:ext cx="132838" cy="143325"/>
          </a:xfrm>
          <a:custGeom>
            <a:avLst/>
            <a:gdLst>
              <a:gd name="connsiteX0" fmla="*/ 60593 w 132838"/>
              <a:gd name="connsiteY0" fmla="*/ 143326 h 143325"/>
              <a:gd name="connsiteX1" fmla="*/ 0 w 132838"/>
              <a:gd name="connsiteY1" fmla="*/ 143326 h 143325"/>
              <a:gd name="connsiteX2" fmla="*/ 71080 w 132838"/>
              <a:gd name="connsiteY2" fmla="*/ 72246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6"/>
                </a:moveTo>
                <a:lnTo>
                  <a:pt x="0" y="143326"/>
                </a:lnTo>
                <a:lnTo>
                  <a:pt x="71080" y="72246"/>
                </a:lnTo>
                <a:lnTo>
                  <a:pt x="0" y="0"/>
                </a:lnTo>
                <a:lnTo>
                  <a:pt x="61758" y="0"/>
                </a:lnTo>
                <a:lnTo>
                  <a:pt x="132838" y="69915"/>
                </a:lnTo>
                <a:close/>
              </a:path>
            </a:pathLst>
          </a:custGeom>
          <a:solidFill>
            <a:srgbClr val="EEF2F5"/>
          </a:solidFill>
          <a:ln w="11643" cap="flat">
            <a:noFill/>
            <a:prstDash val="solid"/>
            <a:miter/>
          </a:ln>
        </p:spPr>
        <p:txBody>
          <a:bodyPr rtlCol="0" anchor="ctr"/>
          <a:lstStyle/>
          <a:p>
            <a:endParaRPr lang="de-DE"/>
          </a:p>
        </p:txBody>
      </p:sp>
      <p:sp>
        <p:nvSpPr>
          <p:cNvPr id="210" name="Freihandform: Form 209">
            <a:extLst>
              <a:ext uri="{FF2B5EF4-FFF2-40B4-BE49-F238E27FC236}">
                <a16:creationId xmlns:a16="http://schemas.microsoft.com/office/drawing/2014/main" id="{D68D90D4-26AA-4477-A0C9-8263189B58F9}"/>
              </a:ext>
            </a:extLst>
          </p:cNvPr>
          <p:cNvSpPr/>
          <p:nvPr/>
        </p:nvSpPr>
        <p:spPr>
          <a:xfrm>
            <a:off x="7335247" y="6296349"/>
            <a:ext cx="132838" cy="143325"/>
          </a:xfrm>
          <a:custGeom>
            <a:avLst/>
            <a:gdLst>
              <a:gd name="connsiteX0" fmla="*/ 60593 w 132838"/>
              <a:gd name="connsiteY0" fmla="*/ 143326 h 143325"/>
              <a:gd name="connsiteX1" fmla="*/ 0 w 132838"/>
              <a:gd name="connsiteY1" fmla="*/ 143326 h 143325"/>
              <a:gd name="connsiteX2" fmla="*/ 71080 w 132838"/>
              <a:gd name="connsiteY2" fmla="*/ 72246 h 143325"/>
              <a:gd name="connsiteX3" fmla="*/ 0 w 132838"/>
              <a:gd name="connsiteY3" fmla="*/ 0 h 143325"/>
              <a:gd name="connsiteX4" fmla="*/ 61758 w 132838"/>
              <a:gd name="connsiteY4" fmla="*/ 0 h 143325"/>
              <a:gd name="connsiteX5" fmla="*/ 132838 w 132838"/>
              <a:gd name="connsiteY5" fmla="*/ 71080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6"/>
                </a:moveTo>
                <a:lnTo>
                  <a:pt x="0" y="143326"/>
                </a:lnTo>
                <a:lnTo>
                  <a:pt x="71080" y="72246"/>
                </a:lnTo>
                <a:lnTo>
                  <a:pt x="0" y="0"/>
                </a:lnTo>
                <a:lnTo>
                  <a:pt x="61758" y="0"/>
                </a:lnTo>
                <a:lnTo>
                  <a:pt x="132838" y="71080"/>
                </a:lnTo>
                <a:close/>
              </a:path>
            </a:pathLst>
          </a:custGeom>
          <a:solidFill>
            <a:srgbClr val="EEF2F5"/>
          </a:solidFill>
          <a:ln w="11643" cap="flat">
            <a:noFill/>
            <a:prstDash val="solid"/>
            <a:miter/>
          </a:ln>
        </p:spPr>
        <p:txBody>
          <a:bodyPr rtlCol="0" anchor="ctr"/>
          <a:lstStyle/>
          <a:p>
            <a:endParaRPr lang="de-DE"/>
          </a:p>
        </p:txBody>
      </p:sp>
      <p:sp>
        <p:nvSpPr>
          <p:cNvPr id="226" name="Freihandform: Form 225">
            <a:extLst>
              <a:ext uri="{FF2B5EF4-FFF2-40B4-BE49-F238E27FC236}">
                <a16:creationId xmlns:a16="http://schemas.microsoft.com/office/drawing/2014/main" id="{97640BFA-E4AC-482E-B26E-9BE22B98A669}"/>
              </a:ext>
            </a:extLst>
          </p:cNvPr>
          <p:cNvSpPr/>
          <p:nvPr/>
        </p:nvSpPr>
        <p:spPr>
          <a:xfrm>
            <a:off x="7335247" y="6651749"/>
            <a:ext cx="132838" cy="143325"/>
          </a:xfrm>
          <a:custGeom>
            <a:avLst/>
            <a:gdLst>
              <a:gd name="connsiteX0" fmla="*/ 60593 w 132838"/>
              <a:gd name="connsiteY0" fmla="*/ 143326 h 143325"/>
              <a:gd name="connsiteX1" fmla="*/ 0 w 132838"/>
              <a:gd name="connsiteY1" fmla="*/ 143326 h 143325"/>
              <a:gd name="connsiteX2" fmla="*/ 71080 w 132838"/>
              <a:gd name="connsiteY2" fmla="*/ 72246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6"/>
                </a:moveTo>
                <a:lnTo>
                  <a:pt x="0" y="143326"/>
                </a:lnTo>
                <a:lnTo>
                  <a:pt x="71080" y="72246"/>
                </a:lnTo>
                <a:lnTo>
                  <a:pt x="0" y="0"/>
                </a:lnTo>
                <a:lnTo>
                  <a:pt x="61758" y="0"/>
                </a:lnTo>
                <a:lnTo>
                  <a:pt x="132838" y="69915"/>
                </a:lnTo>
                <a:close/>
              </a:path>
            </a:pathLst>
          </a:custGeom>
          <a:solidFill>
            <a:srgbClr val="EEF2F5"/>
          </a:solidFill>
          <a:ln w="11643" cap="flat">
            <a:noFill/>
            <a:prstDash val="solid"/>
            <a:miter/>
          </a:ln>
        </p:spPr>
        <p:txBody>
          <a:bodyPr rtlCol="0" anchor="ctr"/>
          <a:lstStyle/>
          <a:p>
            <a:endParaRPr lang="de-DE"/>
          </a:p>
        </p:txBody>
      </p:sp>
      <p:sp>
        <p:nvSpPr>
          <p:cNvPr id="15" name="Freihandform: Form 14">
            <a:extLst>
              <a:ext uri="{FF2B5EF4-FFF2-40B4-BE49-F238E27FC236}">
                <a16:creationId xmlns:a16="http://schemas.microsoft.com/office/drawing/2014/main" id="{F336D4C3-F14F-4477-B07F-E766912B6926}"/>
              </a:ext>
            </a:extLst>
          </p:cNvPr>
          <p:cNvSpPr/>
          <p:nvPr/>
        </p:nvSpPr>
        <p:spPr>
          <a:xfrm>
            <a:off x="7682491" y="2029211"/>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30" name="Freihandform: Form 29">
            <a:extLst>
              <a:ext uri="{FF2B5EF4-FFF2-40B4-BE49-F238E27FC236}">
                <a16:creationId xmlns:a16="http://schemas.microsoft.com/office/drawing/2014/main" id="{34D4DA1D-8EE2-4188-AE9C-9791ECBC66C5}"/>
              </a:ext>
            </a:extLst>
          </p:cNvPr>
          <p:cNvSpPr/>
          <p:nvPr/>
        </p:nvSpPr>
        <p:spPr>
          <a:xfrm>
            <a:off x="7682491" y="2384612"/>
            <a:ext cx="147986" cy="160804"/>
          </a:xfrm>
          <a:custGeom>
            <a:avLst/>
            <a:gdLst>
              <a:gd name="connsiteX0" fmla="*/ 67584 w 147986"/>
              <a:gd name="connsiteY0" fmla="*/ 160804 h 160804"/>
              <a:gd name="connsiteX1" fmla="*/ 0 w 147986"/>
              <a:gd name="connsiteY1" fmla="*/ 160804 h 160804"/>
              <a:gd name="connsiteX2" fmla="*/ 79237 w 147986"/>
              <a:gd name="connsiteY2" fmla="*/ 80402 h 160804"/>
              <a:gd name="connsiteX3" fmla="*/ 0 w 147986"/>
              <a:gd name="connsiteY3" fmla="*/ 0 h 160804"/>
              <a:gd name="connsiteX4" fmla="*/ 68750 w 147986"/>
              <a:gd name="connsiteY4" fmla="*/ 0 h 160804"/>
              <a:gd name="connsiteX5" fmla="*/ 147986 w 147986"/>
              <a:gd name="connsiteY5" fmla="*/ 79237 h 160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0804">
                <a:moveTo>
                  <a:pt x="67584" y="160804"/>
                </a:moveTo>
                <a:lnTo>
                  <a:pt x="0" y="160804"/>
                </a:lnTo>
                <a:lnTo>
                  <a:pt x="79237" y="80402"/>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46" name="Freihandform: Form 45">
            <a:extLst>
              <a:ext uri="{FF2B5EF4-FFF2-40B4-BE49-F238E27FC236}">
                <a16:creationId xmlns:a16="http://schemas.microsoft.com/office/drawing/2014/main" id="{ADAD204A-493D-4101-A53B-41343EE7F6DE}"/>
              </a:ext>
            </a:extLst>
          </p:cNvPr>
          <p:cNvSpPr/>
          <p:nvPr/>
        </p:nvSpPr>
        <p:spPr>
          <a:xfrm>
            <a:off x="7682491" y="2738847"/>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62" name="Freihandform: Form 61">
            <a:extLst>
              <a:ext uri="{FF2B5EF4-FFF2-40B4-BE49-F238E27FC236}">
                <a16:creationId xmlns:a16="http://schemas.microsoft.com/office/drawing/2014/main" id="{0605F07B-22A0-4571-A9A8-F5DA3A1756E5}"/>
              </a:ext>
            </a:extLst>
          </p:cNvPr>
          <p:cNvSpPr/>
          <p:nvPr/>
        </p:nvSpPr>
        <p:spPr>
          <a:xfrm>
            <a:off x="7682491" y="3094248"/>
            <a:ext cx="147986" cy="160804"/>
          </a:xfrm>
          <a:custGeom>
            <a:avLst/>
            <a:gdLst>
              <a:gd name="connsiteX0" fmla="*/ 67584 w 147986"/>
              <a:gd name="connsiteY0" fmla="*/ 160804 h 160804"/>
              <a:gd name="connsiteX1" fmla="*/ 0 w 147986"/>
              <a:gd name="connsiteY1" fmla="*/ 160804 h 160804"/>
              <a:gd name="connsiteX2" fmla="*/ 79237 w 147986"/>
              <a:gd name="connsiteY2" fmla="*/ 81567 h 160804"/>
              <a:gd name="connsiteX3" fmla="*/ 0 w 147986"/>
              <a:gd name="connsiteY3" fmla="*/ 0 h 160804"/>
              <a:gd name="connsiteX4" fmla="*/ 68750 w 147986"/>
              <a:gd name="connsiteY4" fmla="*/ 0 h 160804"/>
              <a:gd name="connsiteX5" fmla="*/ 147986 w 147986"/>
              <a:gd name="connsiteY5" fmla="*/ 79237 h 160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0804">
                <a:moveTo>
                  <a:pt x="67584" y="160804"/>
                </a:moveTo>
                <a:lnTo>
                  <a:pt x="0" y="160804"/>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78" name="Freihandform: Form 77">
            <a:extLst>
              <a:ext uri="{FF2B5EF4-FFF2-40B4-BE49-F238E27FC236}">
                <a16:creationId xmlns:a16="http://schemas.microsoft.com/office/drawing/2014/main" id="{3EC20671-A11E-46B3-BAE0-32B973030757}"/>
              </a:ext>
            </a:extLst>
          </p:cNvPr>
          <p:cNvSpPr/>
          <p:nvPr/>
        </p:nvSpPr>
        <p:spPr>
          <a:xfrm>
            <a:off x="7682491" y="3448483"/>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94" name="Freihandform: Form 93">
            <a:extLst>
              <a:ext uri="{FF2B5EF4-FFF2-40B4-BE49-F238E27FC236}">
                <a16:creationId xmlns:a16="http://schemas.microsoft.com/office/drawing/2014/main" id="{A30F4723-63CF-4B8C-9113-E2531A8EBC72}"/>
              </a:ext>
            </a:extLst>
          </p:cNvPr>
          <p:cNvSpPr/>
          <p:nvPr/>
        </p:nvSpPr>
        <p:spPr>
          <a:xfrm>
            <a:off x="7682491" y="3803883"/>
            <a:ext cx="147986" cy="160804"/>
          </a:xfrm>
          <a:custGeom>
            <a:avLst/>
            <a:gdLst>
              <a:gd name="connsiteX0" fmla="*/ 67584 w 147986"/>
              <a:gd name="connsiteY0" fmla="*/ 160804 h 160804"/>
              <a:gd name="connsiteX1" fmla="*/ 0 w 147986"/>
              <a:gd name="connsiteY1" fmla="*/ 160804 h 160804"/>
              <a:gd name="connsiteX2" fmla="*/ 79237 w 147986"/>
              <a:gd name="connsiteY2" fmla="*/ 81567 h 160804"/>
              <a:gd name="connsiteX3" fmla="*/ 0 w 147986"/>
              <a:gd name="connsiteY3" fmla="*/ 0 h 160804"/>
              <a:gd name="connsiteX4" fmla="*/ 68750 w 147986"/>
              <a:gd name="connsiteY4" fmla="*/ 0 h 160804"/>
              <a:gd name="connsiteX5" fmla="*/ 147986 w 147986"/>
              <a:gd name="connsiteY5" fmla="*/ 79237 h 160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0804">
                <a:moveTo>
                  <a:pt x="67584" y="160804"/>
                </a:moveTo>
                <a:lnTo>
                  <a:pt x="0" y="160804"/>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110" name="Freihandform: Form 109">
            <a:extLst>
              <a:ext uri="{FF2B5EF4-FFF2-40B4-BE49-F238E27FC236}">
                <a16:creationId xmlns:a16="http://schemas.microsoft.com/office/drawing/2014/main" id="{0B073543-0431-463D-BD2B-670537378FD9}"/>
              </a:ext>
            </a:extLst>
          </p:cNvPr>
          <p:cNvSpPr/>
          <p:nvPr/>
        </p:nvSpPr>
        <p:spPr>
          <a:xfrm>
            <a:off x="7682491" y="4158119"/>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126" name="Freihandform: Form 125">
            <a:extLst>
              <a:ext uri="{FF2B5EF4-FFF2-40B4-BE49-F238E27FC236}">
                <a16:creationId xmlns:a16="http://schemas.microsoft.com/office/drawing/2014/main" id="{D645C434-6F6D-4B2F-9987-6BA4C184BDAD}"/>
              </a:ext>
            </a:extLst>
          </p:cNvPr>
          <p:cNvSpPr/>
          <p:nvPr/>
        </p:nvSpPr>
        <p:spPr>
          <a:xfrm>
            <a:off x="7682491" y="4513520"/>
            <a:ext cx="147986" cy="160804"/>
          </a:xfrm>
          <a:custGeom>
            <a:avLst/>
            <a:gdLst>
              <a:gd name="connsiteX0" fmla="*/ 67584 w 147986"/>
              <a:gd name="connsiteY0" fmla="*/ 160804 h 160804"/>
              <a:gd name="connsiteX1" fmla="*/ 0 w 147986"/>
              <a:gd name="connsiteY1" fmla="*/ 160804 h 160804"/>
              <a:gd name="connsiteX2" fmla="*/ 79237 w 147986"/>
              <a:gd name="connsiteY2" fmla="*/ 81567 h 160804"/>
              <a:gd name="connsiteX3" fmla="*/ 0 w 147986"/>
              <a:gd name="connsiteY3" fmla="*/ 0 h 160804"/>
              <a:gd name="connsiteX4" fmla="*/ 68750 w 147986"/>
              <a:gd name="connsiteY4" fmla="*/ 0 h 160804"/>
              <a:gd name="connsiteX5" fmla="*/ 147986 w 147986"/>
              <a:gd name="connsiteY5" fmla="*/ 79237 h 160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0804">
                <a:moveTo>
                  <a:pt x="67584" y="160804"/>
                </a:moveTo>
                <a:lnTo>
                  <a:pt x="0" y="160804"/>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143" name="Freihandform: Form 142">
            <a:extLst>
              <a:ext uri="{FF2B5EF4-FFF2-40B4-BE49-F238E27FC236}">
                <a16:creationId xmlns:a16="http://schemas.microsoft.com/office/drawing/2014/main" id="{78C199F1-38D6-4003-B23F-FB1D901A96D0}"/>
              </a:ext>
            </a:extLst>
          </p:cNvPr>
          <p:cNvSpPr/>
          <p:nvPr/>
        </p:nvSpPr>
        <p:spPr>
          <a:xfrm>
            <a:off x="7682491" y="4867755"/>
            <a:ext cx="147986" cy="161969"/>
          </a:xfrm>
          <a:custGeom>
            <a:avLst/>
            <a:gdLst>
              <a:gd name="connsiteX0" fmla="*/ 67584 w 147986"/>
              <a:gd name="connsiteY0" fmla="*/ 161970 h 161969"/>
              <a:gd name="connsiteX1" fmla="*/ 0 w 147986"/>
              <a:gd name="connsiteY1" fmla="*/ 161970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70"/>
                </a:moveTo>
                <a:lnTo>
                  <a:pt x="0" y="161970"/>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160" name="Freihandform: Form 159">
            <a:extLst>
              <a:ext uri="{FF2B5EF4-FFF2-40B4-BE49-F238E27FC236}">
                <a16:creationId xmlns:a16="http://schemas.microsoft.com/office/drawing/2014/main" id="{88794CE9-C4AD-447D-ADEB-D45D8252050B}"/>
              </a:ext>
            </a:extLst>
          </p:cNvPr>
          <p:cNvSpPr/>
          <p:nvPr/>
        </p:nvSpPr>
        <p:spPr>
          <a:xfrm>
            <a:off x="7682491" y="5223156"/>
            <a:ext cx="147986" cy="160804"/>
          </a:xfrm>
          <a:custGeom>
            <a:avLst/>
            <a:gdLst>
              <a:gd name="connsiteX0" fmla="*/ 67584 w 147986"/>
              <a:gd name="connsiteY0" fmla="*/ 160804 h 160804"/>
              <a:gd name="connsiteX1" fmla="*/ 0 w 147986"/>
              <a:gd name="connsiteY1" fmla="*/ 160804 h 160804"/>
              <a:gd name="connsiteX2" fmla="*/ 79237 w 147986"/>
              <a:gd name="connsiteY2" fmla="*/ 81567 h 160804"/>
              <a:gd name="connsiteX3" fmla="*/ 0 w 147986"/>
              <a:gd name="connsiteY3" fmla="*/ 0 h 160804"/>
              <a:gd name="connsiteX4" fmla="*/ 68750 w 147986"/>
              <a:gd name="connsiteY4" fmla="*/ 0 h 160804"/>
              <a:gd name="connsiteX5" fmla="*/ 147986 w 147986"/>
              <a:gd name="connsiteY5" fmla="*/ 79237 h 160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0804">
                <a:moveTo>
                  <a:pt x="67584" y="160804"/>
                </a:moveTo>
                <a:lnTo>
                  <a:pt x="0" y="160804"/>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177" name="Freihandform: Form 176">
            <a:extLst>
              <a:ext uri="{FF2B5EF4-FFF2-40B4-BE49-F238E27FC236}">
                <a16:creationId xmlns:a16="http://schemas.microsoft.com/office/drawing/2014/main" id="{FB39A232-82A2-4ED2-B532-B8247CC2812D}"/>
              </a:ext>
            </a:extLst>
          </p:cNvPr>
          <p:cNvSpPr/>
          <p:nvPr/>
        </p:nvSpPr>
        <p:spPr>
          <a:xfrm>
            <a:off x="7682491" y="5577391"/>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194" name="Freihandform: Form 193">
            <a:extLst>
              <a:ext uri="{FF2B5EF4-FFF2-40B4-BE49-F238E27FC236}">
                <a16:creationId xmlns:a16="http://schemas.microsoft.com/office/drawing/2014/main" id="{B5F8FABB-7522-42DB-BB0F-06A4420A79B1}"/>
              </a:ext>
            </a:extLst>
          </p:cNvPr>
          <p:cNvSpPr/>
          <p:nvPr/>
        </p:nvSpPr>
        <p:spPr>
          <a:xfrm>
            <a:off x="7682491" y="5932792"/>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211" name="Freihandform: Form 210">
            <a:extLst>
              <a:ext uri="{FF2B5EF4-FFF2-40B4-BE49-F238E27FC236}">
                <a16:creationId xmlns:a16="http://schemas.microsoft.com/office/drawing/2014/main" id="{D1F73513-4E28-4A8A-BEBF-47911EDB513A}"/>
              </a:ext>
            </a:extLst>
          </p:cNvPr>
          <p:cNvSpPr/>
          <p:nvPr/>
        </p:nvSpPr>
        <p:spPr>
          <a:xfrm>
            <a:off x="7682491" y="6287027"/>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80402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80402"/>
                </a:lnTo>
                <a:close/>
              </a:path>
            </a:pathLst>
          </a:custGeom>
          <a:solidFill>
            <a:srgbClr val="EEF2F5"/>
          </a:solidFill>
          <a:ln w="11643" cap="flat">
            <a:noFill/>
            <a:prstDash val="solid"/>
            <a:miter/>
          </a:ln>
        </p:spPr>
        <p:txBody>
          <a:bodyPr rtlCol="0" anchor="ctr"/>
          <a:lstStyle/>
          <a:p>
            <a:endParaRPr lang="de-DE"/>
          </a:p>
        </p:txBody>
      </p:sp>
      <p:sp>
        <p:nvSpPr>
          <p:cNvPr id="227" name="Freihandform: Form 226">
            <a:extLst>
              <a:ext uri="{FF2B5EF4-FFF2-40B4-BE49-F238E27FC236}">
                <a16:creationId xmlns:a16="http://schemas.microsoft.com/office/drawing/2014/main" id="{4D6DE079-31CD-44BD-8304-6E69A15E3218}"/>
              </a:ext>
            </a:extLst>
          </p:cNvPr>
          <p:cNvSpPr/>
          <p:nvPr/>
        </p:nvSpPr>
        <p:spPr>
          <a:xfrm>
            <a:off x="7682491" y="6642428"/>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16" name="Freihandform: Form 15">
            <a:extLst>
              <a:ext uri="{FF2B5EF4-FFF2-40B4-BE49-F238E27FC236}">
                <a16:creationId xmlns:a16="http://schemas.microsoft.com/office/drawing/2014/main" id="{AA2702D7-FFC1-412B-9F48-632A7CE520AC}"/>
              </a:ext>
            </a:extLst>
          </p:cNvPr>
          <p:cNvSpPr/>
          <p:nvPr/>
        </p:nvSpPr>
        <p:spPr>
          <a:xfrm>
            <a:off x="8028570" y="2019889"/>
            <a:ext cx="165465" cy="179448"/>
          </a:xfrm>
          <a:custGeom>
            <a:avLst/>
            <a:gdLst>
              <a:gd name="connsiteX0" fmla="*/ 75741 w 165465"/>
              <a:gd name="connsiteY0" fmla="*/ 179448 h 179448"/>
              <a:gd name="connsiteX1" fmla="*/ 0 w 165465"/>
              <a:gd name="connsiteY1" fmla="*/ 179448 h 179448"/>
              <a:gd name="connsiteX2" fmla="*/ 88559 w 165465"/>
              <a:gd name="connsiteY2" fmla="*/ 90889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31" name="Freihandform: Form 30">
            <a:extLst>
              <a:ext uri="{FF2B5EF4-FFF2-40B4-BE49-F238E27FC236}">
                <a16:creationId xmlns:a16="http://schemas.microsoft.com/office/drawing/2014/main" id="{648C99A7-3678-4CC0-AF16-855FE8DF6A83}"/>
              </a:ext>
            </a:extLst>
          </p:cNvPr>
          <p:cNvSpPr/>
          <p:nvPr/>
        </p:nvSpPr>
        <p:spPr>
          <a:xfrm>
            <a:off x="8028570" y="2375290"/>
            <a:ext cx="165465" cy="179448"/>
          </a:xfrm>
          <a:custGeom>
            <a:avLst/>
            <a:gdLst>
              <a:gd name="connsiteX0" fmla="*/ 75741 w 165465"/>
              <a:gd name="connsiteY0" fmla="*/ 179448 h 179448"/>
              <a:gd name="connsiteX1" fmla="*/ 0 w 165465"/>
              <a:gd name="connsiteY1" fmla="*/ 179448 h 179448"/>
              <a:gd name="connsiteX2" fmla="*/ 88559 w 165465"/>
              <a:gd name="connsiteY2" fmla="*/ 90889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47" name="Freihandform: Form 46">
            <a:extLst>
              <a:ext uri="{FF2B5EF4-FFF2-40B4-BE49-F238E27FC236}">
                <a16:creationId xmlns:a16="http://schemas.microsoft.com/office/drawing/2014/main" id="{0E3F6CC1-3FE3-4CB0-8193-8A547CA4FB4E}"/>
              </a:ext>
            </a:extLst>
          </p:cNvPr>
          <p:cNvSpPr/>
          <p:nvPr/>
        </p:nvSpPr>
        <p:spPr>
          <a:xfrm>
            <a:off x="8028570" y="2729525"/>
            <a:ext cx="165465" cy="179448"/>
          </a:xfrm>
          <a:custGeom>
            <a:avLst/>
            <a:gdLst>
              <a:gd name="connsiteX0" fmla="*/ 75741 w 165465"/>
              <a:gd name="connsiteY0" fmla="*/ 179448 h 179448"/>
              <a:gd name="connsiteX1" fmla="*/ 0 w 165465"/>
              <a:gd name="connsiteY1" fmla="*/ 179448 h 179448"/>
              <a:gd name="connsiteX2" fmla="*/ 88559 w 165465"/>
              <a:gd name="connsiteY2" fmla="*/ 90889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63" name="Freihandform: Form 62">
            <a:extLst>
              <a:ext uri="{FF2B5EF4-FFF2-40B4-BE49-F238E27FC236}">
                <a16:creationId xmlns:a16="http://schemas.microsoft.com/office/drawing/2014/main" id="{49D6FD09-D76C-4E44-8667-31EAE0B38FB7}"/>
              </a:ext>
            </a:extLst>
          </p:cNvPr>
          <p:cNvSpPr/>
          <p:nvPr/>
        </p:nvSpPr>
        <p:spPr>
          <a:xfrm>
            <a:off x="8028570" y="3084926"/>
            <a:ext cx="165465" cy="179448"/>
          </a:xfrm>
          <a:custGeom>
            <a:avLst/>
            <a:gdLst>
              <a:gd name="connsiteX0" fmla="*/ 75741 w 165465"/>
              <a:gd name="connsiteY0" fmla="*/ 179448 h 179448"/>
              <a:gd name="connsiteX1" fmla="*/ 0 w 165465"/>
              <a:gd name="connsiteY1" fmla="*/ 179448 h 179448"/>
              <a:gd name="connsiteX2" fmla="*/ 88559 w 165465"/>
              <a:gd name="connsiteY2" fmla="*/ 90889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79" name="Freihandform: Form 78">
            <a:extLst>
              <a:ext uri="{FF2B5EF4-FFF2-40B4-BE49-F238E27FC236}">
                <a16:creationId xmlns:a16="http://schemas.microsoft.com/office/drawing/2014/main" id="{92A2F530-7C00-4840-A5DC-15FB5F070BFC}"/>
              </a:ext>
            </a:extLst>
          </p:cNvPr>
          <p:cNvSpPr/>
          <p:nvPr/>
        </p:nvSpPr>
        <p:spPr>
          <a:xfrm>
            <a:off x="8028570" y="3439161"/>
            <a:ext cx="165465" cy="180613"/>
          </a:xfrm>
          <a:custGeom>
            <a:avLst/>
            <a:gdLst>
              <a:gd name="connsiteX0" fmla="*/ 75741 w 165465"/>
              <a:gd name="connsiteY0" fmla="*/ 180614 h 180613"/>
              <a:gd name="connsiteX1" fmla="*/ 0 w 165465"/>
              <a:gd name="connsiteY1" fmla="*/ 180614 h 180613"/>
              <a:gd name="connsiteX2" fmla="*/ 88559 w 165465"/>
              <a:gd name="connsiteY2" fmla="*/ 90889 h 180613"/>
              <a:gd name="connsiteX3" fmla="*/ 0 w 165465"/>
              <a:gd name="connsiteY3" fmla="*/ 0 h 180613"/>
              <a:gd name="connsiteX4" fmla="*/ 76906 w 165465"/>
              <a:gd name="connsiteY4" fmla="*/ 0 h 180613"/>
              <a:gd name="connsiteX5" fmla="*/ 165465 w 165465"/>
              <a:gd name="connsiteY5" fmla="*/ 88559 h 180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80613">
                <a:moveTo>
                  <a:pt x="75741" y="180614"/>
                </a:moveTo>
                <a:lnTo>
                  <a:pt x="0" y="180614"/>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95" name="Freihandform: Form 94">
            <a:extLst>
              <a:ext uri="{FF2B5EF4-FFF2-40B4-BE49-F238E27FC236}">
                <a16:creationId xmlns:a16="http://schemas.microsoft.com/office/drawing/2014/main" id="{6D26EBCB-8FC5-402E-8D7D-BBB49F3CFCC5}"/>
              </a:ext>
            </a:extLst>
          </p:cNvPr>
          <p:cNvSpPr/>
          <p:nvPr/>
        </p:nvSpPr>
        <p:spPr>
          <a:xfrm>
            <a:off x="8028570" y="3794562"/>
            <a:ext cx="165465" cy="179448"/>
          </a:xfrm>
          <a:custGeom>
            <a:avLst/>
            <a:gdLst>
              <a:gd name="connsiteX0" fmla="*/ 75741 w 165465"/>
              <a:gd name="connsiteY0" fmla="*/ 179448 h 179448"/>
              <a:gd name="connsiteX1" fmla="*/ 0 w 165465"/>
              <a:gd name="connsiteY1" fmla="*/ 179448 h 179448"/>
              <a:gd name="connsiteX2" fmla="*/ 88559 w 165465"/>
              <a:gd name="connsiteY2" fmla="*/ 90889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111" name="Freihandform: Form 110">
            <a:extLst>
              <a:ext uri="{FF2B5EF4-FFF2-40B4-BE49-F238E27FC236}">
                <a16:creationId xmlns:a16="http://schemas.microsoft.com/office/drawing/2014/main" id="{CCAAEEA3-A150-4712-ACA6-4E1DDCA0F471}"/>
              </a:ext>
            </a:extLst>
          </p:cNvPr>
          <p:cNvSpPr/>
          <p:nvPr/>
        </p:nvSpPr>
        <p:spPr>
          <a:xfrm>
            <a:off x="8028570" y="4148797"/>
            <a:ext cx="165465" cy="180613"/>
          </a:xfrm>
          <a:custGeom>
            <a:avLst/>
            <a:gdLst>
              <a:gd name="connsiteX0" fmla="*/ 75741 w 165465"/>
              <a:gd name="connsiteY0" fmla="*/ 180613 h 180613"/>
              <a:gd name="connsiteX1" fmla="*/ 0 w 165465"/>
              <a:gd name="connsiteY1" fmla="*/ 180613 h 180613"/>
              <a:gd name="connsiteX2" fmla="*/ 88559 w 165465"/>
              <a:gd name="connsiteY2" fmla="*/ 90889 h 180613"/>
              <a:gd name="connsiteX3" fmla="*/ 0 w 165465"/>
              <a:gd name="connsiteY3" fmla="*/ 0 h 180613"/>
              <a:gd name="connsiteX4" fmla="*/ 76906 w 165465"/>
              <a:gd name="connsiteY4" fmla="*/ 0 h 180613"/>
              <a:gd name="connsiteX5" fmla="*/ 165465 w 165465"/>
              <a:gd name="connsiteY5" fmla="*/ 88559 h 180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80613">
                <a:moveTo>
                  <a:pt x="75741" y="180613"/>
                </a:moveTo>
                <a:lnTo>
                  <a:pt x="0" y="180613"/>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127" name="Freihandform: Form 126">
            <a:extLst>
              <a:ext uri="{FF2B5EF4-FFF2-40B4-BE49-F238E27FC236}">
                <a16:creationId xmlns:a16="http://schemas.microsoft.com/office/drawing/2014/main" id="{4836B90C-7140-46A6-8E06-F6F443FAF626}"/>
              </a:ext>
            </a:extLst>
          </p:cNvPr>
          <p:cNvSpPr/>
          <p:nvPr/>
        </p:nvSpPr>
        <p:spPr>
          <a:xfrm>
            <a:off x="8028570" y="4504198"/>
            <a:ext cx="165465" cy="179448"/>
          </a:xfrm>
          <a:custGeom>
            <a:avLst/>
            <a:gdLst>
              <a:gd name="connsiteX0" fmla="*/ 75741 w 165465"/>
              <a:gd name="connsiteY0" fmla="*/ 179448 h 179448"/>
              <a:gd name="connsiteX1" fmla="*/ 0 w 165465"/>
              <a:gd name="connsiteY1" fmla="*/ 179448 h 179448"/>
              <a:gd name="connsiteX2" fmla="*/ 88559 w 165465"/>
              <a:gd name="connsiteY2" fmla="*/ 90889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144" name="Freihandform: Form 143">
            <a:extLst>
              <a:ext uri="{FF2B5EF4-FFF2-40B4-BE49-F238E27FC236}">
                <a16:creationId xmlns:a16="http://schemas.microsoft.com/office/drawing/2014/main" id="{3BBFE07D-6FDD-4238-9402-B3F281DCA33E}"/>
              </a:ext>
            </a:extLst>
          </p:cNvPr>
          <p:cNvSpPr/>
          <p:nvPr/>
        </p:nvSpPr>
        <p:spPr>
          <a:xfrm>
            <a:off x="8028570" y="4859598"/>
            <a:ext cx="165465" cy="179448"/>
          </a:xfrm>
          <a:custGeom>
            <a:avLst/>
            <a:gdLst>
              <a:gd name="connsiteX0" fmla="*/ 75741 w 165465"/>
              <a:gd name="connsiteY0" fmla="*/ 179448 h 179448"/>
              <a:gd name="connsiteX1" fmla="*/ 0 w 165465"/>
              <a:gd name="connsiteY1" fmla="*/ 179448 h 179448"/>
              <a:gd name="connsiteX2" fmla="*/ 88559 w 165465"/>
              <a:gd name="connsiteY2" fmla="*/ 89724 h 179448"/>
              <a:gd name="connsiteX3" fmla="*/ 0 w 165465"/>
              <a:gd name="connsiteY3" fmla="*/ 0 h 179448"/>
              <a:gd name="connsiteX4" fmla="*/ 76906 w 165465"/>
              <a:gd name="connsiteY4" fmla="*/ 0 h 179448"/>
              <a:gd name="connsiteX5" fmla="*/ 165465 w 165465"/>
              <a:gd name="connsiteY5" fmla="*/ 87394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89724"/>
                </a:lnTo>
                <a:lnTo>
                  <a:pt x="0" y="0"/>
                </a:lnTo>
                <a:lnTo>
                  <a:pt x="76906" y="0"/>
                </a:lnTo>
                <a:lnTo>
                  <a:pt x="165465" y="87394"/>
                </a:lnTo>
                <a:close/>
              </a:path>
            </a:pathLst>
          </a:custGeom>
          <a:solidFill>
            <a:srgbClr val="EEF2F5"/>
          </a:solidFill>
          <a:ln w="11643" cap="flat">
            <a:noFill/>
            <a:prstDash val="solid"/>
            <a:miter/>
          </a:ln>
        </p:spPr>
        <p:txBody>
          <a:bodyPr rtlCol="0" anchor="ctr"/>
          <a:lstStyle/>
          <a:p>
            <a:endParaRPr lang="de-DE"/>
          </a:p>
        </p:txBody>
      </p:sp>
      <p:sp>
        <p:nvSpPr>
          <p:cNvPr id="161" name="Freihandform: Form 160">
            <a:extLst>
              <a:ext uri="{FF2B5EF4-FFF2-40B4-BE49-F238E27FC236}">
                <a16:creationId xmlns:a16="http://schemas.microsoft.com/office/drawing/2014/main" id="{9F4D763A-5B43-4FAB-9B68-52F7F446418E}"/>
              </a:ext>
            </a:extLst>
          </p:cNvPr>
          <p:cNvSpPr/>
          <p:nvPr/>
        </p:nvSpPr>
        <p:spPr>
          <a:xfrm>
            <a:off x="8028570" y="5213834"/>
            <a:ext cx="165465" cy="179448"/>
          </a:xfrm>
          <a:custGeom>
            <a:avLst/>
            <a:gdLst>
              <a:gd name="connsiteX0" fmla="*/ 75741 w 165465"/>
              <a:gd name="connsiteY0" fmla="*/ 179448 h 179448"/>
              <a:gd name="connsiteX1" fmla="*/ 0 w 165465"/>
              <a:gd name="connsiteY1" fmla="*/ 179448 h 179448"/>
              <a:gd name="connsiteX2" fmla="*/ 88559 w 165465"/>
              <a:gd name="connsiteY2" fmla="*/ 90890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90"/>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178" name="Freihandform: Form 177">
            <a:extLst>
              <a:ext uri="{FF2B5EF4-FFF2-40B4-BE49-F238E27FC236}">
                <a16:creationId xmlns:a16="http://schemas.microsoft.com/office/drawing/2014/main" id="{41FB849E-381E-41F8-9504-EDE13E3D8055}"/>
              </a:ext>
            </a:extLst>
          </p:cNvPr>
          <p:cNvSpPr/>
          <p:nvPr/>
        </p:nvSpPr>
        <p:spPr>
          <a:xfrm>
            <a:off x="8028570" y="5569234"/>
            <a:ext cx="165465" cy="179448"/>
          </a:xfrm>
          <a:custGeom>
            <a:avLst/>
            <a:gdLst>
              <a:gd name="connsiteX0" fmla="*/ 75741 w 165465"/>
              <a:gd name="connsiteY0" fmla="*/ 179448 h 179448"/>
              <a:gd name="connsiteX1" fmla="*/ 0 w 165465"/>
              <a:gd name="connsiteY1" fmla="*/ 179448 h 179448"/>
              <a:gd name="connsiteX2" fmla="*/ 88559 w 165465"/>
              <a:gd name="connsiteY2" fmla="*/ 89724 h 179448"/>
              <a:gd name="connsiteX3" fmla="*/ 0 w 165465"/>
              <a:gd name="connsiteY3" fmla="*/ 0 h 179448"/>
              <a:gd name="connsiteX4" fmla="*/ 76906 w 165465"/>
              <a:gd name="connsiteY4" fmla="*/ 0 h 179448"/>
              <a:gd name="connsiteX5" fmla="*/ 165465 w 165465"/>
              <a:gd name="connsiteY5" fmla="*/ 87394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89724"/>
                </a:lnTo>
                <a:lnTo>
                  <a:pt x="0" y="0"/>
                </a:lnTo>
                <a:lnTo>
                  <a:pt x="76906" y="0"/>
                </a:lnTo>
                <a:lnTo>
                  <a:pt x="165465" y="87394"/>
                </a:lnTo>
                <a:close/>
              </a:path>
            </a:pathLst>
          </a:custGeom>
          <a:solidFill>
            <a:srgbClr val="EEF2F5"/>
          </a:solidFill>
          <a:ln w="11643" cap="flat">
            <a:noFill/>
            <a:prstDash val="solid"/>
            <a:miter/>
          </a:ln>
        </p:spPr>
        <p:txBody>
          <a:bodyPr rtlCol="0" anchor="ctr"/>
          <a:lstStyle/>
          <a:p>
            <a:endParaRPr lang="de-DE"/>
          </a:p>
        </p:txBody>
      </p:sp>
      <p:sp>
        <p:nvSpPr>
          <p:cNvPr id="195" name="Freihandform: Form 194">
            <a:extLst>
              <a:ext uri="{FF2B5EF4-FFF2-40B4-BE49-F238E27FC236}">
                <a16:creationId xmlns:a16="http://schemas.microsoft.com/office/drawing/2014/main" id="{5427778E-AAB9-42E1-BC64-75764828EDB0}"/>
              </a:ext>
            </a:extLst>
          </p:cNvPr>
          <p:cNvSpPr/>
          <p:nvPr/>
        </p:nvSpPr>
        <p:spPr>
          <a:xfrm>
            <a:off x="8028570" y="5923469"/>
            <a:ext cx="165465" cy="179448"/>
          </a:xfrm>
          <a:custGeom>
            <a:avLst/>
            <a:gdLst>
              <a:gd name="connsiteX0" fmla="*/ 75741 w 165465"/>
              <a:gd name="connsiteY0" fmla="*/ 179448 h 179448"/>
              <a:gd name="connsiteX1" fmla="*/ 0 w 165465"/>
              <a:gd name="connsiteY1" fmla="*/ 179448 h 179448"/>
              <a:gd name="connsiteX2" fmla="*/ 88559 w 165465"/>
              <a:gd name="connsiteY2" fmla="*/ 90890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90"/>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212" name="Freihandform: Form 211">
            <a:extLst>
              <a:ext uri="{FF2B5EF4-FFF2-40B4-BE49-F238E27FC236}">
                <a16:creationId xmlns:a16="http://schemas.microsoft.com/office/drawing/2014/main" id="{E72C56CD-8028-4274-A62F-5994CAF54FEF}"/>
              </a:ext>
            </a:extLst>
          </p:cNvPr>
          <p:cNvSpPr/>
          <p:nvPr/>
        </p:nvSpPr>
        <p:spPr>
          <a:xfrm>
            <a:off x="8028570" y="6278870"/>
            <a:ext cx="165465" cy="179448"/>
          </a:xfrm>
          <a:custGeom>
            <a:avLst/>
            <a:gdLst>
              <a:gd name="connsiteX0" fmla="*/ 75741 w 165465"/>
              <a:gd name="connsiteY0" fmla="*/ 179448 h 179448"/>
              <a:gd name="connsiteX1" fmla="*/ 0 w 165465"/>
              <a:gd name="connsiteY1" fmla="*/ 179448 h 179448"/>
              <a:gd name="connsiteX2" fmla="*/ 88559 w 165465"/>
              <a:gd name="connsiteY2" fmla="*/ 89724 h 179448"/>
              <a:gd name="connsiteX3" fmla="*/ 0 w 165465"/>
              <a:gd name="connsiteY3" fmla="*/ 0 h 179448"/>
              <a:gd name="connsiteX4" fmla="*/ 76906 w 165465"/>
              <a:gd name="connsiteY4" fmla="*/ 0 h 179448"/>
              <a:gd name="connsiteX5" fmla="*/ 165465 w 165465"/>
              <a:gd name="connsiteY5" fmla="*/ 87394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89724"/>
                </a:lnTo>
                <a:lnTo>
                  <a:pt x="0" y="0"/>
                </a:lnTo>
                <a:lnTo>
                  <a:pt x="76906" y="0"/>
                </a:lnTo>
                <a:lnTo>
                  <a:pt x="165465" y="87394"/>
                </a:lnTo>
                <a:close/>
              </a:path>
            </a:pathLst>
          </a:custGeom>
          <a:solidFill>
            <a:srgbClr val="EEF2F5"/>
          </a:solidFill>
          <a:ln w="11643" cap="flat">
            <a:noFill/>
            <a:prstDash val="solid"/>
            <a:miter/>
          </a:ln>
        </p:spPr>
        <p:txBody>
          <a:bodyPr rtlCol="0" anchor="ctr"/>
          <a:lstStyle/>
          <a:p>
            <a:endParaRPr lang="de-DE"/>
          </a:p>
        </p:txBody>
      </p:sp>
      <p:sp>
        <p:nvSpPr>
          <p:cNvPr id="228" name="Freihandform: Form 227">
            <a:extLst>
              <a:ext uri="{FF2B5EF4-FFF2-40B4-BE49-F238E27FC236}">
                <a16:creationId xmlns:a16="http://schemas.microsoft.com/office/drawing/2014/main" id="{6D995F94-547B-4E8B-8F80-D2C01332D74E}"/>
              </a:ext>
            </a:extLst>
          </p:cNvPr>
          <p:cNvSpPr/>
          <p:nvPr/>
        </p:nvSpPr>
        <p:spPr>
          <a:xfrm>
            <a:off x="8028570" y="6633106"/>
            <a:ext cx="165465" cy="179448"/>
          </a:xfrm>
          <a:custGeom>
            <a:avLst/>
            <a:gdLst>
              <a:gd name="connsiteX0" fmla="*/ 75741 w 165465"/>
              <a:gd name="connsiteY0" fmla="*/ 179448 h 179448"/>
              <a:gd name="connsiteX1" fmla="*/ 0 w 165465"/>
              <a:gd name="connsiteY1" fmla="*/ 179448 h 179448"/>
              <a:gd name="connsiteX2" fmla="*/ 88559 w 165465"/>
              <a:gd name="connsiteY2" fmla="*/ 90889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17" name="Freihandform: Form 16">
            <a:extLst>
              <a:ext uri="{FF2B5EF4-FFF2-40B4-BE49-F238E27FC236}">
                <a16:creationId xmlns:a16="http://schemas.microsoft.com/office/drawing/2014/main" id="{FBFA7DD1-6DE8-48E2-BB35-DCE366E698C5}"/>
              </a:ext>
            </a:extLst>
          </p:cNvPr>
          <p:cNvSpPr/>
          <p:nvPr/>
        </p:nvSpPr>
        <p:spPr>
          <a:xfrm>
            <a:off x="8375813" y="2011732"/>
            <a:ext cx="180613" cy="196926"/>
          </a:xfrm>
          <a:custGeom>
            <a:avLst/>
            <a:gdLst>
              <a:gd name="connsiteX0" fmla="*/ 82733 w 180613"/>
              <a:gd name="connsiteY0" fmla="*/ 196927 h 196926"/>
              <a:gd name="connsiteX1" fmla="*/ 0 w 180613"/>
              <a:gd name="connsiteY1" fmla="*/ 196927 h 196926"/>
              <a:gd name="connsiteX2" fmla="*/ 96715 w 180613"/>
              <a:gd name="connsiteY2" fmla="*/ 99046 h 196926"/>
              <a:gd name="connsiteX3" fmla="*/ 0 w 180613"/>
              <a:gd name="connsiteY3" fmla="*/ 0 h 196926"/>
              <a:gd name="connsiteX4" fmla="*/ 83898 w 180613"/>
              <a:gd name="connsiteY4" fmla="*/ 0 h 196926"/>
              <a:gd name="connsiteX5" fmla="*/ 180613 w 180613"/>
              <a:gd name="connsiteY5" fmla="*/ 96716 h 196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6926">
                <a:moveTo>
                  <a:pt x="82733" y="196927"/>
                </a:moveTo>
                <a:lnTo>
                  <a:pt x="0" y="196927"/>
                </a:lnTo>
                <a:lnTo>
                  <a:pt x="96715" y="99046"/>
                </a:lnTo>
                <a:lnTo>
                  <a:pt x="0" y="0"/>
                </a:lnTo>
                <a:lnTo>
                  <a:pt x="83898" y="0"/>
                </a:lnTo>
                <a:lnTo>
                  <a:pt x="180613" y="96716"/>
                </a:lnTo>
                <a:close/>
              </a:path>
            </a:pathLst>
          </a:custGeom>
          <a:solidFill>
            <a:srgbClr val="EEF2F5"/>
          </a:solidFill>
          <a:ln w="11643" cap="flat">
            <a:noFill/>
            <a:prstDash val="solid"/>
            <a:miter/>
          </a:ln>
        </p:spPr>
        <p:txBody>
          <a:bodyPr rtlCol="0" anchor="ctr"/>
          <a:lstStyle/>
          <a:p>
            <a:endParaRPr lang="de-DE"/>
          </a:p>
        </p:txBody>
      </p:sp>
      <p:sp>
        <p:nvSpPr>
          <p:cNvPr id="32" name="Freihandform: Form 31">
            <a:extLst>
              <a:ext uri="{FF2B5EF4-FFF2-40B4-BE49-F238E27FC236}">
                <a16:creationId xmlns:a16="http://schemas.microsoft.com/office/drawing/2014/main" id="{7C08602B-27E1-4F5C-B2BA-86218542705A}"/>
              </a:ext>
            </a:extLst>
          </p:cNvPr>
          <p:cNvSpPr/>
          <p:nvPr/>
        </p:nvSpPr>
        <p:spPr>
          <a:xfrm>
            <a:off x="8375813" y="2367133"/>
            <a:ext cx="180613" cy="195761"/>
          </a:xfrm>
          <a:custGeom>
            <a:avLst/>
            <a:gdLst>
              <a:gd name="connsiteX0" fmla="*/ 82733 w 180613"/>
              <a:gd name="connsiteY0" fmla="*/ 195762 h 195761"/>
              <a:gd name="connsiteX1" fmla="*/ 0 w 180613"/>
              <a:gd name="connsiteY1" fmla="*/ 195762 h 195761"/>
              <a:gd name="connsiteX2" fmla="*/ 96715 w 180613"/>
              <a:gd name="connsiteY2" fmla="*/ 99046 h 195761"/>
              <a:gd name="connsiteX3" fmla="*/ 0 w 180613"/>
              <a:gd name="connsiteY3" fmla="*/ 0 h 195761"/>
              <a:gd name="connsiteX4" fmla="*/ 83898 w 180613"/>
              <a:gd name="connsiteY4" fmla="*/ 0 h 195761"/>
              <a:gd name="connsiteX5" fmla="*/ 180613 w 180613"/>
              <a:gd name="connsiteY5" fmla="*/ 95550 h 19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5761">
                <a:moveTo>
                  <a:pt x="82733" y="195762"/>
                </a:moveTo>
                <a:lnTo>
                  <a:pt x="0" y="195762"/>
                </a:lnTo>
                <a:lnTo>
                  <a:pt x="96715" y="99046"/>
                </a:lnTo>
                <a:lnTo>
                  <a:pt x="0" y="0"/>
                </a:lnTo>
                <a:lnTo>
                  <a:pt x="83898" y="0"/>
                </a:lnTo>
                <a:lnTo>
                  <a:pt x="180613" y="95550"/>
                </a:lnTo>
                <a:close/>
              </a:path>
            </a:pathLst>
          </a:custGeom>
          <a:solidFill>
            <a:srgbClr val="EEF2F5"/>
          </a:solidFill>
          <a:ln w="11643" cap="flat">
            <a:noFill/>
            <a:prstDash val="solid"/>
            <a:miter/>
          </a:ln>
        </p:spPr>
        <p:txBody>
          <a:bodyPr rtlCol="0" anchor="ctr"/>
          <a:lstStyle/>
          <a:p>
            <a:endParaRPr lang="de-DE"/>
          </a:p>
        </p:txBody>
      </p:sp>
      <p:sp>
        <p:nvSpPr>
          <p:cNvPr id="48" name="Freihandform: Form 47">
            <a:extLst>
              <a:ext uri="{FF2B5EF4-FFF2-40B4-BE49-F238E27FC236}">
                <a16:creationId xmlns:a16="http://schemas.microsoft.com/office/drawing/2014/main" id="{B3543F06-832E-4301-879E-B06B3D8A1139}"/>
              </a:ext>
            </a:extLst>
          </p:cNvPr>
          <p:cNvSpPr/>
          <p:nvPr/>
        </p:nvSpPr>
        <p:spPr>
          <a:xfrm>
            <a:off x="8375813" y="2721368"/>
            <a:ext cx="180613" cy="196926"/>
          </a:xfrm>
          <a:custGeom>
            <a:avLst/>
            <a:gdLst>
              <a:gd name="connsiteX0" fmla="*/ 82733 w 180613"/>
              <a:gd name="connsiteY0" fmla="*/ 196927 h 196926"/>
              <a:gd name="connsiteX1" fmla="*/ 0 w 180613"/>
              <a:gd name="connsiteY1" fmla="*/ 196927 h 196926"/>
              <a:gd name="connsiteX2" fmla="*/ 96715 w 180613"/>
              <a:gd name="connsiteY2" fmla="*/ 99046 h 196926"/>
              <a:gd name="connsiteX3" fmla="*/ 0 w 180613"/>
              <a:gd name="connsiteY3" fmla="*/ 0 h 196926"/>
              <a:gd name="connsiteX4" fmla="*/ 83898 w 180613"/>
              <a:gd name="connsiteY4" fmla="*/ 0 h 196926"/>
              <a:gd name="connsiteX5" fmla="*/ 180613 w 180613"/>
              <a:gd name="connsiteY5" fmla="*/ 96716 h 196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6926">
                <a:moveTo>
                  <a:pt x="82733" y="196927"/>
                </a:moveTo>
                <a:lnTo>
                  <a:pt x="0" y="196927"/>
                </a:lnTo>
                <a:lnTo>
                  <a:pt x="96715" y="99046"/>
                </a:lnTo>
                <a:lnTo>
                  <a:pt x="0" y="0"/>
                </a:lnTo>
                <a:lnTo>
                  <a:pt x="83898" y="0"/>
                </a:lnTo>
                <a:lnTo>
                  <a:pt x="180613" y="96716"/>
                </a:lnTo>
                <a:close/>
              </a:path>
            </a:pathLst>
          </a:custGeom>
          <a:solidFill>
            <a:srgbClr val="EEF2F5"/>
          </a:solidFill>
          <a:ln w="11643" cap="flat">
            <a:noFill/>
            <a:prstDash val="solid"/>
            <a:miter/>
          </a:ln>
        </p:spPr>
        <p:txBody>
          <a:bodyPr rtlCol="0" anchor="ctr"/>
          <a:lstStyle/>
          <a:p>
            <a:endParaRPr lang="de-DE"/>
          </a:p>
        </p:txBody>
      </p:sp>
      <p:sp>
        <p:nvSpPr>
          <p:cNvPr id="64" name="Freihandform: Form 63">
            <a:extLst>
              <a:ext uri="{FF2B5EF4-FFF2-40B4-BE49-F238E27FC236}">
                <a16:creationId xmlns:a16="http://schemas.microsoft.com/office/drawing/2014/main" id="{448857AA-F125-42A1-8BA3-8AC5BA3389BB}"/>
              </a:ext>
            </a:extLst>
          </p:cNvPr>
          <p:cNvSpPr/>
          <p:nvPr/>
        </p:nvSpPr>
        <p:spPr>
          <a:xfrm>
            <a:off x="8375813" y="3076769"/>
            <a:ext cx="180613" cy="195761"/>
          </a:xfrm>
          <a:custGeom>
            <a:avLst/>
            <a:gdLst>
              <a:gd name="connsiteX0" fmla="*/ 82733 w 180613"/>
              <a:gd name="connsiteY0" fmla="*/ 195762 h 195761"/>
              <a:gd name="connsiteX1" fmla="*/ 0 w 180613"/>
              <a:gd name="connsiteY1" fmla="*/ 195762 h 195761"/>
              <a:gd name="connsiteX2" fmla="*/ 96715 w 180613"/>
              <a:gd name="connsiteY2" fmla="*/ 99046 h 195761"/>
              <a:gd name="connsiteX3" fmla="*/ 0 w 180613"/>
              <a:gd name="connsiteY3" fmla="*/ 0 h 195761"/>
              <a:gd name="connsiteX4" fmla="*/ 83898 w 180613"/>
              <a:gd name="connsiteY4" fmla="*/ 0 h 195761"/>
              <a:gd name="connsiteX5" fmla="*/ 180613 w 180613"/>
              <a:gd name="connsiteY5" fmla="*/ 95550 h 19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5761">
                <a:moveTo>
                  <a:pt x="82733" y="195762"/>
                </a:moveTo>
                <a:lnTo>
                  <a:pt x="0" y="195762"/>
                </a:lnTo>
                <a:lnTo>
                  <a:pt x="96715" y="99046"/>
                </a:lnTo>
                <a:lnTo>
                  <a:pt x="0" y="0"/>
                </a:lnTo>
                <a:lnTo>
                  <a:pt x="83898" y="0"/>
                </a:lnTo>
                <a:lnTo>
                  <a:pt x="180613" y="95550"/>
                </a:lnTo>
                <a:close/>
              </a:path>
            </a:pathLst>
          </a:custGeom>
          <a:solidFill>
            <a:srgbClr val="EEF2F5"/>
          </a:solidFill>
          <a:ln w="11643" cap="flat">
            <a:noFill/>
            <a:prstDash val="solid"/>
            <a:miter/>
          </a:ln>
        </p:spPr>
        <p:txBody>
          <a:bodyPr rtlCol="0" anchor="ctr"/>
          <a:lstStyle/>
          <a:p>
            <a:endParaRPr lang="de-DE"/>
          </a:p>
        </p:txBody>
      </p:sp>
      <p:sp>
        <p:nvSpPr>
          <p:cNvPr id="80" name="Freihandform: Form 79">
            <a:extLst>
              <a:ext uri="{FF2B5EF4-FFF2-40B4-BE49-F238E27FC236}">
                <a16:creationId xmlns:a16="http://schemas.microsoft.com/office/drawing/2014/main" id="{4D03B1F2-B454-4805-B554-BE60EE27F881}"/>
              </a:ext>
            </a:extLst>
          </p:cNvPr>
          <p:cNvSpPr/>
          <p:nvPr/>
        </p:nvSpPr>
        <p:spPr>
          <a:xfrm>
            <a:off x="8375813" y="3431004"/>
            <a:ext cx="180613" cy="196926"/>
          </a:xfrm>
          <a:custGeom>
            <a:avLst/>
            <a:gdLst>
              <a:gd name="connsiteX0" fmla="*/ 82733 w 180613"/>
              <a:gd name="connsiteY0" fmla="*/ 196927 h 196926"/>
              <a:gd name="connsiteX1" fmla="*/ 0 w 180613"/>
              <a:gd name="connsiteY1" fmla="*/ 196927 h 196926"/>
              <a:gd name="connsiteX2" fmla="*/ 96715 w 180613"/>
              <a:gd name="connsiteY2" fmla="*/ 99046 h 196926"/>
              <a:gd name="connsiteX3" fmla="*/ 0 w 180613"/>
              <a:gd name="connsiteY3" fmla="*/ 0 h 196926"/>
              <a:gd name="connsiteX4" fmla="*/ 83898 w 180613"/>
              <a:gd name="connsiteY4" fmla="*/ 0 h 196926"/>
              <a:gd name="connsiteX5" fmla="*/ 180613 w 180613"/>
              <a:gd name="connsiteY5" fmla="*/ 96716 h 196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6926">
                <a:moveTo>
                  <a:pt x="82733" y="196927"/>
                </a:moveTo>
                <a:lnTo>
                  <a:pt x="0" y="196927"/>
                </a:lnTo>
                <a:lnTo>
                  <a:pt x="96715" y="99046"/>
                </a:lnTo>
                <a:lnTo>
                  <a:pt x="0" y="0"/>
                </a:lnTo>
                <a:lnTo>
                  <a:pt x="83898" y="0"/>
                </a:lnTo>
                <a:lnTo>
                  <a:pt x="180613" y="96716"/>
                </a:lnTo>
                <a:close/>
              </a:path>
            </a:pathLst>
          </a:custGeom>
          <a:solidFill>
            <a:srgbClr val="EEF2F5"/>
          </a:solidFill>
          <a:ln w="11643" cap="flat">
            <a:noFill/>
            <a:prstDash val="solid"/>
            <a:miter/>
          </a:ln>
        </p:spPr>
        <p:txBody>
          <a:bodyPr rtlCol="0" anchor="ctr"/>
          <a:lstStyle/>
          <a:p>
            <a:endParaRPr lang="de-DE"/>
          </a:p>
        </p:txBody>
      </p:sp>
      <p:sp>
        <p:nvSpPr>
          <p:cNvPr id="96" name="Freihandform: Form 95">
            <a:extLst>
              <a:ext uri="{FF2B5EF4-FFF2-40B4-BE49-F238E27FC236}">
                <a16:creationId xmlns:a16="http://schemas.microsoft.com/office/drawing/2014/main" id="{FFDA75BC-562C-4970-A5BF-655AB3F5011C}"/>
              </a:ext>
            </a:extLst>
          </p:cNvPr>
          <p:cNvSpPr/>
          <p:nvPr/>
        </p:nvSpPr>
        <p:spPr>
          <a:xfrm>
            <a:off x="8375813" y="3786405"/>
            <a:ext cx="180613" cy="195761"/>
          </a:xfrm>
          <a:custGeom>
            <a:avLst/>
            <a:gdLst>
              <a:gd name="connsiteX0" fmla="*/ 82733 w 180613"/>
              <a:gd name="connsiteY0" fmla="*/ 195762 h 195761"/>
              <a:gd name="connsiteX1" fmla="*/ 0 w 180613"/>
              <a:gd name="connsiteY1" fmla="*/ 195762 h 195761"/>
              <a:gd name="connsiteX2" fmla="*/ 96715 w 180613"/>
              <a:gd name="connsiteY2" fmla="*/ 99046 h 195761"/>
              <a:gd name="connsiteX3" fmla="*/ 0 w 180613"/>
              <a:gd name="connsiteY3" fmla="*/ 0 h 195761"/>
              <a:gd name="connsiteX4" fmla="*/ 83898 w 180613"/>
              <a:gd name="connsiteY4" fmla="*/ 0 h 195761"/>
              <a:gd name="connsiteX5" fmla="*/ 180613 w 180613"/>
              <a:gd name="connsiteY5" fmla="*/ 96716 h 19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5761">
                <a:moveTo>
                  <a:pt x="82733" y="195762"/>
                </a:moveTo>
                <a:lnTo>
                  <a:pt x="0" y="195762"/>
                </a:lnTo>
                <a:lnTo>
                  <a:pt x="96715" y="99046"/>
                </a:lnTo>
                <a:lnTo>
                  <a:pt x="0" y="0"/>
                </a:lnTo>
                <a:lnTo>
                  <a:pt x="83898" y="0"/>
                </a:lnTo>
                <a:lnTo>
                  <a:pt x="180613" y="96716"/>
                </a:lnTo>
                <a:close/>
              </a:path>
            </a:pathLst>
          </a:custGeom>
          <a:solidFill>
            <a:srgbClr val="EEF2F5"/>
          </a:solidFill>
          <a:ln w="11643" cap="flat">
            <a:noFill/>
            <a:prstDash val="solid"/>
            <a:miter/>
          </a:ln>
        </p:spPr>
        <p:txBody>
          <a:bodyPr rtlCol="0" anchor="ctr"/>
          <a:lstStyle/>
          <a:p>
            <a:endParaRPr lang="de-DE"/>
          </a:p>
        </p:txBody>
      </p:sp>
      <p:sp>
        <p:nvSpPr>
          <p:cNvPr id="112" name="Freihandform: Form 111">
            <a:extLst>
              <a:ext uri="{FF2B5EF4-FFF2-40B4-BE49-F238E27FC236}">
                <a16:creationId xmlns:a16="http://schemas.microsoft.com/office/drawing/2014/main" id="{D5FBE564-C560-47E5-B3B3-465A98E51447}"/>
              </a:ext>
            </a:extLst>
          </p:cNvPr>
          <p:cNvSpPr/>
          <p:nvPr/>
        </p:nvSpPr>
        <p:spPr>
          <a:xfrm>
            <a:off x="8375813" y="4140640"/>
            <a:ext cx="180613" cy="196926"/>
          </a:xfrm>
          <a:custGeom>
            <a:avLst/>
            <a:gdLst>
              <a:gd name="connsiteX0" fmla="*/ 82733 w 180613"/>
              <a:gd name="connsiteY0" fmla="*/ 196927 h 196926"/>
              <a:gd name="connsiteX1" fmla="*/ 0 w 180613"/>
              <a:gd name="connsiteY1" fmla="*/ 196927 h 196926"/>
              <a:gd name="connsiteX2" fmla="*/ 96715 w 180613"/>
              <a:gd name="connsiteY2" fmla="*/ 99046 h 196926"/>
              <a:gd name="connsiteX3" fmla="*/ 0 w 180613"/>
              <a:gd name="connsiteY3" fmla="*/ 0 h 196926"/>
              <a:gd name="connsiteX4" fmla="*/ 83898 w 180613"/>
              <a:gd name="connsiteY4" fmla="*/ 0 h 196926"/>
              <a:gd name="connsiteX5" fmla="*/ 180613 w 180613"/>
              <a:gd name="connsiteY5" fmla="*/ 96716 h 196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6926">
                <a:moveTo>
                  <a:pt x="82733" y="196927"/>
                </a:moveTo>
                <a:lnTo>
                  <a:pt x="0" y="196927"/>
                </a:lnTo>
                <a:lnTo>
                  <a:pt x="96715" y="99046"/>
                </a:lnTo>
                <a:lnTo>
                  <a:pt x="0" y="0"/>
                </a:lnTo>
                <a:lnTo>
                  <a:pt x="83898" y="0"/>
                </a:lnTo>
                <a:lnTo>
                  <a:pt x="180613" y="96716"/>
                </a:lnTo>
                <a:close/>
              </a:path>
            </a:pathLst>
          </a:custGeom>
          <a:solidFill>
            <a:srgbClr val="EEF2F5"/>
          </a:solidFill>
          <a:ln w="11643" cap="flat">
            <a:noFill/>
            <a:prstDash val="solid"/>
            <a:miter/>
          </a:ln>
        </p:spPr>
        <p:txBody>
          <a:bodyPr rtlCol="0" anchor="ctr"/>
          <a:lstStyle/>
          <a:p>
            <a:endParaRPr lang="de-DE"/>
          </a:p>
        </p:txBody>
      </p:sp>
      <p:sp>
        <p:nvSpPr>
          <p:cNvPr id="128" name="Freihandform: Form 127">
            <a:extLst>
              <a:ext uri="{FF2B5EF4-FFF2-40B4-BE49-F238E27FC236}">
                <a16:creationId xmlns:a16="http://schemas.microsoft.com/office/drawing/2014/main" id="{CF51EF18-4B1E-42D2-850F-FFA6C258A83C}"/>
              </a:ext>
            </a:extLst>
          </p:cNvPr>
          <p:cNvSpPr/>
          <p:nvPr/>
        </p:nvSpPr>
        <p:spPr>
          <a:xfrm>
            <a:off x="8375813" y="4496041"/>
            <a:ext cx="180613" cy="195761"/>
          </a:xfrm>
          <a:custGeom>
            <a:avLst/>
            <a:gdLst>
              <a:gd name="connsiteX0" fmla="*/ 82733 w 180613"/>
              <a:gd name="connsiteY0" fmla="*/ 195762 h 195761"/>
              <a:gd name="connsiteX1" fmla="*/ 0 w 180613"/>
              <a:gd name="connsiteY1" fmla="*/ 195762 h 195761"/>
              <a:gd name="connsiteX2" fmla="*/ 96715 w 180613"/>
              <a:gd name="connsiteY2" fmla="*/ 99046 h 195761"/>
              <a:gd name="connsiteX3" fmla="*/ 0 w 180613"/>
              <a:gd name="connsiteY3" fmla="*/ 0 h 195761"/>
              <a:gd name="connsiteX4" fmla="*/ 83898 w 180613"/>
              <a:gd name="connsiteY4" fmla="*/ 0 h 195761"/>
              <a:gd name="connsiteX5" fmla="*/ 180613 w 180613"/>
              <a:gd name="connsiteY5" fmla="*/ 96716 h 19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5761">
                <a:moveTo>
                  <a:pt x="82733" y="195762"/>
                </a:moveTo>
                <a:lnTo>
                  <a:pt x="0" y="195762"/>
                </a:lnTo>
                <a:lnTo>
                  <a:pt x="96715" y="99046"/>
                </a:lnTo>
                <a:lnTo>
                  <a:pt x="0" y="0"/>
                </a:lnTo>
                <a:lnTo>
                  <a:pt x="83898" y="0"/>
                </a:lnTo>
                <a:lnTo>
                  <a:pt x="180613" y="96716"/>
                </a:lnTo>
                <a:close/>
              </a:path>
            </a:pathLst>
          </a:custGeom>
          <a:solidFill>
            <a:srgbClr val="EEF2F5"/>
          </a:solidFill>
          <a:ln w="11643" cap="flat">
            <a:noFill/>
            <a:prstDash val="solid"/>
            <a:miter/>
          </a:ln>
        </p:spPr>
        <p:txBody>
          <a:bodyPr rtlCol="0" anchor="ctr"/>
          <a:lstStyle/>
          <a:p>
            <a:endParaRPr lang="de-DE"/>
          </a:p>
        </p:txBody>
      </p:sp>
      <p:sp>
        <p:nvSpPr>
          <p:cNvPr id="145" name="Freihandform: Form 144">
            <a:extLst>
              <a:ext uri="{FF2B5EF4-FFF2-40B4-BE49-F238E27FC236}">
                <a16:creationId xmlns:a16="http://schemas.microsoft.com/office/drawing/2014/main" id="{56E41581-3FC6-4323-9C89-CF91773848F3}"/>
              </a:ext>
            </a:extLst>
          </p:cNvPr>
          <p:cNvSpPr/>
          <p:nvPr/>
        </p:nvSpPr>
        <p:spPr>
          <a:xfrm>
            <a:off x="8375813" y="4850276"/>
            <a:ext cx="180613" cy="196927"/>
          </a:xfrm>
          <a:custGeom>
            <a:avLst/>
            <a:gdLst>
              <a:gd name="connsiteX0" fmla="*/ 82733 w 180613"/>
              <a:gd name="connsiteY0" fmla="*/ 196927 h 196927"/>
              <a:gd name="connsiteX1" fmla="*/ 0 w 180613"/>
              <a:gd name="connsiteY1" fmla="*/ 196927 h 196927"/>
              <a:gd name="connsiteX2" fmla="*/ 96715 w 180613"/>
              <a:gd name="connsiteY2" fmla="*/ 99046 h 196927"/>
              <a:gd name="connsiteX3" fmla="*/ 0 w 180613"/>
              <a:gd name="connsiteY3" fmla="*/ 0 h 196927"/>
              <a:gd name="connsiteX4" fmla="*/ 83898 w 180613"/>
              <a:gd name="connsiteY4" fmla="*/ 0 h 196927"/>
              <a:gd name="connsiteX5" fmla="*/ 180613 w 180613"/>
              <a:gd name="connsiteY5" fmla="*/ 96716 h 196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6927">
                <a:moveTo>
                  <a:pt x="82733" y="196927"/>
                </a:moveTo>
                <a:lnTo>
                  <a:pt x="0" y="196927"/>
                </a:lnTo>
                <a:lnTo>
                  <a:pt x="96715" y="99046"/>
                </a:lnTo>
                <a:lnTo>
                  <a:pt x="0" y="0"/>
                </a:lnTo>
                <a:lnTo>
                  <a:pt x="83898" y="0"/>
                </a:lnTo>
                <a:lnTo>
                  <a:pt x="180613" y="96716"/>
                </a:lnTo>
                <a:close/>
              </a:path>
            </a:pathLst>
          </a:custGeom>
          <a:solidFill>
            <a:srgbClr val="EEF2F5"/>
          </a:solidFill>
          <a:ln w="11643" cap="flat">
            <a:noFill/>
            <a:prstDash val="solid"/>
            <a:miter/>
          </a:ln>
        </p:spPr>
        <p:txBody>
          <a:bodyPr rtlCol="0" anchor="ctr"/>
          <a:lstStyle/>
          <a:p>
            <a:endParaRPr lang="de-DE"/>
          </a:p>
        </p:txBody>
      </p:sp>
      <p:sp>
        <p:nvSpPr>
          <p:cNvPr id="162" name="Freihandform: Form 161">
            <a:extLst>
              <a:ext uri="{FF2B5EF4-FFF2-40B4-BE49-F238E27FC236}">
                <a16:creationId xmlns:a16="http://schemas.microsoft.com/office/drawing/2014/main" id="{D57C87CD-CA7C-4C12-80C4-9130A88B17BE}"/>
              </a:ext>
            </a:extLst>
          </p:cNvPr>
          <p:cNvSpPr/>
          <p:nvPr/>
        </p:nvSpPr>
        <p:spPr>
          <a:xfrm>
            <a:off x="8375813" y="5205677"/>
            <a:ext cx="180613" cy="195761"/>
          </a:xfrm>
          <a:custGeom>
            <a:avLst/>
            <a:gdLst>
              <a:gd name="connsiteX0" fmla="*/ 82733 w 180613"/>
              <a:gd name="connsiteY0" fmla="*/ 195762 h 195761"/>
              <a:gd name="connsiteX1" fmla="*/ 0 w 180613"/>
              <a:gd name="connsiteY1" fmla="*/ 195762 h 195761"/>
              <a:gd name="connsiteX2" fmla="*/ 96715 w 180613"/>
              <a:gd name="connsiteY2" fmla="*/ 99046 h 195761"/>
              <a:gd name="connsiteX3" fmla="*/ 0 w 180613"/>
              <a:gd name="connsiteY3" fmla="*/ 0 h 195761"/>
              <a:gd name="connsiteX4" fmla="*/ 83898 w 180613"/>
              <a:gd name="connsiteY4" fmla="*/ 0 h 195761"/>
              <a:gd name="connsiteX5" fmla="*/ 180613 w 180613"/>
              <a:gd name="connsiteY5" fmla="*/ 96715 h 19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5761">
                <a:moveTo>
                  <a:pt x="82733" y="195762"/>
                </a:moveTo>
                <a:lnTo>
                  <a:pt x="0" y="195762"/>
                </a:lnTo>
                <a:lnTo>
                  <a:pt x="96715" y="99046"/>
                </a:lnTo>
                <a:lnTo>
                  <a:pt x="0" y="0"/>
                </a:lnTo>
                <a:lnTo>
                  <a:pt x="83898" y="0"/>
                </a:lnTo>
                <a:lnTo>
                  <a:pt x="180613" y="96715"/>
                </a:lnTo>
                <a:close/>
              </a:path>
            </a:pathLst>
          </a:custGeom>
          <a:solidFill>
            <a:srgbClr val="EEF2F5"/>
          </a:solidFill>
          <a:ln w="11643" cap="flat">
            <a:noFill/>
            <a:prstDash val="solid"/>
            <a:miter/>
          </a:ln>
        </p:spPr>
        <p:txBody>
          <a:bodyPr rtlCol="0" anchor="ctr"/>
          <a:lstStyle/>
          <a:p>
            <a:endParaRPr lang="de-DE"/>
          </a:p>
        </p:txBody>
      </p:sp>
      <p:sp>
        <p:nvSpPr>
          <p:cNvPr id="179" name="Freihandform: Form 178">
            <a:extLst>
              <a:ext uri="{FF2B5EF4-FFF2-40B4-BE49-F238E27FC236}">
                <a16:creationId xmlns:a16="http://schemas.microsoft.com/office/drawing/2014/main" id="{DB846A0F-C8EB-418A-9689-60A3F1E0344D}"/>
              </a:ext>
            </a:extLst>
          </p:cNvPr>
          <p:cNvSpPr/>
          <p:nvPr/>
        </p:nvSpPr>
        <p:spPr>
          <a:xfrm>
            <a:off x="8375813" y="5559912"/>
            <a:ext cx="180613" cy="196926"/>
          </a:xfrm>
          <a:custGeom>
            <a:avLst/>
            <a:gdLst>
              <a:gd name="connsiteX0" fmla="*/ 82733 w 180613"/>
              <a:gd name="connsiteY0" fmla="*/ 196927 h 196926"/>
              <a:gd name="connsiteX1" fmla="*/ 0 w 180613"/>
              <a:gd name="connsiteY1" fmla="*/ 196927 h 196926"/>
              <a:gd name="connsiteX2" fmla="*/ 96715 w 180613"/>
              <a:gd name="connsiteY2" fmla="*/ 99046 h 196926"/>
              <a:gd name="connsiteX3" fmla="*/ 0 w 180613"/>
              <a:gd name="connsiteY3" fmla="*/ 0 h 196926"/>
              <a:gd name="connsiteX4" fmla="*/ 83898 w 180613"/>
              <a:gd name="connsiteY4" fmla="*/ 0 h 196926"/>
              <a:gd name="connsiteX5" fmla="*/ 180613 w 180613"/>
              <a:gd name="connsiteY5" fmla="*/ 96715 h 196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6926">
                <a:moveTo>
                  <a:pt x="82733" y="196927"/>
                </a:moveTo>
                <a:lnTo>
                  <a:pt x="0" y="196927"/>
                </a:lnTo>
                <a:lnTo>
                  <a:pt x="96715" y="99046"/>
                </a:lnTo>
                <a:lnTo>
                  <a:pt x="0" y="0"/>
                </a:lnTo>
                <a:lnTo>
                  <a:pt x="83898" y="0"/>
                </a:lnTo>
                <a:lnTo>
                  <a:pt x="180613" y="96715"/>
                </a:lnTo>
                <a:close/>
              </a:path>
            </a:pathLst>
          </a:custGeom>
          <a:solidFill>
            <a:srgbClr val="EEF2F5"/>
          </a:solidFill>
          <a:ln w="11643" cap="flat">
            <a:noFill/>
            <a:prstDash val="solid"/>
            <a:miter/>
          </a:ln>
        </p:spPr>
        <p:txBody>
          <a:bodyPr rtlCol="0" anchor="ctr"/>
          <a:lstStyle/>
          <a:p>
            <a:endParaRPr lang="de-DE"/>
          </a:p>
        </p:txBody>
      </p:sp>
      <p:sp>
        <p:nvSpPr>
          <p:cNvPr id="196" name="Freihandform: Form 195">
            <a:extLst>
              <a:ext uri="{FF2B5EF4-FFF2-40B4-BE49-F238E27FC236}">
                <a16:creationId xmlns:a16="http://schemas.microsoft.com/office/drawing/2014/main" id="{4CB58DF8-2ADA-40F9-A585-F61E28EAC1FD}"/>
              </a:ext>
            </a:extLst>
          </p:cNvPr>
          <p:cNvSpPr/>
          <p:nvPr/>
        </p:nvSpPr>
        <p:spPr>
          <a:xfrm>
            <a:off x="8375813" y="5915313"/>
            <a:ext cx="180613" cy="195761"/>
          </a:xfrm>
          <a:custGeom>
            <a:avLst/>
            <a:gdLst>
              <a:gd name="connsiteX0" fmla="*/ 82733 w 180613"/>
              <a:gd name="connsiteY0" fmla="*/ 195762 h 195761"/>
              <a:gd name="connsiteX1" fmla="*/ 0 w 180613"/>
              <a:gd name="connsiteY1" fmla="*/ 195762 h 195761"/>
              <a:gd name="connsiteX2" fmla="*/ 96715 w 180613"/>
              <a:gd name="connsiteY2" fmla="*/ 99046 h 195761"/>
              <a:gd name="connsiteX3" fmla="*/ 0 w 180613"/>
              <a:gd name="connsiteY3" fmla="*/ 0 h 195761"/>
              <a:gd name="connsiteX4" fmla="*/ 83898 w 180613"/>
              <a:gd name="connsiteY4" fmla="*/ 0 h 195761"/>
              <a:gd name="connsiteX5" fmla="*/ 180613 w 180613"/>
              <a:gd name="connsiteY5" fmla="*/ 96715 h 19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5761">
                <a:moveTo>
                  <a:pt x="82733" y="195762"/>
                </a:moveTo>
                <a:lnTo>
                  <a:pt x="0" y="195762"/>
                </a:lnTo>
                <a:lnTo>
                  <a:pt x="96715" y="99046"/>
                </a:lnTo>
                <a:lnTo>
                  <a:pt x="0" y="0"/>
                </a:lnTo>
                <a:lnTo>
                  <a:pt x="83898" y="0"/>
                </a:lnTo>
                <a:lnTo>
                  <a:pt x="180613" y="96715"/>
                </a:lnTo>
                <a:close/>
              </a:path>
            </a:pathLst>
          </a:custGeom>
          <a:solidFill>
            <a:srgbClr val="EEF2F5"/>
          </a:solidFill>
          <a:ln w="11643" cap="flat">
            <a:noFill/>
            <a:prstDash val="solid"/>
            <a:miter/>
          </a:ln>
        </p:spPr>
        <p:txBody>
          <a:bodyPr rtlCol="0" anchor="ctr"/>
          <a:lstStyle/>
          <a:p>
            <a:endParaRPr lang="de-DE"/>
          </a:p>
        </p:txBody>
      </p:sp>
      <p:sp>
        <p:nvSpPr>
          <p:cNvPr id="213" name="Freihandform: Form 212">
            <a:extLst>
              <a:ext uri="{FF2B5EF4-FFF2-40B4-BE49-F238E27FC236}">
                <a16:creationId xmlns:a16="http://schemas.microsoft.com/office/drawing/2014/main" id="{57028041-D229-4433-B39C-C3F33483B647}"/>
              </a:ext>
            </a:extLst>
          </p:cNvPr>
          <p:cNvSpPr/>
          <p:nvPr/>
        </p:nvSpPr>
        <p:spPr>
          <a:xfrm>
            <a:off x="8375813" y="6270714"/>
            <a:ext cx="180613" cy="195761"/>
          </a:xfrm>
          <a:custGeom>
            <a:avLst/>
            <a:gdLst>
              <a:gd name="connsiteX0" fmla="*/ 82733 w 180613"/>
              <a:gd name="connsiteY0" fmla="*/ 195762 h 195761"/>
              <a:gd name="connsiteX1" fmla="*/ 0 w 180613"/>
              <a:gd name="connsiteY1" fmla="*/ 195762 h 195761"/>
              <a:gd name="connsiteX2" fmla="*/ 96715 w 180613"/>
              <a:gd name="connsiteY2" fmla="*/ 97881 h 195761"/>
              <a:gd name="connsiteX3" fmla="*/ 0 w 180613"/>
              <a:gd name="connsiteY3" fmla="*/ 0 h 195761"/>
              <a:gd name="connsiteX4" fmla="*/ 83898 w 180613"/>
              <a:gd name="connsiteY4" fmla="*/ 0 h 195761"/>
              <a:gd name="connsiteX5" fmla="*/ 180613 w 180613"/>
              <a:gd name="connsiteY5" fmla="*/ 95550 h 19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5761">
                <a:moveTo>
                  <a:pt x="82733" y="195762"/>
                </a:moveTo>
                <a:lnTo>
                  <a:pt x="0" y="195762"/>
                </a:lnTo>
                <a:lnTo>
                  <a:pt x="96715" y="97881"/>
                </a:lnTo>
                <a:lnTo>
                  <a:pt x="0" y="0"/>
                </a:lnTo>
                <a:lnTo>
                  <a:pt x="83898" y="0"/>
                </a:lnTo>
                <a:lnTo>
                  <a:pt x="180613" y="95550"/>
                </a:lnTo>
                <a:close/>
              </a:path>
            </a:pathLst>
          </a:custGeom>
          <a:solidFill>
            <a:srgbClr val="EEF2F5"/>
          </a:solidFill>
          <a:ln w="11643" cap="flat">
            <a:noFill/>
            <a:prstDash val="solid"/>
            <a:miter/>
          </a:ln>
        </p:spPr>
        <p:txBody>
          <a:bodyPr rtlCol="0" anchor="ctr"/>
          <a:lstStyle/>
          <a:p>
            <a:endParaRPr lang="de-DE"/>
          </a:p>
        </p:txBody>
      </p:sp>
      <p:sp>
        <p:nvSpPr>
          <p:cNvPr id="229" name="Freihandform: Form 228">
            <a:extLst>
              <a:ext uri="{FF2B5EF4-FFF2-40B4-BE49-F238E27FC236}">
                <a16:creationId xmlns:a16="http://schemas.microsoft.com/office/drawing/2014/main" id="{9B8DB432-5722-4DDC-9DA4-82611DB7AF21}"/>
              </a:ext>
            </a:extLst>
          </p:cNvPr>
          <p:cNvSpPr/>
          <p:nvPr/>
        </p:nvSpPr>
        <p:spPr>
          <a:xfrm>
            <a:off x="8375813" y="6624949"/>
            <a:ext cx="180613" cy="196926"/>
          </a:xfrm>
          <a:custGeom>
            <a:avLst/>
            <a:gdLst>
              <a:gd name="connsiteX0" fmla="*/ 82733 w 180613"/>
              <a:gd name="connsiteY0" fmla="*/ 196927 h 196926"/>
              <a:gd name="connsiteX1" fmla="*/ 0 w 180613"/>
              <a:gd name="connsiteY1" fmla="*/ 196927 h 196926"/>
              <a:gd name="connsiteX2" fmla="*/ 96715 w 180613"/>
              <a:gd name="connsiteY2" fmla="*/ 99046 h 196926"/>
              <a:gd name="connsiteX3" fmla="*/ 0 w 180613"/>
              <a:gd name="connsiteY3" fmla="*/ 0 h 196926"/>
              <a:gd name="connsiteX4" fmla="*/ 83898 w 180613"/>
              <a:gd name="connsiteY4" fmla="*/ 0 h 196926"/>
              <a:gd name="connsiteX5" fmla="*/ 180613 w 180613"/>
              <a:gd name="connsiteY5" fmla="*/ 96715 h 196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6926">
                <a:moveTo>
                  <a:pt x="82733" y="196927"/>
                </a:moveTo>
                <a:lnTo>
                  <a:pt x="0" y="196927"/>
                </a:lnTo>
                <a:lnTo>
                  <a:pt x="96715" y="99046"/>
                </a:lnTo>
                <a:lnTo>
                  <a:pt x="0" y="0"/>
                </a:lnTo>
                <a:lnTo>
                  <a:pt x="83898" y="0"/>
                </a:lnTo>
                <a:lnTo>
                  <a:pt x="180613" y="96715"/>
                </a:lnTo>
                <a:close/>
              </a:path>
            </a:pathLst>
          </a:custGeom>
          <a:solidFill>
            <a:srgbClr val="EEF2F5"/>
          </a:solidFill>
          <a:ln w="11643" cap="flat">
            <a:noFill/>
            <a:prstDash val="solid"/>
            <a:miter/>
          </a:ln>
        </p:spPr>
        <p:txBody>
          <a:bodyPr rtlCol="0" anchor="ctr"/>
          <a:lstStyle/>
          <a:p>
            <a:endParaRPr lang="de-DE"/>
          </a:p>
        </p:txBody>
      </p:sp>
      <p:sp>
        <p:nvSpPr>
          <p:cNvPr id="18" name="Freihandform: Form 17">
            <a:extLst>
              <a:ext uri="{FF2B5EF4-FFF2-40B4-BE49-F238E27FC236}">
                <a16:creationId xmlns:a16="http://schemas.microsoft.com/office/drawing/2014/main" id="{5D717E25-D335-4E65-A411-45D9057ED87F}"/>
              </a:ext>
            </a:extLst>
          </p:cNvPr>
          <p:cNvSpPr/>
          <p:nvPr/>
        </p:nvSpPr>
        <p:spPr>
          <a:xfrm>
            <a:off x="8721892" y="2002410"/>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6038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6038"/>
                </a:lnTo>
                <a:close/>
              </a:path>
            </a:pathLst>
          </a:custGeom>
          <a:solidFill>
            <a:srgbClr val="EEF2F5"/>
          </a:solidFill>
          <a:ln w="11643" cap="flat">
            <a:noFill/>
            <a:prstDash val="solid"/>
            <a:miter/>
          </a:ln>
        </p:spPr>
        <p:txBody>
          <a:bodyPr rtlCol="0" anchor="ctr"/>
          <a:lstStyle/>
          <a:p>
            <a:endParaRPr lang="de-DE"/>
          </a:p>
        </p:txBody>
      </p:sp>
      <p:sp>
        <p:nvSpPr>
          <p:cNvPr id="33" name="Freihandform: Form 32">
            <a:extLst>
              <a:ext uri="{FF2B5EF4-FFF2-40B4-BE49-F238E27FC236}">
                <a16:creationId xmlns:a16="http://schemas.microsoft.com/office/drawing/2014/main" id="{8191837C-2D2D-4E7E-BB7B-2C536FE31ED3}"/>
              </a:ext>
            </a:extLst>
          </p:cNvPr>
          <p:cNvSpPr/>
          <p:nvPr/>
        </p:nvSpPr>
        <p:spPr>
          <a:xfrm>
            <a:off x="8721892" y="2357811"/>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4872"/>
                </a:lnTo>
                <a:close/>
              </a:path>
            </a:pathLst>
          </a:custGeom>
          <a:solidFill>
            <a:srgbClr val="EEF2F5"/>
          </a:solidFill>
          <a:ln w="11643" cap="flat">
            <a:noFill/>
            <a:prstDash val="solid"/>
            <a:miter/>
          </a:ln>
        </p:spPr>
        <p:txBody>
          <a:bodyPr rtlCol="0" anchor="ctr"/>
          <a:lstStyle/>
          <a:p>
            <a:endParaRPr lang="de-DE"/>
          </a:p>
        </p:txBody>
      </p:sp>
      <p:sp>
        <p:nvSpPr>
          <p:cNvPr id="49" name="Freihandform: Form 48">
            <a:extLst>
              <a:ext uri="{FF2B5EF4-FFF2-40B4-BE49-F238E27FC236}">
                <a16:creationId xmlns:a16="http://schemas.microsoft.com/office/drawing/2014/main" id="{7C3E3047-07A6-44AE-A863-B14D0E91E9D2}"/>
              </a:ext>
            </a:extLst>
          </p:cNvPr>
          <p:cNvSpPr/>
          <p:nvPr/>
        </p:nvSpPr>
        <p:spPr>
          <a:xfrm>
            <a:off x="8721892" y="2712046"/>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6038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6038"/>
                </a:lnTo>
                <a:close/>
              </a:path>
            </a:pathLst>
          </a:custGeom>
          <a:solidFill>
            <a:srgbClr val="EEF2F5"/>
          </a:solidFill>
          <a:ln w="11643" cap="flat">
            <a:noFill/>
            <a:prstDash val="solid"/>
            <a:miter/>
          </a:ln>
        </p:spPr>
        <p:txBody>
          <a:bodyPr rtlCol="0" anchor="ctr"/>
          <a:lstStyle/>
          <a:p>
            <a:endParaRPr lang="de-DE"/>
          </a:p>
        </p:txBody>
      </p:sp>
      <p:sp>
        <p:nvSpPr>
          <p:cNvPr id="65" name="Freihandform: Form 64">
            <a:extLst>
              <a:ext uri="{FF2B5EF4-FFF2-40B4-BE49-F238E27FC236}">
                <a16:creationId xmlns:a16="http://schemas.microsoft.com/office/drawing/2014/main" id="{A33D910C-FE80-4271-80EB-43FB226FC311}"/>
              </a:ext>
            </a:extLst>
          </p:cNvPr>
          <p:cNvSpPr/>
          <p:nvPr/>
        </p:nvSpPr>
        <p:spPr>
          <a:xfrm>
            <a:off x="8721892" y="3067447"/>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4872"/>
                </a:lnTo>
                <a:close/>
              </a:path>
            </a:pathLst>
          </a:custGeom>
          <a:solidFill>
            <a:srgbClr val="EEF2F5"/>
          </a:solidFill>
          <a:ln w="11643" cap="flat">
            <a:noFill/>
            <a:prstDash val="solid"/>
            <a:miter/>
          </a:ln>
        </p:spPr>
        <p:txBody>
          <a:bodyPr rtlCol="0" anchor="ctr"/>
          <a:lstStyle/>
          <a:p>
            <a:endParaRPr lang="de-DE"/>
          </a:p>
        </p:txBody>
      </p:sp>
      <p:sp>
        <p:nvSpPr>
          <p:cNvPr id="81" name="Freihandform: Form 80">
            <a:extLst>
              <a:ext uri="{FF2B5EF4-FFF2-40B4-BE49-F238E27FC236}">
                <a16:creationId xmlns:a16="http://schemas.microsoft.com/office/drawing/2014/main" id="{3C2ACAE0-E8A8-4FC5-919A-02F70B7D5438}"/>
              </a:ext>
            </a:extLst>
          </p:cNvPr>
          <p:cNvSpPr/>
          <p:nvPr/>
        </p:nvSpPr>
        <p:spPr>
          <a:xfrm>
            <a:off x="8721892" y="3421682"/>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6038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6038"/>
                </a:lnTo>
                <a:close/>
              </a:path>
            </a:pathLst>
          </a:custGeom>
          <a:solidFill>
            <a:srgbClr val="EEF2F5"/>
          </a:solidFill>
          <a:ln w="11643" cap="flat">
            <a:noFill/>
            <a:prstDash val="solid"/>
            <a:miter/>
          </a:ln>
        </p:spPr>
        <p:txBody>
          <a:bodyPr rtlCol="0" anchor="ctr"/>
          <a:lstStyle/>
          <a:p>
            <a:endParaRPr lang="de-DE"/>
          </a:p>
        </p:txBody>
      </p:sp>
      <p:sp>
        <p:nvSpPr>
          <p:cNvPr id="97" name="Freihandform: Form 96">
            <a:extLst>
              <a:ext uri="{FF2B5EF4-FFF2-40B4-BE49-F238E27FC236}">
                <a16:creationId xmlns:a16="http://schemas.microsoft.com/office/drawing/2014/main" id="{49C7B20E-CBCC-427C-8257-9EDB4B177C6A}"/>
              </a:ext>
            </a:extLst>
          </p:cNvPr>
          <p:cNvSpPr/>
          <p:nvPr/>
        </p:nvSpPr>
        <p:spPr>
          <a:xfrm>
            <a:off x="8721892" y="3777083"/>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4872"/>
                </a:lnTo>
                <a:close/>
              </a:path>
            </a:pathLst>
          </a:custGeom>
          <a:solidFill>
            <a:srgbClr val="EEF2F5"/>
          </a:solidFill>
          <a:ln w="11643" cap="flat">
            <a:noFill/>
            <a:prstDash val="solid"/>
            <a:miter/>
          </a:ln>
        </p:spPr>
        <p:txBody>
          <a:bodyPr rtlCol="0" anchor="ctr"/>
          <a:lstStyle/>
          <a:p>
            <a:endParaRPr lang="de-DE"/>
          </a:p>
        </p:txBody>
      </p:sp>
      <p:sp>
        <p:nvSpPr>
          <p:cNvPr id="113" name="Freihandform: Form 112">
            <a:extLst>
              <a:ext uri="{FF2B5EF4-FFF2-40B4-BE49-F238E27FC236}">
                <a16:creationId xmlns:a16="http://schemas.microsoft.com/office/drawing/2014/main" id="{AA929FBA-3B60-4B90-A12C-EEB1A0A8CF38}"/>
              </a:ext>
            </a:extLst>
          </p:cNvPr>
          <p:cNvSpPr/>
          <p:nvPr/>
        </p:nvSpPr>
        <p:spPr>
          <a:xfrm>
            <a:off x="8721892" y="4132484"/>
            <a:ext cx="198092" cy="214405"/>
          </a:xfrm>
          <a:custGeom>
            <a:avLst/>
            <a:gdLst>
              <a:gd name="connsiteX0" fmla="*/ 90889 w 198092"/>
              <a:gd name="connsiteY0" fmla="*/ 214406 h 214405"/>
              <a:gd name="connsiteX1" fmla="*/ 0 w 198092"/>
              <a:gd name="connsiteY1" fmla="*/ 214406 h 214405"/>
              <a:gd name="connsiteX2" fmla="*/ 106037 w 198092"/>
              <a:gd name="connsiteY2" fmla="*/ 107203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7203"/>
                </a:lnTo>
                <a:lnTo>
                  <a:pt x="0" y="0"/>
                </a:lnTo>
                <a:lnTo>
                  <a:pt x="92055" y="0"/>
                </a:lnTo>
                <a:lnTo>
                  <a:pt x="198092" y="104872"/>
                </a:lnTo>
                <a:close/>
              </a:path>
            </a:pathLst>
          </a:custGeom>
          <a:solidFill>
            <a:srgbClr val="EEF2F5"/>
          </a:solidFill>
          <a:ln w="11643" cap="flat">
            <a:noFill/>
            <a:prstDash val="solid"/>
            <a:miter/>
          </a:ln>
        </p:spPr>
        <p:txBody>
          <a:bodyPr rtlCol="0" anchor="ctr"/>
          <a:lstStyle/>
          <a:p>
            <a:endParaRPr lang="de-DE"/>
          </a:p>
        </p:txBody>
      </p:sp>
      <p:sp>
        <p:nvSpPr>
          <p:cNvPr id="129" name="Freihandform: Form 128">
            <a:extLst>
              <a:ext uri="{FF2B5EF4-FFF2-40B4-BE49-F238E27FC236}">
                <a16:creationId xmlns:a16="http://schemas.microsoft.com/office/drawing/2014/main" id="{2A2E02AC-BFFD-44C8-869B-053E6C74FD2B}"/>
              </a:ext>
            </a:extLst>
          </p:cNvPr>
          <p:cNvSpPr/>
          <p:nvPr/>
        </p:nvSpPr>
        <p:spPr>
          <a:xfrm>
            <a:off x="8721892" y="4486719"/>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4872"/>
                </a:lnTo>
                <a:close/>
              </a:path>
            </a:pathLst>
          </a:custGeom>
          <a:solidFill>
            <a:srgbClr val="EEF2F5"/>
          </a:solidFill>
          <a:ln w="11643" cap="flat">
            <a:noFill/>
            <a:prstDash val="solid"/>
            <a:miter/>
          </a:ln>
        </p:spPr>
        <p:txBody>
          <a:bodyPr rtlCol="0" anchor="ctr"/>
          <a:lstStyle/>
          <a:p>
            <a:endParaRPr lang="de-DE"/>
          </a:p>
        </p:txBody>
      </p:sp>
      <p:sp>
        <p:nvSpPr>
          <p:cNvPr id="146" name="Freihandform: Form 145">
            <a:extLst>
              <a:ext uri="{FF2B5EF4-FFF2-40B4-BE49-F238E27FC236}">
                <a16:creationId xmlns:a16="http://schemas.microsoft.com/office/drawing/2014/main" id="{05AC39C3-CD17-42BE-BFB8-C8A94809F9BF}"/>
              </a:ext>
            </a:extLst>
          </p:cNvPr>
          <p:cNvSpPr/>
          <p:nvPr/>
        </p:nvSpPr>
        <p:spPr>
          <a:xfrm>
            <a:off x="8721892" y="4842120"/>
            <a:ext cx="198092" cy="214405"/>
          </a:xfrm>
          <a:custGeom>
            <a:avLst/>
            <a:gdLst>
              <a:gd name="connsiteX0" fmla="*/ 90889 w 198092"/>
              <a:gd name="connsiteY0" fmla="*/ 214406 h 214405"/>
              <a:gd name="connsiteX1" fmla="*/ 0 w 198092"/>
              <a:gd name="connsiteY1" fmla="*/ 214406 h 214405"/>
              <a:gd name="connsiteX2" fmla="*/ 106037 w 198092"/>
              <a:gd name="connsiteY2" fmla="*/ 107203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7203"/>
                </a:lnTo>
                <a:lnTo>
                  <a:pt x="0" y="0"/>
                </a:lnTo>
                <a:lnTo>
                  <a:pt x="92055" y="0"/>
                </a:lnTo>
                <a:lnTo>
                  <a:pt x="198092" y="104872"/>
                </a:lnTo>
                <a:close/>
              </a:path>
            </a:pathLst>
          </a:custGeom>
          <a:solidFill>
            <a:srgbClr val="EEF2F5"/>
          </a:solidFill>
          <a:ln w="11643" cap="flat">
            <a:noFill/>
            <a:prstDash val="solid"/>
            <a:miter/>
          </a:ln>
        </p:spPr>
        <p:txBody>
          <a:bodyPr rtlCol="0" anchor="ctr"/>
          <a:lstStyle/>
          <a:p>
            <a:endParaRPr lang="de-DE"/>
          </a:p>
        </p:txBody>
      </p:sp>
      <p:sp>
        <p:nvSpPr>
          <p:cNvPr id="163" name="Freihandform: Form 162">
            <a:extLst>
              <a:ext uri="{FF2B5EF4-FFF2-40B4-BE49-F238E27FC236}">
                <a16:creationId xmlns:a16="http://schemas.microsoft.com/office/drawing/2014/main" id="{88E84DF2-6EB7-427E-A4CB-C71E9DB80B42}"/>
              </a:ext>
            </a:extLst>
          </p:cNvPr>
          <p:cNvSpPr/>
          <p:nvPr/>
        </p:nvSpPr>
        <p:spPr>
          <a:xfrm>
            <a:off x="8721892" y="5196355"/>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6038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6038"/>
                </a:lnTo>
                <a:close/>
              </a:path>
            </a:pathLst>
          </a:custGeom>
          <a:solidFill>
            <a:srgbClr val="EEF2F5"/>
          </a:solidFill>
          <a:ln w="11643" cap="flat">
            <a:noFill/>
            <a:prstDash val="solid"/>
            <a:miter/>
          </a:ln>
        </p:spPr>
        <p:txBody>
          <a:bodyPr rtlCol="0" anchor="ctr"/>
          <a:lstStyle/>
          <a:p>
            <a:endParaRPr lang="de-DE"/>
          </a:p>
        </p:txBody>
      </p:sp>
      <p:sp>
        <p:nvSpPr>
          <p:cNvPr id="180" name="Freihandform: Form 179">
            <a:extLst>
              <a:ext uri="{FF2B5EF4-FFF2-40B4-BE49-F238E27FC236}">
                <a16:creationId xmlns:a16="http://schemas.microsoft.com/office/drawing/2014/main" id="{73606A8C-ADFE-479C-B34E-C91AE8F14BDF}"/>
              </a:ext>
            </a:extLst>
          </p:cNvPr>
          <p:cNvSpPr/>
          <p:nvPr/>
        </p:nvSpPr>
        <p:spPr>
          <a:xfrm>
            <a:off x="8721892" y="5551755"/>
            <a:ext cx="198092" cy="214405"/>
          </a:xfrm>
          <a:custGeom>
            <a:avLst/>
            <a:gdLst>
              <a:gd name="connsiteX0" fmla="*/ 90889 w 198092"/>
              <a:gd name="connsiteY0" fmla="*/ 214406 h 214405"/>
              <a:gd name="connsiteX1" fmla="*/ 0 w 198092"/>
              <a:gd name="connsiteY1" fmla="*/ 214406 h 214405"/>
              <a:gd name="connsiteX2" fmla="*/ 106037 w 198092"/>
              <a:gd name="connsiteY2" fmla="*/ 107203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7203"/>
                </a:lnTo>
                <a:lnTo>
                  <a:pt x="0" y="0"/>
                </a:lnTo>
                <a:lnTo>
                  <a:pt x="92055" y="0"/>
                </a:lnTo>
                <a:lnTo>
                  <a:pt x="198092" y="104872"/>
                </a:lnTo>
                <a:close/>
              </a:path>
            </a:pathLst>
          </a:custGeom>
          <a:solidFill>
            <a:srgbClr val="EEF2F5"/>
          </a:solidFill>
          <a:ln w="11643" cap="flat">
            <a:noFill/>
            <a:prstDash val="solid"/>
            <a:miter/>
          </a:ln>
        </p:spPr>
        <p:txBody>
          <a:bodyPr rtlCol="0" anchor="ctr"/>
          <a:lstStyle/>
          <a:p>
            <a:endParaRPr lang="de-DE"/>
          </a:p>
        </p:txBody>
      </p:sp>
      <p:sp>
        <p:nvSpPr>
          <p:cNvPr id="197" name="Freihandform: Form 196">
            <a:extLst>
              <a:ext uri="{FF2B5EF4-FFF2-40B4-BE49-F238E27FC236}">
                <a16:creationId xmlns:a16="http://schemas.microsoft.com/office/drawing/2014/main" id="{FC296AC6-E750-4BE9-BDD1-981A05C08FF5}"/>
              </a:ext>
            </a:extLst>
          </p:cNvPr>
          <p:cNvSpPr/>
          <p:nvPr/>
        </p:nvSpPr>
        <p:spPr>
          <a:xfrm>
            <a:off x="8721892" y="5905991"/>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6038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6038"/>
                </a:lnTo>
                <a:close/>
              </a:path>
            </a:pathLst>
          </a:custGeom>
          <a:solidFill>
            <a:srgbClr val="EEF2F5"/>
          </a:solidFill>
          <a:ln w="11643" cap="flat">
            <a:noFill/>
            <a:prstDash val="solid"/>
            <a:miter/>
          </a:ln>
        </p:spPr>
        <p:txBody>
          <a:bodyPr rtlCol="0" anchor="ctr"/>
          <a:lstStyle/>
          <a:p>
            <a:endParaRPr lang="de-DE"/>
          </a:p>
        </p:txBody>
      </p:sp>
      <p:sp>
        <p:nvSpPr>
          <p:cNvPr id="214" name="Freihandform: Form 213">
            <a:extLst>
              <a:ext uri="{FF2B5EF4-FFF2-40B4-BE49-F238E27FC236}">
                <a16:creationId xmlns:a16="http://schemas.microsoft.com/office/drawing/2014/main" id="{C03E7333-2F83-4C83-832A-36CD5A0C1B61}"/>
              </a:ext>
            </a:extLst>
          </p:cNvPr>
          <p:cNvSpPr/>
          <p:nvPr/>
        </p:nvSpPr>
        <p:spPr>
          <a:xfrm>
            <a:off x="8721892" y="6261391"/>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4872"/>
                </a:lnTo>
                <a:close/>
              </a:path>
            </a:pathLst>
          </a:custGeom>
          <a:solidFill>
            <a:srgbClr val="EEF2F5"/>
          </a:solidFill>
          <a:ln w="11643" cap="flat">
            <a:noFill/>
            <a:prstDash val="solid"/>
            <a:miter/>
          </a:ln>
        </p:spPr>
        <p:txBody>
          <a:bodyPr rtlCol="0" anchor="ctr"/>
          <a:lstStyle/>
          <a:p>
            <a:endParaRPr lang="de-DE"/>
          </a:p>
        </p:txBody>
      </p:sp>
      <p:sp>
        <p:nvSpPr>
          <p:cNvPr id="230" name="Freihandform: Form 229">
            <a:extLst>
              <a:ext uri="{FF2B5EF4-FFF2-40B4-BE49-F238E27FC236}">
                <a16:creationId xmlns:a16="http://schemas.microsoft.com/office/drawing/2014/main" id="{83AA4FB9-F340-4ECE-A8B5-BF0225383456}"/>
              </a:ext>
            </a:extLst>
          </p:cNvPr>
          <p:cNvSpPr/>
          <p:nvPr/>
        </p:nvSpPr>
        <p:spPr>
          <a:xfrm>
            <a:off x="8721892" y="6615627"/>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6037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6037"/>
                </a:lnTo>
                <a:close/>
              </a:path>
            </a:pathLst>
          </a:custGeom>
          <a:solidFill>
            <a:srgbClr val="EEF2F5"/>
          </a:solidFill>
          <a:ln w="11643" cap="flat">
            <a:noFill/>
            <a:prstDash val="solid"/>
            <a:miter/>
          </a:ln>
        </p:spPr>
        <p:txBody>
          <a:bodyPr rtlCol="0" anchor="ctr"/>
          <a:lstStyle/>
          <a:p>
            <a:endParaRPr lang="de-DE"/>
          </a:p>
        </p:txBody>
      </p:sp>
      <p:sp>
        <p:nvSpPr>
          <p:cNvPr id="19" name="Freihandform: Form 18">
            <a:extLst>
              <a:ext uri="{FF2B5EF4-FFF2-40B4-BE49-F238E27FC236}">
                <a16:creationId xmlns:a16="http://schemas.microsoft.com/office/drawing/2014/main" id="{9DB76664-FCBB-4E4F-B5E6-C249AA6B44D0}"/>
              </a:ext>
            </a:extLst>
          </p:cNvPr>
          <p:cNvSpPr/>
          <p:nvPr/>
        </p:nvSpPr>
        <p:spPr>
          <a:xfrm>
            <a:off x="9069136" y="1994253"/>
            <a:ext cx="214405" cy="231884"/>
          </a:xfrm>
          <a:custGeom>
            <a:avLst/>
            <a:gdLst>
              <a:gd name="connsiteX0" fmla="*/ 97881 w 214405"/>
              <a:gd name="connsiteY0" fmla="*/ 231884 h 231884"/>
              <a:gd name="connsiteX1" fmla="*/ 0 w 214405"/>
              <a:gd name="connsiteY1" fmla="*/ 231884 h 231884"/>
              <a:gd name="connsiteX2" fmla="*/ 114194 w 214405"/>
              <a:gd name="connsiteY2" fmla="*/ 116525 h 231884"/>
              <a:gd name="connsiteX3" fmla="*/ 0 w 214405"/>
              <a:gd name="connsiteY3" fmla="*/ 0 h 231884"/>
              <a:gd name="connsiteX4" fmla="*/ 100211 w 214405"/>
              <a:gd name="connsiteY4" fmla="*/ 0 h 231884"/>
              <a:gd name="connsiteX5" fmla="*/ 214406 w 214405"/>
              <a:gd name="connsiteY5" fmla="*/ 114194 h 23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1884">
                <a:moveTo>
                  <a:pt x="97881" y="231884"/>
                </a:moveTo>
                <a:lnTo>
                  <a:pt x="0" y="231884"/>
                </a:lnTo>
                <a:lnTo>
                  <a:pt x="114194" y="116525"/>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34" name="Freihandform: Form 33">
            <a:extLst>
              <a:ext uri="{FF2B5EF4-FFF2-40B4-BE49-F238E27FC236}">
                <a16:creationId xmlns:a16="http://schemas.microsoft.com/office/drawing/2014/main" id="{1C9E837E-20C0-4E65-AB7F-E12A38184389}"/>
              </a:ext>
            </a:extLst>
          </p:cNvPr>
          <p:cNvSpPr/>
          <p:nvPr/>
        </p:nvSpPr>
        <p:spPr>
          <a:xfrm>
            <a:off x="9069136" y="2348489"/>
            <a:ext cx="214405" cy="233049"/>
          </a:xfrm>
          <a:custGeom>
            <a:avLst/>
            <a:gdLst>
              <a:gd name="connsiteX0" fmla="*/ 97881 w 214405"/>
              <a:gd name="connsiteY0" fmla="*/ 233050 h 233049"/>
              <a:gd name="connsiteX1" fmla="*/ 0 w 214405"/>
              <a:gd name="connsiteY1" fmla="*/ 233050 h 233049"/>
              <a:gd name="connsiteX2" fmla="*/ 114194 w 214405"/>
              <a:gd name="connsiteY2" fmla="*/ 117690 h 233049"/>
              <a:gd name="connsiteX3" fmla="*/ 0 w 214405"/>
              <a:gd name="connsiteY3" fmla="*/ 0 h 233049"/>
              <a:gd name="connsiteX4" fmla="*/ 100211 w 214405"/>
              <a:gd name="connsiteY4" fmla="*/ 0 h 233049"/>
              <a:gd name="connsiteX5" fmla="*/ 214406 w 214405"/>
              <a:gd name="connsiteY5" fmla="*/ 114194 h 23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3048">
                <a:moveTo>
                  <a:pt x="97881" y="233050"/>
                </a:moveTo>
                <a:lnTo>
                  <a:pt x="0" y="233050"/>
                </a:lnTo>
                <a:lnTo>
                  <a:pt x="114194" y="117690"/>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50" name="Freihandform: Form 49">
            <a:extLst>
              <a:ext uri="{FF2B5EF4-FFF2-40B4-BE49-F238E27FC236}">
                <a16:creationId xmlns:a16="http://schemas.microsoft.com/office/drawing/2014/main" id="{8113F30E-6E8E-4B5D-82C9-BD00E85422E7}"/>
              </a:ext>
            </a:extLst>
          </p:cNvPr>
          <p:cNvSpPr/>
          <p:nvPr/>
        </p:nvSpPr>
        <p:spPr>
          <a:xfrm>
            <a:off x="9069136" y="2703889"/>
            <a:ext cx="214405" cy="231884"/>
          </a:xfrm>
          <a:custGeom>
            <a:avLst/>
            <a:gdLst>
              <a:gd name="connsiteX0" fmla="*/ 97881 w 214405"/>
              <a:gd name="connsiteY0" fmla="*/ 231884 h 231884"/>
              <a:gd name="connsiteX1" fmla="*/ 0 w 214405"/>
              <a:gd name="connsiteY1" fmla="*/ 231884 h 231884"/>
              <a:gd name="connsiteX2" fmla="*/ 114194 w 214405"/>
              <a:gd name="connsiteY2" fmla="*/ 116525 h 231884"/>
              <a:gd name="connsiteX3" fmla="*/ 0 w 214405"/>
              <a:gd name="connsiteY3" fmla="*/ 0 h 231884"/>
              <a:gd name="connsiteX4" fmla="*/ 100211 w 214405"/>
              <a:gd name="connsiteY4" fmla="*/ 0 h 231884"/>
              <a:gd name="connsiteX5" fmla="*/ 214406 w 214405"/>
              <a:gd name="connsiteY5" fmla="*/ 114194 h 23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1884">
                <a:moveTo>
                  <a:pt x="97881" y="231884"/>
                </a:moveTo>
                <a:lnTo>
                  <a:pt x="0" y="231884"/>
                </a:lnTo>
                <a:lnTo>
                  <a:pt x="114194" y="116525"/>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66" name="Freihandform: Form 65">
            <a:extLst>
              <a:ext uri="{FF2B5EF4-FFF2-40B4-BE49-F238E27FC236}">
                <a16:creationId xmlns:a16="http://schemas.microsoft.com/office/drawing/2014/main" id="{83CF9041-D1BF-47E7-A660-B0728CA7416C}"/>
              </a:ext>
            </a:extLst>
          </p:cNvPr>
          <p:cNvSpPr/>
          <p:nvPr/>
        </p:nvSpPr>
        <p:spPr>
          <a:xfrm>
            <a:off x="9069136" y="3058125"/>
            <a:ext cx="214405" cy="233049"/>
          </a:xfrm>
          <a:custGeom>
            <a:avLst/>
            <a:gdLst>
              <a:gd name="connsiteX0" fmla="*/ 97881 w 214405"/>
              <a:gd name="connsiteY0" fmla="*/ 233050 h 233049"/>
              <a:gd name="connsiteX1" fmla="*/ 0 w 214405"/>
              <a:gd name="connsiteY1" fmla="*/ 233050 h 233049"/>
              <a:gd name="connsiteX2" fmla="*/ 114194 w 214405"/>
              <a:gd name="connsiteY2" fmla="*/ 117690 h 233049"/>
              <a:gd name="connsiteX3" fmla="*/ 0 w 214405"/>
              <a:gd name="connsiteY3" fmla="*/ 0 h 233049"/>
              <a:gd name="connsiteX4" fmla="*/ 100211 w 214405"/>
              <a:gd name="connsiteY4" fmla="*/ 0 h 233049"/>
              <a:gd name="connsiteX5" fmla="*/ 214406 w 214405"/>
              <a:gd name="connsiteY5" fmla="*/ 114194 h 23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3048">
                <a:moveTo>
                  <a:pt x="97881" y="233050"/>
                </a:moveTo>
                <a:lnTo>
                  <a:pt x="0" y="233050"/>
                </a:lnTo>
                <a:lnTo>
                  <a:pt x="114194" y="117690"/>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82" name="Freihandform: Form 81">
            <a:extLst>
              <a:ext uri="{FF2B5EF4-FFF2-40B4-BE49-F238E27FC236}">
                <a16:creationId xmlns:a16="http://schemas.microsoft.com/office/drawing/2014/main" id="{5E3A187E-D2FD-43A2-AA3C-854C35701E6E}"/>
              </a:ext>
            </a:extLst>
          </p:cNvPr>
          <p:cNvSpPr/>
          <p:nvPr/>
        </p:nvSpPr>
        <p:spPr>
          <a:xfrm>
            <a:off x="9069136" y="3413526"/>
            <a:ext cx="214405" cy="231884"/>
          </a:xfrm>
          <a:custGeom>
            <a:avLst/>
            <a:gdLst>
              <a:gd name="connsiteX0" fmla="*/ 97881 w 214405"/>
              <a:gd name="connsiteY0" fmla="*/ 231884 h 231884"/>
              <a:gd name="connsiteX1" fmla="*/ 0 w 214405"/>
              <a:gd name="connsiteY1" fmla="*/ 231884 h 231884"/>
              <a:gd name="connsiteX2" fmla="*/ 114194 w 214405"/>
              <a:gd name="connsiteY2" fmla="*/ 116525 h 231884"/>
              <a:gd name="connsiteX3" fmla="*/ 0 w 214405"/>
              <a:gd name="connsiteY3" fmla="*/ 0 h 231884"/>
              <a:gd name="connsiteX4" fmla="*/ 100211 w 214405"/>
              <a:gd name="connsiteY4" fmla="*/ 0 h 231884"/>
              <a:gd name="connsiteX5" fmla="*/ 214406 w 214405"/>
              <a:gd name="connsiteY5" fmla="*/ 114194 h 23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1884">
                <a:moveTo>
                  <a:pt x="97881" y="231884"/>
                </a:moveTo>
                <a:lnTo>
                  <a:pt x="0" y="231884"/>
                </a:lnTo>
                <a:lnTo>
                  <a:pt x="114194" y="116525"/>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98" name="Freihandform: Form 97">
            <a:extLst>
              <a:ext uri="{FF2B5EF4-FFF2-40B4-BE49-F238E27FC236}">
                <a16:creationId xmlns:a16="http://schemas.microsoft.com/office/drawing/2014/main" id="{D3A81AAA-9E9E-4B15-AAC7-1E1DC2995BB7}"/>
              </a:ext>
            </a:extLst>
          </p:cNvPr>
          <p:cNvSpPr/>
          <p:nvPr/>
        </p:nvSpPr>
        <p:spPr>
          <a:xfrm>
            <a:off x="9069136" y="3767761"/>
            <a:ext cx="214405" cy="233049"/>
          </a:xfrm>
          <a:custGeom>
            <a:avLst/>
            <a:gdLst>
              <a:gd name="connsiteX0" fmla="*/ 97881 w 214405"/>
              <a:gd name="connsiteY0" fmla="*/ 233050 h 233049"/>
              <a:gd name="connsiteX1" fmla="*/ 0 w 214405"/>
              <a:gd name="connsiteY1" fmla="*/ 233050 h 233049"/>
              <a:gd name="connsiteX2" fmla="*/ 114194 w 214405"/>
              <a:gd name="connsiteY2" fmla="*/ 117690 h 233049"/>
              <a:gd name="connsiteX3" fmla="*/ 0 w 214405"/>
              <a:gd name="connsiteY3" fmla="*/ 0 h 233049"/>
              <a:gd name="connsiteX4" fmla="*/ 100211 w 214405"/>
              <a:gd name="connsiteY4" fmla="*/ 0 h 233049"/>
              <a:gd name="connsiteX5" fmla="*/ 214406 w 214405"/>
              <a:gd name="connsiteY5" fmla="*/ 114194 h 23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3048">
                <a:moveTo>
                  <a:pt x="97881" y="233050"/>
                </a:moveTo>
                <a:lnTo>
                  <a:pt x="0" y="233050"/>
                </a:lnTo>
                <a:lnTo>
                  <a:pt x="114194" y="117690"/>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114" name="Freihandform: Form 113">
            <a:extLst>
              <a:ext uri="{FF2B5EF4-FFF2-40B4-BE49-F238E27FC236}">
                <a16:creationId xmlns:a16="http://schemas.microsoft.com/office/drawing/2014/main" id="{D7414768-9244-413F-B790-A52513170C11}"/>
              </a:ext>
            </a:extLst>
          </p:cNvPr>
          <p:cNvSpPr/>
          <p:nvPr/>
        </p:nvSpPr>
        <p:spPr>
          <a:xfrm>
            <a:off x="9069136" y="4123162"/>
            <a:ext cx="214405" cy="231884"/>
          </a:xfrm>
          <a:custGeom>
            <a:avLst/>
            <a:gdLst>
              <a:gd name="connsiteX0" fmla="*/ 97881 w 214405"/>
              <a:gd name="connsiteY0" fmla="*/ 231884 h 231884"/>
              <a:gd name="connsiteX1" fmla="*/ 0 w 214405"/>
              <a:gd name="connsiteY1" fmla="*/ 231884 h 231884"/>
              <a:gd name="connsiteX2" fmla="*/ 114194 w 214405"/>
              <a:gd name="connsiteY2" fmla="*/ 116525 h 231884"/>
              <a:gd name="connsiteX3" fmla="*/ 0 w 214405"/>
              <a:gd name="connsiteY3" fmla="*/ 0 h 231884"/>
              <a:gd name="connsiteX4" fmla="*/ 100211 w 214405"/>
              <a:gd name="connsiteY4" fmla="*/ 0 h 231884"/>
              <a:gd name="connsiteX5" fmla="*/ 214406 w 214405"/>
              <a:gd name="connsiteY5" fmla="*/ 114194 h 23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1884">
                <a:moveTo>
                  <a:pt x="97881" y="231884"/>
                </a:moveTo>
                <a:lnTo>
                  <a:pt x="0" y="231884"/>
                </a:lnTo>
                <a:lnTo>
                  <a:pt x="114194" y="116525"/>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130" name="Freihandform: Form 129">
            <a:extLst>
              <a:ext uri="{FF2B5EF4-FFF2-40B4-BE49-F238E27FC236}">
                <a16:creationId xmlns:a16="http://schemas.microsoft.com/office/drawing/2014/main" id="{401AC1C2-779B-43DF-BA19-77977887DF48}"/>
              </a:ext>
            </a:extLst>
          </p:cNvPr>
          <p:cNvSpPr/>
          <p:nvPr/>
        </p:nvSpPr>
        <p:spPr>
          <a:xfrm>
            <a:off x="9069136" y="4477397"/>
            <a:ext cx="214405" cy="233049"/>
          </a:xfrm>
          <a:custGeom>
            <a:avLst/>
            <a:gdLst>
              <a:gd name="connsiteX0" fmla="*/ 97881 w 214405"/>
              <a:gd name="connsiteY0" fmla="*/ 233050 h 233049"/>
              <a:gd name="connsiteX1" fmla="*/ 0 w 214405"/>
              <a:gd name="connsiteY1" fmla="*/ 233050 h 233049"/>
              <a:gd name="connsiteX2" fmla="*/ 114194 w 214405"/>
              <a:gd name="connsiteY2" fmla="*/ 117690 h 233049"/>
              <a:gd name="connsiteX3" fmla="*/ 0 w 214405"/>
              <a:gd name="connsiteY3" fmla="*/ 0 h 233049"/>
              <a:gd name="connsiteX4" fmla="*/ 100211 w 214405"/>
              <a:gd name="connsiteY4" fmla="*/ 0 h 233049"/>
              <a:gd name="connsiteX5" fmla="*/ 214406 w 214405"/>
              <a:gd name="connsiteY5" fmla="*/ 114194 h 23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3048">
                <a:moveTo>
                  <a:pt x="97881" y="233050"/>
                </a:moveTo>
                <a:lnTo>
                  <a:pt x="0" y="233050"/>
                </a:lnTo>
                <a:lnTo>
                  <a:pt x="114194" y="117690"/>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147" name="Freihandform: Form 146">
            <a:extLst>
              <a:ext uri="{FF2B5EF4-FFF2-40B4-BE49-F238E27FC236}">
                <a16:creationId xmlns:a16="http://schemas.microsoft.com/office/drawing/2014/main" id="{828616FB-ED5E-4EBB-AE8B-F4FB143D7DA7}"/>
              </a:ext>
            </a:extLst>
          </p:cNvPr>
          <p:cNvSpPr/>
          <p:nvPr/>
        </p:nvSpPr>
        <p:spPr>
          <a:xfrm>
            <a:off x="9069136" y="4832797"/>
            <a:ext cx="214405" cy="231884"/>
          </a:xfrm>
          <a:custGeom>
            <a:avLst/>
            <a:gdLst>
              <a:gd name="connsiteX0" fmla="*/ 97881 w 214405"/>
              <a:gd name="connsiteY0" fmla="*/ 231884 h 231884"/>
              <a:gd name="connsiteX1" fmla="*/ 0 w 214405"/>
              <a:gd name="connsiteY1" fmla="*/ 231884 h 231884"/>
              <a:gd name="connsiteX2" fmla="*/ 114194 w 214405"/>
              <a:gd name="connsiteY2" fmla="*/ 116525 h 231884"/>
              <a:gd name="connsiteX3" fmla="*/ 0 w 214405"/>
              <a:gd name="connsiteY3" fmla="*/ 0 h 231884"/>
              <a:gd name="connsiteX4" fmla="*/ 100211 w 214405"/>
              <a:gd name="connsiteY4" fmla="*/ 0 h 231884"/>
              <a:gd name="connsiteX5" fmla="*/ 214406 w 214405"/>
              <a:gd name="connsiteY5" fmla="*/ 114194 h 23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1884">
                <a:moveTo>
                  <a:pt x="97881" y="231884"/>
                </a:moveTo>
                <a:lnTo>
                  <a:pt x="0" y="231884"/>
                </a:lnTo>
                <a:lnTo>
                  <a:pt x="114194" y="116525"/>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164" name="Freihandform: Form 163">
            <a:extLst>
              <a:ext uri="{FF2B5EF4-FFF2-40B4-BE49-F238E27FC236}">
                <a16:creationId xmlns:a16="http://schemas.microsoft.com/office/drawing/2014/main" id="{1552BFC2-885E-488D-9178-E4EF0A480D27}"/>
              </a:ext>
            </a:extLst>
          </p:cNvPr>
          <p:cNvSpPr/>
          <p:nvPr/>
        </p:nvSpPr>
        <p:spPr>
          <a:xfrm>
            <a:off x="9069136" y="5187033"/>
            <a:ext cx="214405" cy="233049"/>
          </a:xfrm>
          <a:custGeom>
            <a:avLst/>
            <a:gdLst>
              <a:gd name="connsiteX0" fmla="*/ 97881 w 214405"/>
              <a:gd name="connsiteY0" fmla="*/ 233050 h 233049"/>
              <a:gd name="connsiteX1" fmla="*/ 0 w 214405"/>
              <a:gd name="connsiteY1" fmla="*/ 233050 h 233049"/>
              <a:gd name="connsiteX2" fmla="*/ 114194 w 214405"/>
              <a:gd name="connsiteY2" fmla="*/ 117690 h 233049"/>
              <a:gd name="connsiteX3" fmla="*/ 0 w 214405"/>
              <a:gd name="connsiteY3" fmla="*/ 0 h 233049"/>
              <a:gd name="connsiteX4" fmla="*/ 100211 w 214405"/>
              <a:gd name="connsiteY4" fmla="*/ 0 h 233049"/>
              <a:gd name="connsiteX5" fmla="*/ 214406 w 214405"/>
              <a:gd name="connsiteY5" fmla="*/ 114194 h 23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3048">
                <a:moveTo>
                  <a:pt x="97881" y="233050"/>
                </a:moveTo>
                <a:lnTo>
                  <a:pt x="0" y="233050"/>
                </a:lnTo>
                <a:lnTo>
                  <a:pt x="114194" y="117690"/>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181" name="Freihandform: Form 180">
            <a:extLst>
              <a:ext uri="{FF2B5EF4-FFF2-40B4-BE49-F238E27FC236}">
                <a16:creationId xmlns:a16="http://schemas.microsoft.com/office/drawing/2014/main" id="{80648966-F9E2-4B5F-ABE6-533E21207054}"/>
              </a:ext>
            </a:extLst>
          </p:cNvPr>
          <p:cNvSpPr/>
          <p:nvPr/>
        </p:nvSpPr>
        <p:spPr>
          <a:xfrm>
            <a:off x="9069136" y="5542434"/>
            <a:ext cx="214405" cy="231884"/>
          </a:xfrm>
          <a:custGeom>
            <a:avLst/>
            <a:gdLst>
              <a:gd name="connsiteX0" fmla="*/ 97881 w 214405"/>
              <a:gd name="connsiteY0" fmla="*/ 231884 h 231884"/>
              <a:gd name="connsiteX1" fmla="*/ 0 w 214405"/>
              <a:gd name="connsiteY1" fmla="*/ 231884 h 231884"/>
              <a:gd name="connsiteX2" fmla="*/ 114194 w 214405"/>
              <a:gd name="connsiteY2" fmla="*/ 117690 h 231884"/>
              <a:gd name="connsiteX3" fmla="*/ 0 w 214405"/>
              <a:gd name="connsiteY3" fmla="*/ 0 h 231884"/>
              <a:gd name="connsiteX4" fmla="*/ 100211 w 214405"/>
              <a:gd name="connsiteY4" fmla="*/ 0 h 231884"/>
              <a:gd name="connsiteX5" fmla="*/ 214406 w 214405"/>
              <a:gd name="connsiteY5" fmla="*/ 114194 h 23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1884">
                <a:moveTo>
                  <a:pt x="97881" y="231884"/>
                </a:moveTo>
                <a:lnTo>
                  <a:pt x="0" y="231884"/>
                </a:lnTo>
                <a:lnTo>
                  <a:pt x="114194" y="117690"/>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198" name="Freihandform: Form 197">
            <a:extLst>
              <a:ext uri="{FF2B5EF4-FFF2-40B4-BE49-F238E27FC236}">
                <a16:creationId xmlns:a16="http://schemas.microsoft.com/office/drawing/2014/main" id="{8C7041C5-0B5B-4AF4-9E5A-19A8C4C12F42}"/>
              </a:ext>
            </a:extLst>
          </p:cNvPr>
          <p:cNvSpPr/>
          <p:nvPr/>
        </p:nvSpPr>
        <p:spPr>
          <a:xfrm>
            <a:off x="9069136" y="5896669"/>
            <a:ext cx="214405" cy="233049"/>
          </a:xfrm>
          <a:custGeom>
            <a:avLst/>
            <a:gdLst>
              <a:gd name="connsiteX0" fmla="*/ 97881 w 214405"/>
              <a:gd name="connsiteY0" fmla="*/ 233050 h 233049"/>
              <a:gd name="connsiteX1" fmla="*/ 0 w 214405"/>
              <a:gd name="connsiteY1" fmla="*/ 233050 h 233049"/>
              <a:gd name="connsiteX2" fmla="*/ 114194 w 214405"/>
              <a:gd name="connsiteY2" fmla="*/ 117690 h 233049"/>
              <a:gd name="connsiteX3" fmla="*/ 0 w 214405"/>
              <a:gd name="connsiteY3" fmla="*/ 0 h 233049"/>
              <a:gd name="connsiteX4" fmla="*/ 100211 w 214405"/>
              <a:gd name="connsiteY4" fmla="*/ 0 h 233049"/>
              <a:gd name="connsiteX5" fmla="*/ 214406 w 214405"/>
              <a:gd name="connsiteY5" fmla="*/ 114194 h 23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3048">
                <a:moveTo>
                  <a:pt x="97881" y="233050"/>
                </a:moveTo>
                <a:lnTo>
                  <a:pt x="0" y="233050"/>
                </a:lnTo>
                <a:lnTo>
                  <a:pt x="114194" y="117690"/>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215" name="Freihandform: Form 214">
            <a:extLst>
              <a:ext uri="{FF2B5EF4-FFF2-40B4-BE49-F238E27FC236}">
                <a16:creationId xmlns:a16="http://schemas.microsoft.com/office/drawing/2014/main" id="{DC129505-58A5-42E7-B349-A205FB83331A}"/>
              </a:ext>
            </a:extLst>
          </p:cNvPr>
          <p:cNvSpPr/>
          <p:nvPr/>
        </p:nvSpPr>
        <p:spPr>
          <a:xfrm>
            <a:off x="9069136" y="6252070"/>
            <a:ext cx="214405" cy="233049"/>
          </a:xfrm>
          <a:custGeom>
            <a:avLst/>
            <a:gdLst>
              <a:gd name="connsiteX0" fmla="*/ 97881 w 214405"/>
              <a:gd name="connsiteY0" fmla="*/ 233050 h 233049"/>
              <a:gd name="connsiteX1" fmla="*/ 0 w 214405"/>
              <a:gd name="connsiteY1" fmla="*/ 233050 h 233049"/>
              <a:gd name="connsiteX2" fmla="*/ 114194 w 214405"/>
              <a:gd name="connsiteY2" fmla="*/ 117690 h 233049"/>
              <a:gd name="connsiteX3" fmla="*/ 0 w 214405"/>
              <a:gd name="connsiteY3" fmla="*/ 0 h 233049"/>
              <a:gd name="connsiteX4" fmla="*/ 100211 w 214405"/>
              <a:gd name="connsiteY4" fmla="*/ 0 h 233049"/>
              <a:gd name="connsiteX5" fmla="*/ 214406 w 214405"/>
              <a:gd name="connsiteY5" fmla="*/ 114194 h 23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3048">
                <a:moveTo>
                  <a:pt x="97881" y="233050"/>
                </a:moveTo>
                <a:lnTo>
                  <a:pt x="0" y="233050"/>
                </a:lnTo>
                <a:lnTo>
                  <a:pt x="114194" y="117690"/>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231" name="Freihandform: Form 230">
            <a:extLst>
              <a:ext uri="{FF2B5EF4-FFF2-40B4-BE49-F238E27FC236}">
                <a16:creationId xmlns:a16="http://schemas.microsoft.com/office/drawing/2014/main" id="{7D437321-278E-41CD-A64F-B829FA8D7F6A}"/>
              </a:ext>
            </a:extLst>
          </p:cNvPr>
          <p:cNvSpPr/>
          <p:nvPr/>
        </p:nvSpPr>
        <p:spPr>
          <a:xfrm>
            <a:off x="9069136" y="6607470"/>
            <a:ext cx="214405" cy="231884"/>
          </a:xfrm>
          <a:custGeom>
            <a:avLst/>
            <a:gdLst>
              <a:gd name="connsiteX0" fmla="*/ 97881 w 214405"/>
              <a:gd name="connsiteY0" fmla="*/ 231884 h 231884"/>
              <a:gd name="connsiteX1" fmla="*/ 0 w 214405"/>
              <a:gd name="connsiteY1" fmla="*/ 231884 h 231884"/>
              <a:gd name="connsiteX2" fmla="*/ 114194 w 214405"/>
              <a:gd name="connsiteY2" fmla="*/ 116525 h 231884"/>
              <a:gd name="connsiteX3" fmla="*/ 0 w 214405"/>
              <a:gd name="connsiteY3" fmla="*/ 0 h 231884"/>
              <a:gd name="connsiteX4" fmla="*/ 100211 w 214405"/>
              <a:gd name="connsiteY4" fmla="*/ 0 h 231884"/>
              <a:gd name="connsiteX5" fmla="*/ 214406 w 214405"/>
              <a:gd name="connsiteY5" fmla="*/ 114194 h 23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1884">
                <a:moveTo>
                  <a:pt x="97881" y="231884"/>
                </a:moveTo>
                <a:lnTo>
                  <a:pt x="0" y="231884"/>
                </a:lnTo>
                <a:lnTo>
                  <a:pt x="114194" y="116525"/>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20" name="Freihandform: Form 19">
            <a:extLst>
              <a:ext uri="{FF2B5EF4-FFF2-40B4-BE49-F238E27FC236}">
                <a16:creationId xmlns:a16="http://schemas.microsoft.com/office/drawing/2014/main" id="{59C6ABB5-FB82-4897-A910-6DBB4D07120E}"/>
              </a:ext>
            </a:extLst>
          </p:cNvPr>
          <p:cNvSpPr/>
          <p:nvPr/>
        </p:nvSpPr>
        <p:spPr>
          <a:xfrm>
            <a:off x="9415215" y="1984931"/>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2351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5847"/>
                </a:lnTo>
                <a:lnTo>
                  <a:pt x="0" y="0"/>
                </a:lnTo>
                <a:lnTo>
                  <a:pt x="108368" y="0"/>
                </a:lnTo>
                <a:lnTo>
                  <a:pt x="230719" y="122351"/>
                </a:lnTo>
                <a:close/>
              </a:path>
            </a:pathLst>
          </a:custGeom>
          <a:solidFill>
            <a:srgbClr val="EEF2F5"/>
          </a:solidFill>
          <a:ln w="11643" cap="flat">
            <a:noFill/>
            <a:prstDash val="solid"/>
            <a:miter/>
          </a:ln>
        </p:spPr>
        <p:txBody>
          <a:bodyPr rtlCol="0" anchor="ctr"/>
          <a:lstStyle/>
          <a:p>
            <a:endParaRPr lang="de-DE"/>
          </a:p>
        </p:txBody>
      </p:sp>
      <p:sp>
        <p:nvSpPr>
          <p:cNvPr id="35" name="Freihandform: Form 34">
            <a:extLst>
              <a:ext uri="{FF2B5EF4-FFF2-40B4-BE49-F238E27FC236}">
                <a16:creationId xmlns:a16="http://schemas.microsoft.com/office/drawing/2014/main" id="{4B50BF8D-98A0-4C91-8957-BC9FDA550D32}"/>
              </a:ext>
            </a:extLst>
          </p:cNvPr>
          <p:cNvSpPr/>
          <p:nvPr/>
        </p:nvSpPr>
        <p:spPr>
          <a:xfrm>
            <a:off x="9415215" y="2339167"/>
            <a:ext cx="230718" cy="250528"/>
          </a:xfrm>
          <a:custGeom>
            <a:avLst/>
            <a:gdLst>
              <a:gd name="connsiteX0" fmla="*/ 106037 w 230718"/>
              <a:gd name="connsiteY0" fmla="*/ 250528 h 250528"/>
              <a:gd name="connsiteX1" fmla="*/ 0 w 230718"/>
              <a:gd name="connsiteY1" fmla="*/ 250528 h 250528"/>
              <a:gd name="connsiteX2" fmla="*/ 123516 w 230718"/>
              <a:gd name="connsiteY2" fmla="*/ 127012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7012"/>
                </a:lnTo>
                <a:lnTo>
                  <a:pt x="0" y="0"/>
                </a:lnTo>
                <a:lnTo>
                  <a:pt x="108368" y="0"/>
                </a:lnTo>
                <a:lnTo>
                  <a:pt x="230719" y="123516"/>
                </a:lnTo>
                <a:close/>
              </a:path>
            </a:pathLst>
          </a:custGeom>
          <a:solidFill>
            <a:srgbClr val="EEF2F5"/>
          </a:solidFill>
          <a:ln w="11643" cap="flat">
            <a:noFill/>
            <a:prstDash val="solid"/>
            <a:miter/>
          </a:ln>
        </p:spPr>
        <p:txBody>
          <a:bodyPr rtlCol="0" anchor="ctr"/>
          <a:lstStyle/>
          <a:p>
            <a:endParaRPr lang="de-DE"/>
          </a:p>
        </p:txBody>
      </p:sp>
      <p:sp>
        <p:nvSpPr>
          <p:cNvPr id="51" name="Freihandform: Form 50">
            <a:extLst>
              <a:ext uri="{FF2B5EF4-FFF2-40B4-BE49-F238E27FC236}">
                <a16:creationId xmlns:a16="http://schemas.microsoft.com/office/drawing/2014/main" id="{D1B3B4E3-CEF5-496B-A094-E4A3B0CD5519}"/>
              </a:ext>
            </a:extLst>
          </p:cNvPr>
          <p:cNvSpPr/>
          <p:nvPr/>
        </p:nvSpPr>
        <p:spPr>
          <a:xfrm>
            <a:off x="9415215" y="2694568"/>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5847"/>
                </a:lnTo>
                <a:lnTo>
                  <a:pt x="0" y="0"/>
                </a:lnTo>
                <a:lnTo>
                  <a:pt x="108368" y="0"/>
                </a:lnTo>
                <a:lnTo>
                  <a:pt x="230719" y="123516"/>
                </a:lnTo>
                <a:close/>
              </a:path>
            </a:pathLst>
          </a:custGeom>
          <a:solidFill>
            <a:srgbClr val="EEF2F5"/>
          </a:solidFill>
          <a:ln w="11643" cap="flat">
            <a:noFill/>
            <a:prstDash val="solid"/>
            <a:miter/>
          </a:ln>
        </p:spPr>
        <p:txBody>
          <a:bodyPr rtlCol="0" anchor="ctr"/>
          <a:lstStyle/>
          <a:p>
            <a:endParaRPr lang="de-DE"/>
          </a:p>
        </p:txBody>
      </p:sp>
      <p:sp>
        <p:nvSpPr>
          <p:cNvPr id="67" name="Freihandform: Form 66">
            <a:extLst>
              <a:ext uri="{FF2B5EF4-FFF2-40B4-BE49-F238E27FC236}">
                <a16:creationId xmlns:a16="http://schemas.microsoft.com/office/drawing/2014/main" id="{03766B2F-D62E-4376-B19A-E9A0137C9FF8}"/>
              </a:ext>
            </a:extLst>
          </p:cNvPr>
          <p:cNvSpPr/>
          <p:nvPr/>
        </p:nvSpPr>
        <p:spPr>
          <a:xfrm>
            <a:off x="9415215" y="3048803"/>
            <a:ext cx="230718" cy="250528"/>
          </a:xfrm>
          <a:custGeom>
            <a:avLst/>
            <a:gdLst>
              <a:gd name="connsiteX0" fmla="*/ 106037 w 230718"/>
              <a:gd name="connsiteY0" fmla="*/ 250528 h 250528"/>
              <a:gd name="connsiteX1" fmla="*/ 0 w 230718"/>
              <a:gd name="connsiteY1" fmla="*/ 250528 h 250528"/>
              <a:gd name="connsiteX2" fmla="*/ 123516 w 230718"/>
              <a:gd name="connsiteY2" fmla="*/ 127012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7012"/>
                </a:lnTo>
                <a:lnTo>
                  <a:pt x="0" y="0"/>
                </a:lnTo>
                <a:lnTo>
                  <a:pt x="108368" y="0"/>
                </a:lnTo>
                <a:lnTo>
                  <a:pt x="230719" y="123516"/>
                </a:lnTo>
                <a:close/>
              </a:path>
            </a:pathLst>
          </a:custGeom>
          <a:solidFill>
            <a:srgbClr val="EEF2F5"/>
          </a:solidFill>
          <a:ln w="11643" cap="flat">
            <a:noFill/>
            <a:prstDash val="solid"/>
            <a:miter/>
          </a:ln>
        </p:spPr>
        <p:txBody>
          <a:bodyPr rtlCol="0" anchor="ctr"/>
          <a:lstStyle/>
          <a:p>
            <a:endParaRPr lang="de-DE"/>
          </a:p>
        </p:txBody>
      </p:sp>
      <p:sp>
        <p:nvSpPr>
          <p:cNvPr id="83" name="Freihandform: Form 82">
            <a:extLst>
              <a:ext uri="{FF2B5EF4-FFF2-40B4-BE49-F238E27FC236}">
                <a16:creationId xmlns:a16="http://schemas.microsoft.com/office/drawing/2014/main" id="{AF30F1BC-BAAD-4C43-8F77-BAF589EBE37F}"/>
              </a:ext>
            </a:extLst>
          </p:cNvPr>
          <p:cNvSpPr/>
          <p:nvPr/>
        </p:nvSpPr>
        <p:spPr>
          <a:xfrm>
            <a:off x="9415215" y="3404203"/>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5847"/>
                </a:lnTo>
                <a:lnTo>
                  <a:pt x="0" y="0"/>
                </a:lnTo>
                <a:lnTo>
                  <a:pt x="108368" y="0"/>
                </a:lnTo>
                <a:lnTo>
                  <a:pt x="230719" y="123516"/>
                </a:lnTo>
                <a:close/>
              </a:path>
            </a:pathLst>
          </a:custGeom>
          <a:solidFill>
            <a:srgbClr val="EEF2F5"/>
          </a:solidFill>
          <a:ln w="11643" cap="flat">
            <a:noFill/>
            <a:prstDash val="solid"/>
            <a:miter/>
          </a:ln>
        </p:spPr>
        <p:txBody>
          <a:bodyPr rtlCol="0" anchor="ctr"/>
          <a:lstStyle/>
          <a:p>
            <a:endParaRPr lang="de-DE"/>
          </a:p>
        </p:txBody>
      </p:sp>
      <p:sp>
        <p:nvSpPr>
          <p:cNvPr id="99" name="Freihandform: Form 98">
            <a:extLst>
              <a:ext uri="{FF2B5EF4-FFF2-40B4-BE49-F238E27FC236}">
                <a16:creationId xmlns:a16="http://schemas.microsoft.com/office/drawing/2014/main" id="{EB01FE63-3ABC-4A0B-B6A7-BC06FBCD3820}"/>
              </a:ext>
            </a:extLst>
          </p:cNvPr>
          <p:cNvSpPr/>
          <p:nvPr/>
        </p:nvSpPr>
        <p:spPr>
          <a:xfrm>
            <a:off x="9415215" y="3758439"/>
            <a:ext cx="230718" cy="251693"/>
          </a:xfrm>
          <a:custGeom>
            <a:avLst/>
            <a:gdLst>
              <a:gd name="connsiteX0" fmla="*/ 106037 w 230718"/>
              <a:gd name="connsiteY0" fmla="*/ 251694 h 251693"/>
              <a:gd name="connsiteX1" fmla="*/ 0 w 230718"/>
              <a:gd name="connsiteY1" fmla="*/ 251694 h 251693"/>
              <a:gd name="connsiteX2" fmla="*/ 123516 w 230718"/>
              <a:gd name="connsiteY2" fmla="*/ 127012 h 251693"/>
              <a:gd name="connsiteX3" fmla="*/ 0 w 230718"/>
              <a:gd name="connsiteY3" fmla="*/ 0 h 251693"/>
              <a:gd name="connsiteX4" fmla="*/ 108368 w 230718"/>
              <a:gd name="connsiteY4" fmla="*/ 0 h 251693"/>
              <a:gd name="connsiteX5" fmla="*/ 230719 w 230718"/>
              <a:gd name="connsiteY5" fmla="*/ 123516 h 251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1693">
                <a:moveTo>
                  <a:pt x="106037" y="251694"/>
                </a:moveTo>
                <a:lnTo>
                  <a:pt x="0" y="251694"/>
                </a:lnTo>
                <a:lnTo>
                  <a:pt x="123516" y="127012"/>
                </a:lnTo>
                <a:lnTo>
                  <a:pt x="0" y="0"/>
                </a:lnTo>
                <a:lnTo>
                  <a:pt x="108368" y="0"/>
                </a:lnTo>
                <a:lnTo>
                  <a:pt x="230719" y="123516"/>
                </a:lnTo>
                <a:close/>
              </a:path>
            </a:pathLst>
          </a:custGeom>
          <a:solidFill>
            <a:srgbClr val="EEF2F5"/>
          </a:solidFill>
          <a:ln w="11643" cap="flat">
            <a:noFill/>
            <a:prstDash val="solid"/>
            <a:miter/>
          </a:ln>
        </p:spPr>
        <p:txBody>
          <a:bodyPr rtlCol="0" anchor="ctr"/>
          <a:lstStyle/>
          <a:p>
            <a:endParaRPr lang="de-DE"/>
          </a:p>
        </p:txBody>
      </p:sp>
      <p:sp>
        <p:nvSpPr>
          <p:cNvPr id="115" name="Freihandform: Form 114">
            <a:extLst>
              <a:ext uri="{FF2B5EF4-FFF2-40B4-BE49-F238E27FC236}">
                <a16:creationId xmlns:a16="http://schemas.microsoft.com/office/drawing/2014/main" id="{A88CE84F-0A79-46B8-839D-DEE0DC50B30B}"/>
              </a:ext>
            </a:extLst>
          </p:cNvPr>
          <p:cNvSpPr/>
          <p:nvPr/>
        </p:nvSpPr>
        <p:spPr>
          <a:xfrm>
            <a:off x="9415215" y="4113840"/>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5847"/>
                </a:lnTo>
                <a:lnTo>
                  <a:pt x="0" y="0"/>
                </a:lnTo>
                <a:lnTo>
                  <a:pt x="108368" y="0"/>
                </a:lnTo>
                <a:lnTo>
                  <a:pt x="230719" y="123516"/>
                </a:lnTo>
                <a:close/>
              </a:path>
            </a:pathLst>
          </a:custGeom>
          <a:solidFill>
            <a:srgbClr val="EEF2F5"/>
          </a:solidFill>
          <a:ln w="11643" cap="flat">
            <a:noFill/>
            <a:prstDash val="solid"/>
            <a:miter/>
          </a:ln>
        </p:spPr>
        <p:txBody>
          <a:bodyPr rtlCol="0" anchor="ctr"/>
          <a:lstStyle/>
          <a:p>
            <a:endParaRPr lang="de-DE"/>
          </a:p>
        </p:txBody>
      </p:sp>
      <p:sp>
        <p:nvSpPr>
          <p:cNvPr id="131" name="Freihandform: Form 130">
            <a:extLst>
              <a:ext uri="{FF2B5EF4-FFF2-40B4-BE49-F238E27FC236}">
                <a16:creationId xmlns:a16="http://schemas.microsoft.com/office/drawing/2014/main" id="{F56B8540-4A40-448B-96CE-F13FEB89FE24}"/>
              </a:ext>
            </a:extLst>
          </p:cNvPr>
          <p:cNvSpPr/>
          <p:nvPr/>
        </p:nvSpPr>
        <p:spPr>
          <a:xfrm>
            <a:off x="9415215" y="4469240"/>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2351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5847"/>
                </a:lnTo>
                <a:lnTo>
                  <a:pt x="0" y="0"/>
                </a:lnTo>
                <a:lnTo>
                  <a:pt x="108368" y="0"/>
                </a:lnTo>
                <a:lnTo>
                  <a:pt x="230719" y="122351"/>
                </a:lnTo>
                <a:close/>
              </a:path>
            </a:pathLst>
          </a:custGeom>
          <a:solidFill>
            <a:srgbClr val="EEF2F5"/>
          </a:solidFill>
          <a:ln w="11643" cap="flat">
            <a:noFill/>
            <a:prstDash val="solid"/>
            <a:miter/>
          </a:ln>
        </p:spPr>
        <p:txBody>
          <a:bodyPr rtlCol="0" anchor="ctr"/>
          <a:lstStyle/>
          <a:p>
            <a:endParaRPr lang="de-DE"/>
          </a:p>
        </p:txBody>
      </p:sp>
      <p:sp>
        <p:nvSpPr>
          <p:cNvPr id="148" name="Freihandform: Form 147">
            <a:extLst>
              <a:ext uri="{FF2B5EF4-FFF2-40B4-BE49-F238E27FC236}">
                <a16:creationId xmlns:a16="http://schemas.microsoft.com/office/drawing/2014/main" id="{FA4D92A2-824B-4123-BA21-136199CED582}"/>
              </a:ext>
            </a:extLst>
          </p:cNvPr>
          <p:cNvSpPr/>
          <p:nvPr/>
        </p:nvSpPr>
        <p:spPr>
          <a:xfrm>
            <a:off x="9415215" y="4823475"/>
            <a:ext cx="230718" cy="250528"/>
          </a:xfrm>
          <a:custGeom>
            <a:avLst/>
            <a:gdLst>
              <a:gd name="connsiteX0" fmla="*/ 106037 w 230718"/>
              <a:gd name="connsiteY0" fmla="*/ 250528 h 250528"/>
              <a:gd name="connsiteX1" fmla="*/ 0 w 230718"/>
              <a:gd name="connsiteY1" fmla="*/ 250528 h 250528"/>
              <a:gd name="connsiteX2" fmla="*/ 123516 w 230718"/>
              <a:gd name="connsiteY2" fmla="*/ 127012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7012"/>
                </a:lnTo>
                <a:lnTo>
                  <a:pt x="0" y="0"/>
                </a:lnTo>
                <a:lnTo>
                  <a:pt x="108368" y="0"/>
                </a:lnTo>
                <a:lnTo>
                  <a:pt x="230719" y="123516"/>
                </a:lnTo>
                <a:close/>
              </a:path>
            </a:pathLst>
          </a:custGeom>
          <a:solidFill>
            <a:srgbClr val="EEF2F5"/>
          </a:solidFill>
          <a:ln w="11643" cap="flat">
            <a:noFill/>
            <a:prstDash val="solid"/>
            <a:miter/>
          </a:ln>
        </p:spPr>
        <p:txBody>
          <a:bodyPr rtlCol="0" anchor="ctr"/>
          <a:lstStyle/>
          <a:p>
            <a:endParaRPr lang="de-DE"/>
          </a:p>
        </p:txBody>
      </p:sp>
      <p:sp>
        <p:nvSpPr>
          <p:cNvPr id="165" name="Freihandform: Form 164">
            <a:extLst>
              <a:ext uri="{FF2B5EF4-FFF2-40B4-BE49-F238E27FC236}">
                <a16:creationId xmlns:a16="http://schemas.microsoft.com/office/drawing/2014/main" id="{B480051A-E4BB-4D8D-9463-F9DC0CB12BA8}"/>
              </a:ext>
            </a:extLst>
          </p:cNvPr>
          <p:cNvSpPr/>
          <p:nvPr/>
        </p:nvSpPr>
        <p:spPr>
          <a:xfrm>
            <a:off x="9415215" y="5178876"/>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2351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5847"/>
                </a:lnTo>
                <a:lnTo>
                  <a:pt x="0" y="0"/>
                </a:lnTo>
                <a:lnTo>
                  <a:pt x="108368" y="0"/>
                </a:lnTo>
                <a:lnTo>
                  <a:pt x="230719" y="122351"/>
                </a:lnTo>
                <a:close/>
              </a:path>
            </a:pathLst>
          </a:custGeom>
          <a:solidFill>
            <a:srgbClr val="EEF2F5"/>
          </a:solidFill>
          <a:ln w="11643" cap="flat">
            <a:noFill/>
            <a:prstDash val="solid"/>
            <a:miter/>
          </a:ln>
        </p:spPr>
        <p:txBody>
          <a:bodyPr rtlCol="0" anchor="ctr"/>
          <a:lstStyle/>
          <a:p>
            <a:endParaRPr lang="de-DE"/>
          </a:p>
        </p:txBody>
      </p:sp>
      <p:sp>
        <p:nvSpPr>
          <p:cNvPr id="182" name="Freihandform: Form 181">
            <a:extLst>
              <a:ext uri="{FF2B5EF4-FFF2-40B4-BE49-F238E27FC236}">
                <a16:creationId xmlns:a16="http://schemas.microsoft.com/office/drawing/2014/main" id="{8B9C7922-A46C-4300-8536-75C60F1BDA2A}"/>
              </a:ext>
            </a:extLst>
          </p:cNvPr>
          <p:cNvSpPr/>
          <p:nvPr/>
        </p:nvSpPr>
        <p:spPr>
          <a:xfrm>
            <a:off x="9415215" y="5533111"/>
            <a:ext cx="230718" cy="250528"/>
          </a:xfrm>
          <a:custGeom>
            <a:avLst/>
            <a:gdLst>
              <a:gd name="connsiteX0" fmla="*/ 106037 w 230718"/>
              <a:gd name="connsiteY0" fmla="*/ 250528 h 250528"/>
              <a:gd name="connsiteX1" fmla="*/ 0 w 230718"/>
              <a:gd name="connsiteY1" fmla="*/ 250528 h 250528"/>
              <a:gd name="connsiteX2" fmla="*/ 123516 w 230718"/>
              <a:gd name="connsiteY2" fmla="*/ 127012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7012"/>
                </a:lnTo>
                <a:lnTo>
                  <a:pt x="0" y="0"/>
                </a:lnTo>
                <a:lnTo>
                  <a:pt x="108368" y="0"/>
                </a:lnTo>
                <a:lnTo>
                  <a:pt x="230719" y="123516"/>
                </a:lnTo>
                <a:close/>
              </a:path>
            </a:pathLst>
          </a:custGeom>
          <a:solidFill>
            <a:srgbClr val="EEF2F5"/>
          </a:solidFill>
          <a:ln w="11643" cap="flat">
            <a:noFill/>
            <a:prstDash val="solid"/>
            <a:miter/>
          </a:ln>
        </p:spPr>
        <p:txBody>
          <a:bodyPr rtlCol="0" anchor="ctr"/>
          <a:lstStyle/>
          <a:p>
            <a:endParaRPr lang="de-DE"/>
          </a:p>
        </p:txBody>
      </p:sp>
      <p:sp>
        <p:nvSpPr>
          <p:cNvPr id="199" name="Freihandform: Form 198">
            <a:extLst>
              <a:ext uri="{FF2B5EF4-FFF2-40B4-BE49-F238E27FC236}">
                <a16:creationId xmlns:a16="http://schemas.microsoft.com/office/drawing/2014/main" id="{808E1183-99E4-4B7F-B544-06366CD89D96}"/>
              </a:ext>
            </a:extLst>
          </p:cNvPr>
          <p:cNvSpPr/>
          <p:nvPr/>
        </p:nvSpPr>
        <p:spPr>
          <a:xfrm>
            <a:off x="9415215" y="5888512"/>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2351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5847"/>
                </a:lnTo>
                <a:lnTo>
                  <a:pt x="0" y="0"/>
                </a:lnTo>
                <a:lnTo>
                  <a:pt x="108368" y="0"/>
                </a:lnTo>
                <a:lnTo>
                  <a:pt x="230719" y="122351"/>
                </a:lnTo>
                <a:close/>
              </a:path>
            </a:pathLst>
          </a:custGeom>
          <a:solidFill>
            <a:srgbClr val="EEF2F5"/>
          </a:solidFill>
          <a:ln w="11643" cap="flat">
            <a:noFill/>
            <a:prstDash val="solid"/>
            <a:miter/>
          </a:ln>
        </p:spPr>
        <p:txBody>
          <a:bodyPr rtlCol="0" anchor="ctr"/>
          <a:lstStyle/>
          <a:p>
            <a:endParaRPr lang="de-DE"/>
          </a:p>
        </p:txBody>
      </p:sp>
      <p:sp>
        <p:nvSpPr>
          <p:cNvPr id="216" name="Freihandform: Form 215">
            <a:extLst>
              <a:ext uri="{FF2B5EF4-FFF2-40B4-BE49-F238E27FC236}">
                <a16:creationId xmlns:a16="http://schemas.microsoft.com/office/drawing/2014/main" id="{CD034923-4C0A-4423-8672-AB74CD3F1B7B}"/>
              </a:ext>
            </a:extLst>
          </p:cNvPr>
          <p:cNvSpPr/>
          <p:nvPr/>
        </p:nvSpPr>
        <p:spPr>
          <a:xfrm>
            <a:off x="9415215" y="6242748"/>
            <a:ext cx="230718" cy="250528"/>
          </a:xfrm>
          <a:custGeom>
            <a:avLst/>
            <a:gdLst>
              <a:gd name="connsiteX0" fmla="*/ 106037 w 230718"/>
              <a:gd name="connsiteY0" fmla="*/ 250528 h 250528"/>
              <a:gd name="connsiteX1" fmla="*/ 0 w 230718"/>
              <a:gd name="connsiteY1" fmla="*/ 250528 h 250528"/>
              <a:gd name="connsiteX2" fmla="*/ 123516 w 230718"/>
              <a:gd name="connsiteY2" fmla="*/ 127012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7012"/>
                </a:lnTo>
                <a:lnTo>
                  <a:pt x="0" y="0"/>
                </a:lnTo>
                <a:lnTo>
                  <a:pt x="108368" y="0"/>
                </a:lnTo>
                <a:lnTo>
                  <a:pt x="230719" y="123516"/>
                </a:lnTo>
                <a:close/>
              </a:path>
            </a:pathLst>
          </a:custGeom>
          <a:solidFill>
            <a:srgbClr val="EEF2F5"/>
          </a:solidFill>
          <a:ln w="11643" cap="flat">
            <a:noFill/>
            <a:prstDash val="solid"/>
            <a:miter/>
          </a:ln>
        </p:spPr>
        <p:txBody>
          <a:bodyPr rtlCol="0" anchor="ctr"/>
          <a:lstStyle/>
          <a:p>
            <a:endParaRPr lang="de-DE"/>
          </a:p>
        </p:txBody>
      </p:sp>
      <p:sp>
        <p:nvSpPr>
          <p:cNvPr id="232" name="Freihandform: Form 231">
            <a:extLst>
              <a:ext uri="{FF2B5EF4-FFF2-40B4-BE49-F238E27FC236}">
                <a16:creationId xmlns:a16="http://schemas.microsoft.com/office/drawing/2014/main" id="{B9006F61-C8F9-435F-8E25-867EF66AB2C0}"/>
              </a:ext>
            </a:extLst>
          </p:cNvPr>
          <p:cNvSpPr/>
          <p:nvPr/>
        </p:nvSpPr>
        <p:spPr>
          <a:xfrm>
            <a:off x="9415215" y="6598148"/>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2351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5847"/>
                </a:lnTo>
                <a:lnTo>
                  <a:pt x="0" y="0"/>
                </a:lnTo>
                <a:lnTo>
                  <a:pt x="108368" y="0"/>
                </a:lnTo>
                <a:lnTo>
                  <a:pt x="230719" y="122351"/>
                </a:lnTo>
                <a:close/>
              </a:path>
            </a:pathLst>
          </a:custGeom>
          <a:solidFill>
            <a:srgbClr val="EEF2F5"/>
          </a:solidFill>
          <a:ln w="11643" cap="flat">
            <a:noFill/>
            <a:prstDash val="solid"/>
            <a:miter/>
          </a:ln>
        </p:spPr>
        <p:txBody>
          <a:bodyPr rtlCol="0" anchor="ctr"/>
          <a:lstStyle/>
          <a:p>
            <a:endParaRPr lang="de-DE"/>
          </a:p>
        </p:txBody>
      </p:sp>
      <p:sp>
        <p:nvSpPr>
          <p:cNvPr id="21" name="Freihandform: Form 20">
            <a:extLst>
              <a:ext uri="{FF2B5EF4-FFF2-40B4-BE49-F238E27FC236}">
                <a16:creationId xmlns:a16="http://schemas.microsoft.com/office/drawing/2014/main" id="{FA010AB3-93D2-478F-82A2-79D3EAB3E973}"/>
              </a:ext>
            </a:extLst>
          </p:cNvPr>
          <p:cNvSpPr/>
          <p:nvPr/>
        </p:nvSpPr>
        <p:spPr>
          <a:xfrm>
            <a:off x="9761293" y="1975610"/>
            <a:ext cx="248198" cy="269172"/>
          </a:xfrm>
          <a:custGeom>
            <a:avLst/>
            <a:gdLst>
              <a:gd name="connsiteX0" fmla="*/ 114195 w 248198"/>
              <a:gd name="connsiteY0" fmla="*/ 269172 h 269172"/>
              <a:gd name="connsiteX1" fmla="*/ 0 w 248198"/>
              <a:gd name="connsiteY1" fmla="*/ 269172 h 269172"/>
              <a:gd name="connsiteX2" fmla="*/ 132838 w 248198"/>
              <a:gd name="connsiteY2" fmla="*/ 135169 h 269172"/>
              <a:gd name="connsiteX3" fmla="*/ 0 w 248198"/>
              <a:gd name="connsiteY3" fmla="*/ 0 h 269172"/>
              <a:gd name="connsiteX4" fmla="*/ 116525 w 248198"/>
              <a:gd name="connsiteY4" fmla="*/ 0 h 269172"/>
              <a:gd name="connsiteX5" fmla="*/ 248198 w 248198"/>
              <a:gd name="connsiteY5" fmla="*/ 131673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endParaRPr lang="de-DE"/>
          </a:p>
        </p:txBody>
      </p:sp>
      <p:sp>
        <p:nvSpPr>
          <p:cNvPr id="36" name="Freihandform: Form 35">
            <a:extLst>
              <a:ext uri="{FF2B5EF4-FFF2-40B4-BE49-F238E27FC236}">
                <a16:creationId xmlns:a16="http://schemas.microsoft.com/office/drawing/2014/main" id="{E7957182-0D78-447E-AD11-155CFFA4EFCF}"/>
              </a:ext>
            </a:extLst>
          </p:cNvPr>
          <p:cNvSpPr/>
          <p:nvPr/>
        </p:nvSpPr>
        <p:spPr>
          <a:xfrm>
            <a:off x="9761293" y="2331010"/>
            <a:ext cx="248198" cy="268007"/>
          </a:xfrm>
          <a:custGeom>
            <a:avLst/>
            <a:gdLst>
              <a:gd name="connsiteX0" fmla="*/ 114195 w 248198"/>
              <a:gd name="connsiteY0" fmla="*/ 268007 h 268007"/>
              <a:gd name="connsiteX1" fmla="*/ 0 w 248198"/>
              <a:gd name="connsiteY1" fmla="*/ 268007 h 268007"/>
              <a:gd name="connsiteX2" fmla="*/ 132838 w 248198"/>
              <a:gd name="connsiteY2" fmla="*/ 135169 h 268007"/>
              <a:gd name="connsiteX3" fmla="*/ 0 w 248198"/>
              <a:gd name="connsiteY3" fmla="*/ 0 h 268007"/>
              <a:gd name="connsiteX4" fmla="*/ 116525 w 248198"/>
              <a:gd name="connsiteY4" fmla="*/ 0 h 268007"/>
              <a:gd name="connsiteX5" fmla="*/ 248198 w 248198"/>
              <a:gd name="connsiteY5" fmla="*/ 131673 h 268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8007">
                <a:moveTo>
                  <a:pt x="114195" y="268007"/>
                </a:moveTo>
                <a:lnTo>
                  <a:pt x="0" y="268007"/>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endParaRPr lang="de-DE"/>
          </a:p>
        </p:txBody>
      </p:sp>
      <p:sp>
        <p:nvSpPr>
          <p:cNvPr id="52" name="Freihandform: Form 51">
            <a:extLst>
              <a:ext uri="{FF2B5EF4-FFF2-40B4-BE49-F238E27FC236}">
                <a16:creationId xmlns:a16="http://schemas.microsoft.com/office/drawing/2014/main" id="{D00B278C-4E10-45E8-A202-B55CBB4B885E}"/>
              </a:ext>
            </a:extLst>
          </p:cNvPr>
          <p:cNvSpPr/>
          <p:nvPr/>
        </p:nvSpPr>
        <p:spPr>
          <a:xfrm>
            <a:off x="9761293" y="2685246"/>
            <a:ext cx="248198" cy="269172"/>
          </a:xfrm>
          <a:custGeom>
            <a:avLst/>
            <a:gdLst>
              <a:gd name="connsiteX0" fmla="*/ 114195 w 248198"/>
              <a:gd name="connsiteY0" fmla="*/ 269172 h 269172"/>
              <a:gd name="connsiteX1" fmla="*/ 0 w 248198"/>
              <a:gd name="connsiteY1" fmla="*/ 269172 h 269172"/>
              <a:gd name="connsiteX2" fmla="*/ 132838 w 248198"/>
              <a:gd name="connsiteY2" fmla="*/ 135169 h 269172"/>
              <a:gd name="connsiteX3" fmla="*/ 0 w 248198"/>
              <a:gd name="connsiteY3" fmla="*/ 0 h 269172"/>
              <a:gd name="connsiteX4" fmla="*/ 116525 w 248198"/>
              <a:gd name="connsiteY4" fmla="*/ 0 h 269172"/>
              <a:gd name="connsiteX5" fmla="*/ 248198 w 248198"/>
              <a:gd name="connsiteY5" fmla="*/ 131673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endParaRPr lang="de-DE"/>
          </a:p>
        </p:txBody>
      </p:sp>
      <p:sp>
        <p:nvSpPr>
          <p:cNvPr id="68" name="Freihandform: Form 67">
            <a:extLst>
              <a:ext uri="{FF2B5EF4-FFF2-40B4-BE49-F238E27FC236}">
                <a16:creationId xmlns:a16="http://schemas.microsoft.com/office/drawing/2014/main" id="{0496EBBE-CFB1-46AA-A6F5-690502856668}"/>
              </a:ext>
            </a:extLst>
          </p:cNvPr>
          <p:cNvSpPr/>
          <p:nvPr/>
        </p:nvSpPr>
        <p:spPr>
          <a:xfrm>
            <a:off x="9761293" y="3040646"/>
            <a:ext cx="248198" cy="268007"/>
          </a:xfrm>
          <a:custGeom>
            <a:avLst/>
            <a:gdLst>
              <a:gd name="connsiteX0" fmla="*/ 114195 w 248198"/>
              <a:gd name="connsiteY0" fmla="*/ 268007 h 268007"/>
              <a:gd name="connsiteX1" fmla="*/ 0 w 248198"/>
              <a:gd name="connsiteY1" fmla="*/ 268007 h 268007"/>
              <a:gd name="connsiteX2" fmla="*/ 132838 w 248198"/>
              <a:gd name="connsiteY2" fmla="*/ 135169 h 268007"/>
              <a:gd name="connsiteX3" fmla="*/ 0 w 248198"/>
              <a:gd name="connsiteY3" fmla="*/ 0 h 268007"/>
              <a:gd name="connsiteX4" fmla="*/ 116525 w 248198"/>
              <a:gd name="connsiteY4" fmla="*/ 0 h 268007"/>
              <a:gd name="connsiteX5" fmla="*/ 248198 w 248198"/>
              <a:gd name="connsiteY5" fmla="*/ 131673 h 268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8007">
                <a:moveTo>
                  <a:pt x="114195" y="268007"/>
                </a:moveTo>
                <a:lnTo>
                  <a:pt x="0" y="268007"/>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endParaRPr lang="de-DE"/>
          </a:p>
        </p:txBody>
      </p:sp>
      <p:sp>
        <p:nvSpPr>
          <p:cNvPr id="84" name="Freihandform: Form 83">
            <a:extLst>
              <a:ext uri="{FF2B5EF4-FFF2-40B4-BE49-F238E27FC236}">
                <a16:creationId xmlns:a16="http://schemas.microsoft.com/office/drawing/2014/main" id="{A40B40D6-E2B0-405B-8866-4C365074F335}"/>
              </a:ext>
            </a:extLst>
          </p:cNvPr>
          <p:cNvSpPr/>
          <p:nvPr/>
        </p:nvSpPr>
        <p:spPr>
          <a:xfrm>
            <a:off x="9761293" y="3394882"/>
            <a:ext cx="248198" cy="269172"/>
          </a:xfrm>
          <a:custGeom>
            <a:avLst/>
            <a:gdLst>
              <a:gd name="connsiteX0" fmla="*/ 114195 w 248198"/>
              <a:gd name="connsiteY0" fmla="*/ 269172 h 269172"/>
              <a:gd name="connsiteX1" fmla="*/ 0 w 248198"/>
              <a:gd name="connsiteY1" fmla="*/ 269172 h 269172"/>
              <a:gd name="connsiteX2" fmla="*/ 132838 w 248198"/>
              <a:gd name="connsiteY2" fmla="*/ 135169 h 269172"/>
              <a:gd name="connsiteX3" fmla="*/ 0 w 248198"/>
              <a:gd name="connsiteY3" fmla="*/ 0 h 269172"/>
              <a:gd name="connsiteX4" fmla="*/ 116525 w 248198"/>
              <a:gd name="connsiteY4" fmla="*/ 0 h 269172"/>
              <a:gd name="connsiteX5" fmla="*/ 248198 w 248198"/>
              <a:gd name="connsiteY5" fmla="*/ 131673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endParaRPr lang="de-DE"/>
          </a:p>
        </p:txBody>
      </p:sp>
      <p:sp>
        <p:nvSpPr>
          <p:cNvPr id="100" name="Freihandform: Form 99">
            <a:extLst>
              <a:ext uri="{FF2B5EF4-FFF2-40B4-BE49-F238E27FC236}">
                <a16:creationId xmlns:a16="http://schemas.microsoft.com/office/drawing/2014/main" id="{B976F48C-00EC-49CD-AA95-7B3C97644278}"/>
              </a:ext>
            </a:extLst>
          </p:cNvPr>
          <p:cNvSpPr/>
          <p:nvPr/>
        </p:nvSpPr>
        <p:spPr>
          <a:xfrm>
            <a:off x="9761293" y="3750282"/>
            <a:ext cx="248198" cy="268007"/>
          </a:xfrm>
          <a:custGeom>
            <a:avLst/>
            <a:gdLst>
              <a:gd name="connsiteX0" fmla="*/ 114195 w 248198"/>
              <a:gd name="connsiteY0" fmla="*/ 268007 h 268007"/>
              <a:gd name="connsiteX1" fmla="*/ 0 w 248198"/>
              <a:gd name="connsiteY1" fmla="*/ 268007 h 268007"/>
              <a:gd name="connsiteX2" fmla="*/ 132838 w 248198"/>
              <a:gd name="connsiteY2" fmla="*/ 135169 h 268007"/>
              <a:gd name="connsiteX3" fmla="*/ 0 w 248198"/>
              <a:gd name="connsiteY3" fmla="*/ 0 h 268007"/>
              <a:gd name="connsiteX4" fmla="*/ 116525 w 248198"/>
              <a:gd name="connsiteY4" fmla="*/ 0 h 268007"/>
              <a:gd name="connsiteX5" fmla="*/ 248198 w 248198"/>
              <a:gd name="connsiteY5" fmla="*/ 131673 h 268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8007">
                <a:moveTo>
                  <a:pt x="114195" y="268007"/>
                </a:moveTo>
                <a:lnTo>
                  <a:pt x="0" y="268007"/>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endParaRPr lang="de-DE"/>
          </a:p>
        </p:txBody>
      </p:sp>
      <p:sp>
        <p:nvSpPr>
          <p:cNvPr id="116" name="Freihandform: Form 115">
            <a:extLst>
              <a:ext uri="{FF2B5EF4-FFF2-40B4-BE49-F238E27FC236}">
                <a16:creationId xmlns:a16="http://schemas.microsoft.com/office/drawing/2014/main" id="{DFC41532-B3AB-4B18-A81F-7D2CA52826B2}"/>
              </a:ext>
            </a:extLst>
          </p:cNvPr>
          <p:cNvSpPr/>
          <p:nvPr/>
        </p:nvSpPr>
        <p:spPr>
          <a:xfrm>
            <a:off x="9761293" y="4104518"/>
            <a:ext cx="248198" cy="269172"/>
          </a:xfrm>
          <a:custGeom>
            <a:avLst/>
            <a:gdLst>
              <a:gd name="connsiteX0" fmla="*/ 114195 w 248198"/>
              <a:gd name="connsiteY0" fmla="*/ 269172 h 269172"/>
              <a:gd name="connsiteX1" fmla="*/ 0 w 248198"/>
              <a:gd name="connsiteY1" fmla="*/ 269172 h 269172"/>
              <a:gd name="connsiteX2" fmla="*/ 132838 w 248198"/>
              <a:gd name="connsiteY2" fmla="*/ 136334 h 269172"/>
              <a:gd name="connsiteX3" fmla="*/ 0 w 248198"/>
              <a:gd name="connsiteY3" fmla="*/ 0 h 269172"/>
              <a:gd name="connsiteX4" fmla="*/ 116525 w 248198"/>
              <a:gd name="connsiteY4" fmla="*/ 0 h 269172"/>
              <a:gd name="connsiteX5" fmla="*/ 248198 w 248198"/>
              <a:gd name="connsiteY5" fmla="*/ 132838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6334"/>
                </a:lnTo>
                <a:lnTo>
                  <a:pt x="0" y="0"/>
                </a:lnTo>
                <a:lnTo>
                  <a:pt x="116525" y="0"/>
                </a:lnTo>
                <a:lnTo>
                  <a:pt x="248198" y="132838"/>
                </a:lnTo>
                <a:close/>
              </a:path>
            </a:pathLst>
          </a:custGeom>
          <a:solidFill>
            <a:srgbClr val="EEF2F5"/>
          </a:solidFill>
          <a:ln w="11643" cap="flat">
            <a:noFill/>
            <a:prstDash val="solid"/>
            <a:miter/>
          </a:ln>
        </p:spPr>
        <p:txBody>
          <a:bodyPr rtlCol="0" anchor="ctr"/>
          <a:lstStyle/>
          <a:p>
            <a:endParaRPr lang="de-DE"/>
          </a:p>
        </p:txBody>
      </p:sp>
      <p:sp>
        <p:nvSpPr>
          <p:cNvPr id="132" name="Freihandform: Form 131">
            <a:extLst>
              <a:ext uri="{FF2B5EF4-FFF2-40B4-BE49-F238E27FC236}">
                <a16:creationId xmlns:a16="http://schemas.microsoft.com/office/drawing/2014/main" id="{ADC8DAC7-8942-46EB-9D62-4E4C4662A9C7}"/>
              </a:ext>
            </a:extLst>
          </p:cNvPr>
          <p:cNvSpPr/>
          <p:nvPr/>
        </p:nvSpPr>
        <p:spPr>
          <a:xfrm>
            <a:off x="9761293" y="4459918"/>
            <a:ext cx="248198" cy="268007"/>
          </a:xfrm>
          <a:custGeom>
            <a:avLst/>
            <a:gdLst>
              <a:gd name="connsiteX0" fmla="*/ 114195 w 248198"/>
              <a:gd name="connsiteY0" fmla="*/ 268007 h 268007"/>
              <a:gd name="connsiteX1" fmla="*/ 0 w 248198"/>
              <a:gd name="connsiteY1" fmla="*/ 268007 h 268007"/>
              <a:gd name="connsiteX2" fmla="*/ 132838 w 248198"/>
              <a:gd name="connsiteY2" fmla="*/ 135169 h 268007"/>
              <a:gd name="connsiteX3" fmla="*/ 0 w 248198"/>
              <a:gd name="connsiteY3" fmla="*/ 0 h 268007"/>
              <a:gd name="connsiteX4" fmla="*/ 116525 w 248198"/>
              <a:gd name="connsiteY4" fmla="*/ 0 h 268007"/>
              <a:gd name="connsiteX5" fmla="*/ 248198 w 248198"/>
              <a:gd name="connsiteY5" fmla="*/ 131673 h 268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8007">
                <a:moveTo>
                  <a:pt x="114195" y="268007"/>
                </a:moveTo>
                <a:lnTo>
                  <a:pt x="0" y="268007"/>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endParaRPr lang="de-DE"/>
          </a:p>
        </p:txBody>
      </p:sp>
      <p:sp>
        <p:nvSpPr>
          <p:cNvPr id="149" name="Freihandform: Form 148">
            <a:extLst>
              <a:ext uri="{FF2B5EF4-FFF2-40B4-BE49-F238E27FC236}">
                <a16:creationId xmlns:a16="http://schemas.microsoft.com/office/drawing/2014/main" id="{83716F88-9554-4FCB-B2C3-8BD6193695E2}"/>
              </a:ext>
            </a:extLst>
          </p:cNvPr>
          <p:cNvSpPr/>
          <p:nvPr/>
        </p:nvSpPr>
        <p:spPr>
          <a:xfrm>
            <a:off x="9761293" y="4814154"/>
            <a:ext cx="248198" cy="269172"/>
          </a:xfrm>
          <a:custGeom>
            <a:avLst/>
            <a:gdLst>
              <a:gd name="connsiteX0" fmla="*/ 114195 w 248198"/>
              <a:gd name="connsiteY0" fmla="*/ 269172 h 269172"/>
              <a:gd name="connsiteX1" fmla="*/ 0 w 248198"/>
              <a:gd name="connsiteY1" fmla="*/ 269172 h 269172"/>
              <a:gd name="connsiteX2" fmla="*/ 132838 w 248198"/>
              <a:gd name="connsiteY2" fmla="*/ 136334 h 269172"/>
              <a:gd name="connsiteX3" fmla="*/ 0 w 248198"/>
              <a:gd name="connsiteY3" fmla="*/ 0 h 269172"/>
              <a:gd name="connsiteX4" fmla="*/ 116525 w 248198"/>
              <a:gd name="connsiteY4" fmla="*/ 0 h 269172"/>
              <a:gd name="connsiteX5" fmla="*/ 248198 w 248198"/>
              <a:gd name="connsiteY5" fmla="*/ 132838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6334"/>
                </a:lnTo>
                <a:lnTo>
                  <a:pt x="0" y="0"/>
                </a:lnTo>
                <a:lnTo>
                  <a:pt x="116525" y="0"/>
                </a:lnTo>
                <a:lnTo>
                  <a:pt x="248198" y="132838"/>
                </a:lnTo>
                <a:close/>
              </a:path>
            </a:pathLst>
          </a:custGeom>
          <a:solidFill>
            <a:srgbClr val="EEF2F5"/>
          </a:solidFill>
          <a:ln w="11643" cap="flat">
            <a:noFill/>
            <a:prstDash val="solid"/>
            <a:miter/>
          </a:ln>
        </p:spPr>
        <p:txBody>
          <a:bodyPr rtlCol="0" anchor="ctr"/>
          <a:lstStyle/>
          <a:p>
            <a:endParaRPr lang="de-DE"/>
          </a:p>
        </p:txBody>
      </p:sp>
      <p:sp>
        <p:nvSpPr>
          <p:cNvPr id="166" name="Freihandform: Form 165">
            <a:extLst>
              <a:ext uri="{FF2B5EF4-FFF2-40B4-BE49-F238E27FC236}">
                <a16:creationId xmlns:a16="http://schemas.microsoft.com/office/drawing/2014/main" id="{AEC95E7D-635D-425A-9F1A-DEBC1F5484DB}"/>
              </a:ext>
            </a:extLst>
          </p:cNvPr>
          <p:cNvSpPr/>
          <p:nvPr/>
        </p:nvSpPr>
        <p:spPr>
          <a:xfrm>
            <a:off x="9761293" y="5169554"/>
            <a:ext cx="248198" cy="268007"/>
          </a:xfrm>
          <a:custGeom>
            <a:avLst/>
            <a:gdLst>
              <a:gd name="connsiteX0" fmla="*/ 114195 w 248198"/>
              <a:gd name="connsiteY0" fmla="*/ 268007 h 268007"/>
              <a:gd name="connsiteX1" fmla="*/ 0 w 248198"/>
              <a:gd name="connsiteY1" fmla="*/ 268007 h 268007"/>
              <a:gd name="connsiteX2" fmla="*/ 132838 w 248198"/>
              <a:gd name="connsiteY2" fmla="*/ 135169 h 268007"/>
              <a:gd name="connsiteX3" fmla="*/ 0 w 248198"/>
              <a:gd name="connsiteY3" fmla="*/ 0 h 268007"/>
              <a:gd name="connsiteX4" fmla="*/ 116525 w 248198"/>
              <a:gd name="connsiteY4" fmla="*/ 0 h 268007"/>
              <a:gd name="connsiteX5" fmla="*/ 248198 w 248198"/>
              <a:gd name="connsiteY5" fmla="*/ 131673 h 268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8007">
                <a:moveTo>
                  <a:pt x="114195" y="268007"/>
                </a:moveTo>
                <a:lnTo>
                  <a:pt x="0" y="268007"/>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endParaRPr lang="de-DE"/>
          </a:p>
        </p:txBody>
      </p:sp>
      <p:sp>
        <p:nvSpPr>
          <p:cNvPr id="183" name="Freihandform: Form 182">
            <a:extLst>
              <a:ext uri="{FF2B5EF4-FFF2-40B4-BE49-F238E27FC236}">
                <a16:creationId xmlns:a16="http://schemas.microsoft.com/office/drawing/2014/main" id="{C1CCBBCB-A182-4421-8619-C206846375DB}"/>
              </a:ext>
            </a:extLst>
          </p:cNvPr>
          <p:cNvSpPr/>
          <p:nvPr/>
        </p:nvSpPr>
        <p:spPr>
          <a:xfrm>
            <a:off x="9761293" y="5523790"/>
            <a:ext cx="248198" cy="269172"/>
          </a:xfrm>
          <a:custGeom>
            <a:avLst/>
            <a:gdLst>
              <a:gd name="connsiteX0" fmla="*/ 114195 w 248198"/>
              <a:gd name="connsiteY0" fmla="*/ 269172 h 269172"/>
              <a:gd name="connsiteX1" fmla="*/ 0 w 248198"/>
              <a:gd name="connsiteY1" fmla="*/ 269172 h 269172"/>
              <a:gd name="connsiteX2" fmla="*/ 132838 w 248198"/>
              <a:gd name="connsiteY2" fmla="*/ 136334 h 269172"/>
              <a:gd name="connsiteX3" fmla="*/ 0 w 248198"/>
              <a:gd name="connsiteY3" fmla="*/ 0 h 269172"/>
              <a:gd name="connsiteX4" fmla="*/ 116525 w 248198"/>
              <a:gd name="connsiteY4" fmla="*/ 0 h 269172"/>
              <a:gd name="connsiteX5" fmla="*/ 248198 w 248198"/>
              <a:gd name="connsiteY5" fmla="*/ 132838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6334"/>
                </a:lnTo>
                <a:lnTo>
                  <a:pt x="0" y="0"/>
                </a:lnTo>
                <a:lnTo>
                  <a:pt x="116525" y="0"/>
                </a:lnTo>
                <a:lnTo>
                  <a:pt x="248198" y="132838"/>
                </a:lnTo>
                <a:close/>
              </a:path>
            </a:pathLst>
          </a:custGeom>
          <a:solidFill>
            <a:srgbClr val="EEF2F5"/>
          </a:solidFill>
          <a:ln w="11643" cap="flat">
            <a:noFill/>
            <a:prstDash val="solid"/>
            <a:miter/>
          </a:ln>
        </p:spPr>
        <p:txBody>
          <a:bodyPr rtlCol="0" anchor="ctr"/>
          <a:lstStyle/>
          <a:p>
            <a:endParaRPr lang="de-DE"/>
          </a:p>
        </p:txBody>
      </p:sp>
      <p:sp>
        <p:nvSpPr>
          <p:cNvPr id="200" name="Freihandform: Form 199">
            <a:extLst>
              <a:ext uri="{FF2B5EF4-FFF2-40B4-BE49-F238E27FC236}">
                <a16:creationId xmlns:a16="http://schemas.microsoft.com/office/drawing/2014/main" id="{D91A4514-348C-465D-A689-222304D82209}"/>
              </a:ext>
            </a:extLst>
          </p:cNvPr>
          <p:cNvSpPr/>
          <p:nvPr/>
        </p:nvSpPr>
        <p:spPr>
          <a:xfrm>
            <a:off x="9761293" y="5879190"/>
            <a:ext cx="248198" cy="269172"/>
          </a:xfrm>
          <a:custGeom>
            <a:avLst/>
            <a:gdLst>
              <a:gd name="connsiteX0" fmla="*/ 114195 w 248198"/>
              <a:gd name="connsiteY0" fmla="*/ 269172 h 269172"/>
              <a:gd name="connsiteX1" fmla="*/ 0 w 248198"/>
              <a:gd name="connsiteY1" fmla="*/ 269172 h 269172"/>
              <a:gd name="connsiteX2" fmla="*/ 132838 w 248198"/>
              <a:gd name="connsiteY2" fmla="*/ 135169 h 269172"/>
              <a:gd name="connsiteX3" fmla="*/ 0 w 248198"/>
              <a:gd name="connsiteY3" fmla="*/ 0 h 269172"/>
              <a:gd name="connsiteX4" fmla="*/ 116525 w 248198"/>
              <a:gd name="connsiteY4" fmla="*/ 0 h 269172"/>
              <a:gd name="connsiteX5" fmla="*/ 248198 w 248198"/>
              <a:gd name="connsiteY5" fmla="*/ 131673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endParaRPr lang="de-DE"/>
          </a:p>
        </p:txBody>
      </p:sp>
      <p:sp>
        <p:nvSpPr>
          <p:cNvPr id="217" name="Freihandform: Form 216">
            <a:extLst>
              <a:ext uri="{FF2B5EF4-FFF2-40B4-BE49-F238E27FC236}">
                <a16:creationId xmlns:a16="http://schemas.microsoft.com/office/drawing/2014/main" id="{1B4C065C-ED4E-40BF-AA0C-B75D23AF7B43}"/>
              </a:ext>
            </a:extLst>
          </p:cNvPr>
          <p:cNvSpPr/>
          <p:nvPr/>
        </p:nvSpPr>
        <p:spPr>
          <a:xfrm>
            <a:off x="9761293" y="6233426"/>
            <a:ext cx="248198" cy="269172"/>
          </a:xfrm>
          <a:custGeom>
            <a:avLst/>
            <a:gdLst>
              <a:gd name="connsiteX0" fmla="*/ 114195 w 248198"/>
              <a:gd name="connsiteY0" fmla="*/ 269172 h 269172"/>
              <a:gd name="connsiteX1" fmla="*/ 0 w 248198"/>
              <a:gd name="connsiteY1" fmla="*/ 269172 h 269172"/>
              <a:gd name="connsiteX2" fmla="*/ 132838 w 248198"/>
              <a:gd name="connsiteY2" fmla="*/ 136334 h 269172"/>
              <a:gd name="connsiteX3" fmla="*/ 0 w 248198"/>
              <a:gd name="connsiteY3" fmla="*/ 0 h 269172"/>
              <a:gd name="connsiteX4" fmla="*/ 116525 w 248198"/>
              <a:gd name="connsiteY4" fmla="*/ 0 h 269172"/>
              <a:gd name="connsiteX5" fmla="*/ 248198 w 248198"/>
              <a:gd name="connsiteY5" fmla="*/ 132838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6334"/>
                </a:lnTo>
                <a:lnTo>
                  <a:pt x="0" y="0"/>
                </a:lnTo>
                <a:lnTo>
                  <a:pt x="116525" y="0"/>
                </a:lnTo>
                <a:lnTo>
                  <a:pt x="248198" y="132838"/>
                </a:lnTo>
                <a:close/>
              </a:path>
            </a:pathLst>
          </a:custGeom>
          <a:solidFill>
            <a:srgbClr val="EEF2F5"/>
          </a:solidFill>
          <a:ln w="11643" cap="flat">
            <a:noFill/>
            <a:prstDash val="solid"/>
            <a:miter/>
          </a:ln>
        </p:spPr>
        <p:txBody>
          <a:bodyPr rtlCol="0" anchor="ctr"/>
          <a:lstStyle/>
          <a:p>
            <a:endParaRPr lang="de-DE"/>
          </a:p>
        </p:txBody>
      </p:sp>
      <p:sp>
        <p:nvSpPr>
          <p:cNvPr id="233" name="Freihandform: Form 232">
            <a:extLst>
              <a:ext uri="{FF2B5EF4-FFF2-40B4-BE49-F238E27FC236}">
                <a16:creationId xmlns:a16="http://schemas.microsoft.com/office/drawing/2014/main" id="{26A7552F-9339-4F13-B25C-D2F62499E1D6}"/>
              </a:ext>
            </a:extLst>
          </p:cNvPr>
          <p:cNvSpPr/>
          <p:nvPr/>
        </p:nvSpPr>
        <p:spPr>
          <a:xfrm>
            <a:off x="9761293" y="6588826"/>
            <a:ext cx="248198" cy="269172"/>
          </a:xfrm>
          <a:custGeom>
            <a:avLst/>
            <a:gdLst>
              <a:gd name="connsiteX0" fmla="*/ 114195 w 248198"/>
              <a:gd name="connsiteY0" fmla="*/ 269172 h 269172"/>
              <a:gd name="connsiteX1" fmla="*/ 0 w 248198"/>
              <a:gd name="connsiteY1" fmla="*/ 269172 h 269172"/>
              <a:gd name="connsiteX2" fmla="*/ 132838 w 248198"/>
              <a:gd name="connsiteY2" fmla="*/ 135169 h 269172"/>
              <a:gd name="connsiteX3" fmla="*/ 0 w 248198"/>
              <a:gd name="connsiteY3" fmla="*/ 0 h 269172"/>
              <a:gd name="connsiteX4" fmla="*/ 116525 w 248198"/>
              <a:gd name="connsiteY4" fmla="*/ 0 h 269172"/>
              <a:gd name="connsiteX5" fmla="*/ 248198 w 248198"/>
              <a:gd name="connsiteY5" fmla="*/ 131673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endParaRPr lang="de-DE"/>
          </a:p>
        </p:txBody>
      </p:sp>
      <p:sp>
        <p:nvSpPr>
          <p:cNvPr id="10" name="Textplatzhalter 9">
            <a:extLst>
              <a:ext uri="{FF2B5EF4-FFF2-40B4-BE49-F238E27FC236}">
                <a16:creationId xmlns:a16="http://schemas.microsoft.com/office/drawing/2014/main" id="{87105EF2-AC01-455D-9C26-5D6999587D6D}"/>
              </a:ext>
            </a:extLst>
          </p:cNvPr>
          <p:cNvSpPr>
            <a:spLocks noGrp="1"/>
          </p:cNvSpPr>
          <p:nvPr userDrawn="1">
            <p:ph type="body" sz="quarter" idx="11"/>
          </p:nvPr>
        </p:nvSpPr>
        <p:spPr>
          <a:xfrm>
            <a:off x="815951" y="1979612"/>
            <a:ext cx="10560096" cy="4338638"/>
          </a:xfrm>
          <a:prstGeom prst="rect">
            <a:avLst/>
          </a:prstGeom>
        </p:spPr>
        <p:txBody>
          <a:bodyPr>
            <a:normAutofit/>
          </a:bodyPr>
          <a:lstStyle>
            <a:lvl1pPr marL="266700" indent="-266700">
              <a:buSzPct val="120000"/>
              <a:buFontTx/>
              <a:buBlip>
                <a:blip r:embed="rId2"/>
              </a:buBlip>
              <a:defRPr sz="1800"/>
            </a:lvl1pPr>
            <a:lvl2pPr marL="630238" indent="-268288">
              <a:buSzPct val="120000"/>
              <a:buFontTx/>
              <a:buBlip>
                <a:blip r:embed="rId2"/>
              </a:buBlip>
              <a:defRPr sz="1800"/>
            </a:lvl2pPr>
            <a:lvl3pPr marL="990600" indent="-274638">
              <a:buSzPct val="120000"/>
              <a:buFontTx/>
              <a:buBlip>
                <a:blip r:embed="rId2"/>
              </a:buBlip>
              <a:defRPr sz="1800"/>
            </a:lvl3pPr>
            <a:lvl4pPr marL="1343025" indent="-263525">
              <a:buSzPct val="120000"/>
              <a:buFontTx/>
              <a:buBlip>
                <a:blip r:embed="rId2"/>
              </a:buBlip>
              <a:defRPr sz="1800"/>
            </a:lvl4pPr>
            <a:lvl5pPr marL="1704975" indent="-271463">
              <a:buSzPct val="120000"/>
              <a:buFontTx/>
              <a:buBlip>
                <a:blip r:embed="rId2"/>
              </a:buBlip>
              <a:defRPr sz="18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529369889"/>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8" dur="1000" decel="10000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000" fill="hold"/>
                                        <p:tgtEl>
                                          <p:spTgt spid="4"/>
                                        </p:tgtEl>
                                        <p:attrNameLst>
                                          <p:attrName>ppt_x</p:attrName>
                                        </p:attrNameLst>
                                      </p:cBhvr>
                                      <p:tavLst>
                                        <p:tav tm="0">
                                          <p:val>
                                            <p:strVal val="0-#ppt_w/2"/>
                                          </p:val>
                                        </p:tav>
                                        <p:tav tm="100000">
                                          <p:val>
                                            <p:strVal val="#ppt_x"/>
                                          </p:val>
                                        </p:tav>
                                      </p:tavLst>
                                    </p:anim>
                                    <p:anim calcmode="lin" valueType="num">
                                      <p:cBhvr additive="base">
                                        <p:cTn id="8" dur="1000" fill="hold"/>
                                        <p:tgtEl>
                                          <p:spTgt spid="4"/>
                                        </p:tgtEl>
                                        <p:attrNameLst>
                                          <p:attrName>ppt_y</p:attrName>
                                        </p:attrNameLst>
                                      </p:cBhvr>
                                      <p:tavLst>
                                        <p:tav tm="0">
                                          <p:val>
                                            <p:strVal val="#ppt_y"/>
                                          </p:val>
                                        </p:tav>
                                        <p:tav tm="100000">
                                          <p:val>
                                            <p:strVal val="#ppt_y"/>
                                          </p:val>
                                        </p:tav>
                                      </p:tavLst>
                                    </p:anim>
                                  </p:childTnLst>
                                </p:cTn>
                              </p:par>
                              <p:par>
                                <p:cTn id="9" presetID="2" presetClass="entr" presetSubtype="8" dur="1000" decel="100000" fill="hold" grpId="0" nodeType="withEffect">
                                  <p:stCondLst>
                                    <p:cond delay="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1000" fill="hold"/>
                                        <p:tgtEl>
                                          <p:spTgt spid="10"/>
                                        </p:tgtEl>
                                        <p:attrNameLst>
                                          <p:attrName>ppt_x</p:attrName>
                                        </p:attrNameLst>
                                      </p:cBhvr>
                                      <p:tavLst>
                                        <p:tav tm="0">
                                          <p:val>
                                            <p:strVal val="0-#ppt_w/2"/>
                                          </p:val>
                                        </p:tav>
                                        <p:tav tm="100000">
                                          <p:val>
                                            <p:strVal val="#ppt_x"/>
                                          </p:val>
                                        </p:tav>
                                      </p:tavLst>
                                    </p:anim>
                                    <p:anim calcmode="lin" valueType="num">
                                      <p:cBhvr additive="base">
                                        <p:cTn id="12" dur="1000" fill="hold"/>
                                        <p:tgtEl>
                                          <p:spTgt spid="10"/>
                                        </p:tgtEl>
                                        <p:attrNameLst>
                                          <p:attrName>ppt_y</p:attrName>
                                        </p:attrNameLst>
                                      </p:cBhvr>
                                      <p:tavLst>
                                        <p:tav tm="0">
                                          <p:val>
                                            <p:strVal val="#ppt_y"/>
                                          </p:val>
                                        </p:tav>
                                        <p:tav tm="100000">
                                          <p:val>
                                            <p:strVal val="#ppt_y"/>
                                          </p:val>
                                        </p:tav>
                                      </p:tavLst>
                                    </p:anim>
                                  </p:childTnLst>
                                </p:cTn>
                              </p:par>
                              <p:par>
                                <p:cTn id="13" presetID="26" presetClass="emph" presetSubtype="0" dur="2000" repeatCount="indefinite" fill="hold" grpId="0" nodeType="withEffect">
                                  <p:stCondLst>
                                    <p:cond delay="0"/>
                                  </p:stCondLst>
                                  <p:childTnLst>
                                    <p:animEffect transition="out" filter="fade">
                                      <p:cBhvr>
                                        <p:cTn id="14" dur="2000" tmFilter="0, 0; .2, .5; .8, .5; 1, 0"/>
                                        <p:tgtEl>
                                          <p:spTgt spid="5"/>
                                        </p:tgtEl>
                                      </p:cBhvr>
                                    </p:animEffect>
                                    <p:animScale>
                                      <p:cBhvr>
                                        <p:cTn id="15" dur="1000" autoRev="1" fill="hold"/>
                                        <p:tgtEl>
                                          <p:spTgt spid="5"/>
                                        </p:tgtEl>
                                      </p:cBhvr>
                                      <p:by x="105000" y="105000"/>
                                    </p:animScale>
                                  </p:childTnLst>
                                </p:cTn>
                              </p:par>
                              <p:par>
                                <p:cTn id="16" presetID="26" presetClass="emph" presetSubtype="0" dur="2000" repeatCount="indefinite" fill="hold" grpId="0" nodeType="withEffect">
                                  <p:stCondLst>
                                    <p:cond delay="0"/>
                                  </p:stCondLst>
                                  <p:childTnLst>
                                    <p:animEffect transition="out" filter="fade">
                                      <p:cBhvr>
                                        <p:cTn id="17" dur="2000" tmFilter="0, 0; .2, .5; .8, .5; 1, 0"/>
                                        <p:tgtEl>
                                          <p:spTgt spid="22"/>
                                        </p:tgtEl>
                                      </p:cBhvr>
                                    </p:animEffect>
                                    <p:animScale>
                                      <p:cBhvr>
                                        <p:cTn id="18" dur="1000" autoRev="1" fill="hold"/>
                                        <p:tgtEl>
                                          <p:spTgt spid="22"/>
                                        </p:tgtEl>
                                      </p:cBhvr>
                                      <p:by x="105000" y="105000"/>
                                    </p:animScale>
                                  </p:childTnLst>
                                </p:cTn>
                              </p:par>
                              <p:par>
                                <p:cTn id="19" presetID="26" presetClass="emph" presetSubtype="0" dur="2000" repeatCount="indefinite" fill="hold" grpId="0" nodeType="withEffect">
                                  <p:stCondLst>
                                    <p:cond delay="0"/>
                                  </p:stCondLst>
                                  <p:childTnLst>
                                    <p:animEffect transition="out" filter="fade">
                                      <p:cBhvr>
                                        <p:cTn id="20" dur="2000" tmFilter="0, 0; .2, .5; .8, .5; 1, 0"/>
                                        <p:tgtEl>
                                          <p:spTgt spid="38"/>
                                        </p:tgtEl>
                                      </p:cBhvr>
                                    </p:animEffect>
                                    <p:animScale>
                                      <p:cBhvr>
                                        <p:cTn id="21" dur="1000" autoRev="1" fill="hold"/>
                                        <p:tgtEl>
                                          <p:spTgt spid="38"/>
                                        </p:tgtEl>
                                      </p:cBhvr>
                                      <p:by x="105000" y="105000"/>
                                    </p:animScale>
                                  </p:childTnLst>
                                </p:cTn>
                              </p:par>
                              <p:par>
                                <p:cTn id="22" presetID="26" presetClass="emph" presetSubtype="0" dur="2000" repeatCount="indefinite" fill="hold" grpId="0" nodeType="withEffect">
                                  <p:stCondLst>
                                    <p:cond delay="0"/>
                                  </p:stCondLst>
                                  <p:childTnLst>
                                    <p:animEffect transition="out" filter="fade">
                                      <p:cBhvr>
                                        <p:cTn id="23" dur="2000" tmFilter="0, 0; .2, .5; .8, .5; 1, 0"/>
                                        <p:tgtEl>
                                          <p:spTgt spid="203"/>
                                        </p:tgtEl>
                                      </p:cBhvr>
                                    </p:animEffect>
                                    <p:animScale>
                                      <p:cBhvr>
                                        <p:cTn id="24" dur="1000" autoRev="1" fill="hold"/>
                                        <p:tgtEl>
                                          <p:spTgt spid="203"/>
                                        </p:tgtEl>
                                      </p:cBhvr>
                                      <p:by x="105000" y="105000"/>
                                    </p:animScale>
                                  </p:childTnLst>
                                </p:cTn>
                              </p:par>
                              <p:par>
                                <p:cTn id="25" presetID="26" presetClass="emph" presetSubtype="0" dur="2000" repeatCount="indefinite" fill="hold" grpId="0" nodeType="withEffect">
                                  <p:stCondLst>
                                    <p:cond delay="0"/>
                                  </p:stCondLst>
                                  <p:childTnLst>
                                    <p:animEffect transition="out" filter="fade">
                                      <p:cBhvr>
                                        <p:cTn id="26" dur="2000" tmFilter="0, 0; .2, .5; .8, .5; 1, 0"/>
                                        <p:tgtEl>
                                          <p:spTgt spid="219"/>
                                        </p:tgtEl>
                                      </p:cBhvr>
                                    </p:animEffect>
                                    <p:animScale>
                                      <p:cBhvr>
                                        <p:cTn id="27" dur="1000" autoRev="1" fill="hold"/>
                                        <p:tgtEl>
                                          <p:spTgt spid="219"/>
                                        </p:tgtEl>
                                      </p:cBhvr>
                                      <p:by x="105000" y="105000"/>
                                    </p:animScale>
                                  </p:childTnLst>
                                </p:cTn>
                              </p:par>
                              <p:par>
                                <p:cTn id="28" presetID="26" presetClass="emph" presetSubtype="0" dur="2000" repeatCount="indefinite" fill="hold" grpId="0" nodeType="withEffect">
                                  <p:stCondLst>
                                    <p:cond delay="250"/>
                                  </p:stCondLst>
                                  <p:childTnLst>
                                    <p:animEffect transition="out" filter="fade">
                                      <p:cBhvr>
                                        <p:cTn id="29" dur="2000" tmFilter="0, 0; .2, .5; .8, .5; 1, 0"/>
                                        <p:tgtEl>
                                          <p:spTgt spid="6"/>
                                        </p:tgtEl>
                                      </p:cBhvr>
                                    </p:animEffect>
                                    <p:animScale>
                                      <p:cBhvr>
                                        <p:cTn id="30" dur="1000" autoRev="1" fill="hold"/>
                                        <p:tgtEl>
                                          <p:spTgt spid="6"/>
                                        </p:tgtEl>
                                      </p:cBhvr>
                                      <p:by x="105000" y="105000"/>
                                    </p:animScale>
                                  </p:childTnLst>
                                </p:cTn>
                              </p:par>
                              <p:par>
                                <p:cTn id="31" presetID="26" presetClass="emph" presetSubtype="0" dur="2000" repeatCount="indefinite" fill="hold" grpId="0" nodeType="withEffect">
                                  <p:stCondLst>
                                    <p:cond delay="250"/>
                                  </p:stCondLst>
                                  <p:childTnLst>
                                    <p:animEffect transition="out" filter="fade">
                                      <p:cBhvr>
                                        <p:cTn id="32" dur="2000" tmFilter="0, 0; .2, .5; .8, .5; 1, 0"/>
                                        <p:tgtEl>
                                          <p:spTgt spid="23"/>
                                        </p:tgtEl>
                                      </p:cBhvr>
                                    </p:animEffect>
                                    <p:animScale>
                                      <p:cBhvr>
                                        <p:cTn id="33" dur="1000" autoRev="1" fill="hold"/>
                                        <p:tgtEl>
                                          <p:spTgt spid="23"/>
                                        </p:tgtEl>
                                      </p:cBhvr>
                                      <p:by x="105000" y="105000"/>
                                    </p:animScale>
                                  </p:childTnLst>
                                </p:cTn>
                              </p:par>
                              <p:par>
                                <p:cTn id="34" presetID="26" presetClass="emph" presetSubtype="0" dur="2000" repeatCount="indefinite" fill="hold" grpId="0" nodeType="withEffect">
                                  <p:stCondLst>
                                    <p:cond delay="250"/>
                                  </p:stCondLst>
                                  <p:childTnLst>
                                    <p:animEffect transition="out" filter="fade">
                                      <p:cBhvr>
                                        <p:cTn id="35" dur="2000" tmFilter="0, 0; .2, .5; .8, .5; 1, 0"/>
                                        <p:tgtEl>
                                          <p:spTgt spid="39"/>
                                        </p:tgtEl>
                                      </p:cBhvr>
                                    </p:animEffect>
                                    <p:animScale>
                                      <p:cBhvr>
                                        <p:cTn id="36" dur="1000" autoRev="1" fill="hold"/>
                                        <p:tgtEl>
                                          <p:spTgt spid="39"/>
                                        </p:tgtEl>
                                      </p:cBhvr>
                                      <p:by x="105000" y="105000"/>
                                    </p:animScale>
                                  </p:childTnLst>
                                </p:cTn>
                              </p:par>
                              <p:par>
                                <p:cTn id="37" presetID="26" presetClass="emph" presetSubtype="0" dur="2000" repeatCount="indefinite" fill="hold" grpId="0" nodeType="withEffect">
                                  <p:stCondLst>
                                    <p:cond delay="250"/>
                                  </p:stCondLst>
                                  <p:childTnLst>
                                    <p:animEffect transition="out" filter="fade">
                                      <p:cBhvr>
                                        <p:cTn id="38" dur="2000" tmFilter="0, 0; .2, .5; .8, .5; 1, 0"/>
                                        <p:tgtEl>
                                          <p:spTgt spid="55"/>
                                        </p:tgtEl>
                                      </p:cBhvr>
                                    </p:animEffect>
                                    <p:animScale>
                                      <p:cBhvr>
                                        <p:cTn id="39" dur="1000" autoRev="1" fill="hold"/>
                                        <p:tgtEl>
                                          <p:spTgt spid="55"/>
                                        </p:tgtEl>
                                      </p:cBhvr>
                                      <p:by x="105000" y="105000"/>
                                    </p:animScale>
                                  </p:childTnLst>
                                </p:cTn>
                              </p:par>
                              <p:par>
                                <p:cTn id="40" presetID="26" presetClass="emph" presetSubtype="0" dur="2000" repeatCount="indefinite" fill="hold" grpId="0" nodeType="withEffect">
                                  <p:stCondLst>
                                    <p:cond delay="250"/>
                                  </p:stCondLst>
                                  <p:childTnLst>
                                    <p:animEffect transition="out" filter="fade">
                                      <p:cBhvr>
                                        <p:cTn id="41" dur="2000" tmFilter="0, 0; .2, .5; .8, .5; 1, 0"/>
                                        <p:tgtEl>
                                          <p:spTgt spid="187"/>
                                        </p:tgtEl>
                                      </p:cBhvr>
                                    </p:animEffect>
                                    <p:animScale>
                                      <p:cBhvr>
                                        <p:cTn id="42" dur="1000" autoRev="1" fill="hold"/>
                                        <p:tgtEl>
                                          <p:spTgt spid="187"/>
                                        </p:tgtEl>
                                      </p:cBhvr>
                                      <p:by x="105000" y="105000"/>
                                    </p:animScale>
                                  </p:childTnLst>
                                </p:cTn>
                              </p:par>
                              <p:par>
                                <p:cTn id="43" presetID="26" presetClass="emph" presetSubtype="0" dur="2000" repeatCount="indefinite" fill="hold" grpId="0" nodeType="withEffect">
                                  <p:stCondLst>
                                    <p:cond delay="250"/>
                                  </p:stCondLst>
                                  <p:childTnLst>
                                    <p:animEffect transition="out" filter="fade">
                                      <p:cBhvr>
                                        <p:cTn id="44" dur="2000" tmFilter="0, 0; .2, .5; .8, .5; 1, 0"/>
                                        <p:tgtEl>
                                          <p:spTgt spid="204"/>
                                        </p:tgtEl>
                                      </p:cBhvr>
                                    </p:animEffect>
                                    <p:animScale>
                                      <p:cBhvr>
                                        <p:cTn id="45" dur="1000" autoRev="1" fill="hold"/>
                                        <p:tgtEl>
                                          <p:spTgt spid="204"/>
                                        </p:tgtEl>
                                      </p:cBhvr>
                                      <p:by x="105000" y="105000"/>
                                    </p:animScale>
                                  </p:childTnLst>
                                </p:cTn>
                              </p:par>
                              <p:par>
                                <p:cTn id="46" presetID="26" presetClass="emph" presetSubtype="0" dur="2000" repeatCount="indefinite" fill="hold" grpId="0" nodeType="withEffect">
                                  <p:stCondLst>
                                    <p:cond delay="250"/>
                                  </p:stCondLst>
                                  <p:childTnLst>
                                    <p:animEffect transition="out" filter="fade">
                                      <p:cBhvr>
                                        <p:cTn id="47" dur="2000" tmFilter="0, 0; .2, .5; .8, .5; 1, 0"/>
                                        <p:tgtEl>
                                          <p:spTgt spid="220"/>
                                        </p:tgtEl>
                                      </p:cBhvr>
                                    </p:animEffect>
                                    <p:animScale>
                                      <p:cBhvr>
                                        <p:cTn id="48" dur="1000" autoRev="1" fill="hold"/>
                                        <p:tgtEl>
                                          <p:spTgt spid="220"/>
                                        </p:tgtEl>
                                      </p:cBhvr>
                                      <p:by x="105000" y="105000"/>
                                    </p:animScale>
                                  </p:childTnLst>
                                </p:cTn>
                              </p:par>
                              <p:par>
                                <p:cTn id="49" presetID="26" presetClass="emph" presetSubtype="0" dur="2000" repeatCount="indefinite" fill="hold" grpId="0" nodeType="withEffect">
                                  <p:stCondLst>
                                    <p:cond delay="500"/>
                                  </p:stCondLst>
                                  <p:childTnLst>
                                    <p:animEffect transition="out" filter="fade">
                                      <p:cBhvr>
                                        <p:cTn id="50" dur="2000" tmFilter="0, 0; .2, .5; .8, .5; 1, 0"/>
                                        <p:tgtEl>
                                          <p:spTgt spid="7"/>
                                        </p:tgtEl>
                                      </p:cBhvr>
                                    </p:animEffect>
                                    <p:animScale>
                                      <p:cBhvr>
                                        <p:cTn id="51" dur="1000" autoRev="1" fill="hold"/>
                                        <p:tgtEl>
                                          <p:spTgt spid="7"/>
                                        </p:tgtEl>
                                      </p:cBhvr>
                                      <p:by x="105000" y="105000"/>
                                    </p:animScale>
                                  </p:childTnLst>
                                </p:cTn>
                              </p:par>
                              <p:par>
                                <p:cTn id="52" presetID="26" presetClass="emph" presetSubtype="0" dur="2000" repeatCount="indefinite" fill="hold" grpId="0" nodeType="withEffect">
                                  <p:stCondLst>
                                    <p:cond delay="500"/>
                                  </p:stCondLst>
                                  <p:childTnLst>
                                    <p:animEffect transition="out" filter="fade">
                                      <p:cBhvr>
                                        <p:cTn id="53" dur="2000" tmFilter="0, 0; .2, .5; .8, .5; 1, 0"/>
                                        <p:tgtEl>
                                          <p:spTgt spid="24"/>
                                        </p:tgtEl>
                                      </p:cBhvr>
                                    </p:animEffect>
                                    <p:animScale>
                                      <p:cBhvr>
                                        <p:cTn id="54" dur="1000" autoRev="1" fill="hold"/>
                                        <p:tgtEl>
                                          <p:spTgt spid="24"/>
                                        </p:tgtEl>
                                      </p:cBhvr>
                                      <p:by x="105000" y="105000"/>
                                    </p:animScale>
                                  </p:childTnLst>
                                </p:cTn>
                              </p:par>
                              <p:par>
                                <p:cTn id="55" presetID="26" presetClass="emph" presetSubtype="0" dur="2000" repeatCount="indefinite" fill="hold" grpId="0" nodeType="withEffect">
                                  <p:stCondLst>
                                    <p:cond delay="500"/>
                                  </p:stCondLst>
                                  <p:childTnLst>
                                    <p:animEffect transition="out" filter="fade">
                                      <p:cBhvr>
                                        <p:cTn id="56" dur="2000" tmFilter="0, 0; .2, .5; .8, .5; 1, 0"/>
                                        <p:tgtEl>
                                          <p:spTgt spid="40"/>
                                        </p:tgtEl>
                                      </p:cBhvr>
                                    </p:animEffect>
                                    <p:animScale>
                                      <p:cBhvr>
                                        <p:cTn id="57" dur="1000" autoRev="1" fill="hold"/>
                                        <p:tgtEl>
                                          <p:spTgt spid="40"/>
                                        </p:tgtEl>
                                      </p:cBhvr>
                                      <p:by x="105000" y="105000"/>
                                    </p:animScale>
                                  </p:childTnLst>
                                </p:cTn>
                              </p:par>
                              <p:par>
                                <p:cTn id="58" presetID="26" presetClass="emph" presetSubtype="0" dur="2000" repeatCount="indefinite" fill="hold" grpId="0" nodeType="withEffect">
                                  <p:stCondLst>
                                    <p:cond delay="500"/>
                                  </p:stCondLst>
                                  <p:childTnLst>
                                    <p:animEffect transition="out" filter="fade">
                                      <p:cBhvr>
                                        <p:cTn id="59" dur="2000" tmFilter="0, 0; .2, .5; .8, .5; 1, 0"/>
                                        <p:tgtEl>
                                          <p:spTgt spid="56"/>
                                        </p:tgtEl>
                                      </p:cBhvr>
                                    </p:animEffect>
                                    <p:animScale>
                                      <p:cBhvr>
                                        <p:cTn id="60" dur="1000" autoRev="1" fill="hold"/>
                                        <p:tgtEl>
                                          <p:spTgt spid="56"/>
                                        </p:tgtEl>
                                      </p:cBhvr>
                                      <p:by x="105000" y="105000"/>
                                    </p:animScale>
                                  </p:childTnLst>
                                </p:cTn>
                              </p:par>
                              <p:par>
                                <p:cTn id="61" presetID="26" presetClass="emph" presetSubtype="0" dur="2000" repeatCount="indefinite" fill="hold" grpId="0" nodeType="withEffect">
                                  <p:stCondLst>
                                    <p:cond delay="500"/>
                                  </p:stCondLst>
                                  <p:childTnLst>
                                    <p:animEffect transition="out" filter="fade">
                                      <p:cBhvr>
                                        <p:cTn id="62" dur="2000" tmFilter="0, 0; .2, .5; .8, .5; 1, 0"/>
                                        <p:tgtEl>
                                          <p:spTgt spid="72"/>
                                        </p:tgtEl>
                                      </p:cBhvr>
                                    </p:animEffect>
                                    <p:animScale>
                                      <p:cBhvr>
                                        <p:cTn id="63" dur="1000" autoRev="1" fill="hold"/>
                                        <p:tgtEl>
                                          <p:spTgt spid="72"/>
                                        </p:tgtEl>
                                      </p:cBhvr>
                                      <p:by x="105000" y="105000"/>
                                    </p:animScale>
                                  </p:childTnLst>
                                </p:cTn>
                              </p:par>
                              <p:par>
                                <p:cTn id="64" presetID="26" presetClass="emph" presetSubtype="0" dur="2000" repeatCount="indefinite" fill="hold" grpId="0" nodeType="withEffect">
                                  <p:stCondLst>
                                    <p:cond delay="500"/>
                                  </p:stCondLst>
                                  <p:childTnLst>
                                    <p:animEffect transition="out" filter="fade">
                                      <p:cBhvr>
                                        <p:cTn id="65" dur="2000" tmFilter="0, 0; .2, .5; .8, .5; 1, 0"/>
                                        <p:tgtEl>
                                          <p:spTgt spid="171"/>
                                        </p:tgtEl>
                                      </p:cBhvr>
                                    </p:animEffect>
                                    <p:animScale>
                                      <p:cBhvr>
                                        <p:cTn id="66" dur="1000" autoRev="1" fill="hold"/>
                                        <p:tgtEl>
                                          <p:spTgt spid="171"/>
                                        </p:tgtEl>
                                      </p:cBhvr>
                                      <p:by x="105000" y="105000"/>
                                    </p:animScale>
                                  </p:childTnLst>
                                </p:cTn>
                              </p:par>
                              <p:par>
                                <p:cTn id="67" presetID="26" presetClass="emph" presetSubtype="0" dur="2000" repeatCount="indefinite" fill="hold" grpId="0" nodeType="withEffect">
                                  <p:stCondLst>
                                    <p:cond delay="500"/>
                                  </p:stCondLst>
                                  <p:childTnLst>
                                    <p:animEffect transition="out" filter="fade">
                                      <p:cBhvr>
                                        <p:cTn id="68" dur="2000" tmFilter="0, 0; .2, .5; .8, .5; 1, 0"/>
                                        <p:tgtEl>
                                          <p:spTgt spid="188"/>
                                        </p:tgtEl>
                                      </p:cBhvr>
                                    </p:animEffect>
                                    <p:animScale>
                                      <p:cBhvr>
                                        <p:cTn id="69" dur="1000" autoRev="1" fill="hold"/>
                                        <p:tgtEl>
                                          <p:spTgt spid="188"/>
                                        </p:tgtEl>
                                      </p:cBhvr>
                                      <p:by x="105000" y="105000"/>
                                    </p:animScale>
                                  </p:childTnLst>
                                </p:cTn>
                              </p:par>
                              <p:par>
                                <p:cTn id="70" presetID="26" presetClass="emph" presetSubtype="0" dur="2000" repeatCount="indefinite" fill="hold" grpId="0" nodeType="withEffect">
                                  <p:stCondLst>
                                    <p:cond delay="500"/>
                                  </p:stCondLst>
                                  <p:childTnLst>
                                    <p:animEffect transition="out" filter="fade">
                                      <p:cBhvr>
                                        <p:cTn id="71" dur="2000" tmFilter="0, 0; .2, .5; .8, .5; 1, 0"/>
                                        <p:tgtEl>
                                          <p:spTgt spid="205"/>
                                        </p:tgtEl>
                                      </p:cBhvr>
                                    </p:animEffect>
                                    <p:animScale>
                                      <p:cBhvr>
                                        <p:cTn id="72" dur="1000" autoRev="1" fill="hold"/>
                                        <p:tgtEl>
                                          <p:spTgt spid="205"/>
                                        </p:tgtEl>
                                      </p:cBhvr>
                                      <p:by x="105000" y="105000"/>
                                    </p:animScale>
                                  </p:childTnLst>
                                </p:cTn>
                              </p:par>
                              <p:par>
                                <p:cTn id="73" presetID="26" presetClass="emph" presetSubtype="0" dur="2000" repeatCount="indefinite" fill="hold" grpId="0" nodeType="withEffect">
                                  <p:stCondLst>
                                    <p:cond delay="500"/>
                                  </p:stCondLst>
                                  <p:childTnLst>
                                    <p:animEffect transition="out" filter="fade">
                                      <p:cBhvr>
                                        <p:cTn id="74" dur="2000" tmFilter="0, 0; .2, .5; .8, .5; 1, 0"/>
                                        <p:tgtEl>
                                          <p:spTgt spid="221"/>
                                        </p:tgtEl>
                                      </p:cBhvr>
                                    </p:animEffect>
                                    <p:animScale>
                                      <p:cBhvr>
                                        <p:cTn id="75" dur="1000" autoRev="1" fill="hold"/>
                                        <p:tgtEl>
                                          <p:spTgt spid="221"/>
                                        </p:tgtEl>
                                      </p:cBhvr>
                                      <p:by x="105000" y="105000"/>
                                    </p:animScale>
                                  </p:childTnLst>
                                </p:cTn>
                              </p:par>
                              <p:par>
                                <p:cTn id="76" presetID="26" presetClass="emph" presetSubtype="0" dur="2000" repeatCount="indefinite" fill="hold" grpId="0" nodeType="withEffect">
                                  <p:stCondLst>
                                    <p:cond delay="750"/>
                                  </p:stCondLst>
                                  <p:childTnLst>
                                    <p:animEffect transition="out" filter="fade">
                                      <p:cBhvr>
                                        <p:cTn id="77" dur="2000" tmFilter="0, 0; .2, .5; .8, .5; 1, 0"/>
                                        <p:tgtEl>
                                          <p:spTgt spid="8"/>
                                        </p:tgtEl>
                                      </p:cBhvr>
                                    </p:animEffect>
                                    <p:animScale>
                                      <p:cBhvr>
                                        <p:cTn id="78" dur="1000" autoRev="1" fill="hold"/>
                                        <p:tgtEl>
                                          <p:spTgt spid="8"/>
                                        </p:tgtEl>
                                      </p:cBhvr>
                                      <p:by x="105000" y="105000"/>
                                    </p:animScale>
                                  </p:childTnLst>
                                </p:cTn>
                              </p:par>
                              <p:par>
                                <p:cTn id="79" presetID="26" presetClass="emph" presetSubtype="0" dur="2000" repeatCount="indefinite" fill="hold" grpId="0" nodeType="withEffect">
                                  <p:stCondLst>
                                    <p:cond delay="750"/>
                                  </p:stCondLst>
                                  <p:childTnLst>
                                    <p:animEffect transition="out" filter="fade">
                                      <p:cBhvr>
                                        <p:cTn id="80" dur="2000" tmFilter="0, 0; .2, .5; .8, .5; 1, 0"/>
                                        <p:tgtEl>
                                          <p:spTgt spid="25"/>
                                        </p:tgtEl>
                                      </p:cBhvr>
                                    </p:animEffect>
                                    <p:animScale>
                                      <p:cBhvr>
                                        <p:cTn id="81" dur="1000" autoRev="1" fill="hold"/>
                                        <p:tgtEl>
                                          <p:spTgt spid="25"/>
                                        </p:tgtEl>
                                      </p:cBhvr>
                                      <p:by x="105000" y="105000"/>
                                    </p:animScale>
                                  </p:childTnLst>
                                </p:cTn>
                              </p:par>
                              <p:par>
                                <p:cTn id="82" presetID="26" presetClass="emph" presetSubtype="0" dur="2000" repeatCount="indefinite" fill="hold" grpId="0" nodeType="withEffect">
                                  <p:stCondLst>
                                    <p:cond delay="750"/>
                                  </p:stCondLst>
                                  <p:childTnLst>
                                    <p:animEffect transition="out" filter="fade">
                                      <p:cBhvr>
                                        <p:cTn id="83" dur="2000" tmFilter="0, 0; .2, .5; .8, .5; 1, 0"/>
                                        <p:tgtEl>
                                          <p:spTgt spid="41"/>
                                        </p:tgtEl>
                                      </p:cBhvr>
                                    </p:animEffect>
                                    <p:animScale>
                                      <p:cBhvr>
                                        <p:cTn id="84" dur="1000" autoRev="1" fill="hold"/>
                                        <p:tgtEl>
                                          <p:spTgt spid="41"/>
                                        </p:tgtEl>
                                      </p:cBhvr>
                                      <p:by x="105000" y="105000"/>
                                    </p:animScale>
                                  </p:childTnLst>
                                </p:cTn>
                              </p:par>
                              <p:par>
                                <p:cTn id="85" presetID="26" presetClass="emph" presetSubtype="0" dur="2000" repeatCount="indefinite" fill="hold" grpId="0" nodeType="withEffect">
                                  <p:stCondLst>
                                    <p:cond delay="750"/>
                                  </p:stCondLst>
                                  <p:childTnLst>
                                    <p:animEffect transition="out" filter="fade">
                                      <p:cBhvr>
                                        <p:cTn id="86" dur="2000" tmFilter="0, 0; .2, .5; .8, .5; 1, 0"/>
                                        <p:tgtEl>
                                          <p:spTgt spid="57"/>
                                        </p:tgtEl>
                                      </p:cBhvr>
                                    </p:animEffect>
                                    <p:animScale>
                                      <p:cBhvr>
                                        <p:cTn id="87" dur="1000" autoRev="1" fill="hold"/>
                                        <p:tgtEl>
                                          <p:spTgt spid="57"/>
                                        </p:tgtEl>
                                      </p:cBhvr>
                                      <p:by x="105000" y="105000"/>
                                    </p:animScale>
                                  </p:childTnLst>
                                </p:cTn>
                              </p:par>
                              <p:par>
                                <p:cTn id="88" presetID="26" presetClass="emph" presetSubtype="0" dur="2000" repeatCount="indefinite" fill="hold" grpId="0" nodeType="withEffect">
                                  <p:stCondLst>
                                    <p:cond delay="750"/>
                                  </p:stCondLst>
                                  <p:childTnLst>
                                    <p:animEffect transition="out" filter="fade">
                                      <p:cBhvr>
                                        <p:cTn id="89" dur="2000" tmFilter="0, 0; .2, .5; .8, .5; 1, 0"/>
                                        <p:tgtEl>
                                          <p:spTgt spid="73"/>
                                        </p:tgtEl>
                                      </p:cBhvr>
                                    </p:animEffect>
                                    <p:animScale>
                                      <p:cBhvr>
                                        <p:cTn id="90" dur="1000" autoRev="1" fill="hold"/>
                                        <p:tgtEl>
                                          <p:spTgt spid="73"/>
                                        </p:tgtEl>
                                      </p:cBhvr>
                                      <p:by x="105000" y="105000"/>
                                    </p:animScale>
                                  </p:childTnLst>
                                </p:cTn>
                              </p:par>
                              <p:par>
                                <p:cTn id="91" presetID="26" presetClass="emph" presetSubtype="0" dur="2000" repeatCount="indefinite" fill="hold" grpId="0" nodeType="withEffect">
                                  <p:stCondLst>
                                    <p:cond delay="750"/>
                                  </p:stCondLst>
                                  <p:childTnLst>
                                    <p:animEffect transition="out" filter="fade">
                                      <p:cBhvr>
                                        <p:cTn id="92" dur="2000" tmFilter="0, 0; .2, .5; .8, .5; 1, 0"/>
                                        <p:tgtEl>
                                          <p:spTgt spid="89"/>
                                        </p:tgtEl>
                                      </p:cBhvr>
                                    </p:animEffect>
                                    <p:animScale>
                                      <p:cBhvr>
                                        <p:cTn id="93" dur="1000" autoRev="1" fill="hold"/>
                                        <p:tgtEl>
                                          <p:spTgt spid="89"/>
                                        </p:tgtEl>
                                      </p:cBhvr>
                                      <p:by x="105000" y="105000"/>
                                    </p:animScale>
                                  </p:childTnLst>
                                </p:cTn>
                              </p:par>
                              <p:par>
                                <p:cTn id="94" presetID="26" presetClass="emph" presetSubtype="0" dur="2000" repeatCount="indefinite" fill="hold" grpId="0" nodeType="withEffect">
                                  <p:stCondLst>
                                    <p:cond delay="750"/>
                                  </p:stCondLst>
                                  <p:childTnLst>
                                    <p:animEffect transition="out" filter="fade">
                                      <p:cBhvr>
                                        <p:cTn id="95" dur="2000" tmFilter="0, 0; .2, .5; .8, .5; 1, 0"/>
                                        <p:tgtEl>
                                          <p:spTgt spid="155"/>
                                        </p:tgtEl>
                                      </p:cBhvr>
                                    </p:animEffect>
                                    <p:animScale>
                                      <p:cBhvr>
                                        <p:cTn id="96" dur="1000" autoRev="1" fill="hold"/>
                                        <p:tgtEl>
                                          <p:spTgt spid="155"/>
                                        </p:tgtEl>
                                      </p:cBhvr>
                                      <p:by x="105000" y="105000"/>
                                    </p:animScale>
                                  </p:childTnLst>
                                </p:cTn>
                              </p:par>
                              <p:par>
                                <p:cTn id="97" presetID="26" presetClass="emph" presetSubtype="0" dur="2000" repeatCount="indefinite" fill="hold" grpId="0" nodeType="withEffect">
                                  <p:stCondLst>
                                    <p:cond delay="750"/>
                                  </p:stCondLst>
                                  <p:childTnLst>
                                    <p:animEffect transition="out" filter="fade">
                                      <p:cBhvr>
                                        <p:cTn id="98" dur="2000" tmFilter="0, 0; .2, .5; .8, .5; 1, 0"/>
                                        <p:tgtEl>
                                          <p:spTgt spid="172"/>
                                        </p:tgtEl>
                                      </p:cBhvr>
                                    </p:animEffect>
                                    <p:animScale>
                                      <p:cBhvr>
                                        <p:cTn id="99" dur="1000" autoRev="1" fill="hold"/>
                                        <p:tgtEl>
                                          <p:spTgt spid="172"/>
                                        </p:tgtEl>
                                      </p:cBhvr>
                                      <p:by x="105000" y="105000"/>
                                    </p:animScale>
                                  </p:childTnLst>
                                </p:cTn>
                              </p:par>
                              <p:par>
                                <p:cTn id="100" presetID="26" presetClass="emph" presetSubtype="0" dur="2000" repeatCount="indefinite" fill="hold" grpId="0" nodeType="withEffect">
                                  <p:stCondLst>
                                    <p:cond delay="750"/>
                                  </p:stCondLst>
                                  <p:childTnLst>
                                    <p:animEffect transition="out" filter="fade">
                                      <p:cBhvr>
                                        <p:cTn id="101" dur="2000" tmFilter="0, 0; .2, .5; .8, .5; 1, 0"/>
                                        <p:tgtEl>
                                          <p:spTgt spid="189"/>
                                        </p:tgtEl>
                                      </p:cBhvr>
                                    </p:animEffect>
                                    <p:animScale>
                                      <p:cBhvr>
                                        <p:cTn id="102" dur="1000" autoRev="1" fill="hold"/>
                                        <p:tgtEl>
                                          <p:spTgt spid="189"/>
                                        </p:tgtEl>
                                      </p:cBhvr>
                                      <p:by x="105000" y="105000"/>
                                    </p:animScale>
                                  </p:childTnLst>
                                </p:cTn>
                              </p:par>
                              <p:par>
                                <p:cTn id="103" presetID="26" presetClass="emph" presetSubtype="0" dur="2000" repeatCount="indefinite" fill="hold" grpId="0" nodeType="withEffect">
                                  <p:stCondLst>
                                    <p:cond delay="750"/>
                                  </p:stCondLst>
                                  <p:childTnLst>
                                    <p:animEffect transition="out" filter="fade">
                                      <p:cBhvr>
                                        <p:cTn id="104" dur="2000" tmFilter="0, 0; .2, .5; .8, .5; 1, 0"/>
                                        <p:tgtEl>
                                          <p:spTgt spid="206"/>
                                        </p:tgtEl>
                                      </p:cBhvr>
                                    </p:animEffect>
                                    <p:animScale>
                                      <p:cBhvr>
                                        <p:cTn id="105" dur="1000" autoRev="1" fill="hold"/>
                                        <p:tgtEl>
                                          <p:spTgt spid="206"/>
                                        </p:tgtEl>
                                      </p:cBhvr>
                                      <p:by x="105000" y="105000"/>
                                    </p:animScale>
                                  </p:childTnLst>
                                </p:cTn>
                              </p:par>
                              <p:par>
                                <p:cTn id="106" presetID="26" presetClass="emph" presetSubtype="0" dur="2000" repeatCount="indefinite" fill="hold" grpId="0" nodeType="withEffect">
                                  <p:stCondLst>
                                    <p:cond delay="750"/>
                                  </p:stCondLst>
                                  <p:childTnLst>
                                    <p:animEffect transition="out" filter="fade">
                                      <p:cBhvr>
                                        <p:cTn id="107" dur="2000" tmFilter="0, 0; .2, .5; .8, .5; 1, 0"/>
                                        <p:tgtEl>
                                          <p:spTgt spid="222"/>
                                        </p:tgtEl>
                                      </p:cBhvr>
                                    </p:animEffect>
                                    <p:animScale>
                                      <p:cBhvr>
                                        <p:cTn id="108" dur="1000" autoRev="1" fill="hold"/>
                                        <p:tgtEl>
                                          <p:spTgt spid="222"/>
                                        </p:tgtEl>
                                      </p:cBhvr>
                                      <p:by x="105000" y="105000"/>
                                    </p:animScale>
                                  </p:childTnLst>
                                </p:cTn>
                              </p:par>
                              <p:par>
                                <p:cTn id="109" presetID="26" presetClass="emph" presetSubtype="0" dur="2000" repeatCount="indefinite" fill="hold" grpId="0" nodeType="withEffect">
                                  <p:stCondLst>
                                    <p:cond delay="1000"/>
                                  </p:stCondLst>
                                  <p:childTnLst>
                                    <p:animEffect transition="out" filter="fade">
                                      <p:cBhvr>
                                        <p:cTn id="110" dur="2000" tmFilter="0, 0; .2, .5; .8, .5; 1, 0"/>
                                        <p:tgtEl>
                                          <p:spTgt spid="11"/>
                                        </p:tgtEl>
                                      </p:cBhvr>
                                    </p:animEffect>
                                    <p:animScale>
                                      <p:cBhvr>
                                        <p:cTn id="111" dur="1000" autoRev="1" fill="hold"/>
                                        <p:tgtEl>
                                          <p:spTgt spid="11"/>
                                        </p:tgtEl>
                                      </p:cBhvr>
                                      <p:by x="105000" y="105000"/>
                                    </p:animScale>
                                  </p:childTnLst>
                                </p:cTn>
                              </p:par>
                              <p:par>
                                <p:cTn id="112" presetID="26" presetClass="emph" presetSubtype="0" dur="2000" repeatCount="indefinite" fill="hold" grpId="0" nodeType="withEffect">
                                  <p:stCondLst>
                                    <p:cond delay="1000"/>
                                  </p:stCondLst>
                                  <p:childTnLst>
                                    <p:animEffect transition="out" filter="fade">
                                      <p:cBhvr>
                                        <p:cTn id="113" dur="2000" tmFilter="0, 0; .2, .5; .8, .5; 1, 0"/>
                                        <p:tgtEl>
                                          <p:spTgt spid="26"/>
                                        </p:tgtEl>
                                      </p:cBhvr>
                                    </p:animEffect>
                                    <p:animScale>
                                      <p:cBhvr>
                                        <p:cTn id="114" dur="1000" autoRev="1" fill="hold"/>
                                        <p:tgtEl>
                                          <p:spTgt spid="26"/>
                                        </p:tgtEl>
                                      </p:cBhvr>
                                      <p:by x="105000" y="105000"/>
                                    </p:animScale>
                                  </p:childTnLst>
                                </p:cTn>
                              </p:par>
                              <p:par>
                                <p:cTn id="115" presetID="26" presetClass="emph" presetSubtype="0" dur="2000" repeatCount="indefinite" fill="hold" grpId="0" nodeType="withEffect">
                                  <p:stCondLst>
                                    <p:cond delay="1000"/>
                                  </p:stCondLst>
                                  <p:childTnLst>
                                    <p:animEffect transition="out" filter="fade">
                                      <p:cBhvr>
                                        <p:cTn id="116" dur="2000" tmFilter="0, 0; .2, .5; .8, .5; 1, 0"/>
                                        <p:tgtEl>
                                          <p:spTgt spid="42"/>
                                        </p:tgtEl>
                                      </p:cBhvr>
                                    </p:animEffect>
                                    <p:animScale>
                                      <p:cBhvr>
                                        <p:cTn id="117" dur="1000" autoRev="1" fill="hold"/>
                                        <p:tgtEl>
                                          <p:spTgt spid="42"/>
                                        </p:tgtEl>
                                      </p:cBhvr>
                                      <p:by x="105000" y="105000"/>
                                    </p:animScale>
                                  </p:childTnLst>
                                </p:cTn>
                              </p:par>
                              <p:par>
                                <p:cTn id="118" presetID="26" presetClass="emph" presetSubtype="0" dur="2000" repeatCount="indefinite" fill="hold" grpId="0" nodeType="withEffect">
                                  <p:stCondLst>
                                    <p:cond delay="1000"/>
                                  </p:stCondLst>
                                  <p:childTnLst>
                                    <p:animEffect transition="out" filter="fade">
                                      <p:cBhvr>
                                        <p:cTn id="119" dur="2000" tmFilter="0, 0; .2, .5; .8, .5; 1, 0"/>
                                        <p:tgtEl>
                                          <p:spTgt spid="58"/>
                                        </p:tgtEl>
                                      </p:cBhvr>
                                    </p:animEffect>
                                    <p:animScale>
                                      <p:cBhvr>
                                        <p:cTn id="120" dur="1000" autoRev="1" fill="hold"/>
                                        <p:tgtEl>
                                          <p:spTgt spid="58"/>
                                        </p:tgtEl>
                                      </p:cBhvr>
                                      <p:by x="105000" y="105000"/>
                                    </p:animScale>
                                  </p:childTnLst>
                                </p:cTn>
                              </p:par>
                              <p:par>
                                <p:cTn id="121" presetID="26" presetClass="emph" presetSubtype="0" dur="2000" repeatCount="indefinite" fill="hold" grpId="0" nodeType="withEffect">
                                  <p:stCondLst>
                                    <p:cond delay="1000"/>
                                  </p:stCondLst>
                                  <p:childTnLst>
                                    <p:animEffect transition="out" filter="fade">
                                      <p:cBhvr>
                                        <p:cTn id="122" dur="2000" tmFilter="0, 0; .2, .5; .8, .5; 1, 0"/>
                                        <p:tgtEl>
                                          <p:spTgt spid="74"/>
                                        </p:tgtEl>
                                      </p:cBhvr>
                                    </p:animEffect>
                                    <p:animScale>
                                      <p:cBhvr>
                                        <p:cTn id="123" dur="1000" autoRev="1" fill="hold"/>
                                        <p:tgtEl>
                                          <p:spTgt spid="74"/>
                                        </p:tgtEl>
                                      </p:cBhvr>
                                      <p:by x="105000" y="105000"/>
                                    </p:animScale>
                                  </p:childTnLst>
                                </p:cTn>
                              </p:par>
                              <p:par>
                                <p:cTn id="124" presetID="26" presetClass="emph" presetSubtype="0" dur="2000" repeatCount="indefinite" fill="hold" grpId="0" nodeType="withEffect">
                                  <p:stCondLst>
                                    <p:cond delay="1000"/>
                                  </p:stCondLst>
                                  <p:childTnLst>
                                    <p:animEffect transition="out" filter="fade">
                                      <p:cBhvr>
                                        <p:cTn id="125" dur="2000" tmFilter="0, 0; .2, .5; .8, .5; 1, 0"/>
                                        <p:tgtEl>
                                          <p:spTgt spid="90"/>
                                        </p:tgtEl>
                                      </p:cBhvr>
                                    </p:animEffect>
                                    <p:animScale>
                                      <p:cBhvr>
                                        <p:cTn id="126" dur="1000" autoRev="1" fill="hold"/>
                                        <p:tgtEl>
                                          <p:spTgt spid="90"/>
                                        </p:tgtEl>
                                      </p:cBhvr>
                                      <p:by x="105000" y="105000"/>
                                    </p:animScale>
                                  </p:childTnLst>
                                </p:cTn>
                              </p:par>
                              <p:par>
                                <p:cTn id="127" presetID="26" presetClass="emph" presetSubtype="0" dur="2000" repeatCount="indefinite" fill="hold" grpId="0" nodeType="withEffect">
                                  <p:stCondLst>
                                    <p:cond delay="1000"/>
                                  </p:stCondLst>
                                  <p:childTnLst>
                                    <p:animEffect transition="out" filter="fade">
                                      <p:cBhvr>
                                        <p:cTn id="128" dur="2000" tmFilter="0, 0; .2, .5; .8, .5; 1, 0"/>
                                        <p:tgtEl>
                                          <p:spTgt spid="106"/>
                                        </p:tgtEl>
                                      </p:cBhvr>
                                    </p:animEffect>
                                    <p:animScale>
                                      <p:cBhvr>
                                        <p:cTn id="129" dur="1000" autoRev="1" fill="hold"/>
                                        <p:tgtEl>
                                          <p:spTgt spid="106"/>
                                        </p:tgtEl>
                                      </p:cBhvr>
                                      <p:by x="105000" y="105000"/>
                                    </p:animScale>
                                  </p:childTnLst>
                                </p:cTn>
                              </p:par>
                              <p:par>
                                <p:cTn id="130" presetID="26" presetClass="emph" presetSubtype="0" dur="2000" repeatCount="indefinite" fill="hold" grpId="0" nodeType="withEffect">
                                  <p:stCondLst>
                                    <p:cond delay="1000"/>
                                  </p:stCondLst>
                                  <p:childTnLst>
                                    <p:animEffect transition="out" filter="fade">
                                      <p:cBhvr>
                                        <p:cTn id="131" dur="2000" tmFilter="0, 0; .2, .5; .8, .5; 1, 0"/>
                                        <p:tgtEl>
                                          <p:spTgt spid="139"/>
                                        </p:tgtEl>
                                      </p:cBhvr>
                                    </p:animEffect>
                                    <p:animScale>
                                      <p:cBhvr>
                                        <p:cTn id="132" dur="1000" autoRev="1" fill="hold"/>
                                        <p:tgtEl>
                                          <p:spTgt spid="139"/>
                                        </p:tgtEl>
                                      </p:cBhvr>
                                      <p:by x="105000" y="105000"/>
                                    </p:animScale>
                                  </p:childTnLst>
                                </p:cTn>
                              </p:par>
                              <p:par>
                                <p:cTn id="133" presetID="26" presetClass="emph" presetSubtype="0" dur="2000" repeatCount="indefinite" fill="hold" grpId="0" nodeType="withEffect">
                                  <p:stCondLst>
                                    <p:cond delay="1000"/>
                                  </p:stCondLst>
                                  <p:childTnLst>
                                    <p:animEffect transition="out" filter="fade">
                                      <p:cBhvr>
                                        <p:cTn id="134" dur="2000" tmFilter="0, 0; .2, .5; .8, .5; 1, 0"/>
                                        <p:tgtEl>
                                          <p:spTgt spid="156"/>
                                        </p:tgtEl>
                                      </p:cBhvr>
                                    </p:animEffect>
                                    <p:animScale>
                                      <p:cBhvr>
                                        <p:cTn id="135" dur="1000" autoRev="1" fill="hold"/>
                                        <p:tgtEl>
                                          <p:spTgt spid="156"/>
                                        </p:tgtEl>
                                      </p:cBhvr>
                                      <p:by x="105000" y="105000"/>
                                    </p:animScale>
                                  </p:childTnLst>
                                </p:cTn>
                              </p:par>
                              <p:par>
                                <p:cTn id="136" presetID="26" presetClass="emph" presetSubtype="0" dur="2000" repeatCount="indefinite" fill="hold" grpId="0" nodeType="withEffect">
                                  <p:stCondLst>
                                    <p:cond delay="1000"/>
                                  </p:stCondLst>
                                  <p:childTnLst>
                                    <p:animEffect transition="out" filter="fade">
                                      <p:cBhvr>
                                        <p:cTn id="137" dur="2000" tmFilter="0, 0; .2, .5; .8, .5; 1, 0"/>
                                        <p:tgtEl>
                                          <p:spTgt spid="173"/>
                                        </p:tgtEl>
                                      </p:cBhvr>
                                    </p:animEffect>
                                    <p:animScale>
                                      <p:cBhvr>
                                        <p:cTn id="138" dur="1000" autoRev="1" fill="hold"/>
                                        <p:tgtEl>
                                          <p:spTgt spid="173"/>
                                        </p:tgtEl>
                                      </p:cBhvr>
                                      <p:by x="105000" y="105000"/>
                                    </p:animScale>
                                  </p:childTnLst>
                                </p:cTn>
                              </p:par>
                              <p:par>
                                <p:cTn id="139" presetID="26" presetClass="emph" presetSubtype="0" dur="2000" repeatCount="indefinite" fill="hold" grpId="0" nodeType="withEffect">
                                  <p:stCondLst>
                                    <p:cond delay="1000"/>
                                  </p:stCondLst>
                                  <p:childTnLst>
                                    <p:animEffect transition="out" filter="fade">
                                      <p:cBhvr>
                                        <p:cTn id="140" dur="2000" tmFilter="0, 0; .2, .5; .8, .5; 1, 0"/>
                                        <p:tgtEl>
                                          <p:spTgt spid="190"/>
                                        </p:tgtEl>
                                      </p:cBhvr>
                                    </p:animEffect>
                                    <p:animScale>
                                      <p:cBhvr>
                                        <p:cTn id="141" dur="1000" autoRev="1" fill="hold"/>
                                        <p:tgtEl>
                                          <p:spTgt spid="190"/>
                                        </p:tgtEl>
                                      </p:cBhvr>
                                      <p:by x="105000" y="105000"/>
                                    </p:animScale>
                                  </p:childTnLst>
                                </p:cTn>
                              </p:par>
                              <p:par>
                                <p:cTn id="142" presetID="26" presetClass="emph" presetSubtype="0" dur="2000" repeatCount="indefinite" fill="hold" grpId="0" nodeType="withEffect">
                                  <p:stCondLst>
                                    <p:cond delay="1000"/>
                                  </p:stCondLst>
                                  <p:childTnLst>
                                    <p:animEffect transition="out" filter="fade">
                                      <p:cBhvr>
                                        <p:cTn id="143" dur="2000" tmFilter="0, 0; .2, .5; .8, .5; 1, 0"/>
                                        <p:tgtEl>
                                          <p:spTgt spid="207"/>
                                        </p:tgtEl>
                                      </p:cBhvr>
                                    </p:animEffect>
                                    <p:animScale>
                                      <p:cBhvr>
                                        <p:cTn id="144" dur="1000" autoRev="1" fill="hold"/>
                                        <p:tgtEl>
                                          <p:spTgt spid="207"/>
                                        </p:tgtEl>
                                      </p:cBhvr>
                                      <p:by x="105000" y="105000"/>
                                    </p:animScale>
                                  </p:childTnLst>
                                </p:cTn>
                              </p:par>
                              <p:par>
                                <p:cTn id="145" presetID="26" presetClass="emph" presetSubtype="0" dur="2000" repeatCount="indefinite" fill="hold" grpId="0" nodeType="withEffect">
                                  <p:stCondLst>
                                    <p:cond delay="1000"/>
                                  </p:stCondLst>
                                  <p:childTnLst>
                                    <p:animEffect transition="out" filter="fade">
                                      <p:cBhvr>
                                        <p:cTn id="146" dur="2000" tmFilter="0, 0; .2, .5; .8, .5; 1, 0"/>
                                        <p:tgtEl>
                                          <p:spTgt spid="223"/>
                                        </p:tgtEl>
                                      </p:cBhvr>
                                    </p:animEffect>
                                    <p:animScale>
                                      <p:cBhvr>
                                        <p:cTn id="147" dur="1000" autoRev="1" fill="hold"/>
                                        <p:tgtEl>
                                          <p:spTgt spid="223"/>
                                        </p:tgtEl>
                                      </p:cBhvr>
                                      <p:by x="105000" y="105000"/>
                                    </p:animScale>
                                  </p:childTnLst>
                                </p:cTn>
                              </p:par>
                              <p:par>
                                <p:cTn id="148" presetID="26" presetClass="emph" presetSubtype="0" dur="2000" repeatCount="indefinite" fill="hold" grpId="0" nodeType="withEffect">
                                  <p:stCondLst>
                                    <p:cond delay="1250"/>
                                  </p:stCondLst>
                                  <p:childTnLst>
                                    <p:animEffect transition="out" filter="fade">
                                      <p:cBhvr>
                                        <p:cTn id="149" dur="2000" tmFilter="0, 0; .2, .5; .8, .5; 1, 0"/>
                                        <p:tgtEl>
                                          <p:spTgt spid="12"/>
                                        </p:tgtEl>
                                      </p:cBhvr>
                                    </p:animEffect>
                                    <p:animScale>
                                      <p:cBhvr>
                                        <p:cTn id="150" dur="1000" autoRev="1" fill="hold"/>
                                        <p:tgtEl>
                                          <p:spTgt spid="12"/>
                                        </p:tgtEl>
                                      </p:cBhvr>
                                      <p:by x="105000" y="105000"/>
                                    </p:animScale>
                                  </p:childTnLst>
                                </p:cTn>
                              </p:par>
                              <p:par>
                                <p:cTn id="151" presetID="26" presetClass="emph" presetSubtype="0" dur="2000" repeatCount="indefinite" fill="hold" grpId="0" nodeType="withEffect">
                                  <p:stCondLst>
                                    <p:cond delay="1250"/>
                                  </p:stCondLst>
                                  <p:childTnLst>
                                    <p:animEffect transition="out" filter="fade">
                                      <p:cBhvr>
                                        <p:cTn id="152" dur="2000" tmFilter="0, 0; .2, .5; .8, .5; 1, 0"/>
                                        <p:tgtEl>
                                          <p:spTgt spid="27"/>
                                        </p:tgtEl>
                                      </p:cBhvr>
                                    </p:animEffect>
                                    <p:animScale>
                                      <p:cBhvr>
                                        <p:cTn id="153" dur="1000" autoRev="1" fill="hold"/>
                                        <p:tgtEl>
                                          <p:spTgt spid="27"/>
                                        </p:tgtEl>
                                      </p:cBhvr>
                                      <p:by x="105000" y="105000"/>
                                    </p:animScale>
                                  </p:childTnLst>
                                </p:cTn>
                              </p:par>
                              <p:par>
                                <p:cTn id="154" presetID="26" presetClass="emph" presetSubtype="0" dur="2000" repeatCount="indefinite" fill="hold" grpId="0" nodeType="withEffect">
                                  <p:stCondLst>
                                    <p:cond delay="1250"/>
                                  </p:stCondLst>
                                  <p:childTnLst>
                                    <p:animEffect transition="out" filter="fade">
                                      <p:cBhvr>
                                        <p:cTn id="155" dur="2000" tmFilter="0, 0; .2, .5; .8, .5; 1, 0"/>
                                        <p:tgtEl>
                                          <p:spTgt spid="43"/>
                                        </p:tgtEl>
                                      </p:cBhvr>
                                    </p:animEffect>
                                    <p:animScale>
                                      <p:cBhvr>
                                        <p:cTn id="156" dur="1000" autoRev="1" fill="hold"/>
                                        <p:tgtEl>
                                          <p:spTgt spid="43"/>
                                        </p:tgtEl>
                                      </p:cBhvr>
                                      <p:by x="105000" y="105000"/>
                                    </p:animScale>
                                  </p:childTnLst>
                                </p:cTn>
                              </p:par>
                              <p:par>
                                <p:cTn id="157" presetID="26" presetClass="emph" presetSubtype="0" dur="2000" repeatCount="indefinite" fill="hold" grpId="0" nodeType="withEffect">
                                  <p:stCondLst>
                                    <p:cond delay="1250"/>
                                  </p:stCondLst>
                                  <p:childTnLst>
                                    <p:animEffect transition="out" filter="fade">
                                      <p:cBhvr>
                                        <p:cTn id="158" dur="2000" tmFilter="0, 0; .2, .5; .8, .5; 1, 0"/>
                                        <p:tgtEl>
                                          <p:spTgt spid="59"/>
                                        </p:tgtEl>
                                      </p:cBhvr>
                                    </p:animEffect>
                                    <p:animScale>
                                      <p:cBhvr>
                                        <p:cTn id="159" dur="1000" autoRev="1" fill="hold"/>
                                        <p:tgtEl>
                                          <p:spTgt spid="59"/>
                                        </p:tgtEl>
                                      </p:cBhvr>
                                      <p:by x="105000" y="105000"/>
                                    </p:animScale>
                                  </p:childTnLst>
                                </p:cTn>
                              </p:par>
                              <p:par>
                                <p:cTn id="160" presetID="26" presetClass="emph" presetSubtype="0" dur="2000" repeatCount="indefinite" fill="hold" grpId="0" nodeType="withEffect">
                                  <p:stCondLst>
                                    <p:cond delay="1250"/>
                                  </p:stCondLst>
                                  <p:childTnLst>
                                    <p:animEffect transition="out" filter="fade">
                                      <p:cBhvr>
                                        <p:cTn id="161" dur="2000" tmFilter="0, 0; .2, .5; .8, .5; 1, 0"/>
                                        <p:tgtEl>
                                          <p:spTgt spid="75"/>
                                        </p:tgtEl>
                                      </p:cBhvr>
                                    </p:animEffect>
                                    <p:animScale>
                                      <p:cBhvr>
                                        <p:cTn id="162" dur="1000" autoRev="1" fill="hold"/>
                                        <p:tgtEl>
                                          <p:spTgt spid="75"/>
                                        </p:tgtEl>
                                      </p:cBhvr>
                                      <p:by x="105000" y="105000"/>
                                    </p:animScale>
                                  </p:childTnLst>
                                </p:cTn>
                              </p:par>
                              <p:par>
                                <p:cTn id="163" presetID="26" presetClass="emph" presetSubtype="0" dur="2000" repeatCount="indefinite" fill="hold" grpId="0" nodeType="withEffect">
                                  <p:stCondLst>
                                    <p:cond delay="1250"/>
                                  </p:stCondLst>
                                  <p:childTnLst>
                                    <p:animEffect transition="out" filter="fade">
                                      <p:cBhvr>
                                        <p:cTn id="164" dur="2000" tmFilter="0, 0; .2, .5; .8, .5; 1, 0"/>
                                        <p:tgtEl>
                                          <p:spTgt spid="91"/>
                                        </p:tgtEl>
                                      </p:cBhvr>
                                    </p:animEffect>
                                    <p:animScale>
                                      <p:cBhvr>
                                        <p:cTn id="165" dur="1000" autoRev="1" fill="hold"/>
                                        <p:tgtEl>
                                          <p:spTgt spid="91"/>
                                        </p:tgtEl>
                                      </p:cBhvr>
                                      <p:by x="105000" y="105000"/>
                                    </p:animScale>
                                  </p:childTnLst>
                                </p:cTn>
                              </p:par>
                              <p:par>
                                <p:cTn id="166" presetID="26" presetClass="emph" presetSubtype="0" dur="2000" repeatCount="indefinite" fill="hold" grpId="0" nodeType="withEffect">
                                  <p:stCondLst>
                                    <p:cond delay="1250"/>
                                  </p:stCondLst>
                                  <p:childTnLst>
                                    <p:animEffect transition="out" filter="fade">
                                      <p:cBhvr>
                                        <p:cTn id="167" dur="2000" tmFilter="0, 0; .2, .5; .8, .5; 1, 0"/>
                                        <p:tgtEl>
                                          <p:spTgt spid="107"/>
                                        </p:tgtEl>
                                      </p:cBhvr>
                                    </p:animEffect>
                                    <p:animScale>
                                      <p:cBhvr>
                                        <p:cTn id="168" dur="1000" autoRev="1" fill="hold"/>
                                        <p:tgtEl>
                                          <p:spTgt spid="107"/>
                                        </p:tgtEl>
                                      </p:cBhvr>
                                      <p:by x="105000" y="105000"/>
                                    </p:animScale>
                                  </p:childTnLst>
                                </p:cTn>
                              </p:par>
                              <p:par>
                                <p:cTn id="169" presetID="26" presetClass="emph" presetSubtype="0" dur="2000" repeatCount="indefinite" fill="hold" grpId="0" nodeType="withEffect">
                                  <p:stCondLst>
                                    <p:cond delay="1250"/>
                                  </p:stCondLst>
                                  <p:childTnLst>
                                    <p:animEffect transition="out" filter="fade">
                                      <p:cBhvr>
                                        <p:cTn id="170" dur="2000" tmFilter="0, 0; .2, .5; .8, .5; 1, 0"/>
                                        <p:tgtEl>
                                          <p:spTgt spid="123"/>
                                        </p:tgtEl>
                                      </p:cBhvr>
                                    </p:animEffect>
                                    <p:animScale>
                                      <p:cBhvr>
                                        <p:cTn id="171" dur="1000" autoRev="1" fill="hold"/>
                                        <p:tgtEl>
                                          <p:spTgt spid="123"/>
                                        </p:tgtEl>
                                      </p:cBhvr>
                                      <p:by x="105000" y="105000"/>
                                    </p:animScale>
                                  </p:childTnLst>
                                </p:cTn>
                              </p:par>
                              <p:par>
                                <p:cTn id="172" presetID="26" presetClass="emph" presetSubtype="0" dur="2000" repeatCount="indefinite" fill="hold" grpId="0" nodeType="withEffect">
                                  <p:stCondLst>
                                    <p:cond delay="1250"/>
                                  </p:stCondLst>
                                  <p:childTnLst>
                                    <p:animEffect transition="out" filter="fade">
                                      <p:cBhvr>
                                        <p:cTn id="173" dur="2000" tmFilter="0, 0; .2, .5; .8, .5; 1, 0"/>
                                        <p:tgtEl>
                                          <p:spTgt spid="140"/>
                                        </p:tgtEl>
                                      </p:cBhvr>
                                    </p:animEffect>
                                    <p:animScale>
                                      <p:cBhvr>
                                        <p:cTn id="174" dur="1000" autoRev="1" fill="hold"/>
                                        <p:tgtEl>
                                          <p:spTgt spid="140"/>
                                        </p:tgtEl>
                                      </p:cBhvr>
                                      <p:by x="105000" y="105000"/>
                                    </p:animScale>
                                  </p:childTnLst>
                                </p:cTn>
                              </p:par>
                              <p:par>
                                <p:cTn id="175" presetID="26" presetClass="emph" presetSubtype="0" dur="2000" repeatCount="indefinite" fill="hold" grpId="0" nodeType="withEffect">
                                  <p:stCondLst>
                                    <p:cond delay="1250"/>
                                  </p:stCondLst>
                                  <p:childTnLst>
                                    <p:animEffect transition="out" filter="fade">
                                      <p:cBhvr>
                                        <p:cTn id="176" dur="2000" tmFilter="0, 0; .2, .5; .8, .5; 1, 0"/>
                                        <p:tgtEl>
                                          <p:spTgt spid="157"/>
                                        </p:tgtEl>
                                      </p:cBhvr>
                                    </p:animEffect>
                                    <p:animScale>
                                      <p:cBhvr>
                                        <p:cTn id="177" dur="1000" autoRev="1" fill="hold"/>
                                        <p:tgtEl>
                                          <p:spTgt spid="157"/>
                                        </p:tgtEl>
                                      </p:cBhvr>
                                      <p:by x="105000" y="105000"/>
                                    </p:animScale>
                                  </p:childTnLst>
                                </p:cTn>
                              </p:par>
                              <p:par>
                                <p:cTn id="178" presetID="26" presetClass="emph" presetSubtype="0" dur="2000" repeatCount="indefinite" fill="hold" grpId="0" nodeType="withEffect">
                                  <p:stCondLst>
                                    <p:cond delay="1250"/>
                                  </p:stCondLst>
                                  <p:childTnLst>
                                    <p:animEffect transition="out" filter="fade">
                                      <p:cBhvr>
                                        <p:cTn id="179" dur="2000" tmFilter="0, 0; .2, .5; .8, .5; 1, 0"/>
                                        <p:tgtEl>
                                          <p:spTgt spid="174"/>
                                        </p:tgtEl>
                                      </p:cBhvr>
                                    </p:animEffect>
                                    <p:animScale>
                                      <p:cBhvr>
                                        <p:cTn id="180" dur="1000" autoRev="1" fill="hold"/>
                                        <p:tgtEl>
                                          <p:spTgt spid="174"/>
                                        </p:tgtEl>
                                      </p:cBhvr>
                                      <p:by x="105000" y="105000"/>
                                    </p:animScale>
                                  </p:childTnLst>
                                </p:cTn>
                              </p:par>
                              <p:par>
                                <p:cTn id="181" presetID="26" presetClass="emph" presetSubtype="0" dur="2000" repeatCount="indefinite" fill="hold" grpId="0" nodeType="withEffect">
                                  <p:stCondLst>
                                    <p:cond delay="1250"/>
                                  </p:stCondLst>
                                  <p:childTnLst>
                                    <p:animEffect transition="out" filter="fade">
                                      <p:cBhvr>
                                        <p:cTn id="182" dur="2000" tmFilter="0, 0; .2, .5; .8, .5; 1, 0"/>
                                        <p:tgtEl>
                                          <p:spTgt spid="191"/>
                                        </p:tgtEl>
                                      </p:cBhvr>
                                    </p:animEffect>
                                    <p:animScale>
                                      <p:cBhvr>
                                        <p:cTn id="183" dur="1000" autoRev="1" fill="hold"/>
                                        <p:tgtEl>
                                          <p:spTgt spid="191"/>
                                        </p:tgtEl>
                                      </p:cBhvr>
                                      <p:by x="105000" y="105000"/>
                                    </p:animScale>
                                  </p:childTnLst>
                                </p:cTn>
                              </p:par>
                              <p:par>
                                <p:cTn id="184" presetID="26" presetClass="emph" presetSubtype="0" dur="2000" repeatCount="indefinite" fill="hold" grpId="0" nodeType="withEffect">
                                  <p:stCondLst>
                                    <p:cond delay="1250"/>
                                  </p:stCondLst>
                                  <p:childTnLst>
                                    <p:animEffect transition="out" filter="fade">
                                      <p:cBhvr>
                                        <p:cTn id="185" dur="2000" tmFilter="0, 0; .2, .5; .8, .5; 1, 0"/>
                                        <p:tgtEl>
                                          <p:spTgt spid="208"/>
                                        </p:tgtEl>
                                      </p:cBhvr>
                                    </p:animEffect>
                                    <p:animScale>
                                      <p:cBhvr>
                                        <p:cTn id="186" dur="1000" autoRev="1" fill="hold"/>
                                        <p:tgtEl>
                                          <p:spTgt spid="208"/>
                                        </p:tgtEl>
                                      </p:cBhvr>
                                      <p:by x="105000" y="105000"/>
                                    </p:animScale>
                                  </p:childTnLst>
                                </p:cTn>
                              </p:par>
                              <p:par>
                                <p:cTn id="187" presetID="26" presetClass="emph" presetSubtype="0" dur="2000" repeatCount="indefinite" fill="hold" grpId="0" nodeType="withEffect">
                                  <p:stCondLst>
                                    <p:cond delay="1250"/>
                                  </p:stCondLst>
                                  <p:childTnLst>
                                    <p:animEffect transition="out" filter="fade">
                                      <p:cBhvr>
                                        <p:cTn id="188" dur="2000" tmFilter="0, 0; .2, .5; .8, .5; 1, 0"/>
                                        <p:tgtEl>
                                          <p:spTgt spid="224"/>
                                        </p:tgtEl>
                                      </p:cBhvr>
                                    </p:animEffect>
                                    <p:animScale>
                                      <p:cBhvr>
                                        <p:cTn id="189" dur="1000" autoRev="1" fill="hold"/>
                                        <p:tgtEl>
                                          <p:spTgt spid="224"/>
                                        </p:tgtEl>
                                      </p:cBhvr>
                                      <p:by x="105000" y="105000"/>
                                    </p:animScale>
                                  </p:childTnLst>
                                </p:cTn>
                              </p:par>
                              <p:par>
                                <p:cTn id="190" presetID="26" presetClass="emph" presetSubtype="0" dur="2000" repeatCount="indefinite" fill="hold" grpId="0" nodeType="withEffect">
                                  <p:stCondLst>
                                    <p:cond delay="1500"/>
                                  </p:stCondLst>
                                  <p:childTnLst>
                                    <p:animEffect transition="out" filter="fade">
                                      <p:cBhvr>
                                        <p:cTn id="191" dur="2000" tmFilter="0, 0; .2, .5; .8, .5; 1, 0"/>
                                        <p:tgtEl>
                                          <p:spTgt spid="13"/>
                                        </p:tgtEl>
                                      </p:cBhvr>
                                    </p:animEffect>
                                    <p:animScale>
                                      <p:cBhvr>
                                        <p:cTn id="192" dur="1000" autoRev="1" fill="hold"/>
                                        <p:tgtEl>
                                          <p:spTgt spid="13"/>
                                        </p:tgtEl>
                                      </p:cBhvr>
                                      <p:by x="105000" y="105000"/>
                                    </p:animScale>
                                  </p:childTnLst>
                                </p:cTn>
                              </p:par>
                              <p:par>
                                <p:cTn id="193" presetID="26" presetClass="emph" presetSubtype="0" dur="2000" repeatCount="indefinite" fill="hold" grpId="0" nodeType="withEffect">
                                  <p:stCondLst>
                                    <p:cond delay="1500"/>
                                  </p:stCondLst>
                                  <p:childTnLst>
                                    <p:animEffect transition="out" filter="fade">
                                      <p:cBhvr>
                                        <p:cTn id="194" dur="2000" tmFilter="0, 0; .2, .5; .8, .5; 1, 0"/>
                                        <p:tgtEl>
                                          <p:spTgt spid="28"/>
                                        </p:tgtEl>
                                      </p:cBhvr>
                                    </p:animEffect>
                                    <p:animScale>
                                      <p:cBhvr>
                                        <p:cTn id="195" dur="1000" autoRev="1" fill="hold"/>
                                        <p:tgtEl>
                                          <p:spTgt spid="28"/>
                                        </p:tgtEl>
                                      </p:cBhvr>
                                      <p:by x="105000" y="105000"/>
                                    </p:animScale>
                                  </p:childTnLst>
                                </p:cTn>
                              </p:par>
                              <p:par>
                                <p:cTn id="196" presetID="26" presetClass="emph" presetSubtype="0" dur="2000" repeatCount="indefinite" fill="hold" grpId="0" nodeType="withEffect">
                                  <p:stCondLst>
                                    <p:cond delay="1500"/>
                                  </p:stCondLst>
                                  <p:childTnLst>
                                    <p:animEffect transition="out" filter="fade">
                                      <p:cBhvr>
                                        <p:cTn id="197" dur="2000" tmFilter="0, 0; .2, .5; .8, .5; 1, 0"/>
                                        <p:tgtEl>
                                          <p:spTgt spid="44"/>
                                        </p:tgtEl>
                                      </p:cBhvr>
                                    </p:animEffect>
                                    <p:animScale>
                                      <p:cBhvr>
                                        <p:cTn id="198" dur="1000" autoRev="1" fill="hold"/>
                                        <p:tgtEl>
                                          <p:spTgt spid="44"/>
                                        </p:tgtEl>
                                      </p:cBhvr>
                                      <p:by x="105000" y="105000"/>
                                    </p:animScale>
                                  </p:childTnLst>
                                </p:cTn>
                              </p:par>
                              <p:par>
                                <p:cTn id="199" presetID="26" presetClass="emph" presetSubtype="0" dur="2000" repeatCount="indefinite" fill="hold" grpId="0" nodeType="withEffect">
                                  <p:stCondLst>
                                    <p:cond delay="1500"/>
                                  </p:stCondLst>
                                  <p:childTnLst>
                                    <p:animEffect transition="out" filter="fade">
                                      <p:cBhvr>
                                        <p:cTn id="200" dur="2000" tmFilter="0, 0; .2, .5; .8, .5; 1, 0"/>
                                        <p:tgtEl>
                                          <p:spTgt spid="60"/>
                                        </p:tgtEl>
                                      </p:cBhvr>
                                    </p:animEffect>
                                    <p:animScale>
                                      <p:cBhvr>
                                        <p:cTn id="201" dur="1000" autoRev="1" fill="hold"/>
                                        <p:tgtEl>
                                          <p:spTgt spid="60"/>
                                        </p:tgtEl>
                                      </p:cBhvr>
                                      <p:by x="105000" y="105000"/>
                                    </p:animScale>
                                  </p:childTnLst>
                                </p:cTn>
                              </p:par>
                              <p:par>
                                <p:cTn id="202" presetID="26" presetClass="emph" presetSubtype="0" dur="2000" repeatCount="indefinite" fill="hold" grpId="0" nodeType="withEffect">
                                  <p:stCondLst>
                                    <p:cond delay="1500"/>
                                  </p:stCondLst>
                                  <p:childTnLst>
                                    <p:animEffect transition="out" filter="fade">
                                      <p:cBhvr>
                                        <p:cTn id="203" dur="2000" tmFilter="0, 0; .2, .5; .8, .5; 1, 0"/>
                                        <p:tgtEl>
                                          <p:spTgt spid="76"/>
                                        </p:tgtEl>
                                      </p:cBhvr>
                                    </p:animEffect>
                                    <p:animScale>
                                      <p:cBhvr>
                                        <p:cTn id="204" dur="1000" autoRev="1" fill="hold"/>
                                        <p:tgtEl>
                                          <p:spTgt spid="76"/>
                                        </p:tgtEl>
                                      </p:cBhvr>
                                      <p:by x="105000" y="105000"/>
                                    </p:animScale>
                                  </p:childTnLst>
                                </p:cTn>
                              </p:par>
                              <p:par>
                                <p:cTn id="205" presetID="26" presetClass="emph" presetSubtype="0" dur="2000" repeatCount="indefinite" fill="hold" grpId="0" nodeType="withEffect">
                                  <p:stCondLst>
                                    <p:cond delay="1500"/>
                                  </p:stCondLst>
                                  <p:childTnLst>
                                    <p:animEffect transition="out" filter="fade">
                                      <p:cBhvr>
                                        <p:cTn id="206" dur="2000" tmFilter="0, 0; .2, .5; .8, .5; 1, 0"/>
                                        <p:tgtEl>
                                          <p:spTgt spid="92"/>
                                        </p:tgtEl>
                                      </p:cBhvr>
                                    </p:animEffect>
                                    <p:animScale>
                                      <p:cBhvr>
                                        <p:cTn id="207" dur="1000" autoRev="1" fill="hold"/>
                                        <p:tgtEl>
                                          <p:spTgt spid="92"/>
                                        </p:tgtEl>
                                      </p:cBhvr>
                                      <p:by x="105000" y="105000"/>
                                    </p:animScale>
                                  </p:childTnLst>
                                </p:cTn>
                              </p:par>
                              <p:par>
                                <p:cTn id="208" presetID="26" presetClass="emph" presetSubtype="0" dur="2000" repeatCount="indefinite" fill="hold" grpId="0" nodeType="withEffect">
                                  <p:stCondLst>
                                    <p:cond delay="1500"/>
                                  </p:stCondLst>
                                  <p:childTnLst>
                                    <p:animEffect transition="out" filter="fade">
                                      <p:cBhvr>
                                        <p:cTn id="209" dur="2000" tmFilter="0, 0; .2, .5; .8, .5; 1, 0"/>
                                        <p:tgtEl>
                                          <p:spTgt spid="108"/>
                                        </p:tgtEl>
                                      </p:cBhvr>
                                    </p:animEffect>
                                    <p:animScale>
                                      <p:cBhvr>
                                        <p:cTn id="210" dur="1000" autoRev="1" fill="hold"/>
                                        <p:tgtEl>
                                          <p:spTgt spid="108"/>
                                        </p:tgtEl>
                                      </p:cBhvr>
                                      <p:by x="105000" y="105000"/>
                                    </p:animScale>
                                  </p:childTnLst>
                                </p:cTn>
                              </p:par>
                              <p:par>
                                <p:cTn id="211" presetID="26" presetClass="emph" presetSubtype="0" dur="2000" repeatCount="indefinite" fill="hold" grpId="0" nodeType="withEffect">
                                  <p:stCondLst>
                                    <p:cond delay="1500"/>
                                  </p:stCondLst>
                                  <p:childTnLst>
                                    <p:animEffect transition="out" filter="fade">
                                      <p:cBhvr>
                                        <p:cTn id="212" dur="2000" tmFilter="0, 0; .2, .5; .8, .5; 1, 0"/>
                                        <p:tgtEl>
                                          <p:spTgt spid="124"/>
                                        </p:tgtEl>
                                      </p:cBhvr>
                                    </p:animEffect>
                                    <p:animScale>
                                      <p:cBhvr>
                                        <p:cTn id="213" dur="1000" autoRev="1" fill="hold"/>
                                        <p:tgtEl>
                                          <p:spTgt spid="124"/>
                                        </p:tgtEl>
                                      </p:cBhvr>
                                      <p:by x="105000" y="105000"/>
                                    </p:animScale>
                                  </p:childTnLst>
                                </p:cTn>
                              </p:par>
                              <p:par>
                                <p:cTn id="214" presetID="26" presetClass="emph" presetSubtype="0" dur="2000" repeatCount="indefinite" fill="hold" grpId="0" nodeType="withEffect">
                                  <p:stCondLst>
                                    <p:cond delay="1500"/>
                                  </p:stCondLst>
                                  <p:childTnLst>
                                    <p:animEffect transition="out" filter="fade">
                                      <p:cBhvr>
                                        <p:cTn id="215" dur="2000" tmFilter="0, 0; .2, .5; .8, .5; 1, 0"/>
                                        <p:tgtEl>
                                          <p:spTgt spid="141"/>
                                        </p:tgtEl>
                                      </p:cBhvr>
                                    </p:animEffect>
                                    <p:animScale>
                                      <p:cBhvr>
                                        <p:cTn id="216" dur="1000" autoRev="1" fill="hold"/>
                                        <p:tgtEl>
                                          <p:spTgt spid="141"/>
                                        </p:tgtEl>
                                      </p:cBhvr>
                                      <p:by x="105000" y="105000"/>
                                    </p:animScale>
                                  </p:childTnLst>
                                </p:cTn>
                              </p:par>
                              <p:par>
                                <p:cTn id="217" presetID="26" presetClass="emph" presetSubtype="0" dur="2000" repeatCount="indefinite" fill="hold" grpId="0" nodeType="withEffect">
                                  <p:stCondLst>
                                    <p:cond delay="1500"/>
                                  </p:stCondLst>
                                  <p:childTnLst>
                                    <p:animEffect transition="out" filter="fade">
                                      <p:cBhvr>
                                        <p:cTn id="218" dur="2000" tmFilter="0, 0; .2, .5; .8, .5; 1, 0"/>
                                        <p:tgtEl>
                                          <p:spTgt spid="158"/>
                                        </p:tgtEl>
                                      </p:cBhvr>
                                    </p:animEffect>
                                    <p:animScale>
                                      <p:cBhvr>
                                        <p:cTn id="219" dur="1000" autoRev="1" fill="hold"/>
                                        <p:tgtEl>
                                          <p:spTgt spid="158"/>
                                        </p:tgtEl>
                                      </p:cBhvr>
                                      <p:by x="105000" y="105000"/>
                                    </p:animScale>
                                  </p:childTnLst>
                                </p:cTn>
                              </p:par>
                              <p:par>
                                <p:cTn id="220" presetID="26" presetClass="emph" presetSubtype="0" dur="2000" repeatCount="indefinite" fill="hold" grpId="0" nodeType="withEffect">
                                  <p:stCondLst>
                                    <p:cond delay="1500"/>
                                  </p:stCondLst>
                                  <p:childTnLst>
                                    <p:animEffect transition="out" filter="fade">
                                      <p:cBhvr>
                                        <p:cTn id="221" dur="2000" tmFilter="0, 0; .2, .5; .8, .5; 1, 0"/>
                                        <p:tgtEl>
                                          <p:spTgt spid="175"/>
                                        </p:tgtEl>
                                      </p:cBhvr>
                                    </p:animEffect>
                                    <p:animScale>
                                      <p:cBhvr>
                                        <p:cTn id="222" dur="1000" autoRev="1" fill="hold"/>
                                        <p:tgtEl>
                                          <p:spTgt spid="175"/>
                                        </p:tgtEl>
                                      </p:cBhvr>
                                      <p:by x="105000" y="105000"/>
                                    </p:animScale>
                                  </p:childTnLst>
                                </p:cTn>
                              </p:par>
                              <p:par>
                                <p:cTn id="223" presetID="26" presetClass="emph" presetSubtype="0" dur="2000" repeatCount="indefinite" fill="hold" grpId="0" nodeType="withEffect">
                                  <p:stCondLst>
                                    <p:cond delay="1500"/>
                                  </p:stCondLst>
                                  <p:childTnLst>
                                    <p:animEffect transition="out" filter="fade">
                                      <p:cBhvr>
                                        <p:cTn id="224" dur="2000" tmFilter="0, 0; .2, .5; .8, .5; 1, 0"/>
                                        <p:tgtEl>
                                          <p:spTgt spid="192"/>
                                        </p:tgtEl>
                                      </p:cBhvr>
                                    </p:animEffect>
                                    <p:animScale>
                                      <p:cBhvr>
                                        <p:cTn id="225" dur="1000" autoRev="1" fill="hold"/>
                                        <p:tgtEl>
                                          <p:spTgt spid="192"/>
                                        </p:tgtEl>
                                      </p:cBhvr>
                                      <p:by x="105000" y="105000"/>
                                    </p:animScale>
                                  </p:childTnLst>
                                </p:cTn>
                              </p:par>
                              <p:par>
                                <p:cTn id="226" presetID="26" presetClass="emph" presetSubtype="0" dur="2000" repeatCount="indefinite" fill="hold" grpId="0" nodeType="withEffect">
                                  <p:stCondLst>
                                    <p:cond delay="1500"/>
                                  </p:stCondLst>
                                  <p:childTnLst>
                                    <p:animEffect transition="out" filter="fade">
                                      <p:cBhvr>
                                        <p:cTn id="227" dur="2000" tmFilter="0, 0; .2, .5; .8, .5; 1, 0"/>
                                        <p:tgtEl>
                                          <p:spTgt spid="209"/>
                                        </p:tgtEl>
                                      </p:cBhvr>
                                    </p:animEffect>
                                    <p:animScale>
                                      <p:cBhvr>
                                        <p:cTn id="228" dur="1000" autoRev="1" fill="hold"/>
                                        <p:tgtEl>
                                          <p:spTgt spid="209"/>
                                        </p:tgtEl>
                                      </p:cBhvr>
                                      <p:by x="105000" y="105000"/>
                                    </p:animScale>
                                  </p:childTnLst>
                                </p:cTn>
                              </p:par>
                              <p:par>
                                <p:cTn id="229" presetID="26" presetClass="emph" presetSubtype="0" dur="2000" repeatCount="indefinite" fill="hold" grpId="0" nodeType="withEffect">
                                  <p:stCondLst>
                                    <p:cond delay="1500"/>
                                  </p:stCondLst>
                                  <p:childTnLst>
                                    <p:animEffect transition="out" filter="fade">
                                      <p:cBhvr>
                                        <p:cTn id="230" dur="2000" tmFilter="0, 0; .2, .5; .8, .5; 1, 0"/>
                                        <p:tgtEl>
                                          <p:spTgt spid="225"/>
                                        </p:tgtEl>
                                      </p:cBhvr>
                                    </p:animEffect>
                                    <p:animScale>
                                      <p:cBhvr>
                                        <p:cTn id="231" dur="1000" autoRev="1" fill="hold"/>
                                        <p:tgtEl>
                                          <p:spTgt spid="225"/>
                                        </p:tgtEl>
                                      </p:cBhvr>
                                      <p:by x="105000" y="105000"/>
                                    </p:animScale>
                                  </p:childTnLst>
                                </p:cTn>
                              </p:par>
                              <p:par>
                                <p:cTn id="232" presetID="26" presetClass="emph" presetSubtype="0" dur="2000" repeatCount="indefinite" fill="hold" grpId="0" nodeType="withEffect">
                                  <p:stCondLst>
                                    <p:cond delay="1750"/>
                                  </p:stCondLst>
                                  <p:childTnLst>
                                    <p:animEffect transition="out" filter="fade">
                                      <p:cBhvr>
                                        <p:cTn id="233" dur="2000" tmFilter="0, 0; .2, .5; .8, .5; 1, 0"/>
                                        <p:tgtEl>
                                          <p:spTgt spid="14"/>
                                        </p:tgtEl>
                                      </p:cBhvr>
                                    </p:animEffect>
                                    <p:animScale>
                                      <p:cBhvr>
                                        <p:cTn id="234" dur="1000" autoRev="1" fill="hold"/>
                                        <p:tgtEl>
                                          <p:spTgt spid="14"/>
                                        </p:tgtEl>
                                      </p:cBhvr>
                                      <p:by x="105000" y="105000"/>
                                    </p:animScale>
                                  </p:childTnLst>
                                </p:cTn>
                              </p:par>
                              <p:par>
                                <p:cTn id="235" presetID="26" presetClass="emph" presetSubtype="0" dur="2000" repeatCount="indefinite" fill="hold" grpId="0" nodeType="withEffect">
                                  <p:stCondLst>
                                    <p:cond delay="1750"/>
                                  </p:stCondLst>
                                  <p:childTnLst>
                                    <p:animEffect transition="out" filter="fade">
                                      <p:cBhvr>
                                        <p:cTn id="236" dur="2000" tmFilter="0, 0; .2, .5; .8, .5; 1, 0"/>
                                        <p:tgtEl>
                                          <p:spTgt spid="29"/>
                                        </p:tgtEl>
                                      </p:cBhvr>
                                    </p:animEffect>
                                    <p:animScale>
                                      <p:cBhvr>
                                        <p:cTn id="237" dur="1000" autoRev="1" fill="hold"/>
                                        <p:tgtEl>
                                          <p:spTgt spid="29"/>
                                        </p:tgtEl>
                                      </p:cBhvr>
                                      <p:by x="105000" y="105000"/>
                                    </p:animScale>
                                  </p:childTnLst>
                                </p:cTn>
                              </p:par>
                              <p:par>
                                <p:cTn id="238" presetID="26" presetClass="emph" presetSubtype="0" dur="2000" repeatCount="indefinite" fill="hold" grpId="0" nodeType="withEffect">
                                  <p:stCondLst>
                                    <p:cond delay="1750"/>
                                  </p:stCondLst>
                                  <p:childTnLst>
                                    <p:animEffect transition="out" filter="fade">
                                      <p:cBhvr>
                                        <p:cTn id="239" dur="2000" tmFilter="0, 0; .2, .5; .8, .5; 1, 0"/>
                                        <p:tgtEl>
                                          <p:spTgt spid="45"/>
                                        </p:tgtEl>
                                      </p:cBhvr>
                                    </p:animEffect>
                                    <p:animScale>
                                      <p:cBhvr>
                                        <p:cTn id="240" dur="1000" autoRev="1" fill="hold"/>
                                        <p:tgtEl>
                                          <p:spTgt spid="45"/>
                                        </p:tgtEl>
                                      </p:cBhvr>
                                      <p:by x="105000" y="105000"/>
                                    </p:animScale>
                                  </p:childTnLst>
                                </p:cTn>
                              </p:par>
                              <p:par>
                                <p:cTn id="241" presetID="26" presetClass="emph" presetSubtype="0" dur="2000" repeatCount="indefinite" fill="hold" grpId="0" nodeType="withEffect">
                                  <p:stCondLst>
                                    <p:cond delay="1750"/>
                                  </p:stCondLst>
                                  <p:childTnLst>
                                    <p:animEffect transition="out" filter="fade">
                                      <p:cBhvr>
                                        <p:cTn id="242" dur="2000" tmFilter="0, 0; .2, .5; .8, .5; 1, 0"/>
                                        <p:tgtEl>
                                          <p:spTgt spid="61"/>
                                        </p:tgtEl>
                                      </p:cBhvr>
                                    </p:animEffect>
                                    <p:animScale>
                                      <p:cBhvr>
                                        <p:cTn id="243" dur="1000" autoRev="1" fill="hold"/>
                                        <p:tgtEl>
                                          <p:spTgt spid="61"/>
                                        </p:tgtEl>
                                      </p:cBhvr>
                                      <p:by x="105000" y="105000"/>
                                    </p:animScale>
                                  </p:childTnLst>
                                </p:cTn>
                              </p:par>
                              <p:par>
                                <p:cTn id="244" presetID="26" presetClass="emph" presetSubtype="0" dur="2000" repeatCount="indefinite" fill="hold" grpId="0" nodeType="withEffect">
                                  <p:stCondLst>
                                    <p:cond delay="1750"/>
                                  </p:stCondLst>
                                  <p:childTnLst>
                                    <p:animEffect transition="out" filter="fade">
                                      <p:cBhvr>
                                        <p:cTn id="245" dur="2000" tmFilter="0, 0; .2, .5; .8, .5; 1, 0"/>
                                        <p:tgtEl>
                                          <p:spTgt spid="77"/>
                                        </p:tgtEl>
                                      </p:cBhvr>
                                    </p:animEffect>
                                    <p:animScale>
                                      <p:cBhvr>
                                        <p:cTn id="246" dur="1000" autoRev="1" fill="hold"/>
                                        <p:tgtEl>
                                          <p:spTgt spid="77"/>
                                        </p:tgtEl>
                                      </p:cBhvr>
                                      <p:by x="105000" y="105000"/>
                                    </p:animScale>
                                  </p:childTnLst>
                                </p:cTn>
                              </p:par>
                              <p:par>
                                <p:cTn id="247" presetID="26" presetClass="emph" presetSubtype="0" dur="2000" repeatCount="indefinite" fill="hold" grpId="0" nodeType="withEffect">
                                  <p:stCondLst>
                                    <p:cond delay="1750"/>
                                  </p:stCondLst>
                                  <p:childTnLst>
                                    <p:animEffect transition="out" filter="fade">
                                      <p:cBhvr>
                                        <p:cTn id="248" dur="2000" tmFilter="0, 0; .2, .5; .8, .5; 1, 0"/>
                                        <p:tgtEl>
                                          <p:spTgt spid="93"/>
                                        </p:tgtEl>
                                      </p:cBhvr>
                                    </p:animEffect>
                                    <p:animScale>
                                      <p:cBhvr>
                                        <p:cTn id="249" dur="1000" autoRev="1" fill="hold"/>
                                        <p:tgtEl>
                                          <p:spTgt spid="93"/>
                                        </p:tgtEl>
                                      </p:cBhvr>
                                      <p:by x="105000" y="105000"/>
                                    </p:animScale>
                                  </p:childTnLst>
                                </p:cTn>
                              </p:par>
                              <p:par>
                                <p:cTn id="250" presetID="26" presetClass="emph" presetSubtype="0" dur="2000" repeatCount="indefinite" fill="hold" grpId="0" nodeType="withEffect">
                                  <p:stCondLst>
                                    <p:cond delay="1750"/>
                                  </p:stCondLst>
                                  <p:childTnLst>
                                    <p:animEffect transition="out" filter="fade">
                                      <p:cBhvr>
                                        <p:cTn id="251" dur="2000" tmFilter="0, 0; .2, .5; .8, .5; 1, 0"/>
                                        <p:tgtEl>
                                          <p:spTgt spid="109"/>
                                        </p:tgtEl>
                                      </p:cBhvr>
                                    </p:animEffect>
                                    <p:animScale>
                                      <p:cBhvr>
                                        <p:cTn id="252" dur="1000" autoRev="1" fill="hold"/>
                                        <p:tgtEl>
                                          <p:spTgt spid="109"/>
                                        </p:tgtEl>
                                      </p:cBhvr>
                                      <p:by x="105000" y="105000"/>
                                    </p:animScale>
                                  </p:childTnLst>
                                </p:cTn>
                              </p:par>
                              <p:par>
                                <p:cTn id="253" presetID="26" presetClass="emph" presetSubtype="0" dur="2000" repeatCount="indefinite" fill="hold" grpId="0" nodeType="withEffect">
                                  <p:stCondLst>
                                    <p:cond delay="1750"/>
                                  </p:stCondLst>
                                  <p:childTnLst>
                                    <p:animEffect transition="out" filter="fade">
                                      <p:cBhvr>
                                        <p:cTn id="254" dur="2000" tmFilter="0, 0; .2, .5; .8, .5; 1, 0"/>
                                        <p:tgtEl>
                                          <p:spTgt spid="125"/>
                                        </p:tgtEl>
                                      </p:cBhvr>
                                    </p:animEffect>
                                    <p:animScale>
                                      <p:cBhvr>
                                        <p:cTn id="255" dur="1000" autoRev="1" fill="hold"/>
                                        <p:tgtEl>
                                          <p:spTgt spid="125"/>
                                        </p:tgtEl>
                                      </p:cBhvr>
                                      <p:by x="105000" y="105000"/>
                                    </p:animScale>
                                  </p:childTnLst>
                                </p:cTn>
                              </p:par>
                              <p:par>
                                <p:cTn id="256" presetID="26" presetClass="emph" presetSubtype="0" dur="2000" repeatCount="indefinite" fill="hold" grpId="0" nodeType="withEffect">
                                  <p:stCondLst>
                                    <p:cond delay="1750"/>
                                  </p:stCondLst>
                                  <p:childTnLst>
                                    <p:animEffect transition="out" filter="fade">
                                      <p:cBhvr>
                                        <p:cTn id="257" dur="2000" tmFilter="0, 0; .2, .5; .8, .5; 1, 0"/>
                                        <p:tgtEl>
                                          <p:spTgt spid="142"/>
                                        </p:tgtEl>
                                      </p:cBhvr>
                                    </p:animEffect>
                                    <p:animScale>
                                      <p:cBhvr>
                                        <p:cTn id="258" dur="1000" autoRev="1" fill="hold"/>
                                        <p:tgtEl>
                                          <p:spTgt spid="142"/>
                                        </p:tgtEl>
                                      </p:cBhvr>
                                      <p:by x="105000" y="105000"/>
                                    </p:animScale>
                                  </p:childTnLst>
                                </p:cTn>
                              </p:par>
                              <p:par>
                                <p:cTn id="259" presetID="26" presetClass="emph" presetSubtype="0" dur="2000" repeatCount="indefinite" fill="hold" grpId="0" nodeType="withEffect">
                                  <p:stCondLst>
                                    <p:cond delay="1750"/>
                                  </p:stCondLst>
                                  <p:childTnLst>
                                    <p:animEffect transition="out" filter="fade">
                                      <p:cBhvr>
                                        <p:cTn id="260" dur="2000" tmFilter="0, 0; .2, .5; .8, .5; 1, 0"/>
                                        <p:tgtEl>
                                          <p:spTgt spid="159"/>
                                        </p:tgtEl>
                                      </p:cBhvr>
                                    </p:animEffect>
                                    <p:animScale>
                                      <p:cBhvr>
                                        <p:cTn id="261" dur="1000" autoRev="1" fill="hold"/>
                                        <p:tgtEl>
                                          <p:spTgt spid="159"/>
                                        </p:tgtEl>
                                      </p:cBhvr>
                                      <p:by x="105000" y="105000"/>
                                    </p:animScale>
                                  </p:childTnLst>
                                </p:cTn>
                              </p:par>
                              <p:par>
                                <p:cTn id="262" presetID="26" presetClass="emph" presetSubtype="0" dur="2000" repeatCount="indefinite" fill="hold" grpId="0" nodeType="withEffect">
                                  <p:stCondLst>
                                    <p:cond delay="1750"/>
                                  </p:stCondLst>
                                  <p:childTnLst>
                                    <p:animEffect transition="out" filter="fade">
                                      <p:cBhvr>
                                        <p:cTn id="263" dur="2000" tmFilter="0, 0; .2, .5; .8, .5; 1, 0"/>
                                        <p:tgtEl>
                                          <p:spTgt spid="176"/>
                                        </p:tgtEl>
                                      </p:cBhvr>
                                    </p:animEffect>
                                    <p:animScale>
                                      <p:cBhvr>
                                        <p:cTn id="264" dur="1000" autoRev="1" fill="hold"/>
                                        <p:tgtEl>
                                          <p:spTgt spid="176"/>
                                        </p:tgtEl>
                                      </p:cBhvr>
                                      <p:by x="105000" y="105000"/>
                                    </p:animScale>
                                  </p:childTnLst>
                                </p:cTn>
                              </p:par>
                              <p:par>
                                <p:cTn id="265" presetID="26" presetClass="emph" presetSubtype="0" dur="2000" repeatCount="indefinite" fill="hold" grpId="0" nodeType="withEffect">
                                  <p:stCondLst>
                                    <p:cond delay="1750"/>
                                  </p:stCondLst>
                                  <p:childTnLst>
                                    <p:animEffect transition="out" filter="fade">
                                      <p:cBhvr>
                                        <p:cTn id="266" dur="2000" tmFilter="0, 0; .2, .5; .8, .5; 1, 0"/>
                                        <p:tgtEl>
                                          <p:spTgt spid="193"/>
                                        </p:tgtEl>
                                      </p:cBhvr>
                                    </p:animEffect>
                                    <p:animScale>
                                      <p:cBhvr>
                                        <p:cTn id="267" dur="1000" autoRev="1" fill="hold"/>
                                        <p:tgtEl>
                                          <p:spTgt spid="193"/>
                                        </p:tgtEl>
                                      </p:cBhvr>
                                      <p:by x="105000" y="105000"/>
                                    </p:animScale>
                                  </p:childTnLst>
                                </p:cTn>
                              </p:par>
                              <p:par>
                                <p:cTn id="268" presetID="26" presetClass="emph" presetSubtype="0" dur="2000" repeatCount="indefinite" fill="hold" grpId="0" nodeType="withEffect">
                                  <p:stCondLst>
                                    <p:cond delay="1750"/>
                                  </p:stCondLst>
                                  <p:childTnLst>
                                    <p:animEffect transition="out" filter="fade">
                                      <p:cBhvr>
                                        <p:cTn id="269" dur="2000" tmFilter="0, 0; .2, .5; .8, .5; 1, 0"/>
                                        <p:tgtEl>
                                          <p:spTgt spid="210"/>
                                        </p:tgtEl>
                                      </p:cBhvr>
                                    </p:animEffect>
                                    <p:animScale>
                                      <p:cBhvr>
                                        <p:cTn id="270" dur="1000" autoRev="1" fill="hold"/>
                                        <p:tgtEl>
                                          <p:spTgt spid="210"/>
                                        </p:tgtEl>
                                      </p:cBhvr>
                                      <p:by x="105000" y="105000"/>
                                    </p:animScale>
                                  </p:childTnLst>
                                </p:cTn>
                              </p:par>
                              <p:par>
                                <p:cTn id="271" presetID="26" presetClass="emph" presetSubtype="0" dur="2000" repeatCount="indefinite" fill="hold" grpId="0" nodeType="withEffect">
                                  <p:stCondLst>
                                    <p:cond delay="1750"/>
                                  </p:stCondLst>
                                  <p:childTnLst>
                                    <p:animEffect transition="out" filter="fade">
                                      <p:cBhvr>
                                        <p:cTn id="272" dur="2000" tmFilter="0, 0; .2, .5; .8, .5; 1, 0"/>
                                        <p:tgtEl>
                                          <p:spTgt spid="226"/>
                                        </p:tgtEl>
                                      </p:cBhvr>
                                    </p:animEffect>
                                    <p:animScale>
                                      <p:cBhvr>
                                        <p:cTn id="273" dur="1000" autoRev="1" fill="hold"/>
                                        <p:tgtEl>
                                          <p:spTgt spid="226"/>
                                        </p:tgtEl>
                                      </p:cBhvr>
                                      <p:by x="105000" y="105000"/>
                                    </p:animScale>
                                  </p:childTnLst>
                                </p:cTn>
                              </p:par>
                              <p:par>
                                <p:cTn id="274" presetID="26" presetClass="emph" presetSubtype="0" dur="2000" repeatCount="indefinite" fill="hold" grpId="0" nodeType="withEffect">
                                  <p:stCondLst>
                                    <p:cond delay="2000"/>
                                  </p:stCondLst>
                                  <p:childTnLst>
                                    <p:animEffect transition="out" filter="fade">
                                      <p:cBhvr>
                                        <p:cTn id="275" dur="2000" tmFilter="0, 0; .2, .5; .8, .5; 1, 0"/>
                                        <p:tgtEl>
                                          <p:spTgt spid="15"/>
                                        </p:tgtEl>
                                      </p:cBhvr>
                                    </p:animEffect>
                                    <p:animScale>
                                      <p:cBhvr>
                                        <p:cTn id="276" dur="1000" autoRev="1" fill="hold"/>
                                        <p:tgtEl>
                                          <p:spTgt spid="15"/>
                                        </p:tgtEl>
                                      </p:cBhvr>
                                      <p:by x="105000" y="105000"/>
                                    </p:animScale>
                                  </p:childTnLst>
                                </p:cTn>
                              </p:par>
                              <p:par>
                                <p:cTn id="277" presetID="26" presetClass="emph" presetSubtype="0" dur="2000" repeatCount="indefinite" fill="hold" grpId="0" nodeType="withEffect">
                                  <p:stCondLst>
                                    <p:cond delay="2000"/>
                                  </p:stCondLst>
                                  <p:childTnLst>
                                    <p:animEffect transition="out" filter="fade">
                                      <p:cBhvr>
                                        <p:cTn id="278" dur="2000" tmFilter="0, 0; .2, .5; .8, .5; 1, 0"/>
                                        <p:tgtEl>
                                          <p:spTgt spid="30"/>
                                        </p:tgtEl>
                                      </p:cBhvr>
                                    </p:animEffect>
                                    <p:animScale>
                                      <p:cBhvr>
                                        <p:cTn id="279" dur="1000" autoRev="1" fill="hold"/>
                                        <p:tgtEl>
                                          <p:spTgt spid="30"/>
                                        </p:tgtEl>
                                      </p:cBhvr>
                                      <p:by x="105000" y="105000"/>
                                    </p:animScale>
                                  </p:childTnLst>
                                </p:cTn>
                              </p:par>
                              <p:par>
                                <p:cTn id="280" presetID="26" presetClass="emph" presetSubtype="0" dur="2000" repeatCount="indefinite" fill="hold" grpId="0" nodeType="withEffect">
                                  <p:stCondLst>
                                    <p:cond delay="2000"/>
                                  </p:stCondLst>
                                  <p:childTnLst>
                                    <p:animEffect transition="out" filter="fade">
                                      <p:cBhvr>
                                        <p:cTn id="281" dur="2000" tmFilter="0, 0; .2, .5; .8, .5; 1, 0"/>
                                        <p:tgtEl>
                                          <p:spTgt spid="46"/>
                                        </p:tgtEl>
                                      </p:cBhvr>
                                    </p:animEffect>
                                    <p:animScale>
                                      <p:cBhvr>
                                        <p:cTn id="282" dur="1000" autoRev="1" fill="hold"/>
                                        <p:tgtEl>
                                          <p:spTgt spid="46"/>
                                        </p:tgtEl>
                                      </p:cBhvr>
                                      <p:by x="105000" y="105000"/>
                                    </p:animScale>
                                  </p:childTnLst>
                                </p:cTn>
                              </p:par>
                              <p:par>
                                <p:cTn id="283" presetID="26" presetClass="emph" presetSubtype="0" dur="2000" repeatCount="indefinite" fill="hold" grpId="0" nodeType="withEffect">
                                  <p:stCondLst>
                                    <p:cond delay="2000"/>
                                  </p:stCondLst>
                                  <p:childTnLst>
                                    <p:animEffect transition="out" filter="fade">
                                      <p:cBhvr>
                                        <p:cTn id="284" dur="2000" tmFilter="0, 0; .2, .5; .8, .5; 1, 0"/>
                                        <p:tgtEl>
                                          <p:spTgt spid="62"/>
                                        </p:tgtEl>
                                      </p:cBhvr>
                                    </p:animEffect>
                                    <p:animScale>
                                      <p:cBhvr>
                                        <p:cTn id="285" dur="1000" autoRev="1" fill="hold"/>
                                        <p:tgtEl>
                                          <p:spTgt spid="62"/>
                                        </p:tgtEl>
                                      </p:cBhvr>
                                      <p:by x="105000" y="105000"/>
                                    </p:animScale>
                                  </p:childTnLst>
                                </p:cTn>
                              </p:par>
                              <p:par>
                                <p:cTn id="286" presetID="26" presetClass="emph" presetSubtype="0" dur="2000" repeatCount="indefinite" fill="hold" grpId="0" nodeType="withEffect">
                                  <p:stCondLst>
                                    <p:cond delay="2000"/>
                                  </p:stCondLst>
                                  <p:childTnLst>
                                    <p:animEffect transition="out" filter="fade">
                                      <p:cBhvr>
                                        <p:cTn id="287" dur="2000" tmFilter="0, 0; .2, .5; .8, .5; 1, 0"/>
                                        <p:tgtEl>
                                          <p:spTgt spid="78"/>
                                        </p:tgtEl>
                                      </p:cBhvr>
                                    </p:animEffect>
                                    <p:animScale>
                                      <p:cBhvr>
                                        <p:cTn id="288" dur="1000" autoRev="1" fill="hold"/>
                                        <p:tgtEl>
                                          <p:spTgt spid="78"/>
                                        </p:tgtEl>
                                      </p:cBhvr>
                                      <p:by x="105000" y="105000"/>
                                    </p:animScale>
                                  </p:childTnLst>
                                </p:cTn>
                              </p:par>
                              <p:par>
                                <p:cTn id="289" presetID="26" presetClass="emph" presetSubtype="0" dur="2000" repeatCount="indefinite" fill="hold" grpId="0" nodeType="withEffect">
                                  <p:stCondLst>
                                    <p:cond delay="2000"/>
                                  </p:stCondLst>
                                  <p:childTnLst>
                                    <p:animEffect transition="out" filter="fade">
                                      <p:cBhvr>
                                        <p:cTn id="290" dur="2000" tmFilter="0, 0; .2, .5; .8, .5; 1, 0"/>
                                        <p:tgtEl>
                                          <p:spTgt spid="94"/>
                                        </p:tgtEl>
                                      </p:cBhvr>
                                    </p:animEffect>
                                    <p:animScale>
                                      <p:cBhvr>
                                        <p:cTn id="291" dur="1000" autoRev="1" fill="hold"/>
                                        <p:tgtEl>
                                          <p:spTgt spid="94"/>
                                        </p:tgtEl>
                                      </p:cBhvr>
                                      <p:by x="105000" y="105000"/>
                                    </p:animScale>
                                  </p:childTnLst>
                                </p:cTn>
                              </p:par>
                              <p:par>
                                <p:cTn id="292" presetID="26" presetClass="emph" presetSubtype="0" dur="2000" repeatCount="indefinite" fill="hold" grpId="0" nodeType="withEffect">
                                  <p:stCondLst>
                                    <p:cond delay="2000"/>
                                  </p:stCondLst>
                                  <p:childTnLst>
                                    <p:animEffect transition="out" filter="fade">
                                      <p:cBhvr>
                                        <p:cTn id="293" dur="2000" tmFilter="0, 0; .2, .5; .8, .5; 1, 0"/>
                                        <p:tgtEl>
                                          <p:spTgt spid="110"/>
                                        </p:tgtEl>
                                      </p:cBhvr>
                                    </p:animEffect>
                                    <p:animScale>
                                      <p:cBhvr>
                                        <p:cTn id="294" dur="1000" autoRev="1" fill="hold"/>
                                        <p:tgtEl>
                                          <p:spTgt spid="110"/>
                                        </p:tgtEl>
                                      </p:cBhvr>
                                      <p:by x="105000" y="105000"/>
                                    </p:animScale>
                                  </p:childTnLst>
                                </p:cTn>
                              </p:par>
                              <p:par>
                                <p:cTn id="295" presetID="26" presetClass="emph" presetSubtype="0" dur="2000" repeatCount="indefinite" fill="hold" grpId="0" nodeType="withEffect">
                                  <p:stCondLst>
                                    <p:cond delay="2000"/>
                                  </p:stCondLst>
                                  <p:childTnLst>
                                    <p:animEffect transition="out" filter="fade">
                                      <p:cBhvr>
                                        <p:cTn id="296" dur="2000" tmFilter="0, 0; .2, .5; .8, .5; 1, 0"/>
                                        <p:tgtEl>
                                          <p:spTgt spid="126"/>
                                        </p:tgtEl>
                                      </p:cBhvr>
                                    </p:animEffect>
                                    <p:animScale>
                                      <p:cBhvr>
                                        <p:cTn id="297" dur="1000" autoRev="1" fill="hold"/>
                                        <p:tgtEl>
                                          <p:spTgt spid="126"/>
                                        </p:tgtEl>
                                      </p:cBhvr>
                                      <p:by x="105000" y="105000"/>
                                    </p:animScale>
                                  </p:childTnLst>
                                </p:cTn>
                              </p:par>
                              <p:par>
                                <p:cTn id="298" presetID="26" presetClass="emph" presetSubtype="0" dur="2000" repeatCount="indefinite" fill="hold" grpId="0" nodeType="withEffect">
                                  <p:stCondLst>
                                    <p:cond delay="2000"/>
                                  </p:stCondLst>
                                  <p:childTnLst>
                                    <p:animEffect transition="out" filter="fade">
                                      <p:cBhvr>
                                        <p:cTn id="299" dur="2000" tmFilter="0, 0; .2, .5; .8, .5; 1, 0"/>
                                        <p:tgtEl>
                                          <p:spTgt spid="143"/>
                                        </p:tgtEl>
                                      </p:cBhvr>
                                    </p:animEffect>
                                    <p:animScale>
                                      <p:cBhvr>
                                        <p:cTn id="300" dur="1000" autoRev="1" fill="hold"/>
                                        <p:tgtEl>
                                          <p:spTgt spid="143"/>
                                        </p:tgtEl>
                                      </p:cBhvr>
                                      <p:by x="105000" y="105000"/>
                                    </p:animScale>
                                  </p:childTnLst>
                                </p:cTn>
                              </p:par>
                              <p:par>
                                <p:cTn id="301" presetID="26" presetClass="emph" presetSubtype="0" dur="2000" repeatCount="indefinite" fill="hold" grpId="0" nodeType="withEffect">
                                  <p:stCondLst>
                                    <p:cond delay="2000"/>
                                  </p:stCondLst>
                                  <p:childTnLst>
                                    <p:animEffect transition="out" filter="fade">
                                      <p:cBhvr>
                                        <p:cTn id="302" dur="2000" tmFilter="0, 0; .2, .5; .8, .5; 1, 0"/>
                                        <p:tgtEl>
                                          <p:spTgt spid="160"/>
                                        </p:tgtEl>
                                      </p:cBhvr>
                                    </p:animEffect>
                                    <p:animScale>
                                      <p:cBhvr>
                                        <p:cTn id="303" dur="1000" autoRev="1" fill="hold"/>
                                        <p:tgtEl>
                                          <p:spTgt spid="160"/>
                                        </p:tgtEl>
                                      </p:cBhvr>
                                      <p:by x="105000" y="105000"/>
                                    </p:animScale>
                                  </p:childTnLst>
                                </p:cTn>
                              </p:par>
                              <p:par>
                                <p:cTn id="304" presetID="26" presetClass="emph" presetSubtype="0" dur="2000" repeatCount="indefinite" fill="hold" grpId="0" nodeType="withEffect">
                                  <p:stCondLst>
                                    <p:cond delay="2000"/>
                                  </p:stCondLst>
                                  <p:childTnLst>
                                    <p:animEffect transition="out" filter="fade">
                                      <p:cBhvr>
                                        <p:cTn id="305" dur="2000" tmFilter="0, 0; .2, .5; .8, .5; 1, 0"/>
                                        <p:tgtEl>
                                          <p:spTgt spid="177"/>
                                        </p:tgtEl>
                                      </p:cBhvr>
                                    </p:animEffect>
                                    <p:animScale>
                                      <p:cBhvr>
                                        <p:cTn id="306" dur="1000" autoRev="1" fill="hold"/>
                                        <p:tgtEl>
                                          <p:spTgt spid="177"/>
                                        </p:tgtEl>
                                      </p:cBhvr>
                                      <p:by x="105000" y="105000"/>
                                    </p:animScale>
                                  </p:childTnLst>
                                </p:cTn>
                              </p:par>
                              <p:par>
                                <p:cTn id="307" presetID="26" presetClass="emph" presetSubtype="0" dur="2000" repeatCount="indefinite" fill="hold" grpId="0" nodeType="withEffect">
                                  <p:stCondLst>
                                    <p:cond delay="2000"/>
                                  </p:stCondLst>
                                  <p:childTnLst>
                                    <p:animEffect transition="out" filter="fade">
                                      <p:cBhvr>
                                        <p:cTn id="308" dur="2000" tmFilter="0, 0; .2, .5; .8, .5; 1, 0"/>
                                        <p:tgtEl>
                                          <p:spTgt spid="194"/>
                                        </p:tgtEl>
                                      </p:cBhvr>
                                    </p:animEffect>
                                    <p:animScale>
                                      <p:cBhvr>
                                        <p:cTn id="309" dur="1000" autoRev="1" fill="hold"/>
                                        <p:tgtEl>
                                          <p:spTgt spid="194"/>
                                        </p:tgtEl>
                                      </p:cBhvr>
                                      <p:by x="105000" y="105000"/>
                                    </p:animScale>
                                  </p:childTnLst>
                                </p:cTn>
                              </p:par>
                              <p:par>
                                <p:cTn id="310" presetID="26" presetClass="emph" presetSubtype="0" dur="2000" repeatCount="indefinite" fill="hold" grpId="0" nodeType="withEffect">
                                  <p:stCondLst>
                                    <p:cond delay="2000"/>
                                  </p:stCondLst>
                                  <p:childTnLst>
                                    <p:animEffect transition="out" filter="fade">
                                      <p:cBhvr>
                                        <p:cTn id="311" dur="2000" tmFilter="0, 0; .2, .5; .8, .5; 1, 0"/>
                                        <p:tgtEl>
                                          <p:spTgt spid="211"/>
                                        </p:tgtEl>
                                      </p:cBhvr>
                                    </p:animEffect>
                                    <p:animScale>
                                      <p:cBhvr>
                                        <p:cTn id="312" dur="1000" autoRev="1" fill="hold"/>
                                        <p:tgtEl>
                                          <p:spTgt spid="211"/>
                                        </p:tgtEl>
                                      </p:cBhvr>
                                      <p:by x="105000" y="105000"/>
                                    </p:animScale>
                                  </p:childTnLst>
                                </p:cTn>
                              </p:par>
                              <p:par>
                                <p:cTn id="313" presetID="26" presetClass="emph" presetSubtype="0" dur="2000" repeatCount="indefinite" fill="hold" grpId="0" nodeType="withEffect">
                                  <p:stCondLst>
                                    <p:cond delay="2000"/>
                                  </p:stCondLst>
                                  <p:childTnLst>
                                    <p:animEffect transition="out" filter="fade">
                                      <p:cBhvr>
                                        <p:cTn id="314" dur="2000" tmFilter="0, 0; .2, .5; .8, .5; 1, 0"/>
                                        <p:tgtEl>
                                          <p:spTgt spid="227"/>
                                        </p:tgtEl>
                                      </p:cBhvr>
                                    </p:animEffect>
                                    <p:animScale>
                                      <p:cBhvr>
                                        <p:cTn id="315" dur="1000" autoRev="1" fill="hold"/>
                                        <p:tgtEl>
                                          <p:spTgt spid="227"/>
                                        </p:tgtEl>
                                      </p:cBhvr>
                                      <p:by x="105000" y="105000"/>
                                    </p:animScale>
                                  </p:childTnLst>
                                </p:cTn>
                              </p:par>
                              <p:par>
                                <p:cTn id="316" presetID="26" presetClass="emph" presetSubtype="0" dur="2000" repeatCount="indefinite" fill="hold" grpId="0" nodeType="withEffect">
                                  <p:stCondLst>
                                    <p:cond delay="2250"/>
                                  </p:stCondLst>
                                  <p:childTnLst>
                                    <p:animEffect transition="out" filter="fade">
                                      <p:cBhvr>
                                        <p:cTn id="317" dur="2000" tmFilter="0, 0; .2, .5; .8, .5; 1, 0"/>
                                        <p:tgtEl>
                                          <p:spTgt spid="16"/>
                                        </p:tgtEl>
                                      </p:cBhvr>
                                    </p:animEffect>
                                    <p:animScale>
                                      <p:cBhvr>
                                        <p:cTn id="318" dur="1000" autoRev="1" fill="hold"/>
                                        <p:tgtEl>
                                          <p:spTgt spid="16"/>
                                        </p:tgtEl>
                                      </p:cBhvr>
                                      <p:by x="105000" y="105000"/>
                                    </p:animScale>
                                  </p:childTnLst>
                                </p:cTn>
                              </p:par>
                              <p:par>
                                <p:cTn id="319" presetID="26" presetClass="emph" presetSubtype="0" dur="2000" repeatCount="indefinite" fill="hold" grpId="0" nodeType="withEffect">
                                  <p:stCondLst>
                                    <p:cond delay="2250"/>
                                  </p:stCondLst>
                                  <p:childTnLst>
                                    <p:animEffect transition="out" filter="fade">
                                      <p:cBhvr>
                                        <p:cTn id="320" dur="2000" tmFilter="0, 0; .2, .5; .8, .5; 1, 0"/>
                                        <p:tgtEl>
                                          <p:spTgt spid="31"/>
                                        </p:tgtEl>
                                      </p:cBhvr>
                                    </p:animEffect>
                                    <p:animScale>
                                      <p:cBhvr>
                                        <p:cTn id="321" dur="1000" autoRev="1" fill="hold"/>
                                        <p:tgtEl>
                                          <p:spTgt spid="31"/>
                                        </p:tgtEl>
                                      </p:cBhvr>
                                      <p:by x="105000" y="105000"/>
                                    </p:animScale>
                                  </p:childTnLst>
                                </p:cTn>
                              </p:par>
                              <p:par>
                                <p:cTn id="322" presetID="26" presetClass="emph" presetSubtype="0" dur="2000" repeatCount="indefinite" fill="hold" grpId="0" nodeType="withEffect">
                                  <p:stCondLst>
                                    <p:cond delay="2250"/>
                                  </p:stCondLst>
                                  <p:childTnLst>
                                    <p:animEffect transition="out" filter="fade">
                                      <p:cBhvr>
                                        <p:cTn id="323" dur="2000" tmFilter="0, 0; .2, .5; .8, .5; 1, 0"/>
                                        <p:tgtEl>
                                          <p:spTgt spid="47"/>
                                        </p:tgtEl>
                                      </p:cBhvr>
                                    </p:animEffect>
                                    <p:animScale>
                                      <p:cBhvr>
                                        <p:cTn id="324" dur="1000" autoRev="1" fill="hold"/>
                                        <p:tgtEl>
                                          <p:spTgt spid="47"/>
                                        </p:tgtEl>
                                      </p:cBhvr>
                                      <p:by x="105000" y="105000"/>
                                    </p:animScale>
                                  </p:childTnLst>
                                </p:cTn>
                              </p:par>
                              <p:par>
                                <p:cTn id="325" presetID="26" presetClass="emph" presetSubtype="0" dur="2000" repeatCount="indefinite" fill="hold" grpId="0" nodeType="withEffect">
                                  <p:stCondLst>
                                    <p:cond delay="2250"/>
                                  </p:stCondLst>
                                  <p:childTnLst>
                                    <p:animEffect transition="out" filter="fade">
                                      <p:cBhvr>
                                        <p:cTn id="326" dur="2000" tmFilter="0, 0; .2, .5; .8, .5; 1, 0"/>
                                        <p:tgtEl>
                                          <p:spTgt spid="63"/>
                                        </p:tgtEl>
                                      </p:cBhvr>
                                    </p:animEffect>
                                    <p:animScale>
                                      <p:cBhvr>
                                        <p:cTn id="327" dur="1000" autoRev="1" fill="hold"/>
                                        <p:tgtEl>
                                          <p:spTgt spid="63"/>
                                        </p:tgtEl>
                                      </p:cBhvr>
                                      <p:by x="105000" y="105000"/>
                                    </p:animScale>
                                  </p:childTnLst>
                                </p:cTn>
                              </p:par>
                              <p:par>
                                <p:cTn id="328" presetID="26" presetClass="emph" presetSubtype="0" dur="2000" repeatCount="indefinite" fill="hold" grpId="0" nodeType="withEffect">
                                  <p:stCondLst>
                                    <p:cond delay="2250"/>
                                  </p:stCondLst>
                                  <p:childTnLst>
                                    <p:animEffect transition="out" filter="fade">
                                      <p:cBhvr>
                                        <p:cTn id="329" dur="2000" tmFilter="0, 0; .2, .5; .8, .5; 1, 0"/>
                                        <p:tgtEl>
                                          <p:spTgt spid="79"/>
                                        </p:tgtEl>
                                      </p:cBhvr>
                                    </p:animEffect>
                                    <p:animScale>
                                      <p:cBhvr>
                                        <p:cTn id="330" dur="1000" autoRev="1" fill="hold"/>
                                        <p:tgtEl>
                                          <p:spTgt spid="79"/>
                                        </p:tgtEl>
                                      </p:cBhvr>
                                      <p:by x="105000" y="105000"/>
                                    </p:animScale>
                                  </p:childTnLst>
                                </p:cTn>
                              </p:par>
                              <p:par>
                                <p:cTn id="331" presetID="26" presetClass="emph" presetSubtype="0" dur="2000" repeatCount="indefinite" fill="hold" grpId="0" nodeType="withEffect">
                                  <p:stCondLst>
                                    <p:cond delay="2250"/>
                                  </p:stCondLst>
                                  <p:childTnLst>
                                    <p:animEffect transition="out" filter="fade">
                                      <p:cBhvr>
                                        <p:cTn id="332" dur="2000" tmFilter="0, 0; .2, .5; .8, .5; 1, 0"/>
                                        <p:tgtEl>
                                          <p:spTgt spid="95"/>
                                        </p:tgtEl>
                                      </p:cBhvr>
                                    </p:animEffect>
                                    <p:animScale>
                                      <p:cBhvr>
                                        <p:cTn id="333" dur="1000" autoRev="1" fill="hold"/>
                                        <p:tgtEl>
                                          <p:spTgt spid="95"/>
                                        </p:tgtEl>
                                      </p:cBhvr>
                                      <p:by x="105000" y="105000"/>
                                    </p:animScale>
                                  </p:childTnLst>
                                </p:cTn>
                              </p:par>
                              <p:par>
                                <p:cTn id="334" presetID="26" presetClass="emph" presetSubtype="0" dur="2000" repeatCount="indefinite" fill="hold" grpId="0" nodeType="withEffect">
                                  <p:stCondLst>
                                    <p:cond delay="2250"/>
                                  </p:stCondLst>
                                  <p:childTnLst>
                                    <p:animEffect transition="out" filter="fade">
                                      <p:cBhvr>
                                        <p:cTn id="335" dur="2000" tmFilter="0, 0; .2, .5; .8, .5; 1, 0"/>
                                        <p:tgtEl>
                                          <p:spTgt spid="111"/>
                                        </p:tgtEl>
                                      </p:cBhvr>
                                    </p:animEffect>
                                    <p:animScale>
                                      <p:cBhvr>
                                        <p:cTn id="336" dur="1000" autoRev="1" fill="hold"/>
                                        <p:tgtEl>
                                          <p:spTgt spid="111"/>
                                        </p:tgtEl>
                                      </p:cBhvr>
                                      <p:by x="105000" y="105000"/>
                                    </p:animScale>
                                  </p:childTnLst>
                                </p:cTn>
                              </p:par>
                              <p:par>
                                <p:cTn id="337" presetID="26" presetClass="emph" presetSubtype="0" dur="2000" repeatCount="indefinite" fill="hold" grpId="0" nodeType="withEffect">
                                  <p:stCondLst>
                                    <p:cond delay="2250"/>
                                  </p:stCondLst>
                                  <p:childTnLst>
                                    <p:animEffect transition="out" filter="fade">
                                      <p:cBhvr>
                                        <p:cTn id="338" dur="2000" tmFilter="0, 0; .2, .5; .8, .5; 1, 0"/>
                                        <p:tgtEl>
                                          <p:spTgt spid="127"/>
                                        </p:tgtEl>
                                      </p:cBhvr>
                                    </p:animEffect>
                                    <p:animScale>
                                      <p:cBhvr>
                                        <p:cTn id="339" dur="1000" autoRev="1" fill="hold"/>
                                        <p:tgtEl>
                                          <p:spTgt spid="127"/>
                                        </p:tgtEl>
                                      </p:cBhvr>
                                      <p:by x="105000" y="105000"/>
                                    </p:animScale>
                                  </p:childTnLst>
                                </p:cTn>
                              </p:par>
                              <p:par>
                                <p:cTn id="340" presetID="26" presetClass="emph" presetSubtype="0" dur="2000" repeatCount="indefinite" fill="hold" grpId="0" nodeType="withEffect">
                                  <p:stCondLst>
                                    <p:cond delay="2250"/>
                                  </p:stCondLst>
                                  <p:childTnLst>
                                    <p:animEffect transition="out" filter="fade">
                                      <p:cBhvr>
                                        <p:cTn id="341" dur="2000" tmFilter="0, 0; .2, .5; .8, .5; 1, 0"/>
                                        <p:tgtEl>
                                          <p:spTgt spid="144"/>
                                        </p:tgtEl>
                                      </p:cBhvr>
                                    </p:animEffect>
                                    <p:animScale>
                                      <p:cBhvr>
                                        <p:cTn id="342" dur="1000" autoRev="1" fill="hold"/>
                                        <p:tgtEl>
                                          <p:spTgt spid="144"/>
                                        </p:tgtEl>
                                      </p:cBhvr>
                                      <p:by x="105000" y="105000"/>
                                    </p:animScale>
                                  </p:childTnLst>
                                </p:cTn>
                              </p:par>
                              <p:par>
                                <p:cTn id="343" presetID="26" presetClass="emph" presetSubtype="0" dur="2000" repeatCount="indefinite" fill="hold" grpId="0" nodeType="withEffect">
                                  <p:stCondLst>
                                    <p:cond delay="2250"/>
                                  </p:stCondLst>
                                  <p:childTnLst>
                                    <p:animEffect transition="out" filter="fade">
                                      <p:cBhvr>
                                        <p:cTn id="344" dur="2000" tmFilter="0, 0; .2, .5; .8, .5; 1, 0"/>
                                        <p:tgtEl>
                                          <p:spTgt spid="161"/>
                                        </p:tgtEl>
                                      </p:cBhvr>
                                    </p:animEffect>
                                    <p:animScale>
                                      <p:cBhvr>
                                        <p:cTn id="345" dur="1000" autoRev="1" fill="hold"/>
                                        <p:tgtEl>
                                          <p:spTgt spid="161"/>
                                        </p:tgtEl>
                                      </p:cBhvr>
                                      <p:by x="105000" y="105000"/>
                                    </p:animScale>
                                  </p:childTnLst>
                                </p:cTn>
                              </p:par>
                              <p:par>
                                <p:cTn id="346" presetID="26" presetClass="emph" presetSubtype="0" dur="2000" repeatCount="indefinite" fill="hold" grpId="0" nodeType="withEffect">
                                  <p:stCondLst>
                                    <p:cond delay="2250"/>
                                  </p:stCondLst>
                                  <p:childTnLst>
                                    <p:animEffect transition="out" filter="fade">
                                      <p:cBhvr>
                                        <p:cTn id="347" dur="2000" tmFilter="0, 0; .2, .5; .8, .5; 1, 0"/>
                                        <p:tgtEl>
                                          <p:spTgt spid="178"/>
                                        </p:tgtEl>
                                      </p:cBhvr>
                                    </p:animEffect>
                                    <p:animScale>
                                      <p:cBhvr>
                                        <p:cTn id="348" dur="1000" autoRev="1" fill="hold"/>
                                        <p:tgtEl>
                                          <p:spTgt spid="178"/>
                                        </p:tgtEl>
                                      </p:cBhvr>
                                      <p:by x="105000" y="105000"/>
                                    </p:animScale>
                                  </p:childTnLst>
                                </p:cTn>
                              </p:par>
                              <p:par>
                                <p:cTn id="349" presetID="26" presetClass="emph" presetSubtype="0" dur="2000" repeatCount="indefinite" fill="hold" grpId="0" nodeType="withEffect">
                                  <p:stCondLst>
                                    <p:cond delay="2250"/>
                                  </p:stCondLst>
                                  <p:childTnLst>
                                    <p:animEffect transition="out" filter="fade">
                                      <p:cBhvr>
                                        <p:cTn id="350" dur="2000" tmFilter="0, 0; .2, .5; .8, .5; 1, 0"/>
                                        <p:tgtEl>
                                          <p:spTgt spid="195"/>
                                        </p:tgtEl>
                                      </p:cBhvr>
                                    </p:animEffect>
                                    <p:animScale>
                                      <p:cBhvr>
                                        <p:cTn id="351" dur="1000" autoRev="1" fill="hold"/>
                                        <p:tgtEl>
                                          <p:spTgt spid="195"/>
                                        </p:tgtEl>
                                      </p:cBhvr>
                                      <p:by x="105000" y="105000"/>
                                    </p:animScale>
                                  </p:childTnLst>
                                </p:cTn>
                              </p:par>
                              <p:par>
                                <p:cTn id="352" presetID="26" presetClass="emph" presetSubtype="0" dur="2000" repeatCount="indefinite" fill="hold" grpId="0" nodeType="withEffect">
                                  <p:stCondLst>
                                    <p:cond delay="2250"/>
                                  </p:stCondLst>
                                  <p:childTnLst>
                                    <p:animEffect transition="out" filter="fade">
                                      <p:cBhvr>
                                        <p:cTn id="353" dur="2000" tmFilter="0, 0; .2, .5; .8, .5; 1, 0"/>
                                        <p:tgtEl>
                                          <p:spTgt spid="212"/>
                                        </p:tgtEl>
                                      </p:cBhvr>
                                    </p:animEffect>
                                    <p:animScale>
                                      <p:cBhvr>
                                        <p:cTn id="354" dur="1000" autoRev="1" fill="hold"/>
                                        <p:tgtEl>
                                          <p:spTgt spid="212"/>
                                        </p:tgtEl>
                                      </p:cBhvr>
                                      <p:by x="105000" y="105000"/>
                                    </p:animScale>
                                  </p:childTnLst>
                                </p:cTn>
                              </p:par>
                              <p:par>
                                <p:cTn id="355" presetID="26" presetClass="emph" presetSubtype="0" dur="2000" repeatCount="indefinite" fill="hold" grpId="0" nodeType="withEffect">
                                  <p:stCondLst>
                                    <p:cond delay="2250"/>
                                  </p:stCondLst>
                                  <p:childTnLst>
                                    <p:animEffect transition="out" filter="fade">
                                      <p:cBhvr>
                                        <p:cTn id="356" dur="2000" tmFilter="0, 0; .2, .5; .8, .5; 1, 0"/>
                                        <p:tgtEl>
                                          <p:spTgt spid="228"/>
                                        </p:tgtEl>
                                      </p:cBhvr>
                                    </p:animEffect>
                                    <p:animScale>
                                      <p:cBhvr>
                                        <p:cTn id="357" dur="1000" autoRev="1" fill="hold"/>
                                        <p:tgtEl>
                                          <p:spTgt spid="228"/>
                                        </p:tgtEl>
                                      </p:cBhvr>
                                      <p:by x="105000" y="105000"/>
                                    </p:animScale>
                                  </p:childTnLst>
                                </p:cTn>
                              </p:par>
                              <p:par>
                                <p:cTn id="358" presetID="26" presetClass="emph" presetSubtype="0" dur="2000" repeatCount="indefinite" fill="hold" grpId="0" nodeType="withEffect">
                                  <p:stCondLst>
                                    <p:cond delay="2500"/>
                                  </p:stCondLst>
                                  <p:childTnLst>
                                    <p:animEffect transition="out" filter="fade">
                                      <p:cBhvr>
                                        <p:cTn id="359" dur="2000" tmFilter="0, 0; .2, .5; .8, .5; 1, 0"/>
                                        <p:tgtEl>
                                          <p:spTgt spid="17"/>
                                        </p:tgtEl>
                                      </p:cBhvr>
                                    </p:animEffect>
                                    <p:animScale>
                                      <p:cBhvr>
                                        <p:cTn id="360" dur="1000" autoRev="1" fill="hold"/>
                                        <p:tgtEl>
                                          <p:spTgt spid="17"/>
                                        </p:tgtEl>
                                      </p:cBhvr>
                                      <p:by x="105000" y="105000"/>
                                    </p:animScale>
                                  </p:childTnLst>
                                </p:cTn>
                              </p:par>
                              <p:par>
                                <p:cTn id="361" presetID="26" presetClass="emph" presetSubtype="0" dur="2000" repeatCount="indefinite" fill="hold" grpId="0" nodeType="withEffect">
                                  <p:stCondLst>
                                    <p:cond delay="2500"/>
                                  </p:stCondLst>
                                  <p:childTnLst>
                                    <p:animEffect transition="out" filter="fade">
                                      <p:cBhvr>
                                        <p:cTn id="362" dur="2000" tmFilter="0, 0; .2, .5; .8, .5; 1, 0"/>
                                        <p:tgtEl>
                                          <p:spTgt spid="32"/>
                                        </p:tgtEl>
                                      </p:cBhvr>
                                    </p:animEffect>
                                    <p:animScale>
                                      <p:cBhvr>
                                        <p:cTn id="363" dur="1000" autoRev="1" fill="hold"/>
                                        <p:tgtEl>
                                          <p:spTgt spid="32"/>
                                        </p:tgtEl>
                                      </p:cBhvr>
                                      <p:by x="105000" y="105000"/>
                                    </p:animScale>
                                  </p:childTnLst>
                                </p:cTn>
                              </p:par>
                              <p:par>
                                <p:cTn id="364" presetID="26" presetClass="emph" presetSubtype="0" dur="2000" repeatCount="indefinite" fill="hold" grpId="0" nodeType="withEffect">
                                  <p:stCondLst>
                                    <p:cond delay="2500"/>
                                  </p:stCondLst>
                                  <p:childTnLst>
                                    <p:animEffect transition="out" filter="fade">
                                      <p:cBhvr>
                                        <p:cTn id="365" dur="2000" tmFilter="0, 0; .2, .5; .8, .5; 1, 0"/>
                                        <p:tgtEl>
                                          <p:spTgt spid="48"/>
                                        </p:tgtEl>
                                      </p:cBhvr>
                                    </p:animEffect>
                                    <p:animScale>
                                      <p:cBhvr>
                                        <p:cTn id="366" dur="1000" autoRev="1" fill="hold"/>
                                        <p:tgtEl>
                                          <p:spTgt spid="48"/>
                                        </p:tgtEl>
                                      </p:cBhvr>
                                      <p:by x="105000" y="105000"/>
                                    </p:animScale>
                                  </p:childTnLst>
                                </p:cTn>
                              </p:par>
                              <p:par>
                                <p:cTn id="367" presetID="26" presetClass="emph" presetSubtype="0" dur="2000" repeatCount="indefinite" fill="hold" grpId="0" nodeType="withEffect">
                                  <p:stCondLst>
                                    <p:cond delay="2500"/>
                                  </p:stCondLst>
                                  <p:childTnLst>
                                    <p:animEffect transition="out" filter="fade">
                                      <p:cBhvr>
                                        <p:cTn id="368" dur="2000" tmFilter="0, 0; .2, .5; .8, .5; 1, 0"/>
                                        <p:tgtEl>
                                          <p:spTgt spid="64"/>
                                        </p:tgtEl>
                                      </p:cBhvr>
                                    </p:animEffect>
                                    <p:animScale>
                                      <p:cBhvr>
                                        <p:cTn id="369" dur="1000" autoRev="1" fill="hold"/>
                                        <p:tgtEl>
                                          <p:spTgt spid="64"/>
                                        </p:tgtEl>
                                      </p:cBhvr>
                                      <p:by x="105000" y="105000"/>
                                    </p:animScale>
                                  </p:childTnLst>
                                </p:cTn>
                              </p:par>
                              <p:par>
                                <p:cTn id="370" presetID="26" presetClass="emph" presetSubtype="0" dur="2000" repeatCount="indefinite" fill="hold" grpId="0" nodeType="withEffect">
                                  <p:stCondLst>
                                    <p:cond delay="2500"/>
                                  </p:stCondLst>
                                  <p:childTnLst>
                                    <p:animEffect transition="out" filter="fade">
                                      <p:cBhvr>
                                        <p:cTn id="371" dur="2000" tmFilter="0, 0; .2, .5; .8, .5; 1, 0"/>
                                        <p:tgtEl>
                                          <p:spTgt spid="80"/>
                                        </p:tgtEl>
                                      </p:cBhvr>
                                    </p:animEffect>
                                    <p:animScale>
                                      <p:cBhvr>
                                        <p:cTn id="372" dur="1000" autoRev="1" fill="hold"/>
                                        <p:tgtEl>
                                          <p:spTgt spid="80"/>
                                        </p:tgtEl>
                                      </p:cBhvr>
                                      <p:by x="105000" y="105000"/>
                                    </p:animScale>
                                  </p:childTnLst>
                                </p:cTn>
                              </p:par>
                              <p:par>
                                <p:cTn id="373" presetID="26" presetClass="emph" presetSubtype="0" dur="2000" repeatCount="indefinite" fill="hold" grpId="0" nodeType="withEffect">
                                  <p:stCondLst>
                                    <p:cond delay="2500"/>
                                  </p:stCondLst>
                                  <p:childTnLst>
                                    <p:animEffect transition="out" filter="fade">
                                      <p:cBhvr>
                                        <p:cTn id="374" dur="2000" tmFilter="0, 0; .2, .5; .8, .5; 1, 0"/>
                                        <p:tgtEl>
                                          <p:spTgt spid="96"/>
                                        </p:tgtEl>
                                      </p:cBhvr>
                                    </p:animEffect>
                                    <p:animScale>
                                      <p:cBhvr>
                                        <p:cTn id="375" dur="1000" autoRev="1" fill="hold"/>
                                        <p:tgtEl>
                                          <p:spTgt spid="96"/>
                                        </p:tgtEl>
                                      </p:cBhvr>
                                      <p:by x="105000" y="105000"/>
                                    </p:animScale>
                                  </p:childTnLst>
                                </p:cTn>
                              </p:par>
                              <p:par>
                                <p:cTn id="376" presetID="26" presetClass="emph" presetSubtype="0" dur="2000" repeatCount="indefinite" fill="hold" grpId="0" nodeType="withEffect">
                                  <p:stCondLst>
                                    <p:cond delay="2500"/>
                                  </p:stCondLst>
                                  <p:childTnLst>
                                    <p:animEffect transition="out" filter="fade">
                                      <p:cBhvr>
                                        <p:cTn id="377" dur="2000" tmFilter="0, 0; .2, .5; .8, .5; 1, 0"/>
                                        <p:tgtEl>
                                          <p:spTgt spid="112"/>
                                        </p:tgtEl>
                                      </p:cBhvr>
                                    </p:animEffect>
                                    <p:animScale>
                                      <p:cBhvr>
                                        <p:cTn id="378" dur="1000" autoRev="1" fill="hold"/>
                                        <p:tgtEl>
                                          <p:spTgt spid="112"/>
                                        </p:tgtEl>
                                      </p:cBhvr>
                                      <p:by x="105000" y="105000"/>
                                    </p:animScale>
                                  </p:childTnLst>
                                </p:cTn>
                              </p:par>
                              <p:par>
                                <p:cTn id="379" presetID="26" presetClass="emph" presetSubtype="0" dur="2000" repeatCount="indefinite" fill="hold" grpId="0" nodeType="withEffect">
                                  <p:stCondLst>
                                    <p:cond delay="2500"/>
                                  </p:stCondLst>
                                  <p:childTnLst>
                                    <p:animEffect transition="out" filter="fade">
                                      <p:cBhvr>
                                        <p:cTn id="380" dur="2000" tmFilter="0, 0; .2, .5; .8, .5; 1, 0"/>
                                        <p:tgtEl>
                                          <p:spTgt spid="128"/>
                                        </p:tgtEl>
                                      </p:cBhvr>
                                    </p:animEffect>
                                    <p:animScale>
                                      <p:cBhvr>
                                        <p:cTn id="381" dur="1000" autoRev="1" fill="hold"/>
                                        <p:tgtEl>
                                          <p:spTgt spid="128"/>
                                        </p:tgtEl>
                                      </p:cBhvr>
                                      <p:by x="105000" y="105000"/>
                                    </p:animScale>
                                  </p:childTnLst>
                                </p:cTn>
                              </p:par>
                              <p:par>
                                <p:cTn id="382" presetID="26" presetClass="emph" presetSubtype="0" dur="2000" repeatCount="indefinite" fill="hold" grpId="0" nodeType="withEffect">
                                  <p:stCondLst>
                                    <p:cond delay="2500"/>
                                  </p:stCondLst>
                                  <p:childTnLst>
                                    <p:animEffect transition="out" filter="fade">
                                      <p:cBhvr>
                                        <p:cTn id="383" dur="2000" tmFilter="0, 0; .2, .5; .8, .5; 1, 0"/>
                                        <p:tgtEl>
                                          <p:spTgt spid="145"/>
                                        </p:tgtEl>
                                      </p:cBhvr>
                                    </p:animEffect>
                                    <p:animScale>
                                      <p:cBhvr>
                                        <p:cTn id="384" dur="1000" autoRev="1" fill="hold"/>
                                        <p:tgtEl>
                                          <p:spTgt spid="145"/>
                                        </p:tgtEl>
                                      </p:cBhvr>
                                      <p:by x="105000" y="105000"/>
                                    </p:animScale>
                                  </p:childTnLst>
                                </p:cTn>
                              </p:par>
                              <p:par>
                                <p:cTn id="385" presetID="26" presetClass="emph" presetSubtype="0" dur="2000" repeatCount="indefinite" fill="hold" grpId="0" nodeType="withEffect">
                                  <p:stCondLst>
                                    <p:cond delay="2500"/>
                                  </p:stCondLst>
                                  <p:childTnLst>
                                    <p:animEffect transition="out" filter="fade">
                                      <p:cBhvr>
                                        <p:cTn id="386" dur="2000" tmFilter="0, 0; .2, .5; .8, .5; 1, 0"/>
                                        <p:tgtEl>
                                          <p:spTgt spid="162"/>
                                        </p:tgtEl>
                                      </p:cBhvr>
                                    </p:animEffect>
                                    <p:animScale>
                                      <p:cBhvr>
                                        <p:cTn id="387" dur="1000" autoRev="1" fill="hold"/>
                                        <p:tgtEl>
                                          <p:spTgt spid="162"/>
                                        </p:tgtEl>
                                      </p:cBhvr>
                                      <p:by x="105000" y="105000"/>
                                    </p:animScale>
                                  </p:childTnLst>
                                </p:cTn>
                              </p:par>
                              <p:par>
                                <p:cTn id="388" presetID="26" presetClass="emph" presetSubtype="0" dur="2000" repeatCount="indefinite" fill="hold" grpId="0" nodeType="withEffect">
                                  <p:stCondLst>
                                    <p:cond delay="2500"/>
                                  </p:stCondLst>
                                  <p:childTnLst>
                                    <p:animEffect transition="out" filter="fade">
                                      <p:cBhvr>
                                        <p:cTn id="389" dur="2000" tmFilter="0, 0; .2, .5; .8, .5; 1, 0"/>
                                        <p:tgtEl>
                                          <p:spTgt spid="179"/>
                                        </p:tgtEl>
                                      </p:cBhvr>
                                    </p:animEffect>
                                    <p:animScale>
                                      <p:cBhvr>
                                        <p:cTn id="390" dur="1000" autoRev="1" fill="hold"/>
                                        <p:tgtEl>
                                          <p:spTgt spid="179"/>
                                        </p:tgtEl>
                                      </p:cBhvr>
                                      <p:by x="105000" y="105000"/>
                                    </p:animScale>
                                  </p:childTnLst>
                                </p:cTn>
                              </p:par>
                              <p:par>
                                <p:cTn id="391" presetID="26" presetClass="emph" presetSubtype="0" dur="2000" repeatCount="indefinite" fill="hold" grpId="0" nodeType="withEffect">
                                  <p:stCondLst>
                                    <p:cond delay="2500"/>
                                  </p:stCondLst>
                                  <p:childTnLst>
                                    <p:animEffect transition="out" filter="fade">
                                      <p:cBhvr>
                                        <p:cTn id="392" dur="2000" tmFilter="0, 0; .2, .5; .8, .5; 1, 0"/>
                                        <p:tgtEl>
                                          <p:spTgt spid="196"/>
                                        </p:tgtEl>
                                      </p:cBhvr>
                                    </p:animEffect>
                                    <p:animScale>
                                      <p:cBhvr>
                                        <p:cTn id="393" dur="1000" autoRev="1" fill="hold"/>
                                        <p:tgtEl>
                                          <p:spTgt spid="196"/>
                                        </p:tgtEl>
                                      </p:cBhvr>
                                      <p:by x="105000" y="105000"/>
                                    </p:animScale>
                                  </p:childTnLst>
                                </p:cTn>
                              </p:par>
                              <p:par>
                                <p:cTn id="394" presetID="26" presetClass="emph" presetSubtype="0" dur="2000" repeatCount="indefinite" fill="hold" grpId="0" nodeType="withEffect">
                                  <p:stCondLst>
                                    <p:cond delay="2500"/>
                                  </p:stCondLst>
                                  <p:childTnLst>
                                    <p:animEffect transition="out" filter="fade">
                                      <p:cBhvr>
                                        <p:cTn id="395" dur="2000" tmFilter="0, 0; .2, .5; .8, .5; 1, 0"/>
                                        <p:tgtEl>
                                          <p:spTgt spid="213"/>
                                        </p:tgtEl>
                                      </p:cBhvr>
                                    </p:animEffect>
                                    <p:animScale>
                                      <p:cBhvr>
                                        <p:cTn id="396" dur="1000" autoRev="1" fill="hold"/>
                                        <p:tgtEl>
                                          <p:spTgt spid="213"/>
                                        </p:tgtEl>
                                      </p:cBhvr>
                                      <p:by x="105000" y="105000"/>
                                    </p:animScale>
                                  </p:childTnLst>
                                </p:cTn>
                              </p:par>
                              <p:par>
                                <p:cTn id="397" presetID="26" presetClass="emph" presetSubtype="0" dur="2000" repeatCount="indefinite" fill="hold" grpId="0" nodeType="withEffect">
                                  <p:stCondLst>
                                    <p:cond delay="2500"/>
                                  </p:stCondLst>
                                  <p:childTnLst>
                                    <p:animEffect transition="out" filter="fade">
                                      <p:cBhvr>
                                        <p:cTn id="398" dur="2000" tmFilter="0, 0; .2, .5; .8, .5; 1, 0"/>
                                        <p:tgtEl>
                                          <p:spTgt spid="229"/>
                                        </p:tgtEl>
                                      </p:cBhvr>
                                    </p:animEffect>
                                    <p:animScale>
                                      <p:cBhvr>
                                        <p:cTn id="399" dur="1000" autoRev="1" fill="hold"/>
                                        <p:tgtEl>
                                          <p:spTgt spid="229"/>
                                        </p:tgtEl>
                                      </p:cBhvr>
                                      <p:by x="105000" y="105000"/>
                                    </p:animScale>
                                  </p:childTnLst>
                                </p:cTn>
                              </p:par>
                              <p:par>
                                <p:cTn id="400" presetID="26" presetClass="emph" presetSubtype="0" dur="2000" repeatCount="indefinite" fill="hold" grpId="0" nodeType="withEffect">
                                  <p:stCondLst>
                                    <p:cond delay="2750"/>
                                  </p:stCondLst>
                                  <p:childTnLst>
                                    <p:animEffect transition="out" filter="fade">
                                      <p:cBhvr>
                                        <p:cTn id="401" dur="2000" tmFilter="0, 0; .2, .5; .8, .5; 1, 0"/>
                                        <p:tgtEl>
                                          <p:spTgt spid="18"/>
                                        </p:tgtEl>
                                      </p:cBhvr>
                                    </p:animEffect>
                                    <p:animScale>
                                      <p:cBhvr>
                                        <p:cTn id="402" dur="1000" autoRev="1" fill="hold"/>
                                        <p:tgtEl>
                                          <p:spTgt spid="18"/>
                                        </p:tgtEl>
                                      </p:cBhvr>
                                      <p:by x="105000" y="105000"/>
                                    </p:animScale>
                                  </p:childTnLst>
                                </p:cTn>
                              </p:par>
                              <p:par>
                                <p:cTn id="403" presetID="26" presetClass="emph" presetSubtype="0" dur="2000" repeatCount="indefinite" fill="hold" grpId="0" nodeType="withEffect">
                                  <p:stCondLst>
                                    <p:cond delay="2750"/>
                                  </p:stCondLst>
                                  <p:childTnLst>
                                    <p:animEffect transition="out" filter="fade">
                                      <p:cBhvr>
                                        <p:cTn id="404" dur="2000" tmFilter="0, 0; .2, .5; .8, .5; 1, 0"/>
                                        <p:tgtEl>
                                          <p:spTgt spid="33"/>
                                        </p:tgtEl>
                                      </p:cBhvr>
                                    </p:animEffect>
                                    <p:animScale>
                                      <p:cBhvr>
                                        <p:cTn id="405" dur="1000" autoRev="1" fill="hold"/>
                                        <p:tgtEl>
                                          <p:spTgt spid="33"/>
                                        </p:tgtEl>
                                      </p:cBhvr>
                                      <p:by x="105000" y="105000"/>
                                    </p:animScale>
                                  </p:childTnLst>
                                </p:cTn>
                              </p:par>
                              <p:par>
                                <p:cTn id="406" presetID="26" presetClass="emph" presetSubtype="0" dur="2000" repeatCount="indefinite" fill="hold" grpId="0" nodeType="withEffect">
                                  <p:stCondLst>
                                    <p:cond delay="2750"/>
                                  </p:stCondLst>
                                  <p:childTnLst>
                                    <p:animEffect transition="out" filter="fade">
                                      <p:cBhvr>
                                        <p:cTn id="407" dur="2000" tmFilter="0, 0; .2, .5; .8, .5; 1, 0"/>
                                        <p:tgtEl>
                                          <p:spTgt spid="49"/>
                                        </p:tgtEl>
                                      </p:cBhvr>
                                    </p:animEffect>
                                    <p:animScale>
                                      <p:cBhvr>
                                        <p:cTn id="408" dur="1000" autoRev="1" fill="hold"/>
                                        <p:tgtEl>
                                          <p:spTgt spid="49"/>
                                        </p:tgtEl>
                                      </p:cBhvr>
                                      <p:by x="105000" y="105000"/>
                                    </p:animScale>
                                  </p:childTnLst>
                                </p:cTn>
                              </p:par>
                              <p:par>
                                <p:cTn id="409" presetID="26" presetClass="emph" presetSubtype="0" dur="2000" repeatCount="indefinite" fill="hold" grpId="0" nodeType="withEffect">
                                  <p:stCondLst>
                                    <p:cond delay="2750"/>
                                  </p:stCondLst>
                                  <p:childTnLst>
                                    <p:animEffect transition="out" filter="fade">
                                      <p:cBhvr>
                                        <p:cTn id="410" dur="2000" tmFilter="0, 0; .2, .5; .8, .5; 1, 0"/>
                                        <p:tgtEl>
                                          <p:spTgt spid="65"/>
                                        </p:tgtEl>
                                      </p:cBhvr>
                                    </p:animEffect>
                                    <p:animScale>
                                      <p:cBhvr>
                                        <p:cTn id="411" dur="1000" autoRev="1" fill="hold"/>
                                        <p:tgtEl>
                                          <p:spTgt spid="65"/>
                                        </p:tgtEl>
                                      </p:cBhvr>
                                      <p:by x="105000" y="105000"/>
                                    </p:animScale>
                                  </p:childTnLst>
                                </p:cTn>
                              </p:par>
                              <p:par>
                                <p:cTn id="412" presetID="26" presetClass="emph" presetSubtype="0" dur="2000" repeatCount="indefinite" fill="hold" grpId="0" nodeType="withEffect">
                                  <p:stCondLst>
                                    <p:cond delay="2750"/>
                                  </p:stCondLst>
                                  <p:childTnLst>
                                    <p:animEffect transition="out" filter="fade">
                                      <p:cBhvr>
                                        <p:cTn id="413" dur="2000" tmFilter="0, 0; .2, .5; .8, .5; 1, 0"/>
                                        <p:tgtEl>
                                          <p:spTgt spid="81"/>
                                        </p:tgtEl>
                                      </p:cBhvr>
                                    </p:animEffect>
                                    <p:animScale>
                                      <p:cBhvr>
                                        <p:cTn id="414" dur="1000" autoRev="1" fill="hold"/>
                                        <p:tgtEl>
                                          <p:spTgt spid="81"/>
                                        </p:tgtEl>
                                      </p:cBhvr>
                                      <p:by x="105000" y="105000"/>
                                    </p:animScale>
                                  </p:childTnLst>
                                </p:cTn>
                              </p:par>
                              <p:par>
                                <p:cTn id="415" presetID="26" presetClass="emph" presetSubtype="0" dur="2000" repeatCount="indefinite" fill="hold" grpId="0" nodeType="withEffect">
                                  <p:stCondLst>
                                    <p:cond delay="2750"/>
                                  </p:stCondLst>
                                  <p:childTnLst>
                                    <p:animEffect transition="out" filter="fade">
                                      <p:cBhvr>
                                        <p:cTn id="416" dur="2000" tmFilter="0, 0; .2, .5; .8, .5; 1, 0"/>
                                        <p:tgtEl>
                                          <p:spTgt spid="97"/>
                                        </p:tgtEl>
                                      </p:cBhvr>
                                    </p:animEffect>
                                    <p:animScale>
                                      <p:cBhvr>
                                        <p:cTn id="417" dur="1000" autoRev="1" fill="hold"/>
                                        <p:tgtEl>
                                          <p:spTgt spid="97"/>
                                        </p:tgtEl>
                                      </p:cBhvr>
                                      <p:by x="105000" y="105000"/>
                                    </p:animScale>
                                  </p:childTnLst>
                                </p:cTn>
                              </p:par>
                              <p:par>
                                <p:cTn id="418" presetID="26" presetClass="emph" presetSubtype="0" dur="2000" repeatCount="indefinite" fill="hold" grpId="0" nodeType="withEffect">
                                  <p:stCondLst>
                                    <p:cond delay="2750"/>
                                  </p:stCondLst>
                                  <p:childTnLst>
                                    <p:animEffect transition="out" filter="fade">
                                      <p:cBhvr>
                                        <p:cTn id="419" dur="2000" tmFilter="0, 0; .2, .5; .8, .5; 1, 0"/>
                                        <p:tgtEl>
                                          <p:spTgt spid="113"/>
                                        </p:tgtEl>
                                      </p:cBhvr>
                                    </p:animEffect>
                                    <p:animScale>
                                      <p:cBhvr>
                                        <p:cTn id="420" dur="1000" autoRev="1" fill="hold"/>
                                        <p:tgtEl>
                                          <p:spTgt spid="113"/>
                                        </p:tgtEl>
                                      </p:cBhvr>
                                      <p:by x="105000" y="105000"/>
                                    </p:animScale>
                                  </p:childTnLst>
                                </p:cTn>
                              </p:par>
                              <p:par>
                                <p:cTn id="421" presetID="26" presetClass="emph" presetSubtype="0" dur="2000" repeatCount="indefinite" fill="hold" grpId="0" nodeType="withEffect">
                                  <p:stCondLst>
                                    <p:cond delay="2750"/>
                                  </p:stCondLst>
                                  <p:childTnLst>
                                    <p:animEffect transition="out" filter="fade">
                                      <p:cBhvr>
                                        <p:cTn id="422" dur="2000" tmFilter="0, 0; .2, .5; .8, .5; 1, 0"/>
                                        <p:tgtEl>
                                          <p:spTgt spid="129"/>
                                        </p:tgtEl>
                                      </p:cBhvr>
                                    </p:animEffect>
                                    <p:animScale>
                                      <p:cBhvr>
                                        <p:cTn id="423" dur="1000" autoRev="1" fill="hold"/>
                                        <p:tgtEl>
                                          <p:spTgt spid="129"/>
                                        </p:tgtEl>
                                      </p:cBhvr>
                                      <p:by x="105000" y="105000"/>
                                    </p:animScale>
                                  </p:childTnLst>
                                </p:cTn>
                              </p:par>
                              <p:par>
                                <p:cTn id="424" presetID="26" presetClass="emph" presetSubtype="0" dur="2000" repeatCount="indefinite" fill="hold" grpId="0" nodeType="withEffect">
                                  <p:stCondLst>
                                    <p:cond delay="2750"/>
                                  </p:stCondLst>
                                  <p:childTnLst>
                                    <p:animEffect transition="out" filter="fade">
                                      <p:cBhvr>
                                        <p:cTn id="425" dur="2000" tmFilter="0, 0; .2, .5; .8, .5; 1, 0"/>
                                        <p:tgtEl>
                                          <p:spTgt spid="146"/>
                                        </p:tgtEl>
                                      </p:cBhvr>
                                    </p:animEffect>
                                    <p:animScale>
                                      <p:cBhvr>
                                        <p:cTn id="426" dur="1000" autoRev="1" fill="hold"/>
                                        <p:tgtEl>
                                          <p:spTgt spid="146"/>
                                        </p:tgtEl>
                                      </p:cBhvr>
                                      <p:by x="105000" y="105000"/>
                                    </p:animScale>
                                  </p:childTnLst>
                                </p:cTn>
                              </p:par>
                              <p:par>
                                <p:cTn id="427" presetID="26" presetClass="emph" presetSubtype="0" dur="2000" repeatCount="indefinite" fill="hold" grpId="0" nodeType="withEffect">
                                  <p:stCondLst>
                                    <p:cond delay="2750"/>
                                  </p:stCondLst>
                                  <p:childTnLst>
                                    <p:animEffect transition="out" filter="fade">
                                      <p:cBhvr>
                                        <p:cTn id="428" dur="2000" tmFilter="0, 0; .2, .5; .8, .5; 1, 0"/>
                                        <p:tgtEl>
                                          <p:spTgt spid="163"/>
                                        </p:tgtEl>
                                      </p:cBhvr>
                                    </p:animEffect>
                                    <p:animScale>
                                      <p:cBhvr>
                                        <p:cTn id="429" dur="1000" autoRev="1" fill="hold"/>
                                        <p:tgtEl>
                                          <p:spTgt spid="163"/>
                                        </p:tgtEl>
                                      </p:cBhvr>
                                      <p:by x="105000" y="105000"/>
                                    </p:animScale>
                                  </p:childTnLst>
                                </p:cTn>
                              </p:par>
                              <p:par>
                                <p:cTn id="430" presetID="26" presetClass="emph" presetSubtype="0" dur="2000" repeatCount="indefinite" fill="hold" grpId="0" nodeType="withEffect">
                                  <p:stCondLst>
                                    <p:cond delay="2750"/>
                                  </p:stCondLst>
                                  <p:childTnLst>
                                    <p:animEffect transition="out" filter="fade">
                                      <p:cBhvr>
                                        <p:cTn id="431" dur="2000" tmFilter="0, 0; .2, .5; .8, .5; 1, 0"/>
                                        <p:tgtEl>
                                          <p:spTgt spid="180"/>
                                        </p:tgtEl>
                                      </p:cBhvr>
                                    </p:animEffect>
                                    <p:animScale>
                                      <p:cBhvr>
                                        <p:cTn id="432" dur="1000" autoRev="1" fill="hold"/>
                                        <p:tgtEl>
                                          <p:spTgt spid="180"/>
                                        </p:tgtEl>
                                      </p:cBhvr>
                                      <p:by x="105000" y="105000"/>
                                    </p:animScale>
                                  </p:childTnLst>
                                </p:cTn>
                              </p:par>
                              <p:par>
                                <p:cTn id="433" presetID="26" presetClass="emph" presetSubtype="0" dur="2000" repeatCount="indefinite" fill="hold" grpId="0" nodeType="withEffect">
                                  <p:stCondLst>
                                    <p:cond delay="2750"/>
                                  </p:stCondLst>
                                  <p:childTnLst>
                                    <p:animEffect transition="out" filter="fade">
                                      <p:cBhvr>
                                        <p:cTn id="434" dur="2000" tmFilter="0, 0; .2, .5; .8, .5; 1, 0"/>
                                        <p:tgtEl>
                                          <p:spTgt spid="197"/>
                                        </p:tgtEl>
                                      </p:cBhvr>
                                    </p:animEffect>
                                    <p:animScale>
                                      <p:cBhvr>
                                        <p:cTn id="435" dur="1000" autoRev="1" fill="hold"/>
                                        <p:tgtEl>
                                          <p:spTgt spid="197"/>
                                        </p:tgtEl>
                                      </p:cBhvr>
                                      <p:by x="105000" y="105000"/>
                                    </p:animScale>
                                  </p:childTnLst>
                                </p:cTn>
                              </p:par>
                              <p:par>
                                <p:cTn id="436" presetID="26" presetClass="emph" presetSubtype="0" dur="2000" repeatCount="indefinite" fill="hold" grpId="0" nodeType="withEffect">
                                  <p:stCondLst>
                                    <p:cond delay="2750"/>
                                  </p:stCondLst>
                                  <p:childTnLst>
                                    <p:animEffect transition="out" filter="fade">
                                      <p:cBhvr>
                                        <p:cTn id="437" dur="2000" tmFilter="0, 0; .2, .5; .8, .5; 1, 0"/>
                                        <p:tgtEl>
                                          <p:spTgt spid="214"/>
                                        </p:tgtEl>
                                      </p:cBhvr>
                                    </p:animEffect>
                                    <p:animScale>
                                      <p:cBhvr>
                                        <p:cTn id="438" dur="1000" autoRev="1" fill="hold"/>
                                        <p:tgtEl>
                                          <p:spTgt spid="214"/>
                                        </p:tgtEl>
                                      </p:cBhvr>
                                      <p:by x="105000" y="105000"/>
                                    </p:animScale>
                                  </p:childTnLst>
                                </p:cTn>
                              </p:par>
                              <p:par>
                                <p:cTn id="439" presetID="26" presetClass="emph" presetSubtype="0" dur="2000" repeatCount="indefinite" fill="hold" grpId="0" nodeType="withEffect">
                                  <p:stCondLst>
                                    <p:cond delay="2750"/>
                                  </p:stCondLst>
                                  <p:childTnLst>
                                    <p:animEffect transition="out" filter="fade">
                                      <p:cBhvr>
                                        <p:cTn id="440" dur="2000" tmFilter="0, 0; .2, .5; .8, .5; 1, 0"/>
                                        <p:tgtEl>
                                          <p:spTgt spid="230"/>
                                        </p:tgtEl>
                                      </p:cBhvr>
                                    </p:animEffect>
                                    <p:animScale>
                                      <p:cBhvr>
                                        <p:cTn id="441" dur="1000" autoRev="1" fill="hold"/>
                                        <p:tgtEl>
                                          <p:spTgt spid="230"/>
                                        </p:tgtEl>
                                      </p:cBhvr>
                                      <p:by x="105000" y="105000"/>
                                    </p:animScale>
                                  </p:childTnLst>
                                </p:cTn>
                              </p:par>
                              <p:par>
                                <p:cTn id="442" presetID="26" presetClass="emph" presetSubtype="0" dur="2000" repeatCount="indefinite" fill="hold" grpId="0" nodeType="withEffect">
                                  <p:stCondLst>
                                    <p:cond delay="3000"/>
                                  </p:stCondLst>
                                  <p:childTnLst>
                                    <p:animEffect transition="out" filter="fade">
                                      <p:cBhvr>
                                        <p:cTn id="443" dur="2000" tmFilter="0, 0; .2, .5; .8, .5; 1, 0"/>
                                        <p:tgtEl>
                                          <p:spTgt spid="19"/>
                                        </p:tgtEl>
                                      </p:cBhvr>
                                    </p:animEffect>
                                    <p:animScale>
                                      <p:cBhvr>
                                        <p:cTn id="444" dur="1000" autoRev="1" fill="hold"/>
                                        <p:tgtEl>
                                          <p:spTgt spid="19"/>
                                        </p:tgtEl>
                                      </p:cBhvr>
                                      <p:by x="105000" y="105000"/>
                                    </p:animScale>
                                  </p:childTnLst>
                                </p:cTn>
                              </p:par>
                              <p:par>
                                <p:cTn id="445" presetID="26" presetClass="emph" presetSubtype="0" dur="2000" repeatCount="indefinite" fill="hold" grpId="0" nodeType="withEffect">
                                  <p:stCondLst>
                                    <p:cond delay="3000"/>
                                  </p:stCondLst>
                                  <p:childTnLst>
                                    <p:animEffect transition="out" filter="fade">
                                      <p:cBhvr>
                                        <p:cTn id="446" dur="2000" tmFilter="0, 0; .2, .5; .8, .5; 1, 0"/>
                                        <p:tgtEl>
                                          <p:spTgt spid="34"/>
                                        </p:tgtEl>
                                      </p:cBhvr>
                                    </p:animEffect>
                                    <p:animScale>
                                      <p:cBhvr>
                                        <p:cTn id="447" dur="1000" autoRev="1" fill="hold"/>
                                        <p:tgtEl>
                                          <p:spTgt spid="34"/>
                                        </p:tgtEl>
                                      </p:cBhvr>
                                      <p:by x="105000" y="105000"/>
                                    </p:animScale>
                                  </p:childTnLst>
                                </p:cTn>
                              </p:par>
                              <p:par>
                                <p:cTn id="448" presetID="26" presetClass="emph" presetSubtype="0" dur="2000" repeatCount="indefinite" fill="hold" grpId="0" nodeType="withEffect">
                                  <p:stCondLst>
                                    <p:cond delay="3000"/>
                                  </p:stCondLst>
                                  <p:childTnLst>
                                    <p:animEffect transition="out" filter="fade">
                                      <p:cBhvr>
                                        <p:cTn id="449" dur="2000" tmFilter="0, 0; .2, .5; .8, .5; 1, 0"/>
                                        <p:tgtEl>
                                          <p:spTgt spid="50"/>
                                        </p:tgtEl>
                                      </p:cBhvr>
                                    </p:animEffect>
                                    <p:animScale>
                                      <p:cBhvr>
                                        <p:cTn id="450" dur="1000" autoRev="1" fill="hold"/>
                                        <p:tgtEl>
                                          <p:spTgt spid="50"/>
                                        </p:tgtEl>
                                      </p:cBhvr>
                                      <p:by x="105000" y="105000"/>
                                    </p:animScale>
                                  </p:childTnLst>
                                </p:cTn>
                              </p:par>
                              <p:par>
                                <p:cTn id="451" presetID="26" presetClass="emph" presetSubtype="0" dur="2000" repeatCount="indefinite" fill="hold" grpId="0" nodeType="withEffect">
                                  <p:stCondLst>
                                    <p:cond delay="3000"/>
                                  </p:stCondLst>
                                  <p:childTnLst>
                                    <p:animEffect transition="out" filter="fade">
                                      <p:cBhvr>
                                        <p:cTn id="452" dur="2000" tmFilter="0, 0; .2, .5; .8, .5; 1, 0"/>
                                        <p:tgtEl>
                                          <p:spTgt spid="66"/>
                                        </p:tgtEl>
                                      </p:cBhvr>
                                    </p:animEffect>
                                    <p:animScale>
                                      <p:cBhvr>
                                        <p:cTn id="453" dur="1000" autoRev="1" fill="hold"/>
                                        <p:tgtEl>
                                          <p:spTgt spid="66"/>
                                        </p:tgtEl>
                                      </p:cBhvr>
                                      <p:by x="105000" y="105000"/>
                                    </p:animScale>
                                  </p:childTnLst>
                                </p:cTn>
                              </p:par>
                              <p:par>
                                <p:cTn id="454" presetID="26" presetClass="emph" presetSubtype="0" dur="2000" repeatCount="indefinite" fill="hold" grpId="0" nodeType="withEffect">
                                  <p:stCondLst>
                                    <p:cond delay="3000"/>
                                  </p:stCondLst>
                                  <p:childTnLst>
                                    <p:animEffect transition="out" filter="fade">
                                      <p:cBhvr>
                                        <p:cTn id="455" dur="2000" tmFilter="0, 0; .2, .5; .8, .5; 1, 0"/>
                                        <p:tgtEl>
                                          <p:spTgt spid="82"/>
                                        </p:tgtEl>
                                      </p:cBhvr>
                                    </p:animEffect>
                                    <p:animScale>
                                      <p:cBhvr>
                                        <p:cTn id="456" dur="1000" autoRev="1" fill="hold"/>
                                        <p:tgtEl>
                                          <p:spTgt spid="82"/>
                                        </p:tgtEl>
                                      </p:cBhvr>
                                      <p:by x="105000" y="105000"/>
                                    </p:animScale>
                                  </p:childTnLst>
                                </p:cTn>
                              </p:par>
                              <p:par>
                                <p:cTn id="457" presetID="26" presetClass="emph" presetSubtype="0" dur="2000" repeatCount="indefinite" fill="hold" grpId="0" nodeType="withEffect">
                                  <p:stCondLst>
                                    <p:cond delay="3000"/>
                                  </p:stCondLst>
                                  <p:childTnLst>
                                    <p:animEffect transition="out" filter="fade">
                                      <p:cBhvr>
                                        <p:cTn id="458" dur="2000" tmFilter="0, 0; .2, .5; .8, .5; 1, 0"/>
                                        <p:tgtEl>
                                          <p:spTgt spid="98"/>
                                        </p:tgtEl>
                                      </p:cBhvr>
                                    </p:animEffect>
                                    <p:animScale>
                                      <p:cBhvr>
                                        <p:cTn id="459" dur="1000" autoRev="1" fill="hold"/>
                                        <p:tgtEl>
                                          <p:spTgt spid="98"/>
                                        </p:tgtEl>
                                      </p:cBhvr>
                                      <p:by x="105000" y="105000"/>
                                    </p:animScale>
                                  </p:childTnLst>
                                </p:cTn>
                              </p:par>
                              <p:par>
                                <p:cTn id="460" presetID="26" presetClass="emph" presetSubtype="0" dur="2000" repeatCount="indefinite" fill="hold" grpId="0" nodeType="withEffect">
                                  <p:stCondLst>
                                    <p:cond delay="3000"/>
                                  </p:stCondLst>
                                  <p:childTnLst>
                                    <p:animEffect transition="out" filter="fade">
                                      <p:cBhvr>
                                        <p:cTn id="461" dur="2000" tmFilter="0, 0; .2, .5; .8, .5; 1, 0"/>
                                        <p:tgtEl>
                                          <p:spTgt spid="114"/>
                                        </p:tgtEl>
                                      </p:cBhvr>
                                    </p:animEffect>
                                    <p:animScale>
                                      <p:cBhvr>
                                        <p:cTn id="462" dur="1000" autoRev="1" fill="hold"/>
                                        <p:tgtEl>
                                          <p:spTgt spid="114"/>
                                        </p:tgtEl>
                                      </p:cBhvr>
                                      <p:by x="105000" y="105000"/>
                                    </p:animScale>
                                  </p:childTnLst>
                                </p:cTn>
                              </p:par>
                              <p:par>
                                <p:cTn id="463" presetID="26" presetClass="emph" presetSubtype="0" dur="2000" repeatCount="indefinite" fill="hold" grpId="0" nodeType="withEffect">
                                  <p:stCondLst>
                                    <p:cond delay="3000"/>
                                  </p:stCondLst>
                                  <p:childTnLst>
                                    <p:animEffect transition="out" filter="fade">
                                      <p:cBhvr>
                                        <p:cTn id="464" dur="2000" tmFilter="0, 0; .2, .5; .8, .5; 1, 0"/>
                                        <p:tgtEl>
                                          <p:spTgt spid="130"/>
                                        </p:tgtEl>
                                      </p:cBhvr>
                                    </p:animEffect>
                                    <p:animScale>
                                      <p:cBhvr>
                                        <p:cTn id="465" dur="1000" autoRev="1" fill="hold"/>
                                        <p:tgtEl>
                                          <p:spTgt spid="130"/>
                                        </p:tgtEl>
                                      </p:cBhvr>
                                      <p:by x="105000" y="105000"/>
                                    </p:animScale>
                                  </p:childTnLst>
                                </p:cTn>
                              </p:par>
                              <p:par>
                                <p:cTn id="466" presetID="26" presetClass="emph" presetSubtype="0" dur="2000" repeatCount="indefinite" fill="hold" grpId="0" nodeType="withEffect">
                                  <p:stCondLst>
                                    <p:cond delay="3000"/>
                                  </p:stCondLst>
                                  <p:childTnLst>
                                    <p:animEffect transition="out" filter="fade">
                                      <p:cBhvr>
                                        <p:cTn id="467" dur="2000" tmFilter="0, 0; .2, .5; .8, .5; 1, 0"/>
                                        <p:tgtEl>
                                          <p:spTgt spid="147"/>
                                        </p:tgtEl>
                                      </p:cBhvr>
                                    </p:animEffect>
                                    <p:animScale>
                                      <p:cBhvr>
                                        <p:cTn id="468" dur="1000" autoRev="1" fill="hold"/>
                                        <p:tgtEl>
                                          <p:spTgt spid="147"/>
                                        </p:tgtEl>
                                      </p:cBhvr>
                                      <p:by x="105000" y="105000"/>
                                    </p:animScale>
                                  </p:childTnLst>
                                </p:cTn>
                              </p:par>
                              <p:par>
                                <p:cTn id="469" presetID="26" presetClass="emph" presetSubtype="0" dur="2000" repeatCount="indefinite" fill="hold" grpId="0" nodeType="withEffect">
                                  <p:stCondLst>
                                    <p:cond delay="3000"/>
                                  </p:stCondLst>
                                  <p:childTnLst>
                                    <p:animEffect transition="out" filter="fade">
                                      <p:cBhvr>
                                        <p:cTn id="470" dur="2000" tmFilter="0, 0; .2, .5; .8, .5; 1, 0"/>
                                        <p:tgtEl>
                                          <p:spTgt spid="164"/>
                                        </p:tgtEl>
                                      </p:cBhvr>
                                    </p:animEffect>
                                    <p:animScale>
                                      <p:cBhvr>
                                        <p:cTn id="471" dur="1000" autoRev="1" fill="hold"/>
                                        <p:tgtEl>
                                          <p:spTgt spid="164"/>
                                        </p:tgtEl>
                                      </p:cBhvr>
                                      <p:by x="105000" y="105000"/>
                                    </p:animScale>
                                  </p:childTnLst>
                                </p:cTn>
                              </p:par>
                              <p:par>
                                <p:cTn id="472" presetID="26" presetClass="emph" presetSubtype="0" dur="2000" repeatCount="indefinite" fill="hold" grpId="0" nodeType="withEffect">
                                  <p:stCondLst>
                                    <p:cond delay="3000"/>
                                  </p:stCondLst>
                                  <p:childTnLst>
                                    <p:animEffect transition="out" filter="fade">
                                      <p:cBhvr>
                                        <p:cTn id="473" dur="2000" tmFilter="0, 0; .2, .5; .8, .5; 1, 0"/>
                                        <p:tgtEl>
                                          <p:spTgt spid="181"/>
                                        </p:tgtEl>
                                      </p:cBhvr>
                                    </p:animEffect>
                                    <p:animScale>
                                      <p:cBhvr>
                                        <p:cTn id="474" dur="1000" autoRev="1" fill="hold"/>
                                        <p:tgtEl>
                                          <p:spTgt spid="181"/>
                                        </p:tgtEl>
                                      </p:cBhvr>
                                      <p:by x="105000" y="105000"/>
                                    </p:animScale>
                                  </p:childTnLst>
                                </p:cTn>
                              </p:par>
                              <p:par>
                                <p:cTn id="475" presetID="26" presetClass="emph" presetSubtype="0" dur="2000" repeatCount="indefinite" fill="hold" grpId="0" nodeType="withEffect">
                                  <p:stCondLst>
                                    <p:cond delay="3000"/>
                                  </p:stCondLst>
                                  <p:childTnLst>
                                    <p:animEffect transition="out" filter="fade">
                                      <p:cBhvr>
                                        <p:cTn id="476" dur="2000" tmFilter="0, 0; .2, .5; .8, .5; 1, 0"/>
                                        <p:tgtEl>
                                          <p:spTgt spid="198"/>
                                        </p:tgtEl>
                                      </p:cBhvr>
                                    </p:animEffect>
                                    <p:animScale>
                                      <p:cBhvr>
                                        <p:cTn id="477" dur="1000" autoRev="1" fill="hold"/>
                                        <p:tgtEl>
                                          <p:spTgt spid="198"/>
                                        </p:tgtEl>
                                      </p:cBhvr>
                                      <p:by x="105000" y="105000"/>
                                    </p:animScale>
                                  </p:childTnLst>
                                </p:cTn>
                              </p:par>
                              <p:par>
                                <p:cTn id="478" presetID="26" presetClass="emph" presetSubtype="0" dur="2000" repeatCount="indefinite" fill="hold" grpId="0" nodeType="withEffect">
                                  <p:stCondLst>
                                    <p:cond delay="3000"/>
                                  </p:stCondLst>
                                  <p:childTnLst>
                                    <p:animEffect transition="out" filter="fade">
                                      <p:cBhvr>
                                        <p:cTn id="479" dur="2000" tmFilter="0, 0; .2, .5; .8, .5; 1, 0"/>
                                        <p:tgtEl>
                                          <p:spTgt spid="215"/>
                                        </p:tgtEl>
                                      </p:cBhvr>
                                    </p:animEffect>
                                    <p:animScale>
                                      <p:cBhvr>
                                        <p:cTn id="480" dur="1000" autoRev="1" fill="hold"/>
                                        <p:tgtEl>
                                          <p:spTgt spid="215"/>
                                        </p:tgtEl>
                                      </p:cBhvr>
                                      <p:by x="105000" y="105000"/>
                                    </p:animScale>
                                  </p:childTnLst>
                                </p:cTn>
                              </p:par>
                              <p:par>
                                <p:cTn id="481" presetID="26" presetClass="emph" presetSubtype="0" dur="2000" repeatCount="indefinite" fill="hold" grpId="0" nodeType="withEffect">
                                  <p:stCondLst>
                                    <p:cond delay="3000"/>
                                  </p:stCondLst>
                                  <p:childTnLst>
                                    <p:animEffect transition="out" filter="fade">
                                      <p:cBhvr>
                                        <p:cTn id="482" dur="2000" tmFilter="0, 0; .2, .5; .8, .5; 1, 0"/>
                                        <p:tgtEl>
                                          <p:spTgt spid="231"/>
                                        </p:tgtEl>
                                      </p:cBhvr>
                                    </p:animEffect>
                                    <p:animScale>
                                      <p:cBhvr>
                                        <p:cTn id="483" dur="1000" autoRev="1" fill="hold"/>
                                        <p:tgtEl>
                                          <p:spTgt spid="231"/>
                                        </p:tgtEl>
                                      </p:cBhvr>
                                      <p:by x="105000" y="105000"/>
                                    </p:animScale>
                                  </p:childTnLst>
                                </p:cTn>
                              </p:par>
                              <p:par>
                                <p:cTn id="484" presetID="26" presetClass="emph" presetSubtype="0" dur="2000" repeatCount="indefinite" fill="hold" grpId="0" nodeType="withEffect">
                                  <p:stCondLst>
                                    <p:cond delay="3250"/>
                                  </p:stCondLst>
                                  <p:childTnLst>
                                    <p:animEffect transition="out" filter="fade">
                                      <p:cBhvr>
                                        <p:cTn id="485" dur="2000" tmFilter="0, 0; .2, .5; .8, .5; 1, 0"/>
                                        <p:tgtEl>
                                          <p:spTgt spid="20"/>
                                        </p:tgtEl>
                                      </p:cBhvr>
                                    </p:animEffect>
                                    <p:animScale>
                                      <p:cBhvr>
                                        <p:cTn id="486" dur="1000" autoRev="1" fill="hold"/>
                                        <p:tgtEl>
                                          <p:spTgt spid="20"/>
                                        </p:tgtEl>
                                      </p:cBhvr>
                                      <p:by x="105000" y="105000"/>
                                    </p:animScale>
                                  </p:childTnLst>
                                </p:cTn>
                              </p:par>
                              <p:par>
                                <p:cTn id="487" presetID="26" presetClass="emph" presetSubtype="0" dur="2000" repeatCount="indefinite" fill="hold" grpId="0" nodeType="withEffect">
                                  <p:stCondLst>
                                    <p:cond delay="3250"/>
                                  </p:stCondLst>
                                  <p:childTnLst>
                                    <p:animEffect transition="out" filter="fade">
                                      <p:cBhvr>
                                        <p:cTn id="488" dur="2000" tmFilter="0, 0; .2, .5; .8, .5; 1, 0"/>
                                        <p:tgtEl>
                                          <p:spTgt spid="35"/>
                                        </p:tgtEl>
                                      </p:cBhvr>
                                    </p:animEffect>
                                    <p:animScale>
                                      <p:cBhvr>
                                        <p:cTn id="489" dur="1000" autoRev="1" fill="hold"/>
                                        <p:tgtEl>
                                          <p:spTgt spid="35"/>
                                        </p:tgtEl>
                                      </p:cBhvr>
                                      <p:by x="105000" y="105000"/>
                                    </p:animScale>
                                  </p:childTnLst>
                                </p:cTn>
                              </p:par>
                              <p:par>
                                <p:cTn id="490" presetID="26" presetClass="emph" presetSubtype="0" dur="2000" repeatCount="indefinite" fill="hold" grpId="0" nodeType="withEffect">
                                  <p:stCondLst>
                                    <p:cond delay="3250"/>
                                  </p:stCondLst>
                                  <p:childTnLst>
                                    <p:animEffect transition="out" filter="fade">
                                      <p:cBhvr>
                                        <p:cTn id="491" dur="2000" tmFilter="0, 0; .2, .5; .8, .5; 1, 0"/>
                                        <p:tgtEl>
                                          <p:spTgt spid="51"/>
                                        </p:tgtEl>
                                      </p:cBhvr>
                                    </p:animEffect>
                                    <p:animScale>
                                      <p:cBhvr>
                                        <p:cTn id="492" dur="1000" autoRev="1" fill="hold"/>
                                        <p:tgtEl>
                                          <p:spTgt spid="51"/>
                                        </p:tgtEl>
                                      </p:cBhvr>
                                      <p:by x="105000" y="105000"/>
                                    </p:animScale>
                                  </p:childTnLst>
                                </p:cTn>
                              </p:par>
                              <p:par>
                                <p:cTn id="493" presetID="26" presetClass="emph" presetSubtype="0" dur="2000" repeatCount="indefinite" fill="hold" grpId="0" nodeType="withEffect">
                                  <p:stCondLst>
                                    <p:cond delay="3250"/>
                                  </p:stCondLst>
                                  <p:childTnLst>
                                    <p:animEffect transition="out" filter="fade">
                                      <p:cBhvr>
                                        <p:cTn id="494" dur="2000" tmFilter="0, 0; .2, .5; .8, .5; 1, 0"/>
                                        <p:tgtEl>
                                          <p:spTgt spid="67"/>
                                        </p:tgtEl>
                                      </p:cBhvr>
                                    </p:animEffect>
                                    <p:animScale>
                                      <p:cBhvr>
                                        <p:cTn id="495" dur="1000" autoRev="1" fill="hold"/>
                                        <p:tgtEl>
                                          <p:spTgt spid="67"/>
                                        </p:tgtEl>
                                      </p:cBhvr>
                                      <p:by x="105000" y="105000"/>
                                    </p:animScale>
                                  </p:childTnLst>
                                </p:cTn>
                              </p:par>
                              <p:par>
                                <p:cTn id="496" presetID="26" presetClass="emph" presetSubtype="0" dur="2000" repeatCount="indefinite" fill="hold" grpId="0" nodeType="withEffect">
                                  <p:stCondLst>
                                    <p:cond delay="3250"/>
                                  </p:stCondLst>
                                  <p:childTnLst>
                                    <p:animEffect transition="out" filter="fade">
                                      <p:cBhvr>
                                        <p:cTn id="497" dur="2000" tmFilter="0, 0; .2, .5; .8, .5; 1, 0"/>
                                        <p:tgtEl>
                                          <p:spTgt spid="83"/>
                                        </p:tgtEl>
                                      </p:cBhvr>
                                    </p:animEffect>
                                    <p:animScale>
                                      <p:cBhvr>
                                        <p:cTn id="498" dur="1000" autoRev="1" fill="hold"/>
                                        <p:tgtEl>
                                          <p:spTgt spid="83"/>
                                        </p:tgtEl>
                                      </p:cBhvr>
                                      <p:by x="105000" y="105000"/>
                                    </p:animScale>
                                  </p:childTnLst>
                                </p:cTn>
                              </p:par>
                              <p:par>
                                <p:cTn id="499" presetID="26" presetClass="emph" presetSubtype="0" dur="2000" repeatCount="indefinite" fill="hold" grpId="0" nodeType="withEffect">
                                  <p:stCondLst>
                                    <p:cond delay="3250"/>
                                  </p:stCondLst>
                                  <p:childTnLst>
                                    <p:animEffect transition="out" filter="fade">
                                      <p:cBhvr>
                                        <p:cTn id="500" dur="2000" tmFilter="0, 0; .2, .5; .8, .5; 1, 0"/>
                                        <p:tgtEl>
                                          <p:spTgt spid="99"/>
                                        </p:tgtEl>
                                      </p:cBhvr>
                                    </p:animEffect>
                                    <p:animScale>
                                      <p:cBhvr>
                                        <p:cTn id="501" dur="1000" autoRev="1" fill="hold"/>
                                        <p:tgtEl>
                                          <p:spTgt spid="99"/>
                                        </p:tgtEl>
                                      </p:cBhvr>
                                      <p:by x="105000" y="105000"/>
                                    </p:animScale>
                                  </p:childTnLst>
                                </p:cTn>
                              </p:par>
                              <p:par>
                                <p:cTn id="502" presetID="26" presetClass="emph" presetSubtype="0" dur="2000" repeatCount="indefinite" fill="hold" grpId="0" nodeType="withEffect">
                                  <p:stCondLst>
                                    <p:cond delay="3250"/>
                                  </p:stCondLst>
                                  <p:childTnLst>
                                    <p:animEffect transition="out" filter="fade">
                                      <p:cBhvr>
                                        <p:cTn id="503" dur="2000" tmFilter="0, 0; .2, .5; .8, .5; 1, 0"/>
                                        <p:tgtEl>
                                          <p:spTgt spid="115"/>
                                        </p:tgtEl>
                                      </p:cBhvr>
                                    </p:animEffect>
                                    <p:animScale>
                                      <p:cBhvr>
                                        <p:cTn id="504" dur="1000" autoRev="1" fill="hold"/>
                                        <p:tgtEl>
                                          <p:spTgt spid="115"/>
                                        </p:tgtEl>
                                      </p:cBhvr>
                                      <p:by x="105000" y="105000"/>
                                    </p:animScale>
                                  </p:childTnLst>
                                </p:cTn>
                              </p:par>
                              <p:par>
                                <p:cTn id="505" presetID="26" presetClass="emph" presetSubtype="0" dur="2000" repeatCount="indefinite" fill="hold" grpId="0" nodeType="withEffect">
                                  <p:stCondLst>
                                    <p:cond delay="3250"/>
                                  </p:stCondLst>
                                  <p:childTnLst>
                                    <p:animEffect transition="out" filter="fade">
                                      <p:cBhvr>
                                        <p:cTn id="506" dur="2000" tmFilter="0, 0; .2, .5; .8, .5; 1, 0"/>
                                        <p:tgtEl>
                                          <p:spTgt spid="131"/>
                                        </p:tgtEl>
                                      </p:cBhvr>
                                    </p:animEffect>
                                    <p:animScale>
                                      <p:cBhvr>
                                        <p:cTn id="507" dur="1000" autoRev="1" fill="hold"/>
                                        <p:tgtEl>
                                          <p:spTgt spid="131"/>
                                        </p:tgtEl>
                                      </p:cBhvr>
                                      <p:by x="105000" y="105000"/>
                                    </p:animScale>
                                  </p:childTnLst>
                                </p:cTn>
                              </p:par>
                              <p:par>
                                <p:cTn id="508" presetID="26" presetClass="emph" presetSubtype="0" dur="2000" repeatCount="indefinite" fill="hold" grpId="0" nodeType="withEffect">
                                  <p:stCondLst>
                                    <p:cond delay="3250"/>
                                  </p:stCondLst>
                                  <p:childTnLst>
                                    <p:animEffect transition="out" filter="fade">
                                      <p:cBhvr>
                                        <p:cTn id="509" dur="2000" tmFilter="0, 0; .2, .5; .8, .5; 1, 0"/>
                                        <p:tgtEl>
                                          <p:spTgt spid="148"/>
                                        </p:tgtEl>
                                      </p:cBhvr>
                                    </p:animEffect>
                                    <p:animScale>
                                      <p:cBhvr>
                                        <p:cTn id="510" dur="1000" autoRev="1" fill="hold"/>
                                        <p:tgtEl>
                                          <p:spTgt spid="148"/>
                                        </p:tgtEl>
                                      </p:cBhvr>
                                      <p:by x="105000" y="105000"/>
                                    </p:animScale>
                                  </p:childTnLst>
                                </p:cTn>
                              </p:par>
                              <p:par>
                                <p:cTn id="511" presetID="26" presetClass="emph" presetSubtype="0" dur="2000" repeatCount="indefinite" fill="hold" grpId="0" nodeType="withEffect">
                                  <p:stCondLst>
                                    <p:cond delay="3250"/>
                                  </p:stCondLst>
                                  <p:childTnLst>
                                    <p:animEffect transition="out" filter="fade">
                                      <p:cBhvr>
                                        <p:cTn id="512" dur="2000" tmFilter="0, 0; .2, .5; .8, .5; 1, 0"/>
                                        <p:tgtEl>
                                          <p:spTgt spid="165"/>
                                        </p:tgtEl>
                                      </p:cBhvr>
                                    </p:animEffect>
                                    <p:animScale>
                                      <p:cBhvr>
                                        <p:cTn id="513" dur="1000" autoRev="1" fill="hold"/>
                                        <p:tgtEl>
                                          <p:spTgt spid="165"/>
                                        </p:tgtEl>
                                      </p:cBhvr>
                                      <p:by x="105000" y="105000"/>
                                    </p:animScale>
                                  </p:childTnLst>
                                </p:cTn>
                              </p:par>
                              <p:par>
                                <p:cTn id="514" presetID="26" presetClass="emph" presetSubtype="0" dur="2000" repeatCount="indefinite" fill="hold" grpId="0" nodeType="withEffect">
                                  <p:stCondLst>
                                    <p:cond delay="3250"/>
                                  </p:stCondLst>
                                  <p:childTnLst>
                                    <p:animEffect transition="out" filter="fade">
                                      <p:cBhvr>
                                        <p:cTn id="515" dur="2000" tmFilter="0, 0; .2, .5; .8, .5; 1, 0"/>
                                        <p:tgtEl>
                                          <p:spTgt spid="182"/>
                                        </p:tgtEl>
                                      </p:cBhvr>
                                    </p:animEffect>
                                    <p:animScale>
                                      <p:cBhvr>
                                        <p:cTn id="516" dur="1000" autoRev="1" fill="hold"/>
                                        <p:tgtEl>
                                          <p:spTgt spid="182"/>
                                        </p:tgtEl>
                                      </p:cBhvr>
                                      <p:by x="105000" y="105000"/>
                                    </p:animScale>
                                  </p:childTnLst>
                                </p:cTn>
                              </p:par>
                              <p:par>
                                <p:cTn id="517" presetID="26" presetClass="emph" presetSubtype="0" dur="2000" repeatCount="indefinite" fill="hold" grpId="0" nodeType="withEffect">
                                  <p:stCondLst>
                                    <p:cond delay="3250"/>
                                  </p:stCondLst>
                                  <p:childTnLst>
                                    <p:animEffect transition="out" filter="fade">
                                      <p:cBhvr>
                                        <p:cTn id="518" dur="2000" tmFilter="0, 0; .2, .5; .8, .5; 1, 0"/>
                                        <p:tgtEl>
                                          <p:spTgt spid="199"/>
                                        </p:tgtEl>
                                      </p:cBhvr>
                                    </p:animEffect>
                                    <p:animScale>
                                      <p:cBhvr>
                                        <p:cTn id="519" dur="1000" autoRev="1" fill="hold"/>
                                        <p:tgtEl>
                                          <p:spTgt spid="199"/>
                                        </p:tgtEl>
                                      </p:cBhvr>
                                      <p:by x="105000" y="105000"/>
                                    </p:animScale>
                                  </p:childTnLst>
                                </p:cTn>
                              </p:par>
                              <p:par>
                                <p:cTn id="520" presetID="26" presetClass="emph" presetSubtype="0" dur="2000" repeatCount="indefinite" fill="hold" grpId="0" nodeType="withEffect">
                                  <p:stCondLst>
                                    <p:cond delay="3250"/>
                                  </p:stCondLst>
                                  <p:childTnLst>
                                    <p:animEffect transition="out" filter="fade">
                                      <p:cBhvr>
                                        <p:cTn id="521" dur="2000" tmFilter="0, 0; .2, .5; .8, .5; 1, 0"/>
                                        <p:tgtEl>
                                          <p:spTgt spid="216"/>
                                        </p:tgtEl>
                                      </p:cBhvr>
                                    </p:animEffect>
                                    <p:animScale>
                                      <p:cBhvr>
                                        <p:cTn id="522" dur="1000" autoRev="1" fill="hold"/>
                                        <p:tgtEl>
                                          <p:spTgt spid="216"/>
                                        </p:tgtEl>
                                      </p:cBhvr>
                                      <p:by x="105000" y="105000"/>
                                    </p:animScale>
                                  </p:childTnLst>
                                </p:cTn>
                              </p:par>
                              <p:par>
                                <p:cTn id="523" presetID="26" presetClass="emph" presetSubtype="0" dur="2000" repeatCount="indefinite" fill="hold" grpId="0" nodeType="withEffect">
                                  <p:stCondLst>
                                    <p:cond delay="3250"/>
                                  </p:stCondLst>
                                  <p:childTnLst>
                                    <p:animEffect transition="out" filter="fade">
                                      <p:cBhvr>
                                        <p:cTn id="524" dur="2000" tmFilter="0, 0; .2, .5; .8, .5; 1, 0"/>
                                        <p:tgtEl>
                                          <p:spTgt spid="232"/>
                                        </p:tgtEl>
                                      </p:cBhvr>
                                    </p:animEffect>
                                    <p:animScale>
                                      <p:cBhvr>
                                        <p:cTn id="525" dur="1000" autoRev="1" fill="hold"/>
                                        <p:tgtEl>
                                          <p:spTgt spid="232"/>
                                        </p:tgtEl>
                                      </p:cBhvr>
                                      <p:by x="105000" y="105000"/>
                                    </p:animScale>
                                  </p:childTnLst>
                                </p:cTn>
                              </p:par>
                              <p:par>
                                <p:cTn id="526" presetID="26" presetClass="emph" presetSubtype="0" dur="2000" repeatCount="indefinite" fill="hold" grpId="0" nodeType="withEffect">
                                  <p:stCondLst>
                                    <p:cond delay="3500"/>
                                  </p:stCondLst>
                                  <p:childTnLst>
                                    <p:animEffect transition="out" filter="fade">
                                      <p:cBhvr>
                                        <p:cTn id="527" dur="2000" tmFilter="0, 0; .2, .5; .8, .5; 1, 0"/>
                                        <p:tgtEl>
                                          <p:spTgt spid="21"/>
                                        </p:tgtEl>
                                      </p:cBhvr>
                                    </p:animEffect>
                                    <p:animScale>
                                      <p:cBhvr>
                                        <p:cTn id="528" dur="1000" autoRev="1" fill="hold"/>
                                        <p:tgtEl>
                                          <p:spTgt spid="21"/>
                                        </p:tgtEl>
                                      </p:cBhvr>
                                      <p:by x="105000" y="105000"/>
                                    </p:animScale>
                                  </p:childTnLst>
                                </p:cTn>
                              </p:par>
                              <p:par>
                                <p:cTn id="529" presetID="26" presetClass="emph" presetSubtype="0" dur="2000" repeatCount="indefinite" fill="hold" grpId="0" nodeType="withEffect">
                                  <p:stCondLst>
                                    <p:cond delay="3500"/>
                                  </p:stCondLst>
                                  <p:childTnLst>
                                    <p:animEffect transition="out" filter="fade">
                                      <p:cBhvr>
                                        <p:cTn id="530" dur="2000" tmFilter="0, 0; .2, .5; .8, .5; 1, 0"/>
                                        <p:tgtEl>
                                          <p:spTgt spid="36"/>
                                        </p:tgtEl>
                                      </p:cBhvr>
                                    </p:animEffect>
                                    <p:animScale>
                                      <p:cBhvr>
                                        <p:cTn id="531" dur="1000" autoRev="1" fill="hold"/>
                                        <p:tgtEl>
                                          <p:spTgt spid="36"/>
                                        </p:tgtEl>
                                      </p:cBhvr>
                                      <p:by x="105000" y="105000"/>
                                    </p:animScale>
                                  </p:childTnLst>
                                </p:cTn>
                              </p:par>
                              <p:par>
                                <p:cTn id="532" presetID="26" presetClass="emph" presetSubtype="0" dur="2000" repeatCount="indefinite" fill="hold" grpId="0" nodeType="withEffect">
                                  <p:stCondLst>
                                    <p:cond delay="3500"/>
                                  </p:stCondLst>
                                  <p:childTnLst>
                                    <p:animEffect transition="out" filter="fade">
                                      <p:cBhvr>
                                        <p:cTn id="533" dur="2000" tmFilter="0, 0; .2, .5; .8, .5; 1, 0"/>
                                        <p:tgtEl>
                                          <p:spTgt spid="52"/>
                                        </p:tgtEl>
                                      </p:cBhvr>
                                    </p:animEffect>
                                    <p:animScale>
                                      <p:cBhvr>
                                        <p:cTn id="534" dur="1000" autoRev="1" fill="hold"/>
                                        <p:tgtEl>
                                          <p:spTgt spid="52"/>
                                        </p:tgtEl>
                                      </p:cBhvr>
                                      <p:by x="105000" y="105000"/>
                                    </p:animScale>
                                  </p:childTnLst>
                                </p:cTn>
                              </p:par>
                              <p:par>
                                <p:cTn id="535" presetID="26" presetClass="emph" presetSubtype="0" dur="2000" repeatCount="indefinite" fill="hold" grpId="0" nodeType="withEffect">
                                  <p:stCondLst>
                                    <p:cond delay="3500"/>
                                  </p:stCondLst>
                                  <p:childTnLst>
                                    <p:animEffect transition="out" filter="fade">
                                      <p:cBhvr>
                                        <p:cTn id="536" dur="2000" tmFilter="0, 0; .2, .5; .8, .5; 1, 0"/>
                                        <p:tgtEl>
                                          <p:spTgt spid="68"/>
                                        </p:tgtEl>
                                      </p:cBhvr>
                                    </p:animEffect>
                                    <p:animScale>
                                      <p:cBhvr>
                                        <p:cTn id="537" dur="1000" autoRev="1" fill="hold"/>
                                        <p:tgtEl>
                                          <p:spTgt spid="68"/>
                                        </p:tgtEl>
                                      </p:cBhvr>
                                      <p:by x="105000" y="105000"/>
                                    </p:animScale>
                                  </p:childTnLst>
                                </p:cTn>
                              </p:par>
                              <p:par>
                                <p:cTn id="538" presetID="26" presetClass="emph" presetSubtype="0" dur="2000" repeatCount="indefinite" fill="hold" grpId="0" nodeType="withEffect">
                                  <p:stCondLst>
                                    <p:cond delay="3500"/>
                                  </p:stCondLst>
                                  <p:childTnLst>
                                    <p:animEffect transition="out" filter="fade">
                                      <p:cBhvr>
                                        <p:cTn id="539" dur="2000" tmFilter="0, 0; .2, .5; .8, .5; 1, 0"/>
                                        <p:tgtEl>
                                          <p:spTgt spid="84"/>
                                        </p:tgtEl>
                                      </p:cBhvr>
                                    </p:animEffect>
                                    <p:animScale>
                                      <p:cBhvr>
                                        <p:cTn id="540" dur="1000" autoRev="1" fill="hold"/>
                                        <p:tgtEl>
                                          <p:spTgt spid="84"/>
                                        </p:tgtEl>
                                      </p:cBhvr>
                                      <p:by x="105000" y="105000"/>
                                    </p:animScale>
                                  </p:childTnLst>
                                </p:cTn>
                              </p:par>
                              <p:par>
                                <p:cTn id="541" presetID="26" presetClass="emph" presetSubtype="0" dur="2000" repeatCount="indefinite" fill="hold" grpId="0" nodeType="withEffect">
                                  <p:stCondLst>
                                    <p:cond delay="3500"/>
                                  </p:stCondLst>
                                  <p:childTnLst>
                                    <p:animEffect transition="out" filter="fade">
                                      <p:cBhvr>
                                        <p:cTn id="542" dur="2000" tmFilter="0, 0; .2, .5; .8, .5; 1, 0"/>
                                        <p:tgtEl>
                                          <p:spTgt spid="100"/>
                                        </p:tgtEl>
                                      </p:cBhvr>
                                    </p:animEffect>
                                    <p:animScale>
                                      <p:cBhvr>
                                        <p:cTn id="543" dur="1000" autoRev="1" fill="hold"/>
                                        <p:tgtEl>
                                          <p:spTgt spid="100"/>
                                        </p:tgtEl>
                                      </p:cBhvr>
                                      <p:by x="105000" y="105000"/>
                                    </p:animScale>
                                  </p:childTnLst>
                                </p:cTn>
                              </p:par>
                              <p:par>
                                <p:cTn id="544" presetID="26" presetClass="emph" presetSubtype="0" dur="2000" repeatCount="indefinite" fill="hold" grpId="0" nodeType="withEffect">
                                  <p:stCondLst>
                                    <p:cond delay="3500"/>
                                  </p:stCondLst>
                                  <p:childTnLst>
                                    <p:animEffect transition="out" filter="fade">
                                      <p:cBhvr>
                                        <p:cTn id="545" dur="2000" tmFilter="0, 0; .2, .5; .8, .5; 1, 0"/>
                                        <p:tgtEl>
                                          <p:spTgt spid="116"/>
                                        </p:tgtEl>
                                      </p:cBhvr>
                                    </p:animEffect>
                                    <p:animScale>
                                      <p:cBhvr>
                                        <p:cTn id="546" dur="1000" autoRev="1" fill="hold"/>
                                        <p:tgtEl>
                                          <p:spTgt spid="116"/>
                                        </p:tgtEl>
                                      </p:cBhvr>
                                      <p:by x="105000" y="105000"/>
                                    </p:animScale>
                                  </p:childTnLst>
                                </p:cTn>
                              </p:par>
                              <p:par>
                                <p:cTn id="547" presetID="26" presetClass="emph" presetSubtype="0" dur="2000" repeatCount="indefinite" fill="hold" grpId="0" nodeType="withEffect">
                                  <p:stCondLst>
                                    <p:cond delay="3500"/>
                                  </p:stCondLst>
                                  <p:childTnLst>
                                    <p:animEffect transition="out" filter="fade">
                                      <p:cBhvr>
                                        <p:cTn id="548" dur="2000" tmFilter="0, 0; .2, .5; .8, .5; 1, 0"/>
                                        <p:tgtEl>
                                          <p:spTgt spid="132"/>
                                        </p:tgtEl>
                                      </p:cBhvr>
                                    </p:animEffect>
                                    <p:animScale>
                                      <p:cBhvr>
                                        <p:cTn id="549" dur="1000" autoRev="1" fill="hold"/>
                                        <p:tgtEl>
                                          <p:spTgt spid="132"/>
                                        </p:tgtEl>
                                      </p:cBhvr>
                                      <p:by x="105000" y="105000"/>
                                    </p:animScale>
                                  </p:childTnLst>
                                </p:cTn>
                              </p:par>
                              <p:par>
                                <p:cTn id="550" presetID="26" presetClass="emph" presetSubtype="0" dur="2000" repeatCount="indefinite" fill="hold" grpId="0" nodeType="withEffect">
                                  <p:stCondLst>
                                    <p:cond delay="3500"/>
                                  </p:stCondLst>
                                  <p:childTnLst>
                                    <p:animEffect transition="out" filter="fade">
                                      <p:cBhvr>
                                        <p:cTn id="551" dur="2000" tmFilter="0, 0; .2, .5; .8, .5; 1, 0"/>
                                        <p:tgtEl>
                                          <p:spTgt spid="149"/>
                                        </p:tgtEl>
                                      </p:cBhvr>
                                    </p:animEffect>
                                    <p:animScale>
                                      <p:cBhvr>
                                        <p:cTn id="552" dur="1000" autoRev="1" fill="hold"/>
                                        <p:tgtEl>
                                          <p:spTgt spid="149"/>
                                        </p:tgtEl>
                                      </p:cBhvr>
                                      <p:by x="105000" y="105000"/>
                                    </p:animScale>
                                  </p:childTnLst>
                                </p:cTn>
                              </p:par>
                              <p:par>
                                <p:cTn id="553" presetID="26" presetClass="emph" presetSubtype="0" dur="2000" repeatCount="indefinite" fill="hold" grpId="0" nodeType="withEffect">
                                  <p:stCondLst>
                                    <p:cond delay="3500"/>
                                  </p:stCondLst>
                                  <p:childTnLst>
                                    <p:animEffect transition="out" filter="fade">
                                      <p:cBhvr>
                                        <p:cTn id="554" dur="2000" tmFilter="0, 0; .2, .5; .8, .5; 1, 0"/>
                                        <p:tgtEl>
                                          <p:spTgt spid="166"/>
                                        </p:tgtEl>
                                      </p:cBhvr>
                                    </p:animEffect>
                                    <p:animScale>
                                      <p:cBhvr>
                                        <p:cTn id="555" dur="1000" autoRev="1" fill="hold"/>
                                        <p:tgtEl>
                                          <p:spTgt spid="166"/>
                                        </p:tgtEl>
                                      </p:cBhvr>
                                      <p:by x="105000" y="105000"/>
                                    </p:animScale>
                                  </p:childTnLst>
                                </p:cTn>
                              </p:par>
                              <p:par>
                                <p:cTn id="556" presetID="26" presetClass="emph" presetSubtype="0" dur="2000" repeatCount="indefinite" fill="hold" grpId="0" nodeType="withEffect">
                                  <p:stCondLst>
                                    <p:cond delay="3500"/>
                                  </p:stCondLst>
                                  <p:childTnLst>
                                    <p:animEffect transition="out" filter="fade">
                                      <p:cBhvr>
                                        <p:cTn id="557" dur="2000" tmFilter="0, 0; .2, .5; .8, .5; 1, 0"/>
                                        <p:tgtEl>
                                          <p:spTgt spid="183"/>
                                        </p:tgtEl>
                                      </p:cBhvr>
                                    </p:animEffect>
                                    <p:animScale>
                                      <p:cBhvr>
                                        <p:cTn id="558" dur="1000" autoRev="1" fill="hold"/>
                                        <p:tgtEl>
                                          <p:spTgt spid="183"/>
                                        </p:tgtEl>
                                      </p:cBhvr>
                                      <p:by x="105000" y="105000"/>
                                    </p:animScale>
                                  </p:childTnLst>
                                </p:cTn>
                              </p:par>
                              <p:par>
                                <p:cTn id="559" presetID="26" presetClass="emph" presetSubtype="0" dur="2000" repeatCount="indefinite" fill="hold" grpId="0" nodeType="withEffect">
                                  <p:stCondLst>
                                    <p:cond delay="3500"/>
                                  </p:stCondLst>
                                  <p:childTnLst>
                                    <p:animEffect transition="out" filter="fade">
                                      <p:cBhvr>
                                        <p:cTn id="560" dur="2000" tmFilter="0, 0; .2, .5; .8, .5; 1, 0"/>
                                        <p:tgtEl>
                                          <p:spTgt spid="200"/>
                                        </p:tgtEl>
                                      </p:cBhvr>
                                    </p:animEffect>
                                    <p:animScale>
                                      <p:cBhvr>
                                        <p:cTn id="561" dur="1000" autoRev="1" fill="hold"/>
                                        <p:tgtEl>
                                          <p:spTgt spid="200"/>
                                        </p:tgtEl>
                                      </p:cBhvr>
                                      <p:by x="105000" y="105000"/>
                                    </p:animScale>
                                  </p:childTnLst>
                                </p:cTn>
                              </p:par>
                              <p:par>
                                <p:cTn id="562" presetID="26" presetClass="emph" presetSubtype="0" dur="2000" repeatCount="indefinite" fill="hold" grpId="0" nodeType="withEffect">
                                  <p:stCondLst>
                                    <p:cond delay="3500"/>
                                  </p:stCondLst>
                                  <p:childTnLst>
                                    <p:animEffect transition="out" filter="fade">
                                      <p:cBhvr>
                                        <p:cTn id="563" dur="2000" tmFilter="0, 0; .2, .5; .8, .5; 1, 0"/>
                                        <p:tgtEl>
                                          <p:spTgt spid="217"/>
                                        </p:tgtEl>
                                      </p:cBhvr>
                                    </p:animEffect>
                                    <p:animScale>
                                      <p:cBhvr>
                                        <p:cTn id="564" dur="1000" autoRev="1" fill="hold"/>
                                        <p:tgtEl>
                                          <p:spTgt spid="217"/>
                                        </p:tgtEl>
                                      </p:cBhvr>
                                      <p:by x="105000" y="105000"/>
                                    </p:animScale>
                                  </p:childTnLst>
                                </p:cTn>
                              </p:par>
                              <p:par>
                                <p:cTn id="565" presetID="26" presetClass="emph" presetSubtype="0" dur="2000" repeatCount="indefinite" fill="hold" grpId="0" nodeType="withEffect">
                                  <p:stCondLst>
                                    <p:cond delay="3500"/>
                                  </p:stCondLst>
                                  <p:childTnLst>
                                    <p:animEffect transition="out" filter="fade">
                                      <p:cBhvr>
                                        <p:cTn id="566" dur="2000" tmFilter="0, 0; .2, .5; .8, .5; 1, 0"/>
                                        <p:tgtEl>
                                          <p:spTgt spid="233"/>
                                        </p:tgtEl>
                                      </p:cBhvr>
                                    </p:animEffect>
                                    <p:animScale>
                                      <p:cBhvr>
                                        <p:cTn id="567" dur="1000" autoRev="1" fill="hold"/>
                                        <p:tgtEl>
                                          <p:spTgt spid="233"/>
                                        </p:tgtEl>
                                      </p:cBhvr>
                                      <p:by x="105000" y="105000"/>
                                    </p:animScale>
                                  </p:childTnLst>
                                </p:cTn>
                              </p:par>
                              <p:par>
                                <p:cTn id="568" presetID="26" presetClass="emph" presetSubtype="0" dur="2000" repeatCount="indefinite" fill="hold" grpId="0" nodeType="withEffect">
                                  <p:stCondLst>
                                    <p:cond delay="3750"/>
                                  </p:stCondLst>
                                  <p:childTnLst>
                                    <p:animEffect transition="out" filter="fade">
                                      <p:cBhvr>
                                        <p:cTn id="569" dur="2000" tmFilter="0, 0; .2, .5; .8, .5; 1, 0"/>
                                        <p:tgtEl>
                                          <p:spTgt spid="37"/>
                                        </p:tgtEl>
                                      </p:cBhvr>
                                    </p:animEffect>
                                    <p:animScale>
                                      <p:cBhvr>
                                        <p:cTn id="570" dur="1000" autoRev="1" fill="hold"/>
                                        <p:tgtEl>
                                          <p:spTgt spid="37"/>
                                        </p:tgtEl>
                                      </p:cBhvr>
                                      <p:by x="105000" y="105000"/>
                                    </p:animScale>
                                  </p:childTnLst>
                                </p:cTn>
                              </p:par>
                              <p:par>
                                <p:cTn id="571" presetID="26" presetClass="emph" presetSubtype="0" dur="2000" repeatCount="indefinite" fill="hold" grpId="0" nodeType="withEffect">
                                  <p:stCondLst>
                                    <p:cond delay="3750"/>
                                  </p:stCondLst>
                                  <p:childTnLst>
                                    <p:animEffect transition="out" filter="fade">
                                      <p:cBhvr>
                                        <p:cTn id="572" dur="2000" tmFilter="0, 0; .2, .5; .8, .5; 1, 0"/>
                                        <p:tgtEl>
                                          <p:spTgt spid="53"/>
                                        </p:tgtEl>
                                      </p:cBhvr>
                                    </p:animEffect>
                                    <p:animScale>
                                      <p:cBhvr>
                                        <p:cTn id="573" dur="1000" autoRev="1" fill="hold"/>
                                        <p:tgtEl>
                                          <p:spTgt spid="53"/>
                                        </p:tgtEl>
                                      </p:cBhvr>
                                      <p:by x="105000" y="105000"/>
                                    </p:animScale>
                                  </p:childTnLst>
                                </p:cTn>
                              </p:par>
                              <p:par>
                                <p:cTn id="574" presetID="26" presetClass="emph" presetSubtype="0" dur="2000" repeatCount="indefinite" fill="hold" grpId="0" nodeType="withEffect">
                                  <p:stCondLst>
                                    <p:cond delay="3750"/>
                                  </p:stCondLst>
                                  <p:childTnLst>
                                    <p:animEffect transition="out" filter="fade">
                                      <p:cBhvr>
                                        <p:cTn id="575" dur="2000" tmFilter="0, 0; .2, .5; .8, .5; 1, 0"/>
                                        <p:tgtEl>
                                          <p:spTgt spid="69"/>
                                        </p:tgtEl>
                                      </p:cBhvr>
                                    </p:animEffect>
                                    <p:animScale>
                                      <p:cBhvr>
                                        <p:cTn id="576" dur="1000" autoRev="1" fill="hold"/>
                                        <p:tgtEl>
                                          <p:spTgt spid="69"/>
                                        </p:tgtEl>
                                      </p:cBhvr>
                                      <p:by x="105000" y="105000"/>
                                    </p:animScale>
                                  </p:childTnLst>
                                </p:cTn>
                              </p:par>
                              <p:par>
                                <p:cTn id="577" presetID="26" presetClass="emph" presetSubtype="0" dur="2000" repeatCount="indefinite" fill="hold" grpId="0" nodeType="withEffect">
                                  <p:stCondLst>
                                    <p:cond delay="3750"/>
                                  </p:stCondLst>
                                  <p:childTnLst>
                                    <p:animEffect transition="out" filter="fade">
                                      <p:cBhvr>
                                        <p:cTn id="578" dur="2000" tmFilter="0, 0; .2, .5; .8, .5; 1, 0"/>
                                        <p:tgtEl>
                                          <p:spTgt spid="85"/>
                                        </p:tgtEl>
                                      </p:cBhvr>
                                    </p:animEffect>
                                    <p:animScale>
                                      <p:cBhvr>
                                        <p:cTn id="579" dur="1000" autoRev="1" fill="hold"/>
                                        <p:tgtEl>
                                          <p:spTgt spid="85"/>
                                        </p:tgtEl>
                                      </p:cBhvr>
                                      <p:by x="105000" y="105000"/>
                                    </p:animScale>
                                  </p:childTnLst>
                                </p:cTn>
                              </p:par>
                              <p:par>
                                <p:cTn id="580" presetID="26" presetClass="emph" presetSubtype="0" dur="2000" repeatCount="indefinite" fill="hold" grpId="0" nodeType="withEffect">
                                  <p:stCondLst>
                                    <p:cond delay="3750"/>
                                  </p:stCondLst>
                                  <p:childTnLst>
                                    <p:animEffect transition="out" filter="fade">
                                      <p:cBhvr>
                                        <p:cTn id="581" dur="2000" tmFilter="0, 0; .2, .5; .8, .5; 1, 0"/>
                                        <p:tgtEl>
                                          <p:spTgt spid="101"/>
                                        </p:tgtEl>
                                      </p:cBhvr>
                                    </p:animEffect>
                                    <p:animScale>
                                      <p:cBhvr>
                                        <p:cTn id="582" dur="1000" autoRev="1" fill="hold"/>
                                        <p:tgtEl>
                                          <p:spTgt spid="101"/>
                                        </p:tgtEl>
                                      </p:cBhvr>
                                      <p:by x="105000" y="105000"/>
                                    </p:animScale>
                                  </p:childTnLst>
                                </p:cTn>
                              </p:par>
                              <p:par>
                                <p:cTn id="583" presetID="26" presetClass="emph" presetSubtype="0" dur="2000" repeatCount="indefinite" fill="hold" grpId="0" nodeType="withEffect">
                                  <p:stCondLst>
                                    <p:cond delay="3750"/>
                                  </p:stCondLst>
                                  <p:childTnLst>
                                    <p:animEffect transition="out" filter="fade">
                                      <p:cBhvr>
                                        <p:cTn id="584" dur="2000" tmFilter="0, 0; .2, .5; .8, .5; 1, 0"/>
                                        <p:tgtEl>
                                          <p:spTgt spid="117"/>
                                        </p:tgtEl>
                                      </p:cBhvr>
                                    </p:animEffect>
                                    <p:animScale>
                                      <p:cBhvr>
                                        <p:cTn id="585" dur="1000" autoRev="1" fill="hold"/>
                                        <p:tgtEl>
                                          <p:spTgt spid="117"/>
                                        </p:tgtEl>
                                      </p:cBhvr>
                                      <p:by x="105000" y="105000"/>
                                    </p:animScale>
                                  </p:childTnLst>
                                </p:cTn>
                              </p:par>
                              <p:par>
                                <p:cTn id="586" presetID="26" presetClass="emph" presetSubtype="0" dur="2000" repeatCount="indefinite" fill="hold" grpId="0" nodeType="withEffect">
                                  <p:stCondLst>
                                    <p:cond delay="3750"/>
                                  </p:stCondLst>
                                  <p:childTnLst>
                                    <p:animEffect transition="out" filter="fade">
                                      <p:cBhvr>
                                        <p:cTn id="587" dur="2000" tmFilter="0, 0; .2, .5; .8, .5; 1, 0"/>
                                        <p:tgtEl>
                                          <p:spTgt spid="133"/>
                                        </p:tgtEl>
                                      </p:cBhvr>
                                    </p:animEffect>
                                    <p:animScale>
                                      <p:cBhvr>
                                        <p:cTn id="588" dur="1000" autoRev="1" fill="hold"/>
                                        <p:tgtEl>
                                          <p:spTgt spid="133"/>
                                        </p:tgtEl>
                                      </p:cBhvr>
                                      <p:by x="105000" y="105000"/>
                                    </p:animScale>
                                  </p:childTnLst>
                                </p:cTn>
                              </p:par>
                              <p:par>
                                <p:cTn id="589" presetID="26" presetClass="emph" presetSubtype="0" dur="2000" repeatCount="indefinite" fill="hold" grpId="0" nodeType="withEffect">
                                  <p:stCondLst>
                                    <p:cond delay="3750"/>
                                  </p:stCondLst>
                                  <p:childTnLst>
                                    <p:animEffect transition="out" filter="fade">
                                      <p:cBhvr>
                                        <p:cTn id="590" dur="2000" tmFilter="0, 0; .2, .5; .8, .5; 1, 0"/>
                                        <p:tgtEl>
                                          <p:spTgt spid="150"/>
                                        </p:tgtEl>
                                      </p:cBhvr>
                                    </p:animEffect>
                                    <p:animScale>
                                      <p:cBhvr>
                                        <p:cTn id="591" dur="1000" autoRev="1" fill="hold"/>
                                        <p:tgtEl>
                                          <p:spTgt spid="150"/>
                                        </p:tgtEl>
                                      </p:cBhvr>
                                      <p:by x="105000" y="105000"/>
                                    </p:animScale>
                                  </p:childTnLst>
                                </p:cTn>
                              </p:par>
                              <p:par>
                                <p:cTn id="592" presetID="26" presetClass="emph" presetSubtype="0" dur="2000" repeatCount="indefinite" fill="hold" grpId="0" nodeType="withEffect">
                                  <p:stCondLst>
                                    <p:cond delay="3750"/>
                                  </p:stCondLst>
                                  <p:childTnLst>
                                    <p:animEffect transition="out" filter="fade">
                                      <p:cBhvr>
                                        <p:cTn id="593" dur="2000" tmFilter="0, 0; .2, .5; .8, .5; 1, 0"/>
                                        <p:tgtEl>
                                          <p:spTgt spid="167"/>
                                        </p:tgtEl>
                                      </p:cBhvr>
                                    </p:animEffect>
                                    <p:animScale>
                                      <p:cBhvr>
                                        <p:cTn id="594" dur="1000" autoRev="1" fill="hold"/>
                                        <p:tgtEl>
                                          <p:spTgt spid="167"/>
                                        </p:tgtEl>
                                      </p:cBhvr>
                                      <p:by x="105000" y="105000"/>
                                    </p:animScale>
                                  </p:childTnLst>
                                </p:cTn>
                              </p:par>
                              <p:par>
                                <p:cTn id="595" presetID="26" presetClass="emph" presetSubtype="0" dur="2000" repeatCount="indefinite" fill="hold" grpId="0" nodeType="withEffect">
                                  <p:stCondLst>
                                    <p:cond delay="3750"/>
                                  </p:stCondLst>
                                  <p:childTnLst>
                                    <p:animEffect transition="out" filter="fade">
                                      <p:cBhvr>
                                        <p:cTn id="596" dur="2000" tmFilter="0, 0; .2, .5; .8, .5; 1, 0"/>
                                        <p:tgtEl>
                                          <p:spTgt spid="184"/>
                                        </p:tgtEl>
                                      </p:cBhvr>
                                    </p:animEffect>
                                    <p:animScale>
                                      <p:cBhvr>
                                        <p:cTn id="597" dur="1000" autoRev="1" fill="hold"/>
                                        <p:tgtEl>
                                          <p:spTgt spid="184"/>
                                        </p:tgtEl>
                                      </p:cBhvr>
                                      <p:by x="105000" y="105000"/>
                                    </p:animScale>
                                  </p:childTnLst>
                                </p:cTn>
                              </p:par>
                              <p:par>
                                <p:cTn id="598" presetID="26" presetClass="emph" presetSubtype="0" dur="2000" repeatCount="indefinite" fill="hold" grpId="0" nodeType="withEffect">
                                  <p:stCondLst>
                                    <p:cond delay="3750"/>
                                  </p:stCondLst>
                                  <p:childTnLst>
                                    <p:animEffect transition="out" filter="fade">
                                      <p:cBhvr>
                                        <p:cTn id="599" dur="2000" tmFilter="0, 0; .2, .5; .8, .5; 1, 0"/>
                                        <p:tgtEl>
                                          <p:spTgt spid="201"/>
                                        </p:tgtEl>
                                      </p:cBhvr>
                                    </p:animEffect>
                                    <p:animScale>
                                      <p:cBhvr>
                                        <p:cTn id="600" dur="1000" autoRev="1" fill="hold"/>
                                        <p:tgtEl>
                                          <p:spTgt spid="201"/>
                                        </p:tgtEl>
                                      </p:cBhvr>
                                      <p:by x="105000" y="105000"/>
                                    </p:animScale>
                                  </p:childTnLst>
                                </p:cTn>
                              </p:par>
                              <p:par>
                                <p:cTn id="601" presetID="26" presetClass="emph" presetSubtype="0" dur="2000" repeatCount="indefinite" fill="hold" grpId="0" nodeType="withEffect">
                                  <p:stCondLst>
                                    <p:cond delay="3750"/>
                                  </p:stCondLst>
                                  <p:childTnLst>
                                    <p:animEffect transition="out" filter="fade">
                                      <p:cBhvr>
                                        <p:cTn id="602" dur="2000" tmFilter="0, 0; .2, .5; .8, .5; 1, 0"/>
                                        <p:tgtEl>
                                          <p:spTgt spid="218"/>
                                        </p:tgtEl>
                                      </p:cBhvr>
                                    </p:animEffect>
                                    <p:animScale>
                                      <p:cBhvr>
                                        <p:cTn id="603" dur="1000" autoRev="1" fill="hold"/>
                                        <p:tgtEl>
                                          <p:spTgt spid="218"/>
                                        </p:tgtEl>
                                      </p:cBhvr>
                                      <p:by x="105000" y="105000"/>
                                    </p:animScale>
                                  </p:childTnLst>
                                </p:cTn>
                              </p:par>
                              <p:par>
                                <p:cTn id="604" presetID="26" presetClass="emph" presetSubtype="0" dur="2000" repeatCount="indefinite" fill="hold" grpId="0" nodeType="withEffect">
                                  <p:stCondLst>
                                    <p:cond delay="4000"/>
                                  </p:stCondLst>
                                  <p:childTnLst>
                                    <p:animEffect transition="out" filter="fade">
                                      <p:cBhvr>
                                        <p:cTn id="605" dur="2000" tmFilter="0, 0; .2, .5; .8, .5; 1, 0"/>
                                        <p:tgtEl>
                                          <p:spTgt spid="54"/>
                                        </p:tgtEl>
                                      </p:cBhvr>
                                    </p:animEffect>
                                    <p:animScale>
                                      <p:cBhvr>
                                        <p:cTn id="606" dur="1000" autoRev="1" fill="hold"/>
                                        <p:tgtEl>
                                          <p:spTgt spid="54"/>
                                        </p:tgtEl>
                                      </p:cBhvr>
                                      <p:by x="105000" y="105000"/>
                                    </p:animScale>
                                  </p:childTnLst>
                                </p:cTn>
                              </p:par>
                              <p:par>
                                <p:cTn id="607" presetID="26" presetClass="emph" presetSubtype="0" dur="2000" repeatCount="indefinite" fill="hold" grpId="0" nodeType="withEffect">
                                  <p:stCondLst>
                                    <p:cond delay="4000"/>
                                  </p:stCondLst>
                                  <p:childTnLst>
                                    <p:animEffect transition="out" filter="fade">
                                      <p:cBhvr>
                                        <p:cTn id="608" dur="2000" tmFilter="0, 0; .2, .5; .8, .5; 1, 0"/>
                                        <p:tgtEl>
                                          <p:spTgt spid="70"/>
                                        </p:tgtEl>
                                      </p:cBhvr>
                                    </p:animEffect>
                                    <p:animScale>
                                      <p:cBhvr>
                                        <p:cTn id="609" dur="1000" autoRev="1" fill="hold"/>
                                        <p:tgtEl>
                                          <p:spTgt spid="70"/>
                                        </p:tgtEl>
                                      </p:cBhvr>
                                      <p:by x="105000" y="105000"/>
                                    </p:animScale>
                                  </p:childTnLst>
                                </p:cTn>
                              </p:par>
                              <p:par>
                                <p:cTn id="610" presetID="26" presetClass="emph" presetSubtype="0" dur="2000" repeatCount="indefinite" fill="hold" grpId="0" nodeType="withEffect">
                                  <p:stCondLst>
                                    <p:cond delay="4000"/>
                                  </p:stCondLst>
                                  <p:childTnLst>
                                    <p:animEffect transition="out" filter="fade">
                                      <p:cBhvr>
                                        <p:cTn id="611" dur="2000" tmFilter="0, 0; .2, .5; .8, .5; 1, 0"/>
                                        <p:tgtEl>
                                          <p:spTgt spid="86"/>
                                        </p:tgtEl>
                                      </p:cBhvr>
                                    </p:animEffect>
                                    <p:animScale>
                                      <p:cBhvr>
                                        <p:cTn id="612" dur="1000" autoRev="1" fill="hold"/>
                                        <p:tgtEl>
                                          <p:spTgt spid="86"/>
                                        </p:tgtEl>
                                      </p:cBhvr>
                                      <p:by x="105000" y="105000"/>
                                    </p:animScale>
                                  </p:childTnLst>
                                </p:cTn>
                              </p:par>
                              <p:par>
                                <p:cTn id="613" presetID="26" presetClass="emph" presetSubtype="0" dur="2000" repeatCount="indefinite" fill="hold" grpId="0" nodeType="withEffect">
                                  <p:stCondLst>
                                    <p:cond delay="4000"/>
                                  </p:stCondLst>
                                  <p:childTnLst>
                                    <p:animEffect transition="out" filter="fade">
                                      <p:cBhvr>
                                        <p:cTn id="614" dur="2000" tmFilter="0, 0; .2, .5; .8, .5; 1, 0"/>
                                        <p:tgtEl>
                                          <p:spTgt spid="102"/>
                                        </p:tgtEl>
                                      </p:cBhvr>
                                    </p:animEffect>
                                    <p:animScale>
                                      <p:cBhvr>
                                        <p:cTn id="615" dur="1000" autoRev="1" fill="hold"/>
                                        <p:tgtEl>
                                          <p:spTgt spid="102"/>
                                        </p:tgtEl>
                                      </p:cBhvr>
                                      <p:by x="105000" y="105000"/>
                                    </p:animScale>
                                  </p:childTnLst>
                                </p:cTn>
                              </p:par>
                              <p:par>
                                <p:cTn id="616" presetID="26" presetClass="emph" presetSubtype="0" dur="2000" repeatCount="indefinite" fill="hold" grpId="0" nodeType="withEffect">
                                  <p:stCondLst>
                                    <p:cond delay="4000"/>
                                  </p:stCondLst>
                                  <p:childTnLst>
                                    <p:animEffect transition="out" filter="fade">
                                      <p:cBhvr>
                                        <p:cTn id="617" dur="2000" tmFilter="0, 0; .2, .5; .8, .5; 1, 0"/>
                                        <p:tgtEl>
                                          <p:spTgt spid="118"/>
                                        </p:tgtEl>
                                      </p:cBhvr>
                                    </p:animEffect>
                                    <p:animScale>
                                      <p:cBhvr>
                                        <p:cTn id="618" dur="1000" autoRev="1" fill="hold"/>
                                        <p:tgtEl>
                                          <p:spTgt spid="118"/>
                                        </p:tgtEl>
                                      </p:cBhvr>
                                      <p:by x="105000" y="105000"/>
                                    </p:animScale>
                                  </p:childTnLst>
                                </p:cTn>
                              </p:par>
                              <p:par>
                                <p:cTn id="619" presetID="26" presetClass="emph" presetSubtype="0" dur="2000" repeatCount="indefinite" fill="hold" grpId="0" nodeType="withEffect">
                                  <p:stCondLst>
                                    <p:cond delay="4000"/>
                                  </p:stCondLst>
                                  <p:childTnLst>
                                    <p:animEffect transition="out" filter="fade">
                                      <p:cBhvr>
                                        <p:cTn id="620" dur="2000" tmFilter="0, 0; .2, .5; .8, .5; 1, 0"/>
                                        <p:tgtEl>
                                          <p:spTgt spid="134"/>
                                        </p:tgtEl>
                                      </p:cBhvr>
                                    </p:animEffect>
                                    <p:animScale>
                                      <p:cBhvr>
                                        <p:cTn id="621" dur="1000" autoRev="1" fill="hold"/>
                                        <p:tgtEl>
                                          <p:spTgt spid="134"/>
                                        </p:tgtEl>
                                      </p:cBhvr>
                                      <p:by x="105000" y="105000"/>
                                    </p:animScale>
                                  </p:childTnLst>
                                </p:cTn>
                              </p:par>
                              <p:par>
                                <p:cTn id="622" presetID="26" presetClass="emph" presetSubtype="0" dur="2000" repeatCount="indefinite" fill="hold" grpId="0" nodeType="withEffect">
                                  <p:stCondLst>
                                    <p:cond delay="4000"/>
                                  </p:stCondLst>
                                  <p:childTnLst>
                                    <p:animEffect transition="out" filter="fade">
                                      <p:cBhvr>
                                        <p:cTn id="623" dur="2000" tmFilter="0, 0; .2, .5; .8, .5; 1, 0"/>
                                        <p:tgtEl>
                                          <p:spTgt spid="151"/>
                                        </p:tgtEl>
                                      </p:cBhvr>
                                    </p:animEffect>
                                    <p:animScale>
                                      <p:cBhvr>
                                        <p:cTn id="624" dur="1000" autoRev="1" fill="hold"/>
                                        <p:tgtEl>
                                          <p:spTgt spid="151"/>
                                        </p:tgtEl>
                                      </p:cBhvr>
                                      <p:by x="105000" y="105000"/>
                                    </p:animScale>
                                  </p:childTnLst>
                                </p:cTn>
                              </p:par>
                              <p:par>
                                <p:cTn id="625" presetID="26" presetClass="emph" presetSubtype="0" dur="2000" repeatCount="indefinite" fill="hold" grpId="0" nodeType="withEffect">
                                  <p:stCondLst>
                                    <p:cond delay="4000"/>
                                  </p:stCondLst>
                                  <p:childTnLst>
                                    <p:animEffect transition="out" filter="fade">
                                      <p:cBhvr>
                                        <p:cTn id="626" dur="2000" tmFilter="0, 0; .2, .5; .8, .5; 1, 0"/>
                                        <p:tgtEl>
                                          <p:spTgt spid="168"/>
                                        </p:tgtEl>
                                      </p:cBhvr>
                                    </p:animEffect>
                                    <p:animScale>
                                      <p:cBhvr>
                                        <p:cTn id="627" dur="1000" autoRev="1" fill="hold"/>
                                        <p:tgtEl>
                                          <p:spTgt spid="168"/>
                                        </p:tgtEl>
                                      </p:cBhvr>
                                      <p:by x="105000" y="105000"/>
                                    </p:animScale>
                                  </p:childTnLst>
                                </p:cTn>
                              </p:par>
                              <p:par>
                                <p:cTn id="628" presetID="26" presetClass="emph" presetSubtype="0" dur="2000" repeatCount="indefinite" fill="hold" grpId="0" nodeType="withEffect">
                                  <p:stCondLst>
                                    <p:cond delay="4000"/>
                                  </p:stCondLst>
                                  <p:childTnLst>
                                    <p:animEffect transition="out" filter="fade">
                                      <p:cBhvr>
                                        <p:cTn id="629" dur="2000" tmFilter="0, 0; .2, .5; .8, .5; 1, 0"/>
                                        <p:tgtEl>
                                          <p:spTgt spid="185"/>
                                        </p:tgtEl>
                                      </p:cBhvr>
                                    </p:animEffect>
                                    <p:animScale>
                                      <p:cBhvr>
                                        <p:cTn id="630" dur="1000" autoRev="1" fill="hold"/>
                                        <p:tgtEl>
                                          <p:spTgt spid="185"/>
                                        </p:tgtEl>
                                      </p:cBhvr>
                                      <p:by x="105000" y="105000"/>
                                    </p:animScale>
                                  </p:childTnLst>
                                </p:cTn>
                              </p:par>
                              <p:par>
                                <p:cTn id="631" presetID="26" presetClass="emph" presetSubtype="0" dur="2000" repeatCount="indefinite" fill="hold" grpId="0" nodeType="withEffect">
                                  <p:stCondLst>
                                    <p:cond delay="4000"/>
                                  </p:stCondLst>
                                  <p:childTnLst>
                                    <p:animEffect transition="out" filter="fade">
                                      <p:cBhvr>
                                        <p:cTn id="632" dur="2000" tmFilter="0, 0; .2, .5; .8, .5; 1, 0"/>
                                        <p:tgtEl>
                                          <p:spTgt spid="202"/>
                                        </p:tgtEl>
                                      </p:cBhvr>
                                    </p:animEffect>
                                    <p:animScale>
                                      <p:cBhvr>
                                        <p:cTn id="633" dur="1000" autoRev="1" fill="hold"/>
                                        <p:tgtEl>
                                          <p:spTgt spid="202"/>
                                        </p:tgtEl>
                                      </p:cBhvr>
                                      <p:by x="105000" y="105000"/>
                                    </p:animScale>
                                  </p:childTnLst>
                                </p:cTn>
                              </p:par>
                              <p:par>
                                <p:cTn id="634" presetID="26" presetClass="emph" presetSubtype="0" dur="2000" repeatCount="indefinite" fill="hold" grpId="0" nodeType="withEffect">
                                  <p:stCondLst>
                                    <p:cond delay="4250"/>
                                  </p:stCondLst>
                                  <p:childTnLst>
                                    <p:animEffect transition="out" filter="fade">
                                      <p:cBhvr>
                                        <p:cTn id="635" dur="2000" tmFilter="0, 0; .2, .5; .8, .5; 1, 0"/>
                                        <p:tgtEl>
                                          <p:spTgt spid="71"/>
                                        </p:tgtEl>
                                      </p:cBhvr>
                                    </p:animEffect>
                                    <p:animScale>
                                      <p:cBhvr>
                                        <p:cTn id="636" dur="1000" autoRev="1" fill="hold"/>
                                        <p:tgtEl>
                                          <p:spTgt spid="71"/>
                                        </p:tgtEl>
                                      </p:cBhvr>
                                      <p:by x="105000" y="105000"/>
                                    </p:animScale>
                                  </p:childTnLst>
                                </p:cTn>
                              </p:par>
                              <p:par>
                                <p:cTn id="637" presetID="26" presetClass="emph" presetSubtype="0" dur="2000" repeatCount="indefinite" fill="hold" grpId="0" nodeType="withEffect">
                                  <p:stCondLst>
                                    <p:cond delay="4250"/>
                                  </p:stCondLst>
                                  <p:childTnLst>
                                    <p:animEffect transition="out" filter="fade">
                                      <p:cBhvr>
                                        <p:cTn id="638" dur="2000" tmFilter="0, 0; .2, .5; .8, .5; 1, 0"/>
                                        <p:tgtEl>
                                          <p:spTgt spid="87"/>
                                        </p:tgtEl>
                                      </p:cBhvr>
                                    </p:animEffect>
                                    <p:animScale>
                                      <p:cBhvr>
                                        <p:cTn id="639" dur="1000" autoRev="1" fill="hold"/>
                                        <p:tgtEl>
                                          <p:spTgt spid="87"/>
                                        </p:tgtEl>
                                      </p:cBhvr>
                                      <p:by x="105000" y="105000"/>
                                    </p:animScale>
                                  </p:childTnLst>
                                </p:cTn>
                              </p:par>
                              <p:par>
                                <p:cTn id="640" presetID="26" presetClass="emph" presetSubtype="0" dur="2000" repeatCount="indefinite" fill="hold" grpId="0" nodeType="withEffect">
                                  <p:stCondLst>
                                    <p:cond delay="4250"/>
                                  </p:stCondLst>
                                  <p:childTnLst>
                                    <p:animEffect transition="out" filter="fade">
                                      <p:cBhvr>
                                        <p:cTn id="641" dur="2000" tmFilter="0, 0; .2, .5; .8, .5; 1, 0"/>
                                        <p:tgtEl>
                                          <p:spTgt spid="103"/>
                                        </p:tgtEl>
                                      </p:cBhvr>
                                    </p:animEffect>
                                    <p:animScale>
                                      <p:cBhvr>
                                        <p:cTn id="642" dur="1000" autoRev="1" fill="hold"/>
                                        <p:tgtEl>
                                          <p:spTgt spid="103"/>
                                        </p:tgtEl>
                                      </p:cBhvr>
                                      <p:by x="105000" y="105000"/>
                                    </p:animScale>
                                  </p:childTnLst>
                                </p:cTn>
                              </p:par>
                              <p:par>
                                <p:cTn id="643" presetID="26" presetClass="emph" presetSubtype="0" dur="2000" repeatCount="indefinite" fill="hold" grpId="0" nodeType="withEffect">
                                  <p:stCondLst>
                                    <p:cond delay="4250"/>
                                  </p:stCondLst>
                                  <p:childTnLst>
                                    <p:animEffect transition="out" filter="fade">
                                      <p:cBhvr>
                                        <p:cTn id="644" dur="2000" tmFilter="0, 0; .2, .5; .8, .5; 1, 0"/>
                                        <p:tgtEl>
                                          <p:spTgt spid="119"/>
                                        </p:tgtEl>
                                      </p:cBhvr>
                                    </p:animEffect>
                                    <p:animScale>
                                      <p:cBhvr>
                                        <p:cTn id="645" dur="1000" autoRev="1" fill="hold"/>
                                        <p:tgtEl>
                                          <p:spTgt spid="119"/>
                                        </p:tgtEl>
                                      </p:cBhvr>
                                      <p:by x="105000" y="105000"/>
                                    </p:animScale>
                                  </p:childTnLst>
                                </p:cTn>
                              </p:par>
                              <p:par>
                                <p:cTn id="646" presetID="26" presetClass="emph" presetSubtype="0" dur="2000" repeatCount="indefinite" fill="hold" grpId="0" nodeType="withEffect">
                                  <p:stCondLst>
                                    <p:cond delay="4250"/>
                                  </p:stCondLst>
                                  <p:childTnLst>
                                    <p:animEffect transition="out" filter="fade">
                                      <p:cBhvr>
                                        <p:cTn id="647" dur="2000" tmFilter="0, 0; .2, .5; .8, .5; 1, 0"/>
                                        <p:tgtEl>
                                          <p:spTgt spid="135"/>
                                        </p:tgtEl>
                                      </p:cBhvr>
                                    </p:animEffect>
                                    <p:animScale>
                                      <p:cBhvr>
                                        <p:cTn id="648" dur="1000" autoRev="1" fill="hold"/>
                                        <p:tgtEl>
                                          <p:spTgt spid="135"/>
                                        </p:tgtEl>
                                      </p:cBhvr>
                                      <p:by x="105000" y="105000"/>
                                    </p:animScale>
                                  </p:childTnLst>
                                </p:cTn>
                              </p:par>
                              <p:par>
                                <p:cTn id="649" presetID="26" presetClass="emph" presetSubtype="0" dur="2000" repeatCount="indefinite" fill="hold" grpId="0" nodeType="withEffect">
                                  <p:stCondLst>
                                    <p:cond delay="4250"/>
                                  </p:stCondLst>
                                  <p:childTnLst>
                                    <p:animEffect transition="out" filter="fade">
                                      <p:cBhvr>
                                        <p:cTn id="650" dur="2000" tmFilter="0, 0; .2, .5; .8, .5; 1, 0"/>
                                        <p:tgtEl>
                                          <p:spTgt spid="152"/>
                                        </p:tgtEl>
                                      </p:cBhvr>
                                    </p:animEffect>
                                    <p:animScale>
                                      <p:cBhvr>
                                        <p:cTn id="651" dur="1000" autoRev="1" fill="hold"/>
                                        <p:tgtEl>
                                          <p:spTgt spid="152"/>
                                        </p:tgtEl>
                                      </p:cBhvr>
                                      <p:by x="105000" y="105000"/>
                                    </p:animScale>
                                  </p:childTnLst>
                                </p:cTn>
                              </p:par>
                              <p:par>
                                <p:cTn id="652" presetID="26" presetClass="emph" presetSubtype="0" dur="2000" repeatCount="indefinite" fill="hold" grpId="0" nodeType="withEffect">
                                  <p:stCondLst>
                                    <p:cond delay="4250"/>
                                  </p:stCondLst>
                                  <p:childTnLst>
                                    <p:animEffect transition="out" filter="fade">
                                      <p:cBhvr>
                                        <p:cTn id="653" dur="2000" tmFilter="0, 0; .2, .5; .8, .5; 1, 0"/>
                                        <p:tgtEl>
                                          <p:spTgt spid="169"/>
                                        </p:tgtEl>
                                      </p:cBhvr>
                                    </p:animEffect>
                                    <p:animScale>
                                      <p:cBhvr>
                                        <p:cTn id="654" dur="1000" autoRev="1" fill="hold"/>
                                        <p:tgtEl>
                                          <p:spTgt spid="169"/>
                                        </p:tgtEl>
                                      </p:cBhvr>
                                      <p:by x="105000" y="105000"/>
                                    </p:animScale>
                                  </p:childTnLst>
                                </p:cTn>
                              </p:par>
                              <p:par>
                                <p:cTn id="655" presetID="26" presetClass="emph" presetSubtype="0" dur="2000" repeatCount="indefinite" fill="hold" grpId="0" nodeType="withEffect">
                                  <p:stCondLst>
                                    <p:cond delay="4250"/>
                                  </p:stCondLst>
                                  <p:childTnLst>
                                    <p:animEffect transition="out" filter="fade">
                                      <p:cBhvr>
                                        <p:cTn id="656" dur="2000" tmFilter="0, 0; .2, .5; .8, .5; 1, 0"/>
                                        <p:tgtEl>
                                          <p:spTgt spid="186"/>
                                        </p:tgtEl>
                                      </p:cBhvr>
                                    </p:animEffect>
                                    <p:animScale>
                                      <p:cBhvr>
                                        <p:cTn id="657" dur="1000" autoRev="1" fill="hold"/>
                                        <p:tgtEl>
                                          <p:spTgt spid="186"/>
                                        </p:tgtEl>
                                      </p:cBhvr>
                                      <p:by x="105000" y="105000"/>
                                    </p:animScale>
                                  </p:childTnLst>
                                </p:cTn>
                              </p:par>
                              <p:par>
                                <p:cTn id="658" presetID="26" presetClass="emph" presetSubtype="0" dur="2000" repeatCount="indefinite" fill="hold" grpId="0" nodeType="withEffect">
                                  <p:stCondLst>
                                    <p:cond delay="4500"/>
                                  </p:stCondLst>
                                  <p:childTnLst>
                                    <p:animEffect transition="out" filter="fade">
                                      <p:cBhvr>
                                        <p:cTn id="659" dur="2000" tmFilter="0, 0; .2, .5; .8, .5; 1, 0"/>
                                        <p:tgtEl>
                                          <p:spTgt spid="88"/>
                                        </p:tgtEl>
                                      </p:cBhvr>
                                    </p:animEffect>
                                    <p:animScale>
                                      <p:cBhvr>
                                        <p:cTn id="660" dur="1000" autoRev="1" fill="hold"/>
                                        <p:tgtEl>
                                          <p:spTgt spid="88"/>
                                        </p:tgtEl>
                                      </p:cBhvr>
                                      <p:by x="105000" y="105000"/>
                                    </p:animScale>
                                  </p:childTnLst>
                                </p:cTn>
                              </p:par>
                              <p:par>
                                <p:cTn id="661" presetID="26" presetClass="emph" presetSubtype="0" dur="2000" repeatCount="indefinite" fill="hold" grpId="0" nodeType="withEffect">
                                  <p:stCondLst>
                                    <p:cond delay="4500"/>
                                  </p:stCondLst>
                                  <p:childTnLst>
                                    <p:animEffect transition="out" filter="fade">
                                      <p:cBhvr>
                                        <p:cTn id="662" dur="2000" tmFilter="0, 0; .2, .5; .8, .5; 1, 0"/>
                                        <p:tgtEl>
                                          <p:spTgt spid="104"/>
                                        </p:tgtEl>
                                      </p:cBhvr>
                                    </p:animEffect>
                                    <p:animScale>
                                      <p:cBhvr>
                                        <p:cTn id="663" dur="1000" autoRev="1" fill="hold"/>
                                        <p:tgtEl>
                                          <p:spTgt spid="104"/>
                                        </p:tgtEl>
                                      </p:cBhvr>
                                      <p:by x="105000" y="105000"/>
                                    </p:animScale>
                                  </p:childTnLst>
                                </p:cTn>
                              </p:par>
                              <p:par>
                                <p:cTn id="664" presetID="26" presetClass="emph" presetSubtype="0" dur="2000" repeatCount="indefinite" fill="hold" grpId="0" nodeType="withEffect">
                                  <p:stCondLst>
                                    <p:cond delay="4500"/>
                                  </p:stCondLst>
                                  <p:childTnLst>
                                    <p:animEffect transition="out" filter="fade">
                                      <p:cBhvr>
                                        <p:cTn id="665" dur="2000" tmFilter="0, 0; .2, .5; .8, .5; 1, 0"/>
                                        <p:tgtEl>
                                          <p:spTgt spid="120"/>
                                        </p:tgtEl>
                                      </p:cBhvr>
                                    </p:animEffect>
                                    <p:animScale>
                                      <p:cBhvr>
                                        <p:cTn id="666" dur="1000" autoRev="1" fill="hold"/>
                                        <p:tgtEl>
                                          <p:spTgt spid="120"/>
                                        </p:tgtEl>
                                      </p:cBhvr>
                                      <p:by x="105000" y="105000"/>
                                    </p:animScale>
                                  </p:childTnLst>
                                </p:cTn>
                              </p:par>
                              <p:par>
                                <p:cTn id="667" presetID="26" presetClass="emph" presetSubtype="0" dur="2000" repeatCount="indefinite" fill="hold" grpId="0" nodeType="withEffect">
                                  <p:stCondLst>
                                    <p:cond delay="4500"/>
                                  </p:stCondLst>
                                  <p:childTnLst>
                                    <p:animEffect transition="out" filter="fade">
                                      <p:cBhvr>
                                        <p:cTn id="668" dur="2000" tmFilter="0, 0; .2, .5; .8, .5; 1, 0"/>
                                        <p:tgtEl>
                                          <p:spTgt spid="136"/>
                                        </p:tgtEl>
                                      </p:cBhvr>
                                    </p:animEffect>
                                    <p:animScale>
                                      <p:cBhvr>
                                        <p:cTn id="669" dur="1000" autoRev="1" fill="hold"/>
                                        <p:tgtEl>
                                          <p:spTgt spid="136"/>
                                        </p:tgtEl>
                                      </p:cBhvr>
                                      <p:by x="105000" y="105000"/>
                                    </p:animScale>
                                  </p:childTnLst>
                                </p:cTn>
                              </p:par>
                              <p:par>
                                <p:cTn id="670" presetID="26" presetClass="emph" presetSubtype="0" dur="2000" repeatCount="indefinite" fill="hold" grpId="0" nodeType="withEffect">
                                  <p:stCondLst>
                                    <p:cond delay="4500"/>
                                  </p:stCondLst>
                                  <p:childTnLst>
                                    <p:animEffect transition="out" filter="fade">
                                      <p:cBhvr>
                                        <p:cTn id="671" dur="2000" tmFilter="0, 0; .2, .5; .8, .5; 1, 0"/>
                                        <p:tgtEl>
                                          <p:spTgt spid="153"/>
                                        </p:tgtEl>
                                      </p:cBhvr>
                                    </p:animEffect>
                                    <p:animScale>
                                      <p:cBhvr>
                                        <p:cTn id="672" dur="1000" autoRev="1" fill="hold"/>
                                        <p:tgtEl>
                                          <p:spTgt spid="153"/>
                                        </p:tgtEl>
                                      </p:cBhvr>
                                      <p:by x="105000" y="105000"/>
                                    </p:animScale>
                                  </p:childTnLst>
                                </p:cTn>
                              </p:par>
                              <p:par>
                                <p:cTn id="673" presetID="26" presetClass="emph" presetSubtype="0" dur="2000" repeatCount="indefinite" fill="hold" grpId="0" nodeType="withEffect">
                                  <p:stCondLst>
                                    <p:cond delay="4500"/>
                                  </p:stCondLst>
                                  <p:childTnLst>
                                    <p:animEffect transition="out" filter="fade">
                                      <p:cBhvr>
                                        <p:cTn id="674" dur="2000" tmFilter="0, 0; .2, .5; .8, .5; 1, 0"/>
                                        <p:tgtEl>
                                          <p:spTgt spid="170"/>
                                        </p:tgtEl>
                                      </p:cBhvr>
                                    </p:animEffect>
                                    <p:animScale>
                                      <p:cBhvr>
                                        <p:cTn id="675" dur="1000" autoRev="1" fill="hold"/>
                                        <p:tgtEl>
                                          <p:spTgt spid="170"/>
                                        </p:tgtEl>
                                      </p:cBhvr>
                                      <p:by x="105000" y="105000"/>
                                    </p:animScale>
                                  </p:childTnLst>
                                </p:cTn>
                              </p:par>
                              <p:par>
                                <p:cTn id="676" presetID="26" presetClass="emph" presetSubtype="0" dur="2000" repeatCount="indefinite" fill="hold" grpId="0" nodeType="withEffect">
                                  <p:stCondLst>
                                    <p:cond delay="4750"/>
                                  </p:stCondLst>
                                  <p:childTnLst>
                                    <p:animEffect transition="out" filter="fade">
                                      <p:cBhvr>
                                        <p:cTn id="677" dur="2000" tmFilter="0, 0; .2, .5; .8, .5; 1, 0"/>
                                        <p:tgtEl>
                                          <p:spTgt spid="105"/>
                                        </p:tgtEl>
                                      </p:cBhvr>
                                    </p:animEffect>
                                    <p:animScale>
                                      <p:cBhvr>
                                        <p:cTn id="678" dur="1000" autoRev="1" fill="hold"/>
                                        <p:tgtEl>
                                          <p:spTgt spid="105"/>
                                        </p:tgtEl>
                                      </p:cBhvr>
                                      <p:by x="105000" y="105000"/>
                                    </p:animScale>
                                  </p:childTnLst>
                                </p:cTn>
                              </p:par>
                              <p:par>
                                <p:cTn id="679" presetID="26" presetClass="emph" presetSubtype="0" dur="2000" repeatCount="indefinite" fill="hold" grpId="0" nodeType="withEffect">
                                  <p:stCondLst>
                                    <p:cond delay="4750"/>
                                  </p:stCondLst>
                                  <p:childTnLst>
                                    <p:animEffect transition="out" filter="fade">
                                      <p:cBhvr>
                                        <p:cTn id="680" dur="2000" tmFilter="0, 0; .2, .5; .8, .5; 1, 0"/>
                                        <p:tgtEl>
                                          <p:spTgt spid="121"/>
                                        </p:tgtEl>
                                      </p:cBhvr>
                                    </p:animEffect>
                                    <p:animScale>
                                      <p:cBhvr>
                                        <p:cTn id="681" dur="1000" autoRev="1" fill="hold"/>
                                        <p:tgtEl>
                                          <p:spTgt spid="121"/>
                                        </p:tgtEl>
                                      </p:cBhvr>
                                      <p:by x="105000" y="105000"/>
                                    </p:animScale>
                                  </p:childTnLst>
                                </p:cTn>
                              </p:par>
                              <p:par>
                                <p:cTn id="682" presetID="26" presetClass="emph" presetSubtype="0" dur="2000" repeatCount="indefinite" fill="hold" grpId="0" nodeType="withEffect">
                                  <p:stCondLst>
                                    <p:cond delay="4750"/>
                                  </p:stCondLst>
                                  <p:childTnLst>
                                    <p:animEffect transition="out" filter="fade">
                                      <p:cBhvr>
                                        <p:cTn id="683" dur="2000" tmFilter="0, 0; .2, .5; .8, .5; 1, 0"/>
                                        <p:tgtEl>
                                          <p:spTgt spid="137"/>
                                        </p:tgtEl>
                                      </p:cBhvr>
                                    </p:animEffect>
                                    <p:animScale>
                                      <p:cBhvr>
                                        <p:cTn id="684" dur="1000" autoRev="1" fill="hold"/>
                                        <p:tgtEl>
                                          <p:spTgt spid="137"/>
                                        </p:tgtEl>
                                      </p:cBhvr>
                                      <p:by x="105000" y="105000"/>
                                    </p:animScale>
                                  </p:childTnLst>
                                </p:cTn>
                              </p:par>
                              <p:par>
                                <p:cTn id="685" presetID="26" presetClass="emph" presetSubtype="0" dur="2000" repeatCount="indefinite" fill="hold" grpId="0" nodeType="withEffect">
                                  <p:stCondLst>
                                    <p:cond delay="4750"/>
                                  </p:stCondLst>
                                  <p:childTnLst>
                                    <p:animEffect transition="out" filter="fade">
                                      <p:cBhvr>
                                        <p:cTn id="686" dur="2000" tmFilter="0, 0; .2, .5; .8, .5; 1, 0"/>
                                        <p:tgtEl>
                                          <p:spTgt spid="154"/>
                                        </p:tgtEl>
                                      </p:cBhvr>
                                    </p:animEffect>
                                    <p:animScale>
                                      <p:cBhvr>
                                        <p:cTn id="687" dur="1000" autoRev="1" fill="hold"/>
                                        <p:tgtEl>
                                          <p:spTgt spid="154"/>
                                        </p:tgtEl>
                                      </p:cBhvr>
                                      <p:by x="105000" y="105000"/>
                                    </p:animScale>
                                  </p:childTnLst>
                                </p:cTn>
                              </p:par>
                              <p:par>
                                <p:cTn id="688" presetID="26" presetClass="emph" presetSubtype="0" dur="2000" repeatCount="indefinite" fill="hold" grpId="0" nodeType="withEffect">
                                  <p:stCondLst>
                                    <p:cond delay="5000"/>
                                  </p:stCondLst>
                                  <p:childTnLst>
                                    <p:animEffect transition="out" filter="fade">
                                      <p:cBhvr>
                                        <p:cTn id="689" dur="2000" tmFilter="0, 0; .2, .5; .8, .5; 1, 0"/>
                                        <p:tgtEl>
                                          <p:spTgt spid="122"/>
                                        </p:tgtEl>
                                      </p:cBhvr>
                                    </p:animEffect>
                                    <p:animScale>
                                      <p:cBhvr>
                                        <p:cTn id="690" dur="1000" autoRev="1" fill="hold"/>
                                        <p:tgtEl>
                                          <p:spTgt spid="122"/>
                                        </p:tgtEl>
                                      </p:cBhvr>
                                      <p:by x="105000" y="105000"/>
                                    </p:animScale>
                                  </p:childTnLst>
                                </p:cTn>
                              </p:par>
                              <p:par>
                                <p:cTn id="691" presetID="26" presetClass="emph" presetSubtype="0" dur="2000" repeatCount="indefinite" fill="hold" grpId="0" nodeType="withEffect">
                                  <p:stCondLst>
                                    <p:cond delay="5000"/>
                                  </p:stCondLst>
                                  <p:childTnLst>
                                    <p:animEffect transition="out" filter="fade">
                                      <p:cBhvr>
                                        <p:cTn id="692" dur="2000" tmFilter="0, 0; .2, .5; .8, .5; 1, 0"/>
                                        <p:tgtEl>
                                          <p:spTgt spid="138"/>
                                        </p:tgtEl>
                                      </p:cBhvr>
                                    </p:animEffect>
                                    <p:animScale>
                                      <p:cBhvr>
                                        <p:cTn id="693" dur="1000" autoRev="1" fill="hold"/>
                                        <p:tgtEl>
                                          <p:spTgt spid="138"/>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122" grpId="0" animBg="1"/>
      <p:bldP spid="138" grpId="0" animBg="1"/>
      <p:bldP spid="105" grpId="0" animBg="1"/>
      <p:bldP spid="121" grpId="0" animBg="1"/>
      <p:bldP spid="137" grpId="0" animBg="1"/>
      <p:bldP spid="154" grpId="0" animBg="1"/>
      <p:bldP spid="88" grpId="0" animBg="1"/>
      <p:bldP spid="104" grpId="0" animBg="1"/>
      <p:bldP spid="120" grpId="0" animBg="1"/>
      <p:bldP spid="136" grpId="0" animBg="1"/>
      <p:bldP spid="153" grpId="0" animBg="1"/>
      <p:bldP spid="170" grpId="0" animBg="1"/>
      <p:bldP spid="71" grpId="0" animBg="1"/>
      <p:bldP spid="87" grpId="0" animBg="1"/>
      <p:bldP spid="103" grpId="0" animBg="1"/>
      <p:bldP spid="119" grpId="0" animBg="1"/>
      <p:bldP spid="135" grpId="0" animBg="1"/>
      <p:bldP spid="152" grpId="0" animBg="1"/>
      <p:bldP spid="169" grpId="0" animBg="1"/>
      <p:bldP spid="186" grpId="0" animBg="1"/>
      <p:bldP spid="54" grpId="0" animBg="1"/>
      <p:bldP spid="70" grpId="0" animBg="1"/>
      <p:bldP spid="86" grpId="0" animBg="1"/>
      <p:bldP spid="102" grpId="0" animBg="1"/>
      <p:bldP spid="118" grpId="0" animBg="1"/>
      <p:bldP spid="134" grpId="0" animBg="1"/>
      <p:bldP spid="151" grpId="0" animBg="1"/>
      <p:bldP spid="168" grpId="0" animBg="1"/>
      <p:bldP spid="185" grpId="0" animBg="1"/>
      <p:bldP spid="202" grpId="0" animBg="1"/>
      <p:bldP spid="37" grpId="0" animBg="1"/>
      <p:bldP spid="53" grpId="0" animBg="1"/>
      <p:bldP spid="69" grpId="0" animBg="1"/>
      <p:bldP spid="85" grpId="0" animBg="1"/>
      <p:bldP spid="101" grpId="0" animBg="1"/>
      <p:bldP spid="117" grpId="0" animBg="1"/>
      <p:bldP spid="133" grpId="0" animBg="1"/>
      <p:bldP spid="150" grpId="0" animBg="1"/>
      <p:bldP spid="167" grpId="0" animBg="1"/>
      <p:bldP spid="184" grpId="0" animBg="1"/>
      <p:bldP spid="201" grpId="0" animBg="1"/>
      <p:bldP spid="218" grpId="0" animBg="1"/>
      <p:bldP spid="5" grpId="0" animBg="1"/>
      <p:bldP spid="22" grpId="0" animBg="1"/>
      <p:bldP spid="38" grpId="0" animBg="1"/>
      <p:bldP spid="203" grpId="0" animBg="1"/>
      <p:bldP spid="219" grpId="0" animBg="1"/>
      <p:bldP spid="6" grpId="0" animBg="1"/>
      <p:bldP spid="23" grpId="0" animBg="1"/>
      <p:bldP spid="39" grpId="0" animBg="1"/>
      <p:bldP spid="55" grpId="0" animBg="1"/>
      <p:bldP spid="187" grpId="0" animBg="1"/>
      <p:bldP spid="204" grpId="0" animBg="1"/>
      <p:bldP spid="220" grpId="0" animBg="1"/>
      <p:bldP spid="7" grpId="0" animBg="1"/>
      <p:bldP spid="24" grpId="0" animBg="1"/>
      <p:bldP spid="40" grpId="0" animBg="1"/>
      <p:bldP spid="56" grpId="0" animBg="1"/>
      <p:bldP spid="72" grpId="0" animBg="1"/>
      <p:bldP spid="171" grpId="0" animBg="1"/>
      <p:bldP spid="188" grpId="0" animBg="1"/>
      <p:bldP spid="205" grpId="0" animBg="1"/>
      <p:bldP spid="221" grpId="0" animBg="1"/>
      <p:bldP spid="8" grpId="0" animBg="1"/>
      <p:bldP spid="25" grpId="0" animBg="1"/>
      <p:bldP spid="41" grpId="0" animBg="1"/>
      <p:bldP spid="57" grpId="0" animBg="1"/>
      <p:bldP spid="73" grpId="0" animBg="1"/>
      <p:bldP spid="89" grpId="0" animBg="1"/>
      <p:bldP spid="155" grpId="0" animBg="1"/>
      <p:bldP spid="172" grpId="0" animBg="1"/>
      <p:bldP spid="189" grpId="0" animBg="1"/>
      <p:bldP spid="206" grpId="0" animBg="1"/>
      <p:bldP spid="222" grpId="0" animBg="1"/>
      <p:bldP spid="11" grpId="0" animBg="1"/>
      <p:bldP spid="26" grpId="0" animBg="1"/>
      <p:bldP spid="42" grpId="0" animBg="1"/>
      <p:bldP spid="58" grpId="0" animBg="1"/>
      <p:bldP spid="74" grpId="0" animBg="1"/>
      <p:bldP spid="90" grpId="0" animBg="1"/>
      <p:bldP spid="106" grpId="0" animBg="1"/>
      <p:bldP spid="139" grpId="0" animBg="1"/>
      <p:bldP spid="156" grpId="0" animBg="1"/>
      <p:bldP spid="173" grpId="0" animBg="1"/>
      <p:bldP spid="190" grpId="0" animBg="1"/>
      <p:bldP spid="207" grpId="0" animBg="1"/>
      <p:bldP spid="223" grpId="0" animBg="1"/>
      <p:bldP spid="12" grpId="0" animBg="1"/>
      <p:bldP spid="27" grpId="0" animBg="1"/>
      <p:bldP spid="43" grpId="0" animBg="1"/>
      <p:bldP spid="59" grpId="0" animBg="1"/>
      <p:bldP spid="75" grpId="0" animBg="1"/>
      <p:bldP spid="91" grpId="0" animBg="1"/>
      <p:bldP spid="107" grpId="0" animBg="1"/>
      <p:bldP spid="123" grpId="0" animBg="1"/>
      <p:bldP spid="140" grpId="0" animBg="1"/>
      <p:bldP spid="157" grpId="0" animBg="1"/>
      <p:bldP spid="174" grpId="0" animBg="1"/>
      <p:bldP spid="191" grpId="0" animBg="1"/>
      <p:bldP spid="208" grpId="0" animBg="1"/>
      <p:bldP spid="224" grpId="0" animBg="1"/>
      <p:bldP spid="13" grpId="0" animBg="1"/>
      <p:bldP spid="28" grpId="0" animBg="1"/>
      <p:bldP spid="44" grpId="0" animBg="1"/>
      <p:bldP spid="60" grpId="0" animBg="1"/>
      <p:bldP spid="76" grpId="0" animBg="1"/>
      <p:bldP spid="92" grpId="0" animBg="1"/>
      <p:bldP spid="108" grpId="0" animBg="1"/>
      <p:bldP spid="124" grpId="0" animBg="1"/>
      <p:bldP spid="141" grpId="0" animBg="1"/>
      <p:bldP spid="158" grpId="0" animBg="1"/>
      <p:bldP spid="175" grpId="0" animBg="1"/>
      <p:bldP spid="192" grpId="0" animBg="1"/>
      <p:bldP spid="209" grpId="0" animBg="1"/>
      <p:bldP spid="225" grpId="0" animBg="1"/>
      <p:bldP spid="14" grpId="0" animBg="1"/>
      <p:bldP spid="29" grpId="0" animBg="1"/>
      <p:bldP spid="45" grpId="0" animBg="1"/>
      <p:bldP spid="61" grpId="0" animBg="1"/>
      <p:bldP spid="77" grpId="0" animBg="1"/>
      <p:bldP spid="93" grpId="0" animBg="1"/>
      <p:bldP spid="109" grpId="0" animBg="1"/>
      <p:bldP spid="125" grpId="0" animBg="1"/>
      <p:bldP spid="142" grpId="0" animBg="1"/>
      <p:bldP spid="159" grpId="0" animBg="1"/>
      <p:bldP spid="176" grpId="0" animBg="1"/>
      <p:bldP spid="193" grpId="0" animBg="1"/>
      <p:bldP spid="210" grpId="0" animBg="1"/>
      <p:bldP spid="226" grpId="0" animBg="1"/>
      <p:bldP spid="15" grpId="0" animBg="1"/>
      <p:bldP spid="30" grpId="0" animBg="1"/>
      <p:bldP spid="46" grpId="0" animBg="1"/>
      <p:bldP spid="62" grpId="0" animBg="1"/>
      <p:bldP spid="78" grpId="0" animBg="1"/>
      <p:bldP spid="94" grpId="0" animBg="1"/>
      <p:bldP spid="110" grpId="0" animBg="1"/>
      <p:bldP spid="126" grpId="0" animBg="1"/>
      <p:bldP spid="143" grpId="0" animBg="1"/>
      <p:bldP spid="160" grpId="0" animBg="1"/>
      <p:bldP spid="177" grpId="0" animBg="1"/>
      <p:bldP spid="194" grpId="0" animBg="1"/>
      <p:bldP spid="211" grpId="0" animBg="1"/>
      <p:bldP spid="227" grpId="0" animBg="1"/>
      <p:bldP spid="16" grpId="0" animBg="1"/>
      <p:bldP spid="31" grpId="0" animBg="1"/>
      <p:bldP spid="47" grpId="0" animBg="1"/>
      <p:bldP spid="63" grpId="0" animBg="1"/>
      <p:bldP spid="79" grpId="0" animBg="1"/>
      <p:bldP spid="95" grpId="0" animBg="1"/>
      <p:bldP spid="111" grpId="0" animBg="1"/>
      <p:bldP spid="127" grpId="0" animBg="1"/>
      <p:bldP spid="144" grpId="0" animBg="1"/>
      <p:bldP spid="161" grpId="0" animBg="1"/>
      <p:bldP spid="178" grpId="0" animBg="1"/>
      <p:bldP spid="195" grpId="0" animBg="1"/>
      <p:bldP spid="212" grpId="0" animBg="1"/>
      <p:bldP spid="228" grpId="0" animBg="1"/>
      <p:bldP spid="17" grpId="0" animBg="1"/>
      <p:bldP spid="32" grpId="0" animBg="1"/>
      <p:bldP spid="48" grpId="0" animBg="1"/>
      <p:bldP spid="64" grpId="0" animBg="1"/>
      <p:bldP spid="80" grpId="0" animBg="1"/>
      <p:bldP spid="96" grpId="0" animBg="1"/>
      <p:bldP spid="112" grpId="0" animBg="1"/>
      <p:bldP spid="128" grpId="0" animBg="1"/>
      <p:bldP spid="145" grpId="0" animBg="1"/>
      <p:bldP spid="162" grpId="0" animBg="1"/>
      <p:bldP spid="179" grpId="0" animBg="1"/>
      <p:bldP spid="196" grpId="0" animBg="1"/>
      <p:bldP spid="213" grpId="0" animBg="1"/>
      <p:bldP spid="229" grpId="0" animBg="1"/>
      <p:bldP spid="18" grpId="0" animBg="1"/>
      <p:bldP spid="33" grpId="0" animBg="1"/>
      <p:bldP spid="49" grpId="0" animBg="1"/>
      <p:bldP spid="65" grpId="0" animBg="1"/>
      <p:bldP spid="81" grpId="0" animBg="1"/>
      <p:bldP spid="97" grpId="0" animBg="1"/>
      <p:bldP spid="113" grpId="0" animBg="1"/>
      <p:bldP spid="129" grpId="0" animBg="1"/>
      <p:bldP spid="146" grpId="0" animBg="1"/>
      <p:bldP spid="163" grpId="0" animBg="1"/>
      <p:bldP spid="180" grpId="0" animBg="1"/>
      <p:bldP spid="197" grpId="0" animBg="1"/>
      <p:bldP spid="214" grpId="0" animBg="1"/>
      <p:bldP spid="230" grpId="0" animBg="1"/>
      <p:bldP spid="19" grpId="0" animBg="1"/>
      <p:bldP spid="34" grpId="0" animBg="1"/>
      <p:bldP spid="50" grpId="0" animBg="1"/>
      <p:bldP spid="66" grpId="0" animBg="1"/>
      <p:bldP spid="82" grpId="0" animBg="1"/>
      <p:bldP spid="98" grpId="0" animBg="1"/>
      <p:bldP spid="114" grpId="0" animBg="1"/>
      <p:bldP spid="130" grpId="0" animBg="1"/>
      <p:bldP spid="147" grpId="0" animBg="1"/>
      <p:bldP spid="164" grpId="0" animBg="1"/>
      <p:bldP spid="181" grpId="0" animBg="1"/>
      <p:bldP spid="198" grpId="0" animBg="1"/>
      <p:bldP spid="215" grpId="0" animBg="1"/>
      <p:bldP spid="231" grpId="0" animBg="1"/>
      <p:bldP spid="20" grpId="0" animBg="1"/>
      <p:bldP spid="35" grpId="0" animBg="1"/>
      <p:bldP spid="51" grpId="0" animBg="1"/>
      <p:bldP spid="67" grpId="0" animBg="1"/>
      <p:bldP spid="83" grpId="0" animBg="1"/>
      <p:bldP spid="99" grpId="0" animBg="1"/>
      <p:bldP spid="115" grpId="0" animBg="1"/>
      <p:bldP spid="131" grpId="0" animBg="1"/>
      <p:bldP spid="148" grpId="0" animBg="1"/>
      <p:bldP spid="165" grpId="0" animBg="1"/>
      <p:bldP spid="182" grpId="0" animBg="1"/>
      <p:bldP spid="199" grpId="0" animBg="1"/>
      <p:bldP spid="216" grpId="0" animBg="1"/>
      <p:bldP spid="232" grpId="0" animBg="1"/>
      <p:bldP spid="21" grpId="0" animBg="1"/>
      <p:bldP spid="36" grpId="0" animBg="1"/>
      <p:bldP spid="52" grpId="0" animBg="1"/>
      <p:bldP spid="68" grpId="0" animBg="1"/>
      <p:bldP spid="84" grpId="0" animBg="1"/>
      <p:bldP spid="100" grpId="0" animBg="1"/>
      <p:bldP spid="116" grpId="0" animBg="1"/>
      <p:bldP spid="132" grpId="0" animBg="1"/>
      <p:bldP spid="149" grpId="0" animBg="1"/>
      <p:bldP spid="166" grpId="0" animBg="1"/>
      <p:bldP spid="183" grpId="0" animBg="1"/>
      <p:bldP spid="200" grpId="0" animBg="1"/>
      <p:bldP spid="217" grpId="0" animBg="1"/>
      <p:bldP spid="233" grpId="0" animBg="1"/>
      <p:bldP spid="10" grpId="0">
        <p:tmplLst>
          <p:tmpl>
            <p:tnLst>
              <p:par>
                <p:cTn presetID="2" presetClass="entr" presetSubtype="8" decel="100000" fill="hold" nodeType="withEffect">
                  <p:stCondLst>
                    <p:cond delay="0"/>
                  </p:stCondLst>
                  <p:childTnLst>
                    <p:set>
                      <p:cBhvr>
                        <p:cTn dur="1" fill="hold">
                          <p:stCondLst>
                            <p:cond delay="0"/>
                          </p:stCondLst>
                        </p:cTn>
                        <p:tgtEl>
                          <p:spTgt spid="10"/>
                        </p:tgtEl>
                        <p:attrNameLst>
                          <p:attrName>style.visibility</p:attrName>
                        </p:attrNameLst>
                      </p:cBhvr>
                      <p:to>
                        <p:strVal val="visible"/>
                      </p:to>
                    </p:set>
                    <p:anim calcmode="lin" valueType="num">
                      <p:cBhvr additive="base">
                        <p:cTn dur="1000" fill="hold"/>
                        <p:tgtEl>
                          <p:spTgt spid="10"/>
                        </p:tgtEl>
                        <p:attrNameLst>
                          <p:attrName>ppt_x</p:attrName>
                        </p:attrNameLst>
                      </p:cBhvr>
                      <p:tavLst>
                        <p:tav tm="0">
                          <p:val>
                            <p:strVal val="0-#ppt_w/2"/>
                          </p:val>
                        </p:tav>
                        <p:tav tm="100000">
                          <p:val>
                            <p:strVal val="#ppt_x"/>
                          </p:val>
                        </p:tav>
                      </p:tavLst>
                    </p:anim>
                    <p:anim calcmode="lin" valueType="num">
                      <p:cBhvr additive="base">
                        <p:cTn dur="1000" fill="hold"/>
                        <p:tgtEl>
                          <p:spTgt spid="10"/>
                        </p:tgtEl>
                        <p:attrNameLst>
                          <p:attrName>ppt_y</p:attrName>
                        </p:attrNameLst>
                      </p:cBhvr>
                      <p:tavLst>
                        <p:tav tm="0">
                          <p:val>
                            <p:strVal val="#ppt_y"/>
                          </p:val>
                        </p:tav>
                        <p:tav tm="100000">
                          <p:val>
                            <p:strVal val="#ppt_y"/>
                          </p:val>
                        </p:tav>
                      </p:tavLst>
                    </p:anim>
                  </p:childTnLst>
                </p:cTn>
              </p:par>
            </p:tnLst>
          </p:tmpl>
        </p:tmplLst>
      </p:bldP>
    </p:bldLst>
  </p:timing>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HEADING/TEXT 1 column">
    <p:spTree>
      <p:nvGrpSpPr>
        <p:cNvPr id="1" name=""/>
        <p:cNvGrpSpPr/>
        <p:nvPr/>
      </p:nvGrpSpPr>
      <p:grpSpPr>
        <a:xfrm>
          <a:off x="0" y="0"/>
          <a:ext cx="0" cy="0"/>
          <a:chOff x="0" y="0"/>
          <a:chExt cx="0" cy="0"/>
        </a:xfrm>
      </p:grpSpPr>
      <p:sp>
        <p:nvSpPr>
          <p:cNvPr id="13" name="Freihandform: Form 12">
            <a:extLst>
              <a:ext uri="{FF2B5EF4-FFF2-40B4-BE49-F238E27FC236}">
                <a16:creationId xmlns:a16="http://schemas.microsoft.com/office/drawing/2014/main" id="{50EC640D-C73C-4FD9-AD9A-88EE410704F4}"/>
              </a:ext>
            </a:extLst>
          </p:cNvPr>
          <p:cNvSpPr/>
          <p:nvPr/>
        </p:nvSpPr>
        <p:spPr>
          <a:xfrm flipH="1">
            <a:off x="0" y="1975610"/>
            <a:ext cx="9829800" cy="4882390"/>
          </a:xfrm>
          <a:custGeom>
            <a:avLst/>
            <a:gdLst>
              <a:gd name="connsiteX0" fmla="*/ 910059 w 9829800"/>
              <a:gd name="connsiteY0" fmla="*/ 0 h 4882390"/>
              <a:gd name="connsiteX1" fmla="*/ 3015085 w 9829800"/>
              <a:gd name="connsiteY1" fmla="*/ 0 h 4882390"/>
              <a:gd name="connsiteX2" fmla="*/ 7981950 w 9829800"/>
              <a:gd name="connsiteY2" fmla="*/ 0 h 4882390"/>
              <a:gd name="connsiteX3" fmla="*/ 9829800 w 9829800"/>
              <a:gd name="connsiteY3" fmla="*/ 0 h 4882390"/>
              <a:gd name="connsiteX4" fmla="*/ 9829800 w 9829800"/>
              <a:gd name="connsiteY4" fmla="*/ 4882390 h 4882390"/>
              <a:gd name="connsiteX5" fmla="*/ 7981950 w 9829800"/>
              <a:gd name="connsiteY5" fmla="*/ 4882390 h 4882390"/>
              <a:gd name="connsiteX6" fmla="*/ 2183098 w 9829800"/>
              <a:gd name="connsiteY6" fmla="*/ 4882390 h 4882390"/>
              <a:gd name="connsiteX7" fmla="*/ 78072 w 9829800"/>
              <a:gd name="connsiteY7" fmla="*/ 4882390 h 4882390"/>
              <a:gd name="connsiteX8" fmla="*/ 0 w 9829800"/>
              <a:gd name="connsiteY8" fmla="*/ 4804318 h 4882390"/>
              <a:gd name="connsiteX9" fmla="*/ 831987 w 9829800"/>
              <a:gd name="connsiteY9" fmla="*/ 78072 h 4882390"/>
              <a:gd name="connsiteX10" fmla="*/ 910059 w 9829800"/>
              <a:gd name="connsiteY10" fmla="*/ 0 h 4882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829800" h="4882390">
                <a:moveTo>
                  <a:pt x="910059" y="0"/>
                </a:moveTo>
                <a:lnTo>
                  <a:pt x="3015085" y="0"/>
                </a:lnTo>
                <a:lnTo>
                  <a:pt x="7981950" y="0"/>
                </a:lnTo>
                <a:lnTo>
                  <a:pt x="9829800" y="0"/>
                </a:lnTo>
                <a:lnTo>
                  <a:pt x="9829800" y="4882390"/>
                </a:lnTo>
                <a:lnTo>
                  <a:pt x="7981950" y="4882390"/>
                </a:lnTo>
                <a:lnTo>
                  <a:pt x="2183098" y="4882390"/>
                </a:lnTo>
                <a:lnTo>
                  <a:pt x="78072" y="4882390"/>
                </a:lnTo>
                <a:cubicBezTo>
                  <a:pt x="34957" y="4882390"/>
                  <a:pt x="0" y="4847433"/>
                  <a:pt x="0" y="4804318"/>
                </a:cubicBezTo>
                <a:lnTo>
                  <a:pt x="831987" y="78072"/>
                </a:lnTo>
                <a:cubicBezTo>
                  <a:pt x="831987" y="34957"/>
                  <a:pt x="866945" y="0"/>
                  <a:pt x="910059" y="0"/>
                </a:cubicBezTo>
                <a:close/>
              </a:path>
            </a:pathLst>
          </a:custGeom>
          <a:gradFill>
            <a:gsLst>
              <a:gs pos="0">
                <a:schemeClr val="bg1"/>
              </a:gs>
              <a:gs pos="95000">
                <a:srgbClr val="ECF0F4"/>
              </a:gs>
            </a:gsLst>
            <a:lin ang="5400000" scaled="1"/>
          </a:gradFill>
          <a:ln w="11652" cap="flat">
            <a:noFill/>
            <a:prstDash val="solid"/>
            <a:miter/>
          </a:ln>
        </p:spPr>
        <p:txBody>
          <a:bodyPr rtlCol="0" anchor="ctr"/>
          <a:lstStyle/>
          <a:p>
            <a:endParaRPr lang="de-DE"/>
          </a:p>
        </p:txBody>
      </p:sp>
      <p:sp>
        <p:nvSpPr>
          <p:cNvPr id="2" name="Titel 1">
            <a:extLst>
              <a:ext uri="{FF2B5EF4-FFF2-40B4-BE49-F238E27FC236}">
                <a16:creationId xmlns:a16="http://schemas.microsoft.com/office/drawing/2014/main" id="{0526DC72-FA1D-422D-8055-3374742D122B}"/>
              </a:ext>
            </a:extLst>
          </p:cNvPr>
          <p:cNvSpPr>
            <a:spLocks noGrp="1"/>
          </p:cNvSpPr>
          <p:nvPr>
            <p:ph type="title"/>
          </p:nvPr>
        </p:nvSpPr>
        <p:spPr/>
        <p:txBody>
          <a:bodyPr/>
          <a:lstStyle>
            <a:lvl1pPr>
              <a:lnSpc>
                <a:spcPct val="100000"/>
              </a:lnSpc>
              <a:defRPr/>
            </a:lvl1pPr>
          </a:lstStyle>
          <a:p>
            <a:r>
              <a:rPr lang="de-DE"/>
              <a:t>Mastertitelformat bearbeiten</a:t>
            </a:r>
          </a:p>
        </p:txBody>
      </p:sp>
      <p:sp>
        <p:nvSpPr>
          <p:cNvPr id="3" name="Foliennummernplatzhalter 2">
            <a:extLst>
              <a:ext uri="{FF2B5EF4-FFF2-40B4-BE49-F238E27FC236}">
                <a16:creationId xmlns:a16="http://schemas.microsoft.com/office/drawing/2014/main" id="{5B327254-466C-4606-8589-BCC72CBDADDF}"/>
              </a:ext>
            </a:extLst>
          </p:cNvPr>
          <p:cNvSpPr>
            <a:spLocks noGrp="1"/>
          </p:cNvSpPr>
          <p:nvPr>
            <p:ph type="sldNum" sz="quarter" idx="10"/>
          </p:nvPr>
        </p:nvSpPr>
        <p:spPr/>
        <p:txBody>
          <a:bodyPr/>
          <a:lstStyle/>
          <a:p>
            <a:fld id="{A04BEB4F-8CE1-4F18-986F-6CE0A0BE9470}" type="slidenum">
              <a:rPr lang="de-DE" smtClean="0"/>
              <a:t>‹#›</a:t>
            </a:fld>
            <a:endParaRPr lang="de-DE"/>
          </a:p>
        </p:txBody>
      </p:sp>
      <p:sp>
        <p:nvSpPr>
          <p:cNvPr id="5" name="Textplatzhalter 9">
            <a:extLst>
              <a:ext uri="{FF2B5EF4-FFF2-40B4-BE49-F238E27FC236}">
                <a16:creationId xmlns:a16="http://schemas.microsoft.com/office/drawing/2014/main" id="{6024922C-391C-46EA-9F1C-F5344AAB64C8}"/>
              </a:ext>
            </a:extLst>
          </p:cNvPr>
          <p:cNvSpPr>
            <a:spLocks noGrp="1"/>
          </p:cNvSpPr>
          <p:nvPr>
            <p:ph type="body" sz="quarter" idx="11"/>
          </p:nvPr>
        </p:nvSpPr>
        <p:spPr>
          <a:xfrm>
            <a:off x="815951" y="1979612"/>
            <a:ext cx="10560096" cy="4338638"/>
          </a:xfrm>
          <a:prstGeom prst="rect">
            <a:avLst/>
          </a:prstGeom>
        </p:spPr>
        <p:txBody>
          <a:bodyPr lIns="0" tIns="0" rIns="0" bIns="0">
            <a:normAutofit/>
          </a:bodyPr>
          <a:lstStyle>
            <a:lvl1pPr>
              <a:defRPr sz="1800"/>
            </a:lvl1pPr>
            <a:lvl2pPr>
              <a:defRPr sz="1800"/>
            </a:lvl2pPr>
            <a:lvl3pPr>
              <a:defRPr sz="1800"/>
            </a:lvl3pPr>
            <a:lvl4pPr>
              <a:defRPr sz="1800"/>
            </a:lvl4pPr>
            <a:lvl5pPr>
              <a:defRPr sz="18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22508871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8" dur="1000" decel="10000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0-#ppt_w/2"/>
                                          </p:val>
                                        </p:tav>
                                        <p:tav tm="100000">
                                          <p:val>
                                            <p:strVal val="#ppt_x"/>
                                          </p:val>
                                        </p:tav>
                                      </p:tavLst>
                                    </p:anim>
                                    <p:anim calcmode="lin" valueType="num">
                                      <p:cBhvr additive="base">
                                        <p:cTn id="8" dur="1000" fill="hold"/>
                                        <p:tgtEl>
                                          <p:spTgt spid="2"/>
                                        </p:tgtEl>
                                        <p:attrNameLst>
                                          <p:attrName>ppt_y</p:attrName>
                                        </p:attrNameLst>
                                      </p:cBhvr>
                                      <p:tavLst>
                                        <p:tav tm="0">
                                          <p:val>
                                            <p:strVal val="#ppt_y"/>
                                          </p:val>
                                        </p:tav>
                                        <p:tav tm="100000">
                                          <p:val>
                                            <p:strVal val="#ppt_y"/>
                                          </p:val>
                                        </p:tav>
                                      </p:tavLst>
                                    </p:anim>
                                  </p:childTnLst>
                                </p:cTn>
                              </p:par>
                              <p:par>
                                <p:cTn id="9" presetID="2" presetClass="entr" presetSubtype="8" dur="1000" decel="100000" fill="hold" grpId="0" nodeType="withEffect">
                                  <p:stCondLst>
                                    <p:cond delay="25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1000" fill="hold"/>
                                        <p:tgtEl>
                                          <p:spTgt spid="5"/>
                                        </p:tgtEl>
                                        <p:attrNameLst>
                                          <p:attrName>ppt_x</p:attrName>
                                        </p:attrNameLst>
                                      </p:cBhvr>
                                      <p:tavLst>
                                        <p:tav tm="0">
                                          <p:val>
                                            <p:strVal val="0-#ppt_w/2"/>
                                          </p:val>
                                        </p:tav>
                                        <p:tav tm="100000">
                                          <p:val>
                                            <p:strVal val="#ppt_x"/>
                                          </p:val>
                                        </p:tav>
                                      </p:tavLst>
                                    </p:anim>
                                    <p:anim calcmode="lin" valueType="num">
                                      <p:cBhvr additive="base">
                                        <p:cTn id="12" dur="100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uiExpand="1">
        <p:tmplLst>
          <p:tmpl>
            <p:tnLst>
              <p:par>
                <p:cTn presetID="2" presetClass="entr" presetSubtype="8" decel="100000" fill="hold" nodeType="withEffect">
                  <p:stCondLst>
                    <p:cond delay="250"/>
                  </p:stCondLst>
                  <p:childTnLst>
                    <p:set>
                      <p:cBhvr>
                        <p:cTn dur="1" fill="hold">
                          <p:stCondLst>
                            <p:cond delay="0"/>
                          </p:stCondLst>
                        </p:cTn>
                        <p:tgtEl>
                          <p:spTgt spid="5"/>
                        </p:tgtEl>
                        <p:attrNameLst>
                          <p:attrName>style.visibility</p:attrName>
                        </p:attrNameLst>
                      </p:cBhvr>
                      <p:to>
                        <p:strVal val="visible"/>
                      </p:to>
                    </p:set>
                    <p:anim calcmode="lin" valueType="num">
                      <p:cBhvr additive="base">
                        <p:cTn dur="1000" fill="hold"/>
                        <p:tgtEl>
                          <p:spTgt spid="5"/>
                        </p:tgtEl>
                        <p:attrNameLst>
                          <p:attrName>ppt_x</p:attrName>
                        </p:attrNameLst>
                      </p:cBhvr>
                      <p:tavLst>
                        <p:tav tm="0">
                          <p:val>
                            <p:strVal val="0-#ppt_w/2"/>
                          </p:val>
                        </p:tav>
                        <p:tav tm="100000">
                          <p:val>
                            <p:strVal val="#ppt_x"/>
                          </p:val>
                        </p:tav>
                      </p:tavLst>
                    </p:anim>
                    <p:anim calcmode="lin" valueType="num">
                      <p:cBhvr additive="base">
                        <p:cTn dur="1000" fill="hold"/>
                        <p:tgtEl>
                          <p:spTgt spid="5"/>
                        </p:tgtEl>
                        <p:attrNameLst>
                          <p:attrName>ppt_y</p:attrName>
                        </p:attrNameLst>
                      </p:cBhvr>
                      <p:tavLst>
                        <p:tav tm="0">
                          <p:val>
                            <p:strVal val="#ppt_y"/>
                          </p:val>
                        </p:tav>
                        <p:tav tm="100000">
                          <p:val>
                            <p:strVal val="#ppt_y"/>
                          </p:val>
                        </p:tav>
                      </p:tavLst>
                    </p:anim>
                  </p:childTnLst>
                </p:cTn>
              </p:par>
            </p:tnLst>
          </p:tmpl>
        </p:tmplLst>
      </p:bldP>
    </p:bld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6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893E20B-4C8A-4F59-B087-3A11D128B2F1}"/>
              </a:ext>
            </a:extLst>
          </p:cNvPr>
          <p:cNvSpPr>
            <a:spLocks noGrp="1"/>
          </p:cNvSpPr>
          <p:nvPr>
            <p:ph type="pic" sz="quarter" idx="14"/>
          </p:nvPr>
        </p:nvSpPr>
        <p:spPr>
          <a:xfrm>
            <a:off x="4767126" y="2160248"/>
            <a:ext cx="2659907" cy="2539669"/>
          </a:xfrm>
          <a:custGeom>
            <a:avLst/>
            <a:gdLst>
              <a:gd name="connsiteX0" fmla="*/ 272846 w 5320506"/>
              <a:gd name="connsiteY0" fmla="*/ 0 h 5079337"/>
              <a:gd name="connsiteX1" fmla="*/ 5047660 w 5320506"/>
              <a:gd name="connsiteY1" fmla="*/ 0 h 5079337"/>
              <a:gd name="connsiteX2" fmla="*/ 5320506 w 5320506"/>
              <a:gd name="connsiteY2" fmla="*/ 272716 h 5079337"/>
              <a:gd name="connsiteX3" fmla="*/ 5320506 w 5320506"/>
              <a:gd name="connsiteY3" fmla="*/ 4806621 h 5079337"/>
              <a:gd name="connsiteX4" fmla="*/ 5047660 w 5320506"/>
              <a:gd name="connsiteY4" fmla="*/ 5079337 h 5079337"/>
              <a:gd name="connsiteX5" fmla="*/ 272846 w 5320506"/>
              <a:gd name="connsiteY5" fmla="*/ 5079337 h 5079337"/>
              <a:gd name="connsiteX6" fmla="*/ 0 w 5320506"/>
              <a:gd name="connsiteY6" fmla="*/ 4806621 h 5079337"/>
              <a:gd name="connsiteX7" fmla="*/ 0 w 5320506"/>
              <a:gd name="connsiteY7" fmla="*/ 272716 h 5079337"/>
              <a:gd name="connsiteX8" fmla="*/ 272846 w 5320506"/>
              <a:gd name="connsiteY8" fmla="*/ 0 h 5079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20506" h="5079337">
                <a:moveTo>
                  <a:pt x="272846" y="0"/>
                </a:moveTo>
                <a:cubicBezTo>
                  <a:pt x="5047660" y="0"/>
                  <a:pt x="5047660" y="0"/>
                  <a:pt x="5047660" y="0"/>
                </a:cubicBezTo>
                <a:cubicBezTo>
                  <a:pt x="5197725" y="0"/>
                  <a:pt x="5320506" y="122722"/>
                  <a:pt x="5320506" y="272716"/>
                </a:cubicBezTo>
                <a:cubicBezTo>
                  <a:pt x="5320506" y="4806621"/>
                  <a:pt x="5320506" y="4806621"/>
                  <a:pt x="5320506" y="4806621"/>
                </a:cubicBezTo>
                <a:cubicBezTo>
                  <a:pt x="5320506" y="4956615"/>
                  <a:pt x="5197725" y="5079337"/>
                  <a:pt x="5047660" y="5079337"/>
                </a:cubicBezTo>
                <a:cubicBezTo>
                  <a:pt x="272846" y="5079337"/>
                  <a:pt x="272846" y="5079337"/>
                  <a:pt x="272846" y="5079337"/>
                </a:cubicBezTo>
                <a:cubicBezTo>
                  <a:pt x="122781" y="5079337"/>
                  <a:pt x="0" y="4956615"/>
                  <a:pt x="0" y="4806621"/>
                </a:cubicBezTo>
                <a:cubicBezTo>
                  <a:pt x="0" y="272716"/>
                  <a:pt x="0" y="272716"/>
                  <a:pt x="0" y="272716"/>
                </a:cubicBezTo>
                <a:cubicBezTo>
                  <a:pt x="0" y="122722"/>
                  <a:pt x="122781" y="0"/>
                  <a:pt x="272846" y="0"/>
                </a:cubicBezTo>
                <a:close/>
              </a:path>
            </a:pathLst>
          </a:custGeom>
          <a:pattFill prst="pct60">
            <a:fgClr>
              <a:schemeClr val="bg1"/>
            </a:fgClr>
            <a:bgClr>
              <a:schemeClr val="bg1">
                <a:lumMod val="85000"/>
              </a:schemeClr>
            </a:bgClr>
          </a:pattFill>
          <a:effectLst>
            <a:outerShdw blurRad="723900" dist="228600" dir="8100000" algn="tr" rotWithShape="0">
              <a:schemeClr val="accent1">
                <a:alpha val="40000"/>
              </a:schemeClr>
            </a:outerShdw>
          </a:effectLst>
        </p:spPr>
        <p:txBody>
          <a:bodyPr wrap="square" anchor="ctr">
            <a:noAutofit/>
          </a:bodyPr>
          <a:lstStyle>
            <a:lvl1pPr marL="0" indent="0" algn="ctr">
              <a:buFontTx/>
              <a:buNone/>
              <a:defRPr sz="1200"/>
            </a:lvl1pPr>
          </a:lstStyle>
          <a:p>
            <a:endParaRPr lang="en-US"/>
          </a:p>
        </p:txBody>
      </p:sp>
    </p:spTree>
    <p:extLst>
      <p:ext uri="{BB962C8B-B14F-4D97-AF65-F5344CB8AC3E}">
        <p14:creationId xmlns:p14="http://schemas.microsoft.com/office/powerpoint/2010/main" val="3523788696"/>
      </p:ext>
    </p:extLst>
  </p:cSld>
  <p:clrMapOvr>
    <a:masterClrMapping/>
  </p:clrMapOvr>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HEADING/TEXT/IMAGE 1 small">
    <p:spTree>
      <p:nvGrpSpPr>
        <p:cNvPr id="1" name=""/>
        <p:cNvGrpSpPr/>
        <p:nvPr/>
      </p:nvGrpSpPr>
      <p:grpSpPr>
        <a:xfrm>
          <a:off x="0" y="0"/>
          <a:ext cx="0" cy="0"/>
          <a:chOff x="0" y="0"/>
          <a:chExt cx="0" cy="0"/>
        </a:xfrm>
      </p:grpSpPr>
      <p:sp>
        <p:nvSpPr>
          <p:cNvPr id="13" name="Freihandform: Form 12">
            <a:extLst>
              <a:ext uri="{FF2B5EF4-FFF2-40B4-BE49-F238E27FC236}">
                <a16:creationId xmlns:a16="http://schemas.microsoft.com/office/drawing/2014/main" id="{50EC640D-C73C-4FD9-AD9A-88EE410704F4}"/>
              </a:ext>
            </a:extLst>
          </p:cNvPr>
          <p:cNvSpPr/>
          <p:nvPr/>
        </p:nvSpPr>
        <p:spPr>
          <a:xfrm rot="10800000">
            <a:off x="0" y="1975611"/>
            <a:ext cx="9829800" cy="4882390"/>
          </a:xfrm>
          <a:custGeom>
            <a:avLst/>
            <a:gdLst>
              <a:gd name="connsiteX0" fmla="*/ 910059 w 9829800"/>
              <a:gd name="connsiteY0" fmla="*/ 0 h 4882390"/>
              <a:gd name="connsiteX1" fmla="*/ 3015085 w 9829800"/>
              <a:gd name="connsiteY1" fmla="*/ 0 h 4882390"/>
              <a:gd name="connsiteX2" fmla="*/ 7981950 w 9829800"/>
              <a:gd name="connsiteY2" fmla="*/ 0 h 4882390"/>
              <a:gd name="connsiteX3" fmla="*/ 9829800 w 9829800"/>
              <a:gd name="connsiteY3" fmla="*/ 0 h 4882390"/>
              <a:gd name="connsiteX4" fmla="*/ 9829800 w 9829800"/>
              <a:gd name="connsiteY4" fmla="*/ 4882390 h 4882390"/>
              <a:gd name="connsiteX5" fmla="*/ 7981950 w 9829800"/>
              <a:gd name="connsiteY5" fmla="*/ 4882390 h 4882390"/>
              <a:gd name="connsiteX6" fmla="*/ 2183098 w 9829800"/>
              <a:gd name="connsiteY6" fmla="*/ 4882390 h 4882390"/>
              <a:gd name="connsiteX7" fmla="*/ 78072 w 9829800"/>
              <a:gd name="connsiteY7" fmla="*/ 4882390 h 4882390"/>
              <a:gd name="connsiteX8" fmla="*/ 0 w 9829800"/>
              <a:gd name="connsiteY8" fmla="*/ 4804318 h 4882390"/>
              <a:gd name="connsiteX9" fmla="*/ 831987 w 9829800"/>
              <a:gd name="connsiteY9" fmla="*/ 78072 h 4882390"/>
              <a:gd name="connsiteX10" fmla="*/ 910059 w 9829800"/>
              <a:gd name="connsiteY10" fmla="*/ 0 h 4882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829800" h="4882390">
                <a:moveTo>
                  <a:pt x="910059" y="0"/>
                </a:moveTo>
                <a:lnTo>
                  <a:pt x="3015085" y="0"/>
                </a:lnTo>
                <a:lnTo>
                  <a:pt x="7981950" y="0"/>
                </a:lnTo>
                <a:lnTo>
                  <a:pt x="9829800" y="0"/>
                </a:lnTo>
                <a:lnTo>
                  <a:pt x="9829800" y="4882390"/>
                </a:lnTo>
                <a:lnTo>
                  <a:pt x="7981950" y="4882390"/>
                </a:lnTo>
                <a:lnTo>
                  <a:pt x="2183098" y="4882390"/>
                </a:lnTo>
                <a:lnTo>
                  <a:pt x="78072" y="4882390"/>
                </a:lnTo>
                <a:cubicBezTo>
                  <a:pt x="34957" y="4882390"/>
                  <a:pt x="0" y="4847433"/>
                  <a:pt x="0" y="4804318"/>
                </a:cubicBezTo>
                <a:lnTo>
                  <a:pt x="831987" y="78072"/>
                </a:lnTo>
                <a:cubicBezTo>
                  <a:pt x="831987" y="34957"/>
                  <a:pt x="866945" y="0"/>
                  <a:pt x="910059" y="0"/>
                </a:cubicBezTo>
                <a:close/>
              </a:path>
            </a:pathLst>
          </a:custGeom>
          <a:gradFill>
            <a:gsLst>
              <a:gs pos="100000">
                <a:schemeClr val="bg1"/>
              </a:gs>
              <a:gs pos="5000">
                <a:srgbClr val="ECF0F4"/>
              </a:gs>
            </a:gsLst>
            <a:lin ang="5400000" scaled="1"/>
          </a:gradFill>
          <a:ln w="11652" cap="flat">
            <a:noFill/>
            <a:prstDash val="solid"/>
            <a:miter/>
          </a:ln>
        </p:spPr>
        <p:txBody>
          <a:bodyPr rtlCol="0" anchor="ctr"/>
          <a:lstStyle/>
          <a:p>
            <a:endParaRPr lang="de-DE"/>
          </a:p>
        </p:txBody>
      </p:sp>
      <p:sp>
        <p:nvSpPr>
          <p:cNvPr id="2" name="Titel 1">
            <a:extLst>
              <a:ext uri="{FF2B5EF4-FFF2-40B4-BE49-F238E27FC236}">
                <a16:creationId xmlns:a16="http://schemas.microsoft.com/office/drawing/2014/main" id="{0526DC72-FA1D-422D-8055-3374742D122B}"/>
              </a:ext>
            </a:extLst>
          </p:cNvPr>
          <p:cNvSpPr>
            <a:spLocks noGrp="1"/>
          </p:cNvSpPr>
          <p:nvPr>
            <p:ph type="title"/>
          </p:nvPr>
        </p:nvSpPr>
        <p:spPr>
          <a:xfrm>
            <a:off x="815952" y="733402"/>
            <a:ext cx="4931999" cy="767737"/>
          </a:xfrm>
        </p:spPr>
        <p:txBody>
          <a:bodyPr/>
          <a:lstStyle>
            <a:lvl1pPr>
              <a:lnSpc>
                <a:spcPct val="100000"/>
              </a:lnSpc>
              <a:defRPr/>
            </a:lvl1pPr>
          </a:lstStyle>
          <a:p>
            <a:r>
              <a:rPr lang="de-DE"/>
              <a:t>Mastertitelformat bearbeiten</a:t>
            </a:r>
          </a:p>
        </p:txBody>
      </p:sp>
      <p:sp>
        <p:nvSpPr>
          <p:cNvPr id="3" name="Foliennummernplatzhalter 2">
            <a:extLst>
              <a:ext uri="{FF2B5EF4-FFF2-40B4-BE49-F238E27FC236}">
                <a16:creationId xmlns:a16="http://schemas.microsoft.com/office/drawing/2014/main" id="{5B327254-466C-4606-8589-BCC72CBDADDF}"/>
              </a:ext>
            </a:extLst>
          </p:cNvPr>
          <p:cNvSpPr>
            <a:spLocks noGrp="1"/>
          </p:cNvSpPr>
          <p:nvPr>
            <p:ph type="sldNum" sz="quarter" idx="10"/>
          </p:nvPr>
        </p:nvSpPr>
        <p:spPr/>
        <p:txBody>
          <a:bodyPr/>
          <a:lstStyle/>
          <a:p>
            <a:fld id="{A04BEB4F-8CE1-4F18-986F-6CE0A0BE9470}" type="slidenum">
              <a:rPr lang="de-DE" smtClean="0"/>
              <a:t>‹#›</a:t>
            </a:fld>
            <a:endParaRPr lang="de-DE"/>
          </a:p>
        </p:txBody>
      </p:sp>
      <p:sp>
        <p:nvSpPr>
          <p:cNvPr id="5" name="Textplatzhalter 9">
            <a:extLst>
              <a:ext uri="{FF2B5EF4-FFF2-40B4-BE49-F238E27FC236}">
                <a16:creationId xmlns:a16="http://schemas.microsoft.com/office/drawing/2014/main" id="{6024922C-391C-46EA-9F1C-F5344AAB64C8}"/>
              </a:ext>
            </a:extLst>
          </p:cNvPr>
          <p:cNvSpPr>
            <a:spLocks noGrp="1"/>
          </p:cNvSpPr>
          <p:nvPr>
            <p:ph type="body" sz="quarter" idx="11"/>
          </p:nvPr>
        </p:nvSpPr>
        <p:spPr>
          <a:xfrm>
            <a:off x="815951" y="1979612"/>
            <a:ext cx="4932000" cy="4338638"/>
          </a:xfrm>
          <a:prstGeom prst="rect">
            <a:avLst/>
          </a:prstGeom>
        </p:spPr>
        <p:txBody>
          <a:bodyPr lIns="0" tIns="0" rIns="0" bIns="0">
            <a:normAutofit/>
          </a:bodyPr>
          <a:lstStyle>
            <a:lvl1pPr>
              <a:defRPr sz="1800"/>
            </a:lvl1pPr>
            <a:lvl2pPr>
              <a:defRPr sz="1800"/>
            </a:lvl2pPr>
            <a:lvl3pPr>
              <a:defRPr sz="1800"/>
            </a:lvl3pPr>
            <a:lvl4pPr>
              <a:defRPr sz="1800"/>
            </a:lvl4pPr>
            <a:lvl5pPr>
              <a:defRPr sz="18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2" name="Bildplatzhalter 11">
            <a:extLst>
              <a:ext uri="{FF2B5EF4-FFF2-40B4-BE49-F238E27FC236}">
                <a16:creationId xmlns:a16="http://schemas.microsoft.com/office/drawing/2014/main" id="{ADBECC62-C583-4D92-A4EB-968BC29D7750}"/>
              </a:ext>
            </a:extLst>
          </p:cNvPr>
          <p:cNvSpPr>
            <a:spLocks noGrp="1"/>
          </p:cNvSpPr>
          <p:nvPr>
            <p:ph type="pic" sz="quarter" idx="12" hasCustomPrompt="1"/>
          </p:nvPr>
        </p:nvSpPr>
        <p:spPr>
          <a:xfrm>
            <a:off x="6075352" y="0"/>
            <a:ext cx="6116649" cy="3983353"/>
          </a:xfrm>
          <a:custGeom>
            <a:avLst/>
            <a:gdLst>
              <a:gd name="connsiteX0" fmla="*/ 690114 w 6116649"/>
              <a:gd name="connsiteY0" fmla="*/ 0 h 3983353"/>
              <a:gd name="connsiteX1" fmla="*/ 1061419 w 6116649"/>
              <a:gd name="connsiteY1" fmla="*/ 0 h 3983353"/>
              <a:gd name="connsiteX2" fmla="*/ 3906848 w 6116649"/>
              <a:gd name="connsiteY2" fmla="*/ 0 h 3983353"/>
              <a:gd name="connsiteX3" fmla="*/ 6116649 w 6116649"/>
              <a:gd name="connsiteY3" fmla="*/ 0 h 3983353"/>
              <a:gd name="connsiteX4" fmla="*/ 6116649 w 6116649"/>
              <a:gd name="connsiteY4" fmla="*/ 3983353 h 3983353"/>
              <a:gd name="connsiteX5" fmla="*/ 63818 w 6116649"/>
              <a:gd name="connsiteY5" fmla="*/ 3983353 h 3983353"/>
              <a:gd name="connsiteX6" fmla="*/ 0 w 6116649"/>
              <a:gd name="connsiteY6" fmla="*/ 3919536 h 3983353"/>
              <a:gd name="connsiteX7" fmla="*/ 679421 w 6116649"/>
              <a:gd name="connsiteY7" fmla="*/ 59971 h 3983353"/>
              <a:gd name="connsiteX8" fmla="*/ 679045 w 6116649"/>
              <a:gd name="connsiteY8" fmla="*/ 59901 h 3983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116649" h="3983353">
                <a:moveTo>
                  <a:pt x="690114" y="0"/>
                </a:moveTo>
                <a:lnTo>
                  <a:pt x="1061419" y="0"/>
                </a:lnTo>
                <a:lnTo>
                  <a:pt x="3906848" y="0"/>
                </a:lnTo>
                <a:lnTo>
                  <a:pt x="6116649" y="0"/>
                </a:lnTo>
                <a:lnTo>
                  <a:pt x="6116649" y="3983353"/>
                </a:lnTo>
                <a:lnTo>
                  <a:pt x="63818" y="3983353"/>
                </a:lnTo>
                <a:cubicBezTo>
                  <a:pt x="28575" y="3983353"/>
                  <a:pt x="0" y="3954778"/>
                  <a:pt x="0" y="3919536"/>
                </a:cubicBezTo>
                <a:lnTo>
                  <a:pt x="679421" y="59971"/>
                </a:lnTo>
                <a:lnTo>
                  <a:pt x="679045" y="59901"/>
                </a:lnTo>
                <a:close/>
              </a:path>
            </a:pathLst>
          </a:custGeom>
          <a:effectLst>
            <a:outerShdw blurRad="190500" dist="127000" dir="2700000" algn="tl" rotWithShape="0">
              <a:prstClr val="black">
                <a:alpha val="10000"/>
              </a:prstClr>
            </a:outerShdw>
          </a:effectLst>
        </p:spPr>
        <p:txBody>
          <a:bodyPr wrap="square">
            <a:noAutofit/>
          </a:bodyPr>
          <a:lstStyle>
            <a:lvl3pPr marL="990600" marR="0" indent="-285750" algn="l" defTabSz="1644650" rtl="0" eaLnBrk="0" fontAlgn="base" latinLnBrk="0" hangingPunct="0">
              <a:lnSpc>
                <a:spcPct val="130000"/>
              </a:lnSpc>
              <a:spcBef>
                <a:spcPct val="0"/>
              </a:spcBef>
              <a:spcAft>
                <a:spcPts val="1200"/>
              </a:spcAft>
              <a:buClr>
                <a:srgbClr val="004C99"/>
              </a:buClr>
              <a:buSzPct val="120000"/>
              <a:defRPr/>
            </a:lvl3pPr>
          </a:lstStyle>
          <a:p>
            <a:pPr marL="990600" marR="0" lvl="2" indent="-285750" algn="l" defTabSz="1644650" rtl="0" eaLnBrk="0" fontAlgn="base" latinLnBrk="0" hangingPunct="0">
              <a:lnSpc>
                <a:spcPct val="130000"/>
              </a:lnSpc>
              <a:spcBef>
                <a:spcPct val="0"/>
              </a:spcBef>
              <a:spcAft>
                <a:spcPts val="1200"/>
              </a:spcAft>
              <a:buClr>
                <a:srgbClr val="004C99"/>
              </a:buClr>
              <a:buSzPct val="120000"/>
              <a:defRPr/>
            </a:pPr>
            <a:r>
              <a:rPr lang="de-DE"/>
              <a:t>Please insert image</a:t>
            </a:r>
          </a:p>
        </p:txBody>
      </p:sp>
    </p:spTree>
    <p:extLst>
      <p:ext uri="{BB962C8B-B14F-4D97-AF65-F5344CB8AC3E}">
        <p14:creationId xmlns:p14="http://schemas.microsoft.com/office/powerpoint/2010/main" val="1616492371"/>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8" dur="1000" decel="10000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0-#ppt_w/2"/>
                                          </p:val>
                                        </p:tav>
                                        <p:tav tm="100000">
                                          <p:val>
                                            <p:strVal val="#ppt_x"/>
                                          </p:val>
                                        </p:tav>
                                      </p:tavLst>
                                    </p:anim>
                                    <p:anim calcmode="lin" valueType="num">
                                      <p:cBhvr additive="base">
                                        <p:cTn id="8" dur="1000" fill="hold"/>
                                        <p:tgtEl>
                                          <p:spTgt spid="2"/>
                                        </p:tgtEl>
                                        <p:attrNameLst>
                                          <p:attrName>ppt_y</p:attrName>
                                        </p:attrNameLst>
                                      </p:cBhvr>
                                      <p:tavLst>
                                        <p:tav tm="0">
                                          <p:val>
                                            <p:strVal val="#ppt_y"/>
                                          </p:val>
                                        </p:tav>
                                        <p:tav tm="100000">
                                          <p:val>
                                            <p:strVal val="#ppt_y"/>
                                          </p:val>
                                        </p:tav>
                                      </p:tavLst>
                                    </p:anim>
                                  </p:childTnLst>
                                </p:cTn>
                              </p:par>
                              <p:par>
                                <p:cTn id="9" presetID="2" presetClass="entr" presetSubtype="8" dur="1000" decel="100000" fill="hold" grpId="0" nodeType="withEffect">
                                  <p:stCondLst>
                                    <p:cond delay="25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1000" fill="hold"/>
                                        <p:tgtEl>
                                          <p:spTgt spid="5"/>
                                        </p:tgtEl>
                                        <p:attrNameLst>
                                          <p:attrName>ppt_x</p:attrName>
                                        </p:attrNameLst>
                                      </p:cBhvr>
                                      <p:tavLst>
                                        <p:tav tm="0">
                                          <p:val>
                                            <p:strVal val="0-#ppt_w/2"/>
                                          </p:val>
                                        </p:tav>
                                        <p:tav tm="100000">
                                          <p:val>
                                            <p:strVal val="#ppt_x"/>
                                          </p:val>
                                        </p:tav>
                                      </p:tavLst>
                                    </p:anim>
                                    <p:anim calcmode="lin" valueType="num">
                                      <p:cBhvr additive="base">
                                        <p:cTn id="12" dur="1000" fill="hold"/>
                                        <p:tgtEl>
                                          <p:spTgt spid="5"/>
                                        </p:tgtEl>
                                        <p:attrNameLst>
                                          <p:attrName>ppt_y</p:attrName>
                                        </p:attrNameLst>
                                      </p:cBhvr>
                                      <p:tavLst>
                                        <p:tav tm="0">
                                          <p:val>
                                            <p:strVal val="#ppt_y"/>
                                          </p:val>
                                        </p:tav>
                                        <p:tav tm="100000">
                                          <p:val>
                                            <p:strVal val="#ppt_y"/>
                                          </p:val>
                                        </p:tav>
                                      </p:tavLst>
                                    </p:anim>
                                  </p:childTnLst>
                                </p:cTn>
                              </p:par>
                              <p:par>
                                <p:cTn id="13" presetID="2" presetClass="entr" presetSubtype="2" dur="1000" decel="100000" fill="hold" grpId="0" nodeType="withEffect">
                                  <p:stCondLst>
                                    <p:cond delay="500"/>
                                  </p:stCondLst>
                                  <p:childTnLst>
                                    <p:set>
                                      <p:cBhvr>
                                        <p:cTn id="14" dur="1" fill="hold">
                                          <p:stCondLst>
                                            <p:cond delay="0"/>
                                          </p:stCondLst>
                                        </p:cTn>
                                        <p:tgtEl>
                                          <p:spTgt spid="12"/>
                                        </p:tgtEl>
                                        <p:attrNameLst>
                                          <p:attrName>style.visibility</p:attrName>
                                        </p:attrNameLst>
                                      </p:cBhvr>
                                      <p:to>
                                        <p:strVal val="visible"/>
                                      </p:to>
                                    </p:set>
                                    <p:anim calcmode="lin" valueType="num">
                                      <p:cBhvr additive="base">
                                        <p:cTn id="15" dur="1000" fill="hold"/>
                                        <p:tgtEl>
                                          <p:spTgt spid="12"/>
                                        </p:tgtEl>
                                        <p:attrNameLst>
                                          <p:attrName>ppt_x</p:attrName>
                                        </p:attrNameLst>
                                      </p:cBhvr>
                                      <p:tavLst>
                                        <p:tav tm="0">
                                          <p:val>
                                            <p:strVal val="1+#ppt_w/2"/>
                                          </p:val>
                                        </p:tav>
                                        <p:tav tm="100000">
                                          <p:val>
                                            <p:strVal val="#ppt_x"/>
                                          </p:val>
                                        </p:tav>
                                      </p:tavLst>
                                    </p:anim>
                                    <p:anim calcmode="lin" valueType="num">
                                      <p:cBhvr additive="base">
                                        <p:cTn id="16" dur="100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2" presetClass="entr" presetSubtype="8" decel="100000" fill="hold" nodeType="withEffect">
                  <p:stCondLst>
                    <p:cond delay="250"/>
                  </p:stCondLst>
                  <p:childTnLst>
                    <p:set>
                      <p:cBhvr>
                        <p:cTn dur="1" fill="hold">
                          <p:stCondLst>
                            <p:cond delay="0"/>
                          </p:stCondLst>
                        </p:cTn>
                        <p:tgtEl>
                          <p:spTgt spid="5"/>
                        </p:tgtEl>
                        <p:attrNameLst>
                          <p:attrName>style.visibility</p:attrName>
                        </p:attrNameLst>
                      </p:cBhvr>
                      <p:to>
                        <p:strVal val="visible"/>
                      </p:to>
                    </p:set>
                    <p:anim calcmode="lin" valueType="num">
                      <p:cBhvr additive="base">
                        <p:cTn dur="1000" fill="hold"/>
                        <p:tgtEl>
                          <p:spTgt spid="5"/>
                        </p:tgtEl>
                        <p:attrNameLst>
                          <p:attrName>ppt_x</p:attrName>
                        </p:attrNameLst>
                      </p:cBhvr>
                      <p:tavLst>
                        <p:tav tm="0">
                          <p:val>
                            <p:strVal val="0-#ppt_w/2"/>
                          </p:val>
                        </p:tav>
                        <p:tav tm="100000">
                          <p:val>
                            <p:strVal val="#ppt_x"/>
                          </p:val>
                        </p:tav>
                      </p:tavLst>
                    </p:anim>
                    <p:anim calcmode="lin" valueType="num">
                      <p:cBhvr additive="base">
                        <p:cTn dur="1000" fill="hold"/>
                        <p:tgtEl>
                          <p:spTgt spid="5"/>
                        </p:tgtEl>
                        <p:attrNameLst>
                          <p:attrName>ppt_y</p:attrName>
                        </p:attrNameLst>
                      </p:cBhvr>
                      <p:tavLst>
                        <p:tav tm="0">
                          <p:val>
                            <p:strVal val="#ppt_y"/>
                          </p:val>
                        </p:tav>
                        <p:tav tm="100000">
                          <p:val>
                            <p:strVal val="#ppt_y"/>
                          </p:val>
                        </p:tav>
                      </p:tavLst>
                    </p:anim>
                  </p:childTnLst>
                </p:cTn>
              </p:par>
            </p:tnLst>
          </p:tmpl>
        </p:tmplLst>
      </p:bldP>
      <p:bldP spid="12" grpId="0"/>
    </p:bldLst>
  </p:timing>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HEADING/TEXT/IMAGE 1 medium">
    <p:spTree>
      <p:nvGrpSpPr>
        <p:cNvPr id="1" name=""/>
        <p:cNvGrpSpPr/>
        <p:nvPr/>
      </p:nvGrpSpPr>
      <p:grpSpPr>
        <a:xfrm>
          <a:off x="0" y="0"/>
          <a:ext cx="0" cy="0"/>
          <a:chOff x="0" y="0"/>
          <a:chExt cx="0" cy="0"/>
        </a:xfrm>
      </p:grpSpPr>
      <p:sp>
        <p:nvSpPr>
          <p:cNvPr id="13" name="Freihandform: Form 12">
            <a:extLst>
              <a:ext uri="{FF2B5EF4-FFF2-40B4-BE49-F238E27FC236}">
                <a16:creationId xmlns:a16="http://schemas.microsoft.com/office/drawing/2014/main" id="{50EC640D-C73C-4FD9-AD9A-88EE410704F4}"/>
              </a:ext>
            </a:extLst>
          </p:cNvPr>
          <p:cNvSpPr/>
          <p:nvPr/>
        </p:nvSpPr>
        <p:spPr>
          <a:xfrm rot="10800000">
            <a:off x="0" y="1975611"/>
            <a:ext cx="9829800" cy="4882390"/>
          </a:xfrm>
          <a:custGeom>
            <a:avLst/>
            <a:gdLst>
              <a:gd name="connsiteX0" fmla="*/ 910059 w 9829800"/>
              <a:gd name="connsiteY0" fmla="*/ 0 h 4882390"/>
              <a:gd name="connsiteX1" fmla="*/ 3015085 w 9829800"/>
              <a:gd name="connsiteY1" fmla="*/ 0 h 4882390"/>
              <a:gd name="connsiteX2" fmla="*/ 7981950 w 9829800"/>
              <a:gd name="connsiteY2" fmla="*/ 0 h 4882390"/>
              <a:gd name="connsiteX3" fmla="*/ 9829800 w 9829800"/>
              <a:gd name="connsiteY3" fmla="*/ 0 h 4882390"/>
              <a:gd name="connsiteX4" fmla="*/ 9829800 w 9829800"/>
              <a:gd name="connsiteY4" fmla="*/ 4882390 h 4882390"/>
              <a:gd name="connsiteX5" fmla="*/ 7981950 w 9829800"/>
              <a:gd name="connsiteY5" fmla="*/ 4882390 h 4882390"/>
              <a:gd name="connsiteX6" fmla="*/ 2183098 w 9829800"/>
              <a:gd name="connsiteY6" fmla="*/ 4882390 h 4882390"/>
              <a:gd name="connsiteX7" fmla="*/ 78072 w 9829800"/>
              <a:gd name="connsiteY7" fmla="*/ 4882390 h 4882390"/>
              <a:gd name="connsiteX8" fmla="*/ 0 w 9829800"/>
              <a:gd name="connsiteY8" fmla="*/ 4804318 h 4882390"/>
              <a:gd name="connsiteX9" fmla="*/ 831987 w 9829800"/>
              <a:gd name="connsiteY9" fmla="*/ 78072 h 4882390"/>
              <a:gd name="connsiteX10" fmla="*/ 910059 w 9829800"/>
              <a:gd name="connsiteY10" fmla="*/ 0 h 4882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829800" h="4882390">
                <a:moveTo>
                  <a:pt x="910059" y="0"/>
                </a:moveTo>
                <a:lnTo>
                  <a:pt x="3015085" y="0"/>
                </a:lnTo>
                <a:lnTo>
                  <a:pt x="7981950" y="0"/>
                </a:lnTo>
                <a:lnTo>
                  <a:pt x="9829800" y="0"/>
                </a:lnTo>
                <a:lnTo>
                  <a:pt x="9829800" y="4882390"/>
                </a:lnTo>
                <a:lnTo>
                  <a:pt x="7981950" y="4882390"/>
                </a:lnTo>
                <a:lnTo>
                  <a:pt x="2183098" y="4882390"/>
                </a:lnTo>
                <a:lnTo>
                  <a:pt x="78072" y="4882390"/>
                </a:lnTo>
                <a:cubicBezTo>
                  <a:pt x="34957" y="4882390"/>
                  <a:pt x="0" y="4847433"/>
                  <a:pt x="0" y="4804318"/>
                </a:cubicBezTo>
                <a:lnTo>
                  <a:pt x="831987" y="78072"/>
                </a:lnTo>
                <a:cubicBezTo>
                  <a:pt x="831987" y="34957"/>
                  <a:pt x="866945" y="0"/>
                  <a:pt x="910059" y="0"/>
                </a:cubicBezTo>
                <a:close/>
              </a:path>
            </a:pathLst>
          </a:custGeom>
          <a:gradFill>
            <a:gsLst>
              <a:gs pos="100000">
                <a:schemeClr val="bg1"/>
              </a:gs>
              <a:gs pos="5000">
                <a:srgbClr val="ECF0F4"/>
              </a:gs>
            </a:gsLst>
            <a:lin ang="5400000" scaled="1"/>
          </a:gradFill>
          <a:ln w="11652" cap="flat">
            <a:noFill/>
            <a:prstDash val="solid"/>
            <a:miter/>
          </a:ln>
        </p:spPr>
        <p:txBody>
          <a:bodyPr rtlCol="0" anchor="ctr"/>
          <a:lstStyle/>
          <a:p>
            <a:endParaRPr lang="de-DE"/>
          </a:p>
        </p:txBody>
      </p:sp>
      <p:sp>
        <p:nvSpPr>
          <p:cNvPr id="2" name="Titel 1">
            <a:extLst>
              <a:ext uri="{FF2B5EF4-FFF2-40B4-BE49-F238E27FC236}">
                <a16:creationId xmlns:a16="http://schemas.microsoft.com/office/drawing/2014/main" id="{0526DC72-FA1D-422D-8055-3374742D122B}"/>
              </a:ext>
            </a:extLst>
          </p:cNvPr>
          <p:cNvSpPr>
            <a:spLocks noGrp="1"/>
          </p:cNvSpPr>
          <p:nvPr>
            <p:ph type="title"/>
          </p:nvPr>
        </p:nvSpPr>
        <p:spPr>
          <a:xfrm>
            <a:off x="815952" y="733402"/>
            <a:ext cx="4931999" cy="767737"/>
          </a:xfrm>
        </p:spPr>
        <p:txBody>
          <a:bodyPr/>
          <a:lstStyle>
            <a:lvl1pPr>
              <a:lnSpc>
                <a:spcPct val="100000"/>
              </a:lnSpc>
              <a:defRPr/>
            </a:lvl1pPr>
          </a:lstStyle>
          <a:p>
            <a:r>
              <a:rPr lang="de-DE"/>
              <a:t>Mastertitelformat bearbeiten</a:t>
            </a:r>
          </a:p>
        </p:txBody>
      </p:sp>
      <p:sp>
        <p:nvSpPr>
          <p:cNvPr id="3" name="Foliennummernplatzhalter 2">
            <a:extLst>
              <a:ext uri="{FF2B5EF4-FFF2-40B4-BE49-F238E27FC236}">
                <a16:creationId xmlns:a16="http://schemas.microsoft.com/office/drawing/2014/main" id="{5B327254-466C-4606-8589-BCC72CBDADDF}"/>
              </a:ext>
            </a:extLst>
          </p:cNvPr>
          <p:cNvSpPr>
            <a:spLocks noGrp="1"/>
          </p:cNvSpPr>
          <p:nvPr>
            <p:ph type="sldNum" sz="quarter" idx="10"/>
          </p:nvPr>
        </p:nvSpPr>
        <p:spPr/>
        <p:txBody>
          <a:bodyPr/>
          <a:lstStyle/>
          <a:p>
            <a:fld id="{A04BEB4F-8CE1-4F18-986F-6CE0A0BE9470}" type="slidenum">
              <a:rPr lang="de-DE" smtClean="0"/>
              <a:t>‹#›</a:t>
            </a:fld>
            <a:endParaRPr lang="de-DE"/>
          </a:p>
        </p:txBody>
      </p:sp>
      <p:sp>
        <p:nvSpPr>
          <p:cNvPr id="5" name="Textplatzhalter 9">
            <a:extLst>
              <a:ext uri="{FF2B5EF4-FFF2-40B4-BE49-F238E27FC236}">
                <a16:creationId xmlns:a16="http://schemas.microsoft.com/office/drawing/2014/main" id="{6024922C-391C-46EA-9F1C-F5344AAB64C8}"/>
              </a:ext>
            </a:extLst>
          </p:cNvPr>
          <p:cNvSpPr>
            <a:spLocks noGrp="1"/>
          </p:cNvSpPr>
          <p:nvPr>
            <p:ph type="body" sz="quarter" idx="11"/>
          </p:nvPr>
        </p:nvSpPr>
        <p:spPr>
          <a:xfrm>
            <a:off x="815951" y="1979612"/>
            <a:ext cx="4932000" cy="4338638"/>
          </a:xfrm>
          <a:prstGeom prst="rect">
            <a:avLst/>
          </a:prstGeom>
        </p:spPr>
        <p:txBody>
          <a:bodyPr lIns="0" tIns="0" rIns="0" bIns="0">
            <a:normAutofit/>
          </a:bodyPr>
          <a:lstStyle>
            <a:lvl1pPr>
              <a:defRPr sz="1800"/>
            </a:lvl1pPr>
            <a:lvl2pPr>
              <a:defRPr sz="1800"/>
            </a:lvl2pPr>
            <a:lvl3pPr>
              <a:defRPr sz="1800"/>
            </a:lvl3pPr>
            <a:lvl4pPr>
              <a:defRPr sz="1800"/>
            </a:lvl4pPr>
            <a:lvl5pPr>
              <a:defRPr sz="18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1" name="Bildplatzhalter 10">
            <a:extLst>
              <a:ext uri="{FF2B5EF4-FFF2-40B4-BE49-F238E27FC236}">
                <a16:creationId xmlns:a16="http://schemas.microsoft.com/office/drawing/2014/main" id="{4F220719-393E-4BC2-A03B-563818FB1A0F}"/>
              </a:ext>
            </a:extLst>
          </p:cNvPr>
          <p:cNvSpPr>
            <a:spLocks noGrp="1"/>
          </p:cNvSpPr>
          <p:nvPr>
            <p:ph type="pic" sz="quarter" idx="12" hasCustomPrompt="1"/>
          </p:nvPr>
        </p:nvSpPr>
        <p:spPr>
          <a:xfrm>
            <a:off x="6931694" y="0"/>
            <a:ext cx="5260306" cy="5799454"/>
          </a:xfrm>
          <a:custGeom>
            <a:avLst/>
            <a:gdLst>
              <a:gd name="connsiteX0" fmla="*/ 1000463 w 5260306"/>
              <a:gd name="connsiteY0" fmla="*/ 0 h 5799454"/>
              <a:gd name="connsiteX1" fmla="*/ 5260306 w 5260306"/>
              <a:gd name="connsiteY1" fmla="*/ 0 h 5799454"/>
              <a:gd name="connsiteX2" fmla="*/ 5260306 w 5260306"/>
              <a:gd name="connsiteY2" fmla="*/ 5799454 h 5799454"/>
              <a:gd name="connsiteX3" fmla="*/ 116158 w 5260306"/>
              <a:gd name="connsiteY3" fmla="*/ 5799454 h 5799454"/>
              <a:gd name="connsiteX4" fmla="*/ 0 w 5260306"/>
              <a:gd name="connsiteY4" fmla="*/ 5683298 h 57994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60306" h="5799454">
                <a:moveTo>
                  <a:pt x="1000463" y="0"/>
                </a:moveTo>
                <a:lnTo>
                  <a:pt x="5260306" y="0"/>
                </a:lnTo>
                <a:lnTo>
                  <a:pt x="5260306" y="5799454"/>
                </a:lnTo>
                <a:lnTo>
                  <a:pt x="116158" y="5799454"/>
                </a:lnTo>
                <a:cubicBezTo>
                  <a:pt x="52011" y="5799454"/>
                  <a:pt x="0" y="5747444"/>
                  <a:pt x="0" y="5683298"/>
                </a:cubicBezTo>
                <a:close/>
              </a:path>
            </a:pathLst>
          </a:custGeom>
          <a:effectLst>
            <a:outerShdw blurRad="190500" dist="127000" dir="2700000" algn="tl" rotWithShape="0">
              <a:prstClr val="black">
                <a:alpha val="10000"/>
              </a:prstClr>
            </a:outerShdw>
          </a:effectLst>
        </p:spPr>
        <p:txBody>
          <a:bodyPr wrap="square">
            <a:noAutofit/>
          </a:bodyPr>
          <a:lstStyle>
            <a:lvl3pPr marL="990600" marR="0" indent="-285750" algn="l" defTabSz="1644650" rtl="0" eaLnBrk="0" fontAlgn="base" latinLnBrk="0" hangingPunct="0">
              <a:lnSpc>
                <a:spcPct val="130000"/>
              </a:lnSpc>
              <a:spcBef>
                <a:spcPct val="0"/>
              </a:spcBef>
              <a:spcAft>
                <a:spcPts val="1200"/>
              </a:spcAft>
              <a:buClr>
                <a:srgbClr val="004C99"/>
              </a:buClr>
              <a:buSzPct val="120000"/>
              <a:defRPr/>
            </a:lvl3pPr>
          </a:lstStyle>
          <a:p>
            <a:pPr marL="1343025" marR="0" lvl="3" indent="-285750" algn="l" defTabSz="1644650" rtl="0" eaLnBrk="0" fontAlgn="base" latinLnBrk="0" hangingPunct="0">
              <a:lnSpc>
                <a:spcPct val="130000"/>
              </a:lnSpc>
              <a:spcBef>
                <a:spcPct val="0"/>
              </a:spcBef>
              <a:spcAft>
                <a:spcPts val="1200"/>
              </a:spcAft>
              <a:buClr>
                <a:srgbClr val="004C99"/>
              </a:buClr>
              <a:buSzPct val="120000"/>
              <a:defRPr/>
            </a:pPr>
            <a:r>
              <a:rPr lang="de-DE"/>
              <a:t>Please insert image</a:t>
            </a:r>
          </a:p>
        </p:txBody>
      </p:sp>
    </p:spTree>
    <p:extLst>
      <p:ext uri="{BB962C8B-B14F-4D97-AF65-F5344CB8AC3E}">
        <p14:creationId xmlns:p14="http://schemas.microsoft.com/office/powerpoint/2010/main" val="1014980643"/>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8" dur="1000" decel="10000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0-#ppt_w/2"/>
                                          </p:val>
                                        </p:tav>
                                        <p:tav tm="100000">
                                          <p:val>
                                            <p:strVal val="#ppt_x"/>
                                          </p:val>
                                        </p:tav>
                                      </p:tavLst>
                                    </p:anim>
                                    <p:anim calcmode="lin" valueType="num">
                                      <p:cBhvr additive="base">
                                        <p:cTn id="8" dur="1000" fill="hold"/>
                                        <p:tgtEl>
                                          <p:spTgt spid="2"/>
                                        </p:tgtEl>
                                        <p:attrNameLst>
                                          <p:attrName>ppt_y</p:attrName>
                                        </p:attrNameLst>
                                      </p:cBhvr>
                                      <p:tavLst>
                                        <p:tav tm="0">
                                          <p:val>
                                            <p:strVal val="#ppt_y"/>
                                          </p:val>
                                        </p:tav>
                                        <p:tav tm="100000">
                                          <p:val>
                                            <p:strVal val="#ppt_y"/>
                                          </p:val>
                                        </p:tav>
                                      </p:tavLst>
                                    </p:anim>
                                  </p:childTnLst>
                                </p:cTn>
                              </p:par>
                              <p:par>
                                <p:cTn id="9" presetID="2" presetClass="entr" presetSubtype="8" dur="1000" decel="100000" fill="hold" grpId="0" nodeType="withEffect">
                                  <p:stCondLst>
                                    <p:cond delay="25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1000" fill="hold"/>
                                        <p:tgtEl>
                                          <p:spTgt spid="5"/>
                                        </p:tgtEl>
                                        <p:attrNameLst>
                                          <p:attrName>ppt_x</p:attrName>
                                        </p:attrNameLst>
                                      </p:cBhvr>
                                      <p:tavLst>
                                        <p:tav tm="0">
                                          <p:val>
                                            <p:strVal val="0-#ppt_w/2"/>
                                          </p:val>
                                        </p:tav>
                                        <p:tav tm="100000">
                                          <p:val>
                                            <p:strVal val="#ppt_x"/>
                                          </p:val>
                                        </p:tav>
                                      </p:tavLst>
                                    </p:anim>
                                    <p:anim calcmode="lin" valueType="num">
                                      <p:cBhvr additive="base">
                                        <p:cTn id="12" dur="1000" fill="hold"/>
                                        <p:tgtEl>
                                          <p:spTgt spid="5"/>
                                        </p:tgtEl>
                                        <p:attrNameLst>
                                          <p:attrName>ppt_y</p:attrName>
                                        </p:attrNameLst>
                                      </p:cBhvr>
                                      <p:tavLst>
                                        <p:tav tm="0">
                                          <p:val>
                                            <p:strVal val="#ppt_y"/>
                                          </p:val>
                                        </p:tav>
                                        <p:tav tm="100000">
                                          <p:val>
                                            <p:strVal val="#ppt_y"/>
                                          </p:val>
                                        </p:tav>
                                      </p:tavLst>
                                    </p:anim>
                                  </p:childTnLst>
                                </p:cTn>
                              </p:par>
                              <p:par>
                                <p:cTn id="13" presetID="2" presetClass="entr" presetSubtype="2" dur="1000" decel="100000" fill="hold" grpId="0" nodeType="withEffect">
                                  <p:stCondLst>
                                    <p:cond delay="500"/>
                                  </p:stCondLst>
                                  <p:childTnLst>
                                    <p:set>
                                      <p:cBhvr>
                                        <p:cTn id="14" dur="1" fill="hold">
                                          <p:stCondLst>
                                            <p:cond delay="0"/>
                                          </p:stCondLst>
                                        </p:cTn>
                                        <p:tgtEl>
                                          <p:spTgt spid="11"/>
                                        </p:tgtEl>
                                        <p:attrNameLst>
                                          <p:attrName>style.visibility</p:attrName>
                                        </p:attrNameLst>
                                      </p:cBhvr>
                                      <p:to>
                                        <p:strVal val="visible"/>
                                      </p:to>
                                    </p:set>
                                    <p:anim calcmode="lin" valueType="num">
                                      <p:cBhvr additive="base">
                                        <p:cTn id="15" dur="1000" fill="hold"/>
                                        <p:tgtEl>
                                          <p:spTgt spid="11"/>
                                        </p:tgtEl>
                                        <p:attrNameLst>
                                          <p:attrName>ppt_x</p:attrName>
                                        </p:attrNameLst>
                                      </p:cBhvr>
                                      <p:tavLst>
                                        <p:tav tm="0">
                                          <p:val>
                                            <p:strVal val="1+#ppt_w/2"/>
                                          </p:val>
                                        </p:tav>
                                        <p:tav tm="100000">
                                          <p:val>
                                            <p:strVal val="#ppt_x"/>
                                          </p:val>
                                        </p:tav>
                                      </p:tavLst>
                                    </p:anim>
                                    <p:anim calcmode="lin" valueType="num">
                                      <p:cBhvr additive="base">
                                        <p:cTn id="16" dur="10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2" presetClass="entr" presetSubtype="8" decel="100000" fill="hold" nodeType="withEffect">
                  <p:stCondLst>
                    <p:cond delay="250"/>
                  </p:stCondLst>
                  <p:childTnLst>
                    <p:set>
                      <p:cBhvr>
                        <p:cTn dur="1" fill="hold">
                          <p:stCondLst>
                            <p:cond delay="0"/>
                          </p:stCondLst>
                        </p:cTn>
                        <p:tgtEl>
                          <p:spTgt spid="5"/>
                        </p:tgtEl>
                        <p:attrNameLst>
                          <p:attrName>style.visibility</p:attrName>
                        </p:attrNameLst>
                      </p:cBhvr>
                      <p:to>
                        <p:strVal val="visible"/>
                      </p:to>
                    </p:set>
                    <p:anim calcmode="lin" valueType="num">
                      <p:cBhvr additive="base">
                        <p:cTn dur="1000" fill="hold"/>
                        <p:tgtEl>
                          <p:spTgt spid="5"/>
                        </p:tgtEl>
                        <p:attrNameLst>
                          <p:attrName>ppt_x</p:attrName>
                        </p:attrNameLst>
                      </p:cBhvr>
                      <p:tavLst>
                        <p:tav tm="0">
                          <p:val>
                            <p:strVal val="0-#ppt_w/2"/>
                          </p:val>
                        </p:tav>
                        <p:tav tm="100000">
                          <p:val>
                            <p:strVal val="#ppt_x"/>
                          </p:val>
                        </p:tav>
                      </p:tavLst>
                    </p:anim>
                    <p:anim calcmode="lin" valueType="num">
                      <p:cBhvr additive="base">
                        <p:cTn dur="1000" fill="hold"/>
                        <p:tgtEl>
                          <p:spTgt spid="5"/>
                        </p:tgtEl>
                        <p:attrNameLst>
                          <p:attrName>ppt_y</p:attrName>
                        </p:attrNameLst>
                      </p:cBhvr>
                      <p:tavLst>
                        <p:tav tm="0">
                          <p:val>
                            <p:strVal val="#ppt_y"/>
                          </p:val>
                        </p:tav>
                        <p:tav tm="100000">
                          <p:val>
                            <p:strVal val="#ppt_y"/>
                          </p:val>
                        </p:tav>
                      </p:tavLst>
                    </p:anim>
                  </p:childTnLst>
                </p:cTn>
              </p:par>
            </p:tnLst>
          </p:tmpl>
        </p:tmplLst>
      </p:bldP>
      <p:bldP spid="11" grpId="0"/>
    </p:bldLst>
  </p:timing>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HEADING/TEXT/IMAGE 1 big">
    <p:spTree>
      <p:nvGrpSpPr>
        <p:cNvPr id="1" name=""/>
        <p:cNvGrpSpPr/>
        <p:nvPr/>
      </p:nvGrpSpPr>
      <p:grpSpPr>
        <a:xfrm>
          <a:off x="0" y="0"/>
          <a:ext cx="0" cy="0"/>
          <a:chOff x="0" y="0"/>
          <a:chExt cx="0" cy="0"/>
        </a:xfrm>
      </p:grpSpPr>
      <p:sp>
        <p:nvSpPr>
          <p:cNvPr id="13" name="Freihandform: Form 12">
            <a:extLst>
              <a:ext uri="{FF2B5EF4-FFF2-40B4-BE49-F238E27FC236}">
                <a16:creationId xmlns:a16="http://schemas.microsoft.com/office/drawing/2014/main" id="{50EC640D-C73C-4FD9-AD9A-88EE410704F4}"/>
              </a:ext>
            </a:extLst>
          </p:cNvPr>
          <p:cNvSpPr/>
          <p:nvPr/>
        </p:nvSpPr>
        <p:spPr>
          <a:xfrm rot="10800000">
            <a:off x="0" y="1975611"/>
            <a:ext cx="9829800" cy="4882390"/>
          </a:xfrm>
          <a:custGeom>
            <a:avLst/>
            <a:gdLst>
              <a:gd name="connsiteX0" fmla="*/ 910059 w 9829800"/>
              <a:gd name="connsiteY0" fmla="*/ 0 h 4882390"/>
              <a:gd name="connsiteX1" fmla="*/ 3015085 w 9829800"/>
              <a:gd name="connsiteY1" fmla="*/ 0 h 4882390"/>
              <a:gd name="connsiteX2" fmla="*/ 7981950 w 9829800"/>
              <a:gd name="connsiteY2" fmla="*/ 0 h 4882390"/>
              <a:gd name="connsiteX3" fmla="*/ 9829800 w 9829800"/>
              <a:gd name="connsiteY3" fmla="*/ 0 h 4882390"/>
              <a:gd name="connsiteX4" fmla="*/ 9829800 w 9829800"/>
              <a:gd name="connsiteY4" fmla="*/ 4882390 h 4882390"/>
              <a:gd name="connsiteX5" fmla="*/ 7981950 w 9829800"/>
              <a:gd name="connsiteY5" fmla="*/ 4882390 h 4882390"/>
              <a:gd name="connsiteX6" fmla="*/ 2183098 w 9829800"/>
              <a:gd name="connsiteY6" fmla="*/ 4882390 h 4882390"/>
              <a:gd name="connsiteX7" fmla="*/ 78072 w 9829800"/>
              <a:gd name="connsiteY7" fmla="*/ 4882390 h 4882390"/>
              <a:gd name="connsiteX8" fmla="*/ 0 w 9829800"/>
              <a:gd name="connsiteY8" fmla="*/ 4804318 h 4882390"/>
              <a:gd name="connsiteX9" fmla="*/ 831987 w 9829800"/>
              <a:gd name="connsiteY9" fmla="*/ 78072 h 4882390"/>
              <a:gd name="connsiteX10" fmla="*/ 910059 w 9829800"/>
              <a:gd name="connsiteY10" fmla="*/ 0 h 4882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829800" h="4882390">
                <a:moveTo>
                  <a:pt x="910059" y="0"/>
                </a:moveTo>
                <a:lnTo>
                  <a:pt x="3015085" y="0"/>
                </a:lnTo>
                <a:lnTo>
                  <a:pt x="7981950" y="0"/>
                </a:lnTo>
                <a:lnTo>
                  <a:pt x="9829800" y="0"/>
                </a:lnTo>
                <a:lnTo>
                  <a:pt x="9829800" y="4882390"/>
                </a:lnTo>
                <a:lnTo>
                  <a:pt x="7981950" y="4882390"/>
                </a:lnTo>
                <a:lnTo>
                  <a:pt x="2183098" y="4882390"/>
                </a:lnTo>
                <a:lnTo>
                  <a:pt x="78072" y="4882390"/>
                </a:lnTo>
                <a:cubicBezTo>
                  <a:pt x="34957" y="4882390"/>
                  <a:pt x="0" y="4847433"/>
                  <a:pt x="0" y="4804318"/>
                </a:cubicBezTo>
                <a:lnTo>
                  <a:pt x="831987" y="78072"/>
                </a:lnTo>
                <a:cubicBezTo>
                  <a:pt x="831987" y="34957"/>
                  <a:pt x="866945" y="0"/>
                  <a:pt x="910059" y="0"/>
                </a:cubicBezTo>
                <a:close/>
              </a:path>
            </a:pathLst>
          </a:custGeom>
          <a:gradFill>
            <a:gsLst>
              <a:gs pos="100000">
                <a:schemeClr val="bg1"/>
              </a:gs>
              <a:gs pos="5000">
                <a:srgbClr val="ECF0F4"/>
              </a:gs>
            </a:gsLst>
            <a:lin ang="5400000" scaled="1"/>
          </a:gradFill>
          <a:ln w="11652" cap="flat">
            <a:noFill/>
            <a:prstDash val="solid"/>
            <a:miter/>
          </a:ln>
        </p:spPr>
        <p:txBody>
          <a:bodyPr rtlCol="0" anchor="ctr"/>
          <a:lstStyle/>
          <a:p>
            <a:endParaRPr lang="de-DE"/>
          </a:p>
        </p:txBody>
      </p:sp>
      <p:sp>
        <p:nvSpPr>
          <p:cNvPr id="2" name="Titel 1">
            <a:extLst>
              <a:ext uri="{FF2B5EF4-FFF2-40B4-BE49-F238E27FC236}">
                <a16:creationId xmlns:a16="http://schemas.microsoft.com/office/drawing/2014/main" id="{0526DC72-FA1D-422D-8055-3374742D122B}"/>
              </a:ext>
            </a:extLst>
          </p:cNvPr>
          <p:cNvSpPr>
            <a:spLocks noGrp="1"/>
          </p:cNvSpPr>
          <p:nvPr>
            <p:ph type="title"/>
          </p:nvPr>
        </p:nvSpPr>
        <p:spPr>
          <a:xfrm>
            <a:off x="815952" y="733402"/>
            <a:ext cx="4931999" cy="767737"/>
          </a:xfrm>
        </p:spPr>
        <p:txBody>
          <a:bodyPr/>
          <a:lstStyle>
            <a:lvl1pPr>
              <a:lnSpc>
                <a:spcPct val="100000"/>
              </a:lnSpc>
              <a:defRPr/>
            </a:lvl1pPr>
          </a:lstStyle>
          <a:p>
            <a:r>
              <a:rPr lang="de-DE"/>
              <a:t>Mastertitelformat bearbeiten</a:t>
            </a:r>
          </a:p>
        </p:txBody>
      </p:sp>
      <p:sp>
        <p:nvSpPr>
          <p:cNvPr id="3" name="Foliennummernplatzhalter 2">
            <a:extLst>
              <a:ext uri="{FF2B5EF4-FFF2-40B4-BE49-F238E27FC236}">
                <a16:creationId xmlns:a16="http://schemas.microsoft.com/office/drawing/2014/main" id="{5B327254-466C-4606-8589-BCC72CBDADDF}"/>
              </a:ext>
            </a:extLst>
          </p:cNvPr>
          <p:cNvSpPr>
            <a:spLocks noGrp="1"/>
          </p:cNvSpPr>
          <p:nvPr>
            <p:ph type="sldNum" sz="quarter" idx="10"/>
          </p:nvPr>
        </p:nvSpPr>
        <p:spPr/>
        <p:txBody>
          <a:bodyPr/>
          <a:lstStyle/>
          <a:p>
            <a:fld id="{A04BEB4F-8CE1-4F18-986F-6CE0A0BE9470}" type="slidenum">
              <a:rPr lang="de-DE" smtClean="0"/>
              <a:t>‹#›</a:t>
            </a:fld>
            <a:endParaRPr lang="de-DE"/>
          </a:p>
        </p:txBody>
      </p:sp>
      <p:sp>
        <p:nvSpPr>
          <p:cNvPr id="5" name="Textplatzhalter 9">
            <a:extLst>
              <a:ext uri="{FF2B5EF4-FFF2-40B4-BE49-F238E27FC236}">
                <a16:creationId xmlns:a16="http://schemas.microsoft.com/office/drawing/2014/main" id="{6024922C-391C-46EA-9F1C-F5344AAB64C8}"/>
              </a:ext>
            </a:extLst>
          </p:cNvPr>
          <p:cNvSpPr>
            <a:spLocks noGrp="1"/>
          </p:cNvSpPr>
          <p:nvPr>
            <p:ph type="body" sz="quarter" idx="11"/>
          </p:nvPr>
        </p:nvSpPr>
        <p:spPr>
          <a:xfrm>
            <a:off x="815951" y="1979612"/>
            <a:ext cx="4121829" cy="4338638"/>
          </a:xfrm>
          <a:prstGeom prst="rect">
            <a:avLst/>
          </a:prstGeom>
        </p:spPr>
        <p:txBody>
          <a:bodyPr lIns="0" tIns="0" rIns="0" bIns="0">
            <a:normAutofit/>
          </a:bodyPr>
          <a:lstStyle>
            <a:lvl1pPr>
              <a:defRPr sz="1800"/>
            </a:lvl1pPr>
            <a:lvl2pPr>
              <a:defRPr sz="1800"/>
            </a:lvl2pPr>
            <a:lvl3pPr>
              <a:defRPr sz="1800"/>
            </a:lvl3pPr>
            <a:lvl4pPr>
              <a:defRPr sz="1800"/>
            </a:lvl4pPr>
            <a:lvl5pPr>
              <a:defRPr sz="18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4" name="Bildplatzhalter 13">
            <a:extLst>
              <a:ext uri="{FF2B5EF4-FFF2-40B4-BE49-F238E27FC236}">
                <a16:creationId xmlns:a16="http://schemas.microsoft.com/office/drawing/2014/main" id="{768568C2-669C-415D-AE6A-54F4461315C2}"/>
              </a:ext>
            </a:extLst>
          </p:cNvPr>
          <p:cNvSpPr>
            <a:spLocks noGrp="1"/>
          </p:cNvSpPr>
          <p:nvPr>
            <p:ph type="pic" sz="quarter" idx="12" hasCustomPrompt="1"/>
          </p:nvPr>
        </p:nvSpPr>
        <p:spPr>
          <a:xfrm>
            <a:off x="4974436" y="0"/>
            <a:ext cx="7217564" cy="6858000"/>
          </a:xfrm>
          <a:custGeom>
            <a:avLst/>
            <a:gdLst>
              <a:gd name="connsiteX0" fmla="*/ 1207252 w 7217564"/>
              <a:gd name="connsiteY0" fmla="*/ 0 h 6858000"/>
              <a:gd name="connsiteX1" fmla="*/ 7217564 w 7217564"/>
              <a:gd name="connsiteY1" fmla="*/ 0 h 6858000"/>
              <a:gd name="connsiteX2" fmla="*/ 7217564 w 7217564"/>
              <a:gd name="connsiteY2" fmla="*/ 6858000 h 6858000"/>
              <a:gd name="connsiteX3" fmla="*/ 0 w 7217564"/>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217564" h="6858000">
                <a:moveTo>
                  <a:pt x="1207252" y="0"/>
                </a:moveTo>
                <a:lnTo>
                  <a:pt x="7217564" y="0"/>
                </a:lnTo>
                <a:lnTo>
                  <a:pt x="7217564" y="6858000"/>
                </a:lnTo>
                <a:lnTo>
                  <a:pt x="0" y="6858000"/>
                </a:lnTo>
                <a:close/>
              </a:path>
            </a:pathLst>
          </a:custGeom>
          <a:effectLst>
            <a:outerShdw blurRad="190500" dist="127000" dir="2700000" algn="tl" rotWithShape="0">
              <a:prstClr val="black">
                <a:alpha val="10000"/>
              </a:prstClr>
            </a:outerShdw>
          </a:effectLst>
        </p:spPr>
        <p:txBody>
          <a:bodyPr wrap="square">
            <a:noAutofit/>
          </a:bodyPr>
          <a:lstStyle>
            <a:lvl3pPr marL="990600" marR="0" indent="-285750" algn="l" defTabSz="1644650" rtl="0" eaLnBrk="0" fontAlgn="base" latinLnBrk="0" hangingPunct="0">
              <a:lnSpc>
                <a:spcPct val="130000"/>
              </a:lnSpc>
              <a:spcBef>
                <a:spcPct val="0"/>
              </a:spcBef>
              <a:spcAft>
                <a:spcPts val="1200"/>
              </a:spcAft>
              <a:buClr>
                <a:srgbClr val="004C99"/>
              </a:buClr>
              <a:buSzPct val="120000"/>
              <a:defRPr/>
            </a:lvl3pPr>
          </a:lstStyle>
          <a:p>
            <a:pPr marL="1704975" marR="0" lvl="4" indent="-285750" algn="l" defTabSz="1644650" rtl="0" eaLnBrk="0" fontAlgn="base" latinLnBrk="0" hangingPunct="0">
              <a:lnSpc>
                <a:spcPct val="130000"/>
              </a:lnSpc>
              <a:spcBef>
                <a:spcPct val="0"/>
              </a:spcBef>
              <a:spcAft>
                <a:spcPts val="1200"/>
              </a:spcAft>
              <a:buClr>
                <a:srgbClr val="004C99"/>
              </a:buClr>
              <a:buSzPct val="120000"/>
              <a:defRPr/>
            </a:pPr>
            <a:r>
              <a:rPr lang="de-DE"/>
              <a:t>Please insert image</a:t>
            </a:r>
          </a:p>
        </p:txBody>
      </p:sp>
    </p:spTree>
    <p:extLst>
      <p:ext uri="{BB962C8B-B14F-4D97-AF65-F5344CB8AC3E}">
        <p14:creationId xmlns:p14="http://schemas.microsoft.com/office/powerpoint/2010/main" val="2226619674"/>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8" dur="1000" decel="10000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0-#ppt_w/2"/>
                                          </p:val>
                                        </p:tav>
                                        <p:tav tm="100000">
                                          <p:val>
                                            <p:strVal val="#ppt_x"/>
                                          </p:val>
                                        </p:tav>
                                      </p:tavLst>
                                    </p:anim>
                                    <p:anim calcmode="lin" valueType="num">
                                      <p:cBhvr additive="base">
                                        <p:cTn id="8" dur="1000" fill="hold"/>
                                        <p:tgtEl>
                                          <p:spTgt spid="2"/>
                                        </p:tgtEl>
                                        <p:attrNameLst>
                                          <p:attrName>ppt_y</p:attrName>
                                        </p:attrNameLst>
                                      </p:cBhvr>
                                      <p:tavLst>
                                        <p:tav tm="0">
                                          <p:val>
                                            <p:strVal val="#ppt_y"/>
                                          </p:val>
                                        </p:tav>
                                        <p:tav tm="100000">
                                          <p:val>
                                            <p:strVal val="#ppt_y"/>
                                          </p:val>
                                        </p:tav>
                                      </p:tavLst>
                                    </p:anim>
                                  </p:childTnLst>
                                </p:cTn>
                              </p:par>
                              <p:par>
                                <p:cTn id="9" presetID="2" presetClass="entr" presetSubtype="8" dur="1000" decel="100000" fill="hold" grpId="0" nodeType="withEffect">
                                  <p:stCondLst>
                                    <p:cond delay="25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1000" fill="hold"/>
                                        <p:tgtEl>
                                          <p:spTgt spid="5"/>
                                        </p:tgtEl>
                                        <p:attrNameLst>
                                          <p:attrName>ppt_x</p:attrName>
                                        </p:attrNameLst>
                                      </p:cBhvr>
                                      <p:tavLst>
                                        <p:tav tm="0">
                                          <p:val>
                                            <p:strVal val="0-#ppt_w/2"/>
                                          </p:val>
                                        </p:tav>
                                        <p:tav tm="100000">
                                          <p:val>
                                            <p:strVal val="#ppt_x"/>
                                          </p:val>
                                        </p:tav>
                                      </p:tavLst>
                                    </p:anim>
                                    <p:anim calcmode="lin" valueType="num">
                                      <p:cBhvr additive="base">
                                        <p:cTn id="12" dur="1000" fill="hold"/>
                                        <p:tgtEl>
                                          <p:spTgt spid="5"/>
                                        </p:tgtEl>
                                        <p:attrNameLst>
                                          <p:attrName>ppt_y</p:attrName>
                                        </p:attrNameLst>
                                      </p:cBhvr>
                                      <p:tavLst>
                                        <p:tav tm="0">
                                          <p:val>
                                            <p:strVal val="#ppt_y"/>
                                          </p:val>
                                        </p:tav>
                                        <p:tav tm="100000">
                                          <p:val>
                                            <p:strVal val="#ppt_y"/>
                                          </p:val>
                                        </p:tav>
                                      </p:tavLst>
                                    </p:anim>
                                  </p:childTnLst>
                                </p:cTn>
                              </p:par>
                              <p:par>
                                <p:cTn id="13" presetID="2" presetClass="entr" presetSubtype="2" dur="1000" decel="100000" fill="hold" grpId="0" nodeType="withEffect">
                                  <p:stCondLst>
                                    <p:cond delay="500"/>
                                  </p:stCondLst>
                                  <p:childTnLst>
                                    <p:set>
                                      <p:cBhvr>
                                        <p:cTn id="14" dur="1" fill="hold">
                                          <p:stCondLst>
                                            <p:cond delay="0"/>
                                          </p:stCondLst>
                                        </p:cTn>
                                        <p:tgtEl>
                                          <p:spTgt spid="14"/>
                                        </p:tgtEl>
                                        <p:attrNameLst>
                                          <p:attrName>style.visibility</p:attrName>
                                        </p:attrNameLst>
                                      </p:cBhvr>
                                      <p:to>
                                        <p:strVal val="visible"/>
                                      </p:to>
                                    </p:set>
                                    <p:anim calcmode="lin" valueType="num">
                                      <p:cBhvr additive="base">
                                        <p:cTn id="15" dur="1000" fill="hold"/>
                                        <p:tgtEl>
                                          <p:spTgt spid="14"/>
                                        </p:tgtEl>
                                        <p:attrNameLst>
                                          <p:attrName>ppt_x</p:attrName>
                                        </p:attrNameLst>
                                      </p:cBhvr>
                                      <p:tavLst>
                                        <p:tav tm="0">
                                          <p:val>
                                            <p:strVal val="1+#ppt_w/2"/>
                                          </p:val>
                                        </p:tav>
                                        <p:tav tm="100000">
                                          <p:val>
                                            <p:strVal val="#ppt_x"/>
                                          </p:val>
                                        </p:tav>
                                      </p:tavLst>
                                    </p:anim>
                                    <p:anim calcmode="lin" valueType="num">
                                      <p:cBhvr additive="base">
                                        <p:cTn id="16" dur="1000" fill="hold"/>
                                        <p:tgtEl>
                                          <p:spTgt spid="1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2" presetClass="entr" presetSubtype="8" decel="100000" fill="hold" nodeType="withEffect">
                  <p:stCondLst>
                    <p:cond delay="250"/>
                  </p:stCondLst>
                  <p:childTnLst>
                    <p:set>
                      <p:cBhvr>
                        <p:cTn dur="1" fill="hold">
                          <p:stCondLst>
                            <p:cond delay="0"/>
                          </p:stCondLst>
                        </p:cTn>
                        <p:tgtEl>
                          <p:spTgt spid="5"/>
                        </p:tgtEl>
                        <p:attrNameLst>
                          <p:attrName>style.visibility</p:attrName>
                        </p:attrNameLst>
                      </p:cBhvr>
                      <p:to>
                        <p:strVal val="visible"/>
                      </p:to>
                    </p:set>
                    <p:anim calcmode="lin" valueType="num">
                      <p:cBhvr additive="base">
                        <p:cTn dur="1000" fill="hold"/>
                        <p:tgtEl>
                          <p:spTgt spid="5"/>
                        </p:tgtEl>
                        <p:attrNameLst>
                          <p:attrName>ppt_x</p:attrName>
                        </p:attrNameLst>
                      </p:cBhvr>
                      <p:tavLst>
                        <p:tav tm="0">
                          <p:val>
                            <p:strVal val="0-#ppt_w/2"/>
                          </p:val>
                        </p:tav>
                        <p:tav tm="100000">
                          <p:val>
                            <p:strVal val="#ppt_x"/>
                          </p:val>
                        </p:tav>
                      </p:tavLst>
                    </p:anim>
                    <p:anim calcmode="lin" valueType="num">
                      <p:cBhvr additive="base">
                        <p:cTn dur="1000" fill="hold"/>
                        <p:tgtEl>
                          <p:spTgt spid="5"/>
                        </p:tgtEl>
                        <p:attrNameLst>
                          <p:attrName>ppt_y</p:attrName>
                        </p:attrNameLst>
                      </p:cBhvr>
                      <p:tavLst>
                        <p:tav tm="0">
                          <p:val>
                            <p:strVal val="#ppt_y"/>
                          </p:val>
                        </p:tav>
                        <p:tav tm="100000">
                          <p:val>
                            <p:strVal val="#ppt_y"/>
                          </p:val>
                        </p:tav>
                      </p:tavLst>
                    </p:anim>
                  </p:childTnLst>
                </p:cTn>
              </p:par>
            </p:tnLst>
          </p:tmpl>
        </p:tmplLst>
      </p:bldP>
      <p:bldP spid="14" grpId="0"/>
    </p:bldLst>
  </p:timing>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HEADING/TEXT/IMAGE 2 small">
    <p:spTree>
      <p:nvGrpSpPr>
        <p:cNvPr id="1" name=""/>
        <p:cNvGrpSpPr/>
        <p:nvPr/>
      </p:nvGrpSpPr>
      <p:grpSpPr>
        <a:xfrm>
          <a:off x="0" y="0"/>
          <a:ext cx="0" cy="0"/>
          <a:chOff x="0" y="0"/>
          <a:chExt cx="0" cy="0"/>
        </a:xfrm>
      </p:grpSpPr>
      <p:sp>
        <p:nvSpPr>
          <p:cNvPr id="13" name="Freihandform: Form 12">
            <a:extLst>
              <a:ext uri="{FF2B5EF4-FFF2-40B4-BE49-F238E27FC236}">
                <a16:creationId xmlns:a16="http://schemas.microsoft.com/office/drawing/2014/main" id="{50EC640D-C73C-4FD9-AD9A-88EE410704F4}"/>
              </a:ext>
            </a:extLst>
          </p:cNvPr>
          <p:cNvSpPr/>
          <p:nvPr/>
        </p:nvSpPr>
        <p:spPr>
          <a:xfrm rot="10800000">
            <a:off x="0" y="1975611"/>
            <a:ext cx="9829800" cy="4882390"/>
          </a:xfrm>
          <a:custGeom>
            <a:avLst/>
            <a:gdLst>
              <a:gd name="connsiteX0" fmla="*/ 910059 w 9829800"/>
              <a:gd name="connsiteY0" fmla="*/ 0 h 4882390"/>
              <a:gd name="connsiteX1" fmla="*/ 3015085 w 9829800"/>
              <a:gd name="connsiteY1" fmla="*/ 0 h 4882390"/>
              <a:gd name="connsiteX2" fmla="*/ 7981950 w 9829800"/>
              <a:gd name="connsiteY2" fmla="*/ 0 h 4882390"/>
              <a:gd name="connsiteX3" fmla="*/ 9829800 w 9829800"/>
              <a:gd name="connsiteY3" fmla="*/ 0 h 4882390"/>
              <a:gd name="connsiteX4" fmla="*/ 9829800 w 9829800"/>
              <a:gd name="connsiteY4" fmla="*/ 4882390 h 4882390"/>
              <a:gd name="connsiteX5" fmla="*/ 7981950 w 9829800"/>
              <a:gd name="connsiteY5" fmla="*/ 4882390 h 4882390"/>
              <a:gd name="connsiteX6" fmla="*/ 2183098 w 9829800"/>
              <a:gd name="connsiteY6" fmla="*/ 4882390 h 4882390"/>
              <a:gd name="connsiteX7" fmla="*/ 78072 w 9829800"/>
              <a:gd name="connsiteY7" fmla="*/ 4882390 h 4882390"/>
              <a:gd name="connsiteX8" fmla="*/ 0 w 9829800"/>
              <a:gd name="connsiteY8" fmla="*/ 4804318 h 4882390"/>
              <a:gd name="connsiteX9" fmla="*/ 831987 w 9829800"/>
              <a:gd name="connsiteY9" fmla="*/ 78072 h 4882390"/>
              <a:gd name="connsiteX10" fmla="*/ 910059 w 9829800"/>
              <a:gd name="connsiteY10" fmla="*/ 0 h 4882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829800" h="4882390">
                <a:moveTo>
                  <a:pt x="910059" y="0"/>
                </a:moveTo>
                <a:lnTo>
                  <a:pt x="3015085" y="0"/>
                </a:lnTo>
                <a:lnTo>
                  <a:pt x="7981950" y="0"/>
                </a:lnTo>
                <a:lnTo>
                  <a:pt x="9829800" y="0"/>
                </a:lnTo>
                <a:lnTo>
                  <a:pt x="9829800" y="4882390"/>
                </a:lnTo>
                <a:lnTo>
                  <a:pt x="7981950" y="4882390"/>
                </a:lnTo>
                <a:lnTo>
                  <a:pt x="2183098" y="4882390"/>
                </a:lnTo>
                <a:lnTo>
                  <a:pt x="78072" y="4882390"/>
                </a:lnTo>
                <a:cubicBezTo>
                  <a:pt x="34957" y="4882390"/>
                  <a:pt x="0" y="4847433"/>
                  <a:pt x="0" y="4804318"/>
                </a:cubicBezTo>
                <a:lnTo>
                  <a:pt x="831987" y="78072"/>
                </a:lnTo>
                <a:cubicBezTo>
                  <a:pt x="831987" y="34957"/>
                  <a:pt x="866945" y="0"/>
                  <a:pt x="910059" y="0"/>
                </a:cubicBezTo>
                <a:close/>
              </a:path>
            </a:pathLst>
          </a:custGeom>
          <a:gradFill>
            <a:gsLst>
              <a:gs pos="100000">
                <a:schemeClr val="bg1"/>
              </a:gs>
              <a:gs pos="5000">
                <a:srgbClr val="ECF0F4"/>
              </a:gs>
            </a:gsLst>
            <a:lin ang="5400000" scaled="1"/>
          </a:gradFill>
          <a:ln w="11652" cap="flat">
            <a:noFill/>
            <a:prstDash val="solid"/>
            <a:miter/>
          </a:ln>
        </p:spPr>
        <p:txBody>
          <a:bodyPr rtlCol="0" anchor="ctr"/>
          <a:lstStyle/>
          <a:p>
            <a:endParaRPr lang="de-DE"/>
          </a:p>
        </p:txBody>
      </p:sp>
      <p:sp>
        <p:nvSpPr>
          <p:cNvPr id="2" name="Titel 1">
            <a:extLst>
              <a:ext uri="{FF2B5EF4-FFF2-40B4-BE49-F238E27FC236}">
                <a16:creationId xmlns:a16="http://schemas.microsoft.com/office/drawing/2014/main" id="{0526DC72-FA1D-422D-8055-3374742D122B}"/>
              </a:ext>
            </a:extLst>
          </p:cNvPr>
          <p:cNvSpPr>
            <a:spLocks noGrp="1"/>
          </p:cNvSpPr>
          <p:nvPr>
            <p:ph type="title"/>
          </p:nvPr>
        </p:nvSpPr>
        <p:spPr>
          <a:xfrm>
            <a:off x="815952" y="733402"/>
            <a:ext cx="4931999" cy="767737"/>
          </a:xfrm>
        </p:spPr>
        <p:txBody>
          <a:bodyPr/>
          <a:lstStyle>
            <a:lvl1pPr>
              <a:lnSpc>
                <a:spcPct val="100000"/>
              </a:lnSpc>
              <a:defRPr/>
            </a:lvl1pPr>
          </a:lstStyle>
          <a:p>
            <a:r>
              <a:rPr lang="de-DE"/>
              <a:t>Mastertitelformat bearbeiten</a:t>
            </a:r>
          </a:p>
        </p:txBody>
      </p:sp>
      <p:sp>
        <p:nvSpPr>
          <p:cNvPr id="3" name="Foliennummernplatzhalter 2">
            <a:extLst>
              <a:ext uri="{FF2B5EF4-FFF2-40B4-BE49-F238E27FC236}">
                <a16:creationId xmlns:a16="http://schemas.microsoft.com/office/drawing/2014/main" id="{5B327254-466C-4606-8589-BCC72CBDADDF}"/>
              </a:ext>
            </a:extLst>
          </p:cNvPr>
          <p:cNvSpPr>
            <a:spLocks noGrp="1"/>
          </p:cNvSpPr>
          <p:nvPr>
            <p:ph type="sldNum" sz="quarter" idx="10"/>
          </p:nvPr>
        </p:nvSpPr>
        <p:spPr/>
        <p:txBody>
          <a:bodyPr/>
          <a:lstStyle/>
          <a:p>
            <a:fld id="{A04BEB4F-8CE1-4F18-986F-6CE0A0BE9470}" type="slidenum">
              <a:rPr lang="de-DE" smtClean="0"/>
              <a:t>‹#›</a:t>
            </a:fld>
            <a:endParaRPr lang="de-DE"/>
          </a:p>
        </p:txBody>
      </p:sp>
      <p:sp>
        <p:nvSpPr>
          <p:cNvPr id="5" name="Textplatzhalter 9">
            <a:extLst>
              <a:ext uri="{FF2B5EF4-FFF2-40B4-BE49-F238E27FC236}">
                <a16:creationId xmlns:a16="http://schemas.microsoft.com/office/drawing/2014/main" id="{6024922C-391C-46EA-9F1C-F5344AAB64C8}"/>
              </a:ext>
            </a:extLst>
          </p:cNvPr>
          <p:cNvSpPr>
            <a:spLocks noGrp="1"/>
          </p:cNvSpPr>
          <p:nvPr>
            <p:ph type="body" sz="quarter" idx="11"/>
          </p:nvPr>
        </p:nvSpPr>
        <p:spPr>
          <a:xfrm>
            <a:off x="815951" y="1979612"/>
            <a:ext cx="4932000" cy="4338638"/>
          </a:xfrm>
          <a:prstGeom prst="rect">
            <a:avLst/>
          </a:prstGeom>
        </p:spPr>
        <p:txBody>
          <a:bodyPr lIns="0" tIns="0" rIns="0" bIns="0">
            <a:normAutofit/>
          </a:bodyPr>
          <a:lstStyle>
            <a:lvl1pPr>
              <a:defRPr sz="1800"/>
            </a:lvl1pPr>
            <a:lvl2pPr>
              <a:defRPr sz="1800"/>
            </a:lvl2pPr>
            <a:lvl3pPr>
              <a:defRPr sz="1800"/>
            </a:lvl3pPr>
            <a:lvl4pPr>
              <a:defRPr sz="1800"/>
            </a:lvl4pPr>
            <a:lvl5pPr>
              <a:defRPr sz="18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9" name="Bildplatzhalter 18">
            <a:extLst>
              <a:ext uri="{FF2B5EF4-FFF2-40B4-BE49-F238E27FC236}">
                <a16:creationId xmlns:a16="http://schemas.microsoft.com/office/drawing/2014/main" id="{77258955-00DA-42C8-B30E-18F06F9412BA}"/>
              </a:ext>
            </a:extLst>
          </p:cNvPr>
          <p:cNvSpPr>
            <a:spLocks noGrp="1"/>
          </p:cNvSpPr>
          <p:nvPr>
            <p:ph type="pic" sz="quarter" idx="13" hasCustomPrompt="1"/>
          </p:nvPr>
        </p:nvSpPr>
        <p:spPr>
          <a:xfrm>
            <a:off x="6931694" y="3028384"/>
            <a:ext cx="5260306" cy="2794472"/>
          </a:xfrm>
          <a:custGeom>
            <a:avLst/>
            <a:gdLst>
              <a:gd name="connsiteX0" fmla="*/ 541046 w 5260306"/>
              <a:gd name="connsiteY0" fmla="*/ 0 h 2794472"/>
              <a:gd name="connsiteX1" fmla="*/ 5260306 w 5260306"/>
              <a:gd name="connsiteY1" fmla="*/ 0 h 2794472"/>
              <a:gd name="connsiteX2" fmla="*/ 5260306 w 5260306"/>
              <a:gd name="connsiteY2" fmla="*/ 2794472 h 2794472"/>
              <a:gd name="connsiteX3" fmla="*/ 93428 w 5260306"/>
              <a:gd name="connsiteY3" fmla="*/ 2794472 h 2794472"/>
              <a:gd name="connsiteX4" fmla="*/ 0 w 5260306"/>
              <a:gd name="connsiteY4" fmla="*/ 2701044 h 2794472"/>
              <a:gd name="connsiteX5" fmla="*/ 464351 w 5260306"/>
              <a:gd name="connsiteY5" fmla="*/ 65539 h 2794472"/>
              <a:gd name="connsiteX6" fmla="*/ 541046 w 5260306"/>
              <a:gd name="connsiteY6" fmla="*/ 0 h 2794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60306" h="2794472">
                <a:moveTo>
                  <a:pt x="541046" y="0"/>
                </a:moveTo>
                <a:lnTo>
                  <a:pt x="5260306" y="0"/>
                </a:lnTo>
                <a:lnTo>
                  <a:pt x="5260306" y="2794472"/>
                </a:lnTo>
                <a:lnTo>
                  <a:pt x="93428" y="2794472"/>
                </a:lnTo>
                <a:cubicBezTo>
                  <a:pt x="41833" y="2794472"/>
                  <a:pt x="0" y="2752639"/>
                  <a:pt x="0" y="2701044"/>
                </a:cubicBezTo>
                <a:lnTo>
                  <a:pt x="464351" y="65539"/>
                </a:lnTo>
                <a:cubicBezTo>
                  <a:pt x="469929" y="27889"/>
                  <a:pt x="503395" y="0"/>
                  <a:pt x="541046" y="0"/>
                </a:cubicBezTo>
                <a:close/>
              </a:path>
            </a:pathLst>
          </a:custGeom>
        </p:spPr>
        <p:txBody>
          <a:bodyPr wrap="square">
            <a:noAutofit/>
          </a:bodyPr>
          <a:lstStyle>
            <a:lvl3pPr marL="990600" marR="0" indent="-285750" algn="l" defTabSz="1644650" rtl="0" eaLnBrk="0" fontAlgn="base" latinLnBrk="0" hangingPunct="0">
              <a:lnSpc>
                <a:spcPct val="130000"/>
              </a:lnSpc>
              <a:spcBef>
                <a:spcPct val="0"/>
              </a:spcBef>
              <a:spcAft>
                <a:spcPts val="1200"/>
              </a:spcAft>
              <a:buClr>
                <a:srgbClr val="004C99"/>
              </a:buClr>
              <a:buSzPct val="120000"/>
              <a:defRPr/>
            </a:lvl3pPr>
          </a:lstStyle>
          <a:p>
            <a:pPr marL="990600" marR="0" lvl="2" indent="-285750" algn="l" defTabSz="1644650" rtl="0" eaLnBrk="0" fontAlgn="base" latinLnBrk="0" hangingPunct="0">
              <a:lnSpc>
                <a:spcPct val="130000"/>
              </a:lnSpc>
              <a:spcBef>
                <a:spcPct val="0"/>
              </a:spcBef>
              <a:spcAft>
                <a:spcPts val="1200"/>
              </a:spcAft>
              <a:buClr>
                <a:srgbClr val="004C99"/>
              </a:buClr>
              <a:buSzPct val="120000"/>
              <a:defRPr/>
            </a:pPr>
            <a:r>
              <a:rPr lang="de-DE"/>
              <a:t>Please insert image</a:t>
            </a:r>
          </a:p>
        </p:txBody>
      </p:sp>
      <p:sp>
        <p:nvSpPr>
          <p:cNvPr id="20" name="Bildplatzhalter 19">
            <a:extLst>
              <a:ext uri="{FF2B5EF4-FFF2-40B4-BE49-F238E27FC236}">
                <a16:creationId xmlns:a16="http://schemas.microsoft.com/office/drawing/2014/main" id="{77C1DD81-6416-4666-94E0-96C26901803C}"/>
              </a:ext>
            </a:extLst>
          </p:cNvPr>
          <p:cNvSpPr>
            <a:spLocks noGrp="1"/>
          </p:cNvSpPr>
          <p:nvPr>
            <p:ph type="pic" sz="quarter" idx="14" hasCustomPrompt="1"/>
          </p:nvPr>
        </p:nvSpPr>
        <p:spPr>
          <a:xfrm>
            <a:off x="7467388" y="-19877"/>
            <a:ext cx="4724613" cy="2795867"/>
          </a:xfrm>
          <a:custGeom>
            <a:avLst/>
            <a:gdLst>
              <a:gd name="connsiteX0" fmla="*/ 553370 w 4724613"/>
              <a:gd name="connsiteY0" fmla="*/ 0 h 2795867"/>
              <a:gd name="connsiteX1" fmla="*/ 4724613 w 4724613"/>
              <a:gd name="connsiteY1" fmla="*/ 0 h 2795867"/>
              <a:gd name="connsiteX2" fmla="*/ 4724613 w 4724613"/>
              <a:gd name="connsiteY2" fmla="*/ 2795867 h 2795867"/>
              <a:gd name="connsiteX3" fmla="*/ 79258 w 4724613"/>
              <a:gd name="connsiteY3" fmla="*/ 2795867 h 2795867"/>
              <a:gd name="connsiteX4" fmla="*/ 1169 w 4724613"/>
              <a:gd name="connsiteY4" fmla="*/ 2702439 h 2795867"/>
              <a:gd name="connsiteX5" fmla="*/ 459942 w 4724613"/>
              <a:gd name="connsiteY5" fmla="*/ 93428 h 2795867"/>
              <a:gd name="connsiteX6" fmla="*/ 553370 w 4724613"/>
              <a:gd name="connsiteY6" fmla="*/ 0 h 2795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24613" h="2795867">
                <a:moveTo>
                  <a:pt x="553370" y="0"/>
                </a:moveTo>
                <a:lnTo>
                  <a:pt x="4724613" y="0"/>
                </a:lnTo>
                <a:lnTo>
                  <a:pt x="4724613" y="2795867"/>
                </a:lnTo>
                <a:lnTo>
                  <a:pt x="79258" y="2795867"/>
                </a:lnTo>
                <a:cubicBezTo>
                  <a:pt x="30452" y="2795867"/>
                  <a:pt x="-7198" y="2751245"/>
                  <a:pt x="1169" y="2702439"/>
                </a:cubicBezTo>
                <a:lnTo>
                  <a:pt x="459942" y="93428"/>
                </a:lnTo>
                <a:cubicBezTo>
                  <a:pt x="459942" y="41833"/>
                  <a:pt x="501775" y="0"/>
                  <a:pt x="553370" y="0"/>
                </a:cubicBezTo>
                <a:close/>
              </a:path>
            </a:pathLst>
          </a:custGeom>
        </p:spPr>
        <p:txBody>
          <a:bodyPr wrap="square">
            <a:noAutofit/>
          </a:bodyPr>
          <a:lstStyle>
            <a:lvl1pPr marL="0" marR="0" indent="0" algn="l" defTabSz="1644650" rtl="0" eaLnBrk="0" fontAlgn="base" latinLnBrk="0" hangingPunct="0">
              <a:lnSpc>
                <a:spcPct val="130000"/>
              </a:lnSpc>
              <a:spcBef>
                <a:spcPct val="0"/>
              </a:spcBef>
              <a:spcAft>
                <a:spcPts val="1200"/>
              </a:spcAft>
              <a:buClr>
                <a:srgbClr val="004C99"/>
              </a:buClr>
              <a:buSzPct val="120000"/>
              <a:buFontTx/>
              <a:buNone/>
              <a:defRPr/>
            </a:lvl1pPr>
          </a:lstStyle>
          <a:p>
            <a:pPr marL="896938" marR="0" lvl="1" indent="-266700" algn="l" defTabSz="1644650" rtl="0" eaLnBrk="0" fontAlgn="base" latinLnBrk="0" hangingPunct="0">
              <a:lnSpc>
                <a:spcPct val="130000"/>
              </a:lnSpc>
              <a:spcBef>
                <a:spcPct val="0"/>
              </a:spcBef>
              <a:spcAft>
                <a:spcPts val="1200"/>
              </a:spcAft>
              <a:buClr>
                <a:srgbClr val="004C99"/>
              </a:buClr>
              <a:buSzPct val="120000"/>
              <a:buFontTx/>
              <a:buBlip>
                <a:blip r:embed="rId2"/>
              </a:buBlip>
              <a:defRPr/>
            </a:pPr>
            <a:r>
              <a:rPr lang="de-DE"/>
              <a:t>Please insert image</a:t>
            </a:r>
          </a:p>
          <a:p>
            <a:endParaRPr lang="de-DE"/>
          </a:p>
        </p:txBody>
      </p:sp>
    </p:spTree>
    <p:extLst>
      <p:ext uri="{BB962C8B-B14F-4D97-AF65-F5344CB8AC3E}">
        <p14:creationId xmlns:p14="http://schemas.microsoft.com/office/powerpoint/2010/main" val="2997326285"/>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8" dur="1000" decel="10000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0-#ppt_w/2"/>
                                          </p:val>
                                        </p:tav>
                                        <p:tav tm="100000">
                                          <p:val>
                                            <p:strVal val="#ppt_x"/>
                                          </p:val>
                                        </p:tav>
                                      </p:tavLst>
                                    </p:anim>
                                    <p:anim calcmode="lin" valueType="num">
                                      <p:cBhvr additive="base">
                                        <p:cTn id="8" dur="1000" fill="hold"/>
                                        <p:tgtEl>
                                          <p:spTgt spid="2"/>
                                        </p:tgtEl>
                                        <p:attrNameLst>
                                          <p:attrName>ppt_y</p:attrName>
                                        </p:attrNameLst>
                                      </p:cBhvr>
                                      <p:tavLst>
                                        <p:tav tm="0">
                                          <p:val>
                                            <p:strVal val="#ppt_y"/>
                                          </p:val>
                                        </p:tav>
                                        <p:tav tm="100000">
                                          <p:val>
                                            <p:strVal val="#ppt_y"/>
                                          </p:val>
                                        </p:tav>
                                      </p:tavLst>
                                    </p:anim>
                                  </p:childTnLst>
                                </p:cTn>
                              </p:par>
                              <p:par>
                                <p:cTn id="9" presetID="2" presetClass="entr" presetSubtype="8" dur="1000" decel="100000" fill="hold" grpId="0" nodeType="withEffect">
                                  <p:stCondLst>
                                    <p:cond delay="25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1000" fill="hold"/>
                                        <p:tgtEl>
                                          <p:spTgt spid="5"/>
                                        </p:tgtEl>
                                        <p:attrNameLst>
                                          <p:attrName>ppt_x</p:attrName>
                                        </p:attrNameLst>
                                      </p:cBhvr>
                                      <p:tavLst>
                                        <p:tav tm="0">
                                          <p:val>
                                            <p:strVal val="0-#ppt_w/2"/>
                                          </p:val>
                                        </p:tav>
                                        <p:tav tm="100000">
                                          <p:val>
                                            <p:strVal val="#ppt_x"/>
                                          </p:val>
                                        </p:tav>
                                      </p:tavLst>
                                    </p:anim>
                                    <p:anim calcmode="lin" valueType="num">
                                      <p:cBhvr additive="base">
                                        <p:cTn id="12" dur="1000" fill="hold"/>
                                        <p:tgtEl>
                                          <p:spTgt spid="5"/>
                                        </p:tgtEl>
                                        <p:attrNameLst>
                                          <p:attrName>ppt_y</p:attrName>
                                        </p:attrNameLst>
                                      </p:cBhvr>
                                      <p:tavLst>
                                        <p:tav tm="0">
                                          <p:val>
                                            <p:strVal val="#ppt_y"/>
                                          </p:val>
                                        </p:tav>
                                        <p:tav tm="100000">
                                          <p:val>
                                            <p:strVal val="#ppt_y"/>
                                          </p:val>
                                        </p:tav>
                                      </p:tavLst>
                                    </p:anim>
                                  </p:childTnLst>
                                </p:cTn>
                              </p:par>
                              <p:par>
                                <p:cTn id="13" presetID="2" presetClass="entr" presetSubtype="2" dur="1000" decel="100000" fill="hold" grpId="0" nodeType="withEffect">
                                  <p:stCondLst>
                                    <p:cond delay="500"/>
                                  </p:stCondLst>
                                  <p:childTnLst>
                                    <p:set>
                                      <p:cBhvr>
                                        <p:cTn id="14" dur="1" fill="hold">
                                          <p:stCondLst>
                                            <p:cond delay="0"/>
                                          </p:stCondLst>
                                        </p:cTn>
                                        <p:tgtEl>
                                          <p:spTgt spid="20"/>
                                        </p:tgtEl>
                                        <p:attrNameLst>
                                          <p:attrName>style.visibility</p:attrName>
                                        </p:attrNameLst>
                                      </p:cBhvr>
                                      <p:to>
                                        <p:strVal val="visible"/>
                                      </p:to>
                                    </p:set>
                                    <p:anim calcmode="lin" valueType="num">
                                      <p:cBhvr additive="base">
                                        <p:cTn id="15" dur="1000" fill="hold"/>
                                        <p:tgtEl>
                                          <p:spTgt spid="20"/>
                                        </p:tgtEl>
                                        <p:attrNameLst>
                                          <p:attrName>ppt_x</p:attrName>
                                        </p:attrNameLst>
                                      </p:cBhvr>
                                      <p:tavLst>
                                        <p:tav tm="0">
                                          <p:val>
                                            <p:strVal val="1+#ppt_w/2"/>
                                          </p:val>
                                        </p:tav>
                                        <p:tav tm="100000">
                                          <p:val>
                                            <p:strVal val="#ppt_x"/>
                                          </p:val>
                                        </p:tav>
                                      </p:tavLst>
                                    </p:anim>
                                    <p:anim calcmode="lin" valueType="num">
                                      <p:cBhvr additive="base">
                                        <p:cTn id="16" dur="1000" fill="hold"/>
                                        <p:tgtEl>
                                          <p:spTgt spid="20"/>
                                        </p:tgtEl>
                                        <p:attrNameLst>
                                          <p:attrName>ppt_y</p:attrName>
                                        </p:attrNameLst>
                                      </p:cBhvr>
                                      <p:tavLst>
                                        <p:tav tm="0">
                                          <p:val>
                                            <p:strVal val="#ppt_y"/>
                                          </p:val>
                                        </p:tav>
                                        <p:tav tm="100000">
                                          <p:val>
                                            <p:strVal val="#ppt_y"/>
                                          </p:val>
                                        </p:tav>
                                      </p:tavLst>
                                    </p:anim>
                                  </p:childTnLst>
                                </p:cTn>
                              </p:par>
                              <p:par>
                                <p:cTn id="17" presetID="2" presetClass="entr" presetSubtype="2" dur="1000" decel="100000" fill="hold" grpId="0" nodeType="withEffect">
                                  <p:stCondLst>
                                    <p:cond delay="750"/>
                                  </p:stCondLst>
                                  <p:childTnLst>
                                    <p:set>
                                      <p:cBhvr>
                                        <p:cTn id="18" dur="1" fill="hold">
                                          <p:stCondLst>
                                            <p:cond delay="0"/>
                                          </p:stCondLst>
                                        </p:cTn>
                                        <p:tgtEl>
                                          <p:spTgt spid="19"/>
                                        </p:tgtEl>
                                        <p:attrNameLst>
                                          <p:attrName>style.visibility</p:attrName>
                                        </p:attrNameLst>
                                      </p:cBhvr>
                                      <p:to>
                                        <p:strVal val="visible"/>
                                      </p:to>
                                    </p:set>
                                    <p:anim calcmode="lin" valueType="num">
                                      <p:cBhvr additive="base">
                                        <p:cTn id="19" dur="1000" fill="hold"/>
                                        <p:tgtEl>
                                          <p:spTgt spid="19"/>
                                        </p:tgtEl>
                                        <p:attrNameLst>
                                          <p:attrName>ppt_x</p:attrName>
                                        </p:attrNameLst>
                                      </p:cBhvr>
                                      <p:tavLst>
                                        <p:tav tm="0">
                                          <p:val>
                                            <p:strVal val="1+#ppt_w/2"/>
                                          </p:val>
                                        </p:tav>
                                        <p:tav tm="100000">
                                          <p:val>
                                            <p:strVal val="#ppt_x"/>
                                          </p:val>
                                        </p:tav>
                                      </p:tavLst>
                                    </p:anim>
                                    <p:anim calcmode="lin" valueType="num">
                                      <p:cBhvr additive="base">
                                        <p:cTn id="20" dur="1000" fill="hold"/>
                                        <p:tgtEl>
                                          <p:spTgt spid="1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2" presetClass="entr" presetSubtype="8" decel="100000" fill="hold" nodeType="withEffect">
                  <p:stCondLst>
                    <p:cond delay="250"/>
                  </p:stCondLst>
                  <p:childTnLst>
                    <p:set>
                      <p:cBhvr>
                        <p:cTn dur="1" fill="hold">
                          <p:stCondLst>
                            <p:cond delay="0"/>
                          </p:stCondLst>
                        </p:cTn>
                        <p:tgtEl>
                          <p:spTgt spid="5"/>
                        </p:tgtEl>
                        <p:attrNameLst>
                          <p:attrName>style.visibility</p:attrName>
                        </p:attrNameLst>
                      </p:cBhvr>
                      <p:to>
                        <p:strVal val="visible"/>
                      </p:to>
                    </p:set>
                    <p:anim calcmode="lin" valueType="num">
                      <p:cBhvr additive="base">
                        <p:cTn dur="1000" fill="hold"/>
                        <p:tgtEl>
                          <p:spTgt spid="5"/>
                        </p:tgtEl>
                        <p:attrNameLst>
                          <p:attrName>ppt_x</p:attrName>
                        </p:attrNameLst>
                      </p:cBhvr>
                      <p:tavLst>
                        <p:tav tm="0">
                          <p:val>
                            <p:strVal val="0-#ppt_w/2"/>
                          </p:val>
                        </p:tav>
                        <p:tav tm="100000">
                          <p:val>
                            <p:strVal val="#ppt_x"/>
                          </p:val>
                        </p:tav>
                      </p:tavLst>
                    </p:anim>
                    <p:anim calcmode="lin" valueType="num">
                      <p:cBhvr additive="base">
                        <p:cTn dur="1000" fill="hold"/>
                        <p:tgtEl>
                          <p:spTgt spid="5"/>
                        </p:tgtEl>
                        <p:attrNameLst>
                          <p:attrName>ppt_y</p:attrName>
                        </p:attrNameLst>
                      </p:cBhvr>
                      <p:tavLst>
                        <p:tav tm="0">
                          <p:val>
                            <p:strVal val="#ppt_y"/>
                          </p:val>
                        </p:tav>
                        <p:tav tm="100000">
                          <p:val>
                            <p:strVal val="#ppt_y"/>
                          </p:val>
                        </p:tav>
                      </p:tavLst>
                    </p:anim>
                  </p:childTnLst>
                </p:cTn>
              </p:par>
            </p:tnLst>
          </p:tmpl>
        </p:tmplLst>
      </p:bldP>
      <p:bldP spid="19" grpId="0"/>
      <p:bldP spid="20" grpId="0"/>
    </p:bldLst>
  </p:timing>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HEADING/TEXT/IMAGE 1 big 1 small">
    <p:spTree>
      <p:nvGrpSpPr>
        <p:cNvPr id="1" name=""/>
        <p:cNvGrpSpPr/>
        <p:nvPr/>
      </p:nvGrpSpPr>
      <p:grpSpPr>
        <a:xfrm>
          <a:off x="0" y="0"/>
          <a:ext cx="0" cy="0"/>
          <a:chOff x="0" y="0"/>
          <a:chExt cx="0" cy="0"/>
        </a:xfrm>
      </p:grpSpPr>
      <p:sp>
        <p:nvSpPr>
          <p:cNvPr id="13" name="Freihandform: Form 12">
            <a:extLst>
              <a:ext uri="{FF2B5EF4-FFF2-40B4-BE49-F238E27FC236}">
                <a16:creationId xmlns:a16="http://schemas.microsoft.com/office/drawing/2014/main" id="{50EC640D-C73C-4FD9-AD9A-88EE410704F4}"/>
              </a:ext>
            </a:extLst>
          </p:cNvPr>
          <p:cNvSpPr/>
          <p:nvPr/>
        </p:nvSpPr>
        <p:spPr>
          <a:xfrm rot="10800000">
            <a:off x="0" y="1975611"/>
            <a:ext cx="9829800" cy="4882390"/>
          </a:xfrm>
          <a:custGeom>
            <a:avLst/>
            <a:gdLst>
              <a:gd name="connsiteX0" fmla="*/ 910059 w 9829800"/>
              <a:gd name="connsiteY0" fmla="*/ 0 h 4882390"/>
              <a:gd name="connsiteX1" fmla="*/ 3015085 w 9829800"/>
              <a:gd name="connsiteY1" fmla="*/ 0 h 4882390"/>
              <a:gd name="connsiteX2" fmla="*/ 7981950 w 9829800"/>
              <a:gd name="connsiteY2" fmla="*/ 0 h 4882390"/>
              <a:gd name="connsiteX3" fmla="*/ 9829800 w 9829800"/>
              <a:gd name="connsiteY3" fmla="*/ 0 h 4882390"/>
              <a:gd name="connsiteX4" fmla="*/ 9829800 w 9829800"/>
              <a:gd name="connsiteY4" fmla="*/ 4882390 h 4882390"/>
              <a:gd name="connsiteX5" fmla="*/ 7981950 w 9829800"/>
              <a:gd name="connsiteY5" fmla="*/ 4882390 h 4882390"/>
              <a:gd name="connsiteX6" fmla="*/ 2183098 w 9829800"/>
              <a:gd name="connsiteY6" fmla="*/ 4882390 h 4882390"/>
              <a:gd name="connsiteX7" fmla="*/ 78072 w 9829800"/>
              <a:gd name="connsiteY7" fmla="*/ 4882390 h 4882390"/>
              <a:gd name="connsiteX8" fmla="*/ 0 w 9829800"/>
              <a:gd name="connsiteY8" fmla="*/ 4804318 h 4882390"/>
              <a:gd name="connsiteX9" fmla="*/ 831987 w 9829800"/>
              <a:gd name="connsiteY9" fmla="*/ 78072 h 4882390"/>
              <a:gd name="connsiteX10" fmla="*/ 910059 w 9829800"/>
              <a:gd name="connsiteY10" fmla="*/ 0 h 4882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829800" h="4882390">
                <a:moveTo>
                  <a:pt x="910059" y="0"/>
                </a:moveTo>
                <a:lnTo>
                  <a:pt x="3015085" y="0"/>
                </a:lnTo>
                <a:lnTo>
                  <a:pt x="7981950" y="0"/>
                </a:lnTo>
                <a:lnTo>
                  <a:pt x="9829800" y="0"/>
                </a:lnTo>
                <a:lnTo>
                  <a:pt x="9829800" y="4882390"/>
                </a:lnTo>
                <a:lnTo>
                  <a:pt x="7981950" y="4882390"/>
                </a:lnTo>
                <a:lnTo>
                  <a:pt x="2183098" y="4882390"/>
                </a:lnTo>
                <a:lnTo>
                  <a:pt x="78072" y="4882390"/>
                </a:lnTo>
                <a:cubicBezTo>
                  <a:pt x="34957" y="4882390"/>
                  <a:pt x="0" y="4847433"/>
                  <a:pt x="0" y="4804318"/>
                </a:cubicBezTo>
                <a:lnTo>
                  <a:pt x="831987" y="78072"/>
                </a:lnTo>
                <a:cubicBezTo>
                  <a:pt x="831987" y="34957"/>
                  <a:pt x="866945" y="0"/>
                  <a:pt x="910059" y="0"/>
                </a:cubicBezTo>
                <a:close/>
              </a:path>
            </a:pathLst>
          </a:custGeom>
          <a:gradFill>
            <a:gsLst>
              <a:gs pos="100000">
                <a:schemeClr val="bg1"/>
              </a:gs>
              <a:gs pos="5000">
                <a:srgbClr val="ECF0F4"/>
              </a:gs>
            </a:gsLst>
            <a:lin ang="5400000" scaled="1"/>
          </a:gradFill>
          <a:ln w="11652" cap="flat">
            <a:noFill/>
            <a:prstDash val="solid"/>
            <a:miter/>
          </a:ln>
        </p:spPr>
        <p:txBody>
          <a:bodyPr rtlCol="0" anchor="ctr"/>
          <a:lstStyle/>
          <a:p>
            <a:endParaRPr lang="de-DE"/>
          </a:p>
        </p:txBody>
      </p:sp>
      <p:sp>
        <p:nvSpPr>
          <p:cNvPr id="2" name="Titel 1">
            <a:extLst>
              <a:ext uri="{FF2B5EF4-FFF2-40B4-BE49-F238E27FC236}">
                <a16:creationId xmlns:a16="http://schemas.microsoft.com/office/drawing/2014/main" id="{0526DC72-FA1D-422D-8055-3374742D122B}"/>
              </a:ext>
            </a:extLst>
          </p:cNvPr>
          <p:cNvSpPr>
            <a:spLocks noGrp="1"/>
          </p:cNvSpPr>
          <p:nvPr>
            <p:ph type="title"/>
          </p:nvPr>
        </p:nvSpPr>
        <p:spPr>
          <a:xfrm>
            <a:off x="815952" y="733402"/>
            <a:ext cx="4931999" cy="767737"/>
          </a:xfrm>
        </p:spPr>
        <p:txBody>
          <a:bodyPr/>
          <a:lstStyle>
            <a:lvl1pPr>
              <a:lnSpc>
                <a:spcPct val="100000"/>
              </a:lnSpc>
              <a:defRPr/>
            </a:lvl1pPr>
          </a:lstStyle>
          <a:p>
            <a:r>
              <a:rPr lang="de-DE"/>
              <a:t>Mastertitelformat bearbeiten</a:t>
            </a:r>
          </a:p>
        </p:txBody>
      </p:sp>
      <p:sp>
        <p:nvSpPr>
          <p:cNvPr id="3" name="Foliennummernplatzhalter 2">
            <a:extLst>
              <a:ext uri="{FF2B5EF4-FFF2-40B4-BE49-F238E27FC236}">
                <a16:creationId xmlns:a16="http://schemas.microsoft.com/office/drawing/2014/main" id="{5B327254-466C-4606-8589-BCC72CBDADDF}"/>
              </a:ext>
            </a:extLst>
          </p:cNvPr>
          <p:cNvSpPr>
            <a:spLocks noGrp="1"/>
          </p:cNvSpPr>
          <p:nvPr>
            <p:ph type="sldNum" sz="quarter" idx="10"/>
          </p:nvPr>
        </p:nvSpPr>
        <p:spPr/>
        <p:txBody>
          <a:bodyPr/>
          <a:lstStyle/>
          <a:p>
            <a:fld id="{A04BEB4F-8CE1-4F18-986F-6CE0A0BE9470}" type="slidenum">
              <a:rPr lang="de-DE" smtClean="0"/>
              <a:t>‹#›</a:t>
            </a:fld>
            <a:endParaRPr lang="de-DE"/>
          </a:p>
        </p:txBody>
      </p:sp>
      <p:sp>
        <p:nvSpPr>
          <p:cNvPr id="5" name="Textplatzhalter 9">
            <a:extLst>
              <a:ext uri="{FF2B5EF4-FFF2-40B4-BE49-F238E27FC236}">
                <a16:creationId xmlns:a16="http://schemas.microsoft.com/office/drawing/2014/main" id="{6024922C-391C-46EA-9F1C-F5344AAB64C8}"/>
              </a:ext>
            </a:extLst>
          </p:cNvPr>
          <p:cNvSpPr>
            <a:spLocks noGrp="1"/>
          </p:cNvSpPr>
          <p:nvPr>
            <p:ph type="body" sz="quarter" idx="11"/>
          </p:nvPr>
        </p:nvSpPr>
        <p:spPr>
          <a:xfrm>
            <a:off x="815951" y="1979612"/>
            <a:ext cx="4932000" cy="4338638"/>
          </a:xfrm>
          <a:prstGeom prst="rect">
            <a:avLst/>
          </a:prstGeom>
        </p:spPr>
        <p:txBody>
          <a:bodyPr lIns="0" tIns="0" rIns="0" bIns="0">
            <a:normAutofit/>
          </a:bodyPr>
          <a:lstStyle>
            <a:lvl1pPr>
              <a:defRPr sz="1800"/>
            </a:lvl1pPr>
            <a:lvl2pPr>
              <a:defRPr sz="1800"/>
            </a:lvl2pPr>
            <a:lvl3pPr>
              <a:defRPr sz="1800"/>
            </a:lvl3pPr>
            <a:lvl4pPr>
              <a:defRPr sz="1800"/>
            </a:lvl4pPr>
            <a:lvl5pPr>
              <a:defRPr sz="18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9" name="Bildplatzhalter 18">
            <a:extLst>
              <a:ext uri="{FF2B5EF4-FFF2-40B4-BE49-F238E27FC236}">
                <a16:creationId xmlns:a16="http://schemas.microsoft.com/office/drawing/2014/main" id="{77258955-00DA-42C8-B30E-18F06F9412BA}"/>
              </a:ext>
            </a:extLst>
          </p:cNvPr>
          <p:cNvSpPr>
            <a:spLocks noGrp="1"/>
          </p:cNvSpPr>
          <p:nvPr>
            <p:ph type="pic" sz="quarter" idx="13" hasCustomPrompt="1"/>
          </p:nvPr>
        </p:nvSpPr>
        <p:spPr>
          <a:xfrm>
            <a:off x="6829425" y="4008632"/>
            <a:ext cx="5362575" cy="2848802"/>
          </a:xfrm>
          <a:custGeom>
            <a:avLst/>
            <a:gdLst>
              <a:gd name="connsiteX0" fmla="*/ 541046 w 5260306"/>
              <a:gd name="connsiteY0" fmla="*/ 0 h 2794472"/>
              <a:gd name="connsiteX1" fmla="*/ 5260306 w 5260306"/>
              <a:gd name="connsiteY1" fmla="*/ 0 h 2794472"/>
              <a:gd name="connsiteX2" fmla="*/ 5260306 w 5260306"/>
              <a:gd name="connsiteY2" fmla="*/ 2794472 h 2794472"/>
              <a:gd name="connsiteX3" fmla="*/ 93428 w 5260306"/>
              <a:gd name="connsiteY3" fmla="*/ 2794472 h 2794472"/>
              <a:gd name="connsiteX4" fmla="*/ 0 w 5260306"/>
              <a:gd name="connsiteY4" fmla="*/ 2701044 h 2794472"/>
              <a:gd name="connsiteX5" fmla="*/ 464351 w 5260306"/>
              <a:gd name="connsiteY5" fmla="*/ 65539 h 2794472"/>
              <a:gd name="connsiteX6" fmla="*/ 541046 w 5260306"/>
              <a:gd name="connsiteY6" fmla="*/ 0 h 2794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60306" h="2794472">
                <a:moveTo>
                  <a:pt x="541046" y="0"/>
                </a:moveTo>
                <a:lnTo>
                  <a:pt x="5260306" y="0"/>
                </a:lnTo>
                <a:lnTo>
                  <a:pt x="5260306" y="2794472"/>
                </a:lnTo>
                <a:lnTo>
                  <a:pt x="93428" y="2794472"/>
                </a:lnTo>
                <a:cubicBezTo>
                  <a:pt x="41833" y="2794472"/>
                  <a:pt x="0" y="2752639"/>
                  <a:pt x="0" y="2701044"/>
                </a:cubicBezTo>
                <a:lnTo>
                  <a:pt x="464351" y="65539"/>
                </a:lnTo>
                <a:cubicBezTo>
                  <a:pt x="469929" y="27889"/>
                  <a:pt x="503395" y="0"/>
                  <a:pt x="541046" y="0"/>
                </a:cubicBezTo>
                <a:close/>
              </a:path>
            </a:pathLst>
          </a:custGeom>
        </p:spPr>
        <p:txBody>
          <a:bodyPr wrap="square">
            <a:noAutofit/>
          </a:bodyPr>
          <a:lstStyle>
            <a:lvl1pPr marL="0" marR="0" indent="0" algn="l" defTabSz="1644650" rtl="0" eaLnBrk="0" fontAlgn="base" latinLnBrk="0" hangingPunct="0">
              <a:lnSpc>
                <a:spcPct val="130000"/>
              </a:lnSpc>
              <a:spcBef>
                <a:spcPct val="0"/>
              </a:spcBef>
              <a:spcAft>
                <a:spcPts val="1200"/>
              </a:spcAft>
              <a:buClr>
                <a:srgbClr val="004C99"/>
              </a:buClr>
              <a:buSzPct val="120000"/>
              <a:buFontTx/>
              <a:buNone/>
              <a:defRPr/>
            </a:lvl1pPr>
          </a:lstStyle>
          <a:p>
            <a:pPr marL="896938" marR="0" lvl="1" indent="-266700" algn="l" defTabSz="1644650" rtl="0" eaLnBrk="0" fontAlgn="base" latinLnBrk="0" hangingPunct="0">
              <a:lnSpc>
                <a:spcPct val="130000"/>
              </a:lnSpc>
              <a:spcBef>
                <a:spcPct val="0"/>
              </a:spcBef>
              <a:spcAft>
                <a:spcPts val="1200"/>
              </a:spcAft>
              <a:buClr>
                <a:srgbClr val="004C99"/>
              </a:buClr>
              <a:buSzPct val="120000"/>
              <a:buFontTx/>
              <a:buBlip>
                <a:blip r:embed="rId2"/>
              </a:buBlip>
              <a:defRPr/>
            </a:pPr>
            <a:r>
              <a:rPr lang="de-DE"/>
              <a:t>Please insert image</a:t>
            </a:r>
          </a:p>
          <a:p>
            <a:endParaRPr lang="de-DE"/>
          </a:p>
        </p:txBody>
      </p:sp>
      <p:sp>
        <p:nvSpPr>
          <p:cNvPr id="20" name="Bildplatzhalter 19">
            <a:extLst>
              <a:ext uri="{FF2B5EF4-FFF2-40B4-BE49-F238E27FC236}">
                <a16:creationId xmlns:a16="http://schemas.microsoft.com/office/drawing/2014/main" id="{77C1DD81-6416-4666-94E0-96C26901803C}"/>
              </a:ext>
            </a:extLst>
          </p:cNvPr>
          <p:cNvSpPr>
            <a:spLocks noGrp="1"/>
          </p:cNvSpPr>
          <p:nvPr>
            <p:ph type="pic" sz="quarter" idx="14" hasCustomPrompt="1"/>
          </p:nvPr>
        </p:nvSpPr>
        <p:spPr>
          <a:xfrm>
            <a:off x="6025883" y="-19877"/>
            <a:ext cx="6166119" cy="3648902"/>
          </a:xfrm>
          <a:custGeom>
            <a:avLst/>
            <a:gdLst>
              <a:gd name="connsiteX0" fmla="*/ 553370 w 4724613"/>
              <a:gd name="connsiteY0" fmla="*/ 0 h 2795867"/>
              <a:gd name="connsiteX1" fmla="*/ 4724613 w 4724613"/>
              <a:gd name="connsiteY1" fmla="*/ 0 h 2795867"/>
              <a:gd name="connsiteX2" fmla="*/ 4724613 w 4724613"/>
              <a:gd name="connsiteY2" fmla="*/ 2795867 h 2795867"/>
              <a:gd name="connsiteX3" fmla="*/ 79258 w 4724613"/>
              <a:gd name="connsiteY3" fmla="*/ 2795867 h 2795867"/>
              <a:gd name="connsiteX4" fmla="*/ 1169 w 4724613"/>
              <a:gd name="connsiteY4" fmla="*/ 2702439 h 2795867"/>
              <a:gd name="connsiteX5" fmla="*/ 459942 w 4724613"/>
              <a:gd name="connsiteY5" fmla="*/ 93428 h 2795867"/>
              <a:gd name="connsiteX6" fmla="*/ 553370 w 4724613"/>
              <a:gd name="connsiteY6" fmla="*/ 0 h 2795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24613" h="2795867">
                <a:moveTo>
                  <a:pt x="553370" y="0"/>
                </a:moveTo>
                <a:lnTo>
                  <a:pt x="4724613" y="0"/>
                </a:lnTo>
                <a:lnTo>
                  <a:pt x="4724613" y="2795867"/>
                </a:lnTo>
                <a:lnTo>
                  <a:pt x="79258" y="2795867"/>
                </a:lnTo>
                <a:cubicBezTo>
                  <a:pt x="30452" y="2795867"/>
                  <a:pt x="-7198" y="2751245"/>
                  <a:pt x="1169" y="2702439"/>
                </a:cubicBezTo>
                <a:lnTo>
                  <a:pt x="459942" y="93428"/>
                </a:lnTo>
                <a:cubicBezTo>
                  <a:pt x="459942" y="41833"/>
                  <a:pt x="501775" y="0"/>
                  <a:pt x="553370" y="0"/>
                </a:cubicBezTo>
                <a:close/>
              </a:path>
            </a:pathLst>
          </a:custGeom>
        </p:spPr>
        <p:txBody>
          <a:bodyPr wrap="square">
            <a:noAutofit/>
          </a:bodyPr>
          <a:lstStyle>
            <a:lvl1pPr marL="285750" marR="0" indent="-285750" algn="l" defTabSz="1644650" rtl="0" eaLnBrk="0" fontAlgn="base" latinLnBrk="0" hangingPunct="0">
              <a:lnSpc>
                <a:spcPct val="130000"/>
              </a:lnSpc>
              <a:spcBef>
                <a:spcPct val="0"/>
              </a:spcBef>
              <a:spcAft>
                <a:spcPts val="1200"/>
              </a:spcAft>
              <a:buClr>
                <a:srgbClr val="004C99"/>
              </a:buClr>
              <a:buSzPct val="120000"/>
              <a:defRPr/>
            </a:lvl1pPr>
          </a:lstStyle>
          <a:p>
            <a:pPr marL="990600" marR="0" lvl="2" indent="-285750" algn="l" defTabSz="1644650" rtl="0" eaLnBrk="0" fontAlgn="base" latinLnBrk="0" hangingPunct="0">
              <a:lnSpc>
                <a:spcPct val="130000"/>
              </a:lnSpc>
              <a:spcBef>
                <a:spcPct val="0"/>
              </a:spcBef>
              <a:spcAft>
                <a:spcPts val="1200"/>
              </a:spcAft>
              <a:buClr>
                <a:srgbClr val="004C99"/>
              </a:buClr>
              <a:buSzPct val="120000"/>
              <a:defRPr/>
            </a:pPr>
            <a:r>
              <a:rPr lang="de-DE"/>
              <a:t>Please insert image</a:t>
            </a:r>
          </a:p>
        </p:txBody>
      </p:sp>
    </p:spTree>
    <p:extLst>
      <p:ext uri="{BB962C8B-B14F-4D97-AF65-F5344CB8AC3E}">
        <p14:creationId xmlns:p14="http://schemas.microsoft.com/office/powerpoint/2010/main" val="3603397520"/>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8" dur="1000" decel="10000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0-#ppt_w/2"/>
                                          </p:val>
                                        </p:tav>
                                        <p:tav tm="100000">
                                          <p:val>
                                            <p:strVal val="#ppt_x"/>
                                          </p:val>
                                        </p:tav>
                                      </p:tavLst>
                                    </p:anim>
                                    <p:anim calcmode="lin" valueType="num">
                                      <p:cBhvr additive="base">
                                        <p:cTn id="8" dur="1000" fill="hold"/>
                                        <p:tgtEl>
                                          <p:spTgt spid="2"/>
                                        </p:tgtEl>
                                        <p:attrNameLst>
                                          <p:attrName>ppt_y</p:attrName>
                                        </p:attrNameLst>
                                      </p:cBhvr>
                                      <p:tavLst>
                                        <p:tav tm="0">
                                          <p:val>
                                            <p:strVal val="#ppt_y"/>
                                          </p:val>
                                        </p:tav>
                                        <p:tav tm="100000">
                                          <p:val>
                                            <p:strVal val="#ppt_y"/>
                                          </p:val>
                                        </p:tav>
                                      </p:tavLst>
                                    </p:anim>
                                  </p:childTnLst>
                                </p:cTn>
                              </p:par>
                              <p:par>
                                <p:cTn id="9" presetID="2" presetClass="entr" presetSubtype="8" dur="1000" decel="100000" fill="hold" grpId="0" nodeType="withEffect">
                                  <p:stCondLst>
                                    <p:cond delay="25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1000" fill="hold"/>
                                        <p:tgtEl>
                                          <p:spTgt spid="5"/>
                                        </p:tgtEl>
                                        <p:attrNameLst>
                                          <p:attrName>ppt_x</p:attrName>
                                        </p:attrNameLst>
                                      </p:cBhvr>
                                      <p:tavLst>
                                        <p:tav tm="0">
                                          <p:val>
                                            <p:strVal val="0-#ppt_w/2"/>
                                          </p:val>
                                        </p:tav>
                                        <p:tav tm="100000">
                                          <p:val>
                                            <p:strVal val="#ppt_x"/>
                                          </p:val>
                                        </p:tav>
                                      </p:tavLst>
                                    </p:anim>
                                    <p:anim calcmode="lin" valueType="num">
                                      <p:cBhvr additive="base">
                                        <p:cTn id="12" dur="1000" fill="hold"/>
                                        <p:tgtEl>
                                          <p:spTgt spid="5"/>
                                        </p:tgtEl>
                                        <p:attrNameLst>
                                          <p:attrName>ppt_y</p:attrName>
                                        </p:attrNameLst>
                                      </p:cBhvr>
                                      <p:tavLst>
                                        <p:tav tm="0">
                                          <p:val>
                                            <p:strVal val="#ppt_y"/>
                                          </p:val>
                                        </p:tav>
                                        <p:tav tm="100000">
                                          <p:val>
                                            <p:strVal val="#ppt_y"/>
                                          </p:val>
                                        </p:tav>
                                      </p:tavLst>
                                    </p:anim>
                                  </p:childTnLst>
                                </p:cTn>
                              </p:par>
                              <p:par>
                                <p:cTn id="13" presetID="2" presetClass="entr" presetSubtype="2" dur="1000" decel="100000" fill="hold" grpId="0" nodeType="withEffect">
                                  <p:stCondLst>
                                    <p:cond delay="500"/>
                                  </p:stCondLst>
                                  <p:childTnLst>
                                    <p:set>
                                      <p:cBhvr>
                                        <p:cTn id="14" dur="1" fill="hold">
                                          <p:stCondLst>
                                            <p:cond delay="0"/>
                                          </p:stCondLst>
                                        </p:cTn>
                                        <p:tgtEl>
                                          <p:spTgt spid="20"/>
                                        </p:tgtEl>
                                        <p:attrNameLst>
                                          <p:attrName>style.visibility</p:attrName>
                                        </p:attrNameLst>
                                      </p:cBhvr>
                                      <p:to>
                                        <p:strVal val="visible"/>
                                      </p:to>
                                    </p:set>
                                    <p:anim calcmode="lin" valueType="num">
                                      <p:cBhvr additive="base">
                                        <p:cTn id="15" dur="1000" fill="hold"/>
                                        <p:tgtEl>
                                          <p:spTgt spid="20"/>
                                        </p:tgtEl>
                                        <p:attrNameLst>
                                          <p:attrName>ppt_x</p:attrName>
                                        </p:attrNameLst>
                                      </p:cBhvr>
                                      <p:tavLst>
                                        <p:tav tm="0">
                                          <p:val>
                                            <p:strVal val="1+#ppt_w/2"/>
                                          </p:val>
                                        </p:tav>
                                        <p:tav tm="100000">
                                          <p:val>
                                            <p:strVal val="#ppt_x"/>
                                          </p:val>
                                        </p:tav>
                                      </p:tavLst>
                                    </p:anim>
                                    <p:anim calcmode="lin" valueType="num">
                                      <p:cBhvr additive="base">
                                        <p:cTn id="16" dur="1000" fill="hold"/>
                                        <p:tgtEl>
                                          <p:spTgt spid="20"/>
                                        </p:tgtEl>
                                        <p:attrNameLst>
                                          <p:attrName>ppt_y</p:attrName>
                                        </p:attrNameLst>
                                      </p:cBhvr>
                                      <p:tavLst>
                                        <p:tav tm="0">
                                          <p:val>
                                            <p:strVal val="#ppt_y"/>
                                          </p:val>
                                        </p:tav>
                                        <p:tav tm="100000">
                                          <p:val>
                                            <p:strVal val="#ppt_y"/>
                                          </p:val>
                                        </p:tav>
                                      </p:tavLst>
                                    </p:anim>
                                  </p:childTnLst>
                                </p:cTn>
                              </p:par>
                              <p:par>
                                <p:cTn id="17" presetID="2" presetClass="entr" presetSubtype="2" dur="1000" decel="100000" fill="hold" grpId="0" nodeType="withEffect">
                                  <p:stCondLst>
                                    <p:cond delay="750"/>
                                  </p:stCondLst>
                                  <p:childTnLst>
                                    <p:set>
                                      <p:cBhvr>
                                        <p:cTn id="18" dur="1" fill="hold">
                                          <p:stCondLst>
                                            <p:cond delay="0"/>
                                          </p:stCondLst>
                                        </p:cTn>
                                        <p:tgtEl>
                                          <p:spTgt spid="19"/>
                                        </p:tgtEl>
                                        <p:attrNameLst>
                                          <p:attrName>style.visibility</p:attrName>
                                        </p:attrNameLst>
                                      </p:cBhvr>
                                      <p:to>
                                        <p:strVal val="visible"/>
                                      </p:to>
                                    </p:set>
                                    <p:anim calcmode="lin" valueType="num">
                                      <p:cBhvr additive="base">
                                        <p:cTn id="19" dur="1000" fill="hold"/>
                                        <p:tgtEl>
                                          <p:spTgt spid="19"/>
                                        </p:tgtEl>
                                        <p:attrNameLst>
                                          <p:attrName>ppt_x</p:attrName>
                                        </p:attrNameLst>
                                      </p:cBhvr>
                                      <p:tavLst>
                                        <p:tav tm="0">
                                          <p:val>
                                            <p:strVal val="1+#ppt_w/2"/>
                                          </p:val>
                                        </p:tav>
                                        <p:tav tm="100000">
                                          <p:val>
                                            <p:strVal val="#ppt_x"/>
                                          </p:val>
                                        </p:tav>
                                      </p:tavLst>
                                    </p:anim>
                                    <p:anim calcmode="lin" valueType="num">
                                      <p:cBhvr additive="base">
                                        <p:cTn id="20" dur="1000" fill="hold"/>
                                        <p:tgtEl>
                                          <p:spTgt spid="1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2" presetClass="entr" presetSubtype="8" decel="100000" fill="hold" nodeType="withEffect">
                  <p:stCondLst>
                    <p:cond delay="250"/>
                  </p:stCondLst>
                  <p:childTnLst>
                    <p:set>
                      <p:cBhvr>
                        <p:cTn dur="1" fill="hold">
                          <p:stCondLst>
                            <p:cond delay="0"/>
                          </p:stCondLst>
                        </p:cTn>
                        <p:tgtEl>
                          <p:spTgt spid="5"/>
                        </p:tgtEl>
                        <p:attrNameLst>
                          <p:attrName>style.visibility</p:attrName>
                        </p:attrNameLst>
                      </p:cBhvr>
                      <p:to>
                        <p:strVal val="visible"/>
                      </p:to>
                    </p:set>
                    <p:anim calcmode="lin" valueType="num">
                      <p:cBhvr additive="base">
                        <p:cTn dur="1000" fill="hold"/>
                        <p:tgtEl>
                          <p:spTgt spid="5"/>
                        </p:tgtEl>
                        <p:attrNameLst>
                          <p:attrName>ppt_x</p:attrName>
                        </p:attrNameLst>
                      </p:cBhvr>
                      <p:tavLst>
                        <p:tav tm="0">
                          <p:val>
                            <p:strVal val="0-#ppt_w/2"/>
                          </p:val>
                        </p:tav>
                        <p:tav tm="100000">
                          <p:val>
                            <p:strVal val="#ppt_x"/>
                          </p:val>
                        </p:tav>
                      </p:tavLst>
                    </p:anim>
                    <p:anim calcmode="lin" valueType="num">
                      <p:cBhvr additive="base">
                        <p:cTn dur="1000" fill="hold"/>
                        <p:tgtEl>
                          <p:spTgt spid="5"/>
                        </p:tgtEl>
                        <p:attrNameLst>
                          <p:attrName>ppt_y</p:attrName>
                        </p:attrNameLst>
                      </p:cBhvr>
                      <p:tavLst>
                        <p:tav tm="0">
                          <p:val>
                            <p:strVal val="#ppt_y"/>
                          </p:val>
                        </p:tav>
                        <p:tav tm="100000">
                          <p:val>
                            <p:strVal val="#ppt_y"/>
                          </p:val>
                        </p:tav>
                      </p:tavLst>
                    </p:anim>
                  </p:childTnLst>
                </p:cTn>
              </p:par>
            </p:tnLst>
          </p:tmpl>
        </p:tmplLst>
      </p:bldP>
      <p:bldP spid="19" grpId="0"/>
      <p:bldP spid="20" grpId="0"/>
    </p:bldLst>
  </p:timing>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HEADING/TEXT/IMAGE 1 below">
    <p:spTree>
      <p:nvGrpSpPr>
        <p:cNvPr id="1" name=""/>
        <p:cNvGrpSpPr/>
        <p:nvPr/>
      </p:nvGrpSpPr>
      <p:grpSpPr>
        <a:xfrm>
          <a:off x="0" y="0"/>
          <a:ext cx="0" cy="0"/>
          <a:chOff x="0" y="0"/>
          <a:chExt cx="0" cy="0"/>
        </a:xfrm>
      </p:grpSpPr>
      <p:sp>
        <p:nvSpPr>
          <p:cNvPr id="12" name="Freihandform: Form 11">
            <a:extLst>
              <a:ext uri="{FF2B5EF4-FFF2-40B4-BE49-F238E27FC236}">
                <a16:creationId xmlns:a16="http://schemas.microsoft.com/office/drawing/2014/main" id="{BC6B8E40-6DD9-454D-B6D5-4533D14E1817}"/>
              </a:ext>
            </a:extLst>
          </p:cNvPr>
          <p:cNvSpPr/>
          <p:nvPr userDrawn="1"/>
        </p:nvSpPr>
        <p:spPr>
          <a:xfrm>
            <a:off x="2362200" y="1975611"/>
            <a:ext cx="9829800" cy="4882390"/>
          </a:xfrm>
          <a:custGeom>
            <a:avLst/>
            <a:gdLst>
              <a:gd name="connsiteX0" fmla="*/ 910059 w 9829800"/>
              <a:gd name="connsiteY0" fmla="*/ 0 h 4882390"/>
              <a:gd name="connsiteX1" fmla="*/ 3015085 w 9829800"/>
              <a:gd name="connsiteY1" fmla="*/ 0 h 4882390"/>
              <a:gd name="connsiteX2" fmla="*/ 7981950 w 9829800"/>
              <a:gd name="connsiteY2" fmla="*/ 0 h 4882390"/>
              <a:gd name="connsiteX3" fmla="*/ 9829800 w 9829800"/>
              <a:gd name="connsiteY3" fmla="*/ 0 h 4882390"/>
              <a:gd name="connsiteX4" fmla="*/ 9829800 w 9829800"/>
              <a:gd name="connsiteY4" fmla="*/ 4882390 h 4882390"/>
              <a:gd name="connsiteX5" fmla="*/ 7981950 w 9829800"/>
              <a:gd name="connsiteY5" fmla="*/ 4882390 h 4882390"/>
              <a:gd name="connsiteX6" fmla="*/ 2183098 w 9829800"/>
              <a:gd name="connsiteY6" fmla="*/ 4882390 h 4882390"/>
              <a:gd name="connsiteX7" fmla="*/ 78072 w 9829800"/>
              <a:gd name="connsiteY7" fmla="*/ 4882390 h 4882390"/>
              <a:gd name="connsiteX8" fmla="*/ 0 w 9829800"/>
              <a:gd name="connsiteY8" fmla="*/ 4804318 h 4882390"/>
              <a:gd name="connsiteX9" fmla="*/ 831987 w 9829800"/>
              <a:gd name="connsiteY9" fmla="*/ 78072 h 4882390"/>
              <a:gd name="connsiteX10" fmla="*/ 910059 w 9829800"/>
              <a:gd name="connsiteY10" fmla="*/ 0 h 4882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829800" h="4882390">
                <a:moveTo>
                  <a:pt x="910059" y="0"/>
                </a:moveTo>
                <a:lnTo>
                  <a:pt x="3015085" y="0"/>
                </a:lnTo>
                <a:lnTo>
                  <a:pt x="7981950" y="0"/>
                </a:lnTo>
                <a:lnTo>
                  <a:pt x="9829800" y="0"/>
                </a:lnTo>
                <a:lnTo>
                  <a:pt x="9829800" y="4882390"/>
                </a:lnTo>
                <a:lnTo>
                  <a:pt x="7981950" y="4882390"/>
                </a:lnTo>
                <a:lnTo>
                  <a:pt x="2183098" y="4882390"/>
                </a:lnTo>
                <a:lnTo>
                  <a:pt x="78072" y="4882390"/>
                </a:lnTo>
                <a:cubicBezTo>
                  <a:pt x="34957" y="4882390"/>
                  <a:pt x="0" y="4847433"/>
                  <a:pt x="0" y="4804318"/>
                </a:cubicBezTo>
                <a:lnTo>
                  <a:pt x="831987" y="78072"/>
                </a:lnTo>
                <a:cubicBezTo>
                  <a:pt x="831987" y="34957"/>
                  <a:pt x="866945" y="0"/>
                  <a:pt x="910059" y="0"/>
                </a:cubicBezTo>
                <a:close/>
              </a:path>
            </a:pathLst>
          </a:custGeom>
          <a:gradFill>
            <a:gsLst>
              <a:gs pos="0">
                <a:schemeClr val="bg1"/>
              </a:gs>
              <a:gs pos="95000">
                <a:srgbClr val="ECF0F4"/>
              </a:gs>
            </a:gsLst>
            <a:lin ang="5400000" scaled="1"/>
          </a:gradFill>
          <a:ln w="11652" cap="flat">
            <a:noFill/>
            <a:prstDash val="solid"/>
            <a:miter/>
          </a:ln>
        </p:spPr>
        <p:txBody>
          <a:bodyPr rtlCol="0" anchor="ctr"/>
          <a:lstStyle/>
          <a:p>
            <a:endParaRPr lang="de-DE"/>
          </a:p>
        </p:txBody>
      </p:sp>
      <p:sp>
        <p:nvSpPr>
          <p:cNvPr id="2" name="Titel 1">
            <a:extLst>
              <a:ext uri="{FF2B5EF4-FFF2-40B4-BE49-F238E27FC236}">
                <a16:creationId xmlns:a16="http://schemas.microsoft.com/office/drawing/2014/main" id="{0526DC72-FA1D-422D-8055-3374742D122B}"/>
              </a:ext>
            </a:extLst>
          </p:cNvPr>
          <p:cNvSpPr>
            <a:spLocks noGrp="1"/>
          </p:cNvSpPr>
          <p:nvPr>
            <p:ph type="title"/>
          </p:nvPr>
        </p:nvSpPr>
        <p:spPr/>
        <p:txBody>
          <a:bodyPr/>
          <a:lstStyle>
            <a:lvl1pPr>
              <a:lnSpc>
                <a:spcPct val="100000"/>
              </a:lnSpc>
              <a:defRPr/>
            </a:lvl1pPr>
          </a:lstStyle>
          <a:p>
            <a:r>
              <a:rPr lang="de-DE"/>
              <a:t>Mastertitelformat bearbeiten</a:t>
            </a:r>
          </a:p>
        </p:txBody>
      </p:sp>
      <p:sp>
        <p:nvSpPr>
          <p:cNvPr id="3" name="Foliennummernplatzhalter 2">
            <a:extLst>
              <a:ext uri="{FF2B5EF4-FFF2-40B4-BE49-F238E27FC236}">
                <a16:creationId xmlns:a16="http://schemas.microsoft.com/office/drawing/2014/main" id="{5B327254-466C-4606-8589-BCC72CBDADDF}"/>
              </a:ext>
            </a:extLst>
          </p:cNvPr>
          <p:cNvSpPr>
            <a:spLocks noGrp="1"/>
          </p:cNvSpPr>
          <p:nvPr>
            <p:ph type="sldNum" sz="quarter" idx="10"/>
          </p:nvPr>
        </p:nvSpPr>
        <p:spPr/>
        <p:txBody>
          <a:bodyPr/>
          <a:lstStyle/>
          <a:p>
            <a:fld id="{A04BEB4F-8CE1-4F18-986F-6CE0A0BE9470}" type="slidenum">
              <a:rPr lang="de-DE" smtClean="0"/>
              <a:t>‹#›</a:t>
            </a:fld>
            <a:endParaRPr lang="de-DE"/>
          </a:p>
        </p:txBody>
      </p:sp>
      <p:sp>
        <p:nvSpPr>
          <p:cNvPr id="5" name="Textplatzhalter 9">
            <a:extLst>
              <a:ext uri="{FF2B5EF4-FFF2-40B4-BE49-F238E27FC236}">
                <a16:creationId xmlns:a16="http://schemas.microsoft.com/office/drawing/2014/main" id="{6024922C-391C-46EA-9F1C-F5344AAB64C8}"/>
              </a:ext>
            </a:extLst>
          </p:cNvPr>
          <p:cNvSpPr>
            <a:spLocks noGrp="1"/>
          </p:cNvSpPr>
          <p:nvPr>
            <p:ph type="body" sz="quarter" idx="11"/>
          </p:nvPr>
        </p:nvSpPr>
        <p:spPr>
          <a:xfrm>
            <a:off x="815951" y="1979612"/>
            <a:ext cx="10560096" cy="1440000"/>
          </a:xfrm>
          <a:prstGeom prst="rect">
            <a:avLst/>
          </a:prstGeom>
        </p:spPr>
        <p:txBody>
          <a:bodyPr lIns="0" tIns="0" rIns="0" bIns="0">
            <a:normAutofit/>
          </a:bodyPr>
          <a:lstStyle>
            <a:lvl1pPr>
              <a:defRPr sz="1800"/>
            </a:lvl1pPr>
            <a:lvl2pPr>
              <a:defRPr sz="1800"/>
            </a:lvl2pPr>
            <a:lvl3pPr>
              <a:defRPr sz="1800"/>
            </a:lvl3pPr>
            <a:lvl4pPr>
              <a:defRPr sz="1800"/>
            </a:lvl4pPr>
            <a:lvl5pPr>
              <a:defRPr sz="18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5" name="Bildplatzhalter 14">
            <a:extLst>
              <a:ext uri="{FF2B5EF4-FFF2-40B4-BE49-F238E27FC236}">
                <a16:creationId xmlns:a16="http://schemas.microsoft.com/office/drawing/2014/main" id="{35D9FA2A-499B-4596-BC4B-A7387A801021}"/>
              </a:ext>
            </a:extLst>
          </p:cNvPr>
          <p:cNvSpPr>
            <a:spLocks noGrp="1"/>
          </p:cNvSpPr>
          <p:nvPr>
            <p:ph type="pic" sz="quarter" idx="12" hasCustomPrompt="1"/>
          </p:nvPr>
        </p:nvSpPr>
        <p:spPr>
          <a:xfrm>
            <a:off x="-2" y="3779612"/>
            <a:ext cx="9815514" cy="3078387"/>
          </a:xfrm>
          <a:custGeom>
            <a:avLst/>
            <a:gdLst>
              <a:gd name="connsiteX0" fmla="*/ 0 w 9815514"/>
              <a:gd name="connsiteY0" fmla="*/ 0 h 3078387"/>
              <a:gd name="connsiteX1" fmla="*/ 9706713 w 9815514"/>
              <a:gd name="connsiteY1" fmla="*/ 0 h 3078387"/>
              <a:gd name="connsiteX2" fmla="*/ 9815514 w 9815514"/>
              <a:gd name="connsiteY2" fmla="*/ 113675 h 3078387"/>
              <a:gd name="connsiteX3" fmla="*/ 9315995 w 9815514"/>
              <a:gd name="connsiteY3" fmla="*/ 3078387 h 3078387"/>
              <a:gd name="connsiteX4" fmla="*/ 0 w 9815514"/>
              <a:gd name="connsiteY4" fmla="*/ 3078387 h 3078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15514" h="3078387">
                <a:moveTo>
                  <a:pt x="0" y="0"/>
                </a:moveTo>
                <a:lnTo>
                  <a:pt x="9706713" y="0"/>
                </a:lnTo>
                <a:cubicBezTo>
                  <a:pt x="9766797" y="0"/>
                  <a:pt x="9815514" y="50899"/>
                  <a:pt x="9815514" y="113675"/>
                </a:cubicBezTo>
                <a:lnTo>
                  <a:pt x="9315995" y="3078387"/>
                </a:lnTo>
                <a:lnTo>
                  <a:pt x="0" y="3078387"/>
                </a:lnTo>
                <a:close/>
              </a:path>
            </a:pathLst>
          </a:custGeom>
          <a:noFill/>
          <a:effectLst>
            <a:outerShdw blurRad="190500" dist="127000" dir="2700000" algn="tl" rotWithShape="0">
              <a:prstClr val="black">
                <a:alpha val="10000"/>
              </a:prstClr>
            </a:outerShdw>
          </a:effectLst>
        </p:spPr>
        <p:txBody>
          <a:bodyPr wrap="square">
            <a:noAutofit/>
          </a:bodyPr>
          <a:lstStyle>
            <a:lvl1pPr marL="0" marR="0" indent="0" algn="l" defTabSz="1644650" rtl="0" eaLnBrk="0" fontAlgn="base" latinLnBrk="0" hangingPunct="0">
              <a:lnSpc>
                <a:spcPct val="130000"/>
              </a:lnSpc>
              <a:spcBef>
                <a:spcPct val="0"/>
              </a:spcBef>
              <a:spcAft>
                <a:spcPts val="1200"/>
              </a:spcAft>
              <a:buClr>
                <a:srgbClr val="004C99"/>
              </a:buClr>
              <a:buSzPct val="120000"/>
              <a:buFontTx/>
              <a:buNone/>
              <a:defRPr/>
            </a:lvl1pPr>
          </a:lstStyle>
          <a:p>
            <a:pPr marL="266700" marR="0" lvl="0" indent="-266700" algn="l" defTabSz="1644650" rtl="0" eaLnBrk="0" fontAlgn="base" latinLnBrk="0" hangingPunct="0">
              <a:lnSpc>
                <a:spcPct val="130000"/>
              </a:lnSpc>
              <a:spcBef>
                <a:spcPct val="0"/>
              </a:spcBef>
              <a:spcAft>
                <a:spcPts val="1200"/>
              </a:spcAft>
              <a:buClr>
                <a:srgbClr val="004C99"/>
              </a:buClr>
              <a:buSzPct val="120000"/>
              <a:buFontTx/>
              <a:buBlip>
                <a:blip r:embed="rId2"/>
              </a:buBlip>
              <a:defRPr/>
            </a:pPr>
            <a:r>
              <a:rPr lang="de-DE"/>
              <a:t>Please insert image</a:t>
            </a:r>
          </a:p>
          <a:p>
            <a:endParaRPr lang="de-DE"/>
          </a:p>
        </p:txBody>
      </p:sp>
    </p:spTree>
    <p:extLst>
      <p:ext uri="{BB962C8B-B14F-4D97-AF65-F5344CB8AC3E}">
        <p14:creationId xmlns:p14="http://schemas.microsoft.com/office/powerpoint/2010/main" val="908663677"/>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8" dur="1000" decel="10000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0-#ppt_w/2"/>
                                          </p:val>
                                        </p:tav>
                                        <p:tav tm="100000">
                                          <p:val>
                                            <p:strVal val="#ppt_x"/>
                                          </p:val>
                                        </p:tav>
                                      </p:tavLst>
                                    </p:anim>
                                    <p:anim calcmode="lin" valueType="num">
                                      <p:cBhvr additive="base">
                                        <p:cTn id="8" dur="1000" fill="hold"/>
                                        <p:tgtEl>
                                          <p:spTgt spid="2"/>
                                        </p:tgtEl>
                                        <p:attrNameLst>
                                          <p:attrName>ppt_y</p:attrName>
                                        </p:attrNameLst>
                                      </p:cBhvr>
                                      <p:tavLst>
                                        <p:tav tm="0">
                                          <p:val>
                                            <p:strVal val="#ppt_y"/>
                                          </p:val>
                                        </p:tav>
                                        <p:tav tm="100000">
                                          <p:val>
                                            <p:strVal val="#ppt_y"/>
                                          </p:val>
                                        </p:tav>
                                      </p:tavLst>
                                    </p:anim>
                                  </p:childTnLst>
                                </p:cTn>
                              </p:par>
                              <p:par>
                                <p:cTn id="9" presetID="2" presetClass="entr" presetSubtype="8" dur="1000" decel="100000" fill="hold" grpId="0" nodeType="withEffect">
                                  <p:stCondLst>
                                    <p:cond delay="25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1000" fill="hold"/>
                                        <p:tgtEl>
                                          <p:spTgt spid="5"/>
                                        </p:tgtEl>
                                        <p:attrNameLst>
                                          <p:attrName>ppt_x</p:attrName>
                                        </p:attrNameLst>
                                      </p:cBhvr>
                                      <p:tavLst>
                                        <p:tav tm="0">
                                          <p:val>
                                            <p:strVal val="0-#ppt_w/2"/>
                                          </p:val>
                                        </p:tav>
                                        <p:tav tm="100000">
                                          <p:val>
                                            <p:strVal val="#ppt_x"/>
                                          </p:val>
                                        </p:tav>
                                      </p:tavLst>
                                    </p:anim>
                                    <p:anim calcmode="lin" valueType="num">
                                      <p:cBhvr additive="base">
                                        <p:cTn id="12" dur="1000" fill="hold"/>
                                        <p:tgtEl>
                                          <p:spTgt spid="5"/>
                                        </p:tgtEl>
                                        <p:attrNameLst>
                                          <p:attrName>ppt_y</p:attrName>
                                        </p:attrNameLst>
                                      </p:cBhvr>
                                      <p:tavLst>
                                        <p:tav tm="0">
                                          <p:val>
                                            <p:strVal val="#ppt_y"/>
                                          </p:val>
                                        </p:tav>
                                        <p:tav tm="100000">
                                          <p:val>
                                            <p:strVal val="#ppt_y"/>
                                          </p:val>
                                        </p:tav>
                                      </p:tavLst>
                                    </p:anim>
                                  </p:childTnLst>
                                </p:cTn>
                              </p:par>
                              <p:par>
                                <p:cTn id="13" presetID="2" presetClass="entr" presetSubtype="8" dur="1000" decel="100000" fill="hold" grpId="0" nodeType="withEffect">
                                  <p:stCondLst>
                                    <p:cond delay="500"/>
                                  </p:stCondLst>
                                  <p:childTnLst>
                                    <p:set>
                                      <p:cBhvr>
                                        <p:cTn id="14" dur="1" fill="hold">
                                          <p:stCondLst>
                                            <p:cond delay="0"/>
                                          </p:stCondLst>
                                        </p:cTn>
                                        <p:tgtEl>
                                          <p:spTgt spid="15"/>
                                        </p:tgtEl>
                                        <p:attrNameLst>
                                          <p:attrName>style.visibility</p:attrName>
                                        </p:attrNameLst>
                                      </p:cBhvr>
                                      <p:to>
                                        <p:strVal val="visible"/>
                                      </p:to>
                                    </p:set>
                                    <p:anim calcmode="lin" valueType="num">
                                      <p:cBhvr additive="base">
                                        <p:cTn id="15" dur="1000" fill="hold"/>
                                        <p:tgtEl>
                                          <p:spTgt spid="15"/>
                                        </p:tgtEl>
                                        <p:attrNameLst>
                                          <p:attrName>ppt_x</p:attrName>
                                        </p:attrNameLst>
                                      </p:cBhvr>
                                      <p:tavLst>
                                        <p:tav tm="0">
                                          <p:val>
                                            <p:strVal val="0-#ppt_w/2"/>
                                          </p:val>
                                        </p:tav>
                                        <p:tav tm="100000">
                                          <p:val>
                                            <p:strVal val="#ppt_x"/>
                                          </p:val>
                                        </p:tav>
                                      </p:tavLst>
                                    </p:anim>
                                    <p:anim calcmode="lin" valueType="num">
                                      <p:cBhvr additive="base">
                                        <p:cTn id="16" dur="1000" fill="hold"/>
                                        <p:tgtEl>
                                          <p:spTgt spid="1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2" presetClass="entr" presetSubtype="8" decel="100000" fill="hold" nodeType="withEffect">
                  <p:stCondLst>
                    <p:cond delay="250"/>
                  </p:stCondLst>
                  <p:childTnLst>
                    <p:set>
                      <p:cBhvr>
                        <p:cTn dur="1" fill="hold">
                          <p:stCondLst>
                            <p:cond delay="0"/>
                          </p:stCondLst>
                        </p:cTn>
                        <p:tgtEl>
                          <p:spTgt spid="5"/>
                        </p:tgtEl>
                        <p:attrNameLst>
                          <p:attrName>style.visibility</p:attrName>
                        </p:attrNameLst>
                      </p:cBhvr>
                      <p:to>
                        <p:strVal val="visible"/>
                      </p:to>
                    </p:set>
                    <p:anim calcmode="lin" valueType="num">
                      <p:cBhvr additive="base">
                        <p:cTn dur="1000" fill="hold"/>
                        <p:tgtEl>
                          <p:spTgt spid="5"/>
                        </p:tgtEl>
                        <p:attrNameLst>
                          <p:attrName>ppt_x</p:attrName>
                        </p:attrNameLst>
                      </p:cBhvr>
                      <p:tavLst>
                        <p:tav tm="0">
                          <p:val>
                            <p:strVal val="0-#ppt_w/2"/>
                          </p:val>
                        </p:tav>
                        <p:tav tm="100000">
                          <p:val>
                            <p:strVal val="#ppt_x"/>
                          </p:val>
                        </p:tav>
                      </p:tavLst>
                    </p:anim>
                    <p:anim calcmode="lin" valueType="num">
                      <p:cBhvr additive="base">
                        <p:cTn dur="1000" fill="hold"/>
                        <p:tgtEl>
                          <p:spTgt spid="5"/>
                        </p:tgtEl>
                        <p:attrNameLst>
                          <p:attrName>ppt_y</p:attrName>
                        </p:attrNameLst>
                      </p:cBhvr>
                      <p:tavLst>
                        <p:tav tm="0">
                          <p:val>
                            <p:strVal val="#ppt_y"/>
                          </p:val>
                        </p:tav>
                        <p:tav tm="100000">
                          <p:val>
                            <p:strVal val="#ppt_y"/>
                          </p:val>
                        </p:tav>
                      </p:tavLst>
                    </p:anim>
                  </p:childTnLst>
                </p:cTn>
              </p:par>
            </p:tnLst>
          </p:tmpl>
        </p:tmplLst>
      </p:bldP>
      <p:bldP spid="15" grpId="0"/>
    </p:bldLst>
  </p:timing>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CONTENT ">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526DC72-FA1D-422D-8055-3374742D122B}"/>
              </a:ext>
            </a:extLst>
          </p:cNvPr>
          <p:cNvSpPr>
            <a:spLocks noGrp="1"/>
          </p:cNvSpPr>
          <p:nvPr>
            <p:ph type="title"/>
          </p:nvPr>
        </p:nvSpPr>
        <p:spPr/>
        <p:txBody>
          <a:bodyPr/>
          <a:lstStyle>
            <a:lvl1pPr>
              <a:lnSpc>
                <a:spcPct val="100000"/>
              </a:lnSpc>
              <a:defRPr/>
            </a:lvl1pPr>
          </a:lstStyle>
          <a:p>
            <a:r>
              <a:rPr lang="de-DE"/>
              <a:t>Mastertitelformat bearbeiten</a:t>
            </a:r>
          </a:p>
        </p:txBody>
      </p:sp>
      <p:sp>
        <p:nvSpPr>
          <p:cNvPr id="3" name="Foliennummernplatzhalter 2">
            <a:extLst>
              <a:ext uri="{FF2B5EF4-FFF2-40B4-BE49-F238E27FC236}">
                <a16:creationId xmlns:a16="http://schemas.microsoft.com/office/drawing/2014/main" id="{5B327254-466C-4606-8589-BCC72CBDADDF}"/>
              </a:ext>
            </a:extLst>
          </p:cNvPr>
          <p:cNvSpPr>
            <a:spLocks noGrp="1"/>
          </p:cNvSpPr>
          <p:nvPr>
            <p:ph type="sldNum" sz="quarter" idx="10"/>
          </p:nvPr>
        </p:nvSpPr>
        <p:spPr/>
        <p:txBody>
          <a:bodyPr/>
          <a:lstStyle/>
          <a:p>
            <a:fld id="{A04BEB4F-8CE1-4F18-986F-6CE0A0BE9470}" type="slidenum">
              <a:rPr lang="de-DE" smtClean="0"/>
              <a:t>‹#›</a:t>
            </a:fld>
            <a:endParaRPr lang="de-DE"/>
          </a:p>
        </p:txBody>
      </p:sp>
      <p:sp>
        <p:nvSpPr>
          <p:cNvPr id="6" name="Inhaltsplatzhalter 5">
            <a:extLst>
              <a:ext uri="{FF2B5EF4-FFF2-40B4-BE49-F238E27FC236}">
                <a16:creationId xmlns:a16="http://schemas.microsoft.com/office/drawing/2014/main" id="{2D621650-8C9C-4343-8E11-492A5CE05422}"/>
              </a:ext>
            </a:extLst>
          </p:cNvPr>
          <p:cNvSpPr>
            <a:spLocks noGrp="1"/>
          </p:cNvSpPr>
          <p:nvPr>
            <p:ph sz="quarter" idx="12"/>
          </p:nvPr>
        </p:nvSpPr>
        <p:spPr>
          <a:xfrm>
            <a:off x="815951" y="1975612"/>
            <a:ext cx="10560096" cy="434664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839168184"/>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8" dur="1000" decel="10000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0-#ppt_w/2"/>
                                          </p:val>
                                        </p:tav>
                                        <p:tav tm="100000">
                                          <p:val>
                                            <p:strVal val="#ppt_x"/>
                                          </p:val>
                                        </p:tav>
                                      </p:tavLst>
                                    </p:anim>
                                    <p:anim calcmode="lin" valueType="num">
                                      <p:cBhvr additive="base">
                                        <p:cTn id="8" dur="1000" fill="hold"/>
                                        <p:tgtEl>
                                          <p:spTgt spid="2"/>
                                        </p:tgtEl>
                                        <p:attrNameLst>
                                          <p:attrName>ppt_y</p:attrName>
                                        </p:attrNameLst>
                                      </p:cBhvr>
                                      <p:tavLst>
                                        <p:tav tm="0">
                                          <p:val>
                                            <p:strVal val="#ppt_y"/>
                                          </p:val>
                                        </p:tav>
                                        <p:tav tm="100000">
                                          <p:val>
                                            <p:strVal val="#ppt_y"/>
                                          </p:val>
                                        </p:tav>
                                      </p:tavLst>
                                    </p:anim>
                                  </p:childTnLst>
                                </p:cTn>
                              </p:par>
                              <p:par>
                                <p:cTn id="9" presetID="2" presetClass="entr" presetSubtype="8" dur="1000" decel="100000" fill="hold" grpId="0" nodeType="withEffect">
                                  <p:stCondLst>
                                    <p:cond delay="250"/>
                                  </p:stCondLst>
                                  <p:childTnLst>
                                    <p:set>
                                      <p:cBhvr>
                                        <p:cTn id="10" dur="1" fill="hold">
                                          <p:stCondLst>
                                            <p:cond delay="0"/>
                                          </p:stCondLst>
                                        </p:cTn>
                                        <p:tgtEl>
                                          <p:spTgt spid="6"/>
                                        </p:tgtEl>
                                        <p:attrNameLst>
                                          <p:attrName>style.visibility</p:attrName>
                                        </p:attrNameLst>
                                      </p:cBhvr>
                                      <p:to>
                                        <p:strVal val="visible"/>
                                      </p:to>
                                    </p:set>
                                    <p:anim calcmode="lin" valueType="num">
                                      <p:cBhvr additive="base">
                                        <p:cTn id="11" dur="1000" fill="hold"/>
                                        <p:tgtEl>
                                          <p:spTgt spid="6"/>
                                        </p:tgtEl>
                                        <p:attrNameLst>
                                          <p:attrName>ppt_x</p:attrName>
                                        </p:attrNameLst>
                                      </p:cBhvr>
                                      <p:tavLst>
                                        <p:tav tm="0">
                                          <p:val>
                                            <p:strVal val="0-#ppt_w/2"/>
                                          </p:val>
                                        </p:tav>
                                        <p:tav tm="100000">
                                          <p:val>
                                            <p:strVal val="#ppt_x"/>
                                          </p:val>
                                        </p:tav>
                                      </p:tavLst>
                                    </p:anim>
                                    <p:anim calcmode="lin" valueType="num">
                                      <p:cBhvr additive="base">
                                        <p:cTn id="12" dur="10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6" grpId="0">
        <p:tmplLst>
          <p:tmpl>
            <p:tnLst>
              <p:par>
                <p:cTn presetID="2" presetClass="entr" presetSubtype="8" decel="100000" fill="hold" nodeType="withEffect">
                  <p:stCondLst>
                    <p:cond delay="250"/>
                  </p:stCondLst>
                  <p:childTnLst>
                    <p:set>
                      <p:cBhvr>
                        <p:cTn dur="1" fill="hold">
                          <p:stCondLst>
                            <p:cond delay="0"/>
                          </p:stCondLst>
                        </p:cTn>
                        <p:tgtEl>
                          <p:spTgt spid="6"/>
                        </p:tgtEl>
                        <p:attrNameLst>
                          <p:attrName>style.visibility</p:attrName>
                        </p:attrNameLst>
                      </p:cBhvr>
                      <p:to>
                        <p:strVal val="visible"/>
                      </p:to>
                    </p:set>
                    <p:anim calcmode="lin" valueType="num">
                      <p:cBhvr additive="base">
                        <p:cTn dur="1000" fill="hold"/>
                        <p:tgtEl>
                          <p:spTgt spid="6"/>
                        </p:tgtEl>
                        <p:attrNameLst>
                          <p:attrName>ppt_x</p:attrName>
                        </p:attrNameLst>
                      </p:cBhvr>
                      <p:tavLst>
                        <p:tav tm="0">
                          <p:val>
                            <p:strVal val="0-#ppt_w/2"/>
                          </p:val>
                        </p:tav>
                        <p:tav tm="100000">
                          <p:val>
                            <p:strVal val="#ppt_x"/>
                          </p:val>
                        </p:tav>
                      </p:tavLst>
                    </p:anim>
                    <p:anim calcmode="lin" valueType="num">
                      <p:cBhvr additive="base">
                        <p:cTn dur="1000" fill="hold"/>
                        <p:tgtEl>
                          <p:spTgt spid="6"/>
                        </p:tgtEl>
                        <p:attrNameLst>
                          <p:attrName>ppt_y</p:attrName>
                        </p:attrNameLst>
                      </p:cBhvr>
                      <p:tavLst>
                        <p:tav tm="0">
                          <p:val>
                            <p:strVal val="#ppt_y"/>
                          </p:val>
                        </p:tav>
                        <p:tav tm="100000">
                          <p:val>
                            <p:strVal val="#ppt_y"/>
                          </p:val>
                        </p:tav>
                      </p:tavLst>
                    </p:anim>
                  </p:childTnLst>
                </p:cTn>
              </p:par>
            </p:tnLst>
          </p:tmpl>
        </p:tmplLst>
      </p:bldP>
    </p:bldLst>
  </p:timing>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267" name="Freihandform: Form 266">
            <a:extLst>
              <a:ext uri="{FF2B5EF4-FFF2-40B4-BE49-F238E27FC236}">
                <a16:creationId xmlns:a16="http://schemas.microsoft.com/office/drawing/2014/main" id="{919B2CD8-82FF-4BB7-9DCC-E8D32E59F274}"/>
              </a:ext>
            </a:extLst>
          </p:cNvPr>
          <p:cNvSpPr/>
          <p:nvPr userDrawn="1"/>
        </p:nvSpPr>
        <p:spPr>
          <a:xfrm>
            <a:off x="11841261" y="4050916"/>
            <a:ext cx="347243" cy="376374"/>
          </a:xfrm>
          <a:custGeom>
            <a:avLst/>
            <a:gdLst>
              <a:gd name="connsiteX0" fmla="*/ 158473 w 347243"/>
              <a:gd name="connsiteY0" fmla="*/ 376375 h 376374"/>
              <a:gd name="connsiteX1" fmla="*/ 0 w 347243"/>
              <a:gd name="connsiteY1" fmla="*/ 376375 h 376374"/>
              <a:gd name="connsiteX2" fmla="*/ 185274 w 347243"/>
              <a:gd name="connsiteY2" fmla="*/ 189935 h 376374"/>
              <a:gd name="connsiteX3" fmla="*/ 0 w 347243"/>
              <a:gd name="connsiteY3" fmla="*/ 0 h 376374"/>
              <a:gd name="connsiteX4" fmla="*/ 161969 w 347243"/>
              <a:gd name="connsiteY4" fmla="*/ 0 h 376374"/>
              <a:gd name="connsiteX5" fmla="*/ 347244 w 347243"/>
              <a:gd name="connsiteY5" fmla="*/ 185274 h 376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7243" h="376374">
                <a:moveTo>
                  <a:pt x="158473" y="376375"/>
                </a:moveTo>
                <a:lnTo>
                  <a:pt x="0" y="376375"/>
                </a:lnTo>
                <a:lnTo>
                  <a:pt x="185274" y="189935"/>
                </a:lnTo>
                <a:lnTo>
                  <a:pt x="0" y="0"/>
                </a:lnTo>
                <a:lnTo>
                  <a:pt x="161969" y="0"/>
                </a:lnTo>
                <a:lnTo>
                  <a:pt x="347244" y="185274"/>
                </a:lnTo>
                <a:close/>
              </a:path>
            </a:pathLst>
          </a:custGeom>
          <a:solidFill>
            <a:srgbClr val="EEF2F5"/>
          </a:solidFill>
          <a:ln w="11643" cap="flat">
            <a:noFill/>
            <a:prstDash val="solid"/>
            <a:miter/>
          </a:ln>
        </p:spPr>
        <p:txBody>
          <a:bodyPr rtlCol="0" anchor="ctr"/>
          <a:lstStyle/>
          <a:p>
            <a:endParaRPr lang="de-DE"/>
          </a:p>
        </p:txBody>
      </p:sp>
      <p:sp>
        <p:nvSpPr>
          <p:cNvPr id="268" name="Freihandform: Form 267">
            <a:extLst>
              <a:ext uri="{FF2B5EF4-FFF2-40B4-BE49-F238E27FC236}">
                <a16:creationId xmlns:a16="http://schemas.microsoft.com/office/drawing/2014/main" id="{98A7D4AE-9DAA-4684-913D-90B430C810F7}"/>
              </a:ext>
            </a:extLst>
          </p:cNvPr>
          <p:cNvSpPr/>
          <p:nvPr userDrawn="1"/>
        </p:nvSpPr>
        <p:spPr>
          <a:xfrm>
            <a:off x="11841261" y="4405152"/>
            <a:ext cx="347243" cy="377540"/>
          </a:xfrm>
          <a:custGeom>
            <a:avLst/>
            <a:gdLst>
              <a:gd name="connsiteX0" fmla="*/ 158473 w 347243"/>
              <a:gd name="connsiteY0" fmla="*/ 377540 h 377540"/>
              <a:gd name="connsiteX1" fmla="*/ 0 w 347243"/>
              <a:gd name="connsiteY1" fmla="*/ 377540 h 377540"/>
              <a:gd name="connsiteX2" fmla="*/ 185274 w 347243"/>
              <a:gd name="connsiteY2" fmla="*/ 189935 h 377540"/>
              <a:gd name="connsiteX3" fmla="*/ 0 w 347243"/>
              <a:gd name="connsiteY3" fmla="*/ 0 h 377540"/>
              <a:gd name="connsiteX4" fmla="*/ 161969 w 347243"/>
              <a:gd name="connsiteY4" fmla="*/ 0 h 377540"/>
              <a:gd name="connsiteX5" fmla="*/ 347244 w 347243"/>
              <a:gd name="connsiteY5" fmla="*/ 185274 h 377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7243" h="377540">
                <a:moveTo>
                  <a:pt x="158473" y="377540"/>
                </a:moveTo>
                <a:lnTo>
                  <a:pt x="0" y="377540"/>
                </a:lnTo>
                <a:lnTo>
                  <a:pt x="185274" y="189935"/>
                </a:lnTo>
                <a:lnTo>
                  <a:pt x="0" y="0"/>
                </a:lnTo>
                <a:lnTo>
                  <a:pt x="161969" y="0"/>
                </a:lnTo>
                <a:lnTo>
                  <a:pt x="347244" y="185274"/>
                </a:lnTo>
                <a:close/>
              </a:path>
            </a:pathLst>
          </a:custGeom>
          <a:solidFill>
            <a:srgbClr val="EEF2F5"/>
          </a:solidFill>
          <a:ln w="11643" cap="flat">
            <a:noFill/>
            <a:prstDash val="solid"/>
            <a:miter/>
          </a:ln>
        </p:spPr>
        <p:txBody>
          <a:bodyPr rtlCol="0" anchor="ctr"/>
          <a:lstStyle/>
          <a:p>
            <a:endParaRPr lang="de-DE"/>
          </a:p>
        </p:txBody>
      </p:sp>
      <p:sp>
        <p:nvSpPr>
          <p:cNvPr id="269" name="Freihandform: Form 268">
            <a:extLst>
              <a:ext uri="{FF2B5EF4-FFF2-40B4-BE49-F238E27FC236}">
                <a16:creationId xmlns:a16="http://schemas.microsoft.com/office/drawing/2014/main" id="{65205431-CA52-4417-B021-25FD0C1E33F9}"/>
              </a:ext>
            </a:extLst>
          </p:cNvPr>
          <p:cNvSpPr/>
          <p:nvPr userDrawn="1"/>
        </p:nvSpPr>
        <p:spPr>
          <a:xfrm>
            <a:off x="11494017" y="3704837"/>
            <a:ext cx="330930" cy="358896"/>
          </a:xfrm>
          <a:custGeom>
            <a:avLst/>
            <a:gdLst>
              <a:gd name="connsiteX0" fmla="*/ 151482 w 330930"/>
              <a:gd name="connsiteY0" fmla="*/ 358896 h 358896"/>
              <a:gd name="connsiteX1" fmla="*/ 0 w 330930"/>
              <a:gd name="connsiteY1" fmla="*/ 358896 h 358896"/>
              <a:gd name="connsiteX2" fmla="*/ 177118 w 330930"/>
              <a:gd name="connsiteY2" fmla="*/ 180613 h 358896"/>
              <a:gd name="connsiteX3" fmla="*/ 0 w 330930"/>
              <a:gd name="connsiteY3" fmla="*/ 0 h 358896"/>
              <a:gd name="connsiteX4" fmla="*/ 154979 w 330930"/>
              <a:gd name="connsiteY4" fmla="*/ 0 h 358896"/>
              <a:gd name="connsiteX5" fmla="*/ 330931 w 330930"/>
              <a:gd name="connsiteY5" fmla="*/ 175953 h 358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930" h="358896">
                <a:moveTo>
                  <a:pt x="151482" y="358896"/>
                </a:moveTo>
                <a:lnTo>
                  <a:pt x="0" y="358896"/>
                </a:lnTo>
                <a:lnTo>
                  <a:pt x="177118" y="180613"/>
                </a:lnTo>
                <a:lnTo>
                  <a:pt x="0" y="0"/>
                </a:lnTo>
                <a:lnTo>
                  <a:pt x="154979" y="0"/>
                </a:lnTo>
                <a:lnTo>
                  <a:pt x="330931" y="175953"/>
                </a:lnTo>
                <a:close/>
              </a:path>
            </a:pathLst>
          </a:custGeom>
          <a:solidFill>
            <a:srgbClr val="EEF2F5"/>
          </a:solidFill>
          <a:ln w="11643" cap="flat">
            <a:noFill/>
            <a:prstDash val="solid"/>
            <a:miter/>
          </a:ln>
        </p:spPr>
        <p:txBody>
          <a:bodyPr rtlCol="0" anchor="ctr"/>
          <a:lstStyle/>
          <a:p>
            <a:endParaRPr lang="de-DE"/>
          </a:p>
        </p:txBody>
      </p:sp>
      <p:sp>
        <p:nvSpPr>
          <p:cNvPr id="270" name="Freihandform: Form 269">
            <a:extLst>
              <a:ext uri="{FF2B5EF4-FFF2-40B4-BE49-F238E27FC236}">
                <a16:creationId xmlns:a16="http://schemas.microsoft.com/office/drawing/2014/main" id="{54C328D2-472D-4AAA-B765-01BBCF86507D}"/>
              </a:ext>
            </a:extLst>
          </p:cNvPr>
          <p:cNvSpPr/>
          <p:nvPr userDrawn="1"/>
        </p:nvSpPr>
        <p:spPr>
          <a:xfrm>
            <a:off x="11494017" y="4059073"/>
            <a:ext cx="330930" cy="360061"/>
          </a:xfrm>
          <a:custGeom>
            <a:avLst/>
            <a:gdLst>
              <a:gd name="connsiteX0" fmla="*/ 151482 w 330930"/>
              <a:gd name="connsiteY0" fmla="*/ 360062 h 360061"/>
              <a:gd name="connsiteX1" fmla="*/ 0 w 330930"/>
              <a:gd name="connsiteY1" fmla="*/ 360062 h 360061"/>
              <a:gd name="connsiteX2" fmla="*/ 177118 w 330930"/>
              <a:gd name="connsiteY2" fmla="*/ 181779 h 360061"/>
              <a:gd name="connsiteX3" fmla="*/ 0 w 330930"/>
              <a:gd name="connsiteY3" fmla="*/ 0 h 360061"/>
              <a:gd name="connsiteX4" fmla="*/ 154979 w 330930"/>
              <a:gd name="connsiteY4" fmla="*/ 0 h 360061"/>
              <a:gd name="connsiteX5" fmla="*/ 330931 w 330930"/>
              <a:gd name="connsiteY5" fmla="*/ 177118 h 360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930" h="360061">
                <a:moveTo>
                  <a:pt x="151482" y="360062"/>
                </a:moveTo>
                <a:lnTo>
                  <a:pt x="0" y="360062"/>
                </a:lnTo>
                <a:lnTo>
                  <a:pt x="177118" y="181779"/>
                </a:lnTo>
                <a:lnTo>
                  <a:pt x="0" y="0"/>
                </a:lnTo>
                <a:lnTo>
                  <a:pt x="154979" y="0"/>
                </a:lnTo>
                <a:lnTo>
                  <a:pt x="330931" y="177118"/>
                </a:lnTo>
                <a:close/>
              </a:path>
            </a:pathLst>
          </a:custGeom>
          <a:solidFill>
            <a:srgbClr val="EEF2F5"/>
          </a:solidFill>
          <a:ln w="11643" cap="flat">
            <a:noFill/>
            <a:prstDash val="solid"/>
            <a:miter/>
          </a:ln>
        </p:spPr>
        <p:txBody>
          <a:bodyPr rtlCol="0" anchor="ctr"/>
          <a:lstStyle/>
          <a:p>
            <a:endParaRPr lang="de-DE"/>
          </a:p>
        </p:txBody>
      </p:sp>
      <p:sp>
        <p:nvSpPr>
          <p:cNvPr id="271" name="Freihandform: Form 270">
            <a:extLst>
              <a:ext uri="{FF2B5EF4-FFF2-40B4-BE49-F238E27FC236}">
                <a16:creationId xmlns:a16="http://schemas.microsoft.com/office/drawing/2014/main" id="{58A1ADF4-67BB-4B4F-97A2-C8981295C28E}"/>
              </a:ext>
            </a:extLst>
          </p:cNvPr>
          <p:cNvSpPr/>
          <p:nvPr userDrawn="1"/>
        </p:nvSpPr>
        <p:spPr>
          <a:xfrm>
            <a:off x="11494017" y="4414474"/>
            <a:ext cx="330930" cy="358896"/>
          </a:xfrm>
          <a:custGeom>
            <a:avLst/>
            <a:gdLst>
              <a:gd name="connsiteX0" fmla="*/ 151482 w 330930"/>
              <a:gd name="connsiteY0" fmla="*/ 358896 h 358896"/>
              <a:gd name="connsiteX1" fmla="*/ 0 w 330930"/>
              <a:gd name="connsiteY1" fmla="*/ 358896 h 358896"/>
              <a:gd name="connsiteX2" fmla="*/ 177118 w 330930"/>
              <a:gd name="connsiteY2" fmla="*/ 180613 h 358896"/>
              <a:gd name="connsiteX3" fmla="*/ 0 w 330930"/>
              <a:gd name="connsiteY3" fmla="*/ 0 h 358896"/>
              <a:gd name="connsiteX4" fmla="*/ 154979 w 330930"/>
              <a:gd name="connsiteY4" fmla="*/ 0 h 358896"/>
              <a:gd name="connsiteX5" fmla="*/ 330931 w 330930"/>
              <a:gd name="connsiteY5" fmla="*/ 175952 h 358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930" h="358896">
                <a:moveTo>
                  <a:pt x="151482" y="358896"/>
                </a:moveTo>
                <a:lnTo>
                  <a:pt x="0" y="358896"/>
                </a:lnTo>
                <a:lnTo>
                  <a:pt x="177118" y="180613"/>
                </a:lnTo>
                <a:lnTo>
                  <a:pt x="0" y="0"/>
                </a:lnTo>
                <a:lnTo>
                  <a:pt x="154979" y="0"/>
                </a:lnTo>
                <a:lnTo>
                  <a:pt x="330931" y="175952"/>
                </a:lnTo>
                <a:close/>
              </a:path>
            </a:pathLst>
          </a:custGeom>
          <a:solidFill>
            <a:srgbClr val="EEF2F5"/>
          </a:solidFill>
          <a:ln w="11643" cap="flat">
            <a:noFill/>
            <a:prstDash val="solid"/>
            <a:miter/>
          </a:ln>
        </p:spPr>
        <p:txBody>
          <a:bodyPr rtlCol="0" anchor="ctr"/>
          <a:lstStyle/>
          <a:p>
            <a:endParaRPr lang="de-DE"/>
          </a:p>
        </p:txBody>
      </p:sp>
      <p:sp>
        <p:nvSpPr>
          <p:cNvPr id="272" name="Freihandform: Form 271">
            <a:extLst>
              <a:ext uri="{FF2B5EF4-FFF2-40B4-BE49-F238E27FC236}">
                <a16:creationId xmlns:a16="http://schemas.microsoft.com/office/drawing/2014/main" id="{03415443-3F41-49F3-B60C-1201D9A263D5}"/>
              </a:ext>
            </a:extLst>
          </p:cNvPr>
          <p:cNvSpPr/>
          <p:nvPr userDrawn="1"/>
        </p:nvSpPr>
        <p:spPr>
          <a:xfrm>
            <a:off x="11494017" y="4768709"/>
            <a:ext cx="330930" cy="360061"/>
          </a:xfrm>
          <a:custGeom>
            <a:avLst/>
            <a:gdLst>
              <a:gd name="connsiteX0" fmla="*/ 151482 w 330930"/>
              <a:gd name="connsiteY0" fmla="*/ 360062 h 360061"/>
              <a:gd name="connsiteX1" fmla="*/ 0 w 330930"/>
              <a:gd name="connsiteY1" fmla="*/ 360062 h 360061"/>
              <a:gd name="connsiteX2" fmla="*/ 177118 w 330930"/>
              <a:gd name="connsiteY2" fmla="*/ 181779 h 360061"/>
              <a:gd name="connsiteX3" fmla="*/ 0 w 330930"/>
              <a:gd name="connsiteY3" fmla="*/ 0 h 360061"/>
              <a:gd name="connsiteX4" fmla="*/ 154979 w 330930"/>
              <a:gd name="connsiteY4" fmla="*/ 0 h 360061"/>
              <a:gd name="connsiteX5" fmla="*/ 330931 w 330930"/>
              <a:gd name="connsiteY5" fmla="*/ 177118 h 360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930" h="360061">
                <a:moveTo>
                  <a:pt x="151482" y="360062"/>
                </a:moveTo>
                <a:lnTo>
                  <a:pt x="0" y="360062"/>
                </a:lnTo>
                <a:lnTo>
                  <a:pt x="177118" y="181779"/>
                </a:lnTo>
                <a:lnTo>
                  <a:pt x="0" y="0"/>
                </a:lnTo>
                <a:lnTo>
                  <a:pt x="154979" y="0"/>
                </a:lnTo>
                <a:lnTo>
                  <a:pt x="330931" y="177118"/>
                </a:lnTo>
                <a:close/>
              </a:path>
            </a:pathLst>
          </a:custGeom>
          <a:solidFill>
            <a:srgbClr val="EEF2F5"/>
          </a:solidFill>
          <a:ln w="11643" cap="flat">
            <a:noFill/>
            <a:prstDash val="solid"/>
            <a:miter/>
          </a:ln>
        </p:spPr>
        <p:txBody>
          <a:bodyPr rtlCol="0" anchor="ctr"/>
          <a:lstStyle/>
          <a:p>
            <a:endParaRPr lang="de-DE"/>
          </a:p>
        </p:txBody>
      </p:sp>
      <p:sp>
        <p:nvSpPr>
          <p:cNvPr id="273" name="Freihandform: Form 272">
            <a:extLst>
              <a:ext uri="{FF2B5EF4-FFF2-40B4-BE49-F238E27FC236}">
                <a16:creationId xmlns:a16="http://schemas.microsoft.com/office/drawing/2014/main" id="{B563676F-D202-4871-9820-0E475258CF51}"/>
              </a:ext>
            </a:extLst>
          </p:cNvPr>
          <p:cNvSpPr/>
          <p:nvPr userDrawn="1"/>
        </p:nvSpPr>
        <p:spPr>
          <a:xfrm>
            <a:off x="11147939" y="3358759"/>
            <a:ext cx="314616" cy="341417"/>
          </a:xfrm>
          <a:custGeom>
            <a:avLst/>
            <a:gdLst>
              <a:gd name="connsiteX0" fmla="*/ 143325 w 314616"/>
              <a:gd name="connsiteY0" fmla="*/ 341418 h 341417"/>
              <a:gd name="connsiteX1" fmla="*/ 0 w 314616"/>
              <a:gd name="connsiteY1" fmla="*/ 341418 h 341417"/>
              <a:gd name="connsiteX2" fmla="*/ 167795 w 314616"/>
              <a:gd name="connsiteY2" fmla="*/ 172457 h 341417"/>
              <a:gd name="connsiteX3" fmla="*/ 0 w 314616"/>
              <a:gd name="connsiteY3" fmla="*/ 0 h 341417"/>
              <a:gd name="connsiteX4" fmla="*/ 146821 w 314616"/>
              <a:gd name="connsiteY4" fmla="*/ 0 h 341417"/>
              <a:gd name="connsiteX5" fmla="*/ 314617 w 314616"/>
              <a:gd name="connsiteY5" fmla="*/ 167796 h 341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4616" h="341417">
                <a:moveTo>
                  <a:pt x="143325" y="341418"/>
                </a:moveTo>
                <a:lnTo>
                  <a:pt x="0" y="341418"/>
                </a:lnTo>
                <a:lnTo>
                  <a:pt x="167795" y="172457"/>
                </a:lnTo>
                <a:lnTo>
                  <a:pt x="0" y="0"/>
                </a:lnTo>
                <a:lnTo>
                  <a:pt x="146821" y="0"/>
                </a:lnTo>
                <a:lnTo>
                  <a:pt x="314617" y="167796"/>
                </a:lnTo>
                <a:close/>
              </a:path>
            </a:pathLst>
          </a:custGeom>
          <a:solidFill>
            <a:srgbClr val="EEF2F5"/>
          </a:solidFill>
          <a:ln w="11643" cap="flat">
            <a:noFill/>
            <a:prstDash val="solid"/>
            <a:miter/>
          </a:ln>
        </p:spPr>
        <p:txBody>
          <a:bodyPr rtlCol="0" anchor="ctr"/>
          <a:lstStyle/>
          <a:p>
            <a:endParaRPr lang="de-DE"/>
          </a:p>
        </p:txBody>
      </p:sp>
      <p:sp>
        <p:nvSpPr>
          <p:cNvPr id="274" name="Freihandform: Form 273">
            <a:extLst>
              <a:ext uri="{FF2B5EF4-FFF2-40B4-BE49-F238E27FC236}">
                <a16:creationId xmlns:a16="http://schemas.microsoft.com/office/drawing/2014/main" id="{5D770B4B-8FDA-4BEE-9FFB-F30316599C4D}"/>
              </a:ext>
            </a:extLst>
          </p:cNvPr>
          <p:cNvSpPr/>
          <p:nvPr userDrawn="1"/>
        </p:nvSpPr>
        <p:spPr>
          <a:xfrm>
            <a:off x="11147939" y="3714159"/>
            <a:ext cx="314616" cy="340252"/>
          </a:xfrm>
          <a:custGeom>
            <a:avLst/>
            <a:gdLst>
              <a:gd name="connsiteX0" fmla="*/ 143325 w 314616"/>
              <a:gd name="connsiteY0" fmla="*/ 340252 h 340252"/>
              <a:gd name="connsiteX1" fmla="*/ 0 w 314616"/>
              <a:gd name="connsiteY1" fmla="*/ 340252 h 340252"/>
              <a:gd name="connsiteX2" fmla="*/ 167795 w 314616"/>
              <a:gd name="connsiteY2" fmla="*/ 171291 h 340252"/>
              <a:gd name="connsiteX3" fmla="*/ 0 w 314616"/>
              <a:gd name="connsiteY3" fmla="*/ 0 h 340252"/>
              <a:gd name="connsiteX4" fmla="*/ 146821 w 314616"/>
              <a:gd name="connsiteY4" fmla="*/ 0 h 340252"/>
              <a:gd name="connsiteX5" fmla="*/ 314617 w 314616"/>
              <a:gd name="connsiteY5" fmla="*/ 166631 h 340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4616" h="340252">
                <a:moveTo>
                  <a:pt x="143325" y="340252"/>
                </a:moveTo>
                <a:lnTo>
                  <a:pt x="0" y="340252"/>
                </a:lnTo>
                <a:lnTo>
                  <a:pt x="167795" y="171291"/>
                </a:lnTo>
                <a:lnTo>
                  <a:pt x="0" y="0"/>
                </a:lnTo>
                <a:lnTo>
                  <a:pt x="146821" y="0"/>
                </a:lnTo>
                <a:lnTo>
                  <a:pt x="314617" y="166631"/>
                </a:lnTo>
                <a:close/>
              </a:path>
            </a:pathLst>
          </a:custGeom>
          <a:solidFill>
            <a:srgbClr val="EEF2F5"/>
          </a:solidFill>
          <a:ln w="11643" cap="flat">
            <a:noFill/>
            <a:prstDash val="solid"/>
            <a:miter/>
          </a:ln>
        </p:spPr>
        <p:txBody>
          <a:bodyPr rtlCol="0" anchor="ctr"/>
          <a:lstStyle/>
          <a:p>
            <a:endParaRPr lang="de-DE"/>
          </a:p>
        </p:txBody>
      </p:sp>
      <p:sp>
        <p:nvSpPr>
          <p:cNvPr id="275" name="Freihandform: Form 274">
            <a:extLst>
              <a:ext uri="{FF2B5EF4-FFF2-40B4-BE49-F238E27FC236}">
                <a16:creationId xmlns:a16="http://schemas.microsoft.com/office/drawing/2014/main" id="{81054F7A-CDD6-4293-8A5B-F202CD55CF17}"/>
              </a:ext>
            </a:extLst>
          </p:cNvPr>
          <p:cNvSpPr/>
          <p:nvPr userDrawn="1"/>
        </p:nvSpPr>
        <p:spPr>
          <a:xfrm>
            <a:off x="11147939" y="4068395"/>
            <a:ext cx="314616" cy="341417"/>
          </a:xfrm>
          <a:custGeom>
            <a:avLst/>
            <a:gdLst>
              <a:gd name="connsiteX0" fmla="*/ 143325 w 314616"/>
              <a:gd name="connsiteY0" fmla="*/ 341418 h 341417"/>
              <a:gd name="connsiteX1" fmla="*/ 0 w 314616"/>
              <a:gd name="connsiteY1" fmla="*/ 341418 h 341417"/>
              <a:gd name="connsiteX2" fmla="*/ 167795 w 314616"/>
              <a:gd name="connsiteY2" fmla="*/ 172457 h 341417"/>
              <a:gd name="connsiteX3" fmla="*/ 0 w 314616"/>
              <a:gd name="connsiteY3" fmla="*/ 0 h 341417"/>
              <a:gd name="connsiteX4" fmla="*/ 146821 w 314616"/>
              <a:gd name="connsiteY4" fmla="*/ 0 h 341417"/>
              <a:gd name="connsiteX5" fmla="*/ 314617 w 314616"/>
              <a:gd name="connsiteY5" fmla="*/ 167796 h 341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4616" h="341417">
                <a:moveTo>
                  <a:pt x="143325" y="341418"/>
                </a:moveTo>
                <a:lnTo>
                  <a:pt x="0" y="341418"/>
                </a:lnTo>
                <a:lnTo>
                  <a:pt x="167795" y="172457"/>
                </a:lnTo>
                <a:lnTo>
                  <a:pt x="0" y="0"/>
                </a:lnTo>
                <a:lnTo>
                  <a:pt x="146821" y="0"/>
                </a:lnTo>
                <a:lnTo>
                  <a:pt x="314617" y="167796"/>
                </a:lnTo>
                <a:close/>
              </a:path>
            </a:pathLst>
          </a:custGeom>
          <a:solidFill>
            <a:srgbClr val="EEF2F5"/>
          </a:solidFill>
          <a:ln w="11643" cap="flat">
            <a:noFill/>
            <a:prstDash val="solid"/>
            <a:miter/>
          </a:ln>
        </p:spPr>
        <p:txBody>
          <a:bodyPr rtlCol="0" anchor="ctr"/>
          <a:lstStyle/>
          <a:p>
            <a:endParaRPr lang="de-DE"/>
          </a:p>
        </p:txBody>
      </p:sp>
      <p:sp>
        <p:nvSpPr>
          <p:cNvPr id="276" name="Freihandform: Form 275">
            <a:extLst>
              <a:ext uri="{FF2B5EF4-FFF2-40B4-BE49-F238E27FC236}">
                <a16:creationId xmlns:a16="http://schemas.microsoft.com/office/drawing/2014/main" id="{AC7F4FB6-F7E9-413D-A12F-625B3C9B48F7}"/>
              </a:ext>
            </a:extLst>
          </p:cNvPr>
          <p:cNvSpPr/>
          <p:nvPr userDrawn="1"/>
        </p:nvSpPr>
        <p:spPr>
          <a:xfrm>
            <a:off x="11147939" y="4423796"/>
            <a:ext cx="314616" cy="340252"/>
          </a:xfrm>
          <a:custGeom>
            <a:avLst/>
            <a:gdLst>
              <a:gd name="connsiteX0" fmla="*/ 143325 w 314616"/>
              <a:gd name="connsiteY0" fmla="*/ 340252 h 340252"/>
              <a:gd name="connsiteX1" fmla="*/ 0 w 314616"/>
              <a:gd name="connsiteY1" fmla="*/ 340252 h 340252"/>
              <a:gd name="connsiteX2" fmla="*/ 167795 w 314616"/>
              <a:gd name="connsiteY2" fmla="*/ 171291 h 340252"/>
              <a:gd name="connsiteX3" fmla="*/ 0 w 314616"/>
              <a:gd name="connsiteY3" fmla="*/ 0 h 340252"/>
              <a:gd name="connsiteX4" fmla="*/ 146821 w 314616"/>
              <a:gd name="connsiteY4" fmla="*/ 0 h 340252"/>
              <a:gd name="connsiteX5" fmla="*/ 314617 w 314616"/>
              <a:gd name="connsiteY5" fmla="*/ 167796 h 340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4616" h="340252">
                <a:moveTo>
                  <a:pt x="143325" y="340252"/>
                </a:moveTo>
                <a:lnTo>
                  <a:pt x="0" y="340252"/>
                </a:lnTo>
                <a:lnTo>
                  <a:pt x="167795" y="171291"/>
                </a:lnTo>
                <a:lnTo>
                  <a:pt x="0" y="0"/>
                </a:lnTo>
                <a:lnTo>
                  <a:pt x="146821" y="0"/>
                </a:lnTo>
                <a:lnTo>
                  <a:pt x="314617" y="167796"/>
                </a:lnTo>
                <a:close/>
              </a:path>
            </a:pathLst>
          </a:custGeom>
          <a:solidFill>
            <a:srgbClr val="EEF2F5"/>
          </a:solidFill>
          <a:ln w="11643" cap="flat">
            <a:noFill/>
            <a:prstDash val="solid"/>
            <a:miter/>
          </a:ln>
        </p:spPr>
        <p:txBody>
          <a:bodyPr rtlCol="0" anchor="ctr"/>
          <a:lstStyle/>
          <a:p>
            <a:endParaRPr lang="de-DE"/>
          </a:p>
        </p:txBody>
      </p:sp>
      <p:sp>
        <p:nvSpPr>
          <p:cNvPr id="277" name="Freihandform: Form 276">
            <a:extLst>
              <a:ext uri="{FF2B5EF4-FFF2-40B4-BE49-F238E27FC236}">
                <a16:creationId xmlns:a16="http://schemas.microsoft.com/office/drawing/2014/main" id="{E0FCE453-708E-4F94-ABB2-11D8FE79AB20}"/>
              </a:ext>
            </a:extLst>
          </p:cNvPr>
          <p:cNvSpPr/>
          <p:nvPr userDrawn="1"/>
        </p:nvSpPr>
        <p:spPr>
          <a:xfrm>
            <a:off x="11147939" y="4778031"/>
            <a:ext cx="314616" cy="341417"/>
          </a:xfrm>
          <a:custGeom>
            <a:avLst/>
            <a:gdLst>
              <a:gd name="connsiteX0" fmla="*/ 143325 w 314616"/>
              <a:gd name="connsiteY0" fmla="*/ 341418 h 341417"/>
              <a:gd name="connsiteX1" fmla="*/ 0 w 314616"/>
              <a:gd name="connsiteY1" fmla="*/ 341418 h 341417"/>
              <a:gd name="connsiteX2" fmla="*/ 167795 w 314616"/>
              <a:gd name="connsiteY2" fmla="*/ 172457 h 341417"/>
              <a:gd name="connsiteX3" fmla="*/ 0 w 314616"/>
              <a:gd name="connsiteY3" fmla="*/ 0 h 341417"/>
              <a:gd name="connsiteX4" fmla="*/ 146821 w 314616"/>
              <a:gd name="connsiteY4" fmla="*/ 0 h 341417"/>
              <a:gd name="connsiteX5" fmla="*/ 314617 w 314616"/>
              <a:gd name="connsiteY5" fmla="*/ 167796 h 341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4616" h="341417">
                <a:moveTo>
                  <a:pt x="143325" y="341418"/>
                </a:moveTo>
                <a:lnTo>
                  <a:pt x="0" y="341418"/>
                </a:lnTo>
                <a:lnTo>
                  <a:pt x="167795" y="172457"/>
                </a:lnTo>
                <a:lnTo>
                  <a:pt x="0" y="0"/>
                </a:lnTo>
                <a:lnTo>
                  <a:pt x="146821" y="0"/>
                </a:lnTo>
                <a:lnTo>
                  <a:pt x="314617" y="167796"/>
                </a:lnTo>
                <a:close/>
              </a:path>
            </a:pathLst>
          </a:custGeom>
          <a:solidFill>
            <a:srgbClr val="EEF2F5"/>
          </a:solidFill>
          <a:ln w="11643" cap="flat">
            <a:noFill/>
            <a:prstDash val="solid"/>
            <a:miter/>
          </a:ln>
        </p:spPr>
        <p:txBody>
          <a:bodyPr rtlCol="0" anchor="ctr"/>
          <a:lstStyle/>
          <a:p>
            <a:endParaRPr lang="de-DE"/>
          </a:p>
        </p:txBody>
      </p:sp>
      <p:sp>
        <p:nvSpPr>
          <p:cNvPr id="278" name="Freihandform: Form 277">
            <a:extLst>
              <a:ext uri="{FF2B5EF4-FFF2-40B4-BE49-F238E27FC236}">
                <a16:creationId xmlns:a16="http://schemas.microsoft.com/office/drawing/2014/main" id="{1688DC58-ADCC-47C8-9C44-0BF9CDA63828}"/>
              </a:ext>
            </a:extLst>
          </p:cNvPr>
          <p:cNvSpPr/>
          <p:nvPr userDrawn="1"/>
        </p:nvSpPr>
        <p:spPr>
          <a:xfrm>
            <a:off x="11147939" y="5133432"/>
            <a:ext cx="314616" cy="341417"/>
          </a:xfrm>
          <a:custGeom>
            <a:avLst/>
            <a:gdLst>
              <a:gd name="connsiteX0" fmla="*/ 143325 w 314616"/>
              <a:gd name="connsiteY0" fmla="*/ 341418 h 341417"/>
              <a:gd name="connsiteX1" fmla="*/ 0 w 314616"/>
              <a:gd name="connsiteY1" fmla="*/ 341418 h 341417"/>
              <a:gd name="connsiteX2" fmla="*/ 167795 w 314616"/>
              <a:gd name="connsiteY2" fmla="*/ 171292 h 341417"/>
              <a:gd name="connsiteX3" fmla="*/ 0 w 314616"/>
              <a:gd name="connsiteY3" fmla="*/ 0 h 341417"/>
              <a:gd name="connsiteX4" fmla="*/ 146821 w 314616"/>
              <a:gd name="connsiteY4" fmla="*/ 0 h 341417"/>
              <a:gd name="connsiteX5" fmla="*/ 314617 w 314616"/>
              <a:gd name="connsiteY5" fmla="*/ 167796 h 341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4616" h="341417">
                <a:moveTo>
                  <a:pt x="143325" y="341418"/>
                </a:moveTo>
                <a:lnTo>
                  <a:pt x="0" y="341418"/>
                </a:lnTo>
                <a:lnTo>
                  <a:pt x="167795" y="171292"/>
                </a:lnTo>
                <a:lnTo>
                  <a:pt x="0" y="0"/>
                </a:lnTo>
                <a:lnTo>
                  <a:pt x="146821" y="0"/>
                </a:lnTo>
                <a:lnTo>
                  <a:pt x="314617" y="167796"/>
                </a:lnTo>
                <a:close/>
              </a:path>
            </a:pathLst>
          </a:custGeom>
          <a:solidFill>
            <a:srgbClr val="EEF2F5"/>
          </a:solidFill>
          <a:ln w="11643" cap="flat">
            <a:noFill/>
            <a:prstDash val="solid"/>
            <a:miter/>
          </a:ln>
        </p:spPr>
        <p:txBody>
          <a:bodyPr rtlCol="0" anchor="ctr"/>
          <a:lstStyle/>
          <a:p>
            <a:endParaRPr lang="de-DE"/>
          </a:p>
        </p:txBody>
      </p:sp>
      <p:sp>
        <p:nvSpPr>
          <p:cNvPr id="279" name="Freihandform: Form 278">
            <a:extLst>
              <a:ext uri="{FF2B5EF4-FFF2-40B4-BE49-F238E27FC236}">
                <a16:creationId xmlns:a16="http://schemas.microsoft.com/office/drawing/2014/main" id="{4BBABDFE-BB76-4C3E-8755-4E50356E6B42}"/>
              </a:ext>
            </a:extLst>
          </p:cNvPr>
          <p:cNvSpPr/>
          <p:nvPr userDrawn="1"/>
        </p:nvSpPr>
        <p:spPr>
          <a:xfrm>
            <a:off x="10801860" y="3012680"/>
            <a:ext cx="297138" cy="323938"/>
          </a:xfrm>
          <a:custGeom>
            <a:avLst/>
            <a:gdLst>
              <a:gd name="connsiteX0" fmla="*/ 135168 w 297138"/>
              <a:gd name="connsiteY0" fmla="*/ 323939 h 323938"/>
              <a:gd name="connsiteX1" fmla="*/ 0 w 297138"/>
              <a:gd name="connsiteY1" fmla="*/ 323939 h 323938"/>
              <a:gd name="connsiteX2" fmla="*/ 158473 w 297138"/>
              <a:gd name="connsiteY2" fmla="*/ 163135 h 323938"/>
              <a:gd name="connsiteX3" fmla="*/ 0 w 297138"/>
              <a:gd name="connsiteY3" fmla="*/ 0 h 323938"/>
              <a:gd name="connsiteX4" fmla="*/ 138664 w 297138"/>
              <a:gd name="connsiteY4" fmla="*/ 0 h 323938"/>
              <a:gd name="connsiteX5" fmla="*/ 297138 w 297138"/>
              <a:gd name="connsiteY5" fmla="*/ 159639 h 323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3938">
                <a:moveTo>
                  <a:pt x="135168" y="323939"/>
                </a:moveTo>
                <a:lnTo>
                  <a:pt x="0" y="323939"/>
                </a:lnTo>
                <a:lnTo>
                  <a:pt x="158473" y="163135"/>
                </a:lnTo>
                <a:lnTo>
                  <a:pt x="0" y="0"/>
                </a:lnTo>
                <a:lnTo>
                  <a:pt x="138664" y="0"/>
                </a:lnTo>
                <a:lnTo>
                  <a:pt x="297138" y="159639"/>
                </a:lnTo>
                <a:close/>
              </a:path>
            </a:pathLst>
          </a:custGeom>
          <a:solidFill>
            <a:srgbClr val="EEF2F5"/>
          </a:solidFill>
          <a:ln w="11643" cap="flat">
            <a:noFill/>
            <a:prstDash val="solid"/>
            <a:miter/>
          </a:ln>
        </p:spPr>
        <p:txBody>
          <a:bodyPr rtlCol="0" anchor="ctr"/>
          <a:lstStyle/>
          <a:p>
            <a:endParaRPr lang="de-DE"/>
          </a:p>
        </p:txBody>
      </p:sp>
      <p:sp>
        <p:nvSpPr>
          <p:cNvPr id="280" name="Freihandform: Form 279">
            <a:extLst>
              <a:ext uri="{FF2B5EF4-FFF2-40B4-BE49-F238E27FC236}">
                <a16:creationId xmlns:a16="http://schemas.microsoft.com/office/drawing/2014/main" id="{98875BAD-35D6-4908-B226-48D549F12C09}"/>
              </a:ext>
            </a:extLst>
          </p:cNvPr>
          <p:cNvSpPr/>
          <p:nvPr userDrawn="1"/>
        </p:nvSpPr>
        <p:spPr>
          <a:xfrm>
            <a:off x="10801860" y="3368081"/>
            <a:ext cx="297138" cy="322773"/>
          </a:xfrm>
          <a:custGeom>
            <a:avLst/>
            <a:gdLst>
              <a:gd name="connsiteX0" fmla="*/ 135168 w 297138"/>
              <a:gd name="connsiteY0" fmla="*/ 322774 h 322773"/>
              <a:gd name="connsiteX1" fmla="*/ 0 w 297138"/>
              <a:gd name="connsiteY1" fmla="*/ 322774 h 322773"/>
              <a:gd name="connsiteX2" fmla="*/ 158473 w 297138"/>
              <a:gd name="connsiteY2" fmla="*/ 163135 h 322773"/>
              <a:gd name="connsiteX3" fmla="*/ 0 w 297138"/>
              <a:gd name="connsiteY3" fmla="*/ 0 h 322773"/>
              <a:gd name="connsiteX4" fmla="*/ 138664 w 297138"/>
              <a:gd name="connsiteY4" fmla="*/ 0 h 322773"/>
              <a:gd name="connsiteX5" fmla="*/ 297138 w 297138"/>
              <a:gd name="connsiteY5" fmla="*/ 158474 h 322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2773">
                <a:moveTo>
                  <a:pt x="135168" y="322774"/>
                </a:moveTo>
                <a:lnTo>
                  <a:pt x="0" y="322774"/>
                </a:lnTo>
                <a:lnTo>
                  <a:pt x="158473" y="163135"/>
                </a:lnTo>
                <a:lnTo>
                  <a:pt x="0" y="0"/>
                </a:lnTo>
                <a:lnTo>
                  <a:pt x="138664" y="0"/>
                </a:lnTo>
                <a:lnTo>
                  <a:pt x="297138" y="158474"/>
                </a:lnTo>
                <a:close/>
              </a:path>
            </a:pathLst>
          </a:custGeom>
          <a:solidFill>
            <a:srgbClr val="EEF2F5"/>
          </a:solidFill>
          <a:ln w="11643" cap="flat">
            <a:noFill/>
            <a:prstDash val="solid"/>
            <a:miter/>
          </a:ln>
        </p:spPr>
        <p:txBody>
          <a:bodyPr rtlCol="0" anchor="ctr"/>
          <a:lstStyle/>
          <a:p>
            <a:endParaRPr lang="de-DE"/>
          </a:p>
        </p:txBody>
      </p:sp>
      <p:sp>
        <p:nvSpPr>
          <p:cNvPr id="281" name="Freihandform: Form 280">
            <a:extLst>
              <a:ext uri="{FF2B5EF4-FFF2-40B4-BE49-F238E27FC236}">
                <a16:creationId xmlns:a16="http://schemas.microsoft.com/office/drawing/2014/main" id="{A3786D8D-2CF9-4026-A5B0-E8C239DB08E8}"/>
              </a:ext>
            </a:extLst>
          </p:cNvPr>
          <p:cNvSpPr/>
          <p:nvPr userDrawn="1"/>
        </p:nvSpPr>
        <p:spPr>
          <a:xfrm>
            <a:off x="10801860" y="3722316"/>
            <a:ext cx="297138" cy="323938"/>
          </a:xfrm>
          <a:custGeom>
            <a:avLst/>
            <a:gdLst>
              <a:gd name="connsiteX0" fmla="*/ 135168 w 297138"/>
              <a:gd name="connsiteY0" fmla="*/ 323939 h 323938"/>
              <a:gd name="connsiteX1" fmla="*/ 0 w 297138"/>
              <a:gd name="connsiteY1" fmla="*/ 323939 h 323938"/>
              <a:gd name="connsiteX2" fmla="*/ 158473 w 297138"/>
              <a:gd name="connsiteY2" fmla="*/ 163135 h 323938"/>
              <a:gd name="connsiteX3" fmla="*/ 0 w 297138"/>
              <a:gd name="connsiteY3" fmla="*/ 0 h 323938"/>
              <a:gd name="connsiteX4" fmla="*/ 138664 w 297138"/>
              <a:gd name="connsiteY4" fmla="*/ 0 h 323938"/>
              <a:gd name="connsiteX5" fmla="*/ 297138 w 297138"/>
              <a:gd name="connsiteY5" fmla="*/ 159639 h 323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3938">
                <a:moveTo>
                  <a:pt x="135168" y="323939"/>
                </a:moveTo>
                <a:lnTo>
                  <a:pt x="0" y="323939"/>
                </a:lnTo>
                <a:lnTo>
                  <a:pt x="158473" y="163135"/>
                </a:lnTo>
                <a:lnTo>
                  <a:pt x="0" y="0"/>
                </a:lnTo>
                <a:lnTo>
                  <a:pt x="138664" y="0"/>
                </a:lnTo>
                <a:lnTo>
                  <a:pt x="297138" y="159639"/>
                </a:lnTo>
                <a:close/>
              </a:path>
            </a:pathLst>
          </a:custGeom>
          <a:solidFill>
            <a:srgbClr val="EEF2F5"/>
          </a:solidFill>
          <a:ln w="11643" cap="flat">
            <a:noFill/>
            <a:prstDash val="solid"/>
            <a:miter/>
          </a:ln>
        </p:spPr>
        <p:txBody>
          <a:bodyPr rtlCol="0" anchor="ctr"/>
          <a:lstStyle/>
          <a:p>
            <a:endParaRPr lang="de-DE"/>
          </a:p>
        </p:txBody>
      </p:sp>
      <p:sp>
        <p:nvSpPr>
          <p:cNvPr id="282" name="Freihandform: Form 281">
            <a:extLst>
              <a:ext uri="{FF2B5EF4-FFF2-40B4-BE49-F238E27FC236}">
                <a16:creationId xmlns:a16="http://schemas.microsoft.com/office/drawing/2014/main" id="{AEC1ECE3-8272-4B6A-A4AD-2D7BCC4A4396}"/>
              </a:ext>
            </a:extLst>
          </p:cNvPr>
          <p:cNvSpPr/>
          <p:nvPr userDrawn="1"/>
        </p:nvSpPr>
        <p:spPr>
          <a:xfrm>
            <a:off x="10801860" y="4077717"/>
            <a:ext cx="297138" cy="322773"/>
          </a:xfrm>
          <a:custGeom>
            <a:avLst/>
            <a:gdLst>
              <a:gd name="connsiteX0" fmla="*/ 135168 w 297138"/>
              <a:gd name="connsiteY0" fmla="*/ 322774 h 322773"/>
              <a:gd name="connsiteX1" fmla="*/ 0 w 297138"/>
              <a:gd name="connsiteY1" fmla="*/ 322774 h 322773"/>
              <a:gd name="connsiteX2" fmla="*/ 158473 w 297138"/>
              <a:gd name="connsiteY2" fmla="*/ 163135 h 322773"/>
              <a:gd name="connsiteX3" fmla="*/ 0 w 297138"/>
              <a:gd name="connsiteY3" fmla="*/ 0 h 322773"/>
              <a:gd name="connsiteX4" fmla="*/ 138664 w 297138"/>
              <a:gd name="connsiteY4" fmla="*/ 0 h 322773"/>
              <a:gd name="connsiteX5" fmla="*/ 297138 w 297138"/>
              <a:gd name="connsiteY5" fmla="*/ 158474 h 322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2773">
                <a:moveTo>
                  <a:pt x="135168" y="322774"/>
                </a:moveTo>
                <a:lnTo>
                  <a:pt x="0" y="322774"/>
                </a:lnTo>
                <a:lnTo>
                  <a:pt x="158473" y="163135"/>
                </a:lnTo>
                <a:lnTo>
                  <a:pt x="0" y="0"/>
                </a:lnTo>
                <a:lnTo>
                  <a:pt x="138664" y="0"/>
                </a:lnTo>
                <a:lnTo>
                  <a:pt x="297138" y="158474"/>
                </a:lnTo>
                <a:close/>
              </a:path>
            </a:pathLst>
          </a:custGeom>
          <a:solidFill>
            <a:srgbClr val="EEF2F5"/>
          </a:solidFill>
          <a:ln w="11643" cap="flat">
            <a:noFill/>
            <a:prstDash val="solid"/>
            <a:miter/>
          </a:ln>
        </p:spPr>
        <p:txBody>
          <a:bodyPr rtlCol="0" anchor="ctr"/>
          <a:lstStyle/>
          <a:p>
            <a:endParaRPr lang="de-DE"/>
          </a:p>
        </p:txBody>
      </p:sp>
      <p:sp>
        <p:nvSpPr>
          <p:cNvPr id="283" name="Freihandform: Form 282">
            <a:extLst>
              <a:ext uri="{FF2B5EF4-FFF2-40B4-BE49-F238E27FC236}">
                <a16:creationId xmlns:a16="http://schemas.microsoft.com/office/drawing/2014/main" id="{AE0C999C-538B-4F36-A290-CBF6573F3D46}"/>
              </a:ext>
            </a:extLst>
          </p:cNvPr>
          <p:cNvSpPr/>
          <p:nvPr userDrawn="1"/>
        </p:nvSpPr>
        <p:spPr>
          <a:xfrm>
            <a:off x="10801860" y="4431952"/>
            <a:ext cx="297138" cy="323938"/>
          </a:xfrm>
          <a:custGeom>
            <a:avLst/>
            <a:gdLst>
              <a:gd name="connsiteX0" fmla="*/ 135168 w 297138"/>
              <a:gd name="connsiteY0" fmla="*/ 323939 h 323938"/>
              <a:gd name="connsiteX1" fmla="*/ 0 w 297138"/>
              <a:gd name="connsiteY1" fmla="*/ 323939 h 323938"/>
              <a:gd name="connsiteX2" fmla="*/ 158473 w 297138"/>
              <a:gd name="connsiteY2" fmla="*/ 163135 h 323938"/>
              <a:gd name="connsiteX3" fmla="*/ 0 w 297138"/>
              <a:gd name="connsiteY3" fmla="*/ 0 h 323938"/>
              <a:gd name="connsiteX4" fmla="*/ 138664 w 297138"/>
              <a:gd name="connsiteY4" fmla="*/ 0 h 323938"/>
              <a:gd name="connsiteX5" fmla="*/ 297138 w 297138"/>
              <a:gd name="connsiteY5" fmla="*/ 159639 h 323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3938">
                <a:moveTo>
                  <a:pt x="135168" y="323939"/>
                </a:moveTo>
                <a:lnTo>
                  <a:pt x="0" y="323939"/>
                </a:lnTo>
                <a:lnTo>
                  <a:pt x="158473" y="163135"/>
                </a:lnTo>
                <a:lnTo>
                  <a:pt x="0" y="0"/>
                </a:lnTo>
                <a:lnTo>
                  <a:pt x="138664" y="0"/>
                </a:lnTo>
                <a:lnTo>
                  <a:pt x="297138" y="159639"/>
                </a:lnTo>
                <a:close/>
              </a:path>
            </a:pathLst>
          </a:custGeom>
          <a:solidFill>
            <a:srgbClr val="EEF2F5"/>
          </a:solidFill>
          <a:ln w="11643" cap="flat">
            <a:noFill/>
            <a:prstDash val="solid"/>
            <a:miter/>
          </a:ln>
        </p:spPr>
        <p:txBody>
          <a:bodyPr rtlCol="0" anchor="ctr"/>
          <a:lstStyle/>
          <a:p>
            <a:endParaRPr lang="de-DE"/>
          </a:p>
        </p:txBody>
      </p:sp>
      <p:sp>
        <p:nvSpPr>
          <p:cNvPr id="284" name="Freihandform: Form 283">
            <a:extLst>
              <a:ext uri="{FF2B5EF4-FFF2-40B4-BE49-F238E27FC236}">
                <a16:creationId xmlns:a16="http://schemas.microsoft.com/office/drawing/2014/main" id="{9674E7D6-971D-46D3-B314-1208718A631D}"/>
              </a:ext>
            </a:extLst>
          </p:cNvPr>
          <p:cNvSpPr/>
          <p:nvPr userDrawn="1"/>
        </p:nvSpPr>
        <p:spPr>
          <a:xfrm>
            <a:off x="10801860" y="4787353"/>
            <a:ext cx="297138" cy="322773"/>
          </a:xfrm>
          <a:custGeom>
            <a:avLst/>
            <a:gdLst>
              <a:gd name="connsiteX0" fmla="*/ 135168 w 297138"/>
              <a:gd name="connsiteY0" fmla="*/ 322774 h 322773"/>
              <a:gd name="connsiteX1" fmla="*/ 0 w 297138"/>
              <a:gd name="connsiteY1" fmla="*/ 322774 h 322773"/>
              <a:gd name="connsiteX2" fmla="*/ 158473 w 297138"/>
              <a:gd name="connsiteY2" fmla="*/ 163135 h 322773"/>
              <a:gd name="connsiteX3" fmla="*/ 0 w 297138"/>
              <a:gd name="connsiteY3" fmla="*/ 0 h 322773"/>
              <a:gd name="connsiteX4" fmla="*/ 138664 w 297138"/>
              <a:gd name="connsiteY4" fmla="*/ 0 h 322773"/>
              <a:gd name="connsiteX5" fmla="*/ 297138 w 297138"/>
              <a:gd name="connsiteY5" fmla="*/ 158474 h 322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2773">
                <a:moveTo>
                  <a:pt x="135168" y="322774"/>
                </a:moveTo>
                <a:lnTo>
                  <a:pt x="0" y="322774"/>
                </a:lnTo>
                <a:lnTo>
                  <a:pt x="158473" y="163135"/>
                </a:lnTo>
                <a:lnTo>
                  <a:pt x="0" y="0"/>
                </a:lnTo>
                <a:lnTo>
                  <a:pt x="138664" y="0"/>
                </a:lnTo>
                <a:lnTo>
                  <a:pt x="297138" y="158474"/>
                </a:lnTo>
                <a:close/>
              </a:path>
            </a:pathLst>
          </a:custGeom>
          <a:solidFill>
            <a:srgbClr val="EEF2F5"/>
          </a:solidFill>
          <a:ln w="11643" cap="flat">
            <a:noFill/>
            <a:prstDash val="solid"/>
            <a:miter/>
          </a:ln>
        </p:spPr>
        <p:txBody>
          <a:bodyPr rtlCol="0" anchor="ctr"/>
          <a:lstStyle/>
          <a:p>
            <a:endParaRPr lang="de-DE"/>
          </a:p>
        </p:txBody>
      </p:sp>
      <p:sp>
        <p:nvSpPr>
          <p:cNvPr id="285" name="Freihandform: Form 284">
            <a:extLst>
              <a:ext uri="{FF2B5EF4-FFF2-40B4-BE49-F238E27FC236}">
                <a16:creationId xmlns:a16="http://schemas.microsoft.com/office/drawing/2014/main" id="{C0A29B2A-FB03-4D46-B29E-FADF405DF664}"/>
              </a:ext>
            </a:extLst>
          </p:cNvPr>
          <p:cNvSpPr/>
          <p:nvPr userDrawn="1"/>
        </p:nvSpPr>
        <p:spPr>
          <a:xfrm>
            <a:off x="10801860" y="5141588"/>
            <a:ext cx="297138" cy="323938"/>
          </a:xfrm>
          <a:custGeom>
            <a:avLst/>
            <a:gdLst>
              <a:gd name="connsiteX0" fmla="*/ 135168 w 297138"/>
              <a:gd name="connsiteY0" fmla="*/ 323939 h 323938"/>
              <a:gd name="connsiteX1" fmla="*/ 0 w 297138"/>
              <a:gd name="connsiteY1" fmla="*/ 323939 h 323938"/>
              <a:gd name="connsiteX2" fmla="*/ 158473 w 297138"/>
              <a:gd name="connsiteY2" fmla="*/ 163135 h 323938"/>
              <a:gd name="connsiteX3" fmla="*/ 0 w 297138"/>
              <a:gd name="connsiteY3" fmla="*/ 0 h 323938"/>
              <a:gd name="connsiteX4" fmla="*/ 138664 w 297138"/>
              <a:gd name="connsiteY4" fmla="*/ 0 h 323938"/>
              <a:gd name="connsiteX5" fmla="*/ 297138 w 297138"/>
              <a:gd name="connsiteY5" fmla="*/ 159639 h 323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3938">
                <a:moveTo>
                  <a:pt x="135168" y="323939"/>
                </a:moveTo>
                <a:lnTo>
                  <a:pt x="0" y="323939"/>
                </a:lnTo>
                <a:lnTo>
                  <a:pt x="158473" y="163135"/>
                </a:lnTo>
                <a:lnTo>
                  <a:pt x="0" y="0"/>
                </a:lnTo>
                <a:lnTo>
                  <a:pt x="138664" y="0"/>
                </a:lnTo>
                <a:lnTo>
                  <a:pt x="297138" y="159639"/>
                </a:lnTo>
                <a:close/>
              </a:path>
            </a:pathLst>
          </a:custGeom>
          <a:solidFill>
            <a:srgbClr val="EEF2F5"/>
          </a:solidFill>
          <a:ln w="11643" cap="flat">
            <a:noFill/>
            <a:prstDash val="solid"/>
            <a:miter/>
          </a:ln>
        </p:spPr>
        <p:txBody>
          <a:bodyPr rtlCol="0" anchor="ctr"/>
          <a:lstStyle/>
          <a:p>
            <a:endParaRPr lang="de-DE"/>
          </a:p>
        </p:txBody>
      </p:sp>
      <p:sp>
        <p:nvSpPr>
          <p:cNvPr id="286" name="Freihandform: Form 285">
            <a:extLst>
              <a:ext uri="{FF2B5EF4-FFF2-40B4-BE49-F238E27FC236}">
                <a16:creationId xmlns:a16="http://schemas.microsoft.com/office/drawing/2014/main" id="{76B80CB3-70F6-43A2-8457-55ED0DB8131D}"/>
              </a:ext>
            </a:extLst>
          </p:cNvPr>
          <p:cNvSpPr/>
          <p:nvPr userDrawn="1"/>
        </p:nvSpPr>
        <p:spPr>
          <a:xfrm>
            <a:off x="10801860" y="5496989"/>
            <a:ext cx="297138" cy="322773"/>
          </a:xfrm>
          <a:custGeom>
            <a:avLst/>
            <a:gdLst>
              <a:gd name="connsiteX0" fmla="*/ 135168 w 297138"/>
              <a:gd name="connsiteY0" fmla="*/ 322773 h 322773"/>
              <a:gd name="connsiteX1" fmla="*/ 0 w 297138"/>
              <a:gd name="connsiteY1" fmla="*/ 322773 h 322773"/>
              <a:gd name="connsiteX2" fmla="*/ 158473 w 297138"/>
              <a:gd name="connsiteY2" fmla="*/ 163135 h 322773"/>
              <a:gd name="connsiteX3" fmla="*/ 0 w 297138"/>
              <a:gd name="connsiteY3" fmla="*/ 0 h 322773"/>
              <a:gd name="connsiteX4" fmla="*/ 138664 w 297138"/>
              <a:gd name="connsiteY4" fmla="*/ 0 h 322773"/>
              <a:gd name="connsiteX5" fmla="*/ 297138 w 297138"/>
              <a:gd name="connsiteY5" fmla="*/ 158473 h 322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2773">
                <a:moveTo>
                  <a:pt x="135168" y="322773"/>
                </a:moveTo>
                <a:lnTo>
                  <a:pt x="0" y="322773"/>
                </a:lnTo>
                <a:lnTo>
                  <a:pt x="158473" y="163135"/>
                </a:lnTo>
                <a:lnTo>
                  <a:pt x="0" y="0"/>
                </a:lnTo>
                <a:lnTo>
                  <a:pt x="138664" y="0"/>
                </a:lnTo>
                <a:lnTo>
                  <a:pt x="297138" y="158473"/>
                </a:lnTo>
                <a:close/>
              </a:path>
            </a:pathLst>
          </a:custGeom>
          <a:solidFill>
            <a:srgbClr val="EEF2F5"/>
          </a:solidFill>
          <a:ln w="11643" cap="flat">
            <a:noFill/>
            <a:prstDash val="solid"/>
            <a:miter/>
          </a:ln>
        </p:spPr>
        <p:txBody>
          <a:bodyPr rtlCol="0" anchor="ctr"/>
          <a:lstStyle/>
          <a:p>
            <a:endParaRPr lang="de-DE"/>
          </a:p>
        </p:txBody>
      </p:sp>
      <p:sp>
        <p:nvSpPr>
          <p:cNvPr id="287" name="Freihandform: Form 286">
            <a:extLst>
              <a:ext uri="{FF2B5EF4-FFF2-40B4-BE49-F238E27FC236}">
                <a16:creationId xmlns:a16="http://schemas.microsoft.com/office/drawing/2014/main" id="{51E8753E-88FE-4F15-A45C-78FC0A40E063}"/>
              </a:ext>
            </a:extLst>
          </p:cNvPr>
          <p:cNvSpPr/>
          <p:nvPr userDrawn="1"/>
        </p:nvSpPr>
        <p:spPr>
          <a:xfrm>
            <a:off x="10454616" y="2667767"/>
            <a:ext cx="280824" cy="304129"/>
          </a:xfrm>
          <a:custGeom>
            <a:avLst/>
            <a:gdLst>
              <a:gd name="connsiteX0" fmla="*/ 129343 w 280824"/>
              <a:gd name="connsiteY0" fmla="*/ 304130 h 304129"/>
              <a:gd name="connsiteX1" fmla="*/ 0 w 280824"/>
              <a:gd name="connsiteY1" fmla="*/ 304130 h 304129"/>
              <a:gd name="connsiteX2" fmla="*/ 150317 w 280824"/>
              <a:gd name="connsiteY2" fmla="*/ 153813 h 304129"/>
              <a:gd name="connsiteX3" fmla="*/ 0 w 280824"/>
              <a:gd name="connsiteY3" fmla="*/ 0 h 304129"/>
              <a:gd name="connsiteX4" fmla="*/ 131673 w 280824"/>
              <a:gd name="connsiteY4" fmla="*/ 0 h 304129"/>
              <a:gd name="connsiteX5" fmla="*/ 280825 w 280824"/>
              <a:gd name="connsiteY5" fmla="*/ 149152 h 304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4129">
                <a:moveTo>
                  <a:pt x="129343" y="304130"/>
                </a:moveTo>
                <a:lnTo>
                  <a:pt x="0" y="304130"/>
                </a:lnTo>
                <a:lnTo>
                  <a:pt x="150317" y="153813"/>
                </a:lnTo>
                <a:lnTo>
                  <a:pt x="0" y="0"/>
                </a:lnTo>
                <a:lnTo>
                  <a:pt x="131673" y="0"/>
                </a:lnTo>
                <a:lnTo>
                  <a:pt x="280825" y="149152"/>
                </a:lnTo>
                <a:close/>
              </a:path>
            </a:pathLst>
          </a:custGeom>
          <a:solidFill>
            <a:srgbClr val="EEF2F5"/>
          </a:solidFill>
          <a:ln w="11643" cap="flat">
            <a:noFill/>
            <a:prstDash val="solid"/>
            <a:miter/>
          </a:ln>
        </p:spPr>
        <p:txBody>
          <a:bodyPr rtlCol="0" anchor="ctr"/>
          <a:lstStyle/>
          <a:p>
            <a:endParaRPr lang="de-DE"/>
          </a:p>
        </p:txBody>
      </p:sp>
      <p:sp>
        <p:nvSpPr>
          <p:cNvPr id="288" name="Freihandform: Form 287">
            <a:extLst>
              <a:ext uri="{FF2B5EF4-FFF2-40B4-BE49-F238E27FC236}">
                <a16:creationId xmlns:a16="http://schemas.microsoft.com/office/drawing/2014/main" id="{DDA6218D-1A23-4223-8FA4-6C66FF0014BF}"/>
              </a:ext>
            </a:extLst>
          </p:cNvPr>
          <p:cNvSpPr/>
          <p:nvPr userDrawn="1"/>
        </p:nvSpPr>
        <p:spPr>
          <a:xfrm>
            <a:off x="10454616" y="3022002"/>
            <a:ext cx="280824" cy="305294"/>
          </a:xfrm>
          <a:custGeom>
            <a:avLst/>
            <a:gdLst>
              <a:gd name="connsiteX0" fmla="*/ 129343 w 280824"/>
              <a:gd name="connsiteY0" fmla="*/ 305295 h 305294"/>
              <a:gd name="connsiteX1" fmla="*/ 0 w 280824"/>
              <a:gd name="connsiteY1" fmla="*/ 305295 h 305294"/>
              <a:gd name="connsiteX2" fmla="*/ 150317 w 280824"/>
              <a:gd name="connsiteY2" fmla="*/ 153813 h 305294"/>
              <a:gd name="connsiteX3" fmla="*/ 0 w 280824"/>
              <a:gd name="connsiteY3" fmla="*/ 0 h 305294"/>
              <a:gd name="connsiteX4" fmla="*/ 131673 w 280824"/>
              <a:gd name="connsiteY4" fmla="*/ 0 h 305294"/>
              <a:gd name="connsiteX5" fmla="*/ 280825 w 280824"/>
              <a:gd name="connsiteY5" fmla="*/ 150317 h 305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5294">
                <a:moveTo>
                  <a:pt x="129343" y="305295"/>
                </a:moveTo>
                <a:lnTo>
                  <a:pt x="0" y="305295"/>
                </a:lnTo>
                <a:lnTo>
                  <a:pt x="150317" y="153813"/>
                </a:lnTo>
                <a:lnTo>
                  <a:pt x="0" y="0"/>
                </a:lnTo>
                <a:lnTo>
                  <a:pt x="131673" y="0"/>
                </a:lnTo>
                <a:lnTo>
                  <a:pt x="280825" y="150317"/>
                </a:lnTo>
                <a:close/>
              </a:path>
            </a:pathLst>
          </a:custGeom>
          <a:solidFill>
            <a:srgbClr val="EEF2F5"/>
          </a:solidFill>
          <a:ln w="11643" cap="flat">
            <a:noFill/>
            <a:prstDash val="solid"/>
            <a:miter/>
          </a:ln>
        </p:spPr>
        <p:txBody>
          <a:bodyPr rtlCol="0" anchor="ctr"/>
          <a:lstStyle/>
          <a:p>
            <a:endParaRPr lang="de-DE"/>
          </a:p>
        </p:txBody>
      </p:sp>
      <p:sp>
        <p:nvSpPr>
          <p:cNvPr id="289" name="Freihandform: Form 288">
            <a:extLst>
              <a:ext uri="{FF2B5EF4-FFF2-40B4-BE49-F238E27FC236}">
                <a16:creationId xmlns:a16="http://schemas.microsoft.com/office/drawing/2014/main" id="{CA02237A-C045-4677-A7CD-4AE467EBE9F6}"/>
              </a:ext>
            </a:extLst>
          </p:cNvPr>
          <p:cNvSpPr/>
          <p:nvPr userDrawn="1"/>
        </p:nvSpPr>
        <p:spPr>
          <a:xfrm>
            <a:off x="10454616" y="3377403"/>
            <a:ext cx="280824" cy="304129"/>
          </a:xfrm>
          <a:custGeom>
            <a:avLst/>
            <a:gdLst>
              <a:gd name="connsiteX0" fmla="*/ 129343 w 280824"/>
              <a:gd name="connsiteY0" fmla="*/ 304130 h 304129"/>
              <a:gd name="connsiteX1" fmla="*/ 0 w 280824"/>
              <a:gd name="connsiteY1" fmla="*/ 304130 h 304129"/>
              <a:gd name="connsiteX2" fmla="*/ 150317 w 280824"/>
              <a:gd name="connsiteY2" fmla="*/ 153813 h 304129"/>
              <a:gd name="connsiteX3" fmla="*/ 0 w 280824"/>
              <a:gd name="connsiteY3" fmla="*/ 0 h 304129"/>
              <a:gd name="connsiteX4" fmla="*/ 131673 w 280824"/>
              <a:gd name="connsiteY4" fmla="*/ 0 h 304129"/>
              <a:gd name="connsiteX5" fmla="*/ 280825 w 280824"/>
              <a:gd name="connsiteY5" fmla="*/ 149152 h 304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4129">
                <a:moveTo>
                  <a:pt x="129343" y="304130"/>
                </a:moveTo>
                <a:lnTo>
                  <a:pt x="0" y="304130"/>
                </a:lnTo>
                <a:lnTo>
                  <a:pt x="150317" y="153813"/>
                </a:lnTo>
                <a:lnTo>
                  <a:pt x="0" y="0"/>
                </a:lnTo>
                <a:lnTo>
                  <a:pt x="131673" y="0"/>
                </a:lnTo>
                <a:lnTo>
                  <a:pt x="280825" y="149152"/>
                </a:lnTo>
                <a:close/>
              </a:path>
            </a:pathLst>
          </a:custGeom>
          <a:solidFill>
            <a:srgbClr val="EEF2F5"/>
          </a:solidFill>
          <a:ln w="11643" cap="flat">
            <a:noFill/>
            <a:prstDash val="solid"/>
            <a:miter/>
          </a:ln>
        </p:spPr>
        <p:txBody>
          <a:bodyPr rtlCol="0" anchor="ctr"/>
          <a:lstStyle/>
          <a:p>
            <a:endParaRPr lang="de-DE"/>
          </a:p>
        </p:txBody>
      </p:sp>
      <p:sp>
        <p:nvSpPr>
          <p:cNvPr id="290" name="Freihandform: Form 289">
            <a:extLst>
              <a:ext uri="{FF2B5EF4-FFF2-40B4-BE49-F238E27FC236}">
                <a16:creationId xmlns:a16="http://schemas.microsoft.com/office/drawing/2014/main" id="{48D1FA81-8ADF-4419-B180-C2A93B810128}"/>
              </a:ext>
            </a:extLst>
          </p:cNvPr>
          <p:cNvSpPr/>
          <p:nvPr userDrawn="1"/>
        </p:nvSpPr>
        <p:spPr>
          <a:xfrm>
            <a:off x="10454616" y="3731638"/>
            <a:ext cx="280824" cy="305294"/>
          </a:xfrm>
          <a:custGeom>
            <a:avLst/>
            <a:gdLst>
              <a:gd name="connsiteX0" fmla="*/ 129343 w 280824"/>
              <a:gd name="connsiteY0" fmla="*/ 305295 h 305294"/>
              <a:gd name="connsiteX1" fmla="*/ 0 w 280824"/>
              <a:gd name="connsiteY1" fmla="*/ 305295 h 305294"/>
              <a:gd name="connsiteX2" fmla="*/ 150317 w 280824"/>
              <a:gd name="connsiteY2" fmla="*/ 153813 h 305294"/>
              <a:gd name="connsiteX3" fmla="*/ 0 w 280824"/>
              <a:gd name="connsiteY3" fmla="*/ 0 h 305294"/>
              <a:gd name="connsiteX4" fmla="*/ 131673 w 280824"/>
              <a:gd name="connsiteY4" fmla="*/ 0 h 305294"/>
              <a:gd name="connsiteX5" fmla="*/ 280825 w 280824"/>
              <a:gd name="connsiteY5" fmla="*/ 150317 h 305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5294">
                <a:moveTo>
                  <a:pt x="129343" y="305295"/>
                </a:moveTo>
                <a:lnTo>
                  <a:pt x="0" y="305295"/>
                </a:lnTo>
                <a:lnTo>
                  <a:pt x="150317" y="153813"/>
                </a:lnTo>
                <a:lnTo>
                  <a:pt x="0" y="0"/>
                </a:lnTo>
                <a:lnTo>
                  <a:pt x="131673" y="0"/>
                </a:lnTo>
                <a:lnTo>
                  <a:pt x="280825" y="150317"/>
                </a:lnTo>
                <a:close/>
              </a:path>
            </a:pathLst>
          </a:custGeom>
          <a:solidFill>
            <a:srgbClr val="EEF2F5"/>
          </a:solidFill>
          <a:ln w="11643" cap="flat">
            <a:noFill/>
            <a:prstDash val="solid"/>
            <a:miter/>
          </a:ln>
        </p:spPr>
        <p:txBody>
          <a:bodyPr rtlCol="0" anchor="ctr"/>
          <a:lstStyle/>
          <a:p>
            <a:endParaRPr lang="de-DE"/>
          </a:p>
        </p:txBody>
      </p:sp>
      <p:sp>
        <p:nvSpPr>
          <p:cNvPr id="291" name="Freihandform: Form 290">
            <a:extLst>
              <a:ext uri="{FF2B5EF4-FFF2-40B4-BE49-F238E27FC236}">
                <a16:creationId xmlns:a16="http://schemas.microsoft.com/office/drawing/2014/main" id="{2227A2BB-D536-4940-8682-81393A39BE65}"/>
              </a:ext>
            </a:extLst>
          </p:cNvPr>
          <p:cNvSpPr/>
          <p:nvPr userDrawn="1"/>
        </p:nvSpPr>
        <p:spPr>
          <a:xfrm>
            <a:off x="10454616" y="4087039"/>
            <a:ext cx="280824" cy="304129"/>
          </a:xfrm>
          <a:custGeom>
            <a:avLst/>
            <a:gdLst>
              <a:gd name="connsiteX0" fmla="*/ 129343 w 280824"/>
              <a:gd name="connsiteY0" fmla="*/ 304130 h 304129"/>
              <a:gd name="connsiteX1" fmla="*/ 0 w 280824"/>
              <a:gd name="connsiteY1" fmla="*/ 304130 h 304129"/>
              <a:gd name="connsiteX2" fmla="*/ 150317 w 280824"/>
              <a:gd name="connsiteY2" fmla="*/ 153813 h 304129"/>
              <a:gd name="connsiteX3" fmla="*/ 0 w 280824"/>
              <a:gd name="connsiteY3" fmla="*/ 0 h 304129"/>
              <a:gd name="connsiteX4" fmla="*/ 131673 w 280824"/>
              <a:gd name="connsiteY4" fmla="*/ 0 h 304129"/>
              <a:gd name="connsiteX5" fmla="*/ 280825 w 280824"/>
              <a:gd name="connsiteY5" fmla="*/ 149152 h 304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4129">
                <a:moveTo>
                  <a:pt x="129343" y="304130"/>
                </a:moveTo>
                <a:lnTo>
                  <a:pt x="0" y="304130"/>
                </a:lnTo>
                <a:lnTo>
                  <a:pt x="150317" y="153813"/>
                </a:lnTo>
                <a:lnTo>
                  <a:pt x="0" y="0"/>
                </a:lnTo>
                <a:lnTo>
                  <a:pt x="131673" y="0"/>
                </a:lnTo>
                <a:lnTo>
                  <a:pt x="280825" y="149152"/>
                </a:lnTo>
                <a:close/>
              </a:path>
            </a:pathLst>
          </a:custGeom>
          <a:solidFill>
            <a:srgbClr val="EEF2F5"/>
          </a:solidFill>
          <a:ln w="11643" cap="flat">
            <a:noFill/>
            <a:prstDash val="solid"/>
            <a:miter/>
          </a:ln>
        </p:spPr>
        <p:txBody>
          <a:bodyPr rtlCol="0" anchor="ctr"/>
          <a:lstStyle/>
          <a:p>
            <a:endParaRPr lang="de-DE"/>
          </a:p>
        </p:txBody>
      </p:sp>
      <p:sp>
        <p:nvSpPr>
          <p:cNvPr id="292" name="Freihandform: Form 291">
            <a:extLst>
              <a:ext uri="{FF2B5EF4-FFF2-40B4-BE49-F238E27FC236}">
                <a16:creationId xmlns:a16="http://schemas.microsoft.com/office/drawing/2014/main" id="{7E206ED0-5D6B-4CC8-968C-782E0C2238F3}"/>
              </a:ext>
            </a:extLst>
          </p:cNvPr>
          <p:cNvSpPr/>
          <p:nvPr userDrawn="1"/>
        </p:nvSpPr>
        <p:spPr>
          <a:xfrm>
            <a:off x="10454616" y="4441274"/>
            <a:ext cx="280824" cy="305294"/>
          </a:xfrm>
          <a:custGeom>
            <a:avLst/>
            <a:gdLst>
              <a:gd name="connsiteX0" fmla="*/ 129343 w 280824"/>
              <a:gd name="connsiteY0" fmla="*/ 305295 h 305294"/>
              <a:gd name="connsiteX1" fmla="*/ 0 w 280824"/>
              <a:gd name="connsiteY1" fmla="*/ 305295 h 305294"/>
              <a:gd name="connsiteX2" fmla="*/ 150317 w 280824"/>
              <a:gd name="connsiteY2" fmla="*/ 153813 h 305294"/>
              <a:gd name="connsiteX3" fmla="*/ 0 w 280824"/>
              <a:gd name="connsiteY3" fmla="*/ 0 h 305294"/>
              <a:gd name="connsiteX4" fmla="*/ 131673 w 280824"/>
              <a:gd name="connsiteY4" fmla="*/ 0 h 305294"/>
              <a:gd name="connsiteX5" fmla="*/ 280825 w 280824"/>
              <a:gd name="connsiteY5" fmla="*/ 150317 h 305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5294">
                <a:moveTo>
                  <a:pt x="129343" y="305295"/>
                </a:moveTo>
                <a:lnTo>
                  <a:pt x="0" y="305295"/>
                </a:lnTo>
                <a:lnTo>
                  <a:pt x="150317" y="153813"/>
                </a:lnTo>
                <a:lnTo>
                  <a:pt x="0" y="0"/>
                </a:lnTo>
                <a:lnTo>
                  <a:pt x="131673" y="0"/>
                </a:lnTo>
                <a:lnTo>
                  <a:pt x="280825" y="150317"/>
                </a:lnTo>
                <a:close/>
              </a:path>
            </a:pathLst>
          </a:custGeom>
          <a:solidFill>
            <a:srgbClr val="EEF2F5"/>
          </a:solidFill>
          <a:ln w="11643" cap="flat">
            <a:noFill/>
            <a:prstDash val="solid"/>
            <a:miter/>
          </a:ln>
        </p:spPr>
        <p:txBody>
          <a:bodyPr rtlCol="0" anchor="ctr"/>
          <a:lstStyle/>
          <a:p>
            <a:endParaRPr lang="de-DE"/>
          </a:p>
        </p:txBody>
      </p:sp>
      <p:sp>
        <p:nvSpPr>
          <p:cNvPr id="293" name="Freihandform: Form 292">
            <a:extLst>
              <a:ext uri="{FF2B5EF4-FFF2-40B4-BE49-F238E27FC236}">
                <a16:creationId xmlns:a16="http://schemas.microsoft.com/office/drawing/2014/main" id="{F9570349-C376-4459-9BE6-66E1EB720F97}"/>
              </a:ext>
            </a:extLst>
          </p:cNvPr>
          <p:cNvSpPr/>
          <p:nvPr userDrawn="1"/>
        </p:nvSpPr>
        <p:spPr>
          <a:xfrm>
            <a:off x="10454616" y="4796675"/>
            <a:ext cx="280824" cy="304129"/>
          </a:xfrm>
          <a:custGeom>
            <a:avLst/>
            <a:gdLst>
              <a:gd name="connsiteX0" fmla="*/ 129343 w 280824"/>
              <a:gd name="connsiteY0" fmla="*/ 304130 h 304129"/>
              <a:gd name="connsiteX1" fmla="*/ 0 w 280824"/>
              <a:gd name="connsiteY1" fmla="*/ 304130 h 304129"/>
              <a:gd name="connsiteX2" fmla="*/ 150317 w 280824"/>
              <a:gd name="connsiteY2" fmla="*/ 153813 h 304129"/>
              <a:gd name="connsiteX3" fmla="*/ 0 w 280824"/>
              <a:gd name="connsiteY3" fmla="*/ 0 h 304129"/>
              <a:gd name="connsiteX4" fmla="*/ 131673 w 280824"/>
              <a:gd name="connsiteY4" fmla="*/ 0 h 304129"/>
              <a:gd name="connsiteX5" fmla="*/ 280825 w 280824"/>
              <a:gd name="connsiteY5" fmla="*/ 149152 h 304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4129">
                <a:moveTo>
                  <a:pt x="129343" y="304130"/>
                </a:moveTo>
                <a:lnTo>
                  <a:pt x="0" y="304130"/>
                </a:lnTo>
                <a:lnTo>
                  <a:pt x="150317" y="153813"/>
                </a:lnTo>
                <a:lnTo>
                  <a:pt x="0" y="0"/>
                </a:lnTo>
                <a:lnTo>
                  <a:pt x="131673" y="0"/>
                </a:lnTo>
                <a:lnTo>
                  <a:pt x="280825" y="149152"/>
                </a:lnTo>
                <a:close/>
              </a:path>
            </a:pathLst>
          </a:custGeom>
          <a:solidFill>
            <a:srgbClr val="EEF2F5"/>
          </a:solidFill>
          <a:ln w="11643" cap="flat">
            <a:noFill/>
            <a:prstDash val="solid"/>
            <a:miter/>
          </a:ln>
        </p:spPr>
        <p:txBody>
          <a:bodyPr rtlCol="0" anchor="ctr"/>
          <a:lstStyle/>
          <a:p>
            <a:endParaRPr lang="de-DE"/>
          </a:p>
        </p:txBody>
      </p:sp>
      <p:sp>
        <p:nvSpPr>
          <p:cNvPr id="294" name="Freihandform: Form 293">
            <a:extLst>
              <a:ext uri="{FF2B5EF4-FFF2-40B4-BE49-F238E27FC236}">
                <a16:creationId xmlns:a16="http://schemas.microsoft.com/office/drawing/2014/main" id="{CE3FF337-B168-4B08-BAF8-FBBA6DDEF4B3}"/>
              </a:ext>
            </a:extLst>
          </p:cNvPr>
          <p:cNvSpPr/>
          <p:nvPr userDrawn="1"/>
        </p:nvSpPr>
        <p:spPr>
          <a:xfrm>
            <a:off x="10454616" y="5150910"/>
            <a:ext cx="280824" cy="305295"/>
          </a:xfrm>
          <a:custGeom>
            <a:avLst/>
            <a:gdLst>
              <a:gd name="connsiteX0" fmla="*/ 129343 w 280824"/>
              <a:gd name="connsiteY0" fmla="*/ 305295 h 305295"/>
              <a:gd name="connsiteX1" fmla="*/ 0 w 280824"/>
              <a:gd name="connsiteY1" fmla="*/ 305295 h 305295"/>
              <a:gd name="connsiteX2" fmla="*/ 150317 w 280824"/>
              <a:gd name="connsiteY2" fmla="*/ 153813 h 305295"/>
              <a:gd name="connsiteX3" fmla="*/ 0 w 280824"/>
              <a:gd name="connsiteY3" fmla="*/ 0 h 305295"/>
              <a:gd name="connsiteX4" fmla="*/ 131673 w 280824"/>
              <a:gd name="connsiteY4" fmla="*/ 0 h 305295"/>
              <a:gd name="connsiteX5" fmla="*/ 280825 w 280824"/>
              <a:gd name="connsiteY5" fmla="*/ 150317 h 305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5295">
                <a:moveTo>
                  <a:pt x="129343" y="305295"/>
                </a:moveTo>
                <a:lnTo>
                  <a:pt x="0" y="305295"/>
                </a:lnTo>
                <a:lnTo>
                  <a:pt x="150317" y="153813"/>
                </a:lnTo>
                <a:lnTo>
                  <a:pt x="0" y="0"/>
                </a:lnTo>
                <a:lnTo>
                  <a:pt x="131673" y="0"/>
                </a:lnTo>
                <a:lnTo>
                  <a:pt x="280825" y="150317"/>
                </a:lnTo>
                <a:close/>
              </a:path>
            </a:pathLst>
          </a:custGeom>
          <a:solidFill>
            <a:srgbClr val="EEF2F5"/>
          </a:solidFill>
          <a:ln w="11643" cap="flat">
            <a:noFill/>
            <a:prstDash val="solid"/>
            <a:miter/>
          </a:ln>
        </p:spPr>
        <p:txBody>
          <a:bodyPr rtlCol="0" anchor="ctr"/>
          <a:lstStyle/>
          <a:p>
            <a:endParaRPr lang="de-DE"/>
          </a:p>
        </p:txBody>
      </p:sp>
      <p:sp>
        <p:nvSpPr>
          <p:cNvPr id="295" name="Freihandform: Form 294">
            <a:extLst>
              <a:ext uri="{FF2B5EF4-FFF2-40B4-BE49-F238E27FC236}">
                <a16:creationId xmlns:a16="http://schemas.microsoft.com/office/drawing/2014/main" id="{C15D20DE-AD5C-488E-85D6-7F573CD6FEAE}"/>
              </a:ext>
            </a:extLst>
          </p:cNvPr>
          <p:cNvSpPr/>
          <p:nvPr userDrawn="1"/>
        </p:nvSpPr>
        <p:spPr>
          <a:xfrm>
            <a:off x="10454616" y="5506311"/>
            <a:ext cx="280824" cy="305295"/>
          </a:xfrm>
          <a:custGeom>
            <a:avLst/>
            <a:gdLst>
              <a:gd name="connsiteX0" fmla="*/ 129343 w 280824"/>
              <a:gd name="connsiteY0" fmla="*/ 305295 h 305295"/>
              <a:gd name="connsiteX1" fmla="*/ 0 w 280824"/>
              <a:gd name="connsiteY1" fmla="*/ 305295 h 305295"/>
              <a:gd name="connsiteX2" fmla="*/ 150317 w 280824"/>
              <a:gd name="connsiteY2" fmla="*/ 153813 h 305295"/>
              <a:gd name="connsiteX3" fmla="*/ 0 w 280824"/>
              <a:gd name="connsiteY3" fmla="*/ 0 h 305295"/>
              <a:gd name="connsiteX4" fmla="*/ 131673 w 280824"/>
              <a:gd name="connsiteY4" fmla="*/ 0 h 305295"/>
              <a:gd name="connsiteX5" fmla="*/ 280825 w 280824"/>
              <a:gd name="connsiteY5" fmla="*/ 149152 h 305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5295">
                <a:moveTo>
                  <a:pt x="129343" y="305295"/>
                </a:moveTo>
                <a:lnTo>
                  <a:pt x="0" y="305295"/>
                </a:lnTo>
                <a:lnTo>
                  <a:pt x="150317" y="153813"/>
                </a:lnTo>
                <a:lnTo>
                  <a:pt x="0" y="0"/>
                </a:lnTo>
                <a:lnTo>
                  <a:pt x="131673" y="0"/>
                </a:lnTo>
                <a:lnTo>
                  <a:pt x="280825" y="149152"/>
                </a:lnTo>
                <a:close/>
              </a:path>
            </a:pathLst>
          </a:custGeom>
          <a:solidFill>
            <a:srgbClr val="EEF2F5"/>
          </a:solidFill>
          <a:ln w="11643" cap="flat">
            <a:noFill/>
            <a:prstDash val="solid"/>
            <a:miter/>
          </a:ln>
        </p:spPr>
        <p:txBody>
          <a:bodyPr rtlCol="0" anchor="ctr"/>
          <a:lstStyle/>
          <a:p>
            <a:endParaRPr lang="de-DE"/>
          </a:p>
        </p:txBody>
      </p:sp>
      <p:sp>
        <p:nvSpPr>
          <p:cNvPr id="296" name="Freihandform: Form 295">
            <a:extLst>
              <a:ext uri="{FF2B5EF4-FFF2-40B4-BE49-F238E27FC236}">
                <a16:creationId xmlns:a16="http://schemas.microsoft.com/office/drawing/2014/main" id="{485159D9-1543-48AC-BE82-E6BC0D080E69}"/>
              </a:ext>
            </a:extLst>
          </p:cNvPr>
          <p:cNvSpPr/>
          <p:nvPr userDrawn="1"/>
        </p:nvSpPr>
        <p:spPr>
          <a:xfrm>
            <a:off x="10454616" y="5860546"/>
            <a:ext cx="280824" cy="305295"/>
          </a:xfrm>
          <a:custGeom>
            <a:avLst/>
            <a:gdLst>
              <a:gd name="connsiteX0" fmla="*/ 129343 w 280824"/>
              <a:gd name="connsiteY0" fmla="*/ 305295 h 305295"/>
              <a:gd name="connsiteX1" fmla="*/ 0 w 280824"/>
              <a:gd name="connsiteY1" fmla="*/ 305295 h 305295"/>
              <a:gd name="connsiteX2" fmla="*/ 150317 w 280824"/>
              <a:gd name="connsiteY2" fmla="*/ 153813 h 305295"/>
              <a:gd name="connsiteX3" fmla="*/ 0 w 280824"/>
              <a:gd name="connsiteY3" fmla="*/ 0 h 305295"/>
              <a:gd name="connsiteX4" fmla="*/ 131673 w 280824"/>
              <a:gd name="connsiteY4" fmla="*/ 0 h 305295"/>
              <a:gd name="connsiteX5" fmla="*/ 280825 w 280824"/>
              <a:gd name="connsiteY5" fmla="*/ 150317 h 305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5295">
                <a:moveTo>
                  <a:pt x="129343" y="305295"/>
                </a:moveTo>
                <a:lnTo>
                  <a:pt x="0" y="305295"/>
                </a:lnTo>
                <a:lnTo>
                  <a:pt x="150317" y="153813"/>
                </a:lnTo>
                <a:lnTo>
                  <a:pt x="0" y="0"/>
                </a:lnTo>
                <a:lnTo>
                  <a:pt x="131673" y="0"/>
                </a:lnTo>
                <a:lnTo>
                  <a:pt x="280825" y="150317"/>
                </a:lnTo>
                <a:close/>
              </a:path>
            </a:pathLst>
          </a:custGeom>
          <a:solidFill>
            <a:srgbClr val="EEF2F5"/>
          </a:solidFill>
          <a:ln w="11643" cap="flat">
            <a:noFill/>
            <a:prstDash val="solid"/>
            <a:miter/>
          </a:ln>
        </p:spPr>
        <p:txBody>
          <a:bodyPr rtlCol="0" anchor="ctr"/>
          <a:lstStyle/>
          <a:p>
            <a:endParaRPr lang="de-DE"/>
          </a:p>
        </p:txBody>
      </p:sp>
      <p:sp>
        <p:nvSpPr>
          <p:cNvPr id="297" name="Freihandform: Form 296">
            <a:extLst>
              <a:ext uri="{FF2B5EF4-FFF2-40B4-BE49-F238E27FC236}">
                <a16:creationId xmlns:a16="http://schemas.microsoft.com/office/drawing/2014/main" id="{36EBE8A7-57A4-4F1C-8091-CAEE9CB87988}"/>
              </a:ext>
            </a:extLst>
          </p:cNvPr>
          <p:cNvSpPr/>
          <p:nvPr userDrawn="1"/>
        </p:nvSpPr>
        <p:spPr>
          <a:xfrm>
            <a:off x="10108537" y="2321688"/>
            <a:ext cx="264511" cy="286650"/>
          </a:xfrm>
          <a:custGeom>
            <a:avLst/>
            <a:gdLst>
              <a:gd name="connsiteX0" fmla="*/ 121186 w 264511"/>
              <a:gd name="connsiteY0" fmla="*/ 286651 h 286650"/>
              <a:gd name="connsiteX1" fmla="*/ 0 w 264511"/>
              <a:gd name="connsiteY1" fmla="*/ 286651 h 286650"/>
              <a:gd name="connsiteX2" fmla="*/ 140995 w 264511"/>
              <a:gd name="connsiteY2" fmla="*/ 144491 h 286650"/>
              <a:gd name="connsiteX3" fmla="*/ 0 w 264511"/>
              <a:gd name="connsiteY3" fmla="*/ 0 h 286650"/>
              <a:gd name="connsiteX4" fmla="*/ 123516 w 264511"/>
              <a:gd name="connsiteY4" fmla="*/ 0 h 286650"/>
              <a:gd name="connsiteX5" fmla="*/ 264511 w 264511"/>
              <a:gd name="connsiteY5" fmla="*/ 140995 h 28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0">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298" name="Freihandform: Form 297">
            <a:extLst>
              <a:ext uri="{FF2B5EF4-FFF2-40B4-BE49-F238E27FC236}">
                <a16:creationId xmlns:a16="http://schemas.microsoft.com/office/drawing/2014/main" id="{12914A54-FA8E-4B49-A2DE-518D9ADF7310}"/>
              </a:ext>
            </a:extLst>
          </p:cNvPr>
          <p:cNvSpPr/>
          <p:nvPr userDrawn="1"/>
        </p:nvSpPr>
        <p:spPr>
          <a:xfrm>
            <a:off x="10108537" y="2675924"/>
            <a:ext cx="264511" cy="286650"/>
          </a:xfrm>
          <a:custGeom>
            <a:avLst/>
            <a:gdLst>
              <a:gd name="connsiteX0" fmla="*/ 121186 w 264511"/>
              <a:gd name="connsiteY0" fmla="*/ 286651 h 286650"/>
              <a:gd name="connsiteX1" fmla="*/ 0 w 264511"/>
              <a:gd name="connsiteY1" fmla="*/ 286651 h 286650"/>
              <a:gd name="connsiteX2" fmla="*/ 140995 w 264511"/>
              <a:gd name="connsiteY2" fmla="*/ 144491 h 286650"/>
              <a:gd name="connsiteX3" fmla="*/ 0 w 264511"/>
              <a:gd name="connsiteY3" fmla="*/ 0 h 286650"/>
              <a:gd name="connsiteX4" fmla="*/ 123516 w 264511"/>
              <a:gd name="connsiteY4" fmla="*/ 0 h 286650"/>
              <a:gd name="connsiteX5" fmla="*/ 264511 w 264511"/>
              <a:gd name="connsiteY5" fmla="*/ 140995 h 28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0">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299" name="Freihandform: Form 298">
            <a:extLst>
              <a:ext uri="{FF2B5EF4-FFF2-40B4-BE49-F238E27FC236}">
                <a16:creationId xmlns:a16="http://schemas.microsoft.com/office/drawing/2014/main" id="{97E9631F-C090-4F92-B4E6-D6A88933B227}"/>
              </a:ext>
            </a:extLst>
          </p:cNvPr>
          <p:cNvSpPr/>
          <p:nvPr userDrawn="1"/>
        </p:nvSpPr>
        <p:spPr>
          <a:xfrm>
            <a:off x="10108537" y="3031324"/>
            <a:ext cx="264511" cy="286650"/>
          </a:xfrm>
          <a:custGeom>
            <a:avLst/>
            <a:gdLst>
              <a:gd name="connsiteX0" fmla="*/ 121186 w 264511"/>
              <a:gd name="connsiteY0" fmla="*/ 286651 h 286650"/>
              <a:gd name="connsiteX1" fmla="*/ 0 w 264511"/>
              <a:gd name="connsiteY1" fmla="*/ 286651 h 286650"/>
              <a:gd name="connsiteX2" fmla="*/ 140995 w 264511"/>
              <a:gd name="connsiteY2" fmla="*/ 144491 h 286650"/>
              <a:gd name="connsiteX3" fmla="*/ 0 w 264511"/>
              <a:gd name="connsiteY3" fmla="*/ 0 h 286650"/>
              <a:gd name="connsiteX4" fmla="*/ 123516 w 264511"/>
              <a:gd name="connsiteY4" fmla="*/ 0 h 286650"/>
              <a:gd name="connsiteX5" fmla="*/ 264511 w 264511"/>
              <a:gd name="connsiteY5" fmla="*/ 140995 h 28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0">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300" name="Freihandform: Form 299">
            <a:extLst>
              <a:ext uri="{FF2B5EF4-FFF2-40B4-BE49-F238E27FC236}">
                <a16:creationId xmlns:a16="http://schemas.microsoft.com/office/drawing/2014/main" id="{D1807030-A146-49E6-AB2C-56E585B0AEE6}"/>
              </a:ext>
            </a:extLst>
          </p:cNvPr>
          <p:cNvSpPr/>
          <p:nvPr userDrawn="1"/>
        </p:nvSpPr>
        <p:spPr>
          <a:xfrm>
            <a:off x="10108537" y="3385560"/>
            <a:ext cx="264511" cy="287816"/>
          </a:xfrm>
          <a:custGeom>
            <a:avLst/>
            <a:gdLst>
              <a:gd name="connsiteX0" fmla="*/ 121186 w 264511"/>
              <a:gd name="connsiteY0" fmla="*/ 287816 h 287816"/>
              <a:gd name="connsiteX1" fmla="*/ 0 w 264511"/>
              <a:gd name="connsiteY1" fmla="*/ 287816 h 287816"/>
              <a:gd name="connsiteX2" fmla="*/ 140995 w 264511"/>
              <a:gd name="connsiteY2" fmla="*/ 145656 h 287816"/>
              <a:gd name="connsiteX3" fmla="*/ 0 w 264511"/>
              <a:gd name="connsiteY3" fmla="*/ 0 h 287816"/>
              <a:gd name="connsiteX4" fmla="*/ 123516 w 264511"/>
              <a:gd name="connsiteY4" fmla="*/ 0 h 287816"/>
              <a:gd name="connsiteX5" fmla="*/ 264511 w 264511"/>
              <a:gd name="connsiteY5" fmla="*/ 140995 h 287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7816">
                <a:moveTo>
                  <a:pt x="121186" y="287816"/>
                </a:moveTo>
                <a:lnTo>
                  <a:pt x="0" y="287816"/>
                </a:lnTo>
                <a:lnTo>
                  <a:pt x="140995" y="145656"/>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301" name="Freihandform: Form 300">
            <a:extLst>
              <a:ext uri="{FF2B5EF4-FFF2-40B4-BE49-F238E27FC236}">
                <a16:creationId xmlns:a16="http://schemas.microsoft.com/office/drawing/2014/main" id="{CCFC5FBA-0587-4C1B-8639-CB3CC05103F5}"/>
              </a:ext>
            </a:extLst>
          </p:cNvPr>
          <p:cNvSpPr/>
          <p:nvPr userDrawn="1"/>
        </p:nvSpPr>
        <p:spPr>
          <a:xfrm>
            <a:off x="10108537" y="3740960"/>
            <a:ext cx="264511" cy="286651"/>
          </a:xfrm>
          <a:custGeom>
            <a:avLst/>
            <a:gdLst>
              <a:gd name="connsiteX0" fmla="*/ 121186 w 264511"/>
              <a:gd name="connsiteY0" fmla="*/ 286651 h 286651"/>
              <a:gd name="connsiteX1" fmla="*/ 0 w 264511"/>
              <a:gd name="connsiteY1" fmla="*/ 286651 h 286651"/>
              <a:gd name="connsiteX2" fmla="*/ 140995 w 264511"/>
              <a:gd name="connsiteY2" fmla="*/ 144491 h 286651"/>
              <a:gd name="connsiteX3" fmla="*/ 0 w 264511"/>
              <a:gd name="connsiteY3" fmla="*/ 0 h 286651"/>
              <a:gd name="connsiteX4" fmla="*/ 123516 w 264511"/>
              <a:gd name="connsiteY4" fmla="*/ 0 h 286651"/>
              <a:gd name="connsiteX5" fmla="*/ 264511 w 264511"/>
              <a:gd name="connsiteY5" fmla="*/ 140995 h 286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1">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302" name="Freihandform: Form 301">
            <a:extLst>
              <a:ext uri="{FF2B5EF4-FFF2-40B4-BE49-F238E27FC236}">
                <a16:creationId xmlns:a16="http://schemas.microsoft.com/office/drawing/2014/main" id="{393FFB20-CDB2-4370-BF23-8869FAE8F232}"/>
              </a:ext>
            </a:extLst>
          </p:cNvPr>
          <p:cNvSpPr/>
          <p:nvPr userDrawn="1"/>
        </p:nvSpPr>
        <p:spPr>
          <a:xfrm>
            <a:off x="10108537" y="4095195"/>
            <a:ext cx="264511" cy="287816"/>
          </a:xfrm>
          <a:custGeom>
            <a:avLst/>
            <a:gdLst>
              <a:gd name="connsiteX0" fmla="*/ 121186 w 264511"/>
              <a:gd name="connsiteY0" fmla="*/ 287816 h 287816"/>
              <a:gd name="connsiteX1" fmla="*/ 0 w 264511"/>
              <a:gd name="connsiteY1" fmla="*/ 287816 h 287816"/>
              <a:gd name="connsiteX2" fmla="*/ 140995 w 264511"/>
              <a:gd name="connsiteY2" fmla="*/ 145656 h 287816"/>
              <a:gd name="connsiteX3" fmla="*/ 0 w 264511"/>
              <a:gd name="connsiteY3" fmla="*/ 0 h 287816"/>
              <a:gd name="connsiteX4" fmla="*/ 123516 w 264511"/>
              <a:gd name="connsiteY4" fmla="*/ 0 h 287816"/>
              <a:gd name="connsiteX5" fmla="*/ 264511 w 264511"/>
              <a:gd name="connsiteY5" fmla="*/ 140995 h 287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7816">
                <a:moveTo>
                  <a:pt x="121186" y="287816"/>
                </a:moveTo>
                <a:lnTo>
                  <a:pt x="0" y="287816"/>
                </a:lnTo>
                <a:lnTo>
                  <a:pt x="140995" y="145656"/>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303" name="Freihandform: Form 302">
            <a:extLst>
              <a:ext uri="{FF2B5EF4-FFF2-40B4-BE49-F238E27FC236}">
                <a16:creationId xmlns:a16="http://schemas.microsoft.com/office/drawing/2014/main" id="{9A02CBB0-C3FE-4C5B-8752-F2E84565BB37}"/>
              </a:ext>
            </a:extLst>
          </p:cNvPr>
          <p:cNvSpPr/>
          <p:nvPr userDrawn="1"/>
        </p:nvSpPr>
        <p:spPr>
          <a:xfrm>
            <a:off x="10108537" y="4450596"/>
            <a:ext cx="264511" cy="286651"/>
          </a:xfrm>
          <a:custGeom>
            <a:avLst/>
            <a:gdLst>
              <a:gd name="connsiteX0" fmla="*/ 121186 w 264511"/>
              <a:gd name="connsiteY0" fmla="*/ 286651 h 286651"/>
              <a:gd name="connsiteX1" fmla="*/ 0 w 264511"/>
              <a:gd name="connsiteY1" fmla="*/ 286651 h 286651"/>
              <a:gd name="connsiteX2" fmla="*/ 140995 w 264511"/>
              <a:gd name="connsiteY2" fmla="*/ 144491 h 286651"/>
              <a:gd name="connsiteX3" fmla="*/ 0 w 264511"/>
              <a:gd name="connsiteY3" fmla="*/ 0 h 286651"/>
              <a:gd name="connsiteX4" fmla="*/ 123516 w 264511"/>
              <a:gd name="connsiteY4" fmla="*/ 0 h 286651"/>
              <a:gd name="connsiteX5" fmla="*/ 264511 w 264511"/>
              <a:gd name="connsiteY5" fmla="*/ 140995 h 286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1">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304" name="Freihandform: Form 303">
            <a:extLst>
              <a:ext uri="{FF2B5EF4-FFF2-40B4-BE49-F238E27FC236}">
                <a16:creationId xmlns:a16="http://schemas.microsoft.com/office/drawing/2014/main" id="{1C43B92A-432B-470A-ABA2-5D306B91CF22}"/>
              </a:ext>
            </a:extLst>
          </p:cNvPr>
          <p:cNvSpPr/>
          <p:nvPr userDrawn="1"/>
        </p:nvSpPr>
        <p:spPr>
          <a:xfrm>
            <a:off x="10108537" y="4805997"/>
            <a:ext cx="264511" cy="286651"/>
          </a:xfrm>
          <a:custGeom>
            <a:avLst/>
            <a:gdLst>
              <a:gd name="connsiteX0" fmla="*/ 121186 w 264511"/>
              <a:gd name="connsiteY0" fmla="*/ 286651 h 286651"/>
              <a:gd name="connsiteX1" fmla="*/ 0 w 264511"/>
              <a:gd name="connsiteY1" fmla="*/ 286651 h 286651"/>
              <a:gd name="connsiteX2" fmla="*/ 140995 w 264511"/>
              <a:gd name="connsiteY2" fmla="*/ 144491 h 286651"/>
              <a:gd name="connsiteX3" fmla="*/ 0 w 264511"/>
              <a:gd name="connsiteY3" fmla="*/ 0 h 286651"/>
              <a:gd name="connsiteX4" fmla="*/ 123516 w 264511"/>
              <a:gd name="connsiteY4" fmla="*/ 0 h 286651"/>
              <a:gd name="connsiteX5" fmla="*/ 264511 w 264511"/>
              <a:gd name="connsiteY5" fmla="*/ 139830 h 286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1">
                <a:moveTo>
                  <a:pt x="121186" y="286651"/>
                </a:moveTo>
                <a:lnTo>
                  <a:pt x="0" y="286651"/>
                </a:lnTo>
                <a:lnTo>
                  <a:pt x="140995" y="144491"/>
                </a:lnTo>
                <a:lnTo>
                  <a:pt x="0" y="0"/>
                </a:lnTo>
                <a:lnTo>
                  <a:pt x="123516" y="0"/>
                </a:lnTo>
                <a:lnTo>
                  <a:pt x="264511" y="139830"/>
                </a:lnTo>
                <a:close/>
              </a:path>
            </a:pathLst>
          </a:custGeom>
          <a:solidFill>
            <a:srgbClr val="EEF2F5"/>
          </a:solidFill>
          <a:ln w="11643" cap="flat">
            <a:noFill/>
            <a:prstDash val="solid"/>
            <a:miter/>
          </a:ln>
        </p:spPr>
        <p:txBody>
          <a:bodyPr rtlCol="0" anchor="ctr"/>
          <a:lstStyle/>
          <a:p>
            <a:endParaRPr lang="de-DE"/>
          </a:p>
        </p:txBody>
      </p:sp>
      <p:sp>
        <p:nvSpPr>
          <p:cNvPr id="305" name="Freihandform: Form 304">
            <a:extLst>
              <a:ext uri="{FF2B5EF4-FFF2-40B4-BE49-F238E27FC236}">
                <a16:creationId xmlns:a16="http://schemas.microsoft.com/office/drawing/2014/main" id="{CF1224C7-9BEE-46A0-BB68-D697A73A4963}"/>
              </a:ext>
            </a:extLst>
          </p:cNvPr>
          <p:cNvSpPr/>
          <p:nvPr userDrawn="1"/>
        </p:nvSpPr>
        <p:spPr>
          <a:xfrm>
            <a:off x="10108537" y="5160232"/>
            <a:ext cx="264511" cy="286651"/>
          </a:xfrm>
          <a:custGeom>
            <a:avLst/>
            <a:gdLst>
              <a:gd name="connsiteX0" fmla="*/ 121186 w 264511"/>
              <a:gd name="connsiteY0" fmla="*/ 286651 h 286651"/>
              <a:gd name="connsiteX1" fmla="*/ 0 w 264511"/>
              <a:gd name="connsiteY1" fmla="*/ 286651 h 286651"/>
              <a:gd name="connsiteX2" fmla="*/ 140995 w 264511"/>
              <a:gd name="connsiteY2" fmla="*/ 144491 h 286651"/>
              <a:gd name="connsiteX3" fmla="*/ 0 w 264511"/>
              <a:gd name="connsiteY3" fmla="*/ 0 h 286651"/>
              <a:gd name="connsiteX4" fmla="*/ 123516 w 264511"/>
              <a:gd name="connsiteY4" fmla="*/ 0 h 286651"/>
              <a:gd name="connsiteX5" fmla="*/ 264511 w 264511"/>
              <a:gd name="connsiteY5" fmla="*/ 140995 h 286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1">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306" name="Freihandform: Form 305">
            <a:extLst>
              <a:ext uri="{FF2B5EF4-FFF2-40B4-BE49-F238E27FC236}">
                <a16:creationId xmlns:a16="http://schemas.microsoft.com/office/drawing/2014/main" id="{ADBF69A7-DE39-4CA9-B0E6-95F65333D170}"/>
              </a:ext>
            </a:extLst>
          </p:cNvPr>
          <p:cNvSpPr/>
          <p:nvPr userDrawn="1"/>
        </p:nvSpPr>
        <p:spPr>
          <a:xfrm>
            <a:off x="10108537" y="5515633"/>
            <a:ext cx="264511" cy="286651"/>
          </a:xfrm>
          <a:custGeom>
            <a:avLst/>
            <a:gdLst>
              <a:gd name="connsiteX0" fmla="*/ 121186 w 264511"/>
              <a:gd name="connsiteY0" fmla="*/ 286651 h 286651"/>
              <a:gd name="connsiteX1" fmla="*/ 0 w 264511"/>
              <a:gd name="connsiteY1" fmla="*/ 286651 h 286651"/>
              <a:gd name="connsiteX2" fmla="*/ 140995 w 264511"/>
              <a:gd name="connsiteY2" fmla="*/ 144491 h 286651"/>
              <a:gd name="connsiteX3" fmla="*/ 0 w 264511"/>
              <a:gd name="connsiteY3" fmla="*/ 0 h 286651"/>
              <a:gd name="connsiteX4" fmla="*/ 123516 w 264511"/>
              <a:gd name="connsiteY4" fmla="*/ 0 h 286651"/>
              <a:gd name="connsiteX5" fmla="*/ 264511 w 264511"/>
              <a:gd name="connsiteY5" fmla="*/ 140995 h 286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1">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307" name="Freihandform: Form 306">
            <a:extLst>
              <a:ext uri="{FF2B5EF4-FFF2-40B4-BE49-F238E27FC236}">
                <a16:creationId xmlns:a16="http://schemas.microsoft.com/office/drawing/2014/main" id="{7D9BE8A4-E861-44BD-82FB-0C83AE43E3F5}"/>
              </a:ext>
            </a:extLst>
          </p:cNvPr>
          <p:cNvSpPr/>
          <p:nvPr userDrawn="1"/>
        </p:nvSpPr>
        <p:spPr>
          <a:xfrm>
            <a:off x="10108537" y="5869868"/>
            <a:ext cx="264511" cy="286650"/>
          </a:xfrm>
          <a:custGeom>
            <a:avLst/>
            <a:gdLst>
              <a:gd name="connsiteX0" fmla="*/ 121186 w 264511"/>
              <a:gd name="connsiteY0" fmla="*/ 286651 h 286650"/>
              <a:gd name="connsiteX1" fmla="*/ 0 w 264511"/>
              <a:gd name="connsiteY1" fmla="*/ 286651 h 286650"/>
              <a:gd name="connsiteX2" fmla="*/ 140995 w 264511"/>
              <a:gd name="connsiteY2" fmla="*/ 144491 h 286650"/>
              <a:gd name="connsiteX3" fmla="*/ 0 w 264511"/>
              <a:gd name="connsiteY3" fmla="*/ 0 h 286650"/>
              <a:gd name="connsiteX4" fmla="*/ 123516 w 264511"/>
              <a:gd name="connsiteY4" fmla="*/ 0 h 286650"/>
              <a:gd name="connsiteX5" fmla="*/ 264511 w 264511"/>
              <a:gd name="connsiteY5" fmla="*/ 140995 h 28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0">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308" name="Freihandform: Form 307">
            <a:extLst>
              <a:ext uri="{FF2B5EF4-FFF2-40B4-BE49-F238E27FC236}">
                <a16:creationId xmlns:a16="http://schemas.microsoft.com/office/drawing/2014/main" id="{5F752DD3-B30C-4D0A-944E-3ED3945D0A70}"/>
              </a:ext>
            </a:extLst>
          </p:cNvPr>
          <p:cNvSpPr/>
          <p:nvPr userDrawn="1"/>
        </p:nvSpPr>
        <p:spPr>
          <a:xfrm>
            <a:off x="10108537" y="6225269"/>
            <a:ext cx="264511" cy="286650"/>
          </a:xfrm>
          <a:custGeom>
            <a:avLst/>
            <a:gdLst>
              <a:gd name="connsiteX0" fmla="*/ 121186 w 264511"/>
              <a:gd name="connsiteY0" fmla="*/ 286651 h 286650"/>
              <a:gd name="connsiteX1" fmla="*/ 0 w 264511"/>
              <a:gd name="connsiteY1" fmla="*/ 286651 h 286650"/>
              <a:gd name="connsiteX2" fmla="*/ 140995 w 264511"/>
              <a:gd name="connsiteY2" fmla="*/ 144491 h 286650"/>
              <a:gd name="connsiteX3" fmla="*/ 0 w 264511"/>
              <a:gd name="connsiteY3" fmla="*/ 0 h 286650"/>
              <a:gd name="connsiteX4" fmla="*/ 123516 w 264511"/>
              <a:gd name="connsiteY4" fmla="*/ 0 h 286650"/>
              <a:gd name="connsiteX5" fmla="*/ 264511 w 264511"/>
              <a:gd name="connsiteY5" fmla="*/ 140995 h 28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0">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309" name="Freihandform: Form 308">
            <a:extLst>
              <a:ext uri="{FF2B5EF4-FFF2-40B4-BE49-F238E27FC236}">
                <a16:creationId xmlns:a16="http://schemas.microsoft.com/office/drawing/2014/main" id="{B2C8C5D0-33C1-4654-B293-E6B9182B14E5}"/>
              </a:ext>
            </a:extLst>
          </p:cNvPr>
          <p:cNvSpPr/>
          <p:nvPr userDrawn="1"/>
        </p:nvSpPr>
        <p:spPr>
          <a:xfrm>
            <a:off x="4909201" y="2101456"/>
            <a:ext cx="16313" cy="17478"/>
          </a:xfrm>
          <a:custGeom>
            <a:avLst/>
            <a:gdLst>
              <a:gd name="connsiteX0" fmla="*/ 8157 w 16313"/>
              <a:gd name="connsiteY0" fmla="*/ 17479 h 17478"/>
              <a:gd name="connsiteX1" fmla="*/ 0 w 16313"/>
              <a:gd name="connsiteY1" fmla="*/ 17479 h 17478"/>
              <a:gd name="connsiteX2" fmla="*/ 9322 w 16313"/>
              <a:gd name="connsiteY2" fmla="*/ 8157 h 17478"/>
              <a:gd name="connsiteX3" fmla="*/ 0 w 16313"/>
              <a:gd name="connsiteY3" fmla="*/ 0 h 17478"/>
              <a:gd name="connsiteX4" fmla="*/ 8157 w 16313"/>
              <a:gd name="connsiteY4" fmla="*/ 0 h 17478"/>
              <a:gd name="connsiteX5" fmla="*/ 16313 w 16313"/>
              <a:gd name="connsiteY5" fmla="*/ 8157 h 17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13" h="17478">
                <a:moveTo>
                  <a:pt x="8157" y="17479"/>
                </a:moveTo>
                <a:lnTo>
                  <a:pt x="0" y="17479"/>
                </a:lnTo>
                <a:lnTo>
                  <a:pt x="9322" y="8157"/>
                </a:lnTo>
                <a:lnTo>
                  <a:pt x="0" y="0"/>
                </a:lnTo>
                <a:lnTo>
                  <a:pt x="8157" y="0"/>
                </a:lnTo>
                <a:lnTo>
                  <a:pt x="16313" y="8157"/>
                </a:lnTo>
                <a:close/>
              </a:path>
            </a:pathLst>
          </a:custGeom>
          <a:solidFill>
            <a:srgbClr val="EEF2F5"/>
          </a:solidFill>
          <a:ln w="11643" cap="flat">
            <a:noFill/>
            <a:prstDash val="solid"/>
            <a:miter/>
          </a:ln>
        </p:spPr>
        <p:txBody>
          <a:bodyPr rtlCol="0" anchor="ctr"/>
          <a:lstStyle/>
          <a:p>
            <a:endParaRPr lang="de-DE"/>
          </a:p>
        </p:txBody>
      </p:sp>
      <p:sp>
        <p:nvSpPr>
          <p:cNvPr id="310" name="Freihandform: Form 309">
            <a:extLst>
              <a:ext uri="{FF2B5EF4-FFF2-40B4-BE49-F238E27FC236}">
                <a16:creationId xmlns:a16="http://schemas.microsoft.com/office/drawing/2014/main" id="{329A36A9-5A2C-4AC1-96F3-AFA20EF6DDEB}"/>
              </a:ext>
            </a:extLst>
          </p:cNvPr>
          <p:cNvSpPr/>
          <p:nvPr userDrawn="1"/>
        </p:nvSpPr>
        <p:spPr>
          <a:xfrm>
            <a:off x="4909201" y="2455692"/>
            <a:ext cx="16313" cy="18643"/>
          </a:xfrm>
          <a:custGeom>
            <a:avLst/>
            <a:gdLst>
              <a:gd name="connsiteX0" fmla="*/ 8157 w 16313"/>
              <a:gd name="connsiteY0" fmla="*/ 18644 h 18643"/>
              <a:gd name="connsiteX1" fmla="*/ 0 w 16313"/>
              <a:gd name="connsiteY1" fmla="*/ 18644 h 18643"/>
              <a:gd name="connsiteX2" fmla="*/ 9322 w 16313"/>
              <a:gd name="connsiteY2" fmla="*/ 9322 h 18643"/>
              <a:gd name="connsiteX3" fmla="*/ 0 w 16313"/>
              <a:gd name="connsiteY3" fmla="*/ 0 h 18643"/>
              <a:gd name="connsiteX4" fmla="*/ 8157 w 16313"/>
              <a:gd name="connsiteY4" fmla="*/ 0 h 18643"/>
              <a:gd name="connsiteX5" fmla="*/ 16313 w 16313"/>
              <a:gd name="connsiteY5" fmla="*/ 9322 h 18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13" h="18643">
                <a:moveTo>
                  <a:pt x="8157" y="18644"/>
                </a:moveTo>
                <a:lnTo>
                  <a:pt x="0" y="18644"/>
                </a:lnTo>
                <a:lnTo>
                  <a:pt x="9322" y="9322"/>
                </a:lnTo>
                <a:lnTo>
                  <a:pt x="0" y="0"/>
                </a:lnTo>
                <a:lnTo>
                  <a:pt x="8157" y="0"/>
                </a:lnTo>
                <a:lnTo>
                  <a:pt x="16313" y="9322"/>
                </a:lnTo>
                <a:close/>
              </a:path>
            </a:pathLst>
          </a:custGeom>
          <a:solidFill>
            <a:srgbClr val="EEF2F5"/>
          </a:solidFill>
          <a:ln w="11643" cap="flat">
            <a:noFill/>
            <a:prstDash val="solid"/>
            <a:miter/>
          </a:ln>
        </p:spPr>
        <p:txBody>
          <a:bodyPr rtlCol="0" anchor="ctr"/>
          <a:lstStyle/>
          <a:p>
            <a:endParaRPr lang="de-DE"/>
          </a:p>
        </p:txBody>
      </p:sp>
      <p:sp>
        <p:nvSpPr>
          <p:cNvPr id="311" name="Freihandform: Form 310">
            <a:extLst>
              <a:ext uri="{FF2B5EF4-FFF2-40B4-BE49-F238E27FC236}">
                <a16:creationId xmlns:a16="http://schemas.microsoft.com/office/drawing/2014/main" id="{84957465-0B73-4E55-8E53-1C8F5B558178}"/>
              </a:ext>
            </a:extLst>
          </p:cNvPr>
          <p:cNvSpPr/>
          <p:nvPr userDrawn="1"/>
        </p:nvSpPr>
        <p:spPr>
          <a:xfrm>
            <a:off x="4909201" y="2811092"/>
            <a:ext cx="16313" cy="17478"/>
          </a:xfrm>
          <a:custGeom>
            <a:avLst/>
            <a:gdLst>
              <a:gd name="connsiteX0" fmla="*/ 8157 w 16313"/>
              <a:gd name="connsiteY0" fmla="*/ 17479 h 17478"/>
              <a:gd name="connsiteX1" fmla="*/ 0 w 16313"/>
              <a:gd name="connsiteY1" fmla="*/ 17479 h 17478"/>
              <a:gd name="connsiteX2" fmla="*/ 9322 w 16313"/>
              <a:gd name="connsiteY2" fmla="*/ 8157 h 17478"/>
              <a:gd name="connsiteX3" fmla="*/ 0 w 16313"/>
              <a:gd name="connsiteY3" fmla="*/ 0 h 17478"/>
              <a:gd name="connsiteX4" fmla="*/ 8157 w 16313"/>
              <a:gd name="connsiteY4" fmla="*/ 0 h 17478"/>
              <a:gd name="connsiteX5" fmla="*/ 16313 w 16313"/>
              <a:gd name="connsiteY5" fmla="*/ 8157 h 17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13" h="17478">
                <a:moveTo>
                  <a:pt x="8157" y="17479"/>
                </a:moveTo>
                <a:lnTo>
                  <a:pt x="0" y="17479"/>
                </a:lnTo>
                <a:lnTo>
                  <a:pt x="9322" y="8157"/>
                </a:lnTo>
                <a:lnTo>
                  <a:pt x="0" y="0"/>
                </a:lnTo>
                <a:lnTo>
                  <a:pt x="8157" y="0"/>
                </a:lnTo>
                <a:lnTo>
                  <a:pt x="16313" y="8157"/>
                </a:lnTo>
                <a:close/>
              </a:path>
            </a:pathLst>
          </a:custGeom>
          <a:solidFill>
            <a:srgbClr val="EEF2F5"/>
          </a:solidFill>
          <a:ln w="11643" cap="flat">
            <a:noFill/>
            <a:prstDash val="solid"/>
            <a:miter/>
          </a:ln>
        </p:spPr>
        <p:txBody>
          <a:bodyPr rtlCol="0" anchor="ctr"/>
          <a:lstStyle/>
          <a:p>
            <a:endParaRPr lang="de-DE"/>
          </a:p>
        </p:txBody>
      </p:sp>
      <p:sp>
        <p:nvSpPr>
          <p:cNvPr id="312" name="Freihandform: Form 311">
            <a:extLst>
              <a:ext uri="{FF2B5EF4-FFF2-40B4-BE49-F238E27FC236}">
                <a16:creationId xmlns:a16="http://schemas.microsoft.com/office/drawing/2014/main" id="{87FB61E4-1ACD-4B14-BC93-A9AC520FBB33}"/>
              </a:ext>
            </a:extLst>
          </p:cNvPr>
          <p:cNvSpPr/>
          <p:nvPr userDrawn="1"/>
        </p:nvSpPr>
        <p:spPr>
          <a:xfrm>
            <a:off x="4909201" y="6359273"/>
            <a:ext cx="16313" cy="18643"/>
          </a:xfrm>
          <a:custGeom>
            <a:avLst/>
            <a:gdLst>
              <a:gd name="connsiteX0" fmla="*/ 8157 w 16313"/>
              <a:gd name="connsiteY0" fmla="*/ 18644 h 18643"/>
              <a:gd name="connsiteX1" fmla="*/ 0 w 16313"/>
              <a:gd name="connsiteY1" fmla="*/ 18644 h 18643"/>
              <a:gd name="connsiteX2" fmla="*/ 9322 w 16313"/>
              <a:gd name="connsiteY2" fmla="*/ 9322 h 18643"/>
              <a:gd name="connsiteX3" fmla="*/ 0 w 16313"/>
              <a:gd name="connsiteY3" fmla="*/ 0 h 18643"/>
              <a:gd name="connsiteX4" fmla="*/ 8157 w 16313"/>
              <a:gd name="connsiteY4" fmla="*/ 0 h 18643"/>
              <a:gd name="connsiteX5" fmla="*/ 16313 w 16313"/>
              <a:gd name="connsiteY5" fmla="*/ 9322 h 18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13" h="18643">
                <a:moveTo>
                  <a:pt x="8157" y="18644"/>
                </a:moveTo>
                <a:lnTo>
                  <a:pt x="0" y="18644"/>
                </a:lnTo>
                <a:lnTo>
                  <a:pt x="9322" y="9322"/>
                </a:lnTo>
                <a:lnTo>
                  <a:pt x="0" y="0"/>
                </a:lnTo>
                <a:lnTo>
                  <a:pt x="8157" y="0"/>
                </a:lnTo>
                <a:lnTo>
                  <a:pt x="16313" y="9322"/>
                </a:lnTo>
                <a:close/>
              </a:path>
            </a:pathLst>
          </a:custGeom>
          <a:solidFill>
            <a:srgbClr val="EEF2F5"/>
          </a:solidFill>
          <a:ln w="11643" cap="flat">
            <a:noFill/>
            <a:prstDash val="solid"/>
            <a:miter/>
          </a:ln>
        </p:spPr>
        <p:txBody>
          <a:bodyPr rtlCol="0" anchor="ctr"/>
          <a:lstStyle/>
          <a:p>
            <a:endParaRPr lang="de-DE"/>
          </a:p>
        </p:txBody>
      </p:sp>
      <p:sp>
        <p:nvSpPr>
          <p:cNvPr id="313" name="Freihandform: Form 312">
            <a:extLst>
              <a:ext uri="{FF2B5EF4-FFF2-40B4-BE49-F238E27FC236}">
                <a16:creationId xmlns:a16="http://schemas.microsoft.com/office/drawing/2014/main" id="{FF52D444-9AC4-4068-BEAF-D99296A51975}"/>
              </a:ext>
            </a:extLst>
          </p:cNvPr>
          <p:cNvSpPr/>
          <p:nvPr userDrawn="1"/>
        </p:nvSpPr>
        <p:spPr>
          <a:xfrm>
            <a:off x="4909201" y="6714673"/>
            <a:ext cx="16313" cy="17478"/>
          </a:xfrm>
          <a:custGeom>
            <a:avLst/>
            <a:gdLst>
              <a:gd name="connsiteX0" fmla="*/ 8157 w 16313"/>
              <a:gd name="connsiteY0" fmla="*/ 17479 h 17478"/>
              <a:gd name="connsiteX1" fmla="*/ 0 w 16313"/>
              <a:gd name="connsiteY1" fmla="*/ 17479 h 17478"/>
              <a:gd name="connsiteX2" fmla="*/ 9322 w 16313"/>
              <a:gd name="connsiteY2" fmla="*/ 8157 h 17478"/>
              <a:gd name="connsiteX3" fmla="*/ 0 w 16313"/>
              <a:gd name="connsiteY3" fmla="*/ 0 h 17478"/>
              <a:gd name="connsiteX4" fmla="*/ 8157 w 16313"/>
              <a:gd name="connsiteY4" fmla="*/ 0 h 17478"/>
              <a:gd name="connsiteX5" fmla="*/ 16313 w 16313"/>
              <a:gd name="connsiteY5" fmla="*/ 8157 h 17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13" h="17478">
                <a:moveTo>
                  <a:pt x="8157" y="17479"/>
                </a:moveTo>
                <a:lnTo>
                  <a:pt x="0" y="17479"/>
                </a:lnTo>
                <a:lnTo>
                  <a:pt x="9322" y="8157"/>
                </a:lnTo>
                <a:lnTo>
                  <a:pt x="0" y="0"/>
                </a:lnTo>
                <a:lnTo>
                  <a:pt x="8157" y="0"/>
                </a:lnTo>
                <a:lnTo>
                  <a:pt x="16313" y="8157"/>
                </a:lnTo>
                <a:close/>
              </a:path>
            </a:pathLst>
          </a:custGeom>
          <a:solidFill>
            <a:srgbClr val="EEF2F5"/>
          </a:solidFill>
          <a:ln w="11643" cap="flat">
            <a:noFill/>
            <a:prstDash val="solid"/>
            <a:miter/>
          </a:ln>
        </p:spPr>
        <p:txBody>
          <a:bodyPr rtlCol="0" anchor="ctr"/>
          <a:lstStyle/>
          <a:p>
            <a:endParaRPr lang="de-DE"/>
          </a:p>
        </p:txBody>
      </p:sp>
      <p:sp>
        <p:nvSpPr>
          <p:cNvPr id="314" name="Freihandform: Form 313">
            <a:extLst>
              <a:ext uri="{FF2B5EF4-FFF2-40B4-BE49-F238E27FC236}">
                <a16:creationId xmlns:a16="http://schemas.microsoft.com/office/drawing/2014/main" id="{3F69FE79-2706-4C30-8966-0A2EC1910BF0}"/>
              </a:ext>
            </a:extLst>
          </p:cNvPr>
          <p:cNvSpPr/>
          <p:nvPr userDrawn="1"/>
        </p:nvSpPr>
        <p:spPr>
          <a:xfrm>
            <a:off x="5255279" y="2092134"/>
            <a:ext cx="33792" cy="36122"/>
          </a:xfrm>
          <a:custGeom>
            <a:avLst/>
            <a:gdLst>
              <a:gd name="connsiteX0" fmla="*/ 15148 w 33792"/>
              <a:gd name="connsiteY0" fmla="*/ 36123 h 36122"/>
              <a:gd name="connsiteX1" fmla="*/ 0 w 33792"/>
              <a:gd name="connsiteY1" fmla="*/ 36123 h 36122"/>
              <a:gd name="connsiteX2" fmla="*/ 18644 w 33792"/>
              <a:gd name="connsiteY2" fmla="*/ 17479 h 36122"/>
              <a:gd name="connsiteX3" fmla="*/ 0 w 33792"/>
              <a:gd name="connsiteY3" fmla="*/ 0 h 36122"/>
              <a:gd name="connsiteX4" fmla="*/ 16313 w 33792"/>
              <a:gd name="connsiteY4" fmla="*/ 0 h 36122"/>
              <a:gd name="connsiteX5" fmla="*/ 33792 w 33792"/>
              <a:gd name="connsiteY5" fmla="*/ 17479 h 3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92" h="36122">
                <a:moveTo>
                  <a:pt x="15148" y="36123"/>
                </a:moveTo>
                <a:lnTo>
                  <a:pt x="0" y="36123"/>
                </a:lnTo>
                <a:lnTo>
                  <a:pt x="18644" y="17479"/>
                </a:lnTo>
                <a:lnTo>
                  <a:pt x="0" y="0"/>
                </a:lnTo>
                <a:lnTo>
                  <a:pt x="16313" y="0"/>
                </a:lnTo>
                <a:lnTo>
                  <a:pt x="33792" y="17479"/>
                </a:lnTo>
                <a:close/>
              </a:path>
            </a:pathLst>
          </a:custGeom>
          <a:solidFill>
            <a:srgbClr val="EEF2F5"/>
          </a:solidFill>
          <a:ln w="11643" cap="flat">
            <a:noFill/>
            <a:prstDash val="solid"/>
            <a:miter/>
          </a:ln>
        </p:spPr>
        <p:txBody>
          <a:bodyPr rtlCol="0" anchor="ctr"/>
          <a:lstStyle/>
          <a:p>
            <a:endParaRPr lang="de-DE"/>
          </a:p>
        </p:txBody>
      </p:sp>
      <p:sp>
        <p:nvSpPr>
          <p:cNvPr id="315" name="Freihandform: Form 314">
            <a:extLst>
              <a:ext uri="{FF2B5EF4-FFF2-40B4-BE49-F238E27FC236}">
                <a16:creationId xmlns:a16="http://schemas.microsoft.com/office/drawing/2014/main" id="{F4B53603-3712-42FD-9602-D38612E562AF}"/>
              </a:ext>
            </a:extLst>
          </p:cNvPr>
          <p:cNvSpPr/>
          <p:nvPr userDrawn="1"/>
        </p:nvSpPr>
        <p:spPr>
          <a:xfrm>
            <a:off x="5255279" y="2446370"/>
            <a:ext cx="33792" cy="36122"/>
          </a:xfrm>
          <a:custGeom>
            <a:avLst/>
            <a:gdLst>
              <a:gd name="connsiteX0" fmla="*/ 15148 w 33792"/>
              <a:gd name="connsiteY0" fmla="*/ 36123 h 36122"/>
              <a:gd name="connsiteX1" fmla="*/ 0 w 33792"/>
              <a:gd name="connsiteY1" fmla="*/ 36123 h 36122"/>
              <a:gd name="connsiteX2" fmla="*/ 18644 w 33792"/>
              <a:gd name="connsiteY2" fmla="*/ 18644 h 36122"/>
              <a:gd name="connsiteX3" fmla="*/ 0 w 33792"/>
              <a:gd name="connsiteY3" fmla="*/ 0 h 36122"/>
              <a:gd name="connsiteX4" fmla="*/ 16313 w 33792"/>
              <a:gd name="connsiteY4" fmla="*/ 0 h 36122"/>
              <a:gd name="connsiteX5" fmla="*/ 33792 w 33792"/>
              <a:gd name="connsiteY5" fmla="*/ 18644 h 3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92" h="36122">
                <a:moveTo>
                  <a:pt x="15148" y="36123"/>
                </a:moveTo>
                <a:lnTo>
                  <a:pt x="0" y="36123"/>
                </a:lnTo>
                <a:lnTo>
                  <a:pt x="18644" y="18644"/>
                </a:lnTo>
                <a:lnTo>
                  <a:pt x="0" y="0"/>
                </a:lnTo>
                <a:lnTo>
                  <a:pt x="16313" y="0"/>
                </a:lnTo>
                <a:lnTo>
                  <a:pt x="33792" y="18644"/>
                </a:lnTo>
                <a:close/>
              </a:path>
            </a:pathLst>
          </a:custGeom>
          <a:solidFill>
            <a:srgbClr val="EEF2F5"/>
          </a:solidFill>
          <a:ln w="11643" cap="flat">
            <a:noFill/>
            <a:prstDash val="solid"/>
            <a:miter/>
          </a:ln>
        </p:spPr>
        <p:txBody>
          <a:bodyPr rtlCol="0" anchor="ctr"/>
          <a:lstStyle/>
          <a:p>
            <a:endParaRPr lang="de-DE"/>
          </a:p>
        </p:txBody>
      </p:sp>
      <p:sp>
        <p:nvSpPr>
          <p:cNvPr id="316" name="Freihandform: Form 315">
            <a:extLst>
              <a:ext uri="{FF2B5EF4-FFF2-40B4-BE49-F238E27FC236}">
                <a16:creationId xmlns:a16="http://schemas.microsoft.com/office/drawing/2014/main" id="{4E782172-F80C-4F0D-9EAC-FB60DC8E79B1}"/>
              </a:ext>
            </a:extLst>
          </p:cNvPr>
          <p:cNvSpPr/>
          <p:nvPr userDrawn="1"/>
        </p:nvSpPr>
        <p:spPr>
          <a:xfrm>
            <a:off x="5255279" y="2801770"/>
            <a:ext cx="33792" cy="36122"/>
          </a:xfrm>
          <a:custGeom>
            <a:avLst/>
            <a:gdLst>
              <a:gd name="connsiteX0" fmla="*/ 15148 w 33792"/>
              <a:gd name="connsiteY0" fmla="*/ 36123 h 36122"/>
              <a:gd name="connsiteX1" fmla="*/ 0 w 33792"/>
              <a:gd name="connsiteY1" fmla="*/ 36123 h 36122"/>
              <a:gd name="connsiteX2" fmla="*/ 18644 w 33792"/>
              <a:gd name="connsiteY2" fmla="*/ 17479 h 36122"/>
              <a:gd name="connsiteX3" fmla="*/ 0 w 33792"/>
              <a:gd name="connsiteY3" fmla="*/ 0 h 36122"/>
              <a:gd name="connsiteX4" fmla="*/ 16313 w 33792"/>
              <a:gd name="connsiteY4" fmla="*/ 0 h 36122"/>
              <a:gd name="connsiteX5" fmla="*/ 33792 w 33792"/>
              <a:gd name="connsiteY5" fmla="*/ 17479 h 3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92" h="36122">
                <a:moveTo>
                  <a:pt x="15148" y="36123"/>
                </a:moveTo>
                <a:lnTo>
                  <a:pt x="0" y="36123"/>
                </a:lnTo>
                <a:lnTo>
                  <a:pt x="18644" y="17479"/>
                </a:lnTo>
                <a:lnTo>
                  <a:pt x="0" y="0"/>
                </a:lnTo>
                <a:lnTo>
                  <a:pt x="16313" y="0"/>
                </a:lnTo>
                <a:lnTo>
                  <a:pt x="33792" y="17479"/>
                </a:lnTo>
                <a:close/>
              </a:path>
            </a:pathLst>
          </a:custGeom>
          <a:solidFill>
            <a:srgbClr val="EEF2F5"/>
          </a:solidFill>
          <a:ln w="11643" cap="flat">
            <a:noFill/>
            <a:prstDash val="solid"/>
            <a:miter/>
          </a:ln>
        </p:spPr>
        <p:txBody>
          <a:bodyPr rtlCol="0" anchor="ctr"/>
          <a:lstStyle/>
          <a:p>
            <a:endParaRPr lang="de-DE"/>
          </a:p>
        </p:txBody>
      </p:sp>
      <p:sp>
        <p:nvSpPr>
          <p:cNvPr id="317" name="Freihandform: Form 316">
            <a:extLst>
              <a:ext uri="{FF2B5EF4-FFF2-40B4-BE49-F238E27FC236}">
                <a16:creationId xmlns:a16="http://schemas.microsoft.com/office/drawing/2014/main" id="{5AC89AEE-3E21-479D-AFC6-890140A3CE25}"/>
              </a:ext>
            </a:extLst>
          </p:cNvPr>
          <p:cNvSpPr/>
          <p:nvPr userDrawn="1"/>
        </p:nvSpPr>
        <p:spPr>
          <a:xfrm>
            <a:off x="5255279" y="3156006"/>
            <a:ext cx="33792" cy="36122"/>
          </a:xfrm>
          <a:custGeom>
            <a:avLst/>
            <a:gdLst>
              <a:gd name="connsiteX0" fmla="*/ 15148 w 33792"/>
              <a:gd name="connsiteY0" fmla="*/ 36123 h 36122"/>
              <a:gd name="connsiteX1" fmla="*/ 0 w 33792"/>
              <a:gd name="connsiteY1" fmla="*/ 36123 h 36122"/>
              <a:gd name="connsiteX2" fmla="*/ 18644 w 33792"/>
              <a:gd name="connsiteY2" fmla="*/ 18644 h 36122"/>
              <a:gd name="connsiteX3" fmla="*/ 0 w 33792"/>
              <a:gd name="connsiteY3" fmla="*/ 0 h 36122"/>
              <a:gd name="connsiteX4" fmla="*/ 16313 w 33792"/>
              <a:gd name="connsiteY4" fmla="*/ 0 h 36122"/>
              <a:gd name="connsiteX5" fmla="*/ 33792 w 33792"/>
              <a:gd name="connsiteY5" fmla="*/ 18644 h 3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92" h="36122">
                <a:moveTo>
                  <a:pt x="15148" y="36123"/>
                </a:moveTo>
                <a:lnTo>
                  <a:pt x="0" y="36123"/>
                </a:lnTo>
                <a:lnTo>
                  <a:pt x="18644" y="18644"/>
                </a:lnTo>
                <a:lnTo>
                  <a:pt x="0" y="0"/>
                </a:lnTo>
                <a:lnTo>
                  <a:pt x="16313" y="0"/>
                </a:lnTo>
                <a:lnTo>
                  <a:pt x="33792" y="18644"/>
                </a:lnTo>
                <a:close/>
              </a:path>
            </a:pathLst>
          </a:custGeom>
          <a:solidFill>
            <a:srgbClr val="EEF2F5"/>
          </a:solidFill>
          <a:ln w="11643" cap="flat">
            <a:noFill/>
            <a:prstDash val="solid"/>
            <a:miter/>
          </a:ln>
        </p:spPr>
        <p:txBody>
          <a:bodyPr rtlCol="0" anchor="ctr"/>
          <a:lstStyle/>
          <a:p>
            <a:endParaRPr lang="de-DE"/>
          </a:p>
        </p:txBody>
      </p:sp>
      <p:sp>
        <p:nvSpPr>
          <p:cNvPr id="318" name="Freihandform: Form 317">
            <a:extLst>
              <a:ext uri="{FF2B5EF4-FFF2-40B4-BE49-F238E27FC236}">
                <a16:creationId xmlns:a16="http://schemas.microsoft.com/office/drawing/2014/main" id="{B49D284A-3754-4334-8ECC-958A57DEF1F2}"/>
              </a:ext>
            </a:extLst>
          </p:cNvPr>
          <p:cNvSpPr/>
          <p:nvPr userDrawn="1"/>
        </p:nvSpPr>
        <p:spPr>
          <a:xfrm>
            <a:off x="5255279" y="5995715"/>
            <a:ext cx="33792" cy="36122"/>
          </a:xfrm>
          <a:custGeom>
            <a:avLst/>
            <a:gdLst>
              <a:gd name="connsiteX0" fmla="*/ 15148 w 33792"/>
              <a:gd name="connsiteY0" fmla="*/ 36123 h 36122"/>
              <a:gd name="connsiteX1" fmla="*/ 0 w 33792"/>
              <a:gd name="connsiteY1" fmla="*/ 36123 h 36122"/>
              <a:gd name="connsiteX2" fmla="*/ 18644 w 33792"/>
              <a:gd name="connsiteY2" fmla="*/ 17479 h 36122"/>
              <a:gd name="connsiteX3" fmla="*/ 0 w 33792"/>
              <a:gd name="connsiteY3" fmla="*/ 0 h 36122"/>
              <a:gd name="connsiteX4" fmla="*/ 16313 w 33792"/>
              <a:gd name="connsiteY4" fmla="*/ 0 h 36122"/>
              <a:gd name="connsiteX5" fmla="*/ 33792 w 33792"/>
              <a:gd name="connsiteY5" fmla="*/ 17479 h 3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92" h="36122">
                <a:moveTo>
                  <a:pt x="15148" y="36123"/>
                </a:moveTo>
                <a:lnTo>
                  <a:pt x="0" y="36123"/>
                </a:lnTo>
                <a:lnTo>
                  <a:pt x="18644" y="17479"/>
                </a:lnTo>
                <a:lnTo>
                  <a:pt x="0" y="0"/>
                </a:lnTo>
                <a:lnTo>
                  <a:pt x="16313" y="0"/>
                </a:lnTo>
                <a:lnTo>
                  <a:pt x="33792" y="17479"/>
                </a:lnTo>
                <a:close/>
              </a:path>
            </a:pathLst>
          </a:custGeom>
          <a:solidFill>
            <a:srgbClr val="EEF2F5"/>
          </a:solidFill>
          <a:ln w="11643" cap="flat">
            <a:noFill/>
            <a:prstDash val="solid"/>
            <a:miter/>
          </a:ln>
        </p:spPr>
        <p:txBody>
          <a:bodyPr rtlCol="0" anchor="ctr"/>
          <a:lstStyle/>
          <a:p>
            <a:endParaRPr lang="de-DE"/>
          </a:p>
        </p:txBody>
      </p:sp>
      <p:sp>
        <p:nvSpPr>
          <p:cNvPr id="319" name="Freihandform: Form 318">
            <a:extLst>
              <a:ext uri="{FF2B5EF4-FFF2-40B4-BE49-F238E27FC236}">
                <a16:creationId xmlns:a16="http://schemas.microsoft.com/office/drawing/2014/main" id="{A69B0409-A733-4EE2-98C0-896F38B72165}"/>
              </a:ext>
            </a:extLst>
          </p:cNvPr>
          <p:cNvSpPr/>
          <p:nvPr userDrawn="1"/>
        </p:nvSpPr>
        <p:spPr>
          <a:xfrm>
            <a:off x="5255279" y="6349950"/>
            <a:ext cx="33792" cy="36122"/>
          </a:xfrm>
          <a:custGeom>
            <a:avLst/>
            <a:gdLst>
              <a:gd name="connsiteX0" fmla="*/ 15148 w 33792"/>
              <a:gd name="connsiteY0" fmla="*/ 36123 h 36122"/>
              <a:gd name="connsiteX1" fmla="*/ 0 w 33792"/>
              <a:gd name="connsiteY1" fmla="*/ 36123 h 36122"/>
              <a:gd name="connsiteX2" fmla="*/ 18644 w 33792"/>
              <a:gd name="connsiteY2" fmla="*/ 18644 h 36122"/>
              <a:gd name="connsiteX3" fmla="*/ 0 w 33792"/>
              <a:gd name="connsiteY3" fmla="*/ 0 h 36122"/>
              <a:gd name="connsiteX4" fmla="*/ 16313 w 33792"/>
              <a:gd name="connsiteY4" fmla="*/ 0 h 36122"/>
              <a:gd name="connsiteX5" fmla="*/ 33792 w 33792"/>
              <a:gd name="connsiteY5" fmla="*/ 17479 h 3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92" h="36122">
                <a:moveTo>
                  <a:pt x="15148" y="36123"/>
                </a:moveTo>
                <a:lnTo>
                  <a:pt x="0" y="36123"/>
                </a:lnTo>
                <a:lnTo>
                  <a:pt x="18644" y="18644"/>
                </a:lnTo>
                <a:lnTo>
                  <a:pt x="0" y="0"/>
                </a:lnTo>
                <a:lnTo>
                  <a:pt x="16313" y="0"/>
                </a:lnTo>
                <a:lnTo>
                  <a:pt x="33792" y="17479"/>
                </a:lnTo>
                <a:close/>
              </a:path>
            </a:pathLst>
          </a:custGeom>
          <a:solidFill>
            <a:srgbClr val="EEF2F5"/>
          </a:solidFill>
          <a:ln w="11643" cap="flat">
            <a:noFill/>
            <a:prstDash val="solid"/>
            <a:miter/>
          </a:ln>
        </p:spPr>
        <p:txBody>
          <a:bodyPr rtlCol="0" anchor="ctr"/>
          <a:lstStyle/>
          <a:p>
            <a:endParaRPr lang="de-DE"/>
          </a:p>
        </p:txBody>
      </p:sp>
      <p:sp>
        <p:nvSpPr>
          <p:cNvPr id="320" name="Freihandform: Form 319">
            <a:extLst>
              <a:ext uri="{FF2B5EF4-FFF2-40B4-BE49-F238E27FC236}">
                <a16:creationId xmlns:a16="http://schemas.microsoft.com/office/drawing/2014/main" id="{CF4A57C6-D03C-4435-9ADC-6B2A2369F87E}"/>
              </a:ext>
            </a:extLst>
          </p:cNvPr>
          <p:cNvSpPr/>
          <p:nvPr userDrawn="1"/>
        </p:nvSpPr>
        <p:spPr>
          <a:xfrm>
            <a:off x="5255279" y="6705351"/>
            <a:ext cx="33792" cy="36122"/>
          </a:xfrm>
          <a:custGeom>
            <a:avLst/>
            <a:gdLst>
              <a:gd name="connsiteX0" fmla="*/ 15148 w 33792"/>
              <a:gd name="connsiteY0" fmla="*/ 36123 h 36122"/>
              <a:gd name="connsiteX1" fmla="*/ 0 w 33792"/>
              <a:gd name="connsiteY1" fmla="*/ 36123 h 36122"/>
              <a:gd name="connsiteX2" fmla="*/ 18644 w 33792"/>
              <a:gd name="connsiteY2" fmla="*/ 17479 h 36122"/>
              <a:gd name="connsiteX3" fmla="*/ 0 w 33792"/>
              <a:gd name="connsiteY3" fmla="*/ 0 h 36122"/>
              <a:gd name="connsiteX4" fmla="*/ 16313 w 33792"/>
              <a:gd name="connsiteY4" fmla="*/ 0 h 36122"/>
              <a:gd name="connsiteX5" fmla="*/ 33792 w 33792"/>
              <a:gd name="connsiteY5" fmla="*/ 17479 h 3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92" h="36122">
                <a:moveTo>
                  <a:pt x="15148" y="36123"/>
                </a:moveTo>
                <a:lnTo>
                  <a:pt x="0" y="36123"/>
                </a:lnTo>
                <a:lnTo>
                  <a:pt x="18644" y="17479"/>
                </a:lnTo>
                <a:lnTo>
                  <a:pt x="0" y="0"/>
                </a:lnTo>
                <a:lnTo>
                  <a:pt x="16313" y="0"/>
                </a:lnTo>
                <a:lnTo>
                  <a:pt x="33792" y="17479"/>
                </a:lnTo>
                <a:close/>
              </a:path>
            </a:pathLst>
          </a:custGeom>
          <a:solidFill>
            <a:srgbClr val="EEF2F5"/>
          </a:solidFill>
          <a:ln w="11643" cap="flat">
            <a:noFill/>
            <a:prstDash val="solid"/>
            <a:miter/>
          </a:ln>
        </p:spPr>
        <p:txBody>
          <a:bodyPr rtlCol="0" anchor="ctr"/>
          <a:lstStyle/>
          <a:p>
            <a:endParaRPr lang="de-DE"/>
          </a:p>
        </p:txBody>
      </p:sp>
      <p:sp>
        <p:nvSpPr>
          <p:cNvPr id="321" name="Freihandform: Form 320">
            <a:extLst>
              <a:ext uri="{FF2B5EF4-FFF2-40B4-BE49-F238E27FC236}">
                <a16:creationId xmlns:a16="http://schemas.microsoft.com/office/drawing/2014/main" id="{1807184F-5BFC-46A4-B573-61D79451EAFB}"/>
              </a:ext>
            </a:extLst>
          </p:cNvPr>
          <p:cNvSpPr/>
          <p:nvPr userDrawn="1"/>
        </p:nvSpPr>
        <p:spPr>
          <a:xfrm>
            <a:off x="5602523" y="2082812"/>
            <a:ext cx="50105" cy="54766"/>
          </a:xfrm>
          <a:custGeom>
            <a:avLst/>
            <a:gdLst>
              <a:gd name="connsiteX0" fmla="*/ 22140 w 50105"/>
              <a:gd name="connsiteY0" fmla="*/ 54767 h 54766"/>
              <a:gd name="connsiteX1" fmla="*/ 0 w 50105"/>
              <a:gd name="connsiteY1" fmla="*/ 54767 h 54766"/>
              <a:gd name="connsiteX2" fmla="*/ 26801 w 50105"/>
              <a:gd name="connsiteY2" fmla="*/ 27966 h 54766"/>
              <a:gd name="connsiteX3" fmla="*/ 0 w 50105"/>
              <a:gd name="connsiteY3" fmla="*/ 0 h 54766"/>
              <a:gd name="connsiteX4" fmla="*/ 23305 w 50105"/>
              <a:gd name="connsiteY4" fmla="*/ 0 h 54766"/>
              <a:gd name="connsiteX5" fmla="*/ 50106 w 50105"/>
              <a:gd name="connsiteY5" fmla="*/ 26801 h 5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4765">
                <a:moveTo>
                  <a:pt x="22140" y="54767"/>
                </a:moveTo>
                <a:lnTo>
                  <a:pt x="0" y="54767"/>
                </a:lnTo>
                <a:lnTo>
                  <a:pt x="26801" y="27966"/>
                </a:lnTo>
                <a:lnTo>
                  <a:pt x="0" y="0"/>
                </a:lnTo>
                <a:lnTo>
                  <a:pt x="23305" y="0"/>
                </a:lnTo>
                <a:lnTo>
                  <a:pt x="50106" y="26801"/>
                </a:lnTo>
                <a:close/>
              </a:path>
            </a:pathLst>
          </a:custGeom>
          <a:solidFill>
            <a:srgbClr val="EEF2F5"/>
          </a:solidFill>
          <a:ln w="11643" cap="flat">
            <a:noFill/>
            <a:prstDash val="solid"/>
            <a:miter/>
          </a:ln>
        </p:spPr>
        <p:txBody>
          <a:bodyPr rtlCol="0" anchor="ctr"/>
          <a:lstStyle/>
          <a:p>
            <a:endParaRPr lang="de-DE"/>
          </a:p>
        </p:txBody>
      </p:sp>
      <p:sp>
        <p:nvSpPr>
          <p:cNvPr id="322" name="Freihandform: Form 321">
            <a:extLst>
              <a:ext uri="{FF2B5EF4-FFF2-40B4-BE49-F238E27FC236}">
                <a16:creationId xmlns:a16="http://schemas.microsoft.com/office/drawing/2014/main" id="{C0D0B83B-4824-46BE-8996-93D859654DAF}"/>
              </a:ext>
            </a:extLst>
          </p:cNvPr>
          <p:cNvSpPr/>
          <p:nvPr userDrawn="1"/>
        </p:nvSpPr>
        <p:spPr>
          <a:xfrm>
            <a:off x="5602523" y="2438213"/>
            <a:ext cx="50105" cy="53601"/>
          </a:xfrm>
          <a:custGeom>
            <a:avLst/>
            <a:gdLst>
              <a:gd name="connsiteX0" fmla="*/ 22140 w 50105"/>
              <a:gd name="connsiteY0" fmla="*/ 53601 h 53601"/>
              <a:gd name="connsiteX1" fmla="*/ 0 w 50105"/>
              <a:gd name="connsiteY1" fmla="*/ 53601 h 53601"/>
              <a:gd name="connsiteX2" fmla="*/ 26801 w 50105"/>
              <a:gd name="connsiteY2" fmla="*/ 26801 h 53601"/>
              <a:gd name="connsiteX3" fmla="*/ 0 w 50105"/>
              <a:gd name="connsiteY3" fmla="*/ 0 h 53601"/>
              <a:gd name="connsiteX4" fmla="*/ 23305 w 50105"/>
              <a:gd name="connsiteY4" fmla="*/ 0 h 53601"/>
              <a:gd name="connsiteX5" fmla="*/ 50106 w 50105"/>
              <a:gd name="connsiteY5" fmla="*/ 25635 h 53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3601">
                <a:moveTo>
                  <a:pt x="22140" y="53601"/>
                </a:moveTo>
                <a:lnTo>
                  <a:pt x="0" y="53601"/>
                </a:lnTo>
                <a:lnTo>
                  <a:pt x="26801" y="26801"/>
                </a:lnTo>
                <a:lnTo>
                  <a:pt x="0" y="0"/>
                </a:lnTo>
                <a:lnTo>
                  <a:pt x="23305" y="0"/>
                </a:lnTo>
                <a:lnTo>
                  <a:pt x="50106" y="25635"/>
                </a:lnTo>
                <a:close/>
              </a:path>
            </a:pathLst>
          </a:custGeom>
          <a:solidFill>
            <a:srgbClr val="EEF2F5"/>
          </a:solidFill>
          <a:ln w="11643" cap="flat">
            <a:noFill/>
            <a:prstDash val="solid"/>
            <a:miter/>
          </a:ln>
        </p:spPr>
        <p:txBody>
          <a:bodyPr rtlCol="0" anchor="ctr"/>
          <a:lstStyle/>
          <a:p>
            <a:endParaRPr lang="de-DE"/>
          </a:p>
        </p:txBody>
      </p:sp>
      <p:sp>
        <p:nvSpPr>
          <p:cNvPr id="323" name="Freihandform: Form 322">
            <a:extLst>
              <a:ext uri="{FF2B5EF4-FFF2-40B4-BE49-F238E27FC236}">
                <a16:creationId xmlns:a16="http://schemas.microsoft.com/office/drawing/2014/main" id="{12E80D0E-DA88-4D3B-A304-2437DDA9D26E}"/>
              </a:ext>
            </a:extLst>
          </p:cNvPr>
          <p:cNvSpPr/>
          <p:nvPr userDrawn="1"/>
        </p:nvSpPr>
        <p:spPr>
          <a:xfrm>
            <a:off x="5602523" y="2792448"/>
            <a:ext cx="50105" cy="54766"/>
          </a:xfrm>
          <a:custGeom>
            <a:avLst/>
            <a:gdLst>
              <a:gd name="connsiteX0" fmla="*/ 22140 w 50105"/>
              <a:gd name="connsiteY0" fmla="*/ 54767 h 54766"/>
              <a:gd name="connsiteX1" fmla="*/ 0 w 50105"/>
              <a:gd name="connsiteY1" fmla="*/ 54767 h 54766"/>
              <a:gd name="connsiteX2" fmla="*/ 26801 w 50105"/>
              <a:gd name="connsiteY2" fmla="*/ 27966 h 54766"/>
              <a:gd name="connsiteX3" fmla="*/ 0 w 50105"/>
              <a:gd name="connsiteY3" fmla="*/ 0 h 54766"/>
              <a:gd name="connsiteX4" fmla="*/ 23305 w 50105"/>
              <a:gd name="connsiteY4" fmla="*/ 0 h 54766"/>
              <a:gd name="connsiteX5" fmla="*/ 50106 w 50105"/>
              <a:gd name="connsiteY5" fmla="*/ 26801 h 5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4765">
                <a:moveTo>
                  <a:pt x="22140" y="54767"/>
                </a:moveTo>
                <a:lnTo>
                  <a:pt x="0" y="54767"/>
                </a:lnTo>
                <a:lnTo>
                  <a:pt x="26801" y="27966"/>
                </a:lnTo>
                <a:lnTo>
                  <a:pt x="0" y="0"/>
                </a:lnTo>
                <a:lnTo>
                  <a:pt x="23305" y="0"/>
                </a:lnTo>
                <a:lnTo>
                  <a:pt x="50106" y="26801"/>
                </a:lnTo>
                <a:close/>
              </a:path>
            </a:pathLst>
          </a:custGeom>
          <a:solidFill>
            <a:srgbClr val="EEF2F5"/>
          </a:solidFill>
          <a:ln w="11643" cap="flat">
            <a:noFill/>
            <a:prstDash val="solid"/>
            <a:miter/>
          </a:ln>
        </p:spPr>
        <p:txBody>
          <a:bodyPr rtlCol="0" anchor="ctr"/>
          <a:lstStyle/>
          <a:p>
            <a:endParaRPr lang="de-DE"/>
          </a:p>
        </p:txBody>
      </p:sp>
      <p:sp>
        <p:nvSpPr>
          <p:cNvPr id="324" name="Freihandform: Form 323">
            <a:extLst>
              <a:ext uri="{FF2B5EF4-FFF2-40B4-BE49-F238E27FC236}">
                <a16:creationId xmlns:a16="http://schemas.microsoft.com/office/drawing/2014/main" id="{75F4BC4C-9ADA-43B5-9F89-F834BAC4C3C6}"/>
              </a:ext>
            </a:extLst>
          </p:cNvPr>
          <p:cNvSpPr/>
          <p:nvPr userDrawn="1"/>
        </p:nvSpPr>
        <p:spPr>
          <a:xfrm>
            <a:off x="5602523" y="3147849"/>
            <a:ext cx="50105" cy="53601"/>
          </a:xfrm>
          <a:custGeom>
            <a:avLst/>
            <a:gdLst>
              <a:gd name="connsiteX0" fmla="*/ 22140 w 50105"/>
              <a:gd name="connsiteY0" fmla="*/ 53601 h 53601"/>
              <a:gd name="connsiteX1" fmla="*/ 0 w 50105"/>
              <a:gd name="connsiteY1" fmla="*/ 53601 h 53601"/>
              <a:gd name="connsiteX2" fmla="*/ 26801 w 50105"/>
              <a:gd name="connsiteY2" fmla="*/ 26801 h 53601"/>
              <a:gd name="connsiteX3" fmla="*/ 0 w 50105"/>
              <a:gd name="connsiteY3" fmla="*/ 0 h 53601"/>
              <a:gd name="connsiteX4" fmla="*/ 23305 w 50105"/>
              <a:gd name="connsiteY4" fmla="*/ 0 h 53601"/>
              <a:gd name="connsiteX5" fmla="*/ 50106 w 50105"/>
              <a:gd name="connsiteY5" fmla="*/ 26801 h 53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3601">
                <a:moveTo>
                  <a:pt x="22140" y="53601"/>
                </a:moveTo>
                <a:lnTo>
                  <a:pt x="0" y="53601"/>
                </a:lnTo>
                <a:lnTo>
                  <a:pt x="26801" y="26801"/>
                </a:lnTo>
                <a:lnTo>
                  <a:pt x="0" y="0"/>
                </a:lnTo>
                <a:lnTo>
                  <a:pt x="23305" y="0"/>
                </a:lnTo>
                <a:lnTo>
                  <a:pt x="50106" y="26801"/>
                </a:lnTo>
                <a:close/>
              </a:path>
            </a:pathLst>
          </a:custGeom>
          <a:solidFill>
            <a:srgbClr val="EEF2F5"/>
          </a:solidFill>
          <a:ln w="11643" cap="flat">
            <a:noFill/>
            <a:prstDash val="solid"/>
            <a:miter/>
          </a:ln>
        </p:spPr>
        <p:txBody>
          <a:bodyPr rtlCol="0" anchor="ctr"/>
          <a:lstStyle/>
          <a:p>
            <a:endParaRPr lang="de-DE"/>
          </a:p>
        </p:txBody>
      </p:sp>
      <p:sp>
        <p:nvSpPr>
          <p:cNvPr id="325" name="Freihandform: Form 324">
            <a:extLst>
              <a:ext uri="{FF2B5EF4-FFF2-40B4-BE49-F238E27FC236}">
                <a16:creationId xmlns:a16="http://schemas.microsoft.com/office/drawing/2014/main" id="{D89D440D-BCDF-43E7-B3AD-4B1C9D100423}"/>
              </a:ext>
            </a:extLst>
          </p:cNvPr>
          <p:cNvSpPr/>
          <p:nvPr userDrawn="1"/>
        </p:nvSpPr>
        <p:spPr>
          <a:xfrm>
            <a:off x="5602523" y="3502084"/>
            <a:ext cx="50105" cy="54766"/>
          </a:xfrm>
          <a:custGeom>
            <a:avLst/>
            <a:gdLst>
              <a:gd name="connsiteX0" fmla="*/ 22140 w 50105"/>
              <a:gd name="connsiteY0" fmla="*/ 54767 h 54766"/>
              <a:gd name="connsiteX1" fmla="*/ 0 w 50105"/>
              <a:gd name="connsiteY1" fmla="*/ 54767 h 54766"/>
              <a:gd name="connsiteX2" fmla="*/ 26801 w 50105"/>
              <a:gd name="connsiteY2" fmla="*/ 27966 h 54766"/>
              <a:gd name="connsiteX3" fmla="*/ 0 w 50105"/>
              <a:gd name="connsiteY3" fmla="*/ 0 h 54766"/>
              <a:gd name="connsiteX4" fmla="*/ 23305 w 50105"/>
              <a:gd name="connsiteY4" fmla="*/ 0 h 54766"/>
              <a:gd name="connsiteX5" fmla="*/ 50106 w 50105"/>
              <a:gd name="connsiteY5" fmla="*/ 26801 h 5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4765">
                <a:moveTo>
                  <a:pt x="22140" y="54767"/>
                </a:moveTo>
                <a:lnTo>
                  <a:pt x="0" y="54767"/>
                </a:lnTo>
                <a:lnTo>
                  <a:pt x="26801" y="27966"/>
                </a:lnTo>
                <a:lnTo>
                  <a:pt x="0" y="0"/>
                </a:lnTo>
                <a:lnTo>
                  <a:pt x="23305" y="0"/>
                </a:lnTo>
                <a:lnTo>
                  <a:pt x="50106" y="26801"/>
                </a:lnTo>
                <a:close/>
              </a:path>
            </a:pathLst>
          </a:custGeom>
          <a:solidFill>
            <a:srgbClr val="EEF2F5"/>
          </a:solidFill>
          <a:ln w="11643" cap="flat">
            <a:noFill/>
            <a:prstDash val="solid"/>
            <a:miter/>
          </a:ln>
        </p:spPr>
        <p:txBody>
          <a:bodyPr rtlCol="0" anchor="ctr"/>
          <a:lstStyle/>
          <a:p>
            <a:endParaRPr lang="de-DE"/>
          </a:p>
        </p:txBody>
      </p:sp>
      <p:sp>
        <p:nvSpPr>
          <p:cNvPr id="326" name="Freihandform: Form 325">
            <a:extLst>
              <a:ext uri="{FF2B5EF4-FFF2-40B4-BE49-F238E27FC236}">
                <a16:creationId xmlns:a16="http://schemas.microsoft.com/office/drawing/2014/main" id="{95E32A0E-3A5A-4B5B-A0A6-86D6905C4904}"/>
              </a:ext>
            </a:extLst>
          </p:cNvPr>
          <p:cNvSpPr/>
          <p:nvPr userDrawn="1"/>
        </p:nvSpPr>
        <p:spPr>
          <a:xfrm>
            <a:off x="5602523" y="5630993"/>
            <a:ext cx="50105" cy="54766"/>
          </a:xfrm>
          <a:custGeom>
            <a:avLst/>
            <a:gdLst>
              <a:gd name="connsiteX0" fmla="*/ 22140 w 50105"/>
              <a:gd name="connsiteY0" fmla="*/ 54766 h 54766"/>
              <a:gd name="connsiteX1" fmla="*/ 0 w 50105"/>
              <a:gd name="connsiteY1" fmla="*/ 54766 h 54766"/>
              <a:gd name="connsiteX2" fmla="*/ 26801 w 50105"/>
              <a:gd name="connsiteY2" fmla="*/ 27966 h 54766"/>
              <a:gd name="connsiteX3" fmla="*/ 0 w 50105"/>
              <a:gd name="connsiteY3" fmla="*/ 0 h 54766"/>
              <a:gd name="connsiteX4" fmla="*/ 23305 w 50105"/>
              <a:gd name="connsiteY4" fmla="*/ 0 h 54766"/>
              <a:gd name="connsiteX5" fmla="*/ 50106 w 50105"/>
              <a:gd name="connsiteY5" fmla="*/ 26801 h 5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4765">
                <a:moveTo>
                  <a:pt x="22140" y="54766"/>
                </a:moveTo>
                <a:lnTo>
                  <a:pt x="0" y="54766"/>
                </a:lnTo>
                <a:lnTo>
                  <a:pt x="26801" y="27966"/>
                </a:lnTo>
                <a:lnTo>
                  <a:pt x="0" y="0"/>
                </a:lnTo>
                <a:lnTo>
                  <a:pt x="23305" y="0"/>
                </a:lnTo>
                <a:lnTo>
                  <a:pt x="50106" y="26801"/>
                </a:lnTo>
                <a:close/>
              </a:path>
            </a:pathLst>
          </a:custGeom>
          <a:solidFill>
            <a:srgbClr val="EEF2F5"/>
          </a:solidFill>
          <a:ln w="11643" cap="flat">
            <a:noFill/>
            <a:prstDash val="solid"/>
            <a:miter/>
          </a:ln>
        </p:spPr>
        <p:txBody>
          <a:bodyPr rtlCol="0" anchor="ctr"/>
          <a:lstStyle/>
          <a:p>
            <a:endParaRPr lang="de-DE"/>
          </a:p>
        </p:txBody>
      </p:sp>
      <p:sp>
        <p:nvSpPr>
          <p:cNvPr id="327" name="Freihandform: Form 326">
            <a:extLst>
              <a:ext uri="{FF2B5EF4-FFF2-40B4-BE49-F238E27FC236}">
                <a16:creationId xmlns:a16="http://schemas.microsoft.com/office/drawing/2014/main" id="{85895A0B-5B7D-4040-8BB1-5C871FAB6EE7}"/>
              </a:ext>
            </a:extLst>
          </p:cNvPr>
          <p:cNvSpPr/>
          <p:nvPr userDrawn="1"/>
        </p:nvSpPr>
        <p:spPr>
          <a:xfrm>
            <a:off x="5602523" y="5986393"/>
            <a:ext cx="50105" cy="54766"/>
          </a:xfrm>
          <a:custGeom>
            <a:avLst/>
            <a:gdLst>
              <a:gd name="connsiteX0" fmla="*/ 22140 w 50105"/>
              <a:gd name="connsiteY0" fmla="*/ 54766 h 54766"/>
              <a:gd name="connsiteX1" fmla="*/ 0 w 50105"/>
              <a:gd name="connsiteY1" fmla="*/ 54766 h 54766"/>
              <a:gd name="connsiteX2" fmla="*/ 26801 w 50105"/>
              <a:gd name="connsiteY2" fmla="*/ 26801 h 54766"/>
              <a:gd name="connsiteX3" fmla="*/ 0 w 50105"/>
              <a:gd name="connsiteY3" fmla="*/ 0 h 54766"/>
              <a:gd name="connsiteX4" fmla="*/ 23305 w 50105"/>
              <a:gd name="connsiteY4" fmla="*/ 0 h 54766"/>
              <a:gd name="connsiteX5" fmla="*/ 50106 w 50105"/>
              <a:gd name="connsiteY5" fmla="*/ 26801 h 5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4765">
                <a:moveTo>
                  <a:pt x="22140" y="54766"/>
                </a:moveTo>
                <a:lnTo>
                  <a:pt x="0" y="54766"/>
                </a:lnTo>
                <a:lnTo>
                  <a:pt x="26801" y="26801"/>
                </a:lnTo>
                <a:lnTo>
                  <a:pt x="0" y="0"/>
                </a:lnTo>
                <a:lnTo>
                  <a:pt x="23305" y="0"/>
                </a:lnTo>
                <a:lnTo>
                  <a:pt x="50106" y="26801"/>
                </a:lnTo>
                <a:close/>
              </a:path>
            </a:pathLst>
          </a:custGeom>
          <a:solidFill>
            <a:srgbClr val="EEF2F5"/>
          </a:solidFill>
          <a:ln w="11643" cap="flat">
            <a:noFill/>
            <a:prstDash val="solid"/>
            <a:miter/>
          </a:ln>
        </p:spPr>
        <p:txBody>
          <a:bodyPr rtlCol="0" anchor="ctr"/>
          <a:lstStyle/>
          <a:p>
            <a:endParaRPr lang="de-DE"/>
          </a:p>
        </p:txBody>
      </p:sp>
      <p:sp>
        <p:nvSpPr>
          <p:cNvPr id="328" name="Freihandform: Form 327">
            <a:extLst>
              <a:ext uri="{FF2B5EF4-FFF2-40B4-BE49-F238E27FC236}">
                <a16:creationId xmlns:a16="http://schemas.microsoft.com/office/drawing/2014/main" id="{F82EB456-ACBE-4744-9452-8F06AAB03489}"/>
              </a:ext>
            </a:extLst>
          </p:cNvPr>
          <p:cNvSpPr/>
          <p:nvPr userDrawn="1"/>
        </p:nvSpPr>
        <p:spPr>
          <a:xfrm>
            <a:off x="5602523" y="6340628"/>
            <a:ext cx="50105" cy="54766"/>
          </a:xfrm>
          <a:custGeom>
            <a:avLst/>
            <a:gdLst>
              <a:gd name="connsiteX0" fmla="*/ 22140 w 50105"/>
              <a:gd name="connsiteY0" fmla="*/ 54766 h 54766"/>
              <a:gd name="connsiteX1" fmla="*/ 0 w 50105"/>
              <a:gd name="connsiteY1" fmla="*/ 54766 h 54766"/>
              <a:gd name="connsiteX2" fmla="*/ 26801 w 50105"/>
              <a:gd name="connsiteY2" fmla="*/ 27966 h 54766"/>
              <a:gd name="connsiteX3" fmla="*/ 0 w 50105"/>
              <a:gd name="connsiteY3" fmla="*/ 0 h 54766"/>
              <a:gd name="connsiteX4" fmla="*/ 23305 w 50105"/>
              <a:gd name="connsiteY4" fmla="*/ 0 h 54766"/>
              <a:gd name="connsiteX5" fmla="*/ 50106 w 50105"/>
              <a:gd name="connsiteY5" fmla="*/ 26801 h 5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4765">
                <a:moveTo>
                  <a:pt x="22140" y="54766"/>
                </a:moveTo>
                <a:lnTo>
                  <a:pt x="0" y="54766"/>
                </a:lnTo>
                <a:lnTo>
                  <a:pt x="26801" y="27966"/>
                </a:lnTo>
                <a:lnTo>
                  <a:pt x="0" y="0"/>
                </a:lnTo>
                <a:lnTo>
                  <a:pt x="23305" y="0"/>
                </a:lnTo>
                <a:lnTo>
                  <a:pt x="50106" y="26801"/>
                </a:lnTo>
                <a:close/>
              </a:path>
            </a:pathLst>
          </a:custGeom>
          <a:solidFill>
            <a:srgbClr val="EEF2F5"/>
          </a:solidFill>
          <a:ln w="11643" cap="flat">
            <a:noFill/>
            <a:prstDash val="solid"/>
            <a:miter/>
          </a:ln>
        </p:spPr>
        <p:txBody>
          <a:bodyPr rtlCol="0" anchor="ctr"/>
          <a:lstStyle/>
          <a:p>
            <a:endParaRPr lang="de-DE"/>
          </a:p>
        </p:txBody>
      </p:sp>
      <p:sp>
        <p:nvSpPr>
          <p:cNvPr id="329" name="Freihandform: Form 328">
            <a:extLst>
              <a:ext uri="{FF2B5EF4-FFF2-40B4-BE49-F238E27FC236}">
                <a16:creationId xmlns:a16="http://schemas.microsoft.com/office/drawing/2014/main" id="{4FED52AE-417D-492D-96F2-E2A5734595A3}"/>
              </a:ext>
            </a:extLst>
          </p:cNvPr>
          <p:cNvSpPr/>
          <p:nvPr userDrawn="1"/>
        </p:nvSpPr>
        <p:spPr>
          <a:xfrm>
            <a:off x="5602523" y="6696029"/>
            <a:ext cx="50105" cy="54766"/>
          </a:xfrm>
          <a:custGeom>
            <a:avLst/>
            <a:gdLst>
              <a:gd name="connsiteX0" fmla="*/ 22140 w 50105"/>
              <a:gd name="connsiteY0" fmla="*/ 54766 h 54766"/>
              <a:gd name="connsiteX1" fmla="*/ 0 w 50105"/>
              <a:gd name="connsiteY1" fmla="*/ 54766 h 54766"/>
              <a:gd name="connsiteX2" fmla="*/ 26801 w 50105"/>
              <a:gd name="connsiteY2" fmla="*/ 27966 h 54766"/>
              <a:gd name="connsiteX3" fmla="*/ 0 w 50105"/>
              <a:gd name="connsiteY3" fmla="*/ 0 h 54766"/>
              <a:gd name="connsiteX4" fmla="*/ 23305 w 50105"/>
              <a:gd name="connsiteY4" fmla="*/ 0 h 54766"/>
              <a:gd name="connsiteX5" fmla="*/ 50106 w 50105"/>
              <a:gd name="connsiteY5" fmla="*/ 26801 h 5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4765">
                <a:moveTo>
                  <a:pt x="22140" y="54766"/>
                </a:moveTo>
                <a:lnTo>
                  <a:pt x="0" y="54766"/>
                </a:lnTo>
                <a:lnTo>
                  <a:pt x="26801" y="27966"/>
                </a:lnTo>
                <a:lnTo>
                  <a:pt x="0" y="0"/>
                </a:lnTo>
                <a:lnTo>
                  <a:pt x="23305" y="0"/>
                </a:lnTo>
                <a:lnTo>
                  <a:pt x="50106" y="26801"/>
                </a:lnTo>
                <a:close/>
              </a:path>
            </a:pathLst>
          </a:custGeom>
          <a:solidFill>
            <a:srgbClr val="EEF2F5"/>
          </a:solidFill>
          <a:ln w="11643" cap="flat">
            <a:noFill/>
            <a:prstDash val="solid"/>
            <a:miter/>
          </a:ln>
        </p:spPr>
        <p:txBody>
          <a:bodyPr rtlCol="0" anchor="ctr"/>
          <a:lstStyle/>
          <a:p>
            <a:endParaRPr lang="de-DE"/>
          </a:p>
        </p:txBody>
      </p:sp>
      <p:sp>
        <p:nvSpPr>
          <p:cNvPr id="330" name="Freihandform: Form 329">
            <a:extLst>
              <a:ext uri="{FF2B5EF4-FFF2-40B4-BE49-F238E27FC236}">
                <a16:creationId xmlns:a16="http://schemas.microsoft.com/office/drawing/2014/main" id="{BA0E4B54-661A-44F6-9401-68AED3542315}"/>
              </a:ext>
            </a:extLst>
          </p:cNvPr>
          <p:cNvSpPr/>
          <p:nvPr userDrawn="1"/>
        </p:nvSpPr>
        <p:spPr>
          <a:xfrm>
            <a:off x="5948602" y="2073490"/>
            <a:ext cx="66419" cy="72245"/>
          </a:xfrm>
          <a:custGeom>
            <a:avLst/>
            <a:gdLst>
              <a:gd name="connsiteX0" fmla="*/ 30297 w 66419"/>
              <a:gd name="connsiteY0" fmla="*/ 72245 h 72245"/>
              <a:gd name="connsiteX1" fmla="*/ 0 w 66419"/>
              <a:gd name="connsiteY1" fmla="*/ 72245 h 72245"/>
              <a:gd name="connsiteX2" fmla="*/ 36123 w 66419"/>
              <a:gd name="connsiteY2" fmla="*/ 37288 h 72245"/>
              <a:gd name="connsiteX3" fmla="*/ 0 w 66419"/>
              <a:gd name="connsiteY3" fmla="*/ 0 h 72245"/>
              <a:gd name="connsiteX4" fmla="*/ 31462 w 66419"/>
              <a:gd name="connsiteY4" fmla="*/ 0 h 72245"/>
              <a:gd name="connsiteX5" fmla="*/ 66419 w 66419"/>
              <a:gd name="connsiteY5" fmla="*/ 36123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5"/>
                </a:moveTo>
                <a:lnTo>
                  <a:pt x="0" y="72245"/>
                </a:lnTo>
                <a:lnTo>
                  <a:pt x="36123" y="37288"/>
                </a:lnTo>
                <a:lnTo>
                  <a:pt x="0" y="0"/>
                </a:lnTo>
                <a:lnTo>
                  <a:pt x="31462" y="0"/>
                </a:lnTo>
                <a:lnTo>
                  <a:pt x="66419" y="36123"/>
                </a:lnTo>
                <a:close/>
              </a:path>
            </a:pathLst>
          </a:custGeom>
          <a:solidFill>
            <a:srgbClr val="EEF2F5"/>
          </a:solidFill>
          <a:ln w="11643" cap="flat">
            <a:noFill/>
            <a:prstDash val="solid"/>
            <a:miter/>
          </a:ln>
        </p:spPr>
        <p:txBody>
          <a:bodyPr rtlCol="0" anchor="ctr"/>
          <a:lstStyle/>
          <a:p>
            <a:endParaRPr lang="de-DE"/>
          </a:p>
        </p:txBody>
      </p:sp>
      <p:sp>
        <p:nvSpPr>
          <p:cNvPr id="331" name="Freihandform: Form 330">
            <a:extLst>
              <a:ext uri="{FF2B5EF4-FFF2-40B4-BE49-F238E27FC236}">
                <a16:creationId xmlns:a16="http://schemas.microsoft.com/office/drawing/2014/main" id="{AF09B959-FEBB-4D08-B203-97FE6AE60305}"/>
              </a:ext>
            </a:extLst>
          </p:cNvPr>
          <p:cNvSpPr/>
          <p:nvPr userDrawn="1"/>
        </p:nvSpPr>
        <p:spPr>
          <a:xfrm>
            <a:off x="5948602" y="2428891"/>
            <a:ext cx="66419" cy="72245"/>
          </a:xfrm>
          <a:custGeom>
            <a:avLst/>
            <a:gdLst>
              <a:gd name="connsiteX0" fmla="*/ 30297 w 66419"/>
              <a:gd name="connsiteY0" fmla="*/ 72245 h 72245"/>
              <a:gd name="connsiteX1" fmla="*/ 0 w 66419"/>
              <a:gd name="connsiteY1" fmla="*/ 72245 h 72245"/>
              <a:gd name="connsiteX2" fmla="*/ 36123 w 66419"/>
              <a:gd name="connsiteY2" fmla="*/ 36123 h 72245"/>
              <a:gd name="connsiteX3" fmla="*/ 0 w 66419"/>
              <a:gd name="connsiteY3" fmla="*/ 0 h 72245"/>
              <a:gd name="connsiteX4" fmla="*/ 31462 w 66419"/>
              <a:gd name="connsiteY4" fmla="*/ 0 h 72245"/>
              <a:gd name="connsiteX5" fmla="*/ 66419 w 66419"/>
              <a:gd name="connsiteY5" fmla="*/ 34957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5"/>
                </a:moveTo>
                <a:lnTo>
                  <a:pt x="0" y="72245"/>
                </a:lnTo>
                <a:lnTo>
                  <a:pt x="36123" y="36123"/>
                </a:lnTo>
                <a:lnTo>
                  <a:pt x="0" y="0"/>
                </a:lnTo>
                <a:lnTo>
                  <a:pt x="31462" y="0"/>
                </a:lnTo>
                <a:lnTo>
                  <a:pt x="66419" y="34957"/>
                </a:lnTo>
                <a:close/>
              </a:path>
            </a:pathLst>
          </a:custGeom>
          <a:solidFill>
            <a:srgbClr val="EEF2F5"/>
          </a:solidFill>
          <a:ln w="11643" cap="flat">
            <a:noFill/>
            <a:prstDash val="solid"/>
            <a:miter/>
          </a:ln>
        </p:spPr>
        <p:txBody>
          <a:bodyPr rtlCol="0" anchor="ctr"/>
          <a:lstStyle/>
          <a:p>
            <a:endParaRPr lang="de-DE"/>
          </a:p>
        </p:txBody>
      </p:sp>
      <p:sp>
        <p:nvSpPr>
          <p:cNvPr id="332" name="Freihandform: Form 331">
            <a:extLst>
              <a:ext uri="{FF2B5EF4-FFF2-40B4-BE49-F238E27FC236}">
                <a16:creationId xmlns:a16="http://schemas.microsoft.com/office/drawing/2014/main" id="{8BDF68B8-5B5A-4BE8-90ED-91D64FF78D61}"/>
              </a:ext>
            </a:extLst>
          </p:cNvPr>
          <p:cNvSpPr/>
          <p:nvPr userDrawn="1"/>
        </p:nvSpPr>
        <p:spPr>
          <a:xfrm>
            <a:off x="5948602" y="2783126"/>
            <a:ext cx="66419" cy="72245"/>
          </a:xfrm>
          <a:custGeom>
            <a:avLst/>
            <a:gdLst>
              <a:gd name="connsiteX0" fmla="*/ 30297 w 66419"/>
              <a:gd name="connsiteY0" fmla="*/ 72245 h 72245"/>
              <a:gd name="connsiteX1" fmla="*/ 0 w 66419"/>
              <a:gd name="connsiteY1" fmla="*/ 72245 h 72245"/>
              <a:gd name="connsiteX2" fmla="*/ 36123 w 66419"/>
              <a:gd name="connsiteY2" fmla="*/ 37288 h 72245"/>
              <a:gd name="connsiteX3" fmla="*/ 0 w 66419"/>
              <a:gd name="connsiteY3" fmla="*/ 0 h 72245"/>
              <a:gd name="connsiteX4" fmla="*/ 31462 w 66419"/>
              <a:gd name="connsiteY4" fmla="*/ 0 h 72245"/>
              <a:gd name="connsiteX5" fmla="*/ 66419 w 66419"/>
              <a:gd name="connsiteY5" fmla="*/ 36123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5"/>
                </a:moveTo>
                <a:lnTo>
                  <a:pt x="0" y="72245"/>
                </a:lnTo>
                <a:lnTo>
                  <a:pt x="36123" y="37288"/>
                </a:lnTo>
                <a:lnTo>
                  <a:pt x="0" y="0"/>
                </a:lnTo>
                <a:lnTo>
                  <a:pt x="31462" y="0"/>
                </a:lnTo>
                <a:lnTo>
                  <a:pt x="66419" y="36123"/>
                </a:lnTo>
                <a:close/>
              </a:path>
            </a:pathLst>
          </a:custGeom>
          <a:solidFill>
            <a:srgbClr val="EEF2F5"/>
          </a:solidFill>
          <a:ln w="11643" cap="flat">
            <a:noFill/>
            <a:prstDash val="solid"/>
            <a:miter/>
          </a:ln>
        </p:spPr>
        <p:txBody>
          <a:bodyPr rtlCol="0" anchor="ctr"/>
          <a:lstStyle/>
          <a:p>
            <a:endParaRPr lang="de-DE"/>
          </a:p>
        </p:txBody>
      </p:sp>
      <p:sp>
        <p:nvSpPr>
          <p:cNvPr id="333" name="Freihandform: Form 332">
            <a:extLst>
              <a:ext uri="{FF2B5EF4-FFF2-40B4-BE49-F238E27FC236}">
                <a16:creationId xmlns:a16="http://schemas.microsoft.com/office/drawing/2014/main" id="{EC037E08-87A0-4AFA-8BB8-AF8BC0B89644}"/>
              </a:ext>
            </a:extLst>
          </p:cNvPr>
          <p:cNvSpPr/>
          <p:nvPr userDrawn="1"/>
        </p:nvSpPr>
        <p:spPr>
          <a:xfrm>
            <a:off x="5948602" y="3138527"/>
            <a:ext cx="66419" cy="72245"/>
          </a:xfrm>
          <a:custGeom>
            <a:avLst/>
            <a:gdLst>
              <a:gd name="connsiteX0" fmla="*/ 30297 w 66419"/>
              <a:gd name="connsiteY0" fmla="*/ 72245 h 72245"/>
              <a:gd name="connsiteX1" fmla="*/ 0 w 66419"/>
              <a:gd name="connsiteY1" fmla="*/ 72245 h 72245"/>
              <a:gd name="connsiteX2" fmla="*/ 36123 w 66419"/>
              <a:gd name="connsiteY2" fmla="*/ 36123 h 72245"/>
              <a:gd name="connsiteX3" fmla="*/ 0 w 66419"/>
              <a:gd name="connsiteY3" fmla="*/ 0 h 72245"/>
              <a:gd name="connsiteX4" fmla="*/ 31462 w 66419"/>
              <a:gd name="connsiteY4" fmla="*/ 0 h 72245"/>
              <a:gd name="connsiteX5" fmla="*/ 66419 w 66419"/>
              <a:gd name="connsiteY5" fmla="*/ 34957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5"/>
                </a:moveTo>
                <a:lnTo>
                  <a:pt x="0" y="72245"/>
                </a:lnTo>
                <a:lnTo>
                  <a:pt x="36123" y="36123"/>
                </a:lnTo>
                <a:lnTo>
                  <a:pt x="0" y="0"/>
                </a:lnTo>
                <a:lnTo>
                  <a:pt x="31462" y="0"/>
                </a:lnTo>
                <a:lnTo>
                  <a:pt x="66419" y="34957"/>
                </a:lnTo>
                <a:close/>
              </a:path>
            </a:pathLst>
          </a:custGeom>
          <a:solidFill>
            <a:srgbClr val="EEF2F5"/>
          </a:solidFill>
          <a:ln w="11643" cap="flat">
            <a:noFill/>
            <a:prstDash val="solid"/>
            <a:miter/>
          </a:ln>
        </p:spPr>
        <p:txBody>
          <a:bodyPr rtlCol="0" anchor="ctr"/>
          <a:lstStyle/>
          <a:p>
            <a:endParaRPr lang="de-DE"/>
          </a:p>
        </p:txBody>
      </p:sp>
      <p:sp>
        <p:nvSpPr>
          <p:cNvPr id="334" name="Freihandform: Form 333">
            <a:extLst>
              <a:ext uri="{FF2B5EF4-FFF2-40B4-BE49-F238E27FC236}">
                <a16:creationId xmlns:a16="http://schemas.microsoft.com/office/drawing/2014/main" id="{296B3953-1098-4657-B23B-8935F1D2DAB8}"/>
              </a:ext>
            </a:extLst>
          </p:cNvPr>
          <p:cNvSpPr/>
          <p:nvPr userDrawn="1"/>
        </p:nvSpPr>
        <p:spPr>
          <a:xfrm>
            <a:off x="5948602" y="3492762"/>
            <a:ext cx="66419" cy="73410"/>
          </a:xfrm>
          <a:custGeom>
            <a:avLst/>
            <a:gdLst>
              <a:gd name="connsiteX0" fmla="*/ 30297 w 66419"/>
              <a:gd name="connsiteY0" fmla="*/ 73411 h 73410"/>
              <a:gd name="connsiteX1" fmla="*/ 0 w 66419"/>
              <a:gd name="connsiteY1" fmla="*/ 73411 h 73410"/>
              <a:gd name="connsiteX2" fmla="*/ 36123 w 66419"/>
              <a:gd name="connsiteY2" fmla="*/ 37288 h 73410"/>
              <a:gd name="connsiteX3" fmla="*/ 0 w 66419"/>
              <a:gd name="connsiteY3" fmla="*/ 0 h 73410"/>
              <a:gd name="connsiteX4" fmla="*/ 31462 w 66419"/>
              <a:gd name="connsiteY4" fmla="*/ 0 h 73410"/>
              <a:gd name="connsiteX5" fmla="*/ 66419 w 66419"/>
              <a:gd name="connsiteY5" fmla="*/ 36123 h 73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3410">
                <a:moveTo>
                  <a:pt x="30297" y="73411"/>
                </a:moveTo>
                <a:lnTo>
                  <a:pt x="0" y="73411"/>
                </a:lnTo>
                <a:lnTo>
                  <a:pt x="36123" y="37288"/>
                </a:lnTo>
                <a:lnTo>
                  <a:pt x="0" y="0"/>
                </a:lnTo>
                <a:lnTo>
                  <a:pt x="31462" y="0"/>
                </a:lnTo>
                <a:lnTo>
                  <a:pt x="66419" y="36123"/>
                </a:lnTo>
                <a:close/>
              </a:path>
            </a:pathLst>
          </a:custGeom>
          <a:solidFill>
            <a:srgbClr val="EEF2F5"/>
          </a:solidFill>
          <a:ln w="11643" cap="flat">
            <a:noFill/>
            <a:prstDash val="solid"/>
            <a:miter/>
          </a:ln>
        </p:spPr>
        <p:txBody>
          <a:bodyPr rtlCol="0" anchor="ctr"/>
          <a:lstStyle/>
          <a:p>
            <a:endParaRPr lang="de-DE"/>
          </a:p>
        </p:txBody>
      </p:sp>
      <p:sp>
        <p:nvSpPr>
          <p:cNvPr id="335" name="Freihandform: Form 334">
            <a:extLst>
              <a:ext uri="{FF2B5EF4-FFF2-40B4-BE49-F238E27FC236}">
                <a16:creationId xmlns:a16="http://schemas.microsoft.com/office/drawing/2014/main" id="{C606BDC9-DBDE-4ACF-8BF9-ACC957E4520D}"/>
              </a:ext>
            </a:extLst>
          </p:cNvPr>
          <p:cNvSpPr/>
          <p:nvPr userDrawn="1"/>
        </p:nvSpPr>
        <p:spPr>
          <a:xfrm>
            <a:off x="5948602" y="3848163"/>
            <a:ext cx="66419" cy="72245"/>
          </a:xfrm>
          <a:custGeom>
            <a:avLst/>
            <a:gdLst>
              <a:gd name="connsiteX0" fmla="*/ 30297 w 66419"/>
              <a:gd name="connsiteY0" fmla="*/ 72245 h 72245"/>
              <a:gd name="connsiteX1" fmla="*/ 0 w 66419"/>
              <a:gd name="connsiteY1" fmla="*/ 72245 h 72245"/>
              <a:gd name="connsiteX2" fmla="*/ 36123 w 66419"/>
              <a:gd name="connsiteY2" fmla="*/ 36123 h 72245"/>
              <a:gd name="connsiteX3" fmla="*/ 0 w 66419"/>
              <a:gd name="connsiteY3" fmla="*/ 0 h 72245"/>
              <a:gd name="connsiteX4" fmla="*/ 31462 w 66419"/>
              <a:gd name="connsiteY4" fmla="*/ 0 h 72245"/>
              <a:gd name="connsiteX5" fmla="*/ 66419 w 66419"/>
              <a:gd name="connsiteY5" fmla="*/ 34957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5"/>
                </a:moveTo>
                <a:lnTo>
                  <a:pt x="0" y="72245"/>
                </a:lnTo>
                <a:lnTo>
                  <a:pt x="36123" y="36123"/>
                </a:lnTo>
                <a:lnTo>
                  <a:pt x="0" y="0"/>
                </a:lnTo>
                <a:lnTo>
                  <a:pt x="31462" y="0"/>
                </a:lnTo>
                <a:lnTo>
                  <a:pt x="66419" y="34957"/>
                </a:lnTo>
                <a:close/>
              </a:path>
            </a:pathLst>
          </a:custGeom>
          <a:solidFill>
            <a:srgbClr val="EEF2F5"/>
          </a:solidFill>
          <a:ln w="11643" cap="flat">
            <a:noFill/>
            <a:prstDash val="solid"/>
            <a:miter/>
          </a:ln>
        </p:spPr>
        <p:txBody>
          <a:bodyPr rtlCol="0" anchor="ctr"/>
          <a:lstStyle/>
          <a:p>
            <a:endParaRPr lang="de-DE"/>
          </a:p>
        </p:txBody>
      </p:sp>
      <p:sp>
        <p:nvSpPr>
          <p:cNvPr id="336" name="Freihandform: Form 335">
            <a:extLst>
              <a:ext uri="{FF2B5EF4-FFF2-40B4-BE49-F238E27FC236}">
                <a16:creationId xmlns:a16="http://schemas.microsoft.com/office/drawing/2014/main" id="{57A6FA3E-F4B9-4859-84E1-85F5F21681EC}"/>
              </a:ext>
            </a:extLst>
          </p:cNvPr>
          <p:cNvSpPr/>
          <p:nvPr userDrawn="1"/>
        </p:nvSpPr>
        <p:spPr>
          <a:xfrm>
            <a:off x="5948602" y="5267435"/>
            <a:ext cx="66419" cy="72245"/>
          </a:xfrm>
          <a:custGeom>
            <a:avLst/>
            <a:gdLst>
              <a:gd name="connsiteX0" fmla="*/ 30297 w 66419"/>
              <a:gd name="connsiteY0" fmla="*/ 72246 h 72245"/>
              <a:gd name="connsiteX1" fmla="*/ 0 w 66419"/>
              <a:gd name="connsiteY1" fmla="*/ 72246 h 72245"/>
              <a:gd name="connsiteX2" fmla="*/ 36123 w 66419"/>
              <a:gd name="connsiteY2" fmla="*/ 36123 h 72245"/>
              <a:gd name="connsiteX3" fmla="*/ 0 w 66419"/>
              <a:gd name="connsiteY3" fmla="*/ 0 h 72245"/>
              <a:gd name="connsiteX4" fmla="*/ 31462 w 66419"/>
              <a:gd name="connsiteY4" fmla="*/ 0 h 72245"/>
              <a:gd name="connsiteX5" fmla="*/ 66419 w 66419"/>
              <a:gd name="connsiteY5" fmla="*/ 36123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6"/>
                </a:moveTo>
                <a:lnTo>
                  <a:pt x="0" y="72246"/>
                </a:lnTo>
                <a:lnTo>
                  <a:pt x="36123" y="36123"/>
                </a:lnTo>
                <a:lnTo>
                  <a:pt x="0" y="0"/>
                </a:lnTo>
                <a:lnTo>
                  <a:pt x="31462" y="0"/>
                </a:lnTo>
                <a:lnTo>
                  <a:pt x="66419" y="36123"/>
                </a:lnTo>
                <a:close/>
              </a:path>
            </a:pathLst>
          </a:custGeom>
          <a:solidFill>
            <a:srgbClr val="EEF2F5"/>
          </a:solidFill>
          <a:ln w="11643" cap="flat">
            <a:noFill/>
            <a:prstDash val="solid"/>
            <a:miter/>
          </a:ln>
        </p:spPr>
        <p:txBody>
          <a:bodyPr rtlCol="0" anchor="ctr"/>
          <a:lstStyle/>
          <a:p>
            <a:endParaRPr lang="de-DE"/>
          </a:p>
        </p:txBody>
      </p:sp>
      <p:sp>
        <p:nvSpPr>
          <p:cNvPr id="337" name="Freihandform: Form 336">
            <a:extLst>
              <a:ext uri="{FF2B5EF4-FFF2-40B4-BE49-F238E27FC236}">
                <a16:creationId xmlns:a16="http://schemas.microsoft.com/office/drawing/2014/main" id="{D4B1D857-1C19-4BB3-BEDF-7C0AF8F86DAA}"/>
              </a:ext>
            </a:extLst>
          </p:cNvPr>
          <p:cNvSpPr/>
          <p:nvPr userDrawn="1"/>
        </p:nvSpPr>
        <p:spPr>
          <a:xfrm>
            <a:off x="5948602" y="5622836"/>
            <a:ext cx="66419" cy="72245"/>
          </a:xfrm>
          <a:custGeom>
            <a:avLst/>
            <a:gdLst>
              <a:gd name="connsiteX0" fmla="*/ 30297 w 66419"/>
              <a:gd name="connsiteY0" fmla="*/ 72246 h 72245"/>
              <a:gd name="connsiteX1" fmla="*/ 0 w 66419"/>
              <a:gd name="connsiteY1" fmla="*/ 72246 h 72245"/>
              <a:gd name="connsiteX2" fmla="*/ 36123 w 66419"/>
              <a:gd name="connsiteY2" fmla="*/ 36123 h 72245"/>
              <a:gd name="connsiteX3" fmla="*/ 0 w 66419"/>
              <a:gd name="connsiteY3" fmla="*/ 0 h 72245"/>
              <a:gd name="connsiteX4" fmla="*/ 31462 w 66419"/>
              <a:gd name="connsiteY4" fmla="*/ 0 h 72245"/>
              <a:gd name="connsiteX5" fmla="*/ 66419 w 66419"/>
              <a:gd name="connsiteY5" fmla="*/ 34957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6"/>
                </a:moveTo>
                <a:lnTo>
                  <a:pt x="0" y="72246"/>
                </a:lnTo>
                <a:lnTo>
                  <a:pt x="36123" y="36123"/>
                </a:lnTo>
                <a:lnTo>
                  <a:pt x="0" y="0"/>
                </a:lnTo>
                <a:lnTo>
                  <a:pt x="31462" y="0"/>
                </a:lnTo>
                <a:lnTo>
                  <a:pt x="66419" y="34957"/>
                </a:lnTo>
                <a:close/>
              </a:path>
            </a:pathLst>
          </a:custGeom>
          <a:solidFill>
            <a:srgbClr val="EEF2F5"/>
          </a:solidFill>
          <a:ln w="11643" cap="flat">
            <a:noFill/>
            <a:prstDash val="solid"/>
            <a:miter/>
          </a:ln>
        </p:spPr>
        <p:txBody>
          <a:bodyPr rtlCol="0" anchor="ctr"/>
          <a:lstStyle/>
          <a:p>
            <a:endParaRPr lang="de-DE"/>
          </a:p>
        </p:txBody>
      </p:sp>
      <p:sp>
        <p:nvSpPr>
          <p:cNvPr id="338" name="Freihandform: Form 337">
            <a:extLst>
              <a:ext uri="{FF2B5EF4-FFF2-40B4-BE49-F238E27FC236}">
                <a16:creationId xmlns:a16="http://schemas.microsoft.com/office/drawing/2014/main" id="{4A0625DC-FF7E-46FA-85B3-D78075F3A91C}"/>
              </a:ext>
            </a:extLst>
          </p:cNvPr>
          <p:cNvSpPr/>
          <p:nvPr userDrawn="1"/>
        </p:nvSpPr>
        <p:spPr>
          <a:xfrm>
            <a:off x="5948602" y="5977071"/>
            <a:ext cx="66419" cy="72245"/>
          </a:xfrm>
          <a:custGeom>
            <a:avLst/>
            <a:gdLst>
              <a:gd name="connsiteX0" fmla="*/ 30297 w 66419"/>
              <a:gd name="connsiteY0" fmla="*/ 72246 h 72245"/>
              <a:gd name="connsiteX1" fmla="*/ 0 w 66419"/>
              <a:gd name="connsiteY1" fmla="*/ 72246 h 72245"/>
              <a:gd name="connsiteX2" fmla="*/ 36123 w 66419"/>
              <a:gd name="connsiteY2" fmla="*/ 36123 h 72245"/>
              <a:gd name="connsiteX3" fmla="*/ 0 w 66419"/>
              <a:gd name="connsiteY3" fmla="*/ 0 h 72245"/>
              <a:gd name="connsiteX4" fmla="*/ 31462 w 66419"/>
              <a:gd name="connsiteY4" fmla="*/ 0 h 72245"/>
              <a:gd name="connsiteX5" fmla="*/ 66419 w 66419"/>
              <a:gd name="connsiteY5" fmla="*/ 36123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6"/>
                </a:moveTo>
                <a:lnTo>
                  <a:pt x="0" y="72246"/>
                </a:lnTo>
                <a:lnTo>
                  <a:pt x="36123" y="36123"/>
                </a:lnTo>
                <a:lnTo>
                  <a:pt x="0" y="0"/>
                </a:lnTo>
                <a:lnTo>
                  <a:pt x="31462" y="0"/>
                </a:lnTo>
                <a:lnTo>
                  <a:pt x="66419" y="36123"/>
                </a:lnTo>
                <a:close/>
              </a:path>
            </a:pathLst>
          </a:custGeom>
          <a:solidFill>
            <a:srgbClr val="EEF2F5"/>
          </a:solidFill>
          <a:ln w="11643" cap="flat">
            <a:noFill/>
            <a:prstDash val="solid"/>
            <a:miter/>
          </a:ln>
        </p:spPr>
        <p:txBody>
          <a:bodyPr rtlCol="0" anchor="ctr"/>
          <a:lstStyle/>
          <a:p>
            <a:endParaRPr lang="de-DE"/>
          </a:p>
        </p:txBody>
      </p:sp>
      <p:sp>
        <p:nvSpPr>
          <p:cNvPr id="339" name="Freihandform: Form 338">
            <a:extLst>
              <a:ext uri="{FF2B5EF4-FFF2-40B4-BE49-F238E27FC236}">
                <a16:creationId xmlns:a16="http://schemas.microsoft.com/office/drawing/2014/main" id="{7BDD0DFC-6E9A-4DFD-896C-269B9F75D87D}"/>
              </a:ext>
            </a:extLst>
          </p:cNvPr>
          <p:cNvSpPr/>
          <p:nvPr userDrawn="1"/>
        </p:nvSpPr>
        <p:spPr>
          <a:xfrm>
            <a:off x="5948602" y="6332472"/>
            <a:ext cx="66419" cy="72245"/>
          </a:xfrm>
          <a:custGeom>
            <a:avLst/>
            <a:gdLst>
              <a:gd name="connsiteX0" fmla="*/ 30297 w 66419"/>
              <a:gd name="connsiteY0" fmla="*/ 72246 h 72245"/>
              <a:gd name="connsiteX1" fmla="*/ 0 w 66419"/>
              <a:gd name="connsiteY1" fmla="*/ 72246 h 72245"/>
              <a:gd name="connsiteX2" fmla="*/ 36123 w 66419"/>
              <a:gd name="connsiteY2" fmla="*/ 36123 h 72245"/>
              <a:gd name="connsiteX3" fmla="*/ 0 w 66419"/>
              <a:gd name="connsiteY3" fmla="*/ 0 h 72245"/>
              <a:gd name="connsiteX4" fmla="*/ 31462 w 66419"/>
              <a:gd name="connsiteY4" fmla="*/ 0 h 72245"/>
              <a:gd name="connsiteX5" fmla="*/ 66419 w 66419"/>
              <a:gd name="connsiteY5" fmla="*/ 34957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6"/>
                </a:moveTo>
                <a:lnTo>
                  <a:pt x="0" y="72246"/>
                </a:lnTo>
                <a:lnTo>
                  <a:pt x="36123" y="36123"/>
                </a:lnTo>
                <a:lnTo>
                  <a:pt x="0" y="0"/>
                </a:lnTo>
                <a:lnTo>
                  <a:pt x="31462" y="0"/>
                </a:lnTo>
                <a:lnTo>
                  <a:pt x="66419" y="34957"/>
                </a:lnTo>
                <a:close/>
              </a:path>
            </a:pathLst>
          </a:custGeom>
          <a:solidFill>
            <a:srgbClr val="EEF2F5"/>
          </a:solidFill>
          <a:ln w="11643" cap="flat">
            <a:noFill/>
            <a:prstDash val="solid"/>
            <a:miter/>
          </a:ln>
        </p:spPr>
        <p:txBody>
          <a:bodyPr rtlCol="0" anchor="ctr"/>
          <a:lstStyle/>
          <a:p>
            <a:endParaRPr lang="de-DE"/>
          </a:p>
        </p:txBody>
      </p:sp>
      <p:sp>
        <p:nvSpPr>
          <p:cNvPr id="340" name="Freihandform: Form 339">
            <a:extLst>
              <a:ext uri="{FF2B5EF4-FFF2-40B4-BE49-F238E27FC236}">
                <a16:creationId xmlns:a16="http://schemas.microsoft.com/office/drawing/2014/main" id="{CAC3908E-B3D7-4D15-B42A-11C8334C3FAE}"/>
              </a:ext>
            </a:extLst>
          </p:cNvPr>
          <p:cNvSpPr/>
          <p:nvPr userDrawn="1"/>
        </p:nvSpPr>
        <p:spPr>
          <a:xfrm>
            <a:off x="5948602" y="6686707"/>
            <a:ext cx="66419" cy="72245"/>
          </a:xfrm>
          <a:custGeom>
            <a:avLst/>
            <a:gdLst>
              <a:gd name="connsiteX0" fmla="*/ 30297 w 66419"/>
              <a:gd name="connsiteY0" fmla="*/ 72246 h 72245"/>
              <a:gd name="connsiteX1" fmla="*/ 0 w 66419"/>
              <a:gd name="connsiteY1" fmla="*/ 72246 h 72245"/>
              <a:gd name="connsiteX2" fmla="*/ 36123 w 66419"/>
              <a:gd name="connsiteY2" fmla="*/ 37288 h 72245"/>
              <a:gd name="connsiteX3" fmla="*/ 0 w 66419"/>
              <a:gd name="connsiteY3" fmla="*/ 0 h 72245"/>
              <a:gd name="connsiteX4" fmla="*/ 31462 w 66419"/>
              <a:gd name="connsiteY4" fmla="*/ 0 h 72245"/>
              <a:gd name="connsiteX5" fmla="*/ 66419 w 66419"/>
              <a:gd name="connsiteY5" fmla="*/ 36123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6"/>
                </a:moveTo>
                <a:lnTo>
                  <a:pt x="0" y="72246"/>
                </a:lnTo>
                <a:lnTo>
                  <a:pt x="36123" y="37288"/>
                </a:lnTo>
                <a:lnTo>
                  <a:pt x="0" y="0"/>
                </a:lnTo>
                <a:lnTo>
                  <a:pt x="31462" y="0"/>
                </a:lnTo>
                <a:lnTo>
                  <a:pt x="66419" y="36123"/>
                </a:lnTo>
                <a:close/>
              </a:path>
            </a:pathLst>
          </a:custGeom>
          <a:solidFill>
            <a:srgbClr val="EEF2F5"/>
          </a:solidFill>
          <a:ln w="11643" cap="flat">
            <a:noFill/>
            <a:prstDash val="solid"/>
            <a:miter/>
          </a:ln>
        </p:spPr>
        <p:txBody>
          <a:bodyPr rtlCol="0" anchor="ctr"/>
          <a:lstStyle/>
          <a:p>
            <a:endParaRPr lang="de-DE"/>
          </a:p>
        </p:txBody>
      </p:sp>
      <p:sp>
        <p:nvSpPr>
          <p:cNvPr id="341" name="Freihandform: Form 340">
            <a:extLst>
              <a:ext uri="{FF2B5EF4-FFF2-40B4-BE49-F238E27FC236}">
                <a16:creationId xmlns:a16="http://schemas.microsoft.com/office/drawing/2014/main" id="{A7FA91F1-E227-486C-9E3D-701B7ECBD358}"/>
              </a:ext>
            </a:extLst>
          </p:cNvPr>
          <p:cNvSpPr/>
          <p:nvPr userDrawn="1"/>
        </p:nvSpPr>
        <p:spPr>
          <a:xfrm>
            <a:off x="6294680" y="2064168"/>
            <a:ext cx="83897" cy="90889"/>
          </a:xfrm>
          <a:custGeom>
            <a:avLst/>
            <a:gdLst>
              <a:gd name="connsiteX0" fmla="*/ 38453 w 83897"/>
              <a:gd name="connsiteY0" fmla="*/ 90889 h 90889"/>
              <a:gd name="connsiteX1" fmla="*/ 0 w 83897"/>
              <a:gd name="connsiteY1" fmla="*/ 90889 h 90889"/>
              <a:gd name="connsiteX2" fmla="*/ 45445 w 83897"/>
              <a:gd name="connsiteY2" fmla="*/ 46610 h 90889"/>
              <a:gd name="connsiteX3" fmla="*/ 0 w 83897"/>
              <a:gd name="connsiteY3" fmla="*/ 0 h 90889"/>
              <a:gd name="connsiteX4" fmla="*/ 39618 w 83897"/>
              <a:gd name="connsiteY4" fmla="*/ 0 h 90889"/>
              <a:gd name="connsiteX5" fmla="*/ 83898 w 83897"/>
              <a:gd name="connsiteY5" fmla="*/ 45445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6610"/>
                </a:lnTo>
                <a:lnTo>
                  <a:pt x="0" y="0"/>
                </a:lnTo>
                <a:lnTo>
                  <a:pt x="39618" y="0"/>
                </a:lnTo>
                <a:lnTo>
                  <a:pt x="83898" y="45445"/>
                </a:lnTo>
                <a:close/>
              </a:path>
            </a:pathLst>
          </a:custGeom>
          <a:solidFill>
            <a:srgbClr val="EEF2F5"/>
          </a:solidFill>
          <a:ln w="11643" cap="flat">
            <a:noFill/>
            <a:prstDash val="solid"/>
            <a:miter/>
          </a:ln>
        </p:spPr>
        <p:txBody>
          <a:bodyPr rtlCol="0" anchor="ctr"/>
          <a:lstStyle/>
          <a:p>
            <a:endParaRPr lang="de-DE"/>
          </a:p>
        </p:txBody>
      </p:sp>
      <p:sp>
        <p:nvSpPr>
          <p:cNvPr id="342" name="Freihandform: Form 341">
            <a:extLst>
              <a:ext uri="{FF2B5EF4-FFF2-40B4-BE49-F238E27FC236}">
                <a16:creationId xmlns:a16="http://schemas.microsoft.com/office/drawing/2014/main" id="{84476B35-4E31-4636-A104-EFCF30564C85}"/>
              </a:ext>
            </a:extLst>
          </p:cNvPr>
          <p:cNvSpPr/>
          <p:nvPr userDrawn="1"/>
        </p:nvSpPr>
        <p:spPr>
          <a:xfrm>
            <a:off x="6294680" y="2419569"/>
            <a:ext cx="83897" cy="90889"/>
          </a:xfrm>
          <a:custGeom>
            <a:avLst/>
            <a:gdLst>
              <a:gd name="connsiteX0" fmla="*/ 38453 w 83897"/>
              <a:gd name="connsiteY0" fmla="*/ 90889 h 90889"/>
              <a:gd name="connsiteX1" fmla="*/ 0 w 83897"/>
              <a:gd name="connsiteY1" fmla="*/ 90889 h 90889"/>
              <a:gd name="connsiteX2" fmla="*/ 45445 w 83897"/>
              <a:gd name="connsiteY2" fmla="*/ 45445 h 90889"/>
              <a:gd name="connsiteX3" fmla="*/ 0 w 83897"/>
              <a:gd name="connsiteY3" fmla="*/ 0 h 90889"/>
              <a:gd name="connsiteX4" fmla="*/ 39618 w 83897"/>
              <a:gd name="connsiteY4" fmla="*/ 0 h 90889"/>
              <a:gd name="connsiteX5" fmla="*/ 83898 w 83897"/>
              <a:gd name="connsiteY5" fmla="*/ 44279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endParaRPr lang="de-DE"/>
          </a:p>
        </p:txBody>
      </p:sp>
      <p:sp>
        <p:nvSpPr>
          <p:cNvPr id="343" name="Freihandform: Form 342">
            <a:extLst>
              <a:ext uri="{FF2B5EF4-FFF2-40B4-BE49-F238E27FC236}">
                <a16:creationId xmlns:a16="http://schemas.microsoft.com/office/drawing/2014/main" id="{6E4C3BE2-5614-4053-AD7A-02597CC57C7F}"/>
              </a:ext>
            </a:extLst>
          </p:cNvPr>
          <p:cNvSpPr/>
          <p:nvPr userDrawn="1"/>
        </p:nvSpPr>
        <p:spPr>
          <a:xfrm>
            <a:off x="6294680" y="2773804"/>
            <a:ext cx="83897" cy="90889"/>
          </a:xfrm>
          <a:custGeom>
            <a:avLst/>
            <a:gdLst>
              <a:gd name="connsiteX0" fmla="*/ 38453 w 83897"/>
              <a:gd name="connsiteY0" fmla="*/ 90889 h 90889"/>
              <a:gd name="connsiteX1" fmla="*/ 0 w 83897"/>
              <a:gd name="connsiteY1" fmla="*/ 90889 h 90889"/>
              <a:gd name="connsiteX2" fmla="*/ 45445 w 83897"/>
              <a:gd name="connsiteY2" fmla="*/ 46610 h 90889"/>
              <a:gd name="connsiteX3" fmla="*/ 0 w 83897"/>
              <a:gd name="connsiteY3" fmla="*/ 0 h 90889"/>
              <a:gd name="connsiteX4" fmla="*/ 39618 w 83897"/>
              <a:gd name="connsiteY4" fmla="*/ 0 h 90889"/>
              <a:gd name="connsiteX5" fmla="*/ 83898 w 83897"/>
              <a:gd name="connsiteY5" fmla="*/ 45445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6610"/>
                </a:lnTo>
                <a:lnTo>
                  <a:pt x="0" y="0"/>
                </a:lnTo>
                <a:lnTo>
                  <a:pt x="39618" y="0"/>
                </a:lnTo>
                <a:lnTo>
                  <a:pt x="83898" y="45445"/>
                </a:lnTo>
                <a:close/>
              </a:path>
            </a:pathLst>
          </a:custGeom>
          <a:solidFill>
            <a:srgbClr val="EEF2F5"/>
          </a:solidFill>
          <a:ln w="11643" cap="flat">
            <a:noFill/>
            <a:prstDash val="solid"/>
            <a:miter/>
          </a:ln>
        </p:spPr>
        <p:txBody>
          <a:bodyPr rtlCol="0" anchor="ctr"/>
          <a:lstStyle/>
          <a:p>
            <a:endParaRPr lang="de-DE"/>
          </a:p>
        </p:txBody>
      </p:sp>
      <p:sp>
        <p:nvSpPr>
          <p:cNvPr id="344" name="Freihandform: Form 343">
            <a:extLst>
              <a:ext uri="{FF2B5EF4-FFF2-40B4-BE49-F238E27FC236}">
                <a16:creationId xmlns:a16="http://schemas.microsoft.com/office/drawing/2014/main" id="{6DD9ED1D-820B-4357-A470-36FDDF21B3EF}"/>
              </a:ext>
            </a:extLst>
          </p:cNvPr>
          <p:cNvSpPr/>
          <p:nvPr userDrawn="1"/>
        </p:nvSpPr>
        <p:spPr>
          <a:xfrm>
            <a:off x="6294680" y="3129205"/>
            <a:ext cx="83897" cy="90889"/>
          </a:xfrm>
          <a:custGeom>
            <a:avLst/>
            <a:gdLst>
              <a:gd name="connsiteX0" fmla="*/ 38453 w 83897"/>
              <a:gd name="connsiteY0" fmla="*/ 90889 h 90889"/>
              <a:gd name="connsiteX1" fmla="*/ 0 w 83897"/>
              <a:gd name="connsiteY1" fmla="*/ 90889 h 90889"/>
              <a:gd name="connsiteX2" fmla="*/ 45445 w 83897"/>
              <a:gd name="connsiteY2" fmla="*/ 45445 h 90889"/>
              <a:gd name="connsiteX3" fmla="*/ 0 w 83897"/>
              <a:gd name="connsiteY3" fmla="*/ 0 h 90889"/>
              <a:gd name="connsiteX4" fmla="*/ 39618 w 83897"/>
              <a:gd name="connsiteY4" fmla="*/ 0 h 90889"/>
              <a:gd name="connsiteX5" fmla="*/ 83898 w 83897"/>
              <a:gd name="connsiteY5" fmla="*/ 44279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endParaRPr lang="de-DE"/>
          </a:p>
        </p:txBody>
      </p:sp>
      <p:sp>
        <p:nvSpPr>
          <p:cNvPr id="345" name="Freihandform: Form 344">
            <a:extLst>
              <a:ext uri="{FF2B5EF4-FFF2-40B4-BE49-F238E27FC236}">
                <a16:creationId xmlns:a16="http://schemas.microsoft.com/office/drawing/2014/main" id="{AB5439D2-89C7-4CE8-94B8-29C5545E1F13}"/>
              </a:ext>
            </a:extLst>
          </p:cNvPr>
          <p:cNvSpPr/>
          <p:nvPr userDrawn="1"/>
        </p:nvSpPr>
        <p:spPr>
          <a:xfrm>
            <a:off x="6294680" y="3484606"/>
            <a:ext cx="83897" cy="89724"/>
          </a:xfrm>
          <a:custGeom>
            <a:avLst/>
            <a:gdLst>
              <a:gd name="connsiteX0" fmla="*/ 38453 w 83897"/>
              <a:gd name="connsiteY0" fmla="*/ 89724 h 89724"/>
              <a:gd name="connsiteX1" fmla="*/ 0 w 83897"/>
              <a:gd name="connsiteY1" fmla="*/ 89724 h 89724"/>
              <a:gd name="connsiteX2" fmla="*/ 45445 w 83897"/>
              <a:gd name="connsiteY2" fmla="*/ 45445 h 89724"/>
              <a:gd name="connsiteX3" fmla="*/ 0 w 83897"/>
              <a:gd name="connsiteY3" fmla="*/ 0 h 89724"/>
              <a:gd name="connsiteX4" fmla="*/ 39618 w 83897"/>
              <a:gd name="connsiteY4" fmla="*/ 0 h 89724"/>
              <a:gd name="connsiteX5" fmla="*/ 83898 w 83897"/>
              <a:gd name="connsiteY5" fmla="*/ 44279 h 89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89724">
                <a:moveTo>
                  <a:pt x="38453" y="89724"/>
                </a:moveTo>
                <a:lnTo>
                  <a:pt x="0" y="89724"/>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endParaRPr lang="de-DE"/>
          </a:p>
        </p:txBody>
      </p:sp>
      <p:sp>
        <p:nvSpPr>
          <p:cNvPr id="346" name="Freihandform: Form 345">
            <a:extLst>
              <a:ext uri="{FF2B5EF4-FFF2-40B4-BE49-F238E27FC236}">
                <a16:creationId xmlns:a16="http://schemas.microsoft.com/office/drawing/2014/main" id="{AF1E6C46-91F7-46BE-B34D-0F8FF181944E}"/>
              </a:ext>
            </a:extLst>
          </p:cNvPr>
          <p:cNvSpPr/>
          <p:nvPr userDrawn="1"/>
        </p:nvSpPr>
        <p:spPr>
          <a:xfrm>
            <a:off x="6294680" y="3838841"/>
            <a:ext cx="83897" cy="90889"/>
          </a:xfrm>
          <a:custGeom>
            <a:avLst/>
            <a:gdLst>
              <a:gd name="connsiteX0" fmla="*/ 38453 w 83897"/>
              <a:gd name="connsiteY0" fmla="*/ 90889 h 90889"/>
              <a:gd name="connsiteX1" fmla="*/ 0 w 83897"/>
              <a:gd name="connsiteY1" fmla="*/ 90889 h 90889"/>
              <a:gd name="connsiteX2" fmla="*/ 45445 w 83897"/>
              <a:gd name="connsiteY2" fmla="*/ 45445 h 90889"/>
              <a:gd name="connsiteX3" fmla="*/ 0 w 83897"/>
              <a:gd name="connsiteY3" fmla="*/ 0 h 90889"/>
              <a:gd name="connsiteX4" fmla="*/ 39618 w 83897"/>
              <a:gd name="connsiteY4" fmla="*/ 0 h 90889"/>
              <a:gd name="connsiteX5" fmla="*/ 83898 w 83897"/>
              <a:gd name="connsiteY5" fmla="*/ 44279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endParaRPr lang="de-DE"/>
          </a:p>
        </p:txBody>
      </p:sp>
      <p:sp>
        <p:nvSpPr>
          <p:cNvPr id="347" name="Freihandform: Form 346">
            <a:extLst>
              <a:ext uri="{FF2B5EF4-FFF2-40B4-BE49-F238E27FC236}">
                <a16:creationId xmlns:a16="http://schemas.microsoft.com/office/drawing/2014/main" id="{098A75FB-3BEC-4A6C-8897-8E57891AACC2}"/>
              </a:ext>
            </a:extLst>
          </p:cNvPr>
          <p:cNvSpPr/>
          <p:nvPr userDrawn="1"/>
        </p:nvSpPr>
        <p:spPr>
          <a:xfrm>
            <a:off x="6294680" y="4194242"/>
            <a:ext cx="83897" cy="89724"/>
          </a:xfrm>
          <a:custGeom>
            <a:avLst/>
            <a:gdLst>
              <a:gd name="connsiteX0" fmla="*/ 38453 w 83897"/>
              <a:gd name="connsiteY0" fmla="*/ 89724 h 89724"/>
              <a:gd name="connsiteX1" fmla="*/ 0 w 83897"/>
              <a:gd name="connsiteY1" fmla="*/ 89724 h 89724"/>
              <a:gd name="connsiteX2" fmla="*/ 45445 w 83897"/>
              <a:gd name="connsiteY2" fmla="*/ 45445 h 89724"/>
              <a:gd name="connsiteX3" fmla="*/ 0 w 83897"/>
              <a:gd name="connsiteY3" fmla="*/ 0 h 89724"/>
              <a:gd name="connsiteX4" fmla="*/ 39618 w 83897"/>
              <a:gd name="connsiteY4" fmla="*/ 0 h 89724"/>
              <a:gd name="connsiteX5" fmla="*/ 83898 w 83897"/>
              <a:gd name="connsiteY5" fmla="*/ 44279 h 89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89724">
                <a:moveTo>
                  <a:pt x="38453" y="89724"/>
                </a:moveTo>
                <a:lnTo>
                  <a:pt x="0" y="89724"/>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endParaRPr lang="de-DE"/>
          </a:p>
        </p:txBody>
      </p:sp>
      <p:sp>
        <p:nvSpPr>
          <p:cNvPr id="348" name="Freihandform: Form 347">
            <a:extLst>
              <a:ext uri="{FF2B5EF4-FFF2-40B4-BE49-F238E27FC236}">
                <a16:creationId xmlns:a16="http://schemas.microsoft.com/office/drawing/2014/main" id="{FB969AF5-A3F7-4A67-927C-8CDA08440EEA}"/>
              </a:ext>
            </a:extLst>
          </p:cNvPr>
          <p:cNvSpPr/>
          <p:nvPr userDrawn="1"/>
        </p:nvSpPr>
        <p:spPr>
          <a:xfrm>
            <a:off x="6294680" y="4903878"/>
            <a:ext cx="83897" cy="89724"/>
          </a:xfrm>
          <a:custGeom>
            <a:avLst/>
            <a:gdLst>
              <a:gd name="connsiteX0" fmla="*/ 38453 w 83897"/>
              <a:gd name="connsiteY0" fmla="*/ 89724 h 89724"/>
              <a:gd name="connsiteX1" fmla="*/ 0 w 83897"/>
              <a:gd name="connsiteY1" fmla="*/ 89724 h 89724"/>
              <a:gd name="connsiteX2" fmla="*/ 45445 w 83897"/>
              <a:gd name="connsiteY2" fmla="*/ 45445 h 89724"/>
              <a:gd name="connsiteX3" fmla="*/ 0 w 83897"/>
              <a:gd name="connsiteY3" fmla="*/ 0 h 89724"/>
              <a:gd name="connsiteX4" fmla="*/ 39618 w 83897"/>
              <a:gd name="connsiteY4" fmla="*/ 0 h 89724"/>
              <a:gd name="connsiteX5" fmla="*/ 83898 w 83897"/>
              <a:gd name="connsiteY5" fmla="*/ 44279 h 89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89724">
                <a:moveTo>
                  <a:pt x="38453" y="89724"/>
                </a:moveTo>
                <a:lnTo>
                  <a:pt x="0" y="89724"/>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endParaRPr lang="de-DE"/>
          </a:p>
        </p:txBody>
      </p:sp>
      <p:sp>
        <p:nvSpPr>
          <p:cNvPr id="349" name="Freihandform: Form 348">
            <a:extLst>
              <a:ext uri="{FF2B5EF4-FFF2-40B4-BE49-F238E27FC236}">
                <a16:creationId xmlns:a16="http://schemas.microsoft.com/office/drawing/2014/main" id="{2E6C2156-0A71-415E-B4B6-B6F43E9327C4}"/>
              </a:ext>
            </a:extLst>
          </p:cNvPr>
          <p:cNvSpPr/>
          <p:nvPr userDrawn="1"/>
        </p:nvSpPr>
        <p:spPr>
          <a:xfrm>
            <a:off x="6294680" y="5258113"/>
            <a:ext cx="83897" cy="90889"/>
          </a:xfrm>
          <a:custGeom>
            <a:avLst/>
            <a:gdLst>
              <a:gd name="connsiteX0" fmla="*/ 38453 w 83897"/>
              <a:gd name="connsiteY0" fmla="*/ 90889 h 90889"/>
              <a:gd name="connsiteX1" fmla="*/ 0 w 83897"/>
              <a:gd name="connsiteY1" fmla="*/ 90889 h 90889"/>
              <a:gd name="connsiteX2" fmla="*/ 45445 w 83897"/>
              <a:gd name="connsiteY2" fmla="*/ 45445 h 90889"/>
              <a:gd name="connsiteX3" fmla="*/ 0 w 83897"/>
              <a:gd name="connsiteY3" fmla="*/ 0 h 90889"/>
              <a:gd name="connsiteX4" fmla="*/ 39618 w 83897"/>
              <a:gd name="connsiteY4" fmla="*/ 0 h 90889"/>
              <a:gd name="connsiteX5" fmla="*/ 83898 w 83897"/>
              <a:gd name="connsiteY5" fmla="*/ 44279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endParaRPr lang="de-DE"/>
          </a:p>
        </p:txBody>
      </p:sp>
      <p:sp>
        <p:nvSpPr>
          <p:cNvPr id="350" name="Freihandform: Form 349">
            <a:extLst>
              <a:ext uri="{FF2B5EF4-FFF2-40B4-BE49-F238E27FC236}">
                <a16:creationId xmlns:a16="http://schemas.microsoft.com/office/drawing/2014/main" id="{ACCECFFB-F7F0-4072-9DC2-02D68E9052B1}"/>
              </a:ext>
            </a:extLst>
          </p:cNvPr>
          <p:cNvSpPr/>
          <p:nvPr userDrawn="1"/>
        </p:nvSpPr>
        <p:spPr>
          <a:xfrm>
            <a:off x="6294680" y="5613514"/>
            <a:ext cx="83897" cy="90889"/>
          </a:xfrm>
          <a:custGeom>
            <a:avLst/>
            <a:gdLst>
              <a:gd name="connsiteX0" fmla="*/ 38453 w 83897"/>
              <a:gd name="connsiteY0" fmla="*/ 90889 h 90889"/>
              <a:gd name="connsiteX1" fmla="*/ 0 w 83897"/>
              <a:gd name="connsiteY1" fmla="*/ 90889 h 90889"/>
              <a:gd name="connsiteX2" fmla="*/ 45445 w 83897"/>
              <a:gd name="connsiteY2" fmla="*/ 45445 h 90889"/>
              <a:gd name="connsiteX3" fmla="*/ 0 w 83897"/>
              <a:gd name="connsiteY3" fmla="*/ 0 h 90889"/>
              <a:gd name="connsiteX4" fmla="*/ 39618 w 83897"/>
              <a:gd name="connsiteY4" fmla="*/ 0 h 90889"/>
              <a:gd name="connsiteX5" fmla="*/ 83898 w 83897"/>
              <a:gd name="connsiteY5" fmla="*/ 44279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endParaRPr lang="de-DE"/>
          </a:p>
        </p:txBody>
      </p:sp>
      <p:sp>
        <p:nvSpPr>
          <p:cNvPr id="351" name="Freihandform: Form 350">
            <a:extLst>
              <a:ext uri="{FF2B5EF4-FFF2-40B4-BE49-F238E27FC236}">
                <a16:creationId xmlns:a16="http://schemas.microsoft.com/office/drawing/2014/main" id="{30860A54-535E-40E9-96AA-34D99A547843}"/>
              </a:ext>
            </a:extLst>
          </p:cNvPr>
          <p:cNvSpPr/>
          <p:nvPr userDrawn="1"/>
        </p:nvSpPr>
        <p:spPr>
          <a:xfrm>
            <a:off x="6294680" y="5967749"/>
            <a:ext cx="83897" cy="90889"/>
          </a:xfrm>
          <a:custGeom>
            <a:avLst/>
            <a:gdLst>
              <a:gd name="connsiteX0" fmla="*/ 38453 w 83897"/>
              <a:gd name="connsiteY0" fmla="*/ 90889 h 90889"/>
              <a:gd name="connsiteX1" fmla="*/ 0 w 83897"/>
              <a:gd name="connsiteY1" fmla="*/ 90889 h 90889"/>
              <a:gd name="connsiteX2" fmla="*/ 45445 w 83897"/>
              <a:gd name="connsiteY2" fmla="*/ 46610 h 90889"/>
              <a:gd name="connsiteX3" fmla="*/ 0 w 83897"/>
              <a:gd name="connsiteY3" fmla="*/ 0 h 90889"/>
              <a:gd name="connsiteX4" fmla="*/ 39618 w 83897"/>
              <a:gd name="connsiteY4" fmla="*/ 0 h 90889"/>
              <a:gd name="connsiteX5" fmla="*/ 83898 w 83897"/>
              <a:gd name="connsiteY5" fmla="*/ 45445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6610"/>
                </a:lnTo>
                <a:lnTo>
                  <a:pt x="0" y="0"/>
                </a:lnTo>
                <a:lnTo>
                  <a:pt x="39618" y="0"/>
                </a:lnTo>
                <a:lnTo>
                  <a:pt x="83898" y="45445"/>
                </a:lnTo>
                <a:close/>
              </a:path>
            </a:pathLst>
          </a:custGeom>
          <a:solidFill>
            <a:srgbClr val="EEF2F5"/>
          </a:solidFill>
          <a:ln w="11643" cap="flat">
            <a:noFill/>
            <a:prstDash val="solid"/>
            <a:miter/>
          </a:ln>
        </p:spPr>
        <p:txBody>
          <a:bodyPr rtlCol="0" anchor="ctr"/>
          <a:lstStyle/>
          <a:p>
            <a:endParaRPr lang="de-DE"/>
          </a:p>
        </p:txBody>
      </p:sp>
      <p:sp>
        <p:nvSpPr>
          <p:cNvPr id="352" name="Freihandform: Form 351">
            <a:extLst>
              <a:ext uri="{FF2B5EF4-FFF2-40B4-BE49-F238E27FC236}">
                <a16:creationId xmlns:a16="http://schemas.microsoft.com/office/drawing/2014/main" id="{74EA2C5C-043C-43FC-82F8-EBCDC51C4FFE}"/>
              </a:ext>
            </a:extLst>
          </p:cNvPr>
          <p:cNvSpPr/>
          <p:nvPr userDrawn="1"/>
        </p:nvSpPr>
        <p:spPr>
          <a:xfrm>
            <a:off x="6294680" y="6323150"/>
            <a:ext cx="83897" cy="90889"/>
          </a:xfrm>
          <a:custGeom>
            <a:avLst/>
            <a:gdLst>
              <a:gd name="connsiteX0" fmla="*/ 38453 w 83897"/>
              <a:gd name="connsiteY0" fmla="*/ 90889 h 90889"/>
              <a:gd name="connsiteX1" fmla="*/ 0 w 83897"/>
              <a:gd name="connsiteY1" fmla="*/ 90889 h 90889"/>
              <a:gd name="connsiteX2" fmla="*/ 45445 w 83897"/>
              <a:gd name="connsiteY2" fmla="*/ 45445 h 90889"/>
              <a:gd name="connsiteX3" fmla="*/ 0 w 83897"/>
              <a:gd name="connsiteY3" fmla="*/ 0 h 90889"/>
              <a:gd name="connsiteX4" fmla="*/ 39618 w 83897"/>
              <a:gd name="connsiteY4" fmla="*/ 0 h 90889"/>
              <a:gd name="connsiteX5" fmla="*/ 83898 w 83897"/>
              <a:gd name="connsiteY5" fmla="*/ 44279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endParaRPr lang="de-DE"/>
          </a:p>
        </p:txBody>
      </p:sp>
      <p:sp>
        <p:nvSpPr>
          <p:cNvPr id="353" name="Freihandform: Form 352">
            <a:extLst>
              <a:ext uri="{FF2B5EF4-FFF2-40B4-BE49-F238E27FC236}">
                <a16:creationId xmlns:a16="http://schemas.microsoft.com/office/drawing/2014/main" id="{C8CACB49-436D-4574-8377-C753156738F1}"/>
              </a:ext>
            </a:extLst>
          </p:cNvPr>
          <p:cNvSpPr/>
          <p:nvPr userDrawn="1"/>
        </p:nvSpPr>
        <p:spPr>
          <a:xfrm>
            <a:off x="6294680" y="6677385"/>
            <a:ext cx="83897" cy="90889"/>
          </a:xfrm>
          <a:custGeom>
            <a:avLst/>
            <a:gdLst>
              <a:gd name="connsiteX0" fmla="*/ 38453 w 83897"/>
              <a:gd name="connsiteY0" fmla="*/ 90889 h 90889"/>
              <a:gd name="connsiteX1" fmla="*/ 0 w 83897"/>
              <a:gd name="connsiteY1" fmla="*/ 90889 h 90889"/>
              <a:gd name="connsiteX2" fmla="*/ 45445 w 83897"/>
              <a:gd name="connsiteY2" fmla="*/ 46610 h 90889"/>
              <a:gd name="connsiteX3" fmla="*/ 0 w 83897"/>
              <a:gd name="connsiteY3" fmla="*/ 0 h 90889"/>
              <a:gd name="connsiteX4" fmla="*/ 39618 w 83897"/>
              <a:gd name="connsiteY4" fmla="*/ 0 h 90889"/>
              <a:gd name="connsiteX5" fmla="*/ 83898 w 83897"/>
              <a:gd name="connsiteY5" fmla="*/ 45445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6610"/>
                </a:lnTo>
                <a:lnTo>
                  <a:pt x="0" y="0"/>
                </a:lnTo>
                <a:lnTo>
                  <a:pt x="39618" y="0"/>
                </a:lnTo>
                <a:lnTo>
                  <a:pt x="83898" y="45445"/>
                </a:lnTo>
                <a:close/>
              </a:path>
            </a:pathLst>
          </a:custGeom>
          <a:solidFill>
            <a:srgbClr val="EEF2F5"/>
          </a:solidFill>
          <a:ln w="11643" cap="flat">
            <a:noFill/>
            <a:prstDash val="solid"/>
            <a:miter/>
          </a:ln>
        </p:spPr>
        <p:txBody>
          <a:bodyPr rtlCol="0" anchor="ctr"/>
          <a:lstStyle/>
          <a:p>
            <a:endParaRPr lang="de-DE"/>
          </a:p>
        </p:txBody>
      </p:sp>
      <p:sp>
        <p:nvSpPr>
          <p:cNvPr id="354" name="Freihandform: Form 353">
            <a:extLst>
              <a:ext uri="{FF2B5EF4-FFF2-40B4-BE49-F238E27FC236}">
                <a16:creationId xmlns:a16="http://schemas.microsoft.com/office/drawing/2014/main" id="{B29013A0-BCBB-40DB-8B64-C13F7A006ED1}"/>
              </a:ext>
            </a:extLst>
          </p:cNvPr>
          <p:cNvSpPr/>
          <p:nvPr userDrawn="1"/>
        </p:nvSpPr>
        <p:spPr>
          <a:xfrm>
            <a:off x="6641924" y="2056012"/>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3601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355" name="Freihandform: Form 354">
            <a:extLst>
              <a:ext uri="{FF2B5EF4-FFF2-40B4-BE49-F238E27FC236}">
                <a16:creationId xmlns:a16="http://schemas.microsoft.com/office/drawing/2014/main" id="{CFF769E7-83E6-4FFF-B7B6-43CAC363AE64}"/>
              </a:ext>
            </a:extLst>
          </p:cNvPr>
          <p:cNvSpPr/>
          <p:nvPr userDrawn="1"/>
        </p:nvSpPr>
        <p:spPr>
          <a:xfrm>
            <a:off x="6641924" y="2410247"/>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3601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356" name="Freihandform: Form 355">
            <a:extLst>
              <a:ext uri="{FF2B5EF4-FFF2-40B4-BE49-F238E27FC236}">
                <a16:creationId xmlns:a16="http://schemas.microsoft.com/office/drawing/2014/main" id="{B4DC8A4E-265A-423E-AB7E-52089C97E7ED}"/>
              </a:ext>
            </a:extLst>
          </p:cNvPr>
          <p:cNvSpPr/>
          <p:nvPr userDrawn="1"/>
        </p:nvSpPr>
        <p:spPr>
          <a:xfrm>
            <a:off x="6641924" y="2765648"/>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3601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357" name="Freihandform: Form 356">
            <a:extLst>
              <a:ext uri="{FF2B5EF4-FFF2-40B4-BE49-F238E27FC236}">
                <a16:creationId xmlns:a16="http://schemas.microsoft.com/office/drawing/2014/main" id="{8229E235-012D-4068-9887-186727B34CE4}"/>
              </a:ext>
            </a:extLst>
          </p:cNvPr>
          <p:cNvSpPr/>
          <p:nvPr userDrawn="1"/>
        </p:nvSpPr>
        <p:spPr>
          <a:xfrm>
            <a:off x="6641924" y="3119883"/>
            <a:ext cx="100211" cy="109533"/>
          </a:xfrm>
          <a:custGeom>
            <a:avLst/>
            <a:gdLst>
              <a:gd name="connsiteX0" fmla="*/ 45445 w 100211"/>
              <a:gd name="connsiteY0" fmla="*/ 109533 h 109533"/>
              <a:gd name="connsiteX1" fmla="*/ 0 w 100211"/>
              <a:gd name="connsiteY1" fmla="*/ 109533 h 109533"/>
              <a:gd name="connsiteX2" fmla="*/ 53601 w 100211"/>
              <a:gd name="connsiteY2" fmla="*/ 54767 h 109533"/>
              <a:gd name="connsiteX3" fmla="*/ 0 w 100211"/>
              <a:gd name="connsiteY3" fmla="*/ 0 h 109533"/>
              <a:gd name="connsiteX4" fmla="*/ 46610 w 100211"/>
              <a:gd name="connsiteY4" fmla="*/ 0 h 109533"/>
              <a:gd name="connsiteX5" fmla="*/ 100211 w 100211"/>
              <a:gd name="connsiteY5" fmla="*/ 53601 h 109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9533">
                <a:moveTo>
                  <a:pt x="45445" y="109533"/>
                </a:moveTo>
                <a:lnTo>
                  <a:pt x="0" y="109533"/>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358" name="Freihandform: Form 357">
            <a:extLst>
              <a:ext uri="{FF2B5EF4-FFF2-40B4-BE49-F238E27FC236}">
                <a16:creationId xmlns:a16="http://schemas.microsoft.com/office/drawing/2014/main" id="{984E28EA-AC69-4530-BB08-379D156F0B5F}"/>
              </a:ext>
            </a:extLst>
          </p:cNvPr>
          <p:cNvSpPr/>
          <p:nvPr userDrawn="1"/>
        </p:nvSpPr>
        <p:spPr>
          <a:xfrm>
            <a:off x="6641924" y="3475284"/>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3601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359" name="Freihandform: Form 358">
            <a:extLst>
              <a:ext uri="{FF2B5EF4-FFF2-40B4-BE49-F238E27FC236}">
                <a16:creationId xmlns:a16="http://schemas.microsoft.com/office/drawing/2014/main" id="{FEDFDF1D-F996-436D-95F7-5BE574FD9E43}"/>
              </a:ext>
            </a:extLst>
          </p:cNvPr>
          <p:cNvSpPr/>
          <p:nvPr userDrawn="1"/>
        </p:nvSpPr>
        <p:spPr>
          <a:xfrm>
            <a:off x="6641924" y="3829519"/>
            <a:ext cx="100211" cy="109533"/>
          </a:xfrm>
          <a:custGeom>
            <a:avLst/>
            <a:gdLst>
              <a:gd name="connsiteX0" fmla="*/ 45445 w 100211"/>
              <a:gd name="connsiteY0" fmla="*/ 109533 h 109533"/>
              <a:gd name="connsiteX1" fmla="*/ 0 w 100211"/>
              <a:gd name="connsiteY1" fmla="*/ 109533 h 109533"/>
              <a:gd name="connsiteX2" fmla="*/ 53601 w 100211"/>
              <a:gd name="connsiteY2" fmla="*/ 54767 h 109533"/>
              <a:gd name="connsiteX3" fmla="*/ 0 w 100211"/>
              <a:gd name="connsiteY3" fmla="*/ 0 h 109533"/>
              <a:gd name="connsiteX4" fmla="*/ 46610 w 100211"/>
              <a:gd name="connsiteY4" fmla="*/ 0 h 109533"/>
              <a:gd name="connsiteX5" fmla="*/ 100211 w 100211"/>
              <a:gd name="connsiteY5" fmla="*/ 53601 h 109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9533">
                <a:moveTo>
                  <a:pt x="45445" y="109533"/>
                </a:moveTo>
                <a:lnTo>
                  <a:pt x="0" y="109533"/>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360" name="Freihandform: Form 359">
            <a:extLst>
              <a:ext uri="{FF2B5EF4-FFF2-40B4-BE49-F238E27FC236}">
                <a16:creationId xmlns:a16="http://schemas.microsoft.com/office/drawing/2014/main" id="{8685CC1C-42AB-4B1F-A9DB-BA63AF39AC62}"/>
              </a:ext>
            </a:extLst>
          </p:cNvPr>
          <p:cNvSpPr/>
          <p:nvPr userDrawn="1"/>
        </p:nvSpPr>
        <p:spPr>
          <a:xfrm>
            <a:off x="6641924" y="4184920"/>
            <a:ext cx="100211" cy="108367"/>
          </a:xfrm>
          <a:custGeom>
            <a:avLst/>
            <a:gdLst>
              <a:gd name="connsiteX0" fmla="*/ 45445 w 100211"/>
              <a:gd name="connsiteY0" fmla="*/ 108368 h 108367"/>
              <a:gd name="connsiteX1" fmla="*/ 0 w 100211"/>
              <a:gd name="connsiteY1" fmla="*/ 108368 h 108367"/>
              <a:gd name="connsiteX2" fmla="*/ 53601 w 100211"/>
              <a:gd name="connsiteY2" fmla="*/ 54767 h 108367"/>
              <a:gd name="connsiteX3" fmla="*/ 0 w 100211"/>
              <a:gd name="connsiteY3" fmla="*/ 0 h 108367"/>
              <a:gd name="connsiteX4" fmla="*/ 46610 w 100211"/>
              <a:gd name="connsiteY4" fmla="*/ 0 h 108367"/>
              <a:gd name="connsiteX5" fmla="*/ 100211 w 100211"/>
              <a:gd name="connsiteY5" fmla="*/ 53601 h 108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7">
                <a:moveTo>
                  <a:pt x="45445" y="108368"/>
                </a:moveTo>
                <a:lnTo>
                  <a:pt x="0" y="108368"/>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361" name="Freihandform: Form 360">
            <a:extLst>
              <a:ext uri="{FF2B5EF4-FFF2-40B4-BE49-F238E27FC236}">
                <a16:creationId xmlns:a16="http://schemas.microsoft.com/office/drawing/2014/main" id="{48EE8789-AAA0-46DB-896E-70EAB25AAE92}"/>
              </a:ext>
            </a:extLst>
          </p:cNvPr>
          <p:cNvSpPr/>
          <p:nvPr userDrawn="1"/>
        </p:nvSpPr>
        <p:spPr>
          <a:xfrm>
            <a:off x="6641924" y="4539155"/>
            <a:ext cx="100211" cy="109533"/>
          </a:xfrm>
          <a:custGeom>
            <a:avLst/>
            <a:gdLst>
              <a:gd name="connsiteX0" fmla="*/ 45445 w 100211"/>
              <a:gd name="connsiteY0" fmla="*/ 109533 h 109533"/>
              <a:gd name="connsiteX1" fmla="*/ 0 w 100211"/>
              <a:gd name="connsiteY1" fmla="*/ 109533 h 109533"/>
              <a:gd name="connsiteX2" fmla="*/ 53601 w 100211"/>
              <a:gd name="connsiteY2" fmla="*/ 54767 h 109533"/>
              <a:gd name="connsiteX3" fmla="*/ 0 w 100211"/>
              <a:gd name="connsiteY3" fmla="*/ 0 h 109533"/>
              <a:gd name="connsiteX4" fmla="*/ 46610 w 100211"/>
              <a:gd name="connsiteY4" fmla="*/ 0 h 109533"/>
              <a:gd name="connsiteX5" fmla="*/ 100211 w 100211"/>
              <a:gd name="connsiteY5" fmla="*/ 53601 h 109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9533">
                <a:moveTo>
                  <a:pt x="45445" y="109533"/>
                </a:moveTo>
                <a:lnTo>
                  <a:pt x="0" y="109533"/>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362" name="Freihandform: Form 361">
            <a:extLst>
              <a:ext uri="{FF2B5EF4-FFF2-40B4-BE49-F238E27FC236}">
                <a16:creationId xmlns:a16="http://schemas.microsoft.com/office/drawing/2014/main" id="{102A4279-5E98-4085-A63D-1DC589536896}"/>
              </a:ext>
            </a:extLst>
          </p:cNvPr>
          <p:cNvSpPr/>
          <p:nvPr userDrawn="1"/>
        </p:nvSpPr>
        <p:spPr>
          <a:xfrm>
            <a:off x="6641924" y="4894556"/>
            <a:ext cx="100211" cy="108367"/>
          </a:xfrm>
          <a:custGeom>
            <a:avLst/>
            <a:gdLst>
              <a:gd name="connsiteX0" fmla="*/ 45445 w 100211"/>
              <a:gd name="connsiteY0" fmla="*/ 108368 h 108367"/>
              <a:gd name="connsiteX1" fmla="*/ 0 w 100211"/>
              <a:gd name="connsiteY1" fmla="*/ 108368 h 108367"/>
              <a:gd name="connsiteX2" fmla="*/ 53601 w 100211"/>
              <a:gd name="connsiteY2" fmla="*/ 54767 h 108367"/>
              <a:gd name="connsiteX3" fmla="*/ 0 w 100211"/>
              <a:gd name="connsiteY3" fmla="*/ 0 h 108367"/>
              <a:gd name="connsiteX4" fmla="*/ 46610 w 100211"/>
              <a:gd name="connsiteY4" fmla="*/ 0 h 108367"/>
              <a:gd name="connsiteX5" fmla="*/ 100211 w 100211"/>
              <a:gd name="connsiteY5" fmla="*/ 53601 h 108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7">
                <a:moveTo>
                  <a:pt x="45445" y="108368"/>
                </a:moveTo>
                <a:lnTo>
                  <a:pt x="0" y="108368"/>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363" name="Freihandform: Form 362">
            <a:extLst>
              <a:ext uri="{FF2B5EF4-FFF2-40B4-BE49-F238E27FC236}">
                <a16:creationId xmlns:a16="http://schemas.microsoft.com/office/drawing/2014/main" id="{F159DC3D-E9B7-40DC-80A5-80705CE3B859}"/>
              </a:ext>
            </a:extLst>
          </p:cNvPr>
          <p:cNvSpPr/>
          <p:nvPr userDrawn="1"/>
        </p:nvSpPr>
        <p:spPr>
          <a:xfrm>
            <a:off x="6641924" y="5249956"/>
            <a:ext cx="100211" cy="108367"/>
          </a:xfrm>
          <a:custGeom>
            <a:avLst/>
            <a:gdLst>
              <a:gd name="connsiteX0" fmla="*/ 45445 w 100211"/>
              <a:gd name="connsiteY0" fmla="*/ 108368 h 108367"/>
              <a:gd name="connsiteX1" fmla="*/ 0 w 100211"/>
              <a:gd name="connsiteY1" fmla="*/ 108368 h 108367"/>
              <a:gd name="connsiteX2" fmla="*/ 53601 w 100211"/>
              <a:gd name="connsiteY2" fmla="*/ 54767 h 108367"/>
              <a:gd name="connsiteX3" fmla="*/ 0 w 100211"/>
              <a:gd name="connsiteY3" fmla="*/ 0 h 108367"/>
              <a:gd name="connsiteX4" fmla="*/ 46610 w 100211"/>
              <a:gd name="connsiteY4" fmla="*/ 0 h 108367"/>
              <a:gd name="connsiteX5" fmla="*/ 100211 w 100211"/>
              <a:gd name="connsiteY5" fmla="*/ 52436 h 108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7">
                <a:moveTo>
                  <a:pt x="45445" y="108368"/>
                </a:moveTo>
                <a:lnTo>
                  <a:pt x="0" y="108368"/>
                </a:lnTo>
                <a:lnTo>
                  <a:pt x="53601" y="54767"/>
                </a:lnTo>
                <a:lnTo>
                  <a:pt x="0" y="0"/>
                </a:lnTo>
                <a:lnTo>
                  <a:pt x="46610" y="0"/>
                </a:lnTo>
                <a:lnTo>
                  <a:pt x="100211" y="52436"/>
                </a:lnTo>
                <a:close/>
              </a:path>
            </a:pathLst>
          </a:custGeom>
          <a:solidFill>
            <a:srgbClr val="EEF2F5"/>
          </a:solidFill>
          <a:ln w="11643" cap="flat">
            <a:noFill/>
            <a:prstDash val="solid"/>
            <a:miter/>
          </a:ln>
        </p:spPr>
        <p:txBody>
          <a:bodyPr rtlCol="0" anchor="ctr"/>
          <a:lstStyle/>
          <a:p>
            <a:endParaRPr lang="de-DE"/>
          </a:p>
        </p:txBody>
      </p:sp>
      <p:sp>
        <p:nvSpPr>
          <p:cNvPr id="364" name="Freihandform: Form 363">
            <a:extLst>
              <a:ext uri="{FF2B5EF4-FFF2-40B4-BE49-F238E27FC236}">
                <a16:creationId xmlns:a16="http://schemas.microsoft.com/office/drawing/2014/main" id="{72A08ED3-7BD7-47B4-8793-76366AD64EE4}"/>
              </a:ext>
            </a:extLst>
          </p:cNvPr>
          <p:cNvSpPr/>
          <p:nvPr userDrawn="1"/>
        </p:nvSpPr>
        <p:spPr>
          <a:xfrm>
            <a:off x="6641924" y="5604192"/>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3601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365" name="Freihandform: Form 364">
            <a:extLst>
              <a:ext uri="{FF2B5EF4-FFF2-40B4-BE49-F238E27FC236}">
                <a16:creationId xmlns:a16="http://schemas.microsoft.com/office/drawing/2014/main" id="{C895AAFE-E256-4007-9B16-BC9198849207}"/>
              </a:ext>
            </a:extLst>
          </p:cNvPr>
          <p:cNvSpPr/>
          <p:nvPr userDrawn="1"/>
        </p:nvSpPr>
        <p:spPr>
          <a:xfrm>
            <a:off x="6641924" y="5959592"/>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2436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2436"/>
                </a:lnTo>
                <a:close/>
              </a:path>
            </a:pathLst>
          </a:custGeom>
          <a:solidFill>
            <a:srgbClr val="EEF2F5"/>
          </a:solidFill>
          <a:ln w="11643" cap="flat">
            <a:noFill/>
            <a:prstDash val="solid"/>
            <a:miter/>
          </a:ln>
        </p:spPr>
        <p:txBody>
          <a:bodyPr rtlCol="0" anchor="ctr"/>
          <a:lstStyle/>
          <a:p>
            <a:endParaRPr lang="de-DE"/>
          </a:p>
        </p:txBody>
      </p:sp>
      <p:sp>
        <p:nvSpPr>
          <p:cNvPr id="366" name="Freihandform: Form 365">
            <a:extLst>
              <a:ext uri="{FF2B5EF4-FFF2-40B4-BE49-F238E27FC236}">
                <a16:creationId xmlns:a16="http://schemas.microsoft.com/office/drawing/2014/main" id="{6C173860-BF8F-4E2F-BCFC-7F292BAC3A01}"/>
              </a:ext>
            </a:extLst>
          </p:cNvPr>
          <p:cNvSpPr/>
          <p:nvPr userDrawn="1"/>
        </p:nvSpPr>
        <p:spPr>
          <a:xfrm>
            <a:off x="6641924" y="6313828"/>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3601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367" name="Freihandform: Form 366">
            <a:extLst>
              <a:ext uri="{FF2B5EF4-FFF2-40B4-BE49-F238E27FC236}">
                <a16:creationId xmlns:a16="http://schemas.microsoft.com/office/drawing/2014/main" id="{73853278-27BF-4E81-94D6-486931097CE6}"/>
              </a:ext>
            </a:extLst>
          </p:cNvPr>
          <p:cNvSpPr/>
          <p:nvPr userDrawn="1"/>
        </p:nvSpPr>
        <p:spPr>
          <a:xfrm>
            <a:off x="6641924" y="6669228"/>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2436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2436"/>
                </a:lnTo>
                <a:close/>
              </a:path>
            </a:pathLst>
          </a:custGeom>
          <a:solidFill>
            <a:srgbClr val="EEF2F5"/>
          </a:solidFill>
          <a:ln w="11643" cap="flat">
            <a:noFill/>
            <a:prstDash val="solid"/>
            <a:miter/>
          </a:ln>
        </p:spPr>
        <p:txBody>
          <a:bodyPr rtlCol="0" anchor="ctr"/>
          <a:lstStyle/>
          <a:p>
            <a:endParaRPr lang="de-DE"/>
          </a:p>
        </p:txBody>
      </p:sp>
      <p:sp>
        <p:nvSpPr>
          <p:cNvPr id="368" name="Freihandform: Form 367">
            <a:extLst>
              <a:ext uri="{FF2B5EF4-FFF2-40B4-BE49-F238E27FC236}">
                <a16:creationId xmlns:a16="http://schemas.microsoft.com/office/drawing/2014/main" id="{94E5B3F3-1943-4AAC-A8E5-78E273FC1825}"/>
              </a:ext>
            </a:extLst>
          </p:cNvPr>
          <p:cNvSpPr/>
          <p:nvPr userDrawn="1"/>
        </p:nvSpPr>
        <p:spPr>
          <a:xfrm>
            <a:off x="6988003" y="2046690"/>
            <a:ext cx="117690" cy="127012"/>
          </a:xfrm>
          <a:custGeom>
            <a:avLst/>
            <a:gdLst>
              <a:gd name="connsiteX0" fmla="*/ 53601 w 117690"/>
              <a:gd name="connsiteY0" fmla="*/ 127012 h 127012"/>
              <a:gd name="connsiteX1" fmla="*/ 0 w 117690"/>
              <a:gd name="connsiteY1" fmla="*/ 127012 h 127012"/>
              <a:gd name="connsiteX2" fmla="*/ 62924 w 117690"/>
              <a:gd name="connsiteY2" fmla="*/ 64089 h 127012"/>
              <a:gd name="connsiteX3" fmla="*/ 0 w 117690"/>
              <a:gd name="connsiteY3" fmla="*/ 0 h 127012"/>
              <a:gd name="connsiteX4" fmla="*/ 54767 w 117690"/>
              <a:gd name="connsiteY4" fmla="*/ 0 h 127012"/>
              <a:gd name="connsiteX5" fmla="*/ 117690 w 117690"/>
              <a:gd name="connsiteY5" fmla="*/ 61758 h 12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2">
                <a:moveTo>
                  <a:pt x="53601" y="127012"/>
                </a:moveTo>
                <a:lnTo>
                  <a:pt x="0" y="127012"/>
                </a:lnTo>
                <a:lnTo>
                  <a:pt x="62924" y="64089"/>
                </a:lnTo>
                <a:lnTo>
                  <a:pt x="0" y="0"/>
                </a:lnTo>
                <a:lnTo>
                  <a:pt x="54767" y="0"/>
                </a:lnTo>
                <a:lnTo>
                  <a:pt x="117690" y="61758"/>
                </a:lnTo>
                <a:close/>
              </a:path>
            </a:pathLst>
          </a:custGeom>
          <a:solidFill>
            <a:srgbClr val="EEF2F5"/>
          </a:solidFill>
          <a:ln w="11643" cap="flat">
            <a:noFill/>
            <a:prstDash val="solid"/>
            <a:miter/>
          </a:ln>
        </p:spPr>
        <p:txBody>
          <a:bodyPr rtlCol="0" anchor="ctr"/>
          <a:lstStyle/>
          <a:p>
            <a:endParaRPr lang="de-DE"/>
          </a:p>
        </p:txBody>
      </p:sp>
      <p:sp>
        <p:nvSpPr>
          <p:cNvPr id="369" name="Freihandform: Form 368">
            <a:extLst>
              <a:ext uri="{FF2B5EF4-FFF2-40B4-BE49-F238E27FC236}">
                <a16:creationId xmlns:a16="http://schemas.microsoft.com/office/drawing/2014/main" id="{EDD934F7-8866-497B-BDDF-333CE12CC342}"/>
              </a:ext>
            </a:extLst>
          </p:cNvPr>
          <p:cNvSpPr/>
          <p:nvPr userDrawn="1"/>
        </p:nvSpPr>
        <p:spPr>
          <a:xfrm>
            <a:off x="6988003" y="2400925"/>
            <a:ext cx="117690" cy="127012"/>
          </a:xfrm>
          <a:custGeom>
            <a:avLst/>
            <a:gdLst>
              <a:gd name="connsiteX0" fmla="*/ 53601 w 117690"/>
              <a:gd name="connsiteY0" fmla="*/ 127012 h 127012"/>
              <a:gd name="connsiteX1" fmla="*/ 0 w 117690"/>
              <a:gd name="connsiteY1" fmla="*/ 127012 h 127012"/>
              <a:gd name="connsiteX2" fmla="*/ 62924 w 117690"/>
              <a:gd name="connsiteY2" fmla="*/ 64089 h 127012"/>
              <a:gd name="connsiteX3" fmla="*/ 0 w 117690"/>
              <a:gd name="connsiteY3" fmla="*/ 0 h 127012"/>
              <a:gd name="connsiteX4" fmla="*/ 54767 w 117690"/>
              <a:gd name="connsiteY4" fmla="*/ 0 h 127012"/>
              <a:gd name="connsiteX5" fmla="*/ 117690 w 117690"/>
              <a:gd name="connsiteY5" fmla="*/ 62923 h 12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2">
                <a:moveTo>
                  <a:pt x="53601" y="127012"/>
                </a:moveTo>
                <a:lnTo>
                  <a:pt x="0" y="127012"/>
                </a:lnTo>
                <a:lnTo>
                  <a:pt x="62924" y="64089"/>
                </a:lnTo>
                <a:lnTo>
                  <a:pt x="0" y="0"/>
                </a:lnTo>
                <a:lnTo>
                  <a:pt x="54767" y="0"/>
                </a:lnTo>
                <a:lnTo>
                  <a:pt x="117690" y="62923"/>
                </a:lnTo>
                <a:close/>
              </a:path>
            </a:pathLst>
          </a:custGeom>
          <a:solidFill>
            <a:srgbClr val="EEF2F5"/>
          </a:solidFill>
          <a:ln w="11643" cap="flat">
            <a:noFill/>
            <a:prstDash val="solid"/>
            <a:miter/>
          </a:ln>
        </p:spPr>
        <p:txBody>
          <a:bodyPr rtlCol="0" anchor="ctr"/>
          <a:lstStyle/>
          <a:p>
            <a:endParaRPr lang="de-DE"/>
          </a:p>
        </p:txBody>
      </p:sp>
      <p:sp>
        <p:nvSpPr>
          <p:cNvPr id="370" name="Freihandform: Form 369">
            <a:extLst>
              <a:ext uri="{FF2B5EF4-FFF2-40B4-BE49-F238E27FC236}">
                <a16:creationId xmlns:a16="http://schemas.microsoft.com/office/drawing/2014/main" id="{56DAFA73-B8F0-4EB9-8D0E-120ABAAAC29F}"/>
              </a:ext>
            </a:extLst>
          </p:cNvPr>
          <p:cNvSpPr/>
          <p:nvPr userDrawn="1"/>
        </p:nvSpPr>
        <p:spPr>
          <a:xfrm>
            <a:off x="6988003" y="2756326"/>
            <a:ext cx="117690" cy="127012"/>
          </a:xfrm>
          <a:custGeom>
            <a:avLst/>
            <a:gdLst>
              <a:gd name="connsiteX0" fmla="*/ 53601 w 117690"/>
              <a:gd name="connsiteY0" fmla="*/ 127012 h 127012"/>
              <a:gd name="connsiteX1" fmla="*/ 0 w 117690"/>
              <a:gd name="connsiteY1" fmla="*/ 127012 h 127012"/>
              <a:gd name="connsiteX2" fmla="*/ 62924 w 117690"/>
              <a:gd name="connsiteY2" fmla="*/ 64089 h 127012"/>
              <a:gd name="connsiteX3" fmla="*/ 0 w 117690"/>
              <a:gd name="connsiteY3" fmla="*/ 0 h 127012"/>
              <a:gd name="connsiteX4" fmla="*/ 54767 w 117690"/>
              <a:gd name="connsiteY4" fmla="*/ 0 h 127012"/>
              <a:gd name="connsiteX5" fmla="*/ 117690 w 117690"/>
              <a:gd name="connsiteY5" fmla="*/ 61758 h 12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2">
                <a:moveTo>
                  <a:pt x="53601" y="127012"/>
                </a:moveTo>
                <a:lnTo>
                  <a:pt x="0" y="127012"/>
                </a:lnTo>
                <a:lnTo>
                  <a:pt x="62924" y="64089"/>
                </a:lnTo>
                <a:lnTo>
                  <a:pt x="0" y="0"/>
                </a:lnTo>
                <a:lnTo>
                  <a:pt x="54767" y="0"/>
                </a:lnTo>
                <a:lnTo>
                  <a:pt x="117690" y="61758"/>
                </a:lnTo>
                <a:close/>
              </a:path>
            </a:pathLst>
          </a:custGeom>
          <a:solidFill>
            <a:srgbClr val="EEF2F5"/>
          </a:solidFill>
          <a:ln w="11643" cap="flat">
            <a:noFill/>
            <a:prstDash val="solid"/>
            <a:miter/>
          </a:ln>
        </p:spPr>
        <p:txBody>
          <a:bodyPr rtlCol="0" anchor="ctr"/>
          <a:lstStyle/>
          <a:p>
            <a:endParaRPr lang="de-DE"/>
          </a:p>
        </p:txBody>
      </p:sp>
      <p:sp>
        <p:nvSpPr>
          <p:cNvPr id="371" name="Freihandform: Form 370">
            <a:extLst>
              <a:ext uri="{FF2B5EF4-FFF2-40B4-BE49-F238E27FC236}">
                <a16:creationId xmlns:a16="http://schemas.microsoft.com/office/drawing/2014/main" id="{240F5A60-B565-4874-BFA1-B6F0B7F354EE}"/>
              </a:ext>
            </a:extLst>
          </p:cNvPr>
          <p:cNvSpPr/>
          <p:nvPr userDrawn="1"/>
        </p:nvSpPr>
        <p:spPr>
          <a:xfrm>
            <a:off x="6988003" y="3111726"/>
            <a:ext cx="117690" cy="125846"/>
          </a:xfrm>
          <a:custGeom>
            <a:avLst/>
            <a:gdLst>
              <a:gd name="connsiteX0" fmla="*/ 53601 w 117690"/>
              <a:gd name="connsiteY0" fmla="*/ 125847 h 125846"/>
              <a:gd name="connsiteX1" fmla="*/ 0 w 117690"/>
              <a:gd name="connsiteY1" fmla="*/ 125847 h 125846"/>
              <a:gd name="connsiteX2" fmla="*/ 62924 w 117690"/>
              <a:gd name="connsiteY2" fmla="*/ 62923 h 125846"/>
              <a:gd name="connsiteX3" fmla="*/ 0 w 117690"/>
              <a:gd name="connsiteY3" fmla="*/ 0 h 125846"/>
              <a:gd name="connsiteX4" fmla="*/ 54767 w 117690"/>
              <a:gd name="connsiteY4" fmla="*/ 0 h 125846"/>
              <a:gd name="connsiteX5" fmla="*/ 117690 w 117690"/>
              <a:gd name="connsiteY5" fmla="*/ 61758 h 125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5846">
                <a:moveTo>
                  <a:pt x="53601" y="125847"/>
                </a:moveTo>
                <a:lnTo>
                  <a:pt x="0" y="125847"/>
                </a:lnTo>
                <a:lnTo>
                  <a:pt x="62924" y="62923"/>
                </a:lnTo>
                <a:lnTo>
                  <a:pt x="0" y="0"/>
                </a:lnTo>
                <a:lnTo>
                  <a:pt x="54767" y="0"/>
                </a:lnTo>
                <a:lnTo>
                  <a:pt x="117690" y="61758"/>
                </a:lnTo>
                <a:close/>
              </a:path>
            </a:pathLst>
          </a:custGeom>
          <a:solidFill>
            <a:srgbClr val="EEF2F5"/>
          </a:solidFill>
          <a:ln w="11643" cap="flat">
            <a:noFill/>
            <a:prstDash val="solid"/>
            <a:miter/>
          </a:ln>
        </p:spPr>
        <p:txBody>
          <a:bodyPr rtlCol="0" anchor="ctr"/>
          <a:lstStyle/>
          <a:p>
            <a:endParaRPr lang="de-DE"/>
          </a:p>
        </p:txBody>
      </p:sp>
      <p:sp>
        <p:nvSpPr>
          <p:cNvPr id="372" name="Freihandform: Form 371">
            <a:extLst>
              <a:ext uri="{FF2B5EF4-FFF2-40B4-BE49-F238E27FC236}">
                <a16:creationId xmlns:a16="http://schemas.microsoft.com/office/drawing/2014/main" id="{3C037353-0135-47CD-AF22-880B75EBAC3E}"/>
              </a:ext>
            </a:extLst>
          </p:cNvPr>
          <p:cNvSpPr/>
          <p:nvPr userDrawn="1"/>
        </p:nvSpPr>
        <p:spPr>
          <a:xfrm>
            <a:off x="6988003" y="3465962"/>
            <a:ext cx="117690" cy="127012"/>
          </a:xfrm>
          <a:custGeom>
            <a:avLst/>
            <a:gdLst>
              <a:gd name="connsiteX0" fmla="*/ 53601 w 117690"/>
              <a:gd name="connsiteY0" fmla="*/ 127012 h 127012"/>
              <a:gd name="connsiteX1" fmla="*/ 0 w 117690"/>
              <a:gd name="connsiteY1" fmla="*/ 127012 h 127012"/>
              <a:gd name="connsiteX2" fmla="*/ 62924 w 117690"/>
              <a:gd name="connsiteY2" fmla="*/ 64089 h 127012"/>
              <a:gd name="connsiteX3" fmla="*/ 0 w 117690"/>
              <a:gd name="connsiteY3" fmla="*/ 0 h 127012"/>
              <a:gd name="connsiteX4" fmla="*/ 54767 w 117690"/>
              <a:gd name="connsiteY4" fmla="*/ 0 h 127012"/>
              <a:gd name="connsiteX5" fmla="*/ 117690 w 117690"/>
              <a:gd name="connsiteY5" fmla="*/ 62923 h 12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2">
                <a:moveTo>
                  <a:pt x="53601" y="127012"/>
                </a:moveTo>
                <a:lnTo>
                  <a:pt x="0" y="127012"/>
                </a:lnTo>
                <a:lnTo>
                  <a:pt x="62924" y="64089"/>
                </a:lnTo>
                <a:lnTo>
                  <a:pt x="0" y="0"/>
                </a:lnTo>
                <a:lnTo>
                  <a:pt x="54767" y="0"/>
                </a:lnTo>
                <a:lnTo>
                  <a:pt x="117690" y="62923"/>
                </a:lnTo>
                <a:close/>
              </a:path>
            </a:pathLst>
          </a:custGeom>
          <a:solidFill>
            <a:srgbClr val="EEF2F5"/>
          </a:solidFill>
          <a:ln w="11643" cap="flat">
            <a:noFill/>
            <a:prstDash val="solid"/>
            <a:miter/>
          </a:ln>
        </p:spPr>
        <p:txBody>
          <a:bodyPr rtlCol="0" anchor="ctr"/>
          <a:lstStyle/>
          <a:p>
            <a:endParaRPr lang="de-DE"/>
          </a:p>
        </p:txBody>
      </p:sp>
      <p:sp>
        <p:nvSpPr>
          <p:cNvPr id="373" name="Freihandform: Form 372">
            <a:extLst>
              <a:ext uri="{FF2B5EF4-FFF2-40B4-BE49-F238E27FC236}">
                <a16:creationId xmlns:a16="http://schemas.microsoft.com/office/drawing/2014/main" id="{213D6103-FD9E-4D62-B7C4-1F08EA89236E}"/>
              </a:ext>
            </a:extLst>
          </p:cNvPr>
          <p:cNvSpPr/>
          <p:nvPr userDrawn="1"/>
        </p:nvSpPr>
        <p:spPr>
          <a:xfrm>
            <a:off x="6988003" y="3821362"/>
            <a:ext cx="117690" cy="125846"/>
          </a:xfrm>
          <a:custGeom>
            <a:avLst/>
            <a:gdLst>
              <a:gd name="connsiteX0" fmla="*/ 53601 w 117690"/>
              <a:gd name="connsiteY0" fmla="*/ 125847 h 125846"/>
              <a:gd name="connsiteX1" fmla="*/ 0 w 117690"/>
              <a:gd name="connsiteY1" fmla="*/ 125847 h 125846"/>
              <a:gd name="connsiteX2" fmla="*/ 62924 w 117690"/>
              <a:gd name="connsiteY2" fmla="*/ 62923 h 125846"/>
              <a:gd name="connsiteX3" fmla="*/ 0 w 117690"/>
              <a:gd name="connsiteY3" fmla="*/ 0 h 125846"/>
              <a:gd name="connsiteX4" fmla="*/ 54767 w 117690"/>
              <a:gd name="connsiteY4" fmla="*/ 0 h 125846"/>
              <a:gd name="connsiteX5" fmla="*/ 117690 w 117690"/>
              <a:gd name="connsiteY5" fmla="*/ 61758 h 125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5846">
                <a:moveTo>
                  <a:pt x="53601" y="125847"/>
                </a:moveTo>
                <a:lnTo>
                  <a:pt x="0" y="125847"/>
                </a:lnTo>
                <a:lnTo>
                  <a:pt x="62924" y="62923"/>
                </a:lnTo>
                <a:lnTo>
                  <a:pt x="0" y="0"/>
                </a:lnTo>
                <a:lnTo>
                  <a:pt x="54767" y="0"/>
                </a:lnTo>
                <a:lnTo>
                  <a:pt x="117690" y="61758"/>
                </a:lnTo>
                <a:close/>
              </a:path>
            </a:pathLst>
          </a:custGeom>
          <a:solidFill>
            <a:srgbClr val="EEF2F5"/>
          </a:solidFill>
          <a:ln w="11643" cap="flat">
            <a:noFill/>
            <a:prstDash val="solid"/>
            <a:miter/>
          </a:ln>
        </p:spPr>
        <p:txBody>
          <a:bodyPr rtlCol="0" anchor="ctr"/>
          <a:lstStyle/>
          <a:p>
            <a:endParaRPr lang="de-DE"/>
          </a:p>
        </p:txBody>
      </p:sp>
      <p:sp>
        <p:nvSpPr>
          <p:cNvPr id="374" name="Freihandform: Form 373">
            <a:extLst>
              <a:ext uri="{FF2B5EF4-FFF2-40B4-BE49-F238E27FC236}">
                <a16:creationId xmlns:a16="http://schemas.microsoft.com/office/drawing/2014/main" id="{BFE4BB97-0A78-4555-A56A-0CE8A922BBB4}"/>
              </a:ext>
            </a:extLst>
          </p:cNvPr>
          <p:cNvSpPr/>
          <p:nvPr userDrawn="1"/>
        </p:nvSpPr>
        <p:spPr>
          <a:xfrm>
            <a:off x="6988003" y="4175598"/>
            <a:ext cx="117690" cy="127011"/>
          </a:xfrm>
          <a:custGeom>
            <a:avLst/>
            <a:gdLst>
              <a:gd name="connsiteX0" fmla="*/ 53601 w 117690"/>
              <a:gd name="connsiteY0" fmla="*/ 127012 h 127011"/>
              <a:gd name="connsiteX1" fmla="*/ 0 w 117690"/>
              <a:gd name="connsiteY1" fmla="*/ 127012 h 127011"/>
              <a:gd name="connsiteX2" fmla="*/ 62924 w 117690"/>
              <a:gd name="connsiteY2" fmla="*/ 64089 h 127011"/>
              <a:gd name="connsiteX3" fmla="*/ 0 w 117690"/>
              <a:gd name="connsiteY3" fmla="*/ 0 h 127011"/>
              <a:gd name="connsiteX4" fmla="*/ 54767 w 117690"/>
              <a:gd name="connsiteY4" fmla="*/ 0 h 127011"/>
              <a:gd name="connsiteX5" fmla="*/ 117690 w 117690"/>
              <a:gd name="connsiteY5" fmla="*/ 62923 h 12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1">
                <a:moveTo>
                  <a:pt x="53601" y="127012"/>
                </a:moveTo>
                <a:lnTo>
                  <a:pt x="0" y="127012"/>
                </a:lnTo>
                <a:lnTo>
                  <a:pt x="62924" y="64089"/>
                </a:lnTo>
                <a:lnTo>
                  <a:pt x="0" y="0"/>
                </a:lnTo>
                <a:lnTo>
                  <a:pt x="54767" y="0"/>
                </a:lnTo>
                <a:lnTo>
                  <a:pt x="117690" y="62923"/>
                </a:lnTo>
                <a:close/>
              </a:path>
            </a:pathLst>
          </a:custGeom>
          <a:solidFill>
            <a:srgbClr val="EEF2F5"/>
          </a:solidFill>
          <a:ln w="11643" cap="flat">
            <a:noFill/>
            <a:prstDash val="solid"/>
            <a:miter/>
          </a:ln>
        </p:spPr>
        <p:txBody>
          <a:bodyPr rtlCol="0" anchor="ctr"/>
          <a:lstStyle/>
          <a:p>
            <a:endParaRPr lang="de-DE"/>
          </a:p>
        </p:txBody>
      </p:sp>
      <p:sp>
        <p:nvSpPr>
          <p:cNvPr id="375" name="Freihandform: Form 374">
            <a:extLst>
              <a:ext uri="{FF2B5EF4-FFF2-40B4-BE49-F238E27FC236}">
                <a16:creationId xmlns:a16="http://schemas.microsoft.com/office/drawing/2014/main" id="{A1B20E53-2B21-486E-9646-2EC1DD80CFC0}"/>
              </a:ext>
            </a:extLst>
          </p:cNvPr>
          <p:cNvSpPr/>
          <p:nvPr userDrawn="1"/>
        </p:nvSpPr>
        <p:spPr>
          <a:xfrm>
            <a:off x="6988003" y="4530998"/>
            <a:ext cx="117690" cy="125846"/>
          </a:xfrm>
          <a:custGeom>
            <a:avLst/>
            <a:gdLst>
              <a:gd name="connsiteX0" fmla="*/ 53601 w 117690"/>
              <a:gd name="connsiteY0" fmla="*/ 125847 h 125846"/>
              <a:gd name="connsiteX1" fmla="*/ 0 w 117690"/>
              <a:gd name="connsiteY1" fmla="*/ 125847 h 125846"/>
              <a:gd name="connsiteX2" fmla="*/ 62924 w 117690"/>
              <a:gd name="connsiteY2" fmla="*/ 64089 h 125846"/>
              <a:gd name="connsiteX3" fmla="*/ 0 w 117690"/>
              <a:gd name="connsiteY3" fmla="*/ 0 h 125846"/>
              <a:gd name="connsiteX4" fmla="*/ 54767 w 117690"/>
              <a:gd name="connsiteY4" fmla="*/ 0 h 125846"/>
              <a:gd name="connsiteX5" fmla="*/ 117690 w 117690"/>
              <a:gd name="connsiteY5" fmla="*/ 61758 h 125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5846">
                <a:moveTo>
                  <a:pt x="53601" y="125847"/>
                </a:moveTo>
                <a:lnTo>
                  <a:pt x="0" y="125847"/>
                </a:lnTo>
                <a:lnTo>
                  <a:pt x="62924" y="64089"/>
                </a:lnTo>
                <a:lnTo>
                  <a:pt x="0" y="0"/>
                </a:lnTo>
                <a:lnTo>
                  <a:pt x="54767" y="0"/>
                </a:lnTo>
                <a:lnTo>
                  <a:pt x="117690" y="61758"/>
                </a:lnTo>
                <a:close/>
              </a:path>
            </a:pathLst>
          </a:custGeom>
          <a:solidFill>
            <a:srgbClr val="EEF2F5"/>
          </a:solidFill>
          <a:ln w="11643" cap="flat">
            <a:noFill/>
            <a:prstDash val="solid"/>
            <a:miter/>
          </a:ln>
        </p:spPr>
        <p:txBody>
          <a:bodyPr rtlCol="0" anchor="ctr"/>
          <a:lstStyle/>
          <a:p>
            <a:endParaRPr lang="de-DE"/>
          </a:p>
        </p:txBody>
      </p:sp>
      <p:sp>
        <p:nvSpPr>
          <p:cNvPr id="376" name="Freihandform: Form 375">
            <a:extLst>
              <a:ext uri="{FF2B5EF4-FFF2-40B4-BE49-F238E27FC236}">
                <a16:creationId xmlns:a16="http://schemas.microsoft.com/office/drawing/2014/main" id="{4147BD00-94B9-4CCC-BFE6-30FC48042AA5}"/>
              </a:ext>
            </a:extLst>
          </p:cNvPr>
          <p:cNvSpPr/>
          <p:nvPr userDrawn="1"/>
        </p:nvSpPr>
        <p:spPr>
          <a:xfrm>
            <a:off x="6988003" y="4885234"/>
            <a:ext cx="117690" cy="127012"/>
          </a:xfrm>
          <a:custGeom>
            <a:avLst/>
            <a:gdLst>
              <a:gd name="connsiteX0" fmla="*/ 53601 w 117690"/>
              <a:gd name="connsiteY0" fmla="*/ 127012 h 127012"/>
              <a:gd name="connsiteX1" fmla="*/ 0 w 117690"/>
              <a:gd name="connsiteY1" fmla="*/ 127012 h 127012"/>
              <a:gd name="connsiteX2" fmla="*/ 62924 w 117690"/>
              <a:gd name="connsiteY2" fmla="*/ 64089 h 127012"/>
              <a:gd name="connsiteX3" fmla="*/ 0 w 117690"/>
              <a:gd name="connsiteY3" fmla="*/ 0 h 127012"/>
              <a:gd name="connsiteX4" fmla="*/ 54767 w 117690"/>
              <a:gd name="connsiteY4" fmla="*/ 0 h 127012"/>
              <a:gd name="connsiteX5" fmla="*/ 117690 w 117690"/>
              <a:gd name="connsiteY5" fmla="*/ 62923 h 12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2">
                <a:moveTo>
                  <a:pt x="53601" y="127012"/>
                </a:moveTo>
                <a:lnTo>
                  <a:pt x="0" y="127012"/>
                </a:lnTo>
                <a:lnTo>
                  <a:pt x="62924" y="64089"/>
                </a:lnTo>
                <a:lnTo>
                  <a:pt x="0" y="0"/>
                </a:lnTo>
                <a:lnTo>
                  <a:pt x="54767" y="0"/>
                </a:lnTo>
                <a:lnTo>
                  <a:pt x="117690" y="62923"/>
                </a:lnTo>
                <a:close/>
              </a:path>
            </a:pathLst>
          </a:custGeom>
          <a:solidFill>
            <a:srgbClr val="EEF2F5"/>
          </a:solidFill>
          <a:ln w="11643" cap="flat">
            <a:noFill/>
            <a:prstDash val="solid"/>
            <a:miter/>
          </a:ln>
        </p:spPr>
        <p:txBody>
          <a:bodyPr rtlCol="0" anchor="ctr"/>
          <a:lstStyle/>
          <a:p>
            <a:endParaRPr lang="de-DE"/>
          </a:p>
        </p:txBody>
      </p:sp>
      <p:sp>
        <p:nvSpPr>
          <p:cNvPr id="377" name="Freihandform: Form 376">
            <a:extLst>
              <a:ext uri="{FF2B5EF4-FFF2-40B4-BE49-F238E27FC236}">
                <a16:creationId xmlns:a16="http://schemas.microsoft.com/office/drawing/2014/main" id="{6FD55161-C60E-4123-94C6-998E3F0CBDAE}"/>
              </a:ext>
            </a:extLst>
          </p:cNvPr>
          <p:cNvSpPr/>
          <p:nvPr userDrawn="1"/>
        </p:nvSpPr>
        <p:spPr>
          <a:xfrm>
            <a:off x="6988003" y="5240634"/>
            <a:ext cx="117690" cy="127011"/>
          </a:xfrm>
          <a:custGeom>
            <a:avLst/>
            <a:gdLst>
              <a:gd name="connsiteX0" fmla="*/ 53601 w 117690"/>
              <a:gd name="connsiteY0" fmla="*/ 127012 h 127011"/>
              <a:gd name="connsiteX1" fmla="*/ 0 w 117690"/>
              <a:gd name="connsiteY1" fmla="*/ 127012 h 127011"/>
              <a:gd name="connsiteX2" fmla="*/ 62924 w 117690"/>
              <a:gd name="connsiteY2" fmla="*/ 64089 h 127011"/>
              <a:gd name="connsiteX3" fmla="*/ 0 w 117690"/>
              <a:gd name="connsiteY3" fmla="*/ 0 h 127011"/>
              <a:gd name="connsiteX4" fmla="*/ 54767 w 117690"/>
              <a:gd name="connsiteY4" fmla="*/ 0 h 127011"/>
              <a:gd name="connsiteX5" fmla="*/ 117690 w 117690"/>
              <a:gd name="connsiteY5" fmla="*/ 61758 h 12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1">
                <a:moveTo>
                  <a:pt x="53601" y="127012"/>
                </a:moveTo>
                <a:lnTo>
                  <a:pt x="0" y="127012"/>
                </a:lnTo>
                <a:lnTo>
                  <a:pt x="62924" y="64089"/>
                </a:lnTo>
                <a:lnTo>
                  <a:pt x="0" y="0"/>
                </a:lnTo>
                <a:lnTo>
                  <a:pt x="54767" y="0"/>
                </a:lnTo>
                <a:lnTo>
                  <a:pt x="117690" y="61758"/>
                </a:lnTo>
                <a:close/>
              </a:path>
            </a:pathLst>
          </a:custGeom>
          <a:solidFill>
            <a:srgbClr val="EEF2F5"/>
          </a:solidFill>
          <a:ln w="11643" cap="flat">
            <a:noFill/>
            <a:prstDash val="solid"/>
            <a:miter/>
          </a:ln>
        </p:spPr>
        <p:txBody>
          <a:bodyPr rtlCol="0" anchor="ctr"/>
          <a:lstStyle/>
          <a:p>
            <a:endParaRPr lang="de-DE"/>
          </a:p>
        </p:txBody>
      </p:sp>
      <p:sp>
        <p:nvSpPr>
          <p:cNvPr id="378" name="Freihandform: Form 377">
            <a:extLst>
              <a:ext uri="{FF2B5EF4-FFF2-40B4-BE49-F238E27FC236}">
                <a16:creationId xmlns:a16="http://schemas.microsoft.com/office/drawing/2014/main" id="{F3C8ECE6-A2EF-41DE-A87C-3FB86FCA1031}"/>
              </a:ext>
            </a:extLst>
          </p:cNvPr>
          <p:cNvSpPr/>
          <p:nvPr userDrawn="1"/>
        </p:nvSpPr>
        <p:spPr>
          <a:xfrm>
            <a:off x="6988003" y="5594870"/>
            <a:ext cx="117690" cy="127011"/>
          </a:xfrm>
          <a:custGeom>
            <a:avLst/>
            <a:gdLst>
              <a:gd name="connsiteX0" fmla="*/ 53601 w 117690"/>
              <a:gd name="connsiteY0" fmla="*/ 127012 h 127011"/>
              <a:gd name="connsiteX1" fmla="*/ 0 w 117690"/>
              <a:gd name="connsiteY1" fmla="*/ 127012 h 127011"/>
              <a:gd name="connsiteX2" fmla="*/ 62924 w 117690"/>
              <a:gd name="connsiteY2" fmla="*/ 64089 h 127011"/>
              <a:gd name="connsiteX3" fmla="*/ 0 w 117690"/>
              <a:gd name="connsiteY3" fmla="*/ 0 h 127011"/>
              <a:gd name="connsiteX4" fmla="*/ 54767 w 117690"/>
              <a:gd name="connsiteY4" fmla="*/ 0 h 127011"/>
              <a:gd name="connsiteX5" fmla="*/ 117690 w 117690"/>
              <a:gd name="connsiteY5" fmla="*/ 62923 h 12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1">
                <a:moveTo>
                  <a:pt x="53601" y="127012"/>
                </a:moveTo>
                <a:lnTo>
                  <a:pt x="0" y="127012"/>
                </a:lnTo>
                <a:lnTo>
                  <a:pt x="62924" y="64089"/>
                </a:lnTo>
                <a:lnTo>
                  <a:pt x="0" y="0"/>
                </a:lnTo>
                <a:lnTo>
                  <a:pt x="54767" y="0"/>
                </a:lnTo>
                <a:lnTo>
                  <a:pt x="117690" y="62923"/>
                </a:lnTo>
                <a:close/>
              </a:path>
            </a:pathLst>
          </a:custGeom>
          <a:solidFill>
            <a:srgbClr val="EEF2F5"/>
          </a:solidFill>
          <a:ln w="11643" cap="flat">
            <a:noFill/>
            <a:prstDash val="solid"/>
            <a:miter/>
          </a:ln>
        </p:spPr>
        <p:txBody>
          <a:bodyPr rtlCol="0" anchor="ctr"/>
          <a:lstStyle/>
          <a:p>
            <a:endParaRPr lang="de-DE"/>
          </a:p>
        </p:txBody>
      </p:sp>
      <p:sp>
        <p:nvSpPr>
          <p:cNvPr id="379" name="Freihandform: Form 378">
            <a:extLst>
              <a:ext uri="{FF2B5EF4-FFF2-40B4-BE49-F238E27FC236}">
                <a16:creationId xmlns:a16="http://schemas.microsoft.com/office/drawing/2014/main" id="{B757F792-E71A-486E-A79E-007A9729854D}"/>
              </a:ext>
            </a:extLst>
          </p:cNvPr>
          <p:cNvSpPr/>
          <p:nvPr userDrawn="1"/>
        </p:nvSpPr>
        <p:spPr>
          <a:xfrm>
            <a:off x="6988003" y="5950270"/>
            <a:ext cx="117690" cy="127011"/>
          </a:xfrm>
          <a:custGeom>
            <a:avLst/>
            <a:gdLst>
              <a:gd name="connsiteX0" fmla="*/ 53601 w 117690"/>
              <a:gd name="connsiteY0" fmla="*/ 127012 h 127011"/>
              <a:gd name="connsiteX1" fmla="*/ 0 w 117690"/>
              <a:gd name="connsiteY1" fmla="*/ 127012 h 127011"/>
              <a:gd name="connsiteX2" fmla="*/ 62924 w 117690"/>
              <a:gd name="connsiteY2" fmla="*/ 64089 h 127011"/>
              <a:gd name="connsiteX3" fmla="*/ 0 w 117690"/>
              <a:gd name="connsiteY3" fmla="*/ 0 h 127011"/>
              <a:gd name="connsiteX4" fmla="*/ 54767 w 117690"/>
              <a:gd name="connsiteY4" fmla="*/ 0 h 127011"/>
              <a:gd name="connsiteX5" fmla="*/ 117690 w 117690"/>
              <a:gd name="connsiteY5" fmla="*/ 61758 h 12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1">
                <a:moveTo>
                  <a:pt x="53601" y="127012"/>
                </a:moveTo>
                <a:lnTo>
                  <a:pt x="0" y="127012"/>
                </a:lnTo>
                <a:lnTo>
                  <a:pt x="62924" y="64089"/>
                </a:lnTo>
                <a:lnTo>
                  <a:pt x="0" y="0"/>
                </a:lnTo>
                <a:lnTo>
                  <a:pt x="54767" y="0"/>
                </a:lnTo>
                <a:lnTo>
                  <a:pt x="117690" y="61758"/>
                </a:lnTo>
                <a:close/>
              </a:path>
            </a:pathLst>
          </a:custGeom>
          <a:solidFill>
            <a:srgbClr val="EEF2F5"/>
          </a:solidFill>
          <a:ln w="11643" cap="flat">
            <a:noFill/>
            <a:prstDash val="solid"/>
            <a:miter/>
          </a:ln>
        </p:spPr>
        <p:txBody>
          <a:bodyPr rtlCol="0" anchor="ctr"/>
          <a:lstStyle/>
          <a:p>
            <a:endParaRPr lang="de-DE"/>
          </a:p>
        </p:txBody>
      </p:sp>
      <p:sp>
        <p:nvSpPr>
          <p:cNvPr id="380" name="Freihandform: Form 379">
            <a:extLst>
              <a:ext uri="{FF2B5EF4-FFF2-40B4-BE49-F238E27FC236}">
                <a16:creationId xmlns:a16="http://schemas.microsoft.com/office/drawing/2014/main" id="{15F4D627-864D-47BE-9457-2AFE1454DAE3}"/>
              </a:ext>
            </a:extLst>
          </p:cNvPr>
          <p:cNvSpPr/>
          <p:nvPr userDrawn="1"/>
        </p:nvSpPr>
        <p:spPr>
          <a:xfrm>
            <a:off x="6988003" y="6304506"/>
            <a:ext cx="117690" cy="127011"/>
          </a:xfrm>
          <a:custGeom>
            <a:avLst/>
            <a:gdLst>
              <a:gd name="connsiteX0" fmla="*/ 53601 w 117690"/>
              <a:gd name="connsiteY0" fmla="*/ 127012 h 127011"/>
              <a:gd name="connsiteX1" fmla="*/ 0 w 117690"/>
              <a:gd name="connsiteY1" fmla="*/ 127012 h 127011"/>
              <a:gd name="connsiteX2" fmla="*/ 62924 w 117690"/>
              <a:gd name="connsiteY2" fmla="*/ 64089 h 127011"/>
              <a:gd name="connsiteX3" fmla="*/ 0 w 117690"/>
              <a:gd name="connsiteY3" fmla="*/ 0 h 127011"/>
              <a:gd name="connsiteX4" fmla="*/ 54767 w 117690"/>
              <a:gd name="connsiteY4" fmla="*/ 0 h 127011"/>
              <a:gd name="connsiteX5" fmla="*/ 117690 w 117690"/>
              <a:gd name="connsiteY5" fmla="*/ 62923 h 12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1">
                <a:moveTo>
                  <a:pt x="53601" y="127012"/>
                </a:moveTo>
                <a:lnTo>
                  <a:pt x="0" y="127012"/>
                </a:lnTo>
                <a:lnTo>
                  <a:pt x="62924" y="64089"/>
                </a:lnTo>
                <a:lnTo>
                  <a:pt x="0" y="0"/>
                </a:lnTo>
                <a:lnTo>
                  <a:pt x="54767" y="0"/>
                </a:lnTo>
                <a:lnTo>
                  <a:pt x="117690" y="62923"/>
                </a:lnTo>
                <a:close/>
              </a:path>
            </a:pathLst>
          </a:custGeom>
          <a:solidFill>
            <a:srgbClr val="EEF2F5"/>
          </a:solidFill>
          <a:ln w="11643" cap="flat">
            <a:noFill/>
            <a:prstDash val="solid"/>
            <a:miter/>
          </a:ln>
        </p:spPr>
        <p:txBody>
          <a:bodyPr rtlCol="0" anchor="ctr"/>
          <a:lstStyle/>
          <a:p>
            <a:endParaRPr lang="de-DE"/>
          </a:p>
        </p:txBody>
      </p:sp>
      <p:sp>
        <p:nvSpPr>
          <p:cNvPr id="381" name="Freihandform: Form 380">
            <a:extLst>
              <a:ext uri="{FF2B5EF4-FFF2-40B4-BE49-F238E27FC236}">
                <a16:creationId xmlns:a16="http://schemas.microsoft.com/office/drawing/2014/main" id="{5B9A1A98-26A6-4C1D-928E-D24F433024ED}"/>
              </a:ext>
            </a:extLst>
          </p:cNvPr>
          <p:cNvSpPr/>
          <p:nvPr userDrawn="1"/>
        </p:nvSpPr>
        <p:spPr>
          <a:xfrm>
            <a:off x="6988003" y="6659906"/>
            <a:ext cx="117690" cy="127011"/>
          </a:xfrm>
          <a:custGeom>
            <a:avLst/>
            <a:gdLst>
              <a:gd name="connsiteX0" fmla="*/ 53601 w 117690"/>
              <a:gd name="connsiteY0" fmla="*/ 127012 h 127011"/>
              <a:gd name="connsiteX1" fmla="*/ 0 w 117690"/>
              <a:gd name="connsiteY1" fmla="*/ 127012 h 127011"/>
              <a:gd name="connsiteX2" fmla="*/ 62924 w 117690"/>
              <a:gd name="connsiteY2" fmla="*/ 64089 h 127011"/>
              <a:gd name="connsiteX3" fmla="*/ 0 w 117690"/>
              <a:gd name="connsiteY3" fmla="*/ 0 h 127011"/>
              <a:gd name="connsiteX4" fmla="*/ 54767 w 117690"/>
              <a:gd name="connsiteY4" fmla="*/ 0 h 127011"/>
              <a:gd name="connsiteX5" fmla="*/ 117690 w 117690"/>
              <a:gd name="connsiteY5" fmla="*/ 61758 h 12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1">
                <a:moveTo>
                  <a:pt x="53601" y="127012"/>
                </a:moveTo>
                <a:lnTo>
                  <a:pt x="0" y="127012"/>
                </a:lnTo>
                <a:lnTo>
                  <a:pt x="62924" y="64089"/>
                </a:lnTo>
                <a:lnTo>
                  <a:pt x="0" y="0"/>
                </a:lnTo>
                <a:lnTo>
                  <a:pt x="54767" y="0"/>
                </a:lnTo>
                <a:lnTo>
                  <a:pt x="117690" y="61758"/>
                </a:lnTo>
                <a:close/>
              </a:path>
            </a:pathLst>
          </a:custGeom>
          <a:solidFill>
            <a:srgbClr val="EEF2F5"/>
          </a:solidFill>
          <a:ln w="11643" cap="flat">
            <a:noFill/>
            <a:prstDash val="solid"/>
            <a:miter/>
          </a:ln>
        </p:spPr>
        <p:txBody>
          <a:bodyPr rtlCol="0" anchor="ctr"/>
          <a:lstStyle/>
          <a:p>
            <a:endParaRPr lang="de-DE"/>
          </a:p>
        </p:txBody>
      </p:sp>
      <p:sp>
        <p:nvSpPr>
          <p:cNvPr id="382" name="Freihandform: Form 381">
            <a:extLst>
              <a:ext uri="{FF2B5EF4-FFF2-40B4-BE49-F238E27FC236}">
                <a16:creationId xmlns:a16="http://schemas.microsoft.com/office/drawing/2014/main" id="{82A4EEA7-5CFB-4E90-9AD2-D5ED8D09BC3C}"/>
              </a:ext>
            </a:extLst>
          </p:cNvPr>
          <p:cNvSpPr/>
          <p:nvPr userDrawn="1"/>
        </p:nvSpPr>
        <p:spPr>
          <a:xfrm>
            <a:off x="7335247" y="2038533"/>
            <a:ext cx="132838" cy="143325"/>
          </a:xfrm>
          <a:custGeom>
            <a:avLst/>
            <a:gdLst>
              <a:gd name="connsiteX0" fmla="*/ 60593 w 132838"/>
              <a:gd name="connsiteY0" fmla="*/ 143326 h 143325"/>
              <a:gd name="connsiteX1" fmla="*/ 0 w 132838"/>
              <a:gd name="connsiteY1" fmla="*/ 143326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6"/>
                </a:moveTo>
                <a:lnTo>
                  <a:pt x="0" y="143326"/>
                </a:lnTo>
                <a:lnTo>
                  <a:pt x="71080" y="72245"/>
                </a:lnTo>
                <a:lnTo>
                  <a:pt x="0" y="0"/>
                </a:lnTo>
                <a:lnTo>
                  <a:pt x="61758" y="0"/>
                </a:lnTo>
                <a:lnTo>
                  <a:pt x="132838" y="69915"/>
                </a:lnTo>
                <a:close/>
              </a:path>
            </a:pathLst>
          </a:custGeom>
          <a:solidFill>
            <a:srgbClr val="EEF2F5"/>
          </a:solidFill>
          <a:ln w="11643" cap="flat">
            <a:noFill/>
            <a:prstDash val="solid"/>
            <a:miter/>
          </a:ln>
        </p:spPr>
        <p:txBody>
          <a:bodyPr rtlCol="0" anchor="ctr"/>
          <a:lstStyle/>
          <a:p>
            <a:endParaRPr lang="de-DE"/>
          </a:p>
        </p:txBody>
      </p:sp>
      <p:sp>
        <p:nvSpPr>
          <p:cNvPr id="383" name="Freihandform: Form 382">
            <a:extLst>
              <a:ext uri="{FF2B5EF4-FFF2-40B4-BE49-F238E27FC236}">
                <a16:creationId xmlns:a16="http://schemas.microsoft.com/office/drawing/2014/main" id="{6C9D3BF2-6E80-41A7-A83F-18F86CB24C49}"/>
              </a:ext>
            </a:extLst>
          </p:cNvPr>
          <p:cNvSpPr/>
          <p:nvPr userDrawn="1"/>
        </p:nvSpPr>
        <p:spPr>
          <a:xfrm>
            <a:off x="7335247" y="2392768"/>
            <a:ext cx="132838" cy="143325"/>
          </a:xfrm>
          <a:custGeom>
            <a:avLst/>
            <a:gdLst>
              <a:gd name="connsiteX0" fmla="*/ 60593 w 132838"/>
              <a:gd name="connsiteY0" fmla="*/ 143325 h 143325"/>
              <a:gd name="connsiteX1" fmla="*/ 0 w 132838"/>
              <a:gd name="connsiteY1" fmla="*/ 143325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71080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5"/>
                </a:moveTo>
                <a:lnTo>
                  <a:pt x="0" y="143325"/>
                </a:lnTo>
                <a:lnTo>
                  <a:pt x="71080" y="72245"/>
                </a:lnTo>
                <a:lnTo>
                  <a:pt x="0" y="0"/>
                </a:lnTo>
                <a:lnTo>
                  <a:pt x="61758" y="0"/>
                </a:lnTo>
                <a:lnTo>
                  <a:pt x="132838" y="71080"/>
                </a:lnTo>
                <a:close/>
              </a:path>
            </a:pathLst>
          </a:custGeom>
          <a:solidFill>
            <a:srgbClr val="EEF2F5"/>
          </a:solidFill>
          <a:ln w="11643" cap="flat">
            <a:noFill/>
            <a:prstDash val="solid"/>
            <a:miter/>
          </a:ln>
        </p:spPr>
        <p:txBody>
          <a:bodyPr rtlCol="0" anchor="ctr"/>
          <a:lstStyle/>
          <a:p>
            <a:endParaRPr lang="de-DE"/>
          </a:p>
        </p:txBody>
      </p:sp>
      <p:sp>
        <p:nvSpPr>
          <p:cNvPr id="384" name="Freihandform: Form 383">
            <a:extLst>
              <a:ext uri="{FF2B5EF4-FFF2-40B4-BE49-F238E27FC236}">
                <a16:creationId xmlns:a16="http://schemas.microsoft.com/office/drawing/2014/main" id="{DBA45F13-8F61-4402-AA92-16AA0BF673F4}"/>
              </a:ext>
            </a:extLst>
          </p:cNvPr>
          <p:cNvSpPr/>
          <p:nvPr userDrawn="1"/>
        </p:nvSpPr>
        <p:spPr>
          <a:xfrm>
            <a:off x="7335247" y="2748169"/>
            <a:ext cx="132838" cy="143325"/>
          </a:xfrm>
          <a:custGeom>
            <a:avLst/>
            <a:gdLst>
              <a:gd name="connsiteX0" fmla="*/ 60593 w 132838"/>
              <a:gd name="connsiteY0" fmla="*/ 143325 h 143325"/>
              <a:gd name="connsiteX1" fmla="*/ 0 w 132838"/>
              <a:gd name="connsiteY1" fmla="*/ 143325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5"/>
                </a:moveTo>
                <a:lnTo>
                  <a:pt x="0" y="143325"/>
                </a:lnTo>
                <a:lnTo>
                  <a:pt x="71080" y="72245"/>
                </a:lnTo>
                <a:lnTo>
                  <a:pt x="0" y="0"/>
                </a:lnTo>
                <a:lnTo>
                  <a:pt x="61758" y="0"/>
                </a:lnTo>
                <a:lnTo>
                  <a:pt x="132838" y="69915"/>
                </a:lnTo>
                <a:close/>
              </a:path>
            </a:pathLst>
          </a:custGeom>
          <a:solidFill>
            <a:srgbClr val="EEF2F5"/>
          </a:solidFill>
          <a:ln w="11643" cap="flat">
            <a:noFill/>
            <a:prstDash val="solid"/>
            <a:miter/>
          </a:ln>
        </p:spPr>
        <p:txBody>
          <a:bodyPr rtlCol="0" anchor="ctr"/>
          <a:lstStyle/>
          <a:p>
            <a:endParaRPr lang="de-DE"/>
          </a:p>
        </p:txBody>
      </p:sp>
      <p:sp>
        <p:nvSpPr>
          <p:cNvPr id="385" name="Freihandform: Form 384">
            <a:extLst>
              <a:ext uri="{FF2B5EF4-FFF2-40B4-BE49-F238E27FC236}">
                <a16:creationId xmlns:a16="http://schemas.microsoft.com/office/drawing/2014/main" id="{C75C3C28-90BF-4A16-BD17-5BEF223EA73E}"/>
              </a:ext>
            </a:extLst>
          </p:cNvPr>
          <p:cNvSpPr/>
          <p:nvPr userDrawn="1"/>
        </p:nvSpPr>
        <p:spPr>
          <a:xfrm>
            <a:off x="7335247" y="3102404"/>
            <a:ext cx="132838" cy="143325"/>
          </a:xfrm>
          <a:custGeom>
            <a:avLst/>
            <a:gdLst>
              <a:gd name="connsiteX0" fmla="*/ 60593 w 132838"/>
              <a:gd name="connsiteY0" fmla="*/ 143326 h 143325"/>
              <a:gd name="connsiteX1" fmla="*/ 0 w 132838"/>
              <a:gd name="connsiteY1" fmla="*/ 143326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71080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6"/>
                </a:moveTo>
                <a:lnTo>
                  <a:pt x="0" y="143326"/>
                </a:lnTo>
                <a:lnTo>
                  <a:pt x="71080" y="72245"/>
                </a:lnTo>
                <a:lnTo>
                  <a:pt x="0" y="0"/>
                </a:lnTo>
                <a:lnTo>
                  <a:pt x="61758" y="0"/>
                </a:lnTo>
                <a:lnTo>
                  <a:pt x="132838" y="71080"/>
                </a:lnTo>
                <a:close/>
              </a:path>
            </a:pathLst>
          </a:custGeom>
          <a:solidFill>
            <a:srgbClr val="EEF2F5"/>
          </a:solidFill>
          <a:ln w="11643" cap="flat">
            <a:noFill/>
            <a:prstDash val="solid"/>
            <a:miter/>
          </a:ln>
        </p:spPr>
        <p:txBody>
          <a:bodyPr rtlCol="0" anchor="ctr"/>
          <a:lstStyle/>
          <a:p>
            <a:endParaRPr lang="de-DE"/>
          </a:p>
        </p:txBody>
      </p:sp>
      <p:sp>
        <p:nvSpPr>
          <p:cNvPr id="386" name="Freihandform: Form 385">
            <a:extLst>
              <a:ext uri="{FF2B5EF4-FFF2-40B4-BE49-F238E27FC236}">
                <a16:creationId xmlns:a16="http://schemas.microsoft.com/office/drawing/2014/main" id="{1170380C-68A1-44F1-B1A8-DF05F90C065C}"/>
              </a:ext>
            </a:extLst>
          </p:cNvPr>
          <p:cNvSpPr/>
          <p:nvPr userDrawn="1"/>
        </p:nvSpPr>
        <p:spPr>
          <a:xfrm>
            <a:off x="7335247" y="3457805"/>
            <a:ext cx="132838" cy="143325"/>
          </a:xfrm>
          <a:custGeom>
            <a:avLst/>
            <a:gdLst>
              <a:gd name="connsiteX0" fmla="*/ 60593 w 132838"/>
              <a:gd name="connsiteY0" fmla="*/ 143326 h 143325"/>
              <a:gd name="connsiteX1" fmla="*/ 0 w 132838"/>
              <a:gd name="connsiteY1" fmla="*/ 143326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6"/>
                </a:moveTo>
                <a:lnTo>
                  <a:pt x="0" y="143326"/>
                </a:lnTo>
                <a:lnTo>
                  <a:pt x="71080" y="72245"/>
                </a:lnTo>
                <a:lnTo>
                  <a:pt x="0" y="0"/>
                </a:lnTo>
                <a:lnTo>
                  <a:pt x="61758" y="0"/>
                </a:lnTo>
                <a:lnTo>
                  <a:pt x="132838" y="69915"/>
                </a:lnTo>
                <a:close/>
              </a:path>
            </a:pathLst>
          </a:custGeom>
          <a:solidFill>
            <a:srgbClr val="EEF2F5"/>
          </a:solidFill>
          <a:ln w="11643" cap="flat">
            <a:noFill/>
            <a:prstDash val="solid"/>
            <a:miter/>
          </a:ln>
        </p:spPr>
        <p:txBody>
          <a:bodyPr rtlCol="0" anchor="ctr"/>
          <a:lstStyle/>
          <a:p>
            <a:endParaRPr lang="de-DE"/>
          </a:p>
        </p:txBody>
      </p:sp>
      <p:sp>
        <p:nvSpPr>
          <p:cNvPr id="387" name="Freihandform: Form 386">
            <a:extLst>
              <a:ext uri="{FF2B5EF4-FFF2-40B4-BE49-F238E27FC236}">
                <a16:creationId xmlns:a16="http://schemas.microsoft.com/office/drawing/2014/main" id="{553EF259-97B4-4E0D-B27F-A6E4D2E18BEB}"/>
              </a:ext>
            </a:extLst>
          </p:cNvPr>
          <p:cNvSpPr/>
          <p:nvPr userDrawn="1"/>
        </p:nvSpPr>
        <p:spPr>
          <a:xfrm>
            <a:off x="7335247" y="3812040"/>
            <a:ext cx="132838" cy="144490"/>
          </a:xfrm>
          <a:custGeom>
            <a:avLst/>
            <a:gdLst>
              <a:gd name="connsiteX0" fmla="*/ 60593 w 132838"/>
              <a:gd name="connsiteY0" fmla="*/ 144491 h 144490"/>
              <a:gd name="connsiteX1" fmla="*/ 0 w 132838"/>
              <a:gd name="connsiteY1" fmla="*/ 144491 h 144490"/>
              <a:gd name="connsiteX2" fmla="*/ 71080 w 132838"/>
              <a:gd name="connsiteY2" fmla="*/ 73410 h 144490"/>
              <a:gd name="connsiteX3" fmla="*/ 0 w 132838"/>
              <a:gd name="connsiteY3" fmla="*/ 0 h 144490"/>
              <a:gd name="connsiteX4" fmla="*/ 61758 w 132838"/>
              <a:gd name="connsiteY4" fmla="*/ 0 h 144490"/>
              <a:gd name="connsiteX5" fmla="*/ 132838 w 132838"/>
              <a:gd name="connsiteY5" fmla="*/ 71080 h 144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4490">
                <a:moveTo>
                  <a:pt x="60593" y="144491"/>
                </a:moveTo>
                <a:lnTo>
                  <a:pt x="0" y="144491"/>
                </a:lnTo>
                <a:lnTo>
                  <a:pt x="71080" y="73410"/>
                </a:lnTo>
                <a:lnTo>
                  <a:pt x="0" y="0"/>
                </a:lnTo>
                <a:lnTo>
                  <a:pt x="61758" y="0"/>
                </a:lnTo>
                <a:lnTo>
                  <a:pt x="132838" y="71080"/>
                </a:lnTo>
                <a:close/>
              </a:path>
            </a:pathLst>
          </a:custGeom>
          <a:solidFill>
            <a:srgbClr val="EEF2F5"/>
          </a:solidFill>
          <a:ln w="11643" cap="flat">
            <a:noFill/>
            <a:prstDash val="solid"/>
            <a:miter/>
          </a:ln>
        </p:spPr>
        <p:txBody>
          <a:bodyPr rtlCol="0" anchor="ctr"/>
          <a:lstStyle/>
          <a:p>
            <a:endParaRPr lang="de-DE"/>
          </a:p>
        </p:txBody>
      </p:sp>
      <p:sp>
        <p:nvSpPr>
          <p:cNvPr id="388" name="Freihandform: Form 387">
            <a:extLst>
              <a:ext uri="{FF2B5EF4-FFF2-40B4-BE49-F238E27FC236}">
                <a16:creationId xmlns:a16="http://schemas.microsoft.com/office/drawing/2014/main" id="{EB5F5B5A-9CB5-47D1-91FC-556189A9F9A6}"/>
              </a:ext>
            </a:extLst>
          </p:cNvPr>
          <p:cNvSpPr/>
          <p:nvPr userDrawn="1"/>
        </p:nvSpPr>
        <p:spPr>
          <a:xfrm>
            <a:off x="7335247" y="4167441"/>
            <a:ext cx="132838" cy="143325"/>
          </a:xfrm>
          <a:custGeom>
            <a:avLst/>
            <a:gdLst>
              <a:gd name="connsiteX0" fmla="*/ 60593 w 132838"/>
              <a:gd name="connsiteY0" fmla="*/ 143325 h 143325"/>
              <a:gd name="connsiteX1" fmla="*/ 0 w 132838"/>
              <a:gd name="connsiteY1" fmla="*/ 143325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5"/>
                </a:moveTo>
                <a:lnTo>
                  <a:pt x="0" y="143325"/>
                </a:lnTo>
                <a:lnTo>
                  <a:pt x="71080" y="72245"/>
                </a:lnTo>
                <a:lnTo>
                  <a:pt x="0" y="0"/>
                </a:lnTo>
                <a:lnTo>
                  <a:pt x="61758" y="0"/>
                </a:lnTo>
                <a:lnTo>
                  <a:pt x="132838" y="69915"/>
                </a:lnTo>
                <a:close/>
              </a:path>
            </a:pathLst>
          </a:custGeom>
          <a:solidFill>
            <a:srgbClr val="EEF2F5"/>
          </a:solidFill>
          <a:ln w="11643" cap="flat">
            <a:noFill/>
            <a:prstDash val="solid"/>
            <a:miter/>
          </a:ln>
        </p:spPr>
        <p:txBody>
          <a:bodyPr rtlCol="0" anchor="ctr"/>
          <a:lstStyle/>
          <a:p>
            <a:endParaRPr lang="de-DE"/>
          </a:p>
        </p:txBody>
      </p:sp>
      <p:sp>
        <p:nvSpPr>
          <p:cNvPr id="389" name="Freihandform: Form 388">
            <a:extLst>
              <a:ext uri="{FF2B5EF4-FFF2-40B4-BE49-F238E27FC236}">
                <a16:creationId xmlns:a16="http://schemas.microsoft.com/office/drawing/2014/main" id="{01DDC0E0-D1C4-4A00-B92F-DF0D19F49DE5}"/>
              </a:ext>
            </a:extLst>
          </p:cNvPr>
          <p:cNvSpPr/>
          <p:nvPr userDrawn="1"/>
        </p:nvSpPr>
        <p:spPr>
          <a:xfrm>
            <a:off x="7335247" y="4522842"/>
            <a:ext cx="132838" cy="143325"/>
          </a:xfrm>
          <a:custGeom>
            <a:avLst/>
            <a:gdLst>
              <a:gd name="connsiteX0" fmla="*/ 60593 w 132838"/>
              <a:gd name="connsiteY0" fmla="*/ 143325 h 143325"/>
              <a:gd name="connsiteX1" fmla="*/ 0 w 132838"/>
              <a:gd name="connsiteY1" fmla="*/ 143325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5"/>
                </a:moveTo>
                <a:lnTo>
                  <a:pt x="0" y="143325"/>
                </a:lnTo>
                <a:lnTo>
                  <a:pt x="71080" y="72245"/>
                </a:lnTo>
                <a:lnTo>
                  <a:pt x="0" y="0"/>
                </a:lnTo>
                <a:lnTo>
                  <a:pt x="61758" y="0"/>
                </a:lnTo>
                <a:lnTo>
                  <a:pt x="132838" y="69915"/>
                </a:lnTo>
                <a:close/>
              </a:path>
            </a:pathLst>
          </a:custGeom>
          <a:solidFill>
            <a:srgbClr val="EEF2F5"/>
          </a:solidFill>
          <a:ln w="11643" cap="flat">
            <a:noFill/>
            <a:prstDash val="solid"/>
            <a:miter/>
          </a:ln>
        </p:spPr>
        <p:txBody>
          <a:bodyPr rtlCol="0" anchor="ctr"/>
          <a:lstStyle/>
          <a:p>
            <a:endParaRPr lang="de-DE"/>
          </a:p>
        </p:txBody>
      </p:sp>
      <p:sp>
        <p:nvSpPr>
          <p:cNvPr id="390" name="Freihandform: Form 389">
            <a:extLst>
              <a:ext uri="{FF2B5EF4-FFF2-40B4-BE49-F238E27FC236}">
                <a16:creationId xmlns:a16="http://schemas.microsoft.com/office/drawing/2014/main" id="{F05542B7-5A13-43F4-A6B6-3D91FBE8F247}"/>
              </a:ext>
            </a:extLst>
          </p:cNvPr>
          <p:cNvSpPr/>
          <p:nvPr userDrawn="1"/>
        </p:nvSpPr>
        <p:spPr>
          <a:xfrm>
            <a:off x="7335247" y="4877077"/>
            <a:ext cx="132838" cy="143325"/>
          </a:xfrm>
          <a:custGeom>
            <a:avLst/>
            <a:gdLst>
              <a:gd name="connsiteX0" fmla="*/ 60593 w 132838"/>
              <a:gd name="connsiteY0" fmla="*/ 143325 h 143325"/>
              <a:gd name="connsiteX1" fmla="*/ 0 w 132838"/>
              <a:gd name="connsiteY1" fmla="*/ 143325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71080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5"/>
                </a:moveTo>
                <a:lnTo>
                  <a:pt x="0" y="143325"/>
                </a:lnTo>
                <a:lnTo>
                  <a:pt x="71080" y="72245"/>
                </a:lnTo>
                <a:lnTo>
                  <a:pt x="0" y="0"/>
                </a:lnTo>
                <a:lnTo>
                  <a:pt x="61758" y="0"/>
                </a:lnTo>
                <a:lnTo>
                  <a:pt x="132838" y="71080"/>
                </a:lnTo>
                <a:close/>
              </a:path>
            </a:pathLst>
          </a:custGeom>
          <a:solidFill>
            <a:srgbClr val="EEF2F5"/>
          </a:solidFill>
          <a:ln w="11643" cap="flat">
            <a:noFill/>
            <a:prstDash val="solid"/>
            <a:miter/>
          </a:ln>
        </p:spPr>
        <p:txBody>
          <a:bodyPr rtlCol="0" anchor="ctr"/>
          <a:lstStyle/>
          <a:p>
            <a:endParaRPr lang="de-DE"/>
          </a:p>
        </p:txBody>
      </p:sp>
      <p:sp>
        <p:nvSpPr>
          <p:cNvPr id="391" name="Freihandform: Form 390">
            <a:extLst>
              <a:ext uri="{FF2B5EF4-FFF2-40B4-BE49-F238E27FC236}">
                <a16:creationId xmlns:a16="http://schemas.microsoft.com/office/drawing/2014/main" id="{4A5DEDF6-969D-405A-A7AC-2CF3502C1348}"/>
              </a:ext>
            </a:extLst>
          </p:cNvPr>
          <p:cNvSpPr/>
          <p:nvPr userDrawn="1"/>
        </p:nvSpPr>
        <p:spPr>
          <a:xfrm>
            <a:off x="7335247" y="5232478"/>
            <a:ext cx="132838" cy="143325"/>
          </a:xfrm>
          <a:custGeom>
            <a:avLst/>
            <a:gdLst>
              <a:gd name="connsiteX0" fmla="*/ 60593 w 132838"/>
              <a:gd name="connsiteY0" fmla="*/ 143325 h 143325"/>
              <a:gd name="connsiteX1" fmla="*/ 0 w 132838"/>
              <a:gd name="connsiteY1" fmla="*/ 143325 h 143325"/>
              <a:gd name="connsiteX2" fmla="*/ 71080 w 132838"/>
              <a:gd name="connsiteY2" fmla="*/ 72246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5"/>
                </a:moveTo>
                <a:lnTo>
                  <a:pt x="0" y="143325"/>
                </a:lnTo>
                <a:lnTo>
                  <a:pt x="71080" y="72246"/>
                </a:lnTo>
                <a:lnTo>
                  <a:pt x="0" y="0"/>
                </a:lnTo>
                <a:lnTo>
                  <a:pt x="61758" y="0"/>
                </a:lnTo>
                <a:lnTo>
                  <a:pt x="132838" y="69915"/>
                </a:lnTo>
                <a:close/>
              </a:path>
            </a:pathLst>
          </a:custGeom>
          <a:solidFill>
            <a:srgbClr val="EEF2F5"/>
          </a:solidFill>
          <a:ln w="11643" cap="flat">
            <a:noFill/>
            <a:prstDash val="solid"/>
            <a:miter/>
          </a:ln>
        </p:spPr>
        <p:txBody>
          <a:bodyPr rtlCol="0" anchor="ctr"/>
          <a:lstStyle/>
          <a:p>
            <a:endParaRPr lang="de-DE"/>
          </a:p>
        </p:txBody>
      </p:sp>
      <p:sp>
        <p:nvSpPr>
          <p:cNvPr id="392" name="Freihandform: Form 391">
            <a:extLst>
              <a:ext uri="{FF2B5EF4-FFF2-40B4-BE49-F238E27FC236}">
                <a16:creationId xmlns:a16="http://schemas.microsoft.com/office/drawing/2014/main" id="{992F37D0-9AF3-405A-84A6-76CAAC63FCC5}"/>
              </a:ext>
            </a:extLst>
          </p:cNvPr>
          <p:cNvSpPr/>
          <p:nvPr userDrawn="1"/>
        </p:nvSpPr>
        <p:spPr>
          <a:xfrm>
            <a:off x="7335247" y="5586713"/>
            <a:ext cx="132838" cy="143325"/>
          </a:xfrm>
          <a:custGeom>
            <a:avLst/>
            <a:gdLst>
              <a:gd name="connsiteX0" fmla="*/ 60593 w 132838"/>
              <a:gd name="connsiteY0" fmla="*/ 143326 h 143325"/>
              <a:gd name="connsiteX1" fmla="*/ 0 w 132838"/>
              <a:gd name="connsiteY1" fmla="*/ 143326 h 143325"/>
              <a:gd name="connsiteX2" fmla="*/ 71080 w 132838"/>
              <a:gd name="connsiteY2" fmla="*/ 72246 h 143325"/>
              <a:gd name="connsiteX3" fmla="*/ 0 w 132838"/>
              <a:gd name="connsiteY3" fmla="*/ 0 h 143325"/>
              <a:gd name="connsiteX4" fmla="*/ 61758 w 132838"/>
              <a:gd name="connsiteY4" fmla="*/ 0 h 143325"/>
              <a:gd name="connsiteX5" fmla="*/ 132838 w 132838"/>
              <a:gd name="connsiteY5" fmla="*/ 71080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6"/>
                </a:moveTo>
                <a:lnTo>
                  <a:pt x="0" y="143326"/>
                </a:lnTo>
                <a:lnTo>
                  <a:pt x="71080" y="72246"/>
                </a:lnTo>
                <a:lnTo>
                  <a:pt x="0" y="0"/>
                </a:lnTo>
                <a:lnTo>
                  <a:pt x="61758" y="0"/>
                </a:lnTo>
                <a:lnTo>
                  <a:pt x="132838" y="71080"/>
                </a:lnTo>
                <a:close/>
              </a:path>
            </a:pathLst>
          </a:custGeom>
          <a:solidFill>
            <a:srgbClr val="EEF2F5"/>
          </a:solidFill>
          <a:ln w="11643" cap="flat">
            <a:noFill/>
            <a:prstDash val="solid"/>
            <a:miter/>
          </a:ln>
        </p:spPr>
        <p:txBody>
          <a:bodyPr rtlCol="0" anchor="ctr"/>
          <a:lstStyle/>
          <a:p>
            <a:endParaRPr lang="de-DE"/>
          </a:p>
        </p:txBody>
      </p:sp>
      <p:sp>
        <p:nvSpPr>
          <p:cNvPr id="393" name="Freihandform: Form 392">
            <a:extLst>
              <a:ext uri="{FF2B5EF4-FFF2-40B4-BE49-F238E27FC236}">
                <a16:creationId xmlns:a16="http://schemas.microsoft.com/office/drawing/2014/main" id="{A123B81C-0D5B-44AC-9677-41B2CE41672D}"/>
              </a:ext>
            </a:extLst>
          </p:cNvPr>
          <p:cNvSpPr/>
          <p:nvPr userDrawn="1"/>
        </p:nvSpPr>
        <p:spPr>
          <a:xfrm>
            <a:off x="7335247" y="5942114"/>
            <a:ext cx="132838" cy="143325"/>
          </a:xfrm>
          <a:custGeom>
            <a:avLst/>
            <a:gdLst>
              <a:gd name="connsiteX0" fmla="*/ 60593 w 132838"/>
              <a:gd name="connsiteY0" fmla="*/ 143326 h 143325"/>
              <a:gd name="connsiteX1" fmla="*/ 0 w 132838"/>
              <a:gd name="connsiteY1" fmla="*/ 143326 h 143325"/>
              <a:gd name="connsiteX2" fmla="*/ 71080 w 132838"/>
              <a:gd name="connsiteY2" fmla="*/ 72246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6"/>
                </a:moveTo>
                <a:lnTo>
                  <a:pt x="0" y="143326"/>
                </a:lnTo>
                <a:lnTo>
                  <a:pt x="71080" y="72246"/>
                </a:lnTo>
                <a:lnTo>
                  <a:pt x="0" y="0"/>
                </a:lnTo>
                <a:lnTo>
                  <a:pt x="61758" y="0"/>
                </a:lnTo>
                <a:lnTo>
                  <a:pt x="132838" y="69915"/>
                </a:lnTo>
                <a:close/>
              </a:path>
            </a:pathLst>
          </a:custGeom>
          <a:solidFill>
            <a:srgbClr val="EEF2F5"/>
          </a:solidFill>
          <a:ln w="11643" cap="flat">
            <a:noFill/>
            <a:prstDash val="solid"/>
            <a:miter/>
          </a:ln>
        </p:spPr>
        <p:txBody>
          <a:bodyPr rtlCol="0" anchor="ctr"/>
          <a:lstStyle/>
          <a:p>
            <a:endParaRPr lang="de-DE"/>
          </a:p>
        </p:txBody>
      </p:sp>
      <p:sp>
        <p:nvSpPr>
          <p:cNvPr id="394" name="Freihandform: Form 393">
            <a:extLst>
              <a:ext uri="{FF2B5EF4-FFF2-40B4-BE49-F238E27FC236}">
                <a16:creationId xmlns:a16="http://schemas.microsoft.com/office/drawing/2014/main" id="{10F8A7E4-CB0C-4156-A180-E4F1A603A10E}"/>
              </a:ext>
            </a:extLst>
          </p:cNvPr>
          <p:cNvSpPr/>
          <p:nvPr userDrawn="1"/>
        </p:nvSpPr>
        <p:spPr>
          <a:xfrm>
            <a:off x="7335247" y="6296349"/>
            <a:ext cx="132838" cy="143325"/>
          </a:xfrm>
          <a:custGeom>
            <a:avLst/>
            <a:gdLst>
              <a:gd name="connsiteX0" fmla="*/ 60593 w 132838"/>
              <a:gd name="connsiteY0" fmla="*/ 143326 h 143325"/>
              <a:gd name="connsiteX1" fmla="*/ 0 w 132838"/>
              <a:gd name="connsiteY1" fmla="*/ 143326 h 143325"/>
              <a:gd name="connsiteX2" fmla="*/ 71080 w 132838"/>
              <a:gd name="connsiteY2" fmla="*/ 72246 h 143325"/>
              <a:gd name="connsiteX3" fmla="*/ 0 w 132838"/>
              <a:gd name="connsiteY3" fmla="*/ 0 h 143325"/>
              <a:gd name="connsiteX4" fmla="*/ 61758 w 132838"/>
              <a:gd name="connsiteY4" fmla="*/ 0 h 143325"/>
              <a:gd name="connsiteX5" fmla="*/ 132838 w 132838"/>
              <a:gd name="connsiteY5" fmla="*/ 71080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6"/>
                </a:moveTo>
                <a:lnTo>
                  <a:pt x="0" y="143326"/>
                </a:lnTo>
                <a:lnTo>
                  <a:pt x="71080" y="72246"/>
                </a:lnTo>
                <a:lnTo>
                  <a:pt x="0" y="0"/>
                </a:lnTo>
                <a:lnTo>
                  <a:pt x="61758" y="0"/>
                </a:lnTo>
                <a:lnTo>
                  <a:pt x="132838" y="71080"/>
                </a:lnTo>
                <a:close/>
              </a:path>
            </a:pathLst>
          </a:custGeom>
          <a:solidFill>
            <a:srgbClr val="EEF2F5"/>
          </a:solidFill>
          <a:ln w="11643" cap="flat">
            <a:noFill/>
            <a:prstDash val="solid"/>
            <a:miter/>
          </a:ln>
        </p:spPr>
        <p:txBody>
          <a:bodyPr rtlCol="0" anchor="ctr"/>
          <a:lstStyle/>
          <a:p>
            <a:endParaRPr lang="de-DE"/>
          </a:p>
        </p:txBody>
      </p:sp>
      <p:sp>
        <p:nvSpPr>
          <p:cNvPr id="395" name="Freihandform: Form 394">
            <a:extLst>
              <a:ext uri="{FF2B5EF4-FFF2-40B4-BE49-F238E27FC236}">
                <a16:creationId xmlns:a16="http://schemas.microsoft.com/office/drawing/2014/main" id="{2595AD4F-3613-411F-AF5E-490AA23115BA}"/>
              </a:ext>
            </a:extLst>
          </p:cNvPr>
          <p:cNvSpPr/>
          <p:nvPr userDrawn="1"/>
        </p:nvSpPr>
        <p:spPr>
          <a:xfrm>
            <a:off x="7335247" y="6651749"/>
            <a:ext cx="132838" cy="143325"/>
          </a:xfrm>
          <a:custGeom>
            <a:avLst/>
            <a:gdLst>
              <a:gd name="connsiteX0" fmla="*/ 60593 w 132838"/>
              <a:gd name="connsiteY0" fmla="*/ 143326 h 143325"/>
              <a:gd name="connsiteX1" fmla="*/ 0 w 132838"/>
              <a:gd name="connsiteY1" fmla="*/ 143326 h 143325"/>
              <a:gd name="connsiteX2" fmla="*/ 71080 w 132838"/>
              <a:gd name="connsiteY2" fmla="*/ 72246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6"/>
                </a:moveTo>
                <a:lnTo>
                  <a:pt x="0" y="143326"/>
                </a:lnTo>
                <a:lnTo>
                  <a:pt x="71080" y="72246"/>
                </a:lnTo>
                <a:lnTo>
                  <a:pt x="0" y="0"/>
                </a:lnTo>
                <a:lnTo>
                  <a:pt x="61758" y="0"/>
                </a:lnTo>
                <a:lnTo>
                  <a:pt x="132838" y="69915"/>
                </a:lnTo>
                <a:close/>
              </a:path>
            </a:pathLst>
          </a:custGeom>
          <a:solidFill>
            <a:srgbClr val="EEF2F5"/>
          </a:solidFill>
          <a:ln w="11643" cap="flat">
            <a:noFill/>
            <a:prstDash val="solid"/>
            <a:miter/>
          </a:ln>
        </p:spPr>
        <p:txBody>
          <a:bodyPr rtlCol="0" anchor="ctr"/>
          <a:lstStyle/>
          <a:p>
            <a:endParaRPr lang="de-DE"/>
          </a:p>
        </p:txBody>
      </p:sp>
      <p:sp>
        <p:nvSpPr>
          <p:cNvPr id="396" name="Freihandform: Form 395">
            <a:extLst>
              <a:ext uri="{FF2B5EF4-FFF2-40B4-BE49-F238E27FC236}">
                <a16:creationId xmlns:a16="http://schemas.microsoft.com/office/drawing/2014/main" id="{9EBD3A98-044D-4031-AC35-3BF914F7302F}"/>
              </a:ext>
            </a:extLst>
          </p:cNvPr>
          <p:cNvSpPr/>
          <p:nvPr userDrawn="1"/>
        </p:nvSpPr>
        <p:spPr>
          <a:xfrm>
            <a:off x="7682491" y="2029211"/>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397" name="Freihandform: Form 396">
            <a:extLst>
              <a:ext uri="{FF2B5EF4-FFF2-40B4-BE49-F238E27FC236}">
                <a16:creationId xmlns:a16="http://schemas.microsoft.com/office/drawing/2014/main" id="{43C53F6D-4828-4940-97F4-B626CD126756}"/>
              </a:ext>
            </a:extLst>
          </p:cNvPr>
          <p:cNvSpPr/>
          <p:nvPr userDrawn="1"/>
        </p:nvSpPr>
        <p:spPr>
          <a:xfrm>
            <a:off x="7682491" y="2384612"/>
            <a:ext cx="147986" cy="160804"/>
          </a:xfrm>
          <a:custGeom>
            <a:avLst/>
            <a:gdLst>
              <a:gd name="connsiteX0" fmla="*/ 67584 w 147986"/>
              <a:gd name="connsiteY0" fmla="*/ 160804 h 160804"/>
              <a:gd name="connsiteX1" fmla="*/ 0 w 147986"/>
              <a:gd name="connsiteY1" fmla="*/ 160804 h 160804"/>
              <a:gd name="connsiteX2" fmla="*/ 79237 w 147986"/>
              <a:gd name="connsiteY2" fmla="*/ 80402 h 160804"/>
              <a:gd name="connsiteX3" fmla="*/ 0 w 147986"/>
              <a:gd name="connsiteY3" fmla="*/ 0 h 160804"/>
              <a:gd name="connsiteX4" fmla="*/ 68750 w 147986"/>
              <a:gd name="connsiteY4" fmla="*/ 0 h 160804"/>
              <a:gd name="connsiteX5" fmla="*/ 147986 w 147986"/>
              <a:gd name="connsiteY5" fmla="*/ 79237 h 160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0804">
                <a:moveTo>
                  <a:pt x="67584" y="160804"/>
                </a:moveTo>
                <a:lnTo>
                  <a:pt x="0" y="160804"/>
                </a:lnTo>
                <a:lnTo>
                  <a:pt x="79237" y="80402"/>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398" name="Freihandform: Form 397">
            <a:extLst>
              <a:ext uri="{FF2B5EF4-FFF2-40B4-BE49-F238E27FC236}">
                <a16:creationId xmlns:a16="http://schemas.microsoft.com/office/drawing/2014/main" id="{120E8F27-6892-406B-90DB-A43FCDE80878}"/>
              </a:ext>
            </a:extLst>
          </p:cNvPr>
          <p:cNvSpPr/>
          <p:nvPr userDrawn="1"/>
        </p:nvSpPr>
        <p:spPr>
          <a:xfrm>
            <a:off x="7682491" y="2738847"/>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399" name="Freihandform: Form 398">
            <a:extLst>
              <a:ext uri="{FF2B5EF4-FFF2-40B4-BE49-F238E27FC236}">
                <a16:creationId xmlns:a16="http://schemas.microsoft.com/office/drawing/2014/main" id="{5C717E3E-F6BC-42B4-A350-C1DEE9C442C9}"/>
              </a:ext>
            </a:extLst>
          </p:cNvPr>
          <p:cNvSpPr/>
          <p:nvPr userDrawn="1"/>
        </p:nvSpPr>
        <p:spPr>
          <a:xfrm>
            <a:off x="7682491" y="3094248"/>
            <a:ext cx="147986" cy="160804"/>
          </a:xfrm>
          <a:custGeom>
            <a:avLst/>
            <a:gdLst>
              <a:gd name="connsiteX0" fmla="*/ 67584 w 147986"/>
              <a:gd name="connsiteY0" fmla="*/ 160804 h 160804"/>
              <a:gd name="connsiteX1" fmla="*/ 0 w 147986"/>
              <a:gd name="connsiteY1" fmla="*/ 160804 h 160804"/>
              <a:gd name="connsiteX2" fmla="*/ 79237 w 147986"/>
              <a:gd name="connsiteY2" fmla="*/ 81567 h 160804"/>
              <a:gd name="connsiteX3" fmla="*/ 0 w 147986"/>
              <a:gd name="connsiteY3" fmla="*/ 0 h 160804"/>
              <a:gd name="connsiteX4" fmla="*/ 68750 w 147986"/>
              <a:gd name="connsiteY4" fmla="*/ 0 h 160804"/>
              <a:gd name="connsiteX5" fmla="*/ 147986 w 147986"/>
              <a:gd name="connsiteY5" fmla="*/ 79237 h 160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0804">
                <a:moveTo>
                  <a:pt x="67584" y="160804"/>
                </a:moveTo>
                <a:lnTo>
                  <a:pt x="0" y="160804"/>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400" name="Freihandform: Form 399">
            <a:extLst>
              <a:ext uri="{FF2B5EF4-FFF2-40B4-BE49-F238E27FC236}">
                <a16:creationId xmlns:a16="http://schemas.microsoft.com/office/drawing/2014/main" id="{4F410CDD-2620-4397-B84B-BC98C66C7973}"/>
              </a:ext>
            </a:extLst>
          </p:cNvPr>
          <p:cNvSpPr/>
          <p:nvPr userDrawn="1"/>
        </p:nvSpPr>
        <p:spPr>
          <a:xfrm>
            <a:off x="7682491" y="3448483"/>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401" name="Freihandform: Form 400">
            <a:extLst>
              <a:ext uri="{FF2B5EF4-FFF2-40B4-BE49-F238E27FC236}">
                <a16:creationId xmlns:a16="http://schemas.microsoft.com/office/drawing/2014/main" id="{02172315-7916-4D70-BD29-FC5BB87983F8}"/>
              </a:ext>
            </a:extLst>
          </p:cNvPr>
          <p:cNvSpPr/>
          <p:nvPr userDrawn="1"/>
        </p:nvSpPr>
        <p:spPr>
          <a:xfrm>
            <a:off x="7682491" y="3803883"/>
            <a:ext cx="147986" cy="160804"/>
          </a:xfrm>
          <a:custGeom>
            <a:avLst/>
            <a:gdLst>
              <a:gd name="connsiteX0" fmla="*/ 67584 w 147986"/>
              <a:gd name="connsiteY0" fmla="*/ 160804 h 160804"/>
              <a:gd name="connsiteX1" fmla="*/ 0 w 147986"/>
              <a:gd name="connsiteY1" fmla="*/ 160804 h 160804"/>
              <a:gd name="connsiteX2" fmla="*/ 79237 w 147986"/>
              <a:gd name="connsiteY2" fmla="*/ 81567 h 160804"/>
              <a:gd name="connsiteX3" fmla="*/ 0 w 147986"/>
              <a:gd name="connsiteY3" fmla="*/ 0 h 160804"/>
              <a:gd name="connsiteX4" fmla="*/ 68750 w 147986"/>
              <a:gd name="connsiteY4" fmla="*/ 0 h 160804"/>
              <a:gd name="connsiteX5" fmla="*/ 147986 w 147986"/>
              <a:gd name="connsiteY5" fmla="*/ 79237 h 160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0804">
                <a:moveTo>
                  <a:pt x="67584" y="160804"/>
                </a:moveTo>
                <a:lnTo>
                  <a:pt x="0" y="160804"/>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402" name="Freihandform: Form 401">
            <a:extLst>
              <a:ext uri="{FF2B5EF4-FFF2-40B4-BE49-F238E27FC236}">
                <a16:creationId xmlns:a16="http://schemas.microsoft.com/office/drawing/2014/main" id="{675200BF-627C-42A4-9F53-4A172D52E39B}"/>
              </a:ext>
            </a:extLst>
          </p:cNvPr>
          <p:cNvSpPr/>
          <p:nvPr userDrawn="1"/>
        </p:nvSpPr>
        <p:spPr>
          <a:xfrm>
            <a:off x="7682491" y="4158119"/>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403" name="Freihandform: Form 402">
            <a:extLst>
              <a:ext uri="{FF2B5EF4-FFF2-40B4-BE49-F238E27FC236}">
                <a16:creationId xmlns:a16="http://schemas.microsoft.com/office/drawing/2014/main" id="{CAF5CE73-97E8-49F4-906D-4FDA8880D376}"/>
              </a:ext>
            </a:extLst>
          </p:cNvPr>
          <p:cNvSpPr/>
          <p:nvPr userDrawn="1"/>
        </p:nvSpPr>
        <p:spPr>
          <a:xfrm>
            <a:off x="7682491" y="4513520"/>
            <a:ext cx="147986" cy="160804"/>
          </a:xfrm>
          <a:custGeom>
            <a:avLst/>
            <a:gdLst>
              <a:gd name="connsiteX0" fmla="*/ 67584 w 147986"/>
              <a:gd name="connsiteY0" fmla="*/ 160804 h 160804"/>
              <a:gd name="connsiteX1" fmla="*/ 0 w 147986"/>
              <a:gd name="connsiteY1" fmla="*/ 160804 h 160804"/>
              <a:gd name="connsiteX2" fmla="*/ 79237 w 147986"/>
              <a:gd name="connsiteY2" fmla="*/ 81567 h 160804"/>
              <a:gd name="connsiteX3" fmla="*/ 0 w 147986"/>
              <a:gd name="connsiteY3" fmla="*/ 0 h 160804"/>
              <a:gd name="connsiteX4" fmla="*/ 68750 w 147986"/>
              <a:gd name="connsiteY4" fmla="*/ 0 h 160804"/>
              <a:gd name="connsiteX5" fmla="*/ 147986 w 147986"/>
              <a:gd name="connsiteY5" fmla="*/ 79237 h 160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0804">
                <a:moveTo>
                  <a:pt x="67584" y="160804"/>
                </a:moveTo>
                <a:lnTo>
                  <a:pt x="0" y="160804"/>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404" name="Freihandform: Form 403">
            <a:extLst>
              <a:ext uri="{FF2B5EF4-FFF2-40B4-BE49-F238E27FC236}">
                <a16:creationId xmlns:a16="http://schemas.microsoft.com/office/drawing/2014/main" id="{218DF139-4DC1-4BCB-9F4E-581AFD9F6331}"/>
              </a:ext>
            </a:extLst>
          </p:cNvPr>
          <p:cNvSpPr/>
          <p:nvPr userDrawn="1"/>
        </p:nvSpPr>
        <p:spPr>
          <a:xfrm>
            <a:off x="7682491" y="4867755"/>
            <a:ext cx="147986" cy="161969"/>
          </a:xfrm>
          <a:custGeom>
            <a:avLst/>
            <a:gdLst>
              <a:gd name="connsiteX0" fmla="*/ 67584 w 147986"/>
              <a:gd name="connsiteY0" fmla="*/ 161970 h 161969"/>
              <a:gd name="connsiteX1" fmla="*/ 0 w 147986"/>
              <a:gd name="connsiteY1" fmla="*/ 161970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70"/>
                </a:moveTo>
                <a:lnTo>
                  <a:pt x="0" y="161970"/>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405" name="Freihandform: Form 404">
            <a:extLst>
              <a:ext uri="{FF2B5EF4-FFF2-40B4-BE49-F238E27FC236}">
                <a16:creationId xmlns:a16="http://schemas.microsoft.com/office/drawing/2014/main" id="{0A37C202-DA7A-49FE-8C7A-70FAA46867C6}"/>
              </a:ext>
            </a:extLst>
          </p:cNvPr>
          <p:cNvSpPr/>
          <p:nvPr userDrawn="1"/>
        </p:nvSpPr>
        <p:spPr>
          <a:xfrm>
            <a:off x="7682491" y="5223156"/>
            <a:ext cx="147986" cy="160804"/>
          </a:xfrm>
          <a:custGeom>
            <a:avLst/>
            <a:gdLst>
              <a:gd name="connsiteX0" fmla="*/ 67584 w 147986"/>
              <a:gd name="connsiteY0" fmla="*/ 160804 h 160804"/>
              <a:gd name="connsiteX1" fmla="*/ 0 w 147986"/>
              <a:gd name="connsiteY1" fmla="*/ 160804 h 160804"/>
              <a:gd name="connsiteX2" fmla="*/ 79237 w 147986"/>
              <a:gd name="connsiteY2" fmla="*/ 81567 h 160804"/>
              <a:gd name="connsiteX3" fmla="*/ 0 w 147986"/>
              <a:gd name="connsiteY3" fmla="*/ 0 h 160804"/>
              <a:gd name="connsiteX4" fmla="*/ 68750 w 147986"/>
              <a:gd name="connsiteY4" fmla="*/ 0 h 160804"/>
              <a:gd name="connsiteX5" fmla="*/ 147986 w 147986"/>
              <a:gd name="connsiteY5" fmla="*/ 79237 h 160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0804">
                <a:moveTo>
                  <a:pt x="67584" y="160804"/>
                </a:moveTo>
                <a:lnTo>
                  <a:pt x="0" y="160804"/>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406" name="Freihandform: Form 405">
            <a:extLst>
              <a:ext uri="{FF2B5EF4-FFF2-40B4-BE49-F238E27FC236}">
                <a16:creationId xmlns:a16="http://schemas.microsoft.com/office/drawing/2014/main" id="{9C4CC063-F063-49A1-A191-445FCAA404F3}"/>
              </a:ext>
            </a:extLst>
          </p:cNvPr>
          <p:cNvSpPr/>
          <p:nvPr userDrawn="1"/>
        </p:nvSpPr>
        <p:spPr>
          <a:xfrm>
            <a:off x="7682491" y="5577391"/>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407" name="Freihandform: Form 406">
            <a:extLst>
              <a:ext uri="{FF2B5EF4-FFF2-40B4-BE49-F238E27FC236}">
                <a16:creationId xmlns:a16="http://schemas.microsoft.com/office/drawing/2014/main" id="{E4A5A0CA-718E-4526-8905-36FE802C3C3C}"/>
              </a:ext>
            </a:extLst>
          </p:cNvPr>
          <p:cNvSpPr/>
          <p:nvPr userDrawn="1"/>
        </p:nvSpPr>
        <p:spPr>
          <a:xfrm>
            <a:off x="7682491" y="5932792"/>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408" name="Freihandform: Form 407">
            <a:extLst>
              <a:ext uri="{FF2B5EF4-FFF2-40B4-BE49-F238E27FC236}">
                <a16:creationId xmlns:a16="http://schemas.microsoft.com/office/drawing/2014/main" id="{F21B4889-030D-4F50-9502-7C167A1D25E3}"/>
              </a:ext>
            </a:extLst>
          </p:cNvPr>
          <p:cNvSpPr/>
          <p:nvPr userDrawn="1"/>
        </p:nvSpPr>
        <p:spPr>
          <a:xfrm>
            <a:off x="7682491" y="6287027"/>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80402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80402"/>
                </a:lnTo>
                <a:close/>
              </a:path>
            </a:pathLst>
          </a:custGeom>
          <a:solidFill>
            <a:srgbClr val="EEF2F5"/>
          </a:solidFill>
          <a:ln w="11643" cap="flat">
            <a:noFill/>
            <a:prstDash val="solid"/>
            <a:miter/>
          </a:ln>
        </p:spPr>
        <p:txBody>
          <a:bodyPr rtlCol="0" anchor="ctr"/>
          <a:lstStyle/>
          <a:p>
            <a:endParaRPr lang="de-DE"/>
          </a:p>
        </p:txBody>
      </p:sp>
      <p:sp>
        <p:nvSpPr>
          <p:cNvPr id="409" name="Freihandform: Form 408">
            <a:extLst>
              <a:ext uri="{FF2B5EF4-FFF2-40B4-BE49-F238E27FC236}">
                <a16:creationId xmlns:a16="http://schemas.microsoft.com/office/drawing/2014/main" id="{F20E497A-F5DB-4F96-B341-3DF47EDCD66D}"/>
              </a:ext>
            </a:extLst>
          </p:cNvPr>
          <p:cNvSpPr/>
          <p:nvPr userDrawn="1"/>
        </p:nvSpPr>
        <p:spPr>
          <a:xfrm>
            <a:off x="7682491" y="6642428"/>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410" name="Freihandform: Form 409">
            <a:extLst>
              <a:ext uri="{FF2B5EF4-FFF2-40B4-BE49-F238E27FC236}">
                <a16:creationId xmlns:a16="http://schemas.microsoft.com/office/drawing/2014/main" id="{20D583A8-A99E-46DB-A41A-3E08431963F8}"/>
              </a:ext>
            </a:extLst>
          </p:cNvPr>
          <p:cNvSpPr/>
          <p:nvPr userDrawn="1"/>
        </p:nvSpPr>
        <p:spPr>
          <a:xfrm>
            <a:off x="8028570" y="2019889"/>
            <a:ext cx="165465" cy="179448"/>
          </a:xfrm>
          <a:custGeom>
            <a:avLst/>
            <a:gdLst>
              <a:gd name="connsiteX0" fmla="*/ 75741 w 165465"/>
              <a:gd name="connsiteY0" fmla="*/ 179448 h 179448"/>
              <a:gd name="connsiteX1" fmla="*/ 0 w 165465"/>
              <a:gd name="connsiteY1" fmla="*/ 179448 h 179448"/>
              <a:gd name="connsiteX2" fmla="*/ 88559 w 165465"/>
              <a:gd name="connsiteY2" fmla="*/ 90889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411" name="Freihandform: Form 410">
            <a:extLst>
              <a:ext uri="{FF2B5EF4-FFF2-40B4-BE49-F238E27FC236}">
                <a16:creationId xmlns:a16="http://schemas.microsoft.com/office/drawing/2014/main" id="{09B60DC3-4079-4CF1-9FA2-3667E3169BE5}"/>
              </a:ext>
            </a:extLst>
          </p:cNvPr>
          <p:cNvSpPr/>
          <p:nvPr userDrawn="1"/>
        </p:nvSpPr>
        <p:spPr>
          <a:xfrm>
            <a:off x="8028570" y="2375290"/>
            <a:ext cx="165465" cy="179448"/>
          </a:xfrm>
          <a:custGeom>
            <a:avLst/>
            <a:gdLst>
              <a:gd name="connsiteX0" fmla="*/ 75741 w 165465"/>
              <a:gd name="connsiteY0" fmla="*/ 179448 h 179448"/>
              <a:gd name="connsiteX1" fmla="*/ 0 w 165465"/>
              <a:gd name="connsiteY1" fmla="*/ 179448 h 179448"/>
              <a:gd name="connsiteX2" fmla="*/ 88559 w 165465"/>
              <a:gd name="connsiteY2" fmla="*/ 90889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412" name="Freihandform: Form 411">
            <a:extLst>
              <a:ext uri="{FF2B5EF4-FFF2-40B4-BE49-F238E27FC236}">
                <a16:creationId xmlns:a16="http://schemas.microsoft.com/office/drawing/2014/main" id="{A28ECBD0-0C03-43BC-B913-C56FBFD468AD}"/>
              </a:ext>
            </a:extLst>
          </p:cNvPr>
          <p:cNvSpPr/>
          <p:nvPr userDrawn="1"/>
        </p:nvSpPr>
        <p:spPr>
          <a:xfrm>
            <a:off x="8028570" y="2729525"/>
            <a:ext cx="165465" cy="179448"/>
          </a:xfrm>
          <a:custGeom>
            <a:avLst/>
            <a:gdLst>
              <a:gd name="connsiteX0" fmla="*/ 75741 w 165465"/>
              <a:gd name="connsiteY0" fmla="*/ 179448 h 179448"/>
              <a:gd name="connsiteX1" fmla="*/ 0 w 165465"/>
              <a:gd name="connsiteY1" fmla="*/ 179448 h 179448"/>
              <a:gd name="connsiteX2" fmla="*/ 88559 w 165465"/>
              <a:gd name="connsiteY2" fmla="*/ 90889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413" name="Freihandform: Form 412">
            <a:extLst>
              <a:ext uri="{FF2B5EF4-FFF2-40B4-BE49-F238E27FC236}">
                <a16:creationId xmlns:a16="http://schemas.microsoft.com/office/drawing/2014/main" id="{81865AF8-BEB5-4A5A-A20B-57F13A2AC867}"/>
              </a:ext>
            </a:extLst>
          </p:cNvPr>
          <p:cNvSpPr/>
          <p:nvPr userDrawn="1"/>
        </p:nvSpPr>
        <p:spPr>
          <a:xfrm>
            <a:off x="8028570" y="3084926"/>
            <a:ext cx="165465" cy="179448"/>
          </a:xfrm>
          <a:custGeom>
            <a:avLst/>
            <a:gdLst>
              <a:gd name="connsiteX0" fmla="*/ 75741 w 165465"/>
              <a:gd name="connsiteY0" fmla="*/ 179448 h 179448"/>
              <a:gd name="connsiteX1" fmla="*/ 0 w 165465"/>
              <a:gd name="connsiteY1" fmla="*/ 179448 h 179448"/>
              <a:gd name="connsiteX2" fmla="*/ 88559 w 165465"/>
              <a:gd name="connsiteY2" fmla="*/ 90889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414" name="Freihandform: Form 413">
            <a:extLst>
              <a:ext uri="{FF2B5EF4-FFF2-40B4-BE49-F238E27FC236}">
                <a16:creationId xmlns:a16="http://schemas.microsoft.com/office/drawing/2014/main" id="{A77752D8-E05F-4500-BE69-EE4B76C596D4}"/>
              </a:ext>
            </a:extLst>
          </p:cNvPr>
          <p:cNvSpPr/>
          <p:nvPr userDrawn="1"/>
        </p:nvSpPr>
        <p:spPr>
          <a:xfrm>
            <a:off x="8028570" y="3439161"/>
            <a:ext cx="165465" cy="180613"/>
          </a:xfrm>
          <a:custGeom>
            <a:avLst/>
            <a:gdLst>
              <a:gd name="connsiteX0" fmla="*/ 75741 w 165465"/>
              <a:gd name="connsiteY0" fmla="*/ 180614 h 180613"/>
              <a:gd name="connsiteX1" fmla="*/ 0 w 165465"/>
              <a:gd name="connsiteY1" fmla="*/ 180614 h 180613"/>
              <a:gd name="connsiteX2" fmla="*/ 88559 w 165465"/>
              <a:gd name="connsiteY2" fmla="*/ 90889 h 180613"/>
              <a:gd name="connsiteX3" fmla="*/ 0 w 165465"/>
              <a:gd name="connsiteY3" fmla="*/ 0 h 180613"/>
              <a:gd name="connsiteX4" fmla="*/ 76906 w 165465"/>
              <a:gd name="connsiteY4" fmla="*/ 0 h 180613"/>
              <a:gd name="connsiteX5" fmla="*/ 165465 w 165465"/>
              <a:gd name="connsiteY5" fmla="*/ 88559 h 180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80613">
                <a:moveTo>
                  <a:pt x="75741" y="180614"/>
                </a:moveTo>
                <a:lnTo>
                  <a:pt x="0" y="180614"/>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415" name="Freihandform: Form 414">
            <a:extLst>
              <a:ext uri="{FF2B5EF4-FFF2-40B4-BE49-F238E27FC236}">
                <a16:creationId xmlns:a16="http://schemas.microsoft.com/office/drawing/2014/main" id="{5946384E-284D-4976-A3EC-765399D6C96E}"/>
              </a:ext>
            </a:extLst>
          </p:cNvPr>
          <p:cNvSpPr/>
          <p:nvPr userDrawn="1"/>
        </p:nvSpPr>
        <p:spPr>
          <a:xfrm>
            <a:off x="8028570" y="3794562"/>
            <a:ext cx="165465" cy="179448"/>
          </a:xfrm>
          <a:custGeom>
            <a:avLst/>
            <a:gdLst>
              <a:gd name="connsiteX0" fmla="*/ 75741 w 165465"/>
              <a:gd name="connsiteY0" fmla="*/ 179448 h 179448"/>
              <a:gd name="connsiteX1" fmla="*/ 0 w 165465"/>
              <a:gd name="connsiteY1" fmla="*/ 179448 h 179448"/>
              <a:gd name="connsiteX2" fmla="*/ 88559 w 165465"/>
              <a:gd name="connsiteY2" fmla="*/ 90889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416" name="Freihandform: Form 415">
            <a:extLst>
              <a:ext uri="{FF2B5EF4-FFF2-40B4-BE49-F238E27FC236}">
                <a16:creationId xmlns:a16="http://schemas.microsoft.com/office/drawing/2014/main" id="{90800565-457C-44CA-B5C7-654275474468}"/>
              </a:ext>
            </a:extLst>
          </p:cNvPr>
          <p:cNvSpPr/>
          <p:nvPr userDrawn="1"/>
        </p:nvSpPr>
        <p:spPr>
          <a:xfrm>
            <a:off x="8028570" y="4148797"/>
            <a:ext cx="165465" cy="180613"/>
          </a:xfrm>
          <a:custGeom>
            <a:avLst/>
            <a:gdLst>
              <a:gd name="connsiteX0" fmla="*/ 75741 w 165465"/>
              <a:gd name="connsiteY0" fmla="*/ 180613 h 180613"/>
              <a:gd name="connsiteX1" fmla="*/ 0 w 165465"/>
              <a:gd name="connsiteY1" fmla="*/ 180613 h 180613"/>
              <a:gd name="connsiteX2" fmla="*/ 88559 w 165465"/>
              <a:gd name="connsiteY2" fmla="*/ 90889 h 180613"/>
              <a:gd name="connsiteX3" fmla="*/ 0 w 165465"/>
              <a:gd name="connsiteY3" fmla="*/ 0 h 180613"/>
              <a:gd name="connsiteX4" fmla="*/ 76906 w 165465"/>
              <a:gd name="connsiteY4" fmla="*/ 0 h 180613"/>
              <a:gd name="connsiteX5" fmla="*/ 165465 w 165465"/>
              <a:gd name="connsiteY5" fmla="*/ 88559 h 180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80613">
                <a:moveTo>
                  <a:pt x="75741" y="180613"/>
                </a:moveTo>
                <a:lnTo>
                  <a:pt x="0" y="180613"/>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417" name="Freihandform: Form 416">
            <a:extLst>
              <a:ext uri="{FF2B5EF4-FFF2-40B4-BE49-F238E27FC236}">
                <a16:creationId xmlns:a16="http://schemas.microsoft.com/office/drawing/2014/main" id="{F42B60A2-B724-49DF-B9C1-DF590E07CED7}"/>
              </a:ext>
            </a:extLst>
          </p:cNvPr>
          <p:cNvSpPr/>
          <p:nvPr userDrawn="1"/>
        </p:nvSpPr>
        <p:spPr>
          <a:xfrm>
            <a:off x="8028570" y="4504198"/>
            <a:ext cx="165465" cy="179448"/>
          </a:xfrm>
          <a:custGeom>
            <a:avLst/>
            <a:gdLst>
              <a:gd name="connsiteX0" fmla="*/ 75741 w 165465"/>
              <a:gd name="connsiteY0" fmla="*/ 179448 h 179448"/>
              <a:gd name="connsiteX1" fmla="*/ 0 w 165465"/>
              <a:gd name="connsiteY1" fmla="*/ 179448 h 179448"/>
              <a:gd name="connsiteX2" fmla="*/ 88559 w 165465"/>
              <a:gd name="connsiteY2" fmla="*/ 90889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418" name="Freihandform: Form 417">
            <a:extLst>
              <a:ext uri="{FF2B5EF4-FFF2-40B4-BE49-F238E27FC236}">
                <a16:creationId xmlns:a16="http://schemas.microsoft.com/office/drawing/2014/main" id="{918786C3-E0C0-40D3-AEEC-2B0928087F67}"/>
              </a:ext>
            </a:extLst>
          </p:cNvPr>
          <p:cNvSpPr/>
          <p:nvPr userDrawn="1"/>
        </p:nvSpPr>
        <p:spPr>
          <a:xfrm>
            <a:off x="8028570" y="4859598"/>
            <a:ext cx="165465" cy="179448"/>
          </a:xfrm>
          <a:custGeom>
            <a:avLst/>
            <a:gdLst>
              <a:gd name="connsiteX0" fmla="*/ 75741 w 165465"/>
              <a:gd name="connsiteY0" fmla="*/ 179448 h 179448"/>
              <a:gd name="connsiteX1" fmla="*/ 0 w 165465"/>
              <a:gd name="connsiteY1" fmla="*/ 179448 h 179448"/>
              <a:gd name="connsiteX2" fmla="*/ 88559 w 165465"/>
              <a:gd name="connsiteY2" fmla="*/ 89724 h 179448"/>
              <a:gd name="connsiteX3" fmla="*/ 0 w 165465"/>
              <a:gd name="connsiteY3" fmla="*/ 0 h 179448"/>
              <a:gd name="connsiteX4" fmla="*/ 76906 w 165465"/>
              <a:gd name="connsiteY4" fmla="*/ 0 h 179448"/>
              <a:gd name="connsiteX5" fmla="*/ 165465 w 165465"/>
              <a:gd name="connsiteY5" fmla="*/ 87394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89724"/>
                </a:lnTo>
                <a:lnTo>
                  <a:pt x="0" y="0"/>
                </a:lnTo>
                <a:lnTo>
                  <a:pt x="76906" y="0"/>
                </a:lnTo>
                <a:lnTo>
                  <a:pt x="165465" y="87394"/>
                </a:lnTo>
                <a:close/>
              </a:path>
            </a:pathLst>
          </a:custGeom>
          <a:solidFill>
            <a:srgbClr val="EEF2F5"/>
          </a:solidFill>
          <a:ln w="11643" cap="flat">
            <a:noFill/>
            <a:prstDash val="solid"/>
            <a:miter/>
          </a:ln>
        </p:spPr>
        <p:txBody>
          <a:bodyPr rtlCol="0" anchor="ctr"/>
          <a:lstStyle/>
          <a:p>
            <a:endParaRPr lang="de-DE"/>
          </a:p>
        </p:txBody>
      </p:sp>
      <p:sp>
        <p:nvSpPr>
          <p:cNvPr id="419" name="Freihandform: Form 418">
            <a:extLst>
              <a:ext uri="{FF2B5EF4-FFF2-40B4-BE49-F238E27FC236}">
                <a16:creationId xmlns:a16="http://schemas.microsoft.com/office/drawing/2014/main" id="{5A95C5AF-A7DE-46D9-BD81-B38E5EE66F36}"/>
              </a:ext>
            </a:extLst>
          </p:cNvPr>
          <p:cNvSpPr/>
          <p:nvPr userDrawn="1"/>
        </p:nvSpPr>
        <p:spPr>
          <a:xfrm>
            <a:off x="8028570" y="5213834"/>
            <a:ext cx="165465" cy="179448"/>
          </a:xfrm>
          <a:custGeom>
            <a:avLst/>
            <a:gdLst>
              <a:gd name="connsiteX0" fmla="*/ 75741 w 165465"/>
              <a:gd name="connsiteY0" fmla="*/ 179448 h 179448"/>
              <a:gd name="connsiteX1" fmla="*/ 0 w 165465"/>
              <a:gd name="connsiteY1" fmla="*/ 179448 h 179448"/>
              <a:gd name="connsiteX2" fmla="*/ 88559 w 165465"/>
              <a:gd name="connsiteY2" fmla="*/ 90890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90"/>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420" name="Freihandform: Form 419">
            <a:extLst>
              <a:ext uri="{FF2B5EF4-FFF2-40B4-BE49-F238E27FC236}">
                <a16:creationId xmlns:a16="http://schemas.microsoft.com/office/drawing/2014/main" id="{E84E62F6-ABA2-4007-8DEC-26ABA65D4FD4}"/>
              </a:ext>
            </a:extLst>
          </p:cNvPr>
          <p:cNvSpPr/>
          <p:nvPr userDrawn="1"/>
        </p:nvSpPr>
        <p:spPr>
          <a:xfrm>
            <a:off x="8028570" y="5569234"/>
            <a:ext cx="165465" cy="179448"/>
          </a:xfrm>
          <a:custGeom>
            <a:avLst/>
            <a:gdLst>
              <a:gd name="connsiteX0" fmla="*/ 75741 w 165465"/>
              <a:gd name="connsiteY0" fmla="*/ 179448 h 179448"/>
              <a:gd name="connsiteX1" fmla="*/ 0 w 165465"/>
              <a:gd name="connsiteY1" fmla="*/ 179448 h 179448"/>
              <a:gd name="connsiteX2" fmla="*/ 88559 w 165465"/>
              <a:gd name="connsiteY2" fmla="*/ 89724 h 179448"/>
              <a:gd name="connsiteX3" fmla="*/ 0 w 165465"/>
              <a:gd name="connsiteY3" fmla="*/ 0 h 179448"/>
              <a:gd name="connsiteX4" fmla="*/ 76906 w 165465"/>
              <a:gd name="connsiteY4" fmla="*/ 0 h 179448"/>
              <a:gd name="connsiteX5" fmla="*/ 165465 w 165465"/>
              <a:gd name="connsiteY5" fmla="*/ 87394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89724"/>
                </a:lnTo>
                <a:lnTo>
                  <a:pt x="0" y="0"/>
                </a:lnTo>
                <a:lnTo>
                  <a:pt x="76906" y="0"/>
                </a:lnTo>
                <a:lnTo>
                  <a:pt x="165465" y="87394"/>
                </a:lnTo>
                <a:close/>
              </a:path>
            </a:pathLst>
          </a:custGeom>
          <a:solidFill>
            <a:srgbClr val="EEF2F5"/>
          </a:solidFill>
          <a:ln w="11643" cap="flat">
            <a:noFill/>
            <a:prstDash val="solid"/>
            <a:miter/>
          </a:ln>
        </p:spPr>
        <p:txBody>
          <a:bodyPr rtlCol="0" anchor="ctr"/>
          <a:lstStyle/>
          <a:p>
            <a:endParaRPr lang="de-DE"/>
          </a:p>
        </p:txBody>
      </p:sp>
      <p:sp>
        <p:nvSpPr>
          <p:cNvPr id="421" name="Freihandform: Form 420">
            <a:extLst>
              <a:ext uri="{FF2B5EF4-FFF2-40B4-BE49-F238E27FC236}">
                <a16:creationId xmlns:a16="http://schemas.microsoft.com/office/drawing/2014/main" id="{BA0B5D5D-DD77-4EAC-9B17-FCAA6E650A70}"/>
              </a:ext>
            </a:extLst>
          </p:cNvPr>
          <p:cNvSpPr/>
          <p:nvPr userDrawn="1"/>
        </p:nvSpPr>
        <p:spPr>
          <a:xfrm>
            <a:off x="8028570" y="5923469"/>
            <a:ext cx="165465" cy="179448"/>
          </a:xfrm>
          <a:custGeom>
            <a:avLst/>
            <a:gdLst>
              <a:gd name="connsiteX0" fmla="*/ 75741 w 165465"/>
              <a:gd name="connsiteY0" fmla="*/ 179448 h 179448"/>
              <a:gd name="connsiteX1" fmla="*/ 0 w 165465"/>
              <a:gd name="connsiteY1" fmla="*/ 179448 h 179448"/>
              <a:gd name="connsiteX2" fmla="*/ 88559 w 165465"/>
              <a:gd name="connsiteY2" fmla="*/ 90890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90"/>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422" name="Freihandform: Form 421">
            <a:extLst>
              <a:ext uri="{FF2B5EF4-FFF2-40B4-BE49-F238E27FC236}">
                <a16:creationId xmlns:a16="http://schemas.microsoft.com/office/drawing/2014/main" id="{5ED5F732-E2A1-428A-B725-5499FA571055}"/>
              </a:ext>
            </a:extLst>
          </p:cNvPr>
          <p:cNvSpPr/>
          <p:nvPr userDrawn="1"/>
        </p:nvSpPr>
        <p:spPr>
          <a:xfrm>
            <a:off x="8028570" y="6278870"/>
            <a:ext cx="165465" cy="179448"/>
          </a:xfrm>
          <a:custGeom>
            <a:avLst/>
            <a:gdLst>
              <a:gd name="connsiteX0" fmla="*/ 75741 w 165465"/>
              <a:gd name="connsiteY0" fmla="*/ 179448 h 179448"/>
              <a:gd name="connsiteX1" fmla="*/ 0 w 165465"/>
              <a:gd name="connsiteY1" fmla="*/ 179448 h 179448"/>
              <a:gd name="connsiteX2" fmla="*/ 88559 w 165465"/>
              <a:gd name="connsiteY2" fmla="*/ 89724 h 179448"/>
              <a:gd name="connsiteX3" fmla="*/ 0 w 165465"/>
              <a:gd name="connsiteY3" fmla="*/ 0 h 179448"/>
              <a:gd name="connsiteX4" fmla="*/ 76906 w 165465"/>
              <a:gd name="connsiteY4" fmla="*/ 0 h 179448"/>
              <a:gd name="connsiteX5" fmla="*/ 165465 w 165465"/>
              <a:gd name="connsiteY5" fmla="*/ 87394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89724"/>
                </a:lnTo>
                <a:lnTo>
                  <a:pt x="0" y="0"/>
                </a:lnTo>
                <a:lnTo>
                  <a:pt x="76906" y="0"/>
                </a:lnTo>
                <a:lnTo>
                  <a:pt x="165465" y="87394"/>
                </a:lnTo>
                <a:close/>
              </a:path>
            </a:pathLst>
          </a:custGeom>
          <a:solidFill>
            <a:srgbClr val="EEF2F5"/>
          </a:solidFill>
          <a:ln w="11643" cap="flat">
            <a:noFill/>
            <a:prstDash val="solid"/>
            <a:miter/>
          </a:ln>
        </p:spPr>
        <p:txBody>
          <a:bodyPr rtlCol="0" anchor="ctr"/>
          <a:lstStyle/>
          <a:p>
            <a:endParaRPr lang="de-DE"/>
          </a:p>
        </p:txBody>
      </p:sp>
      <p:sp>
        <p:nvSpPr>
          <p:cNvPr id="423" name="Freihandform: Form 422">
            <a:extLst>
              <a:ext uri="{FF2B5EF4-FFF2-40B4-BE49-F238E27FC236}">
                <a16:creationId xmlns:a16="http://schemas.microsoft.com/office/drawing/2014/main" id="{7CB387CA-4891-4983-8E5A-E36398952292}"/>
              </a:ext>
            </a:extLst>
          </p:cNvPr>
          <p:cNvSpPr/>
          <p:nvPr userDrawn="1"/>
        </p:nvSpPr>
        <p:spPr>
          <a:xfrm>
            <a:off x="8028570" y="6633106"/>
            <a:ext cx="165465" cy="179448"/>
          </a:xfrm>
          <a:custGeom>
            <a:avLst/>
            <a:gdLst>
              <a:gd name="connsiteX0" fmla="*/ 75741 w 165465"/>
              <a:gd name="connsiteY0" fmla="*/ 179448 h 179448"/>
              <a:gd name="connsiteX1" fmla="*/ 0 w 165465"/>
              <a:gd name="connsiteY1" fmla="*/ 179448 h 179448"/>
              <a:gd name="connsiteX2" fmla="*/ 88559 w 165465"/>
              <a:gd name="connsiteY2" fmla="*/ 90889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424" name="Freihandform: Form 423">
            <a:extLst>
              <a:ext uri="{FF2B5EF4-FFF2-40B4-BE49-F238E27FC236}">
                <a16:creationId xmlns:a16="http://schemas.microsoft.com/office/drawing/2014/main" id="{12CEA374-A1E4-4EDF-A88E-97BA00CE075E}"/>
              </a:ext>
            </a:extLst>
          </p:cNvPr>
          <p:cNvSpPr/>
          <p:nvPr userDrawn="1"/>
        </p:nvSpPr>
        <p:spPr>
          <a:xfrm>
            <a:off x="8375813" y="2011732"/>
            <a:ext cx="180613" cy="196926"/>
          </a:xfrm>
          <a:custGeom>
            <a:avLst/>
            <a:gdLst>
              <a:gd name="connsiteX0" fmla="*/ 82733 w 180613"/>
              <a:gd name="connsiteY0" fmla="*/ 196927 h 196926"/>
              <a:gd name="connsiteX1" fmla="*/ 0 w 180613"/>
              <a:gd name="connsiteY1" fmla="*/ 196927 h 196926"/>
              <a:gd name="connsiteX2" fmla="*/ 96715 w 180613"/>
              <a:gd name="connsiteY2" fmla="*/ 99046 h 196926"/>
              <a:gd name="connsiteX3" fmla="*/ 0 w 180613"/>
              <a:gd name="connsiteY3" fmla="*/ 0 h 196926"/>
              <a:gd name="connsiteX4" fmla="*/ 83898 w 180613"/>
              <a:gd name="connsiteY4" fmla="*/ 0 h 196926"/>
              <a:gd name="connsiteX5" fmla="*/ 180613 w 180613"/>
              <a:gd name="connsiteY5" fmla="*/ 96716 h 196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6926">
                <a:moveTo>
                  <a:pt x="82733" y="196927"/>
                </a:moveTo>
                <a:lnTo>
                  <a:pt x="0" y="196927"/>
                </a:lnTo>
                <a:lnTo>
                  <a:pt x="96715" y="99046"/>
                </a:lnTo>
                <a:lnTo>
                  <a:pt x="0" y="0"/>
                </a:lnTo>
                <a:lnTo>
                  <a:pt x="83898" y="0"/>
                </a:lnTo>
                <a:lnTo>
                  <a:pt x="180613" y="96716"/>
                </a:lnTo>
                <a:close/>
              </a:path>
            </a:pathLst>
          </a:custGeom>
          <a:solidFill>
            <a:srgbClr val="EEF2F5"/>
          </a:solidFill>
          <a:ln w="11643" cap="flat">
            <a:noFill/>
            <a:prstDash val="solid"/>
            <a:miter/>
          </a:ln>
        </p:spPr>
        <p:txBody>
          <a:bodyPr rtlCol="0" anchor="ctr"/>
          <a:lstStyle/>
          <a:p>
            <a:endParaRPr lang="de-DE"/>
          </a:p>
        </p:txBody>
      </p:sp>
      <p:sp>
        <p:nvSpPr>
          <p:cNvPr id="425" name="Freihandform: Form 424">
            <a:extLst>
              <a:ext uri="{FF2B5EF4-FFF2-40B4-BE49-F238E27FC236}">
                <a16:creationId xmlns:a16="http://schemas.microsoft.com/office/drawing/2014/main" id="{56C3244B-93A0-4C8E-AF15-1B7B4B778A1C}"/>
              </a:ext>
            </a:extLst>
          </p:cNvPr>
          <p:cNvSpPr/>
          <p:nvPr userDrawn="1"/>
        </p:nvSpPr>
        <p:spPr>
          <a:xfrm>
            <a:off x="8375813" y="2367133"/>
            <a:ext cx="180613" cy="195761"/>
          </a:xfrm>
          <a:custGeom>
            <a:avLst/>
            <a:gdLst>
              <a:gd name="connsiteX0" fmla="*/ 82733 w 180613"/>
              <a:gd name="connsiteY0" fmla="*/ 195762 h 195761"/>
              <a:gd name="connsiteX1" fmla="*/ 0 w 180613"/>
              <a:gd name="connsiteY1" fmla="*/ 195762 h 195761"/>
              <a:gd name="connsiteX2" fmla="*/ 96715 w 180613"/>
              <a:gd name="connsiteY2" fmla="*/ 99046 h 195761"/>
              <a:gd name="connsiteX3" fmla="*/ 0 w 180613"/>
              <a:gd name="connsiteY3" fmla="*/ 0 h 195761"/>
              <a:gd name="connsiteX4" fmla="*/ 83898 w 180613"/>
              <a:gd name="connsiteY4" fmla="*/ 0 h 195761"/>
              <a:gd name="connsiteX5" fmla="*/ 180613 w 180613"/>
              <a:gd name="connsiteY5" fmla="*/ 95550 h 19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5761">
                <a:moveTo>
                  <a:pt x="82733" y="195762"/>
                </a:moveTo>
                <a:lnTo>
                  <a:pt x="0" y="195762"/>
                </a:lnTo>
                <a:lnTo>
                  <a:pt x="96715" y="99046"/>
                </a:lnTo>
                <a:lnTo>
                  <a:pt x="0" y="0"/>
                </a:lnTo>
                <a:lnTo>
                  <a:pt x="83898" y="0"/>
                </a:lnTo>
                <a:lnTo>
                  <a:pt x="180613" y="95550"/>
                </a:lnTo>
                <a:close/>
              </a:path>
            </a:pathLst>
          </a:custGeom>
          <a:solidFill>
            <a:srgbClr val="EEF2F5"/>
          </a:solidFill>
          <a:ln w="11643" cap="flat">
            <a:noFill/>
            <a:prstDash val="solid"/>
            <a:miter/>
          </a:ln>
        </p:spPr>
        <p:txBody>
          <a:bodyPr rtlCol="0" anchor="ctr"/>
          <a:lstStyle/>
          <a:p>
            <a:endParaRPr lang="de-DE"/>
          </a:p>
        </p:txBody>
      </p:sp>
      <p:sp>
        <p:nvSpPr>
          <p:cNvPr id="426" name="Freihandform: Form 425">
            <a:extLst>
              <a:ext uri="{FF2B5EF4-FFF2-40B4-BE49-F238E27FC236}">
                <a16:creationId xmlns:a16="http://schemas.microsoft.com/office/drawing/2014/main" id="{5EF2422E-3B65-405D-A92A-FC38539348AE}"/>
              </a:ext>
            </a:extLst>
          </p:cNvPr>
          <p:cNvSpPr/>
          <p:nvPr userDrawn="1"/>
        </p:nvSpPr>
        <p:spPr>
          <a:xfrm>
            <a:off x="8375813" y="2721368"/>
            <a:ext cx="180613" cy="196926"/>
          </a:xfrm>
          <a:custGeom>
            <a:avLst/>
            <a:gdLst>
              <a:gd name="connsiteX0" fmla="*/ 82733 w 180613"/>
              <a:gd name="connsiteY0" fmla="*/ 196927 h 196926"/>
              <a:gd name="connsiteX1" fmla="*/ 0 w 180613"/>
              <a:gd name="connsiteY1" fmla="*/ 196927 h 196926"/>
              <a:gd name="connsiteX2" fmla="*/ 96715 w 180613"/>
              <a:gd name="connsiteY2" fmla="*/ 99046 h 196926"/>
              <a:gd name="connsiteX3" fmla="*/ 0 w 180613"/>
              <a:gd name="connsiteY3" fmla="*/ 0 h 196926"/>
              <a:gd name="connsiteX4" fmla="*/ 83898 w 180613"/>
              <a:gd name="connsiteY4" fmla="*/ 0 h 196926"/>
              <a:gd name="connsiteX5" fmla="*/ 180613 w 180613"/>
              <a:gd name="connsiteY5" fmla="*/ 96716 h 196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6926">
                <a:moveTo>
                  <a:pt x="82733" y="196927"/>
                </a:moveTo>
                <a:lnTo>
                  <a:pt x="0" y="196927"/>
                </a:lnTo>
                <a:lnTo>
                  <a:pt x="96715" y="99046"/>
                </a:lnTo>
                <a:lnTo>
                  <a:pt x="0" y="0"/>
                </a:lnTo>
                <a:lnTo>
                  <a:pt x="83898" y="0"/>
                </a:lnTo>
                <a:lnTo>
                  <a:pt x="180613" y="96716"/>
                </a:lnTo>
                <a:close/>
              </a:path>
            </a:pathLst>
          </a:custGeom>
          <a:solidFill>
            <a:srgbClr val="EEF2F5"/>
          </a:solidFill>
          <a:ln w="11643" cap="flat">
            <a:noFill/>
            <a:prstDash val="solid"/>
            <a:miter/>
          </a:ln>
        </p:spPr>
        <p:txBody>
          <a:bodyPr rtlCol="0" anchor="ctr"/>
          <a:lstStyle/>
          <a:p>
            <a:endParaRPr lang="de-DE"/>
          </a:p>
        </p:txBody>
      </p:sp>
      <p:sp>
        <p:nvSpPr>
          <p:cNvPr id="427" name="Freihandform: Form 426">
            <a:extLst>
              <a:ext uri="{FF2B5EF4-FFF2-40B4-BE49-F238E27FC236}">
                <a16:creationId xmlns:a16="http://schemas.microsoft.com/office/drawing/2014/main" id="{7C3432CB-7D40-43FB-A958-E3C261C7469F}"/>
              </a:ext>
            </a:extLst>
          </p:cNvPr>
          <p:cNvSpPr/>
          <p:nvPr userDrawn="1"/>
        </p:nvSpPr>
        <p:spPr>
          <a:xfrm>
            <a:off x="8375813" y="3076769"/>
            <a:ext cx="180613" cy="195761"/>
          </a:xfrm>
          <a:custGeom>
            <a:avLst/>
            <a:gdLst>
              <a:gd name="connsiteX0" fmla="*/ 82733 w 180613"/>
              <a:gd name="connsiteY0" fmla="*/ 195762 h 195761"/>
              <a:gd name="connsiteX1" fmla="*/ 0 w 180613"/>
              <a:gd name="connsiteY1" fmla="*/ 195762 h 195761"/>
              <a:gd name="connsiteX2" fmla="*/ 96715 w 180613"/>
              <a:gd name="connsiteY2" fmla="*/ 99046 h 195761"/>
              <a:gd name="connsiteX3" fmla="*/ 0 w 180613"/>
              <a:gd name="connsiteY3" fmla="*/ 0 h 195761"/>
              <a:gd name="connsiteX4" fmla="*/ 83898 w 180613"/>
              <a:gd name="connsiteY4" fmla="*/ 0 h 195761"/>
              <a:gd name="connsiteX5" fmla="*/ 180613 w 180613"/>
              <a:gd name="connsiteY5" fmla="*/ 95550 h 19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5761">
                <a:moveTo>
                  <a:pt x="82733" y="195762"/>
                </a:moveTo>
                <a:lnTo>
                  <a:pt x="0" y="195762"/>
                </a:lnTo>
                <a:lnTo>
                  <a:pt x="96715" y="99046"/>
                </a:lnTo>
                <a:lnTo>
                  <a:pt x="0" y="0"/>
                </a:lnTo>
                <a:lnTo>
                  <a:pt x="83898" y="0"/>
                </a:lnTo>
                <a:lnTo>
                  <a:pt x="180613" y="95550"/>
                </a:lnTo>
                <a:close/>
              </a:path>
            </a:pathLst>
          </a:custGeom>
          <a:solidFill>
            <a:srgbClr val="EEF2F5"/>
          </a:solidFill>
          <a:ln w="11643" cap="flat">
            <a:noFill/>
            <a:prstDash val="solid"/>
            <a:miter/>
          </a:ln>
        </p:spPr>
        <p:txBody>
          <a:bodyPr rtlCol="0" anchor="ctr"/>
          <a:lstStyle/>
          <a:p>
            <a:endParaRPr lang="de-DE"/>
          </a:p>
        </p:txBody>
      </p:sp>
      <p:sp>
        <p:nvSpPr>
          <p:cNvPr id="428" name="Freihandform: Form 427">
            <a:extLst>
              <a:ext uri="{FF2B5EF4-FFF2-40B4-BE49-F238E27FC236}">
                <a16:creationId xmlns:a16="http://schemas.microsoft.com/office/drawing/2014/main" id="{95CDAEC0-EF92-40D9-B669-FB01CC74ECF7}"/>
              </a:ext>
            </a:extLst>
          </p:cNvPr>
          <p:cNvSpPr/>
          <p:nvPr userDrawn="1"/>
        </p:nvSpPr>
        <p:spPr>
          <a:xfrm>
            <a:off x="8375813" y="3431004"/>
            <a:ext cx="180613" cy="196926"/>
          </a:xfrm>
          <a:custGeom>
            <a:avLst/>
            <a:gdLst>
              <a:gd name="connsiteX0" fmla="*/ 82733 w 180613"/>
              <a:gd name="connsiteY0" fmla="*/ 196927 h 196926"/>
              <a:gd name="connsiteX1" fmla="*/ 0 w 180613"/>
              <a:gd name="connsiteY1" fmla="*/ 196927 h 196926"/>
              <a:gd name="connsiteX2" fmla="*/ 96715 w 180613"/>
              <a:gd name="connsiteY2" fmla="*/ 99046 h 196926"/>
              <a:gd name="connsiteX3" fmla="*/ 0 w 180613"/>
              <a:gd name="connsiteY3" fmla="*/ 0 h 196926"/>
              <a:gd name="connsiteX4" fmla="*/ 83898 w 180613"/>
              <a:gd name="connsiteY4" fmla="*/ 0 h 196926"/>
              <a:gd name="connsiteX5" fmla="*/ 180613 w 180613"/>
              <a:gd name="connsiteY5" fmla="*/ 96716 h 196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6926">
                <a:moveTo>
                  <a:pt x="82733" y="196927"/>
                </a:moveTo>
                <a:lnTo>
                  <a:pt x="0" y="196927"/>
                </a:lnTo>
                <a:lnTo>
                  <a:pt x="96715" y="99046"/>
                </a:lnTo>
                <a:lnTo>
                  <a:pt x="0" y="0"/>
                </a:lnTo>
                <a:lnTo>
                  <a:pt x="83898" y="0"/>
                </a:lnTo>
                <a:lnTo>
                  <a:pt x="180613" y="96716"/>
                </a:lnTo>
                <a:close/>
              </a:path>
            </a:pathLst>
          </a:custGeom>
          <a:solidFill>
            <a:srgbClr val="EEF2F5"/>
          </a:solidFill>
          <a:ln w="11643" cap="flat">
            <a:noFill/>
            <a:prstDash val="solid"/>
            <a:miter/>
          </a:ln>
        </p:spPr>
        <p:txBody>
          <a:bodyPr rtlCol="0" anchor="ctr"/>
          <a:lstStyle/>
          <a:p>
            <a:endParaRPr lang="de-DE"/>
          </a:p>
        </p:txBody>
      </p:sp>
      <p:sp>
        <p:nvSpPr>
          <p:cNvPr id="429" name="Freihandform: Form 428">
            <a:extLst>
              <a:ext uri="{FF2B5EF4-FFF2-40B4-BE49-F238E27FC236}">
                <a16:creationId xmlns:a16="http://schemas.microsoft.com/office/drawing/2014/main" id="{B918A736-A720-49F8-86AD-DB321FB14B75}"/>
              </a:ext>
            </a:extLst>
          </p:cNvPr>
          <p:cNvSpPr/>
          <p:nvPr userDrawn="1"/>
        </p:nvSpPr>
        <p:spPr>
          <a:xfrm>
            <a:off x="8375813" y="3786405"/>
            <a:ext cx="180613" cy="195761"/>
          </a:xfrm>
          <a:custGeom>
            <a:avLst/>
            <a:gdLst>
              <a:gd name="connsiteX0" fmla="*/ 82733 w 180613"/>
              <a:gd name="connsiteY0" fmla="*/ 195762 h 195761"/>
              <a:gd name="connsiteX1" fmla="*/ 0 w 180613"/>
              <a:gd name="connsiteY1" fmla="*/ 195762 h 195761"/>
              <a:gd name="connsiteX2" fmla="*/ 96715 w 180613"/>
              <a:gd name="connsiteY2" fmla="*/ 99046 h 195761"/>
              <a:gd name="connsiteX3" fmla="*/ 0 w 180613"/>
              <a:gd name="connsiteY3" fmla="*/ 0 h 195761"/>
              <a:gd name="connsiteX4" fmla="*/ 83898 w 180613"/>
              <a:gd name="connsiteY4" fmla="*/ 0 h 195761"/>
              <a:gd name="connsiteX5" fmla="*/ 180613 w 180613"/>
              <a:gd name="connsiteY5" fmla="*/ 96716 h 19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5761">
                <a:moveTo>
                  <a:pt x="82733" y="195762"/>
                </a:moveTo>
                <a:lnTo>
                  <a:pt x="0" y="195762"/>
                </a:lnTo>
                <a:lnTo>
                  <a:pt x="96715" y="99046"/>
                </a:lnTo>
                <a:lnTo>
                  <a:pt x="0" y="0"/>
                </a:lnTo>
                <a:lnTo>
                  <a:pt x="83898" y="0"/>
                </a:lnTo>
                <a:lnTo>
                  <a:pt x="180613" y="96716"/>
                </a:lnTo>
                <a:close/>
              </a:path>
            </a:pathLst>
          </a:custGeom>
          <a:solidFill>
            <a:srgbClr val="EEF2F5"/>
          </a:solidFill>
          <a:ln w="11643" cap="flat">
            <a:noFill/>
            <a:prstDash val="solid"/>
            <a:miter/>
          </a:ln>
        </p:spPr>
        <p:txBody>
          <a:bodyPr rtlCol="0" anchor="ctr"/>
          <a:lstStyle/>
          <a:p>
            <a:endParaRPr lang="de-DE"/>
          </a:p>
        </p:txBody>
      </p:sp>
      <p:sp>
        <p:nvSpPr>
          <p:cNvPr id="430" name="Freihandform: Form 429">
            <a:extLst>
              <a:ext uri="{FF2B5EF4-FFF2-40B4-BE49-F238E27FC236}">
                <a16:creationId xmlns:a16="http://schemas.microsoft.com/office/drawing/2014/main" id="{CC0A0D46-E810-4C74-8A3D-EF4F2E9D55A7}"/>
              </a:ext>
            </a:extLst>
          </p:cNvPr>
          <p:cNvSpPr/>
          <p:nvPr userDrawn="1"/>
        </p:nvSpPr>
        <p:spPr>
          <a:xfrm>
            <a:off x="8375813" y="4140640"/>
            <a:ext cx="180613" cy="196926"/>
          </a:xfrm>
          <a:custGeom>
            <a:avLst/>
            <a:gdLst>
              <a:gd name="connsiteX0" fmla="*/ 82733 w 180613"/>
              <a:gd name="connsiteY0" fmla="*/ 196927 h 196926"/>
              <a:gd name="connsiteX1" fmla="*/ 0 w 180613"/>
              <a:gd name="connsiteY1" fmla="*/ 196927 h 196926"/>
              <a:gd name="connsiteX2" fmla="*/ 96715 w 180613"/>
              <a:gd name="connsiteY2" fmla="*/ 99046 h 196926"/>
              <a:gd name="connsiteX3" fmla="*/ 0 w 180613"/>
              <a:gd name="connsiteY3" fmla="*/ 0 h 196926"/>
              <a:gd name="connsiteX4" fmla="*/ 83898 w 180613"/>
              <a:gd name="connsiteY4" fmla="*/ 0 h 196926"/>
              <a:gd name="connsiteX5" fmla="*/ 180613 w 180613"/>
              <a:gd name="connsiteY5" fmla="*/ 96716 h 196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6926">
                <a:moveTo>
                  <a:pt x="82733" y="196927"/>
                </a:moveTo>
                <a:lnTo>
                  <a:pt x="0" y="196927"/>
                </a:lnTo>
                <a:lnTo>
                  <a:pt x="96715" y="99046"/>
                </a:lnTo>
                <a:lnTo>
                  <a:pt x="0" y="0"/>
                </a:lnTo>
                <a:lnTo>
                  <a:pt x="83898" y="0"/>
                </a:lnTo>
                <a:lnTo>
                  <a:pt x="180613" y="96716"/>
                </a:lnTo>
                <a:close/>
              </a:path>
            </a:pathLst>
          </a:custGeom>
          <a:solidFill>
            <a:srgbClr val="EEF2F5"/>
          </a:solidFill>
          <a:ln w="11643" cap="flat">
            <a:noFill/>
            <a:prstDash val="solid"/>
            <a:miter/>
          </a:ln>
        </p:spPr>
        <p:txBody>
          <a:bodyPr rtlCol="0" anchor="ctr"/>
          <a:lstStyle/>
          <a:p>
            <a:endParaRPr lang="de-DE"/>
          </a:p>
        </p:txBody>
      </p:sp>
      <p:sp>
        <p:nvSpPr>
          <p:cNvPr id="431" name="Freihandform: Form 430">
            <a:extLst>
              <a:ext uri="{FF2B5EF4-FFF2-40B4-BE49-F238E27FC236}">
                <a16:creationId xmlns:a16="http://schemas.microsoft.com/office/drawing/2014/main" id="{34C0EB52-123E-44D9-9EC9-7D7BEF0ABD80}"/>
              </a:ext>
            </a:extLst>
          </p:cNvPr>
          <p:cNvSpPr/>
          <p:nvPr userDrawn="1"/>
        </p:nvSpPr>
        <p:spPr>
          <a:xfrm>
            <a:off x="8375813" y="4496041"/>
            <a:ext cx="180613" cy="195761"/>
          </a:xfrm>
          <a:custGeom>
            <a:avLst/>
            <a:gdLst>
              <a:gd name="connsiteX0" fmla="*/ 82733 w 180613"/>
              <a:gd name="connsiteY0" fmla="*/ 195762 h 195761"/>
              <a:gd name="connsiteX1" fmla="*/ 0 w 180613"/>
              <a:gd name="connsiteY1" fmla="*/ 195762 h 195761"/>
              <a:gd name="connsiteX2" fmla="*/ 96715 w 180613"/>
              <a:gd name="connsiteY2" fmla="*/ 99046 h 195761"/>
              <a:gd name="connsiteX3" fmla="*/ 0 w 180613"/>
              <a:gd name="connsiteY3" fmla="*/ 0 h 195761"/>
              <a:gd name="connsiteX4" fmla="*/ 83898 w 180613"/>
              <a:gd name="connsiteY4" fmla="*/ 0 h 195761"/>
              <a:gd name="connsiteX5" fmla="*/ 180613 w 180613"/>
              <a:gd name="connsiteY5" fmla="*/ 96716 h 19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5761">
                <a:moveTo>
                  <a:pt x="82733" y="195762"/>
                </a:moveTo>
                <a:lnTo>
                  <a:pt x="0" y="195762"/>
                </a:lnTo>
                <a:lnTo>
                  <a:pt x="96715" y="99046"/>
                </a:lnTo>
                <a:lnTo>
                  <a:pt x="0" y="0"/>
                </a:lnTo>
                <a:lnTo>
                  <a:pt x="83898" y="0"/>
                </a:lnTo>
                <a:lnTo>
                  <a:pt x="180613" y="96716"/>
                </a:lnTo>
                <a:close/>
              </a:path>
            </a:pathLst>
          </a:custGeom>
          <a:solidFill>
            <a:srgbClr val="EEF2F5"/>
          </a:solidFill>
          <a:ln w="11643" cap="flat">
            <a:noFill/>
            <a:prstDash val="solid"/>
            <a:miter/>
          </a:ln>
        </p:spPr>
        <p:txBody>
          <a:bodyPr rtlCol="0" anchor="ctr"/>
          <a:lstStyle/>
          <a:p>
            <a:endParaRPr lang="de-DE"/>
          </a:p>
        </p:txBody>
      </p:sp>
      <p:sp>
        <p:nvSpPr>
          <p:cNvPr id="432" name="Freihandform: Form 431">
            <a:extLst>
              <a:ext uri="{FF2B5EF4-FFF2-40B4-BE49-F238E27FC236}">
                <a16:creationId xmlns:a16="http://schemas.microsoft.com/office/drawing/2014/main" id="{5219E8F1-626A-4690-864E-3909F2395641}"/>
              </a:ext>
            </a:extLst>
          </p:cNvPr>
          <p:cNvSpPr/>
          <p:nvPr userDrawn="1"/>
        </p:nvSpPr>
        <p:spPr>
          <a:xfrm>
            <a:off x="8375813" y="4850276"/>
            <a:ext cx="180613" cy="196927"/>
          </a:xfrm>
          <a:custGeom>
            <a:avLst/>
            <a:gdLst>
              <a:gd name="connsiteX0" fmla="*/ 82733 w 180613"/>
              <a:gd name="connsiteY0" fmla="*/ 196927 h 196927"/>
              <a:gd name="connsiteX1" fmla="*/ 0 w 180613"/>
              <a:gd name="connsiteY1" fmla="*/ 196927 h 196927"/>
              <a:gd name="connsiteX2" fmla="*/ 96715 w 180613"/>
              <a:gd name="connsiteY2" fmla="*/ 99046 h 196927"/>
              <a:gd name="connsiteX3" fmla="*/ 0 w 180613"/>
              <a:gd name="connsiteY3" fmla="*/ 0 h 196927"/>
              <a:gd name="connsiteX4" fmla="*/ 83898 w 180613"/>
              <a:gd name="connsiteY4" fmla="*/ 0 h 196927"/>
              <a:gd name="connsiteX5" fmla="*/ 180613 w 180613"/>
              <a:gd name="connsiteY5" fmla="*/ 96716 h 196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6927">
                <a:moveTo>
                  <a:pt x="82733" y="196927"/>
                </a:moveTo>
                <a:lnTo>
                  <a:pt x="0" y="196927"/>
                </a:lnTo>
                <a:lnTo>
                  <a:pt x="96715" y="99046"/>
                </a:lnTo>
                <a:lnTo>
                  <a:pt x="0" y="0"/>
                </a:lnTo>
                <a:lnTo>
                  <a:pt x="83898" y="0"/>
                </a:lnTo>
                <a:lnTo>
                  <a:pt x="180613" y="96716"/>
                </a:lnTo>
                <a:close/>
              </a:path>
            </a:pathLst>
          </a:custGeom>
          <a:solidFill>
            <a:srgbClr val="EEF2F5"/>
          </a:solidFill>
          <a:ln w="11643" cap="flat">
            <a:noFill/>
            <a:prstDash val="solid"/>
            <a:miter/>
          </a:ln>
        </p:spPr>
        <p:txBody>
          <a:bodyPr rtlCol="0" anchor="ctr"/>
          <a:lstStyle/>
          <a:p>
            <a:endParaRPr lang="de-DE"/>
          </a:p>
        </p:txBody>
      </p:sp>
      <p:sp>
        <p:nvSpPr>
          <p:cNvPr id="433" name="Freihandform: Form 432">
            <a:extLst>
              <a:ext uri="{FF2B5EF4-FFF2-40B4-BE49-F238E27FC236}">
                <a16:creationId xmlns:a16="http://schemas.microsoft.com/office/drawing/2014/main" id="{D51309D8-1401-412C-AF26-DDF972F4A03F}"/>
              </a:ext>
            </a:extLst>
          </p:cNvPr>
          <p:cNvSpPr/>
          <p:nvPr userDrawn="1"/>
        </p:nvSpPr>
        <p:spPr>
          <a:xfrm>
            <a:off x="8375813" y="5205677"/>
            <a:ext cx="180613" cy="195761"/>
          </a:xfrm>
          <a:custGeom>
            <a:avLst/>
            <a:gdLst>
              <a:gd name="connsiteX0" fmla="*/ 82733 w 180613"/>
              <a:gd name="connsiteY0" fmla="*/ 195762 h 195761"/>
              <a:gd name="connsiteX1" fmla="*/ 0 w 180613"/>
              <a:gd name="connsiteY1" fmla="*/ 195762 h 195761"/>
              <a:gd name="connsiteX2" fmla="*/ 96715 w 180613"/>
              <a:gd name="connsiteY2" fmla="*/ 99046 h 195761"/>
              <a:gd name="connsiteX3" fmla="*/ 0 w 180613"/>
              <a:gd name="connsiteY3" fmla="*/ 0 h 195761"/>
              <a:gd name="connsiteX4" fmla="*/ 83898 w 180613"/>
              <a:gd name="connsiteY4" fmla="*/ 0 h 195761"/>
              <a:gd name="connsiteX5" fmla="*/ 180613 w 180613"/>
              <a:gd name="connsiteY5" fmla="*/ 96715 h 19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5761">
                <a:moveTo>
                  <a:pt x="82733" y="195762"/>
                </a:moveTo>
                <a:lnTo>
                  <a:pt x="0" y="195762"/>
                </a:lnTo>
                <a:lnTo>
                  <a:pt x="96715" y="99046"/>
                </a:lnTo>
                <a:lnTo>
                  <a:pt x="0" y="0"/>
                </a:lnTo>
                <a:lnTo>
                  <a:pt x="83898" y="0"/>
                </a:lnTo>
                <a:lnTo>
                  <a:pt x="180613" y="96715"/>
                </a:lnTo>
                <a:close/>
              </a:path>
            </a:pathLst>
          </a:custGeom>
          <a:solidFill>
            <a:srgbClr val="EEF2F5"/>
          </a:solidFill>
          <a:ln w="11643" cap="flat">
            <a:noFill/>
            <a:prstDash val="solid"/>
            <a:miter/>
          </a:ln>
        </p:spPr>
        <p:txBody>
          <a:bodyPr rtlCol="0" anchor="ctr"/>
          <a:lstStyle/>
          <a:p>
            <a:endParaRPr lang="de-DE"/>
          </a:p>
        </p:txBody>
      </p:sp>
      <p:sp>
        <p:nvSpPr>
          <p:cNvPr id="434" name="Freihandform: Form 433">
            <a:extLst>
              <a:ext uri="{FF2B5EF4-FFF2-40B4-BE49-F238E27FC236}">
                <a16:creationId xmlns:a16="http://schemas.microsoft.com/office/drawing/2014/main" id="{18C115C5-2AC9-4E5E-BDA3-03481CD7237E}"/>
              </a:ext>
            </a:extLst>
          </p:cNvPr>
          <p:cNvSpPr/>
          <p:nvPr userDrawn="1"/>
        </p:nvSpPr>
        <p:spPr>
          <a:xfrm>
            <a:off x="8375813" y="5559912"/>
            <a:ext cx="180613" cy="196926"/>
          </a:xfrm>
          <a:custGeom>
            <a:avLst/>
            <a:gdLst>
              <a:gd name="connsiteX0" fmla="*/ 82733 w 180613"/>
              <a:gd name="connsiteY0" fmla="*/ 196927 h 196926"/>
              <a:gd name="connsiteX1" fmla="*/ 0 w 180613"/>
              <a:gd name="connsiteY1" fmla="*/ 196927 h 196926"/>
              <a:gd name="connsiteX2" fmla="*/ 96715 w 180613"/>
              <a:gd name="connsiteY2" fmla="*/ 99046 h 196926"/>
              <a:gd name="connsiteX3" fmla="*/ 0 w 180613"/>
              <a:gd name="connsiteY3" fmla="*/ 0 h 196926"/>
              <a:gd name="connsiteX4" fmla="*/ 83898 w 180613"/>
              <a:gd name="connsiteY4" fmla="*/ 0 h 196926"/>
              <a:gd name="connsiteX5" fmla="*/ 180613 w 180613"/>
              <a:gd name="connsiteY5" fmla="*/ 96715 h 196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6926">
                <a:moveTo>
                  <a:pt x="82733" y="196927"/>
                </a:moveTo>
                <a:lnTo>
                  <a:pt x="0" y="196927"/>
                </a:lnTo>
                <a:lnTo>
                  <a:pt x="96715" y="99046"/>
                </a:lnTo>
                <a:lnTo>
                  <a:pt x="0" y="0"/>
                </a:lnTo>
                <a:lnTo>
                  <a:pt x="83898" y="0"/>
                </a:lnTo>
                <a:lnTo>
                  <a:pt x="180613" y="96715"/>
                </a:lnTo>
                <a:close/>
              </a:path>
            </a:pathLst>
          </a:custGeom>
          <a:solidFill>
            <a:srgbClr val="EEF2F5"/>
          </a:solidFill>
          <a:ln w="11643" cap="flat">
            <a:noFill/>
            <a:prstDash val="solid"/>
            <a:miter/>
          </a:ln>
        </p:spPr>
        <p:txBody>
          <a:bodyPr rtlCol="0" anchor="ctr"/>
          <a:lstStyle/>
          <a:p>
            <a:endParaRPr lang="de-DE"/>
          </a:p>
        </p:txBody>
      </p:sp>
      <p:sp>
        <p:nvSpPr>
          <p:cNvPr id="435" name="Freihandform: Form 434">
            <a:extLst>
              <a:ext uri="{FF2B5EF4-FFF2-40B4-BE49-F238E27FC236}">
                <a16:creationId xmlns:a16="http://schemas.microsoft.com/office/drawing/2014/main" id="{6AF44250-C7AA-4392-96AF-9FBE14A0A151}"/>
              </a:ext>
            </a:extLst>
          </p:cNvPr>
          <p:cNvSpPr/>
          <p:nvPr userDrawn="1"/>
        </p:nvSpPr>
        <p:spPr>
          <a:xfrm>
            <a:off x="8375813" y="5915313"/>
            <a:ext cx="180613" cy="195761"/>
          </a:xfrm>
          <a:custGeom>
            <a:avLst/>
            <a:gdLst>
              <a:gd name="connsiteX0" fmla="*/ 82733 w 180613"/>
              <a:gd name="connsiteY0" fmla="*/ 195762 h 195761"/>
              <a:gd name="connsiteX1" fmla="*/ 0 w 180613"/>
              <a:gd name="connsiteY1" fmla="*/ 195762 h 195761"/>
              <a:gd name="connsiteX2" fmla="*/ 96715 w 180613"/>
              <a:gd name="connsiteY2" fmla="*/ 99046 h 195761"/>
              <a:gd name="connsiteX3" fmla="*/ 0 w 180613"/>
              <a:gd name="connsiteY3" fmla="*/ 0 h 195761"/>
              <a:gd name="connsiteX4" fmla="*/ 83898 w 180613"/>
              <a:gd name="connsiteY4" fmla="*/ 0 h 195761"/>
              <a:gd name="connsiteX5" fmla="*/ 180613 w 180613"/>
              <a:gd name="connsiteY5" fmla="*/ 96715 h 19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5761">
                <a:moveTo>
                  <a:pt x="82733" y="195762"/>
                </a:moveTo>
                <a:lnTo>
                  <a:pt x="0" y="195762"/>
                </a:lnTo>
                <a:lnTo>
                  <a:pt x="96715" y="99046"/>
                </a:lnTo>
                <a:lnTo>
                  <a:pt x="0" y="0"/>
                </a:lnTo>
                <a:lnTo>
                  <a:pt x="83898" y="0"/>
                </a:lnTo>
                <a:lnTo>
                  <a:pt x="180613" y="96715"/>
                </a:lnTo>
                <a:close/>
              </a:path>
            </a:pathLst>
          </a:custGeom>
          <a:solidFill>
            <a:srgbClr val="EEF2F5"/>
          </a:solidFill>
          <a:ln w="11643" cap="flat">
            <a:noFill/>
            <a:prstDash val="solid"/>
            <a:miter/>
          </a:ln>
        </p:spPr>
        <p:txBody>
          <a:bodyPr rtlCol="0" anchor="ctr"/>
          <a:lstStyle/>
          <a:p>
            <a:endParaRPr lang="de-DE"/>
          </a:p>
        </p:txBody>
      </p:sp>
      <p:sp>
        <p:nvSpPr>
          <p:cNvPr id="436" name="Freihandform: Form 435">
            <a:extLst>
              <a:ext uri="{FF2B5EF4-FFF2-40B4-BE49-F238E27FC236}">
                <a16:creationId xmlns:a16="http://schemas.microsoft.com/office/drawing/2014/main" id="{FC7422D5-7BFD-49F1-8CF8-41977E51E586}"/>
              </a:ext>
            </a:extLst>
          </p:cNvPr>
          <p:cNvSpPr/>
          <p:nvPr userDrawn="1"/>
        </p:nvSpPr>
        <p:spPr>
          <a:xfrm>
            <a:off x="8375813" y="6270714"/>
            <a:ext cx="180613" cy="195761"/>
          </a:xfrm>
          <a:custGeom>
            <a:avLst/>
            <a:gdLst>
              <a:gd name="connsiteX0" fmla="*/ 82733 w 180613"/>
              <a:gd name="connsiteY0" fmla="*/ 195762 h 195761"/>
              <a:gd name="connsiteX1" fmla="*/ 0 w 180613"/>
              <a:gd name="connsiteY1" fmla="*/ 195762 h 195761"/>
              <a:gd name="connsiteX2" fmla="*/ 96715 w 180613"/>
              <a:gd name="connsiteY2" fmla="*/ 97881 h 195761"/>
              <a:gd name="connsiteX3" fmla="*/ 0 w 180613"/>
              <a:gd name="connsiteY3" fmla="*/ 0 h 195761"/>
              <a:gd name="connsiteX4" fmla="*/ 83898 w 180613"/>
              <a:gd name="connsiteY4" fmla="*/ 0 h 195761"/>
              <a:gd name="connsiteX5" fmla="*/ 180613 w 180613"/>
              <a:gd name="connsiteY5" fmla="*/ 95550 h 19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5761">
                <a:moveTo>
                  <a:pt x="82733" y="195762"/>
                </a:moveTo>
                <a:lnTo>
                  <a:pt x="0" y="195762"/>
                </a:lnTo>
                <a:lnTo>
                  <a:pt x="96715" y="97881"/>
                </a:lnTo>
                <a:lnTo>
                  <a:pt x="0" y="0"/>
                </a:lnTo>
                <a:lnTo>
                  <a:pt x="83898" y="0"/>
                </a:lnTo>
                <a:lnTo>
                  <a:pt x="180613" y="95550"/>
                </a:lnTo>
                <a:close/>
              </a:path>
            </a:pathLst>
          </a:custGeom>
          <a:solidFill>
            <a:srgbClr val="EEF2F5"/>
          </a:solidFill>
          <a:ln w="11643" cap="flat">
            <a:noFill/>
            <a:prstDash val="solid"/>
            <a:miter/>
          </a:ln>
        </p:spPr>
        <p:txBody>
          <a:bodyPr rtlCol="0" anchor="ctr"/>
          <a:lstStyle/>
          <a:p>
            <a:endParaRPr lang="de-DE"/>
          </a:p>
        </p:txBody>
      </p:sp>
      <p:sp>
        <p:nvSpPr>
          <p:cNvPr id="437" name="Freihandform: Form 436">
            <a:extLst>
              <a:ext uri="{FF2B5EF4-FFF2-40B4-BE49-F238E27FC236}">
                <a16:creationId xmlns:a16="http://schemas.microsoft.com/office/drawing/2014/main" id="{E943456F-C9D7-440F-BAE7-3340B9DC6330}"/>
              </a:ext>
            </a:extLst>
          </p:cNvPr>
          <p:cNvSpPr/>
          <p:nvPr userDrawn="1"/>
        </p:nvSpPr>
        <p:spPr>
          <a:xfrm>
            <a:off x="8375813" y="6624949"/>
            <a:ext cx="180613" cy="196926"/>
          </a:xfrm>
          <a:custGeom>
            <a:avLst/>
            <a:gdLst>
              <a:gd name="connsiteX0" fmla="*/ 82733 w 180613"/>
              <a:gd name="connsiteY0" fmla="*/ 196927 h 196926"/>
              <a:gd name="connsiteX1" fmla="*/ 0 w 180613"/>
              <a:gd name="connsiteY1" fmla="*/ 196927 h 196926"/>
              <a:gd name="connsiteX2" fmla="*/ 96715 w 180613"/>
              <a:gd name="connsiteY2" fmla="*/ 99046 h 196926"/>
              <a:gd name="connsiteX3" fmla="*/ 0 w 180613"/>
              <a:gd name="connsiteY3" fmla="*/ 0 h 196926"/>
              <a:gd name="connsiteX4" fmla="*/ 83898 w 180613"/>
              <a:gd name="connsiteY4" fmla="*/ 0 h 196926"/>
              <a:gd name="connsiteX5" fmla="*/ 180613 w 180613"/>
              <a:gd name="connsiteY5" fmla="*/ 96715 h 196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6926">
                <a:moveTo>
                  <a:pt x="82733" y="196927"/>
                </a:moveTo>
                <a:lnTo>
                  <a:pt x="0" y="196927"/>
                </a:lnTo>
                <a:lnTo>
                  <a:pt x="96715" y="99046"/>
                </a:lnTo>
                <a:lnTo>
                  <a:pt x="0" y="0"/>
                </a:lnTo>
                <a:lnTo>
                  <a:pt x="83898" y="0"/>
                </a:lnTo>
                <a:lnTo>
                  <a:pt x="180613" y="96715"/>
                </a:lnTo>
                <a:close/>
              </a:path>
            </a:pathLst>
          </a:custGeom>
          <a:solidFill>
            <a:srgbClr val="EEF2F5"/>
          </a:solidFill>
          <a:ln w="11643" cap="flat">
            <a:noFill/>
            <a:prstDash val="solid"/>
            <a:miter/>
          </a:ln>
        </p:spPr>
        <p:txBody>
          <a:bodyPr rtlCol="0" anchor="ctr"/>
          <a:lstStyle/>
          <a:p>
            <a:endParaRPr lang="de-DE"/>
          </a:p>
        </p:txBody>
      </p:sp>
      <p:sp>
        <p:nvSpPr>
          <p:cNvPr id="438" name="Freihandform: Form 437">
            <a:extLst>
              <a:ext uri="{FF2B5EF4-FFF2-40B4-BE49-F238E27FC236}">
                <a16:creationId xmlns:a16="http://schemas.microsoft.com/office/drawing/2014/main" id="{51CAB98F-4CBB-4D06-A263-949D791C9F0B}"/>
              </a:ext>
            </a:extLst>
          </p:cNvPr>
          <p:cNvSpPr/>
          <p:nvPr userDrawn="1"/>
        </p:nvSpPr>
        <p:spPr>
          <a:xfrm>
            <a:off x="8721892" y="2002410"/>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6038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6038"/>
                </a:lnTo>
                <a:close/>
              </a:path>
            </a:pathLst>
          </a:custGeom>
          <a:solidFill>
            <a:srgbClr val="EEF2F5"/>
          </a:solidFill>
          <a:ln w="11643" cap="flat">
            <a:noFill/>
            <a:prstDash val="solid"/>
            <a:miter/>
          </a:ln>
        </p:spPr>
        <p:txBody>
          <a:bodyPr rtlCol="0" anchor="ctr"/>
          <a:lstStyle/>
          <a:p>
            <a:endParaRPr lang="de-DE"/>
          </a:p>
        </p:txBody>
      </p:sp>
      <p:sp>
        <p:nvSpPr>
          <p:cNvPr id="439" name="Freihandform: Form 438">
            <a:extLst>
              <a:ext uri="{FF2B5EF4-FFF2-40B4-BE49-F238E27FC236}">
                <a16:creationId xmlns:a16="http://schemas.microsoft.com/office/drawing/2014/main" id="{62F4C308-3870-47E2-8215-AAF8FAAB7155}"/>
              </a:ext>
            </a:extLst>
          </p:cNvPr>
          <p:cNvSpPr/>
          <p:nvPr userDrawn="1"/>
        </p:nvSpPr>
        <p:spPr>
          <a:xfrm>
            <a:off x="8721892" y="2357811"/>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4872"/>
                </a:lnTo>
                <a:close/>
              </a:path>
            </a:pathLst>
          </a:custGeom>
          <a:solidFill>
            <a:srgbClr val="EEF2F5"/>
          </a:solidFill>
          <a:ln w="11643" cap="flat">
            <a:noFill/>
            <a:prstDash val="solid"/>
            <a:miter/>
          </a:ln>
        </p:spPr>
        <p:txBody>
          <a:bodyPr rtlCol="0" anchor="ctr"/>
          <a:lstStyle/>
          <a:p>
            <a:endParaRPr lang="de-DE"/>
          </a:p>
        </p:txBody>
      </p:sp>
      <p:sp>
        <p:nvSpPr>
          <p:cNvPr id="440" name="Freihandform: Form 439">
            <a:extLst>
              <a:ext uri="{FF2B5EF4-FFF2-40B4-BE49-F238E27FC236}">
                <a16:creationId xmlns:a16="http://schemas.microsoft.com/office/drawing/2014/main" id="{D7322EBB-EAEE-4A42-9AD7-53B76C52A248}"/>
              </a:ext>
            </a:extLst>
          </p:cNvPr>
          <p:cNvSpPr/>
          <p:nvPr userDrawn="1"/>
        </p:nvSpPr>
        <p:spPr>
          <a:xfrm>
            <a:off x="8721892" y="2712046"/>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6038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6038"/>
                </a:lnTo>
                <a:close/>
              </a:path>
            </a:pathLst>
          </a:custGeom>
          <a:solidFill>
            <a:srgbClr val="EEF2F5"/>
          </a:solidFill>
          <a:ln w="11643" cap="flat">
            <a:noFill/>
            <a:prstDash val="solid"/>
            <a:miter/>
          </a:ln>
        </p:spPr>
        <p:txBody>
          <a:bodyPr rtlCol="0" anchor="ctr"/>
          <a:lstStyle/>
          <a:p>
            <a:endParaRPr lang="de-DE"/>
          </a:p>
        </p:txBody>
      </p:sp>
      <p:sp>
        <p:nvSpPr>
          <p:cNvPr id="441" name="Freihandform: Form 440">
            <a:extLst>
              <a:ext uri="{FF2B5EF4-FFF2-40B4-BE49-F238E27FC236}">
                <a16:creationId xmlns:a16="http://schemas.microsoft.com/office/drawing/2014/main" id="{2F1B8135-9A4E-476E-8711-64C2C031A7D4}"/>
              </a:ext>
            </a:extLst>
          </p:cNvPr>
          <p:cNvSpPr/>
          <p:nvPr userDrawn="1"/>
        </p:nvSpPr>
        <p:spPr>
          <a:xfrm>
            <a:off x="8721892" y="3067447"/>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4872"/>
                </a:lnTo>
                <a:close/>
              </a:path>
            </a:pathLst>
          </a:custGeom>
          <a:solidFill>
            <a:srgbClr val="EEF2F5"/>
          </a:solidFill>
          <a:ln w="11643" cap="flat">
            <a:noFill/>
            <a:prstDash val="solid"/>
            <a:miter/>
          </a:ln>
        </p:spPr>
        <p:txBody>
          <a:bodyPr rtlCol="0" anchor="ctr"/>
          <a:lstStyle/>
          <a:p>
            <a:endParaRPr lang="de-DE"/>
          </a:p>
        </p:txBody>
      </p:sp>
      <p:sp>
        <p:nvSpPr>
          <p:cNvPr id="442" name="Freihandform: Form 441">
            <a:extLst>
              <a:ext uri="{FF2B5EF4-FFF2-40B4-BE49-F238E27FC236}">
                <a16:creationId xmlns:a16="http://schemas.microsoft.com/office/drawing/2014/main" id="{6FC17601-18E6-4BF7-A8D1-2826F0BE14DB}"/>
              </a:ext>
            </a:extLst>
          </p:cNvPr>
          <p:cNvSpPr/>
          <p:nvPr userDrawn="1"/>
        </p:nvSpPr>
        <p:spPr>
          <a:xfrm>
            <a:off x="8721892" y="3421682"/>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6038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6038"/>
                </a:lnTo>
                <a:close/>
              </a:path>
            </a:pathLst>
          </a:custGeom>
          <a:solidFill>
            <a:srgbClr val="EEF2F5"/>
          </a:solidFill>
          <a:ln w="11643" cap="flat">
            <a:noFill/>
            <a:prstDash val="solid"/>
            <a:miter/>
          </a:ln>
        </p:spPr>
        <p:txBody>
          <a:bodyPr rtlCol="0" anchor="ctr"/>
          <a:lstStyle/>
          <a:p>
            <a:endParaRPr lang="de-DE"/>
          </a:p>
        </p:txBody>
      </p:sp>
      <p:sp>
        <p:nvSpPr>
          <p:cNvPr id="443" name="Freihandform: Form 442">
            <a:extLst>
              <a:ext uri="{FF2B5EF4-FFF2-40B4-BE49-F238E27FC236}">
                <a16:creationId xmlns:a16="http://schemas.microsoft.com/office/drawing/2014/main" id="{14285465-FDDA-4690-A394-8C87D559E31D}"/>
              </a:ext>
            </a:extLst>
          </p:cNvPr>
          <p:cNvSpPr/>
          <p:nvPr userDrawn="1"/>
        </p:nvSpPr>
        <p:spPr>
          <a:xfrm>
            <a:off x="8721892" y="3777083"/>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4872"/>
                </a:lnTo>
                <a:close/>
              </a:path>
            </a:pathLst>
          </a:custGeom>
          <a:solidFill>
            <a:srgbClr val="EEF2F5"/>
          </a:solidFill>
          <a:ln w="11643" cap="flat">
            <a:noFill/>
            <a:prstDash val="solid"/>
            <a:miter/>
          </a:ln>
        </p:spPr>
        <p:txBody>
          <a:bodyPr rtlCol="0" anchor="ctr"/>
          <a:lstStyle/>
          <a:p>
            <a:endParaRPr lang="de-DE"/>
          </a:p>
        </p:txBody>
      </p:sp>
      <p:sp>
        <p:nvSpPr>
          <p:cNvPr id="444" name="Freihandform: Form 443">
            <a:extLst>
              <a:ext uri="{FF2B5EF4-FFF2-40B4-BE49-F238E27FC236}">
                <a16:creationId xmlns:a16="http://schemas.microsoft.com/office/drawing/2014/main" id="{EF5CE05F-09D9-4E8A-A64E-CC6C5BB6F1A5}"/>
              </a:ext>
            </a:extLst>
          </p:cNvPr>
          <p:cNvSpPr/>
          <p:nvPr userDrawn="1"/>
        </p:nvSpPr>
        <p:spPr>
          <a:xfrm>
            <a:off x="8721892" y="4132484"/>
            <a:ext cx="198092" cy="214405"/>
          </a:xfrm>
          <a:custGeom>
            <a:avLst/>
            <a:gdLst>
              <a:gd name="connsiteX0" fmla="*/ 90889 w 198092"/>
              <a:gd name="connsiteY0" fmla="*/ 214406 h 214405"/>
              <a:gd name="connsiteX1" fmla="*/ 0 w 198092"/>
              <a:gd name="connsiteY1" fmla="*/ 214406 h 214405"/>
              <a:gd name="connsiteX2" fmla="*/ 106037 w 198092"/>
              <a:gd name="connsiteY2" fmla="*/ 107203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7203"/>
                </a:lnTo>
                <a:lnTo>
                  <a:pt x="0" y="0"/>
                </a:lnTo>
                <a:lnTo>
                  <a:pt x="92055" y="0"/>
                </a:lnTo>
                <a:lnTo>
                  <a:pt x="198092" y="104872"/>
                </a:lnTo>
                <a:close/>
              </a:path>
            </a:pathLst>
          </a:custGeom>
          <a:solidFill>
            <a:srgbClr val="EEF2F5"/>
          </a:solidFill>
          <a:ln w="11643" cap="flat">
            <a:noFill/>
            <a:prstDash val="solid"/>
            <a:miter/>
          </a:ln>
        </p:spPr>
        <p:txBody>
          <a:bodyPr rtlCol="0" anchor="ctr"/>
          <a:lstStyle/>
          <a:p>
            <a:endParaRPr lang="de-DE"/>
          </a:p>
        </p:txBody>
      </p:sp>
      <p:sp>
        <p:nvSpPr>
          <p:cNvPr id="445" name="Freihandform: Form 444">
            <a:extLst>
              <a:ext uri="{FF2B5EF4-FFF2-40B4-BE49-F238E27FC236}">
                <a16:creationId xmlns:a16="http://schemas.microsoft.com/office/drawing/2014/main" id="{252B6EA4-1D20-403F-A67B-8BCEBA7181EA}"/>
              </a:ext>
            </a:extLst>
          </p:cNvPr>
          <p:cNvSpPr/>
          <p:nvPr userDrawn="1"/>
        </p:nvSpPr>
        <p:spPr>
          <a:xfrm>
            <a:off x="8721892" y="4486719"/>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4872"/>
                </a:lnTo>
                <a:close/>
              </a:path>
            </a:pathLst>
          </a:custGeom>
          <a:solidFill>
            <a:srgbClr val="EEF2F5"/>
          </a:solidFill>
          <a:ln w="11643" cap="flat">
            <a:noFill/>
            <a:prstDash val="solid"/>
            <a:miter/>
          </a:ln>
        </p:spPr>
        <p:txBody>
          <a:bodyPr rtlCol="0" anchor="ctr"/>
          <a:lstStyle/>
          <a:p>
            <a:endParaRPr lang="de-DE"/>
          </a:p>
        </p:txBody>
      </p:sp>
      <p:sp>
        <p:nvSpPr>
          <p:cNvPr id="446" name="Freihandform: Form 445">
            <a:extLst>
              <a:ext uri="{FF2B5EF4-FFF2-40B4-BE49-F238E27FC236}">
                <a16:creationId xmlns:a16="http://schemas.microsoft.com/office/drawing/2014/main" id="{B34E7EF8-659D-41D0-A7E6-F80D2A72E4F5}"/>
              </a:ext>
            </a:extLst>
          </p:cNvPr>
          <p:cNvSpPr/>
          <p:nvPr userDrawn="1"/>
        </p:nvSpPr>
        <p:spPr>
          <a:xfrm>
            <a:off x="8721892" y="4842120"/>
            <a:ext cx="198092" cy="214405"/>
          </a:xfrm>
          <a:custGeom>
            <a:avLst/>
            <a:gdLst>
              <a:gd name="connsiteX0" fmla="*/ 90889 w 198092"/>
              <a:gd name="connsiteY0" fmla="*/ 214406 h 214405"/>
              <a:gd name="connsiteX1" fmla="*/ 0 w 198092"/>
              <a:gd name="connsiteY1" fmla="*/ 214406 h 214405"/>
              <a:gd name="connsiteX2" fmla="*/ 106037 w 198092"/>
              <a:gd name="connsiteY2" fmla="*/ 107203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7203"/>
                </a:lnTo>
                <a:lnTo>
                  <a:pt x="0" y="0"/>
                </a:lnTo>
                <a:lnTo>
                  <a:pt x="92055" y="0"/>
                </a:lnTo>
                <a:lnTo>
                  <a:pt x="198092" y="104872"/>
                </a:lnTo>
                <a:close/>
              </a:path>
            </a:pathLst>
          </a:custGeom>
          <a:solidFill>
            <a:srgbClr val="EEF2F5"/>
          </a:solidFill>
          <a:ln w="11643" cap="flat">
            <a:noFill/>
            <a:prstDash val="solid"/>
            <a:miter/>
          </a:ln>
        </p:spPr>
        <p:txBody>
          <a:bodyPr rtlCol="0" anchor="ctr"/>
          <a:lstStyle/>
          <a:p>
            <a:endParaRPr lang="de-DE"/>
          </a:p>
        </p:txBody>
      </p:sp>
      <p:sp>
        <p:nvSpPr>
          <p:cNvPr id="447" name="Freihandform: Form 446">
            <a:extLst>
              <a:ext uri="{FF2B5EF4-FFF2-40B4-BE49-F238E27FC236}">
                <a16:creationId xmlns:a16="http://schemas.microsoft.com/office/drawing/2014/main" id="{0755A084-00C6-4064-9BC1-07F7BB9E8B25}"/>
              </a:ext>
            </a:extLst>
          </p:cNvPr>
          <p:cNvSpPr/>
          <p:nvPr userDrawn="1"/>
        </p:nvSpPr>
        <p:spPr>
          <a:xfrm>
            <a:off x="8721892" y="5196355"/>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6038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6038"/>
                </a:lnTo>
                <a:close/>
              </a:path>
            </a:pathLst>
          </a:custGeom>
          <a:solidFill>
            <a:srgbClr val="EEF2F5"/>
          </a:solidFill>
          <a:ln w="11643" cap="flat">
            <a:noFill/>
            <a:prstDash val="solid"/>
            <a:miter/>
          </a:ln>
        </p:spPr>
        <p:txBody>
          <a:bodyPr rtlCol="0" anchor="ctr"/>
          <a:lstStyle/>
          <a:p>
            <a:endParaRPr lang="de-DE"/>
          </a:p>
        </p:txBody>
      </p:sp>
      <p:sp>
        <p:nvSpPr>
          <p:cNvPr id="448" name="Freihandform: Form 447">
            <a:extLst>
              <a:ext uri="{FF2B5EF4-FFF2-40B4-BE49-F238E27FC236}">
                <a16:creationId xmlns:a16="http://schemas.microsoft.com/office/drawing/2014/main" id="{EC6887F2-DD05-4AFE-B004-C0A73966DD5E}"/>
              </a:ext>
            </a:extLst>
          </p:cNvPr>
          <p:cNvSpPr/>
          <p:nvPr userDrawn="1"/>
        </p:nvSpPr>
        <p:spPr>
          <a:xfrm>
            <a:off x="8721892" y="5551755"/>
            <a:ext cx="198092" cy="214405"/>
          </a:xfrm>
          <a:custGeom>
            <a:avLst/>
            <a:gdLst>
              <a:gd name="connsiteX0" fmla="*/ 90889 w 198092"/>
              <a:gd name="connsiteY0" fmla="*/ 214406 h 214405"/>
              <a:gd name="connsiteX1" fmla="*/ 0 w 198092"/>
              <a:gd name="connsiteY1" fmla="*/ 214406 h 214405"/>
              <a:gd name="connsiteX2" fmla="*/ 106037 w 198092"/>
              <a:gd name="connsiteY2" fmla="*/ 107203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7203"/>
                </a:lnTo>
                <a:lnTo>
                  <a:pt x="0" y="0"/>
                </a:lnTo>
                <a:lnTo>
                  <a:pt x="92055" y="0"/>
                </a:lnTo>
                <a:lnTo>
                  <a:pt x="198092" y="104872"/>
                </a:lnTo>
                <a:close/>
              </a:path>
            </a:pathLst>
          </a:custGeom>
          <a:solidFill>
            <a:srgbClr val="EEF2F5"/>
          </a:solidFill>
          <a:ln w="11643" cap="flat">
            <a:noFill/>
            <a:prstDash val="solid"/>
            <a:miter/>
          </a:ln>
        </p:spPr>
        <p:txBody>
          <a:bodyPr rtlCol="0" anchor="ctr"/>
          <a:lstStyle/>
          <a:p>
            <a:endParaRPr lang="de-DE"/>
          </a:p>
        </p:txBody>
      </p:sp>
      <p:sp>
        <p:nvSpPr>
          <p:cNvPr id="449" name="Freihandform: Form 448">
            <a:extLst>
              <a:ext uri="{FF2B5EF4-FFF2-40B4-BE49-F238E27FC236}">
                <a16:creationId xmlns:a16="http://schemas.microsoft.com/office/drawing/2014/main" id="{A49E266A-420E-492F-9080-574F846C1DBD}"/>
              </a:ext>
            </a:extLst>
          </p:cNvPr>
          <p:cNvSpPr/>
          <p:nvPr userDrawn="1"/>
        </p:nvSpPr>
        <p:spPr>
          <a:xfrm>
            <a:off x="8721892" y="5905991"/>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6038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6038"/>
                </a:lnTo>
                <a:close/>
              </a:path>
            </a:pathLst>
          </a:custGeom>
          <a:solidFill>
            <a:srgbClr val="EEF2F5"/>
          </a:solidFill>
          <a:ln w="11643" cap="flat">
            <a:noFill/>
            <a:prstDash val="solid"/>
            <a:miter/>
          </a:ln>
        </p:spPr>
        <p:txBody>
          <a:bodyPr rtlCol="0" anchor="ctr"/>
          <a:lstStyle/>
          <a:p>
            <a:endParaRPr lang="de-DE"/>
          </a:p>
        </p:txBody>
      </p:sp>
      <p:sp>
        <p:nvSpPr>
          <p:cNvPr id="450" name="Freihandform: Form 449">
            <a:extLst>
              <a:ext uri="{FF2B5EF4-FFF2-40B4-BE49-F238E27FC236}">
                <a16:creationId xmlns:a16="http://schemas.microsoft.com/office/drawing/2014/main" id="{AEC0C683-94C7-4C89-B770-8C0D416A44C7}"/>
              </a:ext>
            </a:extLst>
          </p:cNvPr>
          <p:cNvSpPr/>
          <p:nvPr userDrawn="1"/>
        </p:nvSpPr>
        <p:spPr>
          <a:xfrm>
            <a:off x="8721892" y="6261391"/>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4872"/>
                </a:lnTo>
                <a:close/>
              </a:path>
            </a:pathLst>
          </a:custGeom>
          <a:solidFill>
            <a:srgbClr val="EEF2F5"/>
          </a:solidFill>
          <a:ln w="11643" cap="flat">
            <a:noFill/>
            <a:prstDash val="solid"/>
            <a:miter/>
          </a:ln>
        </p:spPr>
        <p:txBody>
          <a:bodyPr rtlCol="0" anchor="ctr"/>
          <a:lstStyle/>
          <a:p>
            <a:endParaRPr lang="de-DE"/>
          </a:p>
        </p:txBody>
      </p:sp>
      <p:sp>
        <p:nvSpPr>
          <p:cNvPr id="451" name="Freihandform: Form 450">
            <a:extLst>
              <a:ext uri="{FF2B5EF4-FFF2-40B4-BE49-F238E27FC236}">
                <a16:creationId xmlns:a16="http://schemas.microsoft.com/office/drawing/2014/main" id="{3270C365-CF3A-47A7-889C-ADD47E29F3FB}"/>
              </a:ext>
            </a:extLst>
          </p:cNvPr>
          <p:cNvSpPr/>
          <p:nvPr userDrawn="1"/>
        </p:nvSpPr>
        <p:spPr>
          <a:xfrm>
            <a:off x="8721892" y="6615627"/>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6037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6037"/>
                </a:lnTo>
                <a:close/>
              </a:path>
            </a:pathLst>
          </a:custGeom>
          <a:solidFill>
            <a:srgbClr val="EEF2F5"/>
          </a:solidFill>
          <a:ln w="11643" cap="flat">
            <a:noFill/>
            <a:prstDash val="solid"/>
            <a:miter/>
          </a:ln>
        </p:spPr>
        <p:txBody>
          <a:bodyPr rtlCol="0" anchor="ctr"/>
          <a:lstStyle/>
          <a:p>
            <a:endParaRPr lang="de-DE"/>
          </a:p>
        </p:txBody>
      </p:sp>
      <p:sp>
        <p:nvSpPr>
          <p:cNvPr id="452" name="Freihandform: Form 451">
            <a:extLst>
              <a:ext uri="{FF2B5EF4-FFF2-40B4-BE49-F238E27FC236}">
                <a16:creationId xmlns:a16="http://schemas.microsoft.com/office/drawing/2014/main" id="{26027323-4EC1-4CE3-A800-FC54F6FA3CC5}"/>
              </a:ext>
            </a:extLst>
          </p:cNvPr>
          <p:cNvSpPr/>
          <p:nvPr userDrawn="1"/>
        </p:nvSpPr>
        <p:spPr>
          <a:xfrm>
            <a:off x="9069136" y="1994253"/>
            <a:ext cx="214405" cy="231884"/>
          </a:xfrm>
          <a:custGeom>
            <a:avLst/>
            <a:gdLst>
              <a:gd name="connsiteX0" fmla="*/ 97881 w 214405"/>
              <a:gd name="connsiteY0" fmla="*/ 231884 h 231884"/>
              <a:gd name="connsiteX1" fmla="*/ 0 w 214405"/>
              <a:gd name="connsiteY1" fmla="*/ 231884 h 231884"/>
              <a:gd name="connsiteX2" fmla="*/ 114194 w 214405"/>
              <a:gd name="connsiteY2" fmla="*/ 116525 h 231884"/>
              <a:gd name="connsiteX3" fmla="*/ 0 w 214405"/>
              <a:gd name="connsiteY3" fmla="*/ 0 h 231884"/>
              <a:gd name="connsiteX4" fmla="*/ 100211 w 214405"/>
              <a:gd name="connsiteY4" fmla="*/ 0 h 231884"/>
              <a:gd name="connsiteX5" fmla="*/ 214406 w 214405"/>
              <a:gd name="connsiteY5" fmla="*/ 114194 h 23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1884">
                <a:moveTo>
                  <a:pt x="97881" y="231884"/>
                </a:moveTo>
                <a:lnTo>
                  <a:pt x="0" y="231884"/>
                </a:lnTo>
                <a:lnTo>
                  <a:pt x="114194" y="116525"/>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453" name="Freihandform: Form 452">
            <a:extLst>
              <a:ext uri="{FF2B5EF4-FFF2-40B4-BE49-F238E27FC236}">
                <a16:creationId xmlns:a16="http://schemas.microsoft.com/office/drawing/2014/main" id="{FEAF7BFB-37DF-46E2-B375-619668E31A63}"/>
              </a:ext>
            </a:extLst>
          </p:cNvPr>
          <p:cNvSpPr/>
          <p:nvPr userDrawn="1"/>
        </p:nvSpPr>
        <p:spPr>
          <a:xfrm>
            <a:off x="9069136" y="2348489"/>
            <a:ext cx="214405" cy="233049"/>
          </a:xfrm>
          <a:custGeom>
            <a:avLst/>
            <a:gdLst>
              <a:gd name="connsiteX0" fmla="*/ 97881 w 214405"/>
              <a:gd name="connsiteY0" fmla="*/ 233050 h 233049"/>
              <a:gd name="connsiteX1" fmla="*/ 0 w 214405"/>
              <a:gd name="connsiteY1" fmla="*/ 233050 h 233049"/>
              <a:gd name="connsiteX2" fmla="*/ 114194 w 214405"/>
              <a:gd name="connsiteY2" fmla="*/ 117690 h 233049"/>
              <a:gd name="connsiteX3" fmla="*/ 0 w 214405"/>
              <a:gd name="connsiteY3" fmla="*/ 0 h 233049"/>
              <a:gd name="connsiteX4" fmla="*/ 100211 w 214405"/>
              <a:gd name="connsiteY4" fmla="*/ 0 h 233049"/>
              <a:gd name="connsiteX5" fmla="*/ 214406 w 214405"/>
              <a:gd name="connsiteY5" fmla="*/ 114194 h 23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3048">
                <a:moveTo>
                  <a:pt x="97881" y="233050"/>
                </a:moveTo>
                <a:lnTo>
                  <a:pt x="0" y="233050"/>
                </a:lnTo>
                <a:lnTo>
                  <a:pt x="114194" y="117690"/>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454" name="Freihandform: Form 453">
            <a:extLst>
              <a:ext uri="{FF2B5EF4-FFF2-40B4-BE49-F238E27FC236}">
                <a16:creationId xmlns:a16="http://schemas.microsoft.com/office/drawing/2014/main" id="{FD5C6D0C-1BC8-4A1C-B6D3-6B1F2F12554E}"/>
              </a:ext>
            </a:extLst>
          </p:cNvPr>
          <p:cNvSpPr/>
          <p:nvPr userDrawn="1"/>
        </p:nvSpPr>
        <p:spPr>
          <a:xfrm>
            <a:off x="9069136" y="2703889"/>
            <a:ext cx="214405" cy="231884"/>
          </a:xfrm>
          <a:custGeom>
            <a:avLst/>
            <a:gdLst>
              <a:gd name="connsiteX0" fmla="*/ 97881 w 214405"/>
              <a:gd name="connsiteY0" fmla="*/ 231884 h 231884"/>
              <a:gd name="connsiteX1" fmla="*/ 0 w 214405"/>
              <a:gd name="connsiteY1" fmla="*/ 231884 h 231884"/>
              <a:gd name="connsiteX2" fmla="*/ 114194 w 214405"/>
              <a:gd name="connsiteY2" fmla="*/ 116525 h 231884"/>
              <a:gd name="connsiteX3" fmla="*/ 0 w 214405"/>
              <a:gd name="connsiteY3" fmla="*/ 0 h 231884"/>
              <a:gd name="connsiteX4" fmla="*/ 100211 w 214405"/>
              <a:gd name="connsiteY4" fmla="*/ 0 h 231884"/>
              <a:gd name="connsiteX5" fmla="*/ 214406 w 214405"/>
              <a:gd name="connsiteY5" fmla="*/ 114194 h 23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1884">
                <a:moveTo>
                  <a:pt x="97881" y="231884"/>
                </a:moveTo>
                <a:lnTo>
                  <a:pt x="0" y="231884"/>
                </a:lnTo>
                <a:lnTo>
                  <a:pt x="114194" y="116525"/>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455" name="Freihandform: Form 454">
            <a:extLst>
              <a:ext uri="{FF2B5EF4-FFF2-40B4-BE49-F238E27FC236}">
                <a16:creationId xmlns:a16="http://schemas.microsoft.com/office/drawing/2014/main" id="{A78779BD-37D4-49F3-88CC-B8EBBFCA2551}"/>
              </a:ext>
            </a:extLst>
          </p:cNvPr>
          <p:cNvSpPr/>
          <p:nvPr userDrawn="1"/>
        </p:nvSpPr>
        <p:spPr>
          <a:xfrm>
            <a:off x="9069136" y="3058125"/>
            <a:ext cx="214405" cy="233049"/>
          </a:xfrm>
          <a:custGeom>
            <a:avLst/>
            <a:gdLst>
              <a:gd name="connsiteX0" fmla="*/ 97881 w 214405"/>
              <a:gd name="connsiteY0" fmla="*/ 233050 h 233049"/>
              <a:gd name="connsiteX1" fmla="*/ 0 w 214405"/>
              <a:gd name="connsiteY1" fmla="*/ 233050 h 233049"/>
              <a:gd name="connsiteX2" fmla="*/ 114194 w 214405"/>
              <a:gd name="connsiteY2" fmla="*/ 117690 h 233049"/>
              <a:gd name="connsiteX3" fmla="*/ 0 w 214405"/>
              <a:gd name="connsiteY3" fmla="*/ 0 h 233049"/>
              <a:gd name="connsiteX4" fmla="*/ 100211 w 214405"/>
              <a:gd name="connsiteY4" fmla="*/ 0 h 233049"/>
              <a:gd name="connsiteX5" fmla="*/ 214406 w 214405"/>
              <a:gd name="connsiteY5" fmla="*/ 114194 h 23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3048">
                <a:moveTo>
                  <a:pt x="97881" y="233050"/>
                </a:moveTo>
                <a:lnTo>
                  <a:pt x="0" y="233050"/>
                </a:lnTo>
                <a:lnTo>
                  <a:pt x="114194" y="117690"/>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456" name="Freihandform: Form 455">
            <a:extLst>
              <a:ext uri="{FF2B5EF4-FFF2-40B4-BE49-F238E27FC236}">
                <a16:creationId xmlns:a16="http://schemas.microsoft.com/office/drawing/2014/main" id="{ADF13FA3-CD5F-4BCC-8A70-81E183EC3EB7}"/>
              </a:ext>
            </a:extLst>
          </p:cNvPr>
          <p:cNvSpPr/>
          <p:nvPr userDrawn="1"/>
        </p:nvSpPr>
        <p:spPr>
          <a:xfrm>
            <a:off x="9069136" y="3413526"/>
            <a:ext cx="214405" cy="231884"/>
          </a:xfrm>
          <a:custGeom>
            <a:avLst/>
            <a:gdLst>
              <a:gd name="connsiteX0" fmla="*/ 97881 w 214405"/>
              <a:gd name="connsiteY0" fmla="*/ 231884 h 231884"/>
              <a:gd name="connsiteX1" fmla="*/ 0 w 214405"/>
              <a:gd name="connsiteY1" fmla="*/ 231884 h 231884"/>
              <a:gd name="connsiteX2" fmla="*/ 114194 w 214405"/>
              <a:gd name="connsiteY2" fmla="*/ 116525 h 231884"/>
              <a:gd name="connsiteX3" fmla="*/ 0 w 214405"/>
              <a:gd name="connsiteY3" fmla="*/ 0 h 231884"/>
              <a:gd name="connsiteX4" fmla="*/ 100211 w 214405"/>
              <a:gd name="connsiteY4" fmla="*/ 0 h 231884"/>
              <a:gd name="connsiteX5" fmla="*/ 214406 w 214405"/>
              <a:gd name="connsiteY5" fmla="*/ 114194 h 23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1884">
                <a:moveTo>
                  <a:pt x="97881" y="231884"/>
                </a:moveTo>
                <a:lnTo>
                  <a:pt x="0" y="231884"/>
                </a:lnTo>
                <a:lnTo>
                  <a:pt x="114194" y="116525"/>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457" name="Freihandform: Form 456">
            <a:extLst>
              <a:ext uri="{FF2B5EF4-FFF2-40B4-BE49-F238E27FC236}">
                <a16:creationId xmlns:a16="http://schemas.microsoft.com/office/drawing/2014/main" id="{C201908D-C044-4D76-8D1A-438321DC7D12}"/>
              </a:ext>
            </a:extLst>
          </p:cNvPr>
          <p:cNvSpPr/>
          <p:nvPr userDrawn="1"/>
        </p:nvSpPr>
        <p:spPr>
          <a:xfrm>
            <a:off x="9069136" y="3767761"/>
            <a:ext cx="214405" cy="233049"/>
          </a:xfrm>
          <a:custGeom>
            <a:avLst/>
            <a:gdLst>
              <a:gd name="connsiteX0" fmla="*/ 97881 w 214405"/>
              <a:gd name="connsiteY0" fmla="*/ 233050 h 233049"/>
              <a:gd name="connsiteX1" fmla="*/ 0 w 214405"/>
              <a:gd name="connsiteY1" fmla="*/ 233050 h 233049"/>
              <a:gd name="connsiteX2" fmla="*/ 114194 w 214405"/>
              <a:gd name="connsiteY2" fmla="*/ 117690 h 233049"/>
              <a:gd name="connsiteX3" fmla="*/ 0 w 214405"/>
              <a:gd name="connsiteY3" fmla="*/ 0 h 233049"/>
              <a:gd name="connsiteX4" fmla="*/ 100211 w 214405"/>
              <a:gd name="connsiteY4" fmla="*/ 0 h 233049"/>
              <a:gd name="connsiteX5" fmla="*/ 214406 w 214405"/>
              <a:gd name="connsiteY5" fmla="*/ 114194 h 23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3048">
                <a:moveTo>
                  <a:pt x="97881" y="233050"/>
                </a:moveTo>
                <a:lnTo>
                  <a:pt x="0" y="233050"/>
                </a:lnTo>
                <a:lnTo>
                  <a:pt x="114194" y="117690"/>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458" name="Freihandform: Form 457">
            <a:extLst>
              <a:ext uri="{FF2B5EF4-FFF2-40B4-BE49-F238E27FC236}">
                <a16:creationId xmlns:a16="http://schemas.microsoft.com/office/drawing/2014/main" id="{D66CA348-96DF-49E0-9A09-19D76A480531}"/>
              </a:ext>
            </a:extLst>
          </p:cNvPr>
          <p:cNvSpPr/>
          <p:nvPr userDrawn="1"/>
        </p:nvSpPr>
        <p:spPr>
          <a:xfrm>
            <a:off x="9069136" y="4123162"/>
            <a:ext cx="214405" cy="231884"/>
          </a:xfrm>
          <a:custGeom>
            <a:avLst/>
            <a:gdLst>
              <a:gd name="connsiteX0" fmla="*/ 97881 w 214405"/>
              <a:gd name="connsiteY0" fmla="*/ 231884 h 231884"/>
              <a:gd name="connsiteX1" fmla="*/ 0 w 214405"/>
              <a:gd name="connsiteY1" fmla="*/ 231884 h 231884"/>
              <a:gd name="connsiteX2" fmla="*/ 114194 w 214405"/>
              <a:gd name="connsiteY2" fmla="*/ 116525 h 231884"/>
              <a:gd name="connsiteX3" fmla="*/ 0 w 214405"/>
              <a:gd name="connsiteY3" fmla="*/ 0 h 231884"/>
              <a:gd name="connsiteX4" fmla="*/ 100211 w 214405"/>
              <a:gd name="connsiteY4" fmla="*/ 0 h 231884"/>
              <a:gd name="connsiteX5" fmla="*/ 214406 w 214405"/>
              <a:gd name="connsiteY5" fmla="*/ 114194 h 23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1884">
                <a:moveTo>
                  <a:pt x="97881" y="231884"/>
                </a:moveTo>
                <a:lnTo>
                  <a:pt x="0" y="231884"/>
                </a:lnTo>
                <a:lnTo>
                  <a:pt x="114194" y="116525"/>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459" name="Freihandform: Form 458">
            <a:extLst>
              <a:ext uri="{FF2B5EF4-FFF2-40B4-BE49-F238E27FC236}">
                <a16:creationId xmlns:a16="http://schemas.microsoft.com/office/drawing/2014/main" id="{73DB73DF-6673-48E9-B28E-8EC17635427D}"/>
              </a:ext>
            </a:extLst>
          </p:cNvPr>
          <p:cNvSpPr/>
          <p:nvPr userDrawn="1"/>
        </p:nvSpPr>
        <p:spPr>
          <a:xfrm>
            <a:off x="9069136" y="4477397"/>
            <a:ext cx="214405" cy="233049"/>
          </a:xfrm>
          <a:custGeom>
            <a:avLst/>
            <a:gdLst>
              <a:gd name="connsiteX0" fmla="*/ 97881 w 214405"/>
              <a:gd name="connsiteY0" fmla="*/ 233050 h 233049"/>
              <a:gd name="connsiteX1" fmla="*/ 0 w 214405"/>
              <a:gd name="connsiteY1" fmla="*/ 233050 h 233049"/>
              <a:gd name="connsiteX2" fmla="*/ 114194 w 214405"/>
              <a:gd name="connsiteY2" fmla="*/ 117690 h 233049"/>
              <a:gd name="connsiteX3" fmla="*/ 0 w 214405"/>
              <a:gd name="connsiteY3" fmla="*/ 0 h 233049"/>
              <a:gd name="connsiteX4" fmla="*/ 100211 w 214405"/>
              <a:gd name="connsiteY4" fmla="*/ 0 h 233049"/>
              <a:gd name="connsiteX5" fmla="*/ 214406 w 214405"/>
              <a:gd name="connsiteY5" fmla="*/ 114194 h 23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3048">
                <a:moveTo>
                  <a:pt x="97881" y="233050"/>
                </a:moveTo>
                <a:lnTo>
                  <a:pt x="0" y="233050"/>
                </a:lnTo>
                <a:lnTo>
                  <a:pt x="114194" y="117690"/>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460" name="Freihandform: Form 459">
            <a:extLst>
              <a:ext uri="{FF2B5EF4-FFF2-40B4-BE49-F238E27FC236}">
                <a16:creationId xmlns:a16="http://schemas.microsoft.com/office/drawing/2014/main" id="{2AC000E1-63D7-4436-A71E-7F6A5657A1C6}"/>
              </a:ext>
            </a:extLst>
          </p:cNvPr>
          <p:cNvSpPr/>
          <p:nvPr userDrawn="1"/>
        </p:nvSpPr>
        <p:spPr>
          <a:xfrm>
            <a:off x="9069136" y="4832797"/>
            <a:ext cx="214405" cy="231884"/>
          </a:xfrm>
          <a:custGeom>
            <a:avLst/>
            <a:gdLst>
              <a:gd name="connsiteX0" fmla="*/ 97881 w 214405"/>
              <a:gd name="connsiteY0" fmla="*/ 231884 h 231884"/>
              <a:gd name="connsiteX1" fmla="*/ 0 w 214405"/>
              <a:gd name="connsiteY1" fmla="*/ 231884 h 231884"/>
              <a:gd name="connsiteX2" fmla="*/ 114194 w 214405"/>
              <a:gd name="connsiteY2" fmla="*/ 116525 h 231884"/>
              <a:gd name="connsiteX3" fmla="*/ 0 w 214405"/>
              <a:gd name="connsiteY3" fmla="*/ 0 h 231884"/>
              <a:gd name="connsiteX4" fmla="*/ 100211 w 214405"/>
              <a:gd name="connsiteY4" fmla="*/ 0 h 231884"/>
              <a:gd name="connsiteX5" fmla="*/ 214406 w 214405"/>
              <a:gd name="connsiteY5" fmla="*/ 114194 h 23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1884">
                <a:moveTo>
                  <a:pt x="97881" y="231884"/>
                </a:moveTo>
                <a:lnTo>
                  <a:pt x="0" y="231884"/>
                </a:lnTo>
                <a:lnTo>
                  <a:pt x="114194" y="116525"/>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461" name="Freihandform: Form 460">
            <a:extLst>
              <a:ext uri="{FF2B5EF4-FFF2-40B4-BE49-F238E27FC236}">
                <a16:creationId xmlns:a16="http://schemas.microsoft.com/office/drawing/2014/main" id="{D1CABC6A-77D1-495C-8BC3-9779693109C5}"/>
              </a:ext>
            </a:extLst>
          </p:cNvPr>
          <p:cNvSpPr/>
          <p:nvPr userDrawn="1"/>
        </p:nvSpPr>
        <p:spPr>
          <a:xfrm>
            <a:off x="9069136" y="5187033"/>
            <a:ext cx="214405" cy="233049"/>
          </a:xfrm>
          <a:custGeom>
            <a:avLst/>
            <a:gdLst>
              <a:gd name="connsiteX0" fmla="*/ 97881 w 214405"/>
              <a:gd name="connsiteY0" fmla="*/ 233050 h 233049"/>
              <a:gd name="connsiteX1" fmla="*/ 0 w 214405"/>
              <a:gd name="connsiteY1" fmla="*/ 233050 h 233049"/>
              <a:gd name="connsiteX2" fmla="*/ 114194 w 214405"/>
              <a:gd name="connsiteY2" fmla="*/ 117690 h 233049"/>
              <a:gd name="connsiteX3" fmla="*/ 0 w 214405"/>
              <a:gd name="connsiteY3" fmla="*/ 0 h 233049"/>
              <a:gd name="connsiteX4" fmla="*/ 100211 w 214405"/>
              <a:gd name="connsiteY4" fmla="*/ 0 h 233049"/>
              <a:gd name="connsiteX5" fmla="*/ 214406 w 214405"/>
              <a:gd name="connsiteY5" fmla="*/ 114194 h 23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3048">
                <a:moveTo>
                  <a:pt x="97881" y="233050"/>
                </a:moveTo>
                <a:lnTo>
                  <a:pt x="0" y="233050"/>
                </a:lnTo>
                <a:lnTo>
                  <a:pt x="114194" y="117690"/>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462" name="Freihandform: Form 461">
            <a:extLst>
              <a:ext uri="{FF2B5EF4-FFF2-40B4-BE49-F238E27FC236}">
                <a16:creationId xmlns:a16="http://schemas.microsoft.com/office/drawing/2014/main" id="{7EAB2106-7444-47F6-AF61-2FC7C13BD6CC}"/>
              </a:ext>
            </a:extLst>
          </p:cNvPr>
          <p:cNvSpPr/>
          <p:nvPr userDrawn="1"/>
        </p:nvSpPr>
        <p:spPr>
          <a:xfrm>
            <a:off x="9069136" y="5542434"/>
            <a:ext cx="214405" cy="231884"/>
          </a:xfrm>
          <a:custGeom>
            <a:avLst/>
            <a:gdLst>
              <a:gd name="connsiteX0" fmla="*/ 97881 w 214405"/>
              <a:gd name="connsiteY0" fmla="*/ 231884 h 231884"/>
              <a:gd name="connsiteX1" fmla="*/ 0 w 214405"/>
              <a:gd name="connsiteY1" fmla="*/ 231884 h 231884"/>
              <a:gd name="connsiteX2" fmla="*/ 114194 w 214405"/>
              <a:gd name="connsiteY2" fmla="*/ 117690 h 231884"/>
              <a:gd name="connsiteX3" fmla="*/ 0 w 214405"/>
              <a:gd name="connsiteY3" fmla="*/ 0 h 231884"/>
              <a:gd name="connsiteX4" fmla="*/ 100211 w 214405"/>
              <a:gd name="connsiteY4" fmla="*/ 0 h 231884"/>
              <a:gd name="connsiteX5" fmla="*/ 214406 w 214405"/>
              <a:gd name="connsiteY5" fmla="*/ 114194 h 23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1884">
                <a:moveTo>
                  <a:pt x="97881" y="231884"/>
                </a:moveTo>
                <a:lnTo>
                  <a:pt x="0" y="231884"/>
                </a:lnTo>
                <a:lnTo>
                  <a:pt x="114194" y="117690"/>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463" name="Freihandform: Form 462">
            <a:extLst>
              <a:ext uri="{FF2B5EF4-FFF2-40B4-BE49-F238E27FC236}">
                <a16:creationId xmlns:a16="http://schemas.microsoft.com/office/drawing/2014/main" id="{3AB53398-93E1-4699-9310-0395816CB2E8}"/>
              </a:ext>
            </a:extLst>
          </p:cNvPr>
          <p:cNvSpPr/>
          <p:nvPr userDrawn="1"/>
        </p:nvSpPr>
        <p:spPr>
          <a:xfrm>
            <a:off x="9069136" y="5896669"/>
            <a:ext cx="214405" cy="233049"/>
          </a:xfrm>
          <a:custGeom>
            <a:avLst/>
            <a:gdLst>
              <a:gd name="connsiteX0" fmla="*/ 97881 w 214405"/>
              <a:gd name="connsiteY0" fmla="*/ 233050 h 233049"/>
              <a:gd name="connsiteX1" fmla="*/ 0 w 214405"/>
              <a:gd name="connsiteY1" fmla="*/ 233050 h 233049"/>
              <a:gd name="connsiteX2" fmla="*/ 114194 w 214405"/>
              <a:gd name="connsiteY2" fmla="*/ 117690 h 233049"/>
              <a:gd name="connsiteX3" fmla="*/ 0 w 214405"/>
              <a:gd name="connsiteY3" fmla="*/ 0 h 233049"/>
              <a:gd name="connsiteX4" fmla="*/ 100211 w 214405"/>
              <a:gd name="connsiteY4" fmla="*/ 0 h 233049"/>
              <a:gd name="connsiteX5" fmla="*/ 214406 w 214405"/>
              <a:gd name="connsiteY5" fmla="*/ 114194 h 23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3048">
                <a:moveTo>
                  <a:pt x="97881" y="233050"/>
                </a:moveTo>
                <a:lnTo>
                  <a:pt x="0" y="233050"/>
                </a:lnTo>
                <a:lnTo>
                  <a:pt x="114194" y="117690"/>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464" name="Freihandform: Form 463">
            <a:extLst>
              <a:ext uri="{FF2B5EF4-FFF2-40B4-BE49-F238E27FC236}">
                <a16:creationId xmlns:a16="http://schemas.microsoft.com/office/drawing/2014/main" id="{4CCB3846-2B55-4B55-BF75-8867C7C59B82}"/>
              </a:ext>
            </a:extLst>
          </p:cNvPr>
          <p:cNvSpPr/>
          <p:nvPr userDrawn="1"/>
        </p:nvSpPr>
        <p:spPr>
          <a:xfrm>
            <a:off x="9069136" y="6252070"/>
            <a:ext cx="214405" cy="233049"/>
          </a:xfrm>
          <a:custGeom>
            <a:avLst/>
            <a:gdLst>
              <a:gd name="connsiteX0" fmla="*/ 97881 w 214405"/>
              <a:gd name="connsiteY0" fmla="*/ 233050 h 233049"/>
              <a:gd name="connsiteX1" fmla="*/ 0 w 214405"/>
              <a:gd name="connsiteY1" fmla="*/ 233050 h 233049"/>
              <a:gd name="connsiteX2" fmla="*/ 114194 w 214405"/>
              <a:gd name="connsiteY2" fmla="*/ 117690 h 233049"/>
              <a:gd name="connsiteX3" fmla="*/ 0 w 214405"/>
              <a:gd name="connsiteY3" fmla="*/ 0 h 233049"/>
              <a:gd name="connsiteX4" fmla="*/ 100211 w 214405"/>
              <a:gd name="connsiteY4" fmla="*/ 0 h 233049"/>
              <a:gd name="connsiteX5" fmla="*/ 214406 w 214405"/>
              <a:gd name="connsiteY5" fmla="*/ 114194 h 23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3048">
                <a:moveTo>
                  <a:pt x="97881" y="233050"/>
                </a:moveTo>
                <a:lnTo>
                  <a:pt x="0" y="233050"/>
                </a:lnTo>
                <a:lnTo>
                  <a:pt x="114194" y="117690"/>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465" name="Freihandform: Form 464">
            <a:extLst>
              <a:ext uri="{FF2B5EF4-FFF2-40B4-BE49-F238E27FC236}">
                <a16:creationId xmlns:a16="http://schemas.microsoft.com/office/drawing/2014/main" id="{40A79061-F4B0-42D9-9BD3-FD4BCED5445B}"/>
              </a:ext>
            </a:extLst>
          </p:cNvPr>
          <p:cNvSpPr/>
          <p:nvPr userDrawn="1"/>
        </p:nvSpPr>
        <p:spPr>
          <a:xfrm>
            <a:off x="9069136" y="6607470"/>
            <a:ext cx="214405" cy="231884"/>
          </a:xfrm>
          <a:custGeom>
            <a:avLst/>
            <a:gdLst>
              <a:gd name="connsiteX0" fmla="*/ 97881 w 214405"/>
              <a:gd name="connsiteY0" fmla="*/ 231884 h 231884"/>
              <a:gd name="connsiteX1" fmla="*/ 0 w 214405"/>
              <a:gd name="connsiteY1" fmla="*/ 231884 h 231884"/>
              <a:gd name="connsiteX2" fmla="*/ 114194 w 214405"/>
              <a:gd name="connsiteY2" fmla="*/ 116525 h 231884"/>
              <a:gd name="connsiteX3" fmla="*/ 0 w 214405"/>
              <a:gd name="connsiteY3" fmla="*/ 0 h 231884"/>
              <a:gd name="connsiteX4" fmla="*/ 100211 w 214405"/>
              <a:gd name="connsiteY4" fmla="*/ 0 h 231884"/>
              <a:gd name="connsiteX5" fmla="*/ 214406 w 214405"/>
              <a:gd name="connsiteY5" fmla="*/ 114194 h 23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1884">
                <a:moveTo>
                  <a:pt x="97881" y="231884"/>
                </a:moveTo>
                <a:lnTo>
                  <a:pt x="0" y="231884"/>
                </a:lnTo>
                <a:lnTo>
                  <a:pt x="114194" y="116525"/>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466" name="Freihandform: Form 465">
            <a:extLst>
              <a:ext uri="{FF2B5EF4-FFF2-40B4-BE49-F238E27FC236}">
                <a16:creationId xmlns:a16="http://schemas.microsoft.com/office/drawing/2014/main" id="{943EE673-B8FD-4F26-8BD5-4324C5F8C0F6}"/>
              </a:ext>
            </a:extLst>
          </p:cNvPr>
          <p:cNvSpPr/>
          <p:nvPr userDrawn="1"/>
        </p:nvSpPr>
        <p:spPr>
          <a:xfrm>
            <a:off x="9415215" y="1984931"/>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2351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5847"/>
                </a:lnTo>
                <a:lnTo>
                  <a:pt x="0" y="0"/>
                </a:lnTo>
                <a:lnTo>
                  <a:pt x="108368" y="0"/>
                </a:lnTo>
                <a:lnTo>
                  <a:pt x="230719" y="122351"/>
                </a:lnTo>
                <a:close/>
              </a:path>
            </a:pathLst>
          </a:custGeom>
          <a:solidFill>
            <a:srgbClr val="EEF2F5"/>
          </a:solidFill>
          <a:ln w="11643" cap="flat">
            <a:noFill/>
            <a:prstDash val="solid"/>
            <a:miter/>
          </a:ln>
        </p:spPr>
        <p:txBody>
          <a:bodyPr rtlCol="0" anchor="ctr"/>
          <a:lstStyle/>
          <a:p>
            <a:endParaRPr lang="de-DE"/>
          </a:p>
        </p:txBody>
      </p:sp>
      <p:sp>
        <p:nvSpPr>
          <p:cNvPr id="467" name="Freihandform: Form 466">
            <a:extLst>
              <a:ext uri="{FF2B5EF4-FFF2-40B4-BE49-F238E27FC236}">
                <a16:creationId xmlns:a16="http://schemas.microsoft.com/office/drawing/2014/main" id="{87A53D99-9883-4DF3-8F12-7929E8D22C53}"/>
              </a:ext>
            </a:extLst>
          </p:cNvPr>
          <p:cNvSpPr/>
          <p:nvPr userDrawn="1"/>
        </p:nvSpPr>
        <p:spPr>
          <a:xfrm>
            <a:off x="9415215" y="2339167"/>
            <a:ext cx="230718" cy="250528"/>
          </a:xfrm>
          <a:custGeom>
            <a:avLst/>
            <a:gdLst>
              <a:gd name="connsiteX0" fmla="*/ 106037 w 230718"/>
              <a:gd name="connsiteY0" fmla="*/ 250528 h 250528"/>
              <a:gd name="connsiteX1" fmla="*/ 0 w 230718"/>
              <a:gd name="connsiteY1" fmla="*/ 250528 h 250528"/>
              <a:gd name="connsiteX2" fmla="*/ 123516 w 230718"/>
              <a:gd name="connsiteY2" fmla="*/ 127012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7012"/>
                </a:lnTo>
                <a:lnTo>
                  <a:pt x="0" y="0"/>
                </a:lnTo>
                <a:lnTo>
                  <a:pt x="108368" y="0"/>
                </a:lnTo>
                <a:lnTo>
                  <a:pt x="230719" y="123516"/>
                </a:lnTo>
                <a:close/>
              </a:path>
            </a:pathLst>
          </a:custGeom>
          <a:solidFill>
            <a:srgbClr val="EEF2F5"/>
          </a:solidFill>
          <a:ln w="11643" cap="flat">
            <a:noFill/>
            <a:prstDash val="solid"/>
            <a:miter/>
          </a:ln>
        </p:spPr>
        <p:txBody>
          <a:bodyPr rtlCol="0" anchor="ctr"/>
          <a:lstStyle/>
          <a:p>
            <a:endParaRPr lang="de-DE"/>
          </a:p>
        </p:txBody>
      </p:sp>
      <p:sp>
        <p:nvSpPr>
          <p:cNvPr id="468" name="Freihandform: Form 467">
            <a:extLst>
              <a:ext uri="{FF2B5EF4-FFF2-40B4-BE49-F238E27FC236}">
                <a16:creationId xmlns:a16="http://schemas.microsoft.com/office/drawing/2014/main" id="{63252D08-D82D-4E5D-B69D-3C692A2048C4}"/>
              </a:ext>
            </a:extLst>
          </p:cNvPr>
          <p:cNvSpPr/>
          <p:nvPr userDrawn="1"/>
        </p:nvSpPr>
        <p:spPr>
          <a:xfrm>
            <a:off x="9415215" y="2694568"/>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5847"/>
                </a:lnTo>
                <a:lnTo>
                  <a:pt x="0" y="0"/>
                </a:lnTo>
                <a:lnTo>
                  <a:pt x="108368" y="0"/>
                </a:lnTo>
                <a:lnTo>
                  <a:pt x="230719" y="123516"/>
                </a:lnTo>
                <a:close/>
              </a:path>
            </a:pathLst>
          </a:custGeom>
          <a:solidFill>
            <a:srgbClr val="EEF2F5"/>
          </a:solidFill>
          <a:ln w="11643" cap="flat">
            <a:noFill/>
            <a:prstDash val="solid"/>
            <a:miter/>
          </a:ln>
        </p:spPr>
        <p:txBody>
          <a:bodyPr rtlCol="0" anchor="ctr"/>
          <a:lstStyle/>
          <a:p>
            <a:endParaRPr lang="de-DE"/>
          </a:p>
        </p:txBody>
      </p:sp>
      <p:sp>
        <p:nvSpPr>
          <p:cNvPr id="469" name="Freihandform: Form 468">
            <a:extLst>
              <a:ext uri="{FF2B5EF4-FFF2-40B4-BE49-F238E27FC236}">
                <a16:creationId xmlns:a16="http://schemas.microsoft.com/office/drawing/2014/main" id="{2D96FD4E-6BD4-4E95-B758-5237E3AF6CAC}"/>
              </a:ext>
            </a:extLst>
          </p:cNvPr>
          <p:cNvSpPr/>
          <p:nvPr userDrawn="1"/>
        </p:nvSpPr>
        <p:spPr>
          <a:xfrm>
            <a:off x="9415215" y="3048803"/>
            <a:ext cx="230718" cy="250528"/>
          </a:xfrm>
          <a:custGeom>
            <a:avLst/>
            <a:gdLst>
              <a:gd name="connsiteX0" fmla="*/ 106037 w 230718"/>
              <a:gd name="connsiteY0" fmla="*/ 250528 h 250528"/>
              <a:gd name="connsiteX1" fmla="*/ 0 w 230718"/>
              <a:gd name="connsiteY1" fmla="*/ 250528 h 250528"/>
              <a:gd name="connsiteX2" fmla="*/ 123516 w 230718"/>
              <a:gd name="connsiteY2" fmla="*/ 127012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7012"/>
                </a:lnTo>
                <a:lnTo>
                  <a:pt x="0" y="0"/>
                </a:lnTo>
                <a:lnTo>
                  <a:pt x="108368" y="0"/>
                </a:lnTo>
                <a:lnTo>
                  <a:pt x="230719" y="123516"/>
                </a:lnTo>
                <a:close/>
              </a:path>
            </a:pathLst>
          </a:custGeom>
          <a:solidFill>
            <a:srgbClr val="EEF2F5"/>
          </a:solidFill>
          <a:ln w="11643" cap="flat">
            <a:noFill/>
            <a:prstDash val="solid"/>
            <a:miter/>
          </a:ln>
        </p:spPr>
        <p:txBody>
          <a:bodyPr rtlCol="0" anchor="ctr"/>
          <a:lstStyle/>
          <a:p>
            <a:endParaRPr lang="de-DE"/>
          </a:p>
        </p:txBody>
      </p:sp>
      <p:sp>
        <p:nvSpPr>
          <p:cNvPr id="470" name="Freihandform: Form 469">
            <a:extLst>
              <a:ext uri="{FF2B5EF4-FFF2-40B4-BE49-F238E27FC236}">
                <a16:creationId xmlns:a16="http://schemas.microsoft.com/office/drawing/2014/main" id="{E226C185-80E2-4945-B19A-87F6D324436B}"/>
              </a:ext>
            </a:extLst>
          </p:cNvPr>
          <p:cNvSpPr/>
          <p:nvPr userDrawn="1"/>
        </p:nvSpPr>
        <p:spPr>
          <a:xfrm>
            <a:off x="9415215" y="3404203"/>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5847"/>
                </a:lnTo>
                <a:lnTo>
                  <a:pt x="0" y="0"/>
                </a:lnTo>
                <a:lnTo>
                  <a:pt x="108368" y="0"/>
                </a:lnTo>
                <a:lnTo>
                  <a:pt x="230719" y="123516"/>
                </a:lnTo>
                <a:close/>
              </a:path>
            </a:pathLst>
          </a:custGeom>
          <a:solidFill>
            <a:srgbClr val="EEF2F5"/>
          </a:solidFill>
          <a:ln w="11643" cap="flat">
            <a:noFill/>
            <a:prstDash val="solid"/>
            <a:miter/>
          </a:ln>
        </p:spPr>
        <p:txBody>
          <a:bodyPr rtlCol="0" anchor="ctr"/>
          <a:lstStyle/>
          <a:p>
            <a:endParaRPr lang="de-DE"/>
          </a:p>
        </p:txBody>
      </p:sp>
      <p:sp>
        <p:nvSpPr>
          <p:cNvPr id="471" name="Freihandform: Form 470">
            <a:extLst>
              <a:ext uri="{FF2B5EF4-FFF2-40B4-BE49-F238E27FC236}">
                <a16:creationId xmlns:a16="http://schemas.microsoft.com/office/drawing/2014/main" id="{8216F4B4-E4AF-4EE5-A82E-249143E44EB1}"/>
              </a:ext>
            </a:extLst>
          </p:cNvPr>
          <p:cNvSpPr/>
          <p:nvPr userDrawn="1"/>
        </p:nvSpPr>
        <p:spPr>
          <a:xfrm>
            <a:off x="9415215" y="3758439"/>
            <a:ext cx="230718" cy="251693"/>
          </a:xfrm>
          <a:custGeom>
            <a:avLst/>
            <a:gdLst>
              <a:gd name="connsiteX0" fmla="*/ 106037 w 230718"/>
              <a:gd name="connsiteY0" fmla="*/ 251694 h 251693"/>
              <a:gd name="connsiteX1" fmla="*/ 0 w 230718"/>
              <a:gd name="connsiteY1" fmla="*/ 251694 h 251693"/>
              <a:gd name="connsiteX2" fmla="*/ 123516 w 230718"/>
              <a:gd name="connsiteY2" fmla="*/ 127012 h 251693"/>
              <a:gd name="connsiteX3" fmla="*/ 0 w 230718"/>
              <a:gd name="connsiteY3" fmla="*/ 0 h 251693"/>
              <a:gd name="connsiteX4" fmla="*/ 108368 w 230718"/>
              <a:gd name="connsiteY4" fmla="*/ 0 h 251693"/>
              <a:gd name="connsiteX5" fmla="*/ 230719 w 230718"/>
              <a:gd name="connsiteY5" fmla="*/ 123516 h 251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1693">
                <a:moveTo>
                  <a:pt x="106037" y="251694"/>
                </a:moveTo>
                <a:lnTo>
                  <a:pt x="0" y="251694"/>
                </a:lnTo>
                <a:lnTo>
                  <a:pt x="123516" y="127012"/>
                </a:lnTo>
                <a:lnTo>
                  <a:pt x="0" y="0"/>
                </a:lnTo>
                <a:lnTo>
                  <a:pt x="108368" y="0"/>
                </a:lnTo>
                <a:lnTo>
                  <a:pt x="230719" y="123516"/>
                </a:lnTo>
                <a:close/>
              </a:path>
            </a:pathLst>
          </a:custGeom>
          <a:solidFill>
            <a:srgbClr val="EEF2F5"/>
          </a:solidFill>
          <a:ln w="11643" cap="flat">
            <a:noFill/>
            <a:prstDash val="solid"/>
            <a:miter/>
          </a:ln>
        </p:spPr>
        <p:txBody>
          <a:bodyPr rtlCol="0" anchor="ctr"/>
          <a:lstStyle/>
          <a:p>
            <a:endParaRPr lang="de-DE"/>
          </a:p>
        </p:txBody>
      </p:sp>
      <p:sp>
        <p:nvSpPr>
          <p:cNvPr id="472" name="Freihandform: Form 471">
            <a:extLst>
              <a:ext uri="{FF2B5EF4-FFF2-40B4-BE49-F238E27FC236}">
                <a16:creationId xmlns:a16="http://schemas.microsoft.com/office/drawing/2014/main" id="{C3611650-5A39-417A-8E28-06A016589A86}"/>
              </a:ext>
            </a:extLst>
          </p:cNvPr>
          <p:cNvSpPr/>
          <p:nvPr userDrawn="1"/>
        </p:nvSpPr>
        <p:spPr>
          <a:xfrm>
            <a:off x="9415215" y="4113840"/>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5847"/>
                </a:lnTo>
                <a:lnTo>
                  <a:pt x="0" y="0"/>
                </a:lnTo>
                <a:lnTo>
                  <a:pt x="108368" y="0"/>
                </a:lnTo>
                <a:lnTo>
                  <a:pt x="230719" y="123516"/>
                </a:lnTo>
                <a:close/>
              </a:path>
            </a:pathLst>
          </a:custGeom>
          <a:solidFill>
            <a:srgbClr val="EEF2F5"/>
          </a:solidFill>
          <a:ln w="11643" cap="flat">
            <a:noFill/>
            <a:prstDash val="solid"/>
            <a:miter/>
          </a:ln>
        </p:spPr>
        <p:txBody>
          <a:bodyPr rtlCol="0" anchor="ctr"/>
          <a:lstStyle/>
          <a:p>
            <a:endParaRPr lang="de-DE"/>
          </a:p>
        </p:txBody>
      </p:sp>
      <p:sp>
        <p:nvSpPr>
          <p:cNvPr id="473" name="Freihandform: Form 472">
            <a:extLst>
              <a:ext uri="{FF2B5EF4-FFF2-40B4-BE49-F238E27FC236}">
                <a16:creationId xmlns:a16="http://schemas.microsoft.com/office/drawing/2014/main" id="{A4834F6A-C40A-4A2D-BB8B-EF97775C175E}"/>
              </a:ext>
            </a:extLst>
          </p:cNvPr>
          <p:cNvSpPr/>
          <p:nvPr userDrawn="1"/>
        </p:nvSpPr>
        <p:spPr>
          <a:xfrm>
            <a:off x="9415215" y="4469240"/>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2351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5847"/>
                </a:lnTo>
                <a:lnTo>
                  <a:pt x="0" y="0"/>
                </a:lnTo>
                <a:lnTo>
                  <a:pt x="108368" y="0"/>
                </a:lnTo>
                <a:lnTo>
                  <a:pt x="230719" y="122351"/>
                </a:lnTo>
                <a:close/>
              </a:path>
            </a:pathLst>
          </a:custGeom>
          <a:solidFill>
            <a:srgbClr val="EEF2F5"/>
          </a:solidFill>
          <a:ln w="11643" cap="flat">
            <a:noFill/>
            <a:prstDash val="solid"/>
            <a:miter/>
          </a:ln>
        </p:spPr>
        <p:txBody>
          <a:bodyPr rtlCol="0" anchor="ctr"/>
          <a:lstStyle/>
          <a:p>
            <a:endParaRPr lang="de-DE"/>
          </a:p>
        </p:txBody>
      </p:sp>
      <p:sp>
        <p:nvSpPr>
          <p:cNvPr id="474" name="Freihandform: Form 473">
            <a:extLst>
              <a:ext uri="{FF2B5EF4-FFF2-40B4-BE49-F238E27FC236}">
                <a16:creationId xmlns:a16="http://schemas.microsoft.com/office/drawing/2014/main" id="{BD3150AE-B016-44F0-AD8A-CC24BB0B8DCC}"/>
              </a:ext>
            </a:extLst>
          </p:cNvPr>
          <p:cNvSpPr/>
          <p:nvPr userDrawn="1"/>
        </p:nvSpPr>
        <p:spPr>
          <a:xfrm>
            <a:off x="9415215" y="4823475"/>
            <a:ext cx="230718" cy="250528"/>
          </a:xfrm>
          <a:custGeom>
            <a:avLst/>
            <a:gdLst>
              <a:gd name="connsiteX0" fmla="*/ 106037 w 230718"/>
              <a:gd name="connsiteY0" fmla="*/ 250528 h 250528"/>
              <a:gd name="connsiteX1" fmla="*/ 0 w 230718"/>
              <a:gd name="connsiteY1" fmla="*/ 250528 h 250528"/>
              <a:gd name="connsiteX2" fmla="*/ 123516 w 230718"/>
              <a:gd name="connsiteY2" fmla="*/ 127012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7012"/>
                </a:lnTo>
                <a:lnTo>
                  <a:pt x="0" y="0"/>
                </a:lnTo>
                <a:lnTo>
                  <a:pt x="108368" y="0"/>
                </a:lnTo>
                <a:lnTo>
                  <a:pt x="230719" y="123516"/>
                </a:lnTo>
                <a:close/>
              </a:path>
            </a:pathLst>
          </a:custGeom>
          <a:solidFill>
            <a:srgbClr val="EEF2F5"/>
          </a:solidFill>
          <a:ln w="11643" cap="flat">
            <a:noFill/>
            <a:prstDash val="solid"/>
            <a:miter/>
          </a:ln>
        </p:spPr>
        <p:txBody>
          <a:bodyPr rtlCol="0" anchor="ctr"/>
          <a:lstStyle/>
          <a:p>
            <a:endParaRPr lang="de-DE"/>
          </a:p>
        </p:txBody>
      </p:sp>
      <p:sp>
        <p:nvSpPr>
          <p:cNvPr id="475" name="Freihandform: Form 474">
            <a:extLst>
              <a:ext uri="{FF2B5EF4-FFF2-40B4-BE49-F238E27FC236}">
                <a16:creationId xmlns:a16="http://schemas.microsoft.com/office/drawing/2014/main" id="{8F46F2FC-CCE2-4282-AA26-153D1EA218A1}"/>
              </a:ext>
            </a:extLst>
          </p:cNvPr>
          <p:cNvSpPr/>
          <p:nvPr userDrawn="1"/>
        </p:nvSpPr>
        <p:spPr>
          <a:xfrm>
            <a:off x="9415215" y="5178876"/>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2351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5847"/>
                </a:lnTo>
                <a:lnTo>
                  <a:pt x="0" y="0"/>
                </a:lnTo>
                <a:lnTo>
                  <a:pt x="108368" y="0"/>
                </a:lnTo>
                <a:lnTo>
                  <a:pt x="230719" y="122351"/>
                </a:lnTo>
                <a:close/>
              </a:path>
            </a:pathLst>
          </a:custGeom>
          <a:solidFill>
            <a:srgbClr val="EEF2F5"/>
          </a:solidFill>
          <a:ln w="11643" cap="flat">
            <a:noFill/>
            <a:prstDash val="solid"/>
            <a:miter/>
          </a:ln>
        </p:spPr>
        <p:txBody>
          <a:bodyPr rtlCol="0" anchor="ctr"/>
          <a:lstStyle/>
          <a:p>
            <a:endParaRPr lang="de-DE"/>
          </a:p>
        </p:txBody>
      </p:sp>
      <p:sp>
        <p:nvSpPr>
          <p:cNvPr id="476" name="Freihandform: Form 475">
            <a:extLst>
              <a:ext uri="{FF2B5EF4-FFF2-40B4-BE49-F238E27FC236}">
                <a16:creationId xmlns:a16="http://schemas.microsoft.com/office/drawing/2014/main" id="{A29055BD-1B52-4B46-A495-DD92BB1DBC0E}"/>
              </a:ext>
            </a:extLst>
          </p:cNvPr>
          <p:cNvSpPr/>
          <p:nvPr userDrawn="1"/>
        </p:nvSpPr>
        <p:spPr>
          <a:xfrm>
            <a:off x="9415215" y="5533111"/>
            <a:ext cx="230718" cy="250528"/>
          </a:xfrm>
          <a:custGeom>
            <a:avLst/>
            <a:gdLst>
              <a:gd name="connsiteX0" fmla="*/ 106037 w 230718"/>
              <a:gd name="connsiteY0" fmla="*/ 250528 h 250528"/>
              <a:gd name="connsiteX1" fmla="*/ 0 w 230718"/>
              <a:gd name="connsiteY1" fmla="*/ 250528 h 250528"/>
              <a:gd name="connsiteX2" fmla="*/ 123516 w 230718"/>
              <a:gd name="connsiteY2" fmla="*/ 127012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7012"/>
                </a:lnTo>
                <a:lnTo>
                  <a:pt x="0" y="0"/>
                </a:lnTo>
                <a:lnTo>
                  <a:pt x="108368" y="0"/>
                </a:lnTo>
                <a:lnTo>
                  <a:pt x="230719" y="123516"/>
                </a:lnTo>
                <a:close/>
              </a:path>
            </a:pathLst>
          </a:custGeom>
          <a:solidFill>
            <a:srgbClr val="EEF2F5"/>
          </a:solidFill>
          <a:ln w="11643" cap="flat">
            <a:noFill/>
            <a:prstDash val="solid"/>
            <a:miter/>
          </a:ln>
        </p:spPr>
        <p:txBody>
          <a:bodyPr rtlCol="0" anchor="ctr"/>
          <a:lstStyle/>
          <a:p>
            <a:endParaRPr lang="de-DE"/>
          </a:p>
        </p:txBody>
      </p:sp>
      <p:sp>
        <p:nvSpPr>
          <p:cNvPr id="477" name="Freihandform: Form 476">
            <a:extLst>
              <a:ext uri="{FF2B5EF4-FFF2-40B4-BE49-F238E27FC236}">
                <a16:creationId xmlns:a16="http://schemas.microsoft.com/office/drawing/2014/main" id="{D44339B8-50B8-4AC9-8B2C-02D44C591DF6}"/>
              </a:ext>
            </a:extLst>
          </p:cNvPr>
          <p:cNvSpPr/>
          <p:nvPr userDrawn="1"/>
        </p:nvSpPr>
        <p:spPr>
          <a:xfrm>
            <a:off x="9415215" y="5888512"/>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2351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5847"/>
                </a:lnTo>
                <a:lnTo>
                  <a:pt x="0" y="0"/>
                </a:lnTo>
                <a:lnTo>
                  <a:pt x="108368" y="0"/>
                </a:lnTo>
                <a:lnTo>
                  <a:pt x="230719" y="122351"/>
                </a:lnTo>
                <a:close/>
              </a:path>
            </a:pathLst>
          </a:custGeom>
          <a:solidFill>
            <a:srgbClr val="EEF2F5"/>
          </a:solidFill>
          <a:ln w="11643" cap="flat">
            <a:noFill/>
            <a:prstDash val="solid"/>
            <a:miter/>
          </a:ln>
        </p:spPr>
        <p:txBody>
          <a:bodyPr rtlCol="0" anchor="ctr"/>
          <a:lstStyle/>
          <a:p>
            <a:endParaRPr lang="de-DE"/>
          </a:p>
        </p:txBody>
      </p:sp>
      <p:sp>
        <p:nvSpPr>
          <p:cNvPr id="478" name="Freihandform: Form 477">
            <a:extLst>
              <a:ext uri="{FF2B5EF4-FFF2-40B4-BE49-F238E27FC236}">
                <a16:creationId xmlns:a16="http://schemas.microsoft.com/office/drawing/2014/main" id="{66AF7D49-3A28-449B-B645-34567CF2F4E2}"/>
              </a:ext>
            </a:extLst>
          </p:cNvPr>
          <p:cNvSpPr/>
          <p:nvPr userDrawn="1"/>
        </p:nvSpPr>
        <p:spPr>
          <a:xfrm>
            <a:off x="9415215" y="6242748"/>
            <a:ext cx="230718" cy="250528"/>
          </a:xfrm>
          <a:custGeom>
            <a:avLst/>
            <a:gdLst>
              <a:gd name="connsiteX0" fmla="*/ 106037 w 230718"/>
              <a:gd name="connsiteY0" fmla="*/ 250528 h 250528"/>
              <a:gd name="connsiteX1" fmla="*/ 0 w 230718"/>
              <a:gd name="connsiteY1" fmla="*/ 250528 h 250528"/>
              <a:gd name="connsiteX2" fmla="*/ 123516 w 230718"/>
              <a:gd name="connsiteY2" fmla="*/ 127012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7012"/>
                </a:lnTo>
                <a:lnTo>
                  <a:pt x="0" y="0"/>
                </a:lnTo>
                <a:lnTo>
                  <a:pt x="108368" y="0"/>
                </a:lnTo>
                <a:lnTo>
                  <a:pt x="230719" y="123516"/>
                </a:lnTo>
                <a:close/>
              </a:path>
            </a:pathLst>
          </a:custGeom>
          <a:solidFill>
            <a:srgbClr val="EEF2F5"/>
          </a:solidFill>
          <a:ln w="11643" cap="flat">
            <a:noFill/>
            <a:prstDash val="solid"/>
            <a:miter/>
          </a:ln>
        </p:spPr>
        <p:txBody>
          <a:bodyPr rtlCol="0" anchor="ctr"/>
          <a:lstStyle/>
          <a:p>
            <a:endParaRPr lang="de-DE"/>
          </a:p>
        </p:txBody>
      </p:sp>
      <p:sp>
        <p:nvSpPr>
          <p:cNvPr id="479" name="Freihandform: Form 478">
            <a:extLst>
              <a:ext uri="{FF2B5EF4-FFF2-40B4-BE49-F238E27FC236}">
                <a16:creationId xmlns:a16="http://schemas.microsoft.com/office/drawing/2014/main" id="{F2247E83-ADCA-4D56-80E1-AFB3483E8B0F}"/>
              </a:ext>
            </a:extLst>
          </p:cNvPr>
          <p:cNvSpPr/>
          <p:nvPr userDrawn="1"/>
        </p:nvSpPr>
        <p:spPr>
          <a:xfrm>
            <a:off x="9415215" y="6598148"/>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2351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5847"/>
                </a:lnTo>
                <a:lnTo>
                  <a:pt x="0" y="0"/>
                </a:lnTo>
                <a:lnTo>
                  <a:pt x="108368" y="0"/>
                </a:lnTo>
                <a:lnTo>
                  <a:pt x="230719" y="122351"/>
                </a:lnTo>
                <a:close/>
              </a:path>
            </a:pathLst>
          </a:custGeom>
          <a:solidFill>
            <a:srgbClr val="EEF2F5"/>
          </a:solidFill>
          <a:ln w="11643" cap="flat">
            <a:noFill/>
            <a:prstDash val="solid"/>
            <a:miter/>
          </a:ln>
        </p:spPr>
        <p:txBody>
          <a:bodyPr rtlCol="0" anchor="ctr"/>
          <a:lstStyle/>
          <a:p>
            <a:endParaRPr lang="de-DE"/>
          </a:p>
        </p:txBody>
      </p:sp>
      <p:sp>
        <p:nvSpPr>
          <p:cNvPr id="480" name="Freihandform: Form 479">
            <a:extLst>
              <a:ext uri="{FF2B5EF4-FFF2-40B4-BE49-F238E27FC236}">
                <a16:creationId xmlns:a16="http://schemas.microsoft.com/office/drawing/2014/main" id="{2A4D62B8-F7F3-4271-9A21-481EA11F2C07}"/>
              </a:ext>
            </a:extLst>
          </p:cNvPr>
          <p:cNvSpPr/>
          <p:nvPr userDrawn="1"/>
        </p:nvSpPr>
        <p:spPr>
          <a:xfrm>
            <a:off x="9761293" y="1975610"/>
            <a:ext cx="248198" cy="269172"/>
          </a:xfrm>
          <a:custGeom>
            <a:avLst/>
            <a:gdLst>
              <a:gd name="connsiteX0" fmla="*/ 114195 w 248198"/>
              <a:gd name="connsiteY0" fmla="*/ 269172 h 269172"/>
              <a:gd name="connsiteX1" fmla="*/ 0 w 248198"/>
              <a:gd name="connsiteY1" fmla="*/ 269172 h 269172"/>
              <a:gd name="connsiteX2" fmla="*/ 132838 w 248198"/>
              <a:gd name="connsiteY2" fmla="*/ 135169 h 269172"/>
              <a:gd name="connsiteX3" fmla="*/ 0 w 248198"/>
              <a:gd name="connsiteY3" fmla="*/ 0 h 269172"/>
              <a:gd name="connsiteX4" fmla="*/ 116525 w 248198"/>
              <a:gd name="connsiteY4" fmla="*/ 0 h 269172"/>
              <a:gd name="connsiteX5" fmla="*/ 248198 w 248198"/>
              <a:gd name="connsiteY5" fmla="*/ 131673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endParaRPr lang="de-DE"/>
          </a:p>
        </p:txBody>
      </p:sp>
      <p:sp>
        <p:nvSpPr>
          <p:cNvPr id="481" name="Freihandform: Form 480">
            <a:extLst>
              <a:ext uri="{FF2B5EF4-FFF2-40B4-BE49-F238E27FC236}">
                <a16:creationId xmlns:a16="http://schemas.microsoft.com/office/drawing/2014/main" id="{4DF1C417-D96B-403C-8543-89A9B26955F5}"/>
              </a:ext>
            </a:extLst>
          </p:cNvPr>
          <p:cNvSpPr/>
          <p:nvPr userDrawn="1"/>
        </p:nvSpPr>
        <p:spPr>
          <a:xfrm>
            <a:off x="9761293" y="2331010"/>
            <a:ext cx="248198" cy="268007"/>
          </a:xfrm>
          <a:custGeom>
            <a:avLst/>
            <a:gdLst>
              <a:gd name="connsiteX0" fmla="*/ 114195 w 248198"/>
              <a:gd name="connsiteY0" fmla="*/ 268007 h 268007"/>
              <a:gd name="connsiteX1" fmla="*/ 0 w 248198"/>
              <a:gd name="connsiteY1" fmla="*/ 268007 h 268007"/>
              <a:gd name="connsiteX2" fmla="*/ 132838 w 248198"/>
              <a:gd name="connsiteY2" fmla="*/ 135169 h 268007"/>
              <a:gd name="connsiteX3" fmla="*/ 0 w 248198"/>
              <a:gd name="connsiteY3" fmla="*/ 0 h 268007"/>
              <a:gd name="connsiteX4" fmla="*/ 116525 w 248198"/>
              <a:gd name="connsiteY4" fmla="*/ 0 h 268007"/>
              <a:gd name="connsiteX5" fmla="*/ 248198 w 248198"/>
              <a:gd name="connsiteY5" fmla="*/ 131673 h 268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8007">
                <a:moveTo>
                  <a:pt x="114195" y="268007"/>
                </a:moveTo>
                <a:lnTo>
                  <a:pt x="0" y="268007"/>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endParaRPr lang="de-DE"/>
          </a:p>
        </p:txBody>
      </p:sp>
      <p:sp>
        <p:nvSpPr>
          <p:cNvPr id="482" name="Freihandform: Form 481">
            <a:extLst>
              <a:ext uri="{FF2B5EF4-FFF2-40B4-BE49-F238E27FC236}">
                <a16:creationId xmlns:a16="http://schemas.microsoft.com/office/drawing/2014/main" id="{88DE78C6-B3E8-4EA0-AC89-A5BAEF371677}"/>
              </a:ext>
            </a:extLst>
          </p:cNvPr>
          <p:cNvSpPr/>
          <p:nvPr userDrawn="1"/>
        </p:nvSpPr>
        <p:spPr>
          <a:xfrm>
            <a:off x="9761293" y="2685246"/>
            <a:ext cx="248198" cy="269172"/>
          </a:xfrm>
          <a:custGeom>
            <a:avLst/>
            <a:gdLst>
              <a:gd name="connsiteX0" fmla="*/ 114195 w 248198"/>
              <a:gd name="connsiteY0" fmla="*/ 269172 h 269172"/>
              <a:gd name="connsiteX1" fmla="*/ 0 w 248198"/>
              <a:gd name="connsiteY1" fmla="*/ 269172 h 269172"/>
              <a:gd name="connsiteX2" fmla="*/ 132838 w 248198"/>
              <a:gd name="connsiteY2" fmla="*/ 135169 h 269172"/>
              <a:gd name="connsiteX3" fmla="*/ 0 w 248198"/>
              <a:gd name="connsiteY3" fmla="*/ 0 h 269172"/>
              <a:gd name="connsiteX4" fmla="*/ 116525 w 248198"/>
              <a:gd name="connsiteY4" fmla="*/ 0 h 269172"/>
              <a:gd name="connsiteX5" fmla="*/ 248198 w 248198"/>
              <a:gd name="connsiteY5" fmla="*/ 131673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endParaRPr lang="de-DE"/>
          </a:p>
        </p:txBody>
      </p:sp>
      <p:sp>
        <p:nvSpPr>
          <p:cNvPr id="483" name="Freihandform: Form 482">
            <a:extLst>
              <a:ext uri="{FF2B5EF4-FFF2-40B4-BE49-F238E27FC236}">
                <a16:creationId xmlns:a16="http://schemas.microsoft.com/office/drawing/2014/main" id="{7E5B19BA-DB7F-4287-886F-9833AAC59D5F}"/>
              </a:ext>
            </a:extLst>
          </p:cNvPr>
          <p:cNvSpPr/>
          <p:nvPr userDrawn="1"/>
        </p:nvSpPr>
        <p:spPr>
          <a:xfrm>
            <a:off x="9761293" y="3040646"/>
            <a:ext cx="248198" cy="268007"/>
          </a:xfrm>
          <a:custGeom>
            <a:avLst/>
            <a:gdLst>
              <a:gd name="connsiteX0" fmla="*/ 114195 w 248198"/>
              <a:gd name="connsiteY0" fmla="*/ 268007 h 268007"/>
              <a:gd name="connsiteX1" fmla="*/ 0 w 248198"/>
              <a:gd name="connsiteY1" fmla="*/ 268007 h 268007"/>
              <a:gd name="connsiteX2" fmla="*/ 132838 w 248198"/>
              <a:gd name="connsiteY2" fmla="*/ 135169 h 268007"/>
              <a:gd name="connsiteX3" fmla="*/ 0 w 248198"/>
              <a:gd name="connsiteY3" fmla="*/ 0 h 268007"/>
              <a:gd name="connsiteX4" fmla="*/ 116525 w 248198"/>
              <a:gd name="connsiteY4" fmla="*/ 0 h 268007"/>
              <a:gd name="connsiteX5" fmla="*/ 248198 w 248198"/>
              <a:gd name="connsiteY5" fmla="*/ 131673 h 268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8007">
                <a:moveTo>
                  <a:pt x="114195" y="268007"/>
                </a:moveTo>
                <a:lnTo>
                  <a:pt x="0" y="268007"/>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endParaRPr lang="de-DE"/>
          </a:p>
        </p:txBody>
      </p:sp>
      <p:sp>
        <p:nvSpPr>
          <p:cNvPr id="484" name="Freihandform: Form 483">
            <a:extLst>
              <a:ext uri="{FF2B5EF4-FFF2-40B4-BE49-F238E27FC236}">
                <a16:creationId xmlns:a16="http://schemas.microsoft.com/office/drawing/2014/main" id="{292EFE73-2F46-4190-B4FC-3E703117A105}"/>
              </a:ext>
            </a:extLst>
          </p:cNvPr>
          <p:cNvSpPr/>
          <p:nvPr userDrawn="1"/>
        </p:nvSpPr>
        <p:spPr>
          <a:xfrm>
            <a:off x="9761293" y="3394882"/>
            <a:ext cx="248198" cy="269172"/>
          </a:xfrm>
          <a:custGeom>
            <a:avLst/>
            <a:gdLst>
              <a:gd name="connsiteX0" fmla="*/ 114195 w 248198"/>
              <a:gd name="connsiteY0" fmla="*/ 269172 h 269172"/>
              <a:gd name="connsiteX1" fmla="*/ 0 w 248198"/>
              <a:gd name="connsiteY1" fmla="*/ 269172 h 269172"/>
              <a:gd name="connsiteX2" fmla="*/ 132838 w 248198"/>
              <a:gd name="connsiteY2" fmla="*/ 135169 h 269172"/>
              <a:gd name="connsiteX3" fmla="*/ 0 w 248198"/>
              <a:gd name="connsiteY3" fmla="*/ 0 h 269172"/>
              <a:gd name="connsiteX4" fmla="*/ 116525 w 248198"/>
              <a:gd name="connsiteY4" fmla="*/ 0 h 269172"/>
              <a:gd name="connsiteX5" fmla="*/ 248198 w 248198"/>
              <a:gd name="connsiteY5" fmla="*/ 131673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endParaRPr lang="de-DE"/>
          </a:p>
        </p:txBody>
      </p:sp>
      <p:sp>
        <p:nvSpPr>
          <p:cNvPr id="485" name="Freihandform: Form 484">
            <a:extLst>
              <a:ext uri="{FF2B5EF4-FFF2-40B4-BE49-F238E27FC236}">
                <a16:creationId xmlns:a16="http://schemas.microsoft.com/office/drawing/2014/main" id="{8200EA12-ED68-4A99-80A6-A22CF802AF1C}"/>
              </a:ext>
            </a:extLst>
          </p:cNvPr>
          <p:cNvSpPr/>
          <p:nvPr userDrawn="1"/>
        </p:nvSpPr>
        <p:spPr>
          <a:xfrm>
            <a:off x="9761293" y="3750282"/>
            <a:ext cx="248198" cy="268007"/>
          </a:xfrm>
          <a:custGeom>
            <a:avLst/>
            <a:gdLst>
              <a:gd name="connsiteX0" fmla="*/ 114195 w 248198"/>
              <a:gd name="connsiteY0" fmla="*/ 268007 h 268007"/>
              <a:gd name="connsiteX1" fmla="*/ 0 w 248198"/>
              <a:gd name="connsiteY1" fmla="*/ 268007 h 268007"/>
              <a:gd name="connsiteX2" fmla="*/ 132838 w 248198"/>
              <a:gd name="connsiteY2" fmla="*/ 135169 h 268007"/>
              <a:gd name="connsiteX3" fmla="*/ 0 w 248198"/>
              <a:gd name="connsiteY3" fmla="*/ 0 h 268007"/>
              <a:gd name="connsiteX4" fmla="*/ 116525 w 248198"/>
              <a:gd name="connsiteY4" fmla="*/ 0 h 268007"/>
              <a:gd name="connsiteX5" fmla="*/ 248198 w 248198"/>
              <a:gd name="connsiteY5" fmla="*/ 131673 h 268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8007">
                <a:moveTo>
                  <a:pt x="114195" y="268007"/>
                </a:moveTo>
                <a:lnTo>
                  <a:pt x="0" y="268007"/>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endParaRPr lang="de-DE"/>
          </a:p>
        </p:txBody>
      </p:sp>
      <p:sp>
        <p:nvSpPr>
          <p:cNvPr id="486" name="Freihandform: Form 485">
            <a:extLst>
              <a:ext uri="{FF2B5EF4-FFF2-40B4-BE49-F238E27FC236}">
                <a16:creationId xmlns:a16="http://schemas.microsoft.com/office/drawing/2014/main" id="{F786CFD9-D7C8-441E-B62F-0EB92655CAFC}"/>
              </a:ext>
            </a:extLst>
          </p:cNvPr>
          <p:cNvSpPr/>
          <p:nvPr userDrawn="1"/>
        </p:nvSpPr>
        <p:spPr>
          <a:xfrm>
            <a:off x="9761293" y="4104518"/>
            <a:ext cx="248198" cy="269172"/>
          </a:xfrm>
          <a:custGeom>
            <a:avLst/>
            <a:gdLst>
              <a:gd name="connsiteX0" fmla="*/ 114195 w 248198"/>
              <a:gd name="connsiteY0" fmla="*/ 269172 h 269172"/>
              <a:gd name="connsiteX1" fmla="*/ 0 w 248198"/>
              <a:gd name="connsiteY1" fmla="*/ 269172 h 269172"/>
              <a:gd name="connsiteX2" fmla="*/ 132838 w 248198"/>
              <a:gd name="connsiteY2" fmla="*/ 136334 h 269172"/>
              <a:gd name="connsiteX3" fmla="*/ 0 w 248198"/>
              <a:gd name="connsiteY3" fmla="*/ 0 h 269172"/>
              <a:gd name="connsiteX4" fmla="*/ 116525 w 248198"/>
              <a:gd name="connsiteY4" fmla="*/ 0 h 269172"/>
              <a:gd name="connsiteX5" fmla="*/ 248198 w 248198"/>
              <a:gd name="connsiteY5" fmla="*/ 132838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6334"/>
                </a:lnTo>
                <a:lnTo>
                  <a:pt x="0" y="0"/>
                </a:lnTo>
                <a:lnTo>
                  <a:pt x="116525" y="0"/>
                </a:lnTo>
                <a:lnTo>
                  <a:pt x="248198" y="132838"/>
                </a:lnTo>
                <a:close/>
              </a:path>
            </a:pathLst>
          </a:custGeom>
          <a:solidFill>
            <a:srgbClr val="EEF2F5"/>
          </a:solidFill>
          <a:ln w="11643" cap="flat">
            <a:noFill/>
            <a:prstDash val="solid"/>
            <a:miter/>
          </a:ln>
        </p:spPr>
        <p:txBody>
          <a:bodyPr rtlCol="0" anchor="ctr"/>
          <a:lstStyle/>
          <a:p>
            <a:endParaRPr lang="de-DE"/>
          </a:p>
        </p:txBody>
      </p:sp>
      <p:sp>
        <p:nvSpPr>
          <p:cNvPr id="487" name="Freihandform: Form 486">
            <a:extLst>
              <a:ext uri="{FF2B5EF4-FFF2-40B4-BE49-F238E27FC236}">
                <a16:creationId xmlns:a16="http://schemas.microsoft.com/office/drawing/2014/main" id="{01FD0002-F436-4142-A628-D55068EAF9A4}"/>
              </a:ext>
            </a:extLst>
          </p:cNvPr>
          <p:cNvSpPr/>
          <p:nvPr userDrawn="1"/>
        </p:nvSpPr>
        <p:spPr>
          <a:xfrm>
            <a:off x="9761293" y="4459918"/>
            <a:ext cx="248198" cy="268007"/>
          </a:xfrm>
          <a:custGeom>
            <a:avLst/>
            <a:gdLst>
              <a:gd name="connsiteX0" fmla="*/ 114195 w 248198"/>
              <a:gd name="connsiteY0" fmla="*/ 268007 h 268007"/>
              <a:gd name="connsiteX1" fmla="*/ 0 w 248198"/>
              <a:gd name="connsiteY1" fmla="*/ 268007 h 268007"/>
              <a:gd name="connsiteX2" fmla="*/ 132838 w 248198"/>
              <a:gd name="connsiteY2" fmla="*/ 135169 h 268007"/>
              <a:gd name="connsiteX3" fmla="*/ 0 w 248198"/>
              <a:gd name="connsiteY3" fmla="*/ 0 h 268007"/>
              <a:gd name="connsiteX4" fmla="*/ 116525 w 248198"/>
              <a:gd name="connsiteY4" fmla="*/ 0 h 268007"/>
              <a:gd name="connsiteX5" fmla="*/ 248198 w 248198"/>
              <a:gd name="connsiteY5" fmla="*/ 131673 h 268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8007">
                <a:moveTo>
                  <a:pt x="114195" y="268007"/>
                </a:moveTo>
                <a:lnTo>
                  <a:pt x="0" y="268007"/>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endParaRPr lang="de-DE"/>
          </a:p>
        </p:txBody>
      </p:sp>
      <p:sp>
        <p:nvSpPr>
          <p:cNvPr id="488" name="Freihandform: Form 487">
            <a:extLst>
              <a:ext uri="{FF2B5EF4-FFF2-40B4-BE49-F238E27FC236}">
                <a16:creationId xmlns:a16="http://schemas.microsoft.com/office/drawing/2014/main" id="{06660CCF-FEE4-4A5F-8E5C-895C66A8B07F}"/>
              </a:ext>
            </a:extLst>
          </p:cNvPr>
          <p:cNvSpPr/>
          <p:nvPr userDrawn="1"/>
        </p:nvSpPr>
        <p:spPr>
          <a:xfrm>
            <a:off x="9761293" y="4814154"/>
            <a:ext cx="248198" cy="269172"/>
          </a:xfrm>
          <a:custGeom>
            <a:avLst/>
            <a:gdLst>
              <a:gd name="connsiteX0" fmla="*/ 114195 w 248198"/>
              <a:gd name="connsiteY0" fmla="*/ 269172 h 269172"/>
              <a:gd name="connsiteX1" fmla="*/ 0 w 248198"/>
              <a:gd name="connsiteY1" fmla="*/ 269172 h 269172"/>
              <a:gd name="connsiteX2" fmla="*/ 132838 w 248198"/>
              <a:gd name="connsiteY2" fmla="*/ 136334 h 269172"/>
              <a:gd name="connsiteX3" fmla="*/ 0 w 248198"/>
              <a:gd name="connsiteY3" fmla="*/ 0 h 269172"/>
              <a:gd name="connsiteX4" fmla="*/ 116525 w 248198"/>
              <a:gd name="connsiteY4" fmla="*/ 0 h 269172"/>
              <a:gd name="connsiteX5" fmla="*/ 248198 w 248198"/>
              <a:gd name="connsiteY5" fmla="*/ 132838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6334"/>
                </a:lnTo>
                <a:lnTo>
                  <a:pt x="0" y="0"/>
                </a:lnTo>
                <a:lnTo>
                  <a:pt x="116525" y="0"/>
                </a:lnTo>
                <a:lnTo>
                  <a:pt x="248198" y="132838"/>
                </a:lnTo>
                <a:close/>
              </a:path>
            </a:pathLst>
          </a:custGeom>
          <a:solidFill>
            <a:srgbClr val="EEF2F5"/>
          </a:solidFill>
          <a:ln w="11643" cap="flat">
            <a:noFill/>
            <a:prstDash val="solid"/>
            <a:miter/>
          </a:ln>
        </p:spPr>
        <p:txBody>
          <a:bodyPr rtlCol="0" anchor="ctr"/>
          <a:lstStyle/>
          <a:p>
            <a:endParaRPr lang="de-DE"/>
          </a:p>
        </p:txBody>
      </p:sp>
      <p:sp>
        <p:nvSpPr>
          <p:cNvPr id="489" name="Freihandform: Form 488">
            <a:extLst>
              <a:ext uri="{FF2B5EF4-FFF2-40B4-BE49-F238E27FC236}">
                <a16:creationId xmlns:a16="http://schemas.microsoft.com/office/drawing/2014/main" id="{6E41AC2D-718A-468C-AC62-C1169CCB8D98}"/>
              </a:ext>
            </a:extLst>
          </p:cNvPr>
          <p:cNvSpPr/>
          <p:nvPr userDrawn="1"/>
        </p:nvSpPr>
        <p:spPr>
          <a:xfrm>
            <a:off x="9761293" y="5169554"/>
            <a:ext cx="248198" cy="268007"/>
          </a:xfrm>
          <a:custGeom>
            <a:avLst/>
            <a:gdLst>
              <a:gd name="connsiteX0" fmla="*/ 114195 w 248198"/>
              <a:gd name="connsiteY0" fmla="*/ 268007 h 268007"/>
              <a:gd name="connsiteX1" fmla="*/ 0 w 248198"/>
              <a:gd name="connsiteY1" fmla="*/ 268007 h 268007"/>
              <a:gd name="connsiteX2" fmla="*/ 132838 w 248198"/>
              <a:gd name="connsiteY2" fmla="*/ 135169 h 268007"/>
              <a:gd name="connsiteX3" fmla="*/ 0 w 248198"/>
              <a:gd name="connsiteY3" fmla="*/ 0 h 268007"/>
              <a:gd name="connsiteX4" fmla="*/ 116525 w 248198"/>
              <a:gd name="connsiteY4" fmla="*/ 0 h 268007"/>
              <a:gd name="connsiteX5" fmla="*/ 248198 w 248198"/>
              <a:gd name="connsiteY5" fmla="*/ 131673 h 268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8007">
                <a:moveTo>
                  <a:pt x="114195" y="268007"/>
                </a:moveTo>
                <a:lnTo>
                  <a:pt x="0" y="268007"/>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endParaRPr lang="de-DE"/>
          </a:p>
        </p:txBody>
      </p:sp>
      <p:sp>
        <p:nvSpPr>
          <p:cNvPr id="490" name="Freihandform: Form 489">
            <a:extLst>
              <a:ext uri="{FF2B5EF4-FFF2-40B4-BE49-F238E27FC236}">
                <a16:creationId xmlns:a16="http://schemas.microsoft.com/office/drawing/2014/main" id="{4BE823B6-3CF5-4C0A-8FBC-8BF3D89E62E6}"/>
              </a:ext>
            </a:extLst>
          </p:cNvPr>
          <p:cNvSpPr/>
          <p:nvPr userDrawn="1"/>
        </p:nvSpPr>
        <p:spPr>
          <a:xfrm>
            <a:off x="9761293" y="5523790"/>
            <a:ext cx="248198" cy="269172"/>
          </a:xfrm>
          <a:custGeom>
            <a:avLst/>
            <a:gdLst>
              <a:gd name="connsiteX0" fmla="*/ 114195 w 248198"/>
              <a:gd name="connsiteY0" fmla="*/ 269172 h 269172"/>
              <a:gd name="connsiteX1" fmla="*/ 0 w 248198"/>
              <a:gd name="connsiteY1" fmla="*/ 269172 h 269172"/>
              <a:gd name="connsiteX2" fmla="*/ 132838 w 248198"/>
              <a:gd name="connsiteY2" fmla="*/ 136334 h 269172"/>
              <a:gd name="connsiteX3" fmla="*/ 0 w 248198"/>
              <a:gd name="connsiteY3" fmla="*/ 0 h 269172"/>
              <a:gd name="connsiteX4" fmla="*/ 116525 w 248198"/>
              <a:gd name="connsiteY4" fmla="*/ 0 h 269172"/>
              <a:gd name="connsiteX5" fmla="*/ 248198 w 248198"/>
              <a:gd name="connsiteY5" fmla="*/ 132838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6334"/>
                </a:lnTo>
                <a:lnTo>
                  <a:pt x="0" y="0"/>
                </a:lnTo>
                <a:lnTo>
                  <a:pt x="116525" y="0"/>
                </a:lnTo>
                <a:lnTo>
                  <a:pt x="248198" y="132838"/>
                </a:lnTo>
                <a:close/>
              </a:path>
            </a:pathLst>
          </a:custGeom>
          <a:solidFill>
            <a:srgbClr val="EEF2F5"/>
          </a:solidFill>
          <a:ln w="11643" cap="flat">
            <a:noFill/>
            <a:prstDash val="solid"/>
            <a:miter/>
          </a:ln>
        </p:spPr>
        <p:txBody>
          <a:bodyPr rtlCol="0" anchor="ctr"/>
          <a:lstStyle/>
          <a:p>
            <a:endParaRPr lang="de-DE"/>
          </a:p>
        </p:txBody>
      </p:sp>
      <p:sp>
        <p:nvSpPr>
          <p:cNvPr id="491" name="Freihandform: Form 490">
            <a:extLst>
              <a:ext uri="{FF2B5EF4-FFF2-40B4-BE49-F238E27FC236}">
                <a16:creationId xmlns:a16="http://schemas.microsoft.com/office/drawing/2014/main" id="{B0586C0A-D3A9-43C8-BC22-E34DC9A911FC}"/>
              </a:ext>
            </a:extLst>
          </p:cNvPr>
          <p:cNvSpPr/>
          <p:nvPr userDrawn="1"/>
        </p:nvSpPr>
        <p:spPr>
          <a:xfrm>
            <a:off x="9761293" y="5879190"/>
            <a:ext cx="248198" cy="269172"/>
          </a:xfrm>
          <a:custGeom>
            <a:avLst/>
            <a:gdLst>
              <a:gd name="connsiteX0" fmla="*/ 114195 w 248198"/>
              <a:gd name="connsiteY0" fmla="*/ 269172 h 269172"/>
              <a:gd name="connsiteX1" fmla="*/ 0 w 248198"/>
              <a:gd name="connsiteY1" fmla="*/ 269172 h 269172"/>
              <a:gd name="connsiteX2" fmla="*/ 132838 w 248198"/>
              <a:gd name="connsiteY2" fmla="*/ 135169 h 269172"/>
              <a:gd name="connsiteX3" fmla="*/ 0 w 248198"/>
              <a:gd name="connsiteY3" fmla="*/ 0 h 269172"/>
              <a:gd name="connsiteX4" fmla="*/ 116525 w 248198"/>
              <a:gd name="connsiteY4" fmla="*/ 0 h 269172"/>
              <a:gd name="connsiteX5" fmla="*/ 248198 w 248198"/>
              <a:gd name="connsiteY5" fmla="*/ 131673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endParaRPr lang="de-DE"/>
          </a:p>
        </p:txBody>
      </p:sp>
      <p:sp>
        <p:nvSpPr>
          <p:cNvPr id="492" name="Freihandform: Form 491">
            <a:extLst>
              <a:ext uri="{FF2B5EF4-FFF2-40B4-BE49-F238E27FC236}">
                <a16:creationId xmlns:a16="http://schemas.microsoft.com/office/drawing/2014/main" id="{BAA83463-E746-448C-AEF2-15F032667EAD}"/>
              </a:ext>
            </a:extLst>
          </p:cNvPr>
          <p:cNvSpPr/>
          <p:nvPr userDrawn="1"/>
        </p:nvSpPr>
        <p:spPr>
          <a:xfrm>
            <a:off x="9761293" y="6233426"/>
            <a:ext cx="248198" cy="269172"/>
          </a:xfrm>
          <a:custGeom>
            <a:avLst/>
            <a:gdLst>
              <a:gd name="connsiteX0" fmla="*/ 114195 w 248198"/>
              <a:gd name="connsiteY0" fmla="*/ 269172 h 269172"/>
              <a:gd name="connsiteX1" fmla="*/ 0 w 248198"/>
              <a:gd name="connsiteY1" fmla="*/ 269172 h 269172"/>
              <a:gd name="connsiteX2" fmla="*/ 132838 w 248198"/>
              <a:gd name="connsiteY2" fmla="*/ 136334 h 269172"/>
              <a:gd name="connsiteX3" fmla="*/ 0 w 248198"/>
              <a:gd name="connsiteY3" fmla="*/ 0 h 269172"/>
              <a:gd name="connsiteX4" fmla="*/ 116525 w 248198"/>
              <a:gd name="connsiteY4" fmla="*/ 0 h 269172"/>
              <a:gd name="connsiteX5" fmla="*/ 248198 w 248198"/>
              <a:gd name="connsiteY5" fmla="*/ 132838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6334"/>
                </a:lnTo>
                <a:lnTo>
                  <a:pt x="0" y="0"/>
                </a:lnTo>
                <a:lnTo>
                  <a:pt x="116525" y="0"/>
                </a:lnTo>
                <a:lnTo>
                  <a:pt x="248198" y="132838"/>
                </a:lnTo>
                <a:close/>
              </a:path>
            </a:pathLst>
          </a:custGeom>
          <a:solidFill>
            <a:srgbClr val="EEF2F5"/>
          </a:solidFill>
          <a:ln w="11643" cap="flat">
            <a:noFill/>
            <a:prstDash val="solid"/>
            <a:miter/>
          </a:ln>
        </p:spPr>
        <p:txBody>
          <a:bodyPr rtlCol="0" anchor="ctr"/>
          <a:lstStyle/>
          <a:p>
            <a:endParaRPr lang="de-DE"/>
          </a:p>
        </p:txBody>
      </p:sp>
      <p:sp>
        <p:nvSpPr>
          <p:cNvPr id="493" name="Freihandform: Form 492">
            <a:extLst>
              <a:ext uri="{FF2B5EF4-FFF2-40B4-BE49-F238E27FC236}">
                <a16:creationId xmlns:a16="http://schemas.microsoft.com/office/drawing/2014/main" id="{630922BC-26BD-42F2-898F-FEDC66EF3731}"/>
              </a:ext>
            </a:extLst>
          </p:cNvPr>
          <p:cNvSpPr/>
          <p:nvPr userDrawn="1"/>
        </p:nvSpPr>
        <p:spPr>
          <a:xfrm>
            <a:off x="9761293" y="6588826"/>
            <a:ext cx="248198" cy="269172"/>
          </a:xfrm>
          <a:custGeom>
            <a:avLst/>
            <a:gdLst>
              <a:gd name="connsiteX0" fmla="*/ 114195 w 248198"/>
              <a:gd name="connsiteY0" fmla="*/ 269172 h 269172"/>
              <a:gd name="connsiteX1" fmla="*/ 0 w 248198"/>
              <a:gd name="connsiteY1" fmla="*/ 269172 h 269172"/>
              <a:gd name="connsiteX2" fmla="*/ 132838 w 248198"/>
              <a:gd name="connsiteY2" fmla="*/ 135169 h 269172"/>
              <a:gd name="connsiteX3" fmla="*/ 0 w 248198"/>
              <a:gd name="connsiteY3" fmla="*/ 0 h 269172"/>
              <a:gd name="connsiteX4" fmla="*/ 116525 w 248198"/>
              <a:gd name="connsiteY4" fmla="*/ 0 h 269172"/>
              <a:gd name="connsiteX5" fmla="*/ 248198 w 248198"/>
              <a:gd name="connsiteY5" fmla="*/ 131673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endParaRPr lang="de-DE"/>
          </a:p>
        </p:txBody>
      </p:sp>
      <p:grpSp>
        <p:nvGrpSpPr>
          <p:cNvPr id="39" name="Gruppieren 38">
            <a:extLst>
              <a:ext uri="{FF2B5EF4-FFF2-40B4-BE49-F238E27FC236}">
                <a16:creationId xmlns:a16="http://schemas.microsoft.com/office/drawing/2014/main" id="{AA666764-7F63-4EE2-87ED-D1E80C7F6AA1}"/>
              </a:ext>
            </a:extLst>
          </p:cNvPr>
          <p:cNvGrpSpPr/>
          <p:nvPr userDrawn="1"/>
        </p:nvGrpSpPr>
        <p:grpSpPr>
          <a:xfrm>
            <a:off x="4814318" y="4632993"/>
            <a:ext cx="421976" cy="421976"/>
            <a:chOff x="4991839" y="5657214"/>
            <a:chExt cx="203835" cy="203835"/>
          </a:xfrm>
        </p:grpSpPr>
        <p:sp>
          <p:nvSpPr>
            <p:cNvPr id="38" name="Grafik 3">
              <a:extLst>
                <a:ext uri="{FF2B5EF4-FFF2-40B4-BE49-F238E27FC236}">
                  <a16:creationId xmlns:a16="http://schemas.microsoft.com/office/drawing/2014/main" id="{3ACBFD09-2BCE-47C1-82F9-F67E69F50CD5}"/>
                </a:ext>
              </a:extLst>
            </p:cNvPr>
            <p:cNvSpPr/>
            <p:nvPr/>
          </p:nvSpPr>
          <p:spPr>
            <a:xfrm>
              <a:off x="4991839" y="5657214"/>
              <a:ext cx="203835" cy="203835"/>
            </a:xfrm>
            <a:custGeom>
              <a:avLst/>
              <a:gdLst>
                <a:gd name="connsiteX0" fmla="*/ 203835 w 203835"/>
                <a:gd name="connsiteY0" fmla="*/ 101918 h 203835"/>
                <a:gd name="connsiteX1" fmla="*/ 101918 w 203835"/>
                <a:gd name="connsiteY1" fmla="*/ 203835 h 203835"/>
                <a:gd name="connsiteX2" fmla="*/ 0 w 203835"/>
                <a:gd name="connsiteY2" fmla="*/ 101918 h 203835"/>
                <a:gd name="connsiteX3" fmla="*/ 101918 w 203835"/>
                <a:gd name="connsiteY3" fmla="*/ 0 h 203835"/>
                <a:gd name="connsiteX4" fmla="*/ 203835 w 203835"/>
                <a:gd name="connsiteY4" fmla="*/ 101918 h 2038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3835" h="203835">
                  <a:moveTo>
                    <a:pt x="203835" y="101918"/>
                  </a:moveTo>
                  <a:cubicBezTo>
                    <a:pt x="203835" y="158205"/>
                    <a:pt x="158205" y="203835"/>
                    <a:pt x="101918" y="203835"/>
                  </a:cubicBezTo>
                  <a:cubicBezTo>
                    <a:pt x="45630" y="203835"/>
                    <a:pt x="0" y="158205"/>
                    <a:pt x="0" y="101918"/>
                  </a:cubicBezTo>
                  <a:cubicBezTo>
                    <a:pt x="0" y="45630"/>
                    <a:pt x="45630" y="0"/>
                    <a:pt x="101918" y="0"/>
                  </a:cubicBezTo>
                  <a:cubicBezTo>
                    <a:pt x="158205" y="0"/>
                    <a:pt x="203835" y="45630"/>
                    <a:pt x="203835" y="101918"/>
                  </a:cubicBezTo>
                  <a:close/>
                </a:path>
              </a:pathLst>
            </a:custGeom>
            <a:solidFill>
              <a:srgbClr val="ECF0F4"/>
            </a:solidFill>
            <a:ln w="9525" cap="flat">
              <a:noFill/>
              <a:prstDash val="solid"/>
              <a:miter/>
            </a:ln>
          </p:spPr>
          <p:txBody>
            <a:bodyPr rtlCol="0" anchor="ctr"/>
            <a:lstStyle/>
            <a:p>
              <a:endParaRPr lang="de-DE"/>
            </a:p>
          </p:txBody>
        </p:sp>
        <p:sp>
          <p:nvSpPr>
            <p:cNvPr id="37" name="Grafik 30">
              <a:extLst>
                <a:ext uri="{FF2B5EF4-FFF2-40B4-BE49-F238E27FC236}">
                  <a16:creationId xmlns:a16="http://schemas.microsoft.com/office/drawing/2014/main" id="{0F7F147F-AAE3-4BE1-B657-9037D1087DC9}"/>
                </a:ext>
              </a:extLst>
            </p:cNvPr>
            <p:cNvSpPr/>
            <p:nvPr/>
          </p:nvSpPr>
          <p:spPr>
            <a:xfrm>
              <a:off x="5039940" y="5721508"/>
              <a:ext cx="107632" cy="75247"/>
            </a:xfrm>
            <a:custGeom>
              <a:avLst/>
              <a:gdLst>
                <a:gd name="connsiteX0" fmla="*/ 98108 w 107632"/>
                <a:gd name="connsiteY0" fmla="*/ 0 h 75247"/>
                <a:gd name="connsiteX1" fmla="*/ 9525 w 107632"/>
                <a:gd name="connsiteY1" fmla="*/ 0 h 75247"/>
                <a:gd name="connsiteX2" fmla="*/ 0 w 107632"/>
                <a:gd name="connsiteY2" fmla="*/ 9525 h 75247"/>
                <a:gd name="connsiteX3" fmla="*/ 0 w 107632"/>
                <a:gd name="connsiteY3" fmla="*/ 65723 h 75247"/>
                <a:gd name="connsiteX4" fmla="*/ 9525 w 107632"/>
                <a:gd name="connsiteY4" fmla="*/ 75248 h 75247"/>
                <a:gd name="connsiteX5" fmla="*/ 98108 w 107632"/>
                <a:gd name="connsiteY5" fmla="*/ 75248 h 75247"/>
                <a:gd name="connsiteX6" fmla="*/ 107633 w 107632"/>
                <a:gd name="connsiteY6" fmla="*/ 65723 h 75247"/>
                <a:gd name="connsiteX7" fmla="*/ 107633 w 107632"/>
                <a:gd name="connsiteY7" fmla="*/ 9525 h 75247"/>
                <a:gd name="connsiteX8" fmla="*/ 98108 w 107632"/>
                <a:gd name="connsiteY8" fmla="*/ 0 h 75247"/>
                <a:gd name="connsiteX9" fmla="*/ 96203 w 107632"/>
                <a:gd name="connsiteY9" fmla="*/ 6668 h 75247"/>
                <a:gd name="connsiteX10" fmla="*/ 60008 w 107632"/>
                <a:gd name="connsiteY10" fmla="*/ 41910 h 75247"/>
                <a:gd name="connsiteX11" fmla="*/ 53340 w 107632"/>
                <a:gd name="connsiteY11" fmla="*/ 44768 h 75247"/>
                <a:gd name="connsiteX12" fmla="*/ 46673 w 107632"/>
                <a:gd name="connsiteY12" fmla="*/ 41910 h 75247"/>
                <a:gd name="connsiteX13" fmla="*/ 10478 w 107632"/>
                <a:gd name="connsiteY13" fmla="*/ 6668 h 75247"/>
                <a:gd name="connsiteX14" fmla="*/ 96203 w 107632"/>
                <a:gd name="connsiteY14" fmla="*/ 6668 h 75247"/>
                <a:gd name="connsiteX15" fmla="*/ 6668 w 107632"/>
                <a:gd name="connsiteY15" fmla="*/ 64770 h 75247"/>
                <a:gd name="connsiteX16" fmla="*/ 6668 w 107632"/>
                <a:gd name="connsiteY16" fmla="*/ 10478 h 75247"/>
                <a:gd name="connsiteX17" fmla="*/ 33338 w 107632"/>
                <a:gd name="connsiteY17" fmla="*/ 38100 h 75247"/>
                <a:gd name="connsiteX18" fmla="*/ 6668 w 107632"/>
                <a:gd name="connsiteY18" fmla="*/ 64770 h 75247"/>
                <a:gd name="connsiteX19" fmla="*/ 10478 w 107632"/>
                <a:gd name="connsiteY19" fmla="*/ 68580 h 75247"/>
                <a:gd name="connsiteX20" fmla="*/ 38100 w 107632"/>
                <a:gd name="connsiteY20" fmla="*/ 41910 h 75247"/>
                <a:gd name="connsiteX21" fmla="*/ 42863 w 107632"/>
                <a:gd name="connsiteY21" fmla="*/ 46673 h 75247"/>
                <a:gd name="connsiteX22" fmla="*/ 54293 w 107632"/>
                <a:gd name="connsiteY22" fmla="*/ 51435 h 75247"/>
                <a:gd name="connsiteX23" fmla="*/ 65723 w 107632"/>
                <a:gd name="connsiteY23" fmla="*/ 46673 h 75247"/>
                <a:gd name="connsiteX24" fmla="*/ 70485 w 107632"/>
                <a:gd name="connsiteY24" fmla="*/ 41910 h 75247"/>
                <a:gd name="connsiteX25" fmla="*/ 97155 w 107632"/>
                <a:gd name="connsiteY25" fmla="*/ 68580 h 75247"/>
                <a:gd name="connsiteX26" fmla="*/ 10478 w 107632"/>
                <a:gd name="connsiteY26" fmla="*/ 68580 h 75247"/>
                <a:gd name="connsiteX27" fmla="*/ 100965 w 107632"/>
                <a:gd name="connsiteY27" fmla="*/ 64770 h 75247"/>
                <a:gd name="connsiteX28" fmla="*/ 73343 w 107632"/>
                <a:gd name="connsiteY28" fmla="*/ 38100 h 75247"/>
                <a:gd name="connsiteX29" fmla="*/ 100013 w 107632"/>
                <a:gd name="connsiteY29" fmla="*/ 11430 h 75247"/>
                <a:gd name="connsiteX30" fmla="*/ 100013 w 107632"/>
                <a:gd name="connsiteY30" fmla="*/ 64770 h 75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07632" h="75247">
                  <a:moveTo>
                    <a:pt x="98108" y="0"/>
                  </a:moveTo>
                  <a:lnTo>
                    <a:pt x="9525" y="0"/>
                  </a:lnTo>
                  <a:cubicBezTo>
                    <a:pt x="3810" y="0"/>
                    <a:pt x="0" y="3810"/>
                    <a:pt x="0" y="9525"/>
                  </a:cubicBezTo>
                  <a:lnTo>
                    <a:pt x="0" y="65723"/>
                  </a:lnTo>
                  <a:cubicBezTo>
                    <a:pt x="0" y="70485"/>
                    <a:pt x="3810" y="75248"/>
                    <a:pt x="9525" y="75248"/>
                  </a:cubicBezTo>
                  <a:lnTo>
                    <a:pt x="98108" y="75248"/>
                  </a:lnTo>
                  <a:cubicBezTo>
                    <a:pt x="102870" y="75248"/>
                    <a:pt x="107633" y="71438"/>
                    <a:pt x="107633" y="65723"/>
                  </a:cubicBezTo>
                  <a:lnTo>
                    <a:pt x="107633" y="9525"/>
                  </a:lnTo>
                  <a:cubicBezTo>
                    <a:pt x="106680" y="3810"/>
                    <a:pt x="102870" y="0"/>
                    <a:pt x="98108" y="0"/>
                  </a:cubicBezTo>
                  <a:close/>
                  <a:moveTo>
                    <a:pt x="96203" y="6668"/>
                  </a:moveTo>
                  <a:cubicBezTo>
                    <a:pt x="94298" y="8573"/>
                    <a:pt x="60960" y="40958"/>
                    <a:pt x="60008" y="41910"/>
                  </a:cubicBezTo>
                  <a:cubicBezTo>
                    <a:pt x="58103" y="43815"/>
                    <a:pt x="56198" y="44768"/>
                    <a:pt x="53340" y="44768"/>
                  </a:cubicBezTo>
                  <a:cubicBezTo>
                    <a:pt x="50483" y="44768"/>
                    <a:pt x="48578" y="43815"/>
                    <a:pt x="46673" y="41910"/>
                  </a:cubicBezTo>
                  <a:cubicBezTo>
                    <a:pt x="45720" y="41910"/>
                    <a:pt x="13335" y="8573"/>
                    <a:pt x="10478" y="6668"/>
                  </a:cubicBezTo>
                  <a:lnTo>
                    <a:pt x="96203" y="6668"/>
                  </a:lnTo>
                  <a:close/>
                  <a:moveTo>
                    <a:pt x="6668" y="64770"/>
                  </a:moveTo>
                  <a:lnTo>
                    <a:pt x="6668" y="10478"/>
                  </a:lnTo>
                  <a:lnTo>
                    <a:pt x="33338" y="38100"/>
                  </a:lnTo>
                  <a:lnTo>
                    <a:pt x="6668" y="64770"/>
                  </a:lnTo>
                  <a:close/>
                  <a:moveTo>
                    <a:pt x="10478" y="68580"/>
                  </a:moveTo>
                  <a:lnTo>
                    <a:pt x="38100" y="41910"/>
                  </a:lnTo>
                  <a:lnTo>
                    <a:pt x="42863" y="46673"/>
                  </a:lnTo>
                  <a:cubicBezTo>
                    <a:pt x="45720" y="49530"/>
                    <a:pt x="49530" y="51435"/>
                    <a:pt x="54293" y="51435"/>
                  </a:cubicBezTo>
                  <a:cubicBezTo>
                    <a:pt x="58103" y="51435"/>
                    <a:pt x="62865" y="49530"/>
                    <a:pt x="65723" y="46673"/>
                  </a:cubicBezTo>
                  <a:lnTo>
                    <a:pt x="70485" y="41910"/>
                  </a:lnTo>
                  <a:lnTo>
                    <a:pt x="97155" y="68580"/>
                  </a:lnTo>
                  <a:lnTo>
                    <a:pt x="10478" y="68580"/>
                  </a:lnTo>
                  <a:close/>
                  <a:moveTo>
                    <a:pt x="100965" y="64770"/>
                  </a:moveTo>
                  <a:lnTo>
                    <a:pt x="73343" y="38100"/>
                  </a:lnTo>
                  <a:lnTo>
                    <a:pt x="100013" y="11430"/>
                  </a:lnTo>
                  <a:lnTo>
                    <a:pt x="100013" y="64770"/>
                  </a:lnTo>
                  <a:close/>
                </a:path>
              </a:pathLst>
            </a:custGeom>
            <a:solidFill>
              <a:srgbClr val="3A5C7D"/>
            </a:solidFill>
            <a:ln w="9525" cap="flat">
              <a:noFill/>
              <a:prstDash val="solid"/>
              <a:miter/>
            </a:ln>
          </p:spPr>
          <p:txBody>
            <a:bodyPr rtlCol="0" anchor="ctr"/>
            <a:lstStyle/>
            <a:p>
              <a:endParaRPr lang="de-DE"/>
            </a:p>
          </p:txBody>
        </p:sp>
      </p:grpSp>
      <p:grpSp>
        <p:nvGrpSpPr>
          <p:cNvPr id="36" name="Gruppieren 35">
            <a:extLst>
              <a:ext uri="{FF2B5EF4-FFF2-40B4-BE49-F238E27FC236}">
                <a16:creationId xmlns:a16="http://schemas.microsoft.com/office/drawing/2014/main" id="{66A2E61D-F083-418F-919D-66394DC26082}"/>
              </a:ext>
            </a:extLst>
          </p:cNvPr>
          <p:cNvGrpSpPr/>
          <p:nvPr userDrawn="1"/>
        </p:nvGrpSpPr>
        <p:grpSpPr>
          <a:xfrm>
            <a:off x="4812959" y="4085094"/>
            <a:ext cx="424694" cy="424694"/>
            <a:chOff x="4702667" y="5218499"/>
            <a:chExt cx="203835" cy="203835"/>
          </a:xfrm>
        </p:grpSpPr>
        <p:sp>
          <p:nvSpPr>
            <p:cNvPr id="34" name="Grafik 31">
              <a:extLst>
                <a:ext uri="{FF2B5EF4-FFF2-40B4-BE49-F238E27FC236}">
                  <a16:creationId xmlns:a16="http://schemas.microsoft.com/office/drawing/2014/main" id="{E92F21DB-71AC-49E2-A5A9-E6D54A01D532}"/>
                </a:ext>
              </a:extLst>
            </p:cNvPr>
            <p:cNvSpPr/>
            <p:nvPr/>
          </p:nvSpPr>
          <p:spPr>
            <a:xfrm>
              <a:off x="4702667" y="5218499"/>
              <a:ext cx="203835" cy="203835"/>
            </a:xfrm>
            <a:custGeom>
              <a:avLst/>
              <a:gdLst>
                <a:gd name="connsiteX0" fmla="*/ 203835 w 203835"/>
                <a:gd name="connsiteY0" fmla="*/ 101918 h 203835"/>
                <a:gd name="connsiteX1" fmla="*/ 101918 w 203835"/>
                <a:gd name="connsiteY1" fmla="*/ 203835 h 203835"/>
                <a:gd name="connsiteX2" fmla="*/ 0 w 203835"/>
                <a:gd name="connsiteY2" fmla="*/ 101918 h 203835"/>
                <a:gd name="connsiteX3" fmla="*/ 101918 w 203835"/>
                <a:gd name="connsiteY3" fmla="*/ 0 h 203835"/>
                <a:gd name="connsiteX4" fmla="*/ 203835 w 203835"/>
                <a:gd name="connsiteY4" fmla="*/ 101918 h 2038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3835" h="203835">
                  <a:moveTo>
                    <a:pt x="203835" y="101918"/>
                  </a:moveTo>
                  <a:cubicBezTo>
                    <a:pt x="203835" y="158205"/>
                    <a:pt x="158205" y="203835"/>
                    <a:pt x="101918" y="203835"/>
                  </a:cubicBezTo>
                  <a:cubicBezTo>
                    <a:pt x="45630" y="203835"/>
                    <a:pt x="0" y="158205"/>
                    <a:pt x="0" y="101918"/>
                  </a:cubicBezTo>
                  <a:cubicBezTo>
                    <a:pt x="0" y="45630"/>
                    <a:pt x="45630" y="0"/>
                    <a:pt x="101918" y="0"/>
                  </a:cubicBezTo>
                  <a:cubicBezTo>
                    <a:pt x="158205" y="0"/>
                    <a:pt x="203835" y="45630"/>
                    <a:pt x="203835" y="101918"/>
                  </a:cubicBezTo>
                  <a:close/>
                </a:path>
              </a:pathLst>
            </a:custGeom>
            <a:solidFill>
              <a:srgbClr val="ECF0F4"/>
            </a:solidFill>
            <a:ln w="9525" cap="flat">
              <a:noFill/>
              <a:prstDash val="solid"/>
              <a:miter/>
            </a:ln>
          </p:spPr>
          <p:txBody>
            <a:bodyPr rtlCol="0" anchor="ctr"/>
            <a:lstStyle/>
            <a:p>
              <a:endParaRPr lang="de-DE"/>
            </a:p>
          </p:txBody>
        </p:sp>
        <p:sp>
          <p:nvSpPr>
            <p:cNvPr id="33" name="Grafik 29">
              <a:extLst>
                <a:ext uri="{FF2B5EF4-FFF2-40B4-BE49-F238E27FC236}">
                  <a16:creationId xmlns:a16="http://schemas.microsoft.com/office/drawing/2014/main" id="{C5CDD651-6752-43FB-B542-3447DAD562C2}"/>
                </a:ext>
              </a:extLst>
            </p:cNvPr>
            <p:cNvSpPr/>
            <p:nvPr/>
          </p:nvSpPr>
          <p:spPr>
            <a:xfrm>
              <a:off x="4749870" y="5265171"/>
              <a:ext cx="109428" cy="110490"/>
            </a:xfrm>
            <a:custGeom>
              <a:avLst/>
              <a:gdLst>
                <a:gd name="connsiteX0" fmla="*/ 105728 w 109428"/>
                <a:gd name="connsiteY0" fmla="*/ 80010 h 110490"/>
                <a:gd name="connsiteX1" fmla="*/ 92393 w 109428"/>
                <a:gd name="connsiteY1" fmla="*/ 65723 h 110490"/>
                <a:gd name="connsiteX2" fmla="*/ 83820 w 109428"/>
                <a:gd name="connsiteY2" fmla="*/ 62865 h 110490"/>
                <a:gd name="connsiteX3" fmla="*/ 76200 w 109428"/>
                <a:gd name="connsiteY3" fmla="*/ 65723 h 110490"/>
                <a:gd name="connsiteX4" fmla="*/ 67628 w 109428"/>
                <a:gd name="connsiteY4" fmla="*/ 74295 h 110490"/>
                <a:gd name="connsiteX5" fmla="*/ 65723 w 109428"/>
                <a:gd name="connsiteY5" fmla="*/ 73343 h 110490"/>
                <a:gd name="connsiteX6" fmla="*/ 62865 w 109428"/>
                <a:gd name="connsiteY6" fmla="*/ 72390 h 110490"/>
                <a:gd name="connsiteX7" fmla="*/ 42863 w 109428"/>
                <a:gd name="connsiteY7" fmla="*/ 53340 h 110490"/>
                <a:gd name="connsiteX8" fmla="*/ 35243 w 109428"/>
                <a:gd name="connsiteY8" fmla="*/ 41910 h 110490"/>
                <a:gd name="connsiteX9" fmla="*/ 41910 w 109428"/>
                <a:gd name="connsiteY9" fmla="*/ 36195 h 110490"/>
                <a:gd name="connsiteX10" fmla="*/ 43815 w 109428"/>
                <a:gd name="connsiteY10" fmla="*/ 34290 h 110490"/>
                <a:gd name="connsiteX11" fmla="*/ 47625 w 109428"/>
                <a:gd name="connsiteY11" fmla="*/ 25718 h 110490"/>
                <a:gd name="connsiteX12" fmla="*/ 43815 w 109428"/>
                <a:gd name="connsiteY12" fmla="*/ 17145 h 110490"/>
                <a:gd name="connsiteX13" fmla="*/ 37148 w 109428"/>
                <a:gd name="connsiteY13" fmla="*/ 10478 h 110490"/>
                <a:gd name="connsiteX14" fmla="*/ 34290 w 109428"/>
                <a:gd name="connsiteY14" fmla="*/ 8573 h 110490"/>
                <a:gd name="connsiteX15" fmla="*/ 29528 w 109428"/>
                <a:gd name="connsiteY15" fmla="*/ 3810 h 110490"/>
                <a:gd name="connsiteX16" fmla="*/ 21908 w 109428"/>
                <a:gd name="connsiteY16" fmla="*/ 0 h 110490"/>
                <a:gd name="connsiteX17" fmla="*/ 14288 w 109428"/>
                <a:gd name="connsiteY17" fmla="*/ 3810 h 110490"/>
                <a:gd name="connsiteX18" fmla="*/ 5715 w 109428"/>
                <a:gd name="connsiteY18" fmla="*/ 12383 h 110490"/>
                <a:gd name="connsiteX19" fmla="*/ 0 w 109428"/>
                <a:gd name="connsiteY19" fmla="*/ 22860 h 110490"/>
                <a:gd name="connsiteX20" fmla="*/ 2858 w 109428"/>
                <a:gd name="connsiteY20" fmla="*/ 41910 h 110490"/>
                <a:gd name="connsiteX21" fmla="*/ 21908 w 109428"/>
                <a:gd name="connsiteY21" fmla="*/ 73343 h 110490"/>
                <a:gd name="connsiteX22" fmla="*/ 60960 w 109428"/>
                <a:gd name="connsiteY22" fmla="*/ 103823 h 110490"/>
                <a:gd name="connsiteX23" fmla="*/ 82868 w 109428"/>
                <a:gd name="connsiteY23" fmla="*/ 110490 h 110490"/>
                <a:gd name="connsiteX24" fmla="*/ 84773 w 109428"/>
                <a:gd name="connsiteY24" fmla="*/ 110490 h 110490"/>
                <a:gd name="connsiteX25" fmla="*/ 99060 w 109428"/>
                <a:gd name="connsiteY25" fmla="*/ 104775 h 110490"/>
                <a:gd name="connsiteX26" fmla="*/ 99060 w 109428"/>
                <a:gd name="connsiteY26" fmla="*/ 104775 h 110490"/>
                <a:gd name="connsiteX27" fmla="*/ 103823 w 109428"/>
                <a:gd name="connsiteY27" fmla="*/ 100013 h 110490"/>
                <a:gd name="connsiteX28" fmla="*/ 106680 w 109428"/>
                <a:gd name="connsiteY28" fmla="*/ 97155 h 110490"/>
                <a:gd name="connsiteX29" fmla="*/ 105728 w 109428"/>
                <a:gd name="connsiteY29" fmla="*/ 80010 h 110490"/>
                <a:gd name="connsiteX30" fmla="*/ 101918 w 109428"/>
                <a:gd name="connsiteY30" fmla="*/ 92393 h 110490"/>
                <a:gd name="connsiteX31" fmla="*/ 99060 w 109428"/>
                <a:gd name="connsiteY31" fmla="*/ 95250 h 110490"/>
                <a:gd name="connsiteX32" fmla="*/ 94298 w 109428"/>
                <a:gd name="connsiteY32" fmla="*/ 100013 h 110490"/>
                <a:gd name="connsiteX33" fmla="*/ 84773 w 109428"/>
                <a:gd name="connsiteY33" fmla="*/ 103823 h 110490"/>
                <a:gd name="connsiteX34" fmla="*/ 83820 w 109428"/>
                <a:gd name="connsiteY34" fmla="*/ 103823 h 110490"/>
                <a:gd name="connsiteX35" fmla="*/ 63818 w 109428"/>
                <a:gd name="connsiteY35" fmla="*/ 98108 h 110490"/>
                <a:gd name="connsiteX36" fmla="*/ 26670 w 109428"/>
                <a:gd name="connsiteY36" fmla="*/ 69533 h 110490"/>
                <a:gd name="connsiteX37" fmla="*/ 8573 w 109428"/>
                <a:gd name="connsiteY37" fmla="*/ 40005 h 110490"/>
                <a:gd name="connsiteX38" fmla="*/ 5715 w 109428"/>
                <a:gd name="connsiteY38" fmla="*/ 23813 h 110490"/>
                <a:gd name="connsiteX39" fmla="*/ 9525 w 109428"/>
                <a:gd name="connsiteY39" fmla="*/ 16193 h 110490"/>
                <a:gd name="connsiteX40" fmla="*/ 18098 w 109428"/>
                <a:gd name="connsiteY40" fmla="*/ 7620 h 110490"/>
                <a:gd name="connsiteX41" fmla="*/ 21908 w 109428"/>
                <a:gd name="connsiteY41" fmla="*/ 5715 h 110490"/>
                <a:gd name="connsiteX42" fmla="*/ 25718 w 109428"/>
                <a:gd name="connsiteY42" fmla="*/ 7620 h 110490"/>
                <a:gd name="connsiteX43" fmla="*/ 30480 w 109428"/>
                <a:gd name="connsiteY43" fmla="*/ 12383 h 110490"/>
                <a:gd name="connsiteX44" fmla="*/ 32385 w 109428"/>
                <a:gd name="connsiteY44" fmla="*/ 15240 h 110490"/>
                <a:gd name="connsiteX45" fmla="*/ 39053 w 109428"/>
                <a:gd name="connsiteY45" fmla="*/ 21908 h 110490"/>
                <a:gd name="connsiteX46" fmla="*/ 40958 w 109428"/>
                <a:gd name="connsiteY46" fmla="*/ 25718 h 110490"/>
                <a:gd name="connsiteX47" fmla="*/ 39053 w 109428"/>
                <a:gd name="connsiteY47" fmla="*/ 29528 h 110490"/>
                <a:gd name="connsiteX48" fmla="*/ 38100 w 109428"/>
                <a:gd name="connsiteY48" fmla="*/ 32385 h 110490"/>
                <a:gd name="connsiteX49" fmla="*/ 31433 w 109428"/>
                <a:gd name="connsiteY49" fmla="*/ 38100 h 110490"/>
                <a:gd name="connsiteX50" fmla="*/ 31433 w 109428"/>
                <a:gd name="connsiteY50" fmla="*/ 38100 h 110490"/>
                <a:gd name="connsiteX51" fmla="*/ 30480 w 109428"/>
                <a:gd name="connsiteY51" fmla="*/ 42863 h 110490"/>
                <a:gd name="connsiteX52" fmla="*/ 30480 w 109428"/>
                <a:gd name="connsiteY52" fmla="*/ 42863 h 110490"/>
                <a:gd name="connsiteX53" fmla="*/ 38100 w 109428"/>
                <a:gd name="connsiteY53" fmla="*/ 56198 h 110490"/>
                <a:gd name="connsiteX54" fmla="*/ 60008 w 109428"/>
                <a:gd name="connsiteY54" fmla="*/ 76200 h 110490"/>
                <a:gd name="connsiteX55" fmla="*/ 62865 w 109428"/>
                <a:gd name="connsiteY55" fmla="*/ 78105 h 110490"/>
                <a:gd name="connsiteX56" fmla="*/ 65723 w 109428"/>
                <a:gd name="connsiteY56" fmla="*/ 79058 h 110490"/>
                <a:gd name="connsiteX57" fmla="*/ 65723 w 109428"/>
                <a:gd name="connsiteY57" fmla="*/ 79058 h 110490"/>
                <a:gd name="connsiteX58" fmla="*/ 67628 w 109428"/>
                <a:gd name="connsiteY58" fmla="*/ 80010 h 110490"/>
                <a:gd name="connsiteX59" fmla="*/ 71438 w 109428"/>
                <a:gd name="connsiteY59" fmla="*/ 78105 h 110490"/>
                <a:gd name="connsiteX60" fmla="*/ 80010 w 109428"/>
                <a:gd name="connsiteY60" fmla="*/ 69533 h 110490"/>
                <a:gd name="connsiteX61" fmla="*/ 83820 w 109428"/>
                <a:gd name="connsiteY61" fmla="*/ 67628 h 110490"/>
                <a:gd name="connsiteX62" fmla="*/ 87630 w 109428"/>
                <a:gd name="connsiteY62" fmla="*/ 69533 h 110490"/>
                <a:gd name="connsiteX63" fmla="*/ 100965 w 109428"/>
                <a:gd name="connsiteY63" fmla="*/ 82868 h 110490"/>
                <a:gd name="connsiteX64" fmla="*/ 101918 w 109428"/>
                <a:gd name="connsiteY64" fmla="*/ 92393 h 110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109428" h="110489">
                  <a:moveTo>
                    <a:pt x="105728" y="80010"/>
                  </a:moveTo>
                  <a:lnTo>
                    <a:pt x="92393" y="65723"/>
                  </a:lnTo>
                  <a:cubicBezTo>
                    <a:pt x="89535" y="63818"/>
                    <a:pt x="87630" y="62865"/>
                    <a:pt x="83820" y="62865"/>
                  </a:cubicBezTo>
                  <a:cubicBezTo>
                    <a:pt x="80963" y="62865"/>
                    <a:pt x="78105" y="63818"/>
                    <a:pt x="76200" y="65723"/>
                  </a:cubicBezTo>
                  <a:lnTo>
                    <a:pt x="67628" y="74295"/>
                  </a:lnTo>
                  <a:cubicBezTo>
                    <a:pt x="67628" y="73343"/>
                    <a:pt x="66675" y="73343"/>
                    <a:pt x="65723" y="73343"/>
                  </a:cubicBezTo>
                  <a:cubicBezTo>
                    <a:pt x="64770" y="73343"/>
                    <a:pt x="63818" y="72390"/>
                    <a:pt x="62865" y="72390"/>
                  </a:cubicBezTo>
                  <a:cubicBezTo>
                    <a:pt x="56198" y="66675"/>
                    <a:pt x="48578" y="60960"/>
                    <a:pt x="42863" y="53340"/>
                  </a:cubicBezTo>
                  <a:cubicBezTo>
                    <a:pt x="39053" y="48578"/>
                    <a:pt x="37148" y="45720"/>
                    <a:pt x="35243" y="41910"/>
                  </a:cubicBezTo>
                  <a:cubicBezTo>
                    <a:pt x="38100" y="40005"/>
                    <a:pt x="40005" y="38100"/>
                    <a:pt x="41910" y="36195"/>
                  </a:cubicBezTo>
                  <a:cubicBezTo>
                    <a:pt x="42863" y="35243"/>
                    <a:pt x="42863" y="35243"/>
                    <a:pt x="43815" y="34290"/>
                  </a:cubicBezTo>
                  <a:cubicBezTo>
                    <a:pt x="46673" y="31433"/>
                    <a:pt x="47625" y="28575"/>
                    <a:pt x="47625" y="25718"/>
                  </a:cubicBezTo>
                  <a:cubicBezTo>
                    <a:pt x="47625" y="22860"/>
                    <a:pt x="46673" y="20003"/>
                    <a:pt x="43815" y="17145"/>
                  </a:cubicBezTo>
                  <a:lnTo>
                    <a:pt x="37148" y="10478"/>
                  </a:lnTo>
                  <a:cubicBezTo>
                    <a:pt x="36195" y="9525"/>
                    <a:pt x="35243" y="8573"/>
                    <a:pt x="34290" y="8573"/>
                  </a:cubicBezTo>
                  <a:cubicBezTo>
                    <a:pt x="33338" y="6668"/>
                    <a:pt x="31433" y="4763"/>
                    <a:pt x="29528" y="3810"/>
                  </a:cubicBezTo>
                  <a:cubicBezTo>
                    <a:pt x="27623" y="953"/>
                    <a:pt x="24765" y="0"/>
                    <a:pt x="21908" y="0"/>
                  </a:cubicBezTo>
                  <a:cubicBezTo>
                    <a:pt x="19050" y="0"/>
                    <a:pt x="16193" y="953"/>
                    <a:pt x="14288" y="3810"/>
                  </a:cubicBezTo>
                  <a:lnTo>
                    <a:pt x="5715" y="12383"/>
                  </a:lnTo>
                  <a:cubicBezTo>
                    <a:pt x="1905" y="15240"/>
                    <a:pt x="0" y="19050"/>
                    <a:pt x="0" y="22860"/>
                  </a:cubicBezTo>
                  <a:cubicBezTo>
                    <a:pt x="0" y="28575"/>
                    <a:pt x="953" y="34290"/>
                    <a:pt x="2858" y="41910"/>
                  </a:cubicBezTo>
                  <a:cubicBezTo>
                    <a:pt x="6668" y="52388"/>
                    <a:pt x="13335" y="62865"/>
                    <a:pt x="21908" y="73343"/>
                  </a:cubicBezTo>
                  <a:cubicBezTo>
                    <a:pt x="32385" y="86678"/>
                    <a:pt x="45720" y="96203"/>
                    <a:pt x="60960" y="103823"/>
                  </a:cubicBezTo>
                  <a:cubicBezTo>
                    <a:pt x="66675" y="106680"/>
                    <a:pt x="74295" y="109538"/>
                    <a:pt x="82868" y="110490"/>
                  </a:cubicBezTo>
                  <a:cubicBezTo>
                    <a:pt x="83820" y="110490"/>
                    <a:pt x="83820" y="110490"/>
                    <a:pt x="84773" y="110490"/>
                  </a:cubicBezTo>
                  <a:cubicBezTo>
                    <a:pt x="90488" y="110490"/>
                    <a:pt x="95250" y="108585"/>
                    <a:pt x="99060" y="104775"/>
                  </a:cubicBezTo>
                  <a:cubicBezTo>
                    <a:pt x="99060" y="104775"/>
                    <a:pt x="99060" y="104775"/>
                    <a:pt x="99060" y="104775"/>
                  </a:cubicBezTo>
                  <a:cubicBezTo>
                    <a:pt x="100013" y="102870"/>
                    <a:pt x="101918" y="101918"/>
                    <a:pt x="103823" y="100013"/>
                  </a:cubicBezTo>
                  <a:cubicBezTo>
                    <a:pt x="104775" y="99060"/>
                    <a:pt x="105728" y="98108"/>
                    <a:pt x="106680" y="97155"/>
                  </a:cubicBezTo>
                  <a:cubicBezTo>
                    <a:pt x="110490" y="91440"/>
                    <a:pt x="110490" y="84773"/>
                    <a:pt x="105728" y="80010"/>
                  </a:cubicBezTo>
                  <a:close/>
                  <a:moveTo>
                    <a:pt x="101918" y="92393"/>
                  </a:moveTo>
                  <a:cubicBezTo>
                    <a:pt x="100965" y="93345"/>
                    <a:pt x="100013" y="94298"/>
                    <a:pt x="99060" y="95250"/>
                  </a:cubicBezTo>
                  <a:cubicBezTo>
                    <a:pt x="97155" y="97155"/>
                    <a:pt x="96203" y="98108"/>
                    <a:pt x="94298" y="100013"/>
                  </a:cubicBezTo>
                  <a:cubicBezTo>
                    <a:pt x="91440" y="102870"/>
                    <a:pt x="88583" y="103823"/>
                    <a:pt x="84773" y="103823"/>
                  </a:cubicBezTo>
                  <a:cubicBezTo>
                    <a:pt x="84773" y="103823"/>
                    <a:pt x="83820" y="103823"/>
                    <a:pt x="83820" y="103823"/>
                  </a:cubicBezTo>
                  <a:cubicBezTo>
                    <a:pt x="76200" y="102870"/>
                    <a:pt x="69533" y="100013"/>
                    <a:pt x="63818" y="98108"/>
                  </a:cubicBezTo>
                  <a:cubicBezTo>
                    <a:pt x="49530" y="91440"/>
                    <a:pt x="37148" y="81915"/>
                    <a:pt x="26670" y="69533"/>
                  </a:cubicBezTo>
                  <a:cubicBezTo>
                    <a:pt x="18098" y="59055"/>
                    <a:pt x="12383" y="49530"/>
                    <a:pt x="8573" y="40005"/>
                  </a:cubicBezTo>
                  <a:cubicBezTo>
                    <a:pt x="5715" y="33338"/>
                    <a:pt x="5715" y="28575"/>
                    <a:pt x="5715" y="23813"/>
                  </a:cubicBezTo>
                  <a:cubicBezTo>
                    <a:pt x="5715" y="20955"/>
                    <a:pt x="7620" y="18098"/>
                    <a:pt x="9525" y="16193"/>
                  </a:cubicBezTo>
                  <a:lnTo>
                    <a:pt x="18098" y="7620"/>
                  </a:lnTo>
                  <a:cubicBezTo>
                    <a:pt x="19050" y="6668"/>
                    <a:pt x="20955" y="5715"/>
                    <a:pt x="21908" y="5715"/>
                  </a:cubicBezTo>
                  <a:cubicBezTo>
                    <a:pt x="22860" y="5715"/>
                    <a:pt x="24765" y="6668"/>
                    <a:pt x="25718" y="7620"/>
                  </a:cubicBezTo>
                  <a:cubicBezTo>
                    <a:pt x="27623" y="8573"/>
                    <a:pt x="28575" y="10478"/>
                    <a:pt x="30480" y="12383"/>
                  </a:cubicBezTo>
                  <a:cubicBezTo>
                    <a:pt x="31433" y="13335"/>
                    <a:pt x="32385" y="14288"/>
                    <a:pt x="32385" y="15240"/>
                  </a:cubicBezTo>
                  <a:lnTo>
                    <a:pt x="39053" y="21908"/>
                  </a:lnTo>
                  <a:cubicBezTo>
                    <a:pt x="40005" y="22860"/>
                    <a:pt x="40958" y="24765"/>
                    <a:pt x="40958" y="25718"/>
                  </a:cubicBezTo>
                  <a:cubicBezTo>
                    <a:pt x="40958" y="26670"/>
                    <a:pt x="40005" y="28575"/>
                    <a:pt x="39053" y="29528"/>
                  </a:cubicBezTo>
                  <a:cubicBezTo>
                    <a:pt x="39053" y="30480"/>
                    <a:pt x="38100" y="31433"/>
                    <a:pt x="38100" y="32385"/>
                  </a:cubicBezTo>
                  <a:cubicBezTo>
                    <a:pt x="35243" y="34290"/>
                    <a:pt x="33338" y="36195"/>
                    <a:pt x="31433" y="38100"/>
                  </a:cubicBezTo>
                  <a:cubicBezTo>
                    <a:pt x="31433" y="38100"/>
                    <a:pt x="31433" y="38100"/>
                    <a:pt x="31433" y="38100"/>
                  </a:cubicBezTo>
                  <a:cubicBezTo>
                    <a:pt x="29528" y="40005"/>
                    <a:pt x="29528" y="41910"/>
                    <a:pt x="30480" y="42863"/>
                  </a:cubicBezTo>
                  <a:cubicBezTo>
                    <a:pt x="30480" y="42863"/>
                    <a:pt x="30480" y="42863"/>
                    <a:pt x="30480" y="42863"/>
                  </a:cubicBezTo>
                  <a:cubicBezTo>
                    <a:pt x="32385" y="47625"/>
                    <a:pt x="34290" y="51435"/>
                    <a:pt x="38100" y="56198"/>
                  </a:cubicBezTo>
                  <a:cubicBezTo>
                    <a:pt x="44768" y="64770"/>
                    <a:pt x="52388" y="71438"/>
                    <a:pt x="60008" y="76200"/>
                  </a:cubicBezTo>
                  <a:cubicBezTo>
                    <a:pt x="60960" y="77153"/>
                    <a:pt x="61913" y="77153"/>
                    <a:pt x="62865" y="78105"/>
                  </a:cubicBezTo>
                  <a:cubicBezTo>
                    <a:pt x="63818" y="78105"/>
                    <a:pt x="64770" y="79058"/>
                    <a:pt x="65723" y="79058"/>
                  </a:cubicBezTo>
                  <a:cubicBezTo>
                    <a:pt x="65723" y="79058"/>
                    <a:pt x="65723" y="79058"/>
                    <a:pt x="65723" y="79058"/>
                  </a:cubicBezTo>
                  <a:cubicBezTo>
                    <a:pt x="66675" y="79058"/>
                    <a:pt x="67628" y="80010"/>
                    <a:pt x="67628" y="80010"/>
                  </a:cubicBezTo>
                  <a:cubicBezTo>
                    <a:pt x="69533" y="80010"/>
                    <a:pt x="70485" y="79058"/>
                    <a:pt x="71438" y="78105"/>
                  </a:cubicBezTo>
                  <a:lnTo>
                    <a:pt x="80010" y="69533"/>
                  </a:lnTo>
                  <a:cubicBezTo>
                    <a:pt x="80963" y="68580"/>
                    <a:pt x="82868" y="67628"/>
                    <a:pt x="83820" y="67628"/>
                  </a:cubicBezTo>
                  <a:cubicBezTo>
                    <a:pt x="85725" y="67628"/>
                    <a:pt x="86678" y="68580"/>
                    <a:pt x="87630" y="69533"/>
                  </a:cubicBezTo>
                  <a:lnTo>
                    <a:pt x="100965" y="82868"/>
                  </a:lnTo>
                  <a:cubicBezTo>
                    <a:pt x="104775" y="86678"/>
                    <a:pt x="104775" y="89535"/>
                    <a:pt x="101918" y="92393"/>
                  </a:cubicBezTo>
                  <a:close/>
                </a:path>
              </a:pathLst>
            </a:custGeom>
            <a:solidFill>
              <a:srgbClr val="3A5C7D"/>
            </a:solidFill>
            <a:ln w="9525" cap="flat">
              <a:noFill/>
              <a:prstDash val="solid"/>
              <a:miter/>
            </a:ln>
          </p:spPr>
          <p:txBody>
            <a:bodyPr rtlCol="0" anchor="ctr"/>
            <a:lstStyle/>
            <a:p>
              <a:endParaRPr lang="de-DE"/>
            </a:p>
          </p:txBody>
        </p:sp>
      </p:grpSp>
      <p:sp>
        <p:nvSpPr>
          <p:cNvPr id="2" name="Titel 1">
            <a:extLst>
              <a:ext uri="{FF2B5EF4-FFF2-40B4-BE49-F238E27FC236}">
                <a16:creationId xmlns:a16="http://schemas.microsoft.com/office/drawing/2014/main" id="{0526DC72-FA1D-422D-8055-3374742D122B}"/>
              </a:ext>
            </a:extLst>
          </p:cNvPr>
          <p:cNvSpPr>
            <a:spLocks noGrp="1"/>
          </p:cNvSpPr>
          <p:nvPr>
            <p:ph type="title"/>
          </p:nvPr>
        </p:nvSpPr>
        <p:spPr/>
        <p:txBody>
          <a:bodyPr/>
          <a:lstStyle>
            <a:lvl1pPr>
              <a:lnSpc>
                <a:spcPct val="100000"/>
              </a:lnSpc>
              <a:defRPr/>
            </a:lvl1pPr>
          </a:lstStyle>
          <a:p>
            <a:r>
              <a:rPr lang="de-DE"/>
              <a:t>Mastertitelformat bearbeiten</a:t>
            </a:r>
          </a:p>
        </p:txBody>
      </p:sp>
      <p:sp>
        <p:nvSpPr>
          <p:cNvPr id="3" name="Foliennummernplatzhalter 2">
            <a:extLst>
              <a:ext uri="{FF2B5EF4-FFF2-40B4-BE49-F238E27FC236}">
                <a16:creationId xmlns:a16="http://schemas.microsoft.com/office/drawing/2014/main" id="{5B327254-466C-4606-8589-BCC72CBDADDF}"/>
              </a:ext>
            </a:extLst>
          </p:cNvPr>
          <p:cNvSpPr>
            <a:spLocks noGrp="1"/>
          </p:cNvSpPr>
          <p:nvPr>
            <p:ph type="sldNum" sz="quarter" idx="10"/>
          </p:nvPr>
        </p:nvSpPr>
        <p:spPr/>
        <p:txBody>
          <a:bodyPr/>
          <a:lstStyle/>
          <a:p>
            <a:fld id="{A04BEB4F-8CE1-4F18-986F-6CE0A0BE9470}" type="slidenum">
              <a:rPr lang="de-DE" smtClean="0"/>
              <a:t>‹#›</a:t>
            </a:fld>
            <a:endParaRPr lang="de-DE"/>
          </a:p>
        </p:txBody>
      </p:sp>
      <p:sp>
        <p:nvSpPr>
          <p:cNvPr id="244" name="Bildplatzhalter 243">
            <a:extLst>
              <a:ext uri="{FF2B5EF4-FFF2-40B4-BE49-F238E27FC236}">
                <a16:creationId xmlns:a16="http://schemas.microsoft.com/office/drawing/2014/main" id="{BEFA9F10-608F-4384-8CB7-67B15BA77E30}"/>
              </a:ext>
            </a:extLst>
          </p:cNvPr>
          <p:cNvSpPr>
            <a:spLocks noGrp="1"/>
          </p:cNvSpPr>
          <p:nvPr>
            <p:ph type="pic" sz="quarter" idx="11" hasCustomPrompt="1"/>
          </p:nvPr>
        </p:nvSpPr>
        <p:spPr>
          <a:xfrm>
            <a:off x="815952" y="1979612"/>
            <a:ext cx="3677602" cy="3677602"/>
          </a:xfrm>
          <a:custGeom>
            <a:avLst/>
            <a:gdLst>
              <a:gd name="connsiteX0" fmla="*/ 161297 w 3677602"/>
              <a:gd name="connsiteY0" fmla="*/ 0 h 3677602"/>
              <a:gd name="connsiteX1" fmla="*/ 3677602 w 3677602"/>
              <a:gd name="connsiteY1" fmla="*/ 0 h 3677602"/>
              <a:gd name="connsiteX2" fmla="*/ 3677602 w 3677602"/>
              <a:gd name="connsiteY2" fmla="*/ 1627609 h 3677602"/>
              <a:gd name="connsiteX3" fmla="*/ 3677602 w 3677602"/>
              <a:gd name="connsiteY3" fmla="*/ 1851070 h 3677602"/>
              <a:gd name="connsiteX4" fmla="*/ 3677602 w 3677602"/>
              <a:gd name="connsiteY4" fmla="*/ 3487700 h 3677602"/>
              <a:gd name="connsiteX5" fmla="*/ 3676079 w 3677602"/>
              <a:gd name="connsiteY5" fmla="*/ 3504386 h 3677602"/>
              <a:gd name="connsiteX6" fmla="*/ 3506882 w 3677602"/>
              <a:gd name="connsiteY6" fmla="*/ 3674433 h 3677602"/>
              <a:gd name="connsiteX7" fmla="*/ 3475439 w 3677602"/>
              <a:gd name="connsiteY7" fmla="*/ 3677602 h 3677602"/>
              <a:gd name="connsiteX8" fmla="*/ 0 w 3677602"/>
              <a:gd name="connsiteY8" fmla="*/ 3677602 h 3677602"/>
              <a:gd name="connsiteX9" fmla="*/ 0 w 3677602"/>
              <a:gd name="connsiteY9" fmla="*/ 1851070 h 3677602"/>
              <a:gd name="connsiteX10" fmla="*/ 0 w 3677602"/>
              <a:gd name="connsiteY10" fmla="*/ 1627609 h 3677602"/>
              <a:gd name="connsiteX11" fmla="*/ 0 w 3677602"/>
              <a:gd name="connsiteY11" fmla="*/ 166948 h 3677602"/>
              <a:gd name="connsiteX12" fmla="*/ 23 w 3677602"/>
              <a:gd name="connsiteY12" fmla="*/ 166723 h 3677602"/>
              <a:gd name="connsiteX13" fmla="*/ 128514 w 3677602"/>
              <a:gd name="connsiteY13" fmla="*/ 10240 h 3677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77601" h="3677601">
                <a:moveTo>
                  <a:pt x="161297" y="0"/>
                </a:moveTo>
                <a:lnTo>
                  <a:pt x="3677602" y="0"/>
                </a:lnTo>
                <a:lnTo>
                  <a:pt x="3677602" y="1627609"/>
                </a:lnTo>
                <a:lnTo>
                  <a:pt x="3677602" y="1851070"/>
                </a:lnTo>
                <a:lnTo>
                  <a:pt x="3677602" y="3487700"/>
                </a:lnTo>
                <a:lnTo>
                  <a:pt x="3676079" y="3504386"/>
                </a:lnTo>
                <a:cubicBezTo>
                  <a:pt x="3659344" y="3589744"/>
                  <a:pt x="3592225" y="3656968"/>
                  <a:pt x="3506882" y="3674433"/>
                </a:cubicBezTo>
                <a:lnTo>
                  <a:pt x="3475439" y="3677602"/>
                </a:lnTo>
                <a:lnTo>
                  <a:pt x="0" y="3677602"/>
                </a:lnTo>
                <a:lnTo>
                  <a:pt x="0" y="1851070"/>
                </a:lnTo>
                <a:lnTo>
                  <a:pt x="0" y="1627609"/>
                </a:lnTo>
                <a:lnTo>
                  <a:pt x="0" y="166948"/>
                </a:lnTo>
                <a:lnTo>
                  <a:pt x="23" y="166723"/>
                </a:lnTo>
                <a:cubicBezTo>
                  <a:pt x="14564" y="96199"/>
                  <a:pt x="63599" y="37834"/>
                  <a:pt x="128514" y="10240"/>
                </a:cubicBezTo>
                <a:close/>
              </a:path>
            </a:pathLst>
          </a:custGeom>
          <a:effectLst>
            <a:outerShdw blurRad="190500" dist="127000" algn="ctr" rotWithShape="0">
              <a:prstClr val="black">
                <a:alpha val="10000"/>
              </a:prstClr>
            </a:outerShdw>
          </a:effectLst>
        </p:spPr>
        <p:txBody>
          <a:bodyPr wrap="square">
            <a:noAutofit/>
          </a:bodyPr>
          <a:lstStyle>
            <a:lvl1pPr marL="0" marR="0" indent="0" algn="l" defTabSz="1644650" rtl="0" eaLnBrk="0" fontAlgn="base" latinLnBrk="0" hangingPunct="0">
              <a:lnSpc>
                <a:spcPct val="130000"/>
              </a:lnSpc>
              <a:spcBef>
                <a:spcPct val="0"/>
              </a:spcBef>
              <a:spcAft>
                <a:spcPts val="1200"/>
              </a:spcAft>
              <a:buClr>
                <a:srgbClr val="004C99"/>
              </a:buClr>
              <a:buSzPct val="120000"/>
              <a:buFontTx/>
              <a:buBlip>
                <a:blip r:embed="rId2"/>
              </a:buBlip>
              <a:defRPr/>
            </a:lvl1pPr>
            <a:lvl2pPr marL="344488" indent="0" algn="l">
              <a:buNone/>
              <a:defRPr/>
            </a:lvl2pPr>
            <a:lvl3pPr marL="990600" marR="0" indent="-285750" algn="l" defTabSz="1644650" rtl="0" eaLnBrk="0" fontAlgn="base" latinLnBrk="0" hangingPunct="0">
              <a:lnSpc>
                <a:spcPct val="130000"/>
              </a:lnSpc>
              <a:spcBef>
                <a:spcPct val="0"/>
              </a:spcBef>
              <a:spcAft>
                <a:spcPts val="1200"/>
              </a:spcAft>
              <a:buClr>
                <a:srgbClr val="004C99"/>
              </a:buClr>
              <a:buSzPct val="120000"/>
              <a:defRPr/>
            </a:lvl3pPr>
          </a:lstStyle>
          <a:p>
            <a:pPr marL="285750" marR="0" lvl="0" indent="-285750" algn="l" defTabSz="1644650" rtl="0" eaLnBrk="0" fontAlgn="base" latinLnBrk="0" hangingPunct="0">
              <a:lnSpc>
                <a:spcPct val="130000"/>
              </a:lnSpc>
              <a:spcBef>
                <a:spcPct val="0"/>
              </a:spcBef>
              <a:spcAft>
                <a:spcPts val="1200"/>
              </a:spcAft>
              <a:buClr>
                <a:srgbClr val="004C99"/>
              </a:buClr>
              <a:buSzPct val="120000"/>
              <a:defRPr/>
            </a:pPr>
            <a:r>
              <a:rPr lang="de-DE"/>
              <a:t>Please insert image</a:t>
            </a:r>
          </a:p>
        </p:txBody>
      </p:sp>
      <p:sp>
        <p:nvSpPr>
          <p:cNvPr id="19" name="Textplatzhalter 16">
            <a:extLst>
              <a:ext uri="{FF2B5EF4-FFF2-40B4-BE49-F238E27FC236}">
                <a16:creationId xmlns:a16="http://schemas.microsoft.com/office/drawing/2014/main" id="{93A96B82-B2E7-4ED9-BED8-958994003381}"/>
              </a:ext>
            </a:extLst>
          </p:cNvPr>
          <p:cNvSpPr>
            <a:spLocks noGrp="1"/>
          </p:cNvSpPr>
          <p:nvPr>
            <p:ph type="body" sz="quarter" idx="12" hasCustomPrompt="1"/>
          </p:nvPr>
        </p:nvSpPr>
        <p:spPr>
          <a:xfrm>
            <a:off x="4815065" y="1979612"/>
            <a:ext cx="6560982" cy="508000"/>
          </a:xfrm>
        </p:spPr>
        <p:txBody>
          <a:bodyPr/>
          <a:lstStyle>
            <a:lvl1pPr marL="0" indent="0">
              <a:buNone/>
              <a:defRPr b="0">
                <a:latin typeface="Roboto Medium" panose="02000000000000000000" pitchFamily="2" charset="0"/>
                <a:ea typeface="Roboto Medium" panose="02000000000000000000" pitchFamily="2" charset="0"/>
              </a:defRPr>
            </a:lvl1pPr>
          </a:lstStyle>
          <a:p>
            <a:pPr lvl="0"/>
            <a:r>
              <a:rPr lang="de-DE"/>
              <a:t>Enter name</a:t>
            </a:r>
          </a:p>
        </p:txBody>
      </p:sp>
      <p:sp>
        <p:nvSpPr>
          <p:cNvPr id="20" name="Textplatzhalter 16">
            <a:extLst>
              <a:ext uri="{FF2B5EF4-FFF2-40B4-BE49-F238E27FC236}">
                <a16:creationId xmlns:a16="http://schemas.microsoft.com/office/drawing/2014/main" id="{142F198E-1DB4-4E63-A2C7-0A4547AC0674}"/>
              </a:ext>
            </a:extLst>
          </p:cNvPr>
          <p:cNvSpPr>
            <a:spLocks noGrp="1"/>
          </p:cNvSpPr>
          <p:nvPr>
            <p:ph type="body" sz="quarter" idx="13" hasCustomPrompt="1"/>
          </p:nvPr>
        </p:nvSpPr>
        <p:spPr>
          <a:xfrm>
            <a:off x="4815065" y="2601912"/>
            <a:ext cx="6560982" cy="1250110"/>
          </a:xfrm>
        </p:spPr>
        <p:txBody>
          <a:bodyPr>
            <a:normAutofit/>
          </a:bodyPr>
          <a:lstStyle>
            <a:lvl1pPr marL="0" indent="0">
              <a:buNone/>
              <a:defRPr sz="1800" baseline="0">
                <a:solidFill>
                  <a:schemeClr val="tx1"/>
                </a:solidFill>
                <a:latin typeface="+mn-lt"/>
                <a:ea typeface="Roboto Medium" panose="02000000000000000000" pitchFamily="2" charset="0"/>
              </a:defRPr>
            </a:lvl1pPr>
          </a:lstStyle>
          <a:p>
            <a:pPr lvl="0"/>
            <a:r>
              <a:rPr lang="de-DE"/>
              <a:t>Enter job title and adress</a:t>
            </a:r>
          </a:p>
        </p:txBody>
      </p:sp>
      <p:sp>
        <p:nvSpPr>
          <p:cNvPr id="27" name="Textplatzhalter 16">
            <a:extLst>
              <a:ext uri="{FF2B5EF4-FFF2-40B4-BE49-F238E27FC236}">
                <a16:creationId xmlns:a16="http://schemas.microsoft.com/office/drawing/2014/main" id="{7014F03A-61A7-4B14-B49F-D025A3D18EC3}"/>
              </a:ext>
            </a:extLst>
          </p:cNvPr>
          <p:cNvSpPr>
            <a:spLocks noGrp="1"/>
          </p:cNvSpPr>
          <p:nvPr>
            <p:ph type="body" sz="quarter" idx="14" hasCustomPrompt="1"/>
          </p:nvPr>
        </p:nvSpPr>
        <p:spPr>
          <a:xfrm>
            <a:off x="5561269" y="4045011"/>
            <a:ext cx="5814777" cy="421976"/>
          </a:xfrm>
        </p:spPr>
        <p:txBody>
          <a:bodyPr anchor="ctr">
            <a:normAutofit/>
          </a:bodyPr>
          <a:lstStyle>
            <a:lvl1pPr marL="0" indent="0">
              <a:buNone/>
              <a:defRPr sz="1800">
                <a:solidFill>
                  <a:schemeClr val="tx1"/>
                </a:solidFill>
                <a:latin typeface="+mn-lt"/>
                <a:ea typeface="Roboto Medium" panose="02000000000000000000" pitchFamily="2" charset="0"/>
              </a:defRPr>
            </a:lvl1pPr>
          </a:lstStyle>
          <a:p>
            <a:pPr lvl="0"/>
            <a:r>
              <a:rPr lang="de-DE"/>
              <a:t>Enter phone</a:t>
            </a:r>
          </a:p>
        </p:txBody>
      </p:sp>
      <p:sp>
        <p:nvSpPr>
          <p:cNvPr id="28" name="Textplatzhalter 16">
            <a:extLst>
              <a:ext uri="{FF2B5EF4-FFF2-40B4-BE49-F238E27FC236}">
                <a16:creationId xmlns:a16="http://schemas.microsoft.com/office/drawing/2014/main" id="{903F4678-5805-4A88-8976-545B16AEBDEC}"/>
              </a:ext>
            </a:extLst>
          </p:cNvPr>
          <p:cNvSpPr>
            <a:spLocks noGrp="1"/>
          </p:cNvSpPr>
          <p:nvPr>
            <p:ph type="body" sz="quarter" idx="15" hasCustomPrompt="1"/>
          </p:nvPr>
        </p:nvSpPr>
        <p:spPr>
          <a:xfrm>
            <a:off x="5561270" y="4590192"/>
            <a:ext cx="5814776" cy="421976"/>
          </a:xfrm>
        </p:spPr>
        <p:txBody>
          <a:bodyPr anchor="ctr">
            <a:normAutofit/>
          </a:bodyPr>
          <a:lstStyle>
            <a:lvl1pPr marL="0" indent="0">
              <a:buNone/>
              <a:defRPr sz="1800">
                <a:solidFill>
                  <a:schemeClr val="tx1"/>
                </a:solidFill>
                <a:latin typeface="+mn-lt"/>
                <a:ea typeface="Roboto Medium" panose="02000000000000000000" pitchFamily="2" charset="0"/>
              </a:defRPr>
            </a:lvl1pPr>
          </a:lstStyle>
          <a:p>
            <a:pPr lvl="0"/>
            <a:r>
              <a:rPr lang="de-DE"/>
              <a:t>Enter email</a:t>
            </a:r>
          </a:p>
        </p:txBody>
      </p:sp>
    </p:spTree>
    <p:extLst>
      <p:ext uri="{BB962C8B-B14F-4D97-AF65-F5344CB8AC3E}">
        <p14:creationId xmlns:p14="http://schemas.microsoft.com/office/powerpoint/2010/main" val="33316282"/>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8" dur="1000" decel="10000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0-#ppt_w/2"/>
                                          </p:val>
                                        </p:tav>
                                        <p:tav tm="100000">
                                          <p:val>
                                            <p:strVal val="#ppt_x"/>
                                          </p:val>
                                        </p:tav>
                                      </p:tavLst>
                                    </p:anim>
                                    <p:anim calcmode="lin" valueType="num">
                                      <p:cBhvr additive="base">
                                        <p:cTn id="8" dur="1000" fill="hold"/>
                                        <p:tgtEl>
                                          <p:spTgt spid="2"/>
                                        </p:tgtEl>
                                        <p:attrNameLst>
                                          <p:attrName>ppt_y</p:attrName>
                                        </p:attrNameLst>
                                      </p:cBhvr>
                                      <p:tavLst>
                                        <p:tav tm="0">
                                          <p:val>
                                            <p:strVal val="#ppt_y"/>
                                          </p:val>
                                        </p:tav>
                                        <p:tav tm="100000">
                                          <p:val>
                                            <p:strVal val="#ppt_y"/>
                                          </p:val>
                                        </p:tav>
                                      </p:tavLst>
                                    </p:anim>
                                  </p:childTnLst>
                                </p:cTn>
                              </p:par>
                              <p:par>
                                <p:cTn id="9" presetID="2" presetClass="entr" presetSubtype="2" dur="1000" decel="100000" fill="hold" grpId="0" nodeType="withEffect">
                                  <p:stCondLst>
                                    <p:cond delay="250"/>
                                  </p:stCondLst>
                                  <p:childTnLst>
                                    <p:set>
                                      <p:cBhvr>
                                        <p:cTn id="10" dur="1" fill="hold">
                                          <p:stCondLst>
                                            <p:cond delay="0"/>
                                          </p:stCondLst>
                                        </p:cTn>
                                        <p:tgtEl>
                                          <p:spTgt spid="19"/>
                                        </p:tgtEl>
                                        <p:attrNameLst>
                                          <p:attrName>style.visibility</p:attrName>
                                        </p:attrNameLst>
                                      </p:cBhvr>
                                      <p:to>
                                        <p:strVal val="visible"/>
                                      </p:to>
                                    </p:set>
                                    <p:anim calcmode="lin" valueType="num">
                                      <p:cBhvr additive="base">
                                        <p:cTn id="11" dur="1000" fill="hold"/>
                                        <p:tgtEl>
                                          <p:spTgt spid="19"/>
                                        </p:tgtEl>
                                        <p:attrNameLst>
                                          <p:attrName>ppt_x</p:attrName>
                                        </p:attrNameLst>
                                      </p:cBhvr>
                                      <p:tavLst>
                                        <p:tav tm="0">
                                          <p:val>
                                            <p:strVal val="1+#ppt_w/2"/>
                                          </p:val>
                                        </p:tav>
                                        <p:tav tm="100000">
                                          <p:val>
                                            <p:strVal val="#ppt_x"/>
                                          </p:val>
                                        </p:tav>
                                      </p:tavLst>
                                    </p:anim>
                                    <p:anim calcmode="lin" valueType="num">
                                      <p:cBhvr additive="base">
                                        <p:cTn id="12" dur="1000" fill="hold"/>
                                        <p:tgtEl>
                                          <p:spTgt spid="19"/>
                                        </p:tgtEl>
                                        <p:attrNameLst>
                                          <p:attrName>ppt_y</p:attrName>
                                        </p:attrNameLst>
                                      </p:cBhvr>
                                      <p:tavLst>
                                        <p:tav tm="0">
                                          <p:val>
                                            <p:strVal val="#ppt_y"/>
                                          </p:val>
                                        </p:tav>
                                        <p:tav tm="100000">
                                          <p:val>
                                            <p:strVal val="#ppt_y"/>
                                          </p:val>
                                        </p:tav>
                                      </p:tavLst>
                                    </p:anim>
                                  </p:childTnLst>
                                </p:cTn>
                              </p:par>
                              <p:par>
                                <p:cTn id="13" presetID="2" presetClass="entr" presetSubtype="2" dur="1000" decel="100000" fill="hold" grpId="0" nodeType="withEffect">
                                  <p:stCondLst>
                                    <p:cond delay="250"/>
                                  </p:stCondLst>
                                  <p:childTnLst>
                                    <p:set>
                                      <p:cBhvr>
                                        <p:cTn id="14" dur="1" fill="hold">
                                          <p:stCondLst>
                                            <p:cond delay="0"/>
                                          </p:stCondLst>
                                        </p:cTn>
                                        <p:tgtEl>
                                          <p:spTgt spid="20"/>
                                        </p:tgtEl>
                                        <p:attrNameLst>
                                          <p:attrName>style.visibility</p:attrName>
                                        </p:attrNameLst>
                                      </p:cBhvr>
                                      <p:to>
                                        <p:strVal val="visible"/>
                                      </p:to>
                                    </p:set>
                                    <p:anim calcmode="lin" valueType="num">
                                      <p:cBhvr additive="base">
                                        <p:cTn id="15" dur="1000" fill="hold"/>
                                        <p:tgtEl>
                                          <p:spTgt spid="20"/>
                                        </p:tgtEl>
                                        <p:attrNameLst>
                                          <p:attrName>ppt_x</p:attrName>
                                        </p:attrNameLst>
                                      </p:cBhvr>
                                      <p:tavLst>
                                        <p:tav tm="0">
                                          <p:val>
                                            <p:strVal val="1+#ppt_w/2"/>
                                          </p:val>
                                        </p:tav>
                                        <p:tav tm="100000">
                                          <p:val>
                                            <p:strVal val="#ppt_x"/>
                                          </p:val>
                                        </p:tav>
                                      </p:tavLst>
                                    </p:anim>
                                    <p:anim calcmode="lin" valueType="num">
                                      <p:cBhvr additive="base">
                                        <p:cTn id="16" dur="1000" fill="hold"/>
                                        <p:tgtEl>
                                          <p:spTgt spid="20"/>
                                        </p:tgtEl>
                                        <p:attrNameLst>
                                          <p:attrName>ppt_y</p:attrName>
                                        </p:attrNameLst>
                                      </p:cBhvr>
                                      <p:tavLst>
                                        <p:tav tm="0">
                                          <p:val>
                                            <p:strVal val="#ppt_y"/>
                                          </p:val>
                                        </p:tav>
                                        <p:tav tm="100000">
                                          <p:val>
                                            <p:strVal val="#ppt_y"/>
                                          </p:val>
                                        </p:tav>
                                      </p:tavLst>
                                    </p:anim>
                                  </p:childTnLst>
                                </p:cTn>
                              </p:par>
                              <p:par>
                                <p:cTn id="17" presetID="2" presetClass="entr" presetSubtype="2" dur="1000" decel="100000" fill="hold" nodeType="withEffect">
                                  <p:stCondLst>
                                    <p:cond delay="250"/>
                                  </p:stCondLst>
                                  <p:childTnLst>
                                    <p:set>
                                      <p:cBhvr>
                                        <p:cTn id="18" dur="1" fill="hold">
                                          <p:stCondLst>
                                            <p:cond delay="0"/>
                                          </p:stCondLst>
                                        </p:cTn>
                                        <p:tgtEl>
                                          <p:spTgt spid="36"/>
                                        </p:tgtEl>
                                        <p:attrNameLst>
                                          <p:attrName>style.visibility</p:attrName>
                                        </p:attrNameLst>
                                      </p:cBhvr>
                                      <p:to>
                                        <p:strVal val="visible"/>
                                      </p:to>
                                    </p:set>
                                    <p:anim calcmode="lin" valueType="num">
                                      <p:cBhvr additive="base">
                                        <p:cTn id="19" dur="1000" fill="hold"/>
                                        <p:tgtEl>
                                          <p:spTgt spid="36"/>
                                        </p:tgtEl>
                                        <p:attrNameLst>
                                          <p:attrName>ppt_x</p:attrName>
                                        </p:attrNameLst>
                                      </p:cBhvr>
                                      <p:tavLst>
                                        <p:tav tm="0">
                                          <p:val>
                                            <p:strVal val="1+#ppt_w/2"/>
                                          </p:val>
                                        </p:tav>
                                        <p:tav tm="100000">
                                          <p:val>
                                            <p:strVal val="#ppt_x"/>
                                          </p:val>
                                        </p:tav>
                                      </p:tavLst>
                                    </p:anim>
                                    <p:anim calcmode="lin" valueType="num">
                                      <p:cBhvr additive="base">
                                        <p:cTn id="20" dur="1000" fill="hold"/>
                                        <p:tgtEl>
                                          <p:spTgt spid="36"/>
                                        </p:tgtEl>
                                        <p:attrNameLst>
                                          <p:attrName>ppt_y</p:attrName>
                                        </p:attrNameLst>
                                      </p:cBhvr>
                                      <p:tavLst>
                                        <p:tav tm="0">
                                          <p:val>
                                            <p:strVal val="#ppt_y"/>
                                          </p:val>
                                        </p:tav>
                                        <p:tav tm="100000">
                                          <p:val>
                                            <p:strVal val="#ppt_y"/>
                                          </p:val>
                                        </p:tav>
                                      </p:tavLst>
                                    </p:anim>
                                  </p:childTnLst>
                                </p:cTn>
                              </p:par>
                              <p:par>
                                <p:cTn id="21" presetID="2" presetClass="entr" presetSubtype="2" dur="1000" decel="100000" fill="hold" nodeType="withEffect">
                                  <p:stCondLst>
                                    <p:cond delay="250"/>
                                  </p:stCondLst>
                                  <p:childTnLst>
                                    <p:set>
                                      <p:cBhvr>
                                        <p:cTn id="22" dur="1" fill="hold">
                                          <p:stCondLst>
                                            <p:cond delay="0"/>
                                          </p:stCondLst>
                                        </p:cTn>
                                        <p:tgtEl>
                                          <p:spTgt spid="39"/>
                                        </p:tgtEl>
                                        <p:attrNameLst>
                                          <p:attrName>style.visibility</p:attrName>
                                        </p:attrNameLst>
                                      </p:cBhvr>
                                      <p:to>
                                        <p:strVal val="visible"/>
                                      </p:to>
                                    </p:set>
                                    <p:anim calcmode="lin" valueType="num">
                                      <p:cBhvr additive="base">
                                        <p:cTn id="23" dur="1000" fill="hold"/>
                                        <p:tgtEl>
                                          <p:spTgt spid="39"/>
                                        </p:tgtEl>
                                        <p:attrNameLst>
                                          <p:attrName>ppt_x</p:attrName>
                                        </p:attrNameLst>
                                      </p:cBhvr>
                                      <p:tavLst>
                                        <p:tav tm="0">
                                          <p:val>
                                            <p:strVal val="1+#ppt_w/2"/>
                                          </p:val>
                                        </p:tav>
                                        <p:tav tm="100000">
                                          <p:val>
                                            <p:strVal val="#ppt_x"/>
                                          </p:val>
                                        </p:tav>
                                      </p:tavLst>
                                    </p:anim>
                                    <p:anim calcmode="lin" valueType="num">
                                      <p:cBhvr additive="base">
                                        <p:cTn id="24" dur="1000" fill="hold"/>
                                        <p:tgtEl>
                                          <p:spTgt spid="39"/>
                                        </p:tgtEl>
                                        <p:attrNameLst>
                                          <p:attrName>ppt_y</p:attrName>
                                        </p:attrNameLst>
                                      </p:cBhvr>
                                      <p:tavLst>
                                        <p:tav tm="0">
                                          <p:val>
                                            <p:strVal val="#ppt_y"/>
                                          </p:val>
                                        </p:tav>
                                        <p:tav tm="100000">
                                          <p:val>
                                            <p:strVal val="#ppt_y"/>
                                          </p:val>
                                        </p:tav>
                                      </p:tavLst>
                                    </p:anim>
                                  </p:childTnLst>
                                </p:cTn>
                              </p:par>
                              <p:par>
                                <p:cTn id="25" presetID="2" presetClass="entr" presetSubtype="2" dur="1000" decel="100000" fill="hold" grpId="0" nodeType="withEffect">
                                  <p:stCondLst>
                                    <p:cond delay="250"/>
                                  </p:stCondLst>
                                  <p:childTnLst>
                                    <p:set>
                                      <p:cBhvr>
                                        <p:cTn id="26" dur="1" fill="hold">
                                          <p:stCondLst>
                                            <p:cond delay="0"/>
                                          </p:stCondLst>
                                        </p:cTn>
                                        <p:tgtEl>
                                          <p:spTgt spid="27">
                                            <p:txEl>
                                              <p:pRg st="0" end="0"/>
                                            </p:txEl>
                                          </p:spTgt>
                                        </p:tgtEl>
                                        <p:attrNameLst>
                                          <p:attrName>style.visibility</p:attrName>
                                        </p:attrNameLst>
                                      </p:cBhvr>
                                      <p:to>
                                        <p:strVal val="visible"/>
                                      </p:to>
                                    </p:set>
                                    <p:anim calcmode="lin" valueType="num">
                                      <p:cBhvr additive="base">
                                        <p:cTn id="27" dur="1000" fill="hold"/>
                                        <p:tgtEl>
                                          <p:spTgt spid="27">
                                            <p:txEl>
                                              <p:pRg st="0" end="0"/>
                                            </p:txEl>
                                          </p:spTgt>
                                        </p:tgtEl>
                                        <p:attrNameLst>
                                          <p:attrName>ppt_x</p:attrName>
                                        </p:attrNameLst>
                                      </p:cBhvr>
                                      <p:tavLst>
                                        <p:tav tm="0">
                                          <p:val>
                                            <p:strVal val="1+#ppt_w/2"/>
                                          </p:val>
                                        </p:tav>
                                        <p:tav tm="100000">
                                          <p:val>
                                            <p:strVal val="#ppt_x"/>
                                          </p:val>
                                        </p:tav>
                                      </p:tavLst>
                                    </p:anim>
                                    <p:anim calcmode="lin" valueType="num">
                                      <p:cBhvr additive="base">
                                        <p:cTn id="28" dur="1000" fill="hold"/>
                                        <p:tgtEl>
                                          <p:spTgt spid="27">
                                            <p:txEl>
                                              <p:pRg st="0" end="0"/>
                                            </p:txEl>
                                          </p:spTgt>
                                        </p:tgtEl>
                                        <p:attrNameLst>
                                          <p:attrName>ppt_y</p:attrName>
                                        </p:attrNameLst>
                                      </p:cBhvr>
                                      <p:tavLst>
                                        <p:tav tm="0">
                                          <p:val>
                                            <p:strVal val="#ppt_y"/>
                                          </p:val>
                                        </p:tav>
                                        <p:tav tm="100000">
                                          <p:val>
                                            <p:strVal val="#ppt_y"/>
                                          </p:val>
                                        </p:tav>
                                      </p:tavLst>
                                    </p:anim>
                                  </p:childTnLst>
                                </p:cTn>
                              </p:par>
                              <p:par>
                                <p:cTn id="29" presetID="2" presetClass="entr" presetSubtype="2" dur="1000" decel="100000" fill="hold" grpId="0" nodeType="withEffect">
                                  <p:stCondLst>
                                    <p:cond delay="250"/>
                                  </p:stCondLst>
                                  <p:childTnLst>
                                    <p:set>
                                      <p:cBhvr>
                                        <p:cTn id="30" dur="1" fill="hold">
                                          <p:stCondLst>
                                            <p:cond delay="0"/>
                                          </p:stCondLst>
                                        </p:cTn>
                                        <p:tgtEl>
                                          <p:spTgt spid="28">
                                            <p:txEl>
                                              <p:pRg st="0" end="0"/>
                                            </p:txEl>
                                          </p:spTgt>
                                        </p:tgtEl>
                                        <p:attrNameLst>
                                          <p:attrName>style.visibility</p:attrName>
                                        </p:attrNameLst>
                                      </p:cBhvr>
                                      <p:to>
                                        <p:strVal val="visible"/>
                                      </p:to>
                                    </p:set>
                                    <p:anim calcmode="lin" valueType="num">
                                      <p:cBhvr additive="base">
                                        <p:cTn id="31" dur="1000" fill="hold"/>
                                        <p:tgtEl>
                                          <p:spTgt spid="28">
                                            <p:txEl>
                                              <p:pRg st="0" end="0"/>
                                            </p:txEl>
                                          </p:spTgt>
                                        </p:tgtEl>
                                        <p:attrNameLst>
                                          <p:attrName>ppt_x</p:attrName>
                                        </p:attrNameLst>
                                      </p:cBhvr>
                                      <p:tavLst>
                                        <p:tav tm="0">
                                          <p:val>
                                            <p:strVal val="1+#ppt_w/2"/>
                                          </p:val>
                                        </p:tav>
                                        <p:tav tm="100000">
                                          <p:val>
                                            <p:strVal val="#ppt_x"/>
                                          </p:val>
                                        </p:tav>
                                      </p:tavLst>
                                    </p:anim>
                                    <p:anim calcmode="lin" valueType="num">
                                      <p:cBhvr additive="base">
                                        <p:cTn id="32" dur="1000" fill="hold"/>
                                        <p:tgtEl>
                                          <p:spTgt spid="28">
                                            <p:txEl>
                                              <p:pRg st="0" end="0"/>
                                            </p:txEl>
                                          </p:spTgt>
                                        </p:tgtEl>
                                        <p:attrNameLst>
                                          <p:attrName>ppt_y</p:attrName>
                                        </p:attrNameLst>
                                      </p:cBhvr>
                                      <p:tavLst>
                                        <p:tav tm="0">
                                          <p:val>
                                            <p:strVal val="#ppt_y"/>
                                          </p:val>
                                        </p:tav>
                                        <p:tav tm="100000">
                                          <p:val>
                                            <p:strVal val="#ppt_y"/>
                                          </p:val>
                                        </p:tav>
                                      </p:tavLst>
                                    </p:anim>
                                  </p:childTnLst>
                                </p:cTn>
                              </p:par>
                              <p:par>
                                <p:cTn id="33" presetID="26" presetClass="emph" presetSubtype="0" dur="2000" repeatCount="indefinite" fill="hold" grpId="0" nodeType="withEffect">
                                  <p:stCondLst>
                                    <p:cond delay="0"/>
                                  </p:stCondLst>
                                  <p:childTnLst>
                                    <p:animEffect transition="out" filter="fade">
                                      <p:cBhvr>
                                        <p:cTn id="34" dur="2000" tmFilter="0, 0; .2, .5; .8, .5; 1, 0"/>
                                        <p:tgtEl>
                                          <p:spTgt spid="309"/>
                                        </p:tgtEl>
                                      </p:cBhvr>
                                    </p:animEffect>
                                    <p:animScale>
                                      <p:cBhvr>
                                        <p:cTn id="35" dur="1000" autoRev="1" fill="hold"/>
                                        <p:tgtEl>
                                          <p:spTgt spid="309"/>
                                        </p:tgtEl>
                                      </p:cBhvr>
                                      <p:by x="105000" y="105000"/>
                                    </p:animScale>
                                  </p:childTnLst>
                                </p:cTn>
                              </p:par>
                              <p:par>
                                <p:cTn id="36" presetID="26" presetClass="emph" presetSubtype="0" dur="2000" repeatCount="indefinite" fill="hold" grpId="0" nodeType="withEffect">
                                  <p:stCondLst>
                                    <p:cond delay="0"/>
                                  </p:stCondLst>
                                  <p:childTnLst>
                                    <p:animEffect transition="out" filter="fade">
                                      <p:cBhvr>
                                        <p:cTn id="37" dur="2000" tmFilter="0, 0; .2, .5; .8, .5; 1, 0"/>
                                        <p:tgtEl>
                                          <p:spTgt spid="310"/>
                                        </p:tgtEl>
                                      </p:cBhvr>
                                    </p:animEffect>
                                    <p:animScale>
                                      <p:cBhvr>
                                        <p:cTn id="38" dur="1000" autoRev="1" fill="hold"/>
                                        <p:tgtEl>
                                          <p:spTgt spid="310"/>
                                        </p:tgtEl>
                                      </p:cBhvr>
                                      <p:by x="105000" y="105000"/>
                                    </p:animScale>
                                  </p:childTnLst>
                                </p:cTn>
                              </p:par>
                              <p:par>
                                <p:cTn id="39" presetID="26" presetClass="emph" presetSubtype="0" dur="2000" repeatCount="indefinite" fill="hold" grpId="0" nodeType="withEffect">
                                  <p:stCondLst>
                                    <p:cond delay="0"/>
                                  </p:stCondLst>
                                  <p:childTnLst>
                                    <p:animEffect transition="out" filter="fade">
                                      <p:cBhvr>
                                        <p:cTn id="40" dur="2000" tmFilter="0, 0; .2, .5; .8, .5; 1, 0"/>
                                        <p:tgtEl>
                                          <p:spTgt spid="311"/>
                                        </p:tgtEl>
                                      </p:cBhvr>
                                    </p:animEffect>
                                    <p:animScale>
                                      <p:cBhvr>
                                        <p:cTn id="41" dur="1000" autoRev="1" fill="hold"/>
                                        <p:tgtEl>
                                          <p:spTgt spid="311"/>
                                        </p:tgtEl>
                                      </p:cBhvr>
                                      <p:by x="105000" y="105000"/>
                                    </p:animScale>
                                  </p:childTnLst>
                                </p:cTn>
                              </p:par>
                              <p:par>
                                <p:cTn id="42" presetID="26" presetClass="emph" presetSubtype="0" dur="2000" repeatCount="indefinite" fill="hold" grpId="0" nodeType="withEffect">
                                  <p:stCondLst>
                                    <p:cond delay="0"/>
                                  </p:stCondLst>
                                  <p:childTnLst>
                                    <p:animEffect transition="out" filter="fade">
                                      <p:cBhvr>
                                        <p:cTn id="43" dur="2000" tmFilter="0, 0; .2, .5; .8, .5; 1, 0"/>
                                        <p:tgtEl>
                                          <p:spTgt spid="312"/>
                                        </p:tgtEl>
                                      </p:cBhvr>
                                    </p:animEffect>
                                    <p:animScale>
                                      <p:cBhvr>
                                        <p:cTn id="44" dur="1000" autoRev="1" fill="hold"/>
                                        <p:tgtEl>
                                          <p:spTgt spid="312"/>
                                        </p:tgtEl>
                                      </p:cBhvr>
                                      <p:by x="105000" y="105000"/>
                                    </p:animScale>
                                  </p:childTnLst>
                                </p:cTn>
                              </p:par>
                              <p:par>
                                <p:cTn id="45" presetID="26" presetClass="emph" presetSubtype="0" dur="2000" repeatCount="indefinite" fill="hold" grpId="0" nodeType="withEffect">
                                  <p:stCondLst>
                                    <p:cond delay="0"/>
                                  </p:stCondLst>
                                  <p:childTnLst>
                                    <p:animEffect transition="out" filter="fade">
                                      <p:cBhvr>
                                        <p:cTn id="46" dur="2000" tmFilter="0, 0; .2, .5; .8, .5; 1, 0"/>
                                        <p:tgtEl>
                                          <p:spTgt spid="313"/>
                                        </p:tgtEl>
                                      </p:cBhvr>
                                    </p:animEffect>
                                    <p:animScale>
                                      <p:cBhvr>
                                        <p:cTn id="47" dur="1000" autoRev="1" fill="hold"/>
                                        <p:tgtEl>
                                          <p:spTgt spid="313"/>
                                        </p:tgtEl>
                                      </p:cBhvr>
                                      <p:by x="105000" y="105000"/>
                                    </p:animScale>
                                  </p:childTnLst>
                                </p:cTn>
                              </p:par>
                              <p:par>
                                <p:cTn id="48" presetID="26" presetClass="emph" presetSubtype="0" dur="2000" repeatCount="indefinite" fill="hold" grpId="0" nodeType="withEffect">
                                  <p:stCondLst>
                                    <p:cond delay="250"/>
                                  </p:stCondLst>
                                  <p:childTnLst>
                                    <p:animEffect transition="out" filter="fade">
                                      <p:cBhvr>
                                        <p:cTn id="49" dur="2000" tmFilter="0, 0; .2, .5; .8, .5; 1, 0"/>
                                        <p:tgtEl>
                                          <p:spTgt spid="314"/>
                                        </p:tgtEl>
                                      </p:cBhvr>
                                    </p:animEffect>
                                    <p:animScale>
                                      <p:cBhvr>
                                        <p:cTn id="50" dur="1000" autoRev="1" fill="hold"/>
                                        <p:tgtEl>
                                          <p:spTgt spid="314"/>
                                        </p:tgtEl>
                                      </p:cBhvr>
                                      <p:by x="105000" y="105000"/>
                                    </p:animScale>
                                  </p:childTnLst>
                                </p:cTn>
                              </p:par>
                              <p:par>
                                <p:cTn id="51" presetID="26" presetClass="emph" presetSubtype="0" dur="2000" repeatCount="indefinite" fill="hold" grpId="0" nodeType="withEffect">
                                  <p:stCondLst>
                                    <p:cond delay="250"/>
                                  </p:stCondLst>
                                  <p:childTnLst>
                                    <p:animEffect transition="out" filter="fade">
                                      <p:cBhvr>
                                        <p:cTn id="52" dur="2000" tmFilter="0, 0; .2, .5; .8, .5; 1, 0"/>
                                        <p:tgtEl>
                                          <p:spTgt spid="315"/>
                                        </p:tgtEl>
                                      </p:cBhvr>
                                    </p:animEffect>
                                    <p:animScale>
                                      <p:cBhvr>
                                        <p:cTn id="53" dur="1000" autoRev="1" fill="hold"/>
                                        <p:tgtEl>
                                          <p:spTgt spid="315"/>
                                        </p:tgtEl>
                                      </p:cBhvr>
                                      <p:by x="105000" y="105000"/>
                                    </p:animScale>
                                  </p:childTnLst>
                                </p:cTn>
                              </p:par>
                              <p:par>
                                <p:cTn id="54" presetID="26" presetClass="emph" presetSubtype="0" dur="2000" repeatCount="indefinite" fill="hold" grpId="0" nodeType="withEffect">
                                  <p:stCondLst>
                                    <p:cond delay="250"/>
                                  </p:stCondLst>
                                  <p:childTnLst>
                                    <p:animEffect transition="out" filter="fade">
                                      <p:cBhvr>
                                        <p:cTn id="55" dur="2000" tmFilter="0, 0; .2, .5; .8, .5; 1, 0"/>
                                        <p:tgtEl>
                                          <p:spTgt spid="316"/>
                                        </p:tgtEl>
                                      </p:cBhvr>
                                    </p:animEffect>
                                    <p:animScale>
                                      <p:cBhvr>
                                        <p:cTn id="56" dur="1000" autoRev="1" fill="hold"/>
                                        <p:tgtEl>
                                          <p:spTgt spid="316"/>
                                        </p:tgtEl>
                                      </p:cBhvr>
                                      <p:by x="105000" y="105000"/>
                                    </p:animScale>
                                  </p:childTnLst>
                                </p:cTn>
                              </p:par>
                              <p:par>
                                <p:cTn id="57" presetID="26" presetClass="emph" presetSubtype="0" dur="2000" repeatCount="indefinite" fill="hold" grpId="0" nodeType="withEffect">
                                  <p:stCondLst>
                                    <p:cond delay="250"/>
                                  </p:stCondLst>
                                  <p:childTnLst>
                                    <p:animEffect transition="out" filter="fade">
                                      <p:cBhvr>
                                        <p:cTn id="58" dur="2000" tmFilter="0, 0; .2, .5; .8, .5; 1, 0"/>
                                        <p:tgtEl>
                                          <p:spTgt spid="317"/>
                                        </p:tgtEl>
                                      </p:cBhvr>
                                    </p:animEffect>
                                    <p:animScale>
                                      <p:cBhvr>
                                        <p:cTn id="59" dur="1000" autoRev="1" fill="hold"/>
                                        <p:tgtEl>
                                          <p:spTgt spid="317"/>
                                        </p:tgtEl>
                                      </p:cBhvr>
                                      <p:by x="105000" y="105000"/>
                                    </p:animScale>
                                  </p:childTnLst>
                                </p:cTn>
                              </p:par>
                              <p:par>
                                <p:cTn id="60" presetID="26" presetClass="emph" presetSubtype="0" dur="2000" repeatCount="indefinite" fill="hold" grpId="0" nodeType="withEffect">
                                  <p:stCondLst>
                                    <p:cond delay="250"/>
                                  </p:stCondLst>
                                  <p:childTnLst>
                                    <p:animEffect transition="out" filter="fade">
                                      <p:cBhvr>
                                        <p:cTn id="61" dur="2000" tmFilter="0, 0; .2, .5; .8, .5; 1, 0"/>
                                        <p:tgtEl>
                                          <p:spTgt spid="318"/>
                                        </p:tgtEl>
                                      </p:cBhvr>
                                    </p:animEffect>
                                    <p:animScale>
                                      <p:cBhvr>
                                        <p:cTn id="62" dur="1000" autoRev="1" fill="hold"/>
                                        <p:tgtEl>
                                          <p:spTgt spid="318"/>
                                        </p:tgtEl>
                                      </p:cBhvr>
                                      <p:by x="105000" y="105000"/>
                                    </p:animScale>
                                  </p:childTnLst>
                                </p:cTn>
                              </p:par>
                              <p:par>
                                <p:cTn id="63" presetID="26" presetClass="emph" presetSubtype="0" dur="2000" repeatCount="indefinite" fill="hold" grpId="0" nodeType="withEffect">
                                  <p:stCondLst>
                                    <p:cond delay="250"/>
                                  </p:stCondLst>
                                  <p:childTnLst>
                                    <p:animEffect transition="out" filter="fade">
                                      <p:cBhvr>
                                        <p:cTn id="64" dur="2000" tmFilter="0, 0; .2, .5; .8, .5; 1, 0"/>
                                        <p:tgtEl>
                                          <p:spTgt spid="319"/>
                                        </p:tgtEl>
                                      </p:cBhvr>
                                    </p:animEffect>
                                    <p:animScale>
                                      <p:cBhvr>
                                        <p:cTn id="65" dur="1000" autoRev="1" fill="hold"/>
                                        <p:tgtEl>
                                          <p:spTgt spid="319"/>
                                        </p:tgtEl>
                                      </p:cBhvr>
                                      <p:by x="105000" y="105000"/>
                                    </p:animScale>
                                  </p:childTnLst>
                                </p:cTn>
                              </p:par>
                              <p:par>
                                <p:cTn id="66" presetID="26" presetClass="emph" presetSubtype="0" dur="2000" repeatCount="indefinite" fill="hold" grpId="0" nodeType="withEffect">
                                  <p:stCondLst>
                                    <p:cond delay="250"/>
                                  </p:stCondLst>
                                  <p:childTnLst>
                                    <p:animEffect transition="out" filter="fade">
                                      <p:cBhvr>
                                        <p:cTn id="67" dur="2000" tmFilter="0, 0; .2, .5; .8, .5; 1, 0"/>
                                        <p:tgtEl>
                                          <p:spTgt spid="320"/>
                                        </p:tgtEl>
                                      </p:cBhvr>
                                    </p:animEffect>
                                    <p:animScale>
                                      <p:cBhvr>
                                        <p:cTn id="68" dur="1000" autoRev="1" fill="hold"/>
                                        <p:tgtEl>
                                          <p:spTgt spid="320"/>
                                        </p:tgtEl>
                                      </p:cBhvr>
                                      <p:by x="105000" y="105000"/>
                                    </p:animScale>
                                  </p:childTnLst>
                                </p:cTn>
                              </p:par>
                              <p:par>
                                <p:cTn id="69" presetID="26" presetClass="emph" presetSubtype="0" dur="2000" repeatCount="indefinite" fill="hold" grpId="0" nodeType="withEffect">
                                  <p:stCondLst>
                                    <p:cond delay="500"/>
                                  </p:stCondLst>
                                  <p:childTnLst>
                                    <p:animEffect transition="out" filter="fade">
                                      <p:cBhvr>
                                        <p:cTn id="70" dur="2000" tmFilter="0, 0; .2, .5; .8, .5; 1, 0"/>
                                        <p:tgtEl>
                                          <p:spTgt spid="321"/>
                                        </p:tgtEl>
                                      </p:cBhvr>
                                    </p:animEffect>
                                    <p:animScale>
                                      <p:cBhvr>
                                        <p:cTn id="71" dur="1000" autoRev="1" fill="hold"/>
                                        <p:tgtEl>
                                          <p:spTgt spid="321"/>
                                        </p:tgtEl>
                                      </p:cBhvr>
                                      <p:by x="105000" y="105000"/>
                                    </p:animScale>
                                  </p:childTnLst>
                                </p:cTn>
                              </p:par>
                              <p:par>
                                <p:cTn id="72" presetID="26" presetClass="emph" presetSubtype="0" dur="2000" repeatCount="indefinite" fill="hold" grpId="0" nodeType="withEffect">
                                  <p:stCondLst>
                                    <p:cond delay="500"/>
                                  </p:stCondLst>
                                  <p:childTnLst>
                                    <p:animEffect transition="out" filter="fade">
                                      <p:cBhvr>
                                        <p:cTn id="73" dur="2000" tmFilter="0, 0; .2, .5; .8, .5; 1, 0"/>
                                        <p:tgtEl>
                                          <p:spTgt spid="322"/>
                                        </p:tgtEl>
                                      </p:cBhvr>
                                    </p:animEffect>
                                    <p:animScale>
                                      <p:cBhvr>
                                        <p:cTn id="74" dur="1000" autoRev="1" fill="hold"/>
                                        <p:tgtEl>
                                          <p:spTgt spid="322"/>
                                        </p:tgtEl>
                                      </p:cBhvr>
                                      <p:by x="105000" y="105000"/>
                                    </p:animScale>
                                  </p:childTnLst>
                                </p:cTn>
                              </p:par>
                              <p:par>
                                <p:cTn id="75" presetID="26" presetClass="emph" presetSubtype="0" dur="2000" repeatCount="indefinite" fill="hold" grpId="0" nodeType="withEffect">
                                  <p:stCondLst>
                                    <p:cond delay="500"/>
                                  </p:stCondLst>
                                  <p:childTnLst>
                                    <p:animEffect transition="out" filter="fade">
                                      <p:cBhvr>
                                        <p:cTn id="76" dur="2000" tmFilter="0, 0; .2, .5; .8, .5; 1, 0"/>
                                        <p:tgtEl>
                                          <p:spTgt spid="323"/>
                                        </p:tgtEl>
                                      </p:cBhvr>
                                    </p:animEffect>
                                    <p:animScale>
                                      <p:cBhvr>
                                        <p:cTn id="77" dur="1000" autoRev="1" fill="hold"/>
                                        <p:tgtEl>
                                          <p:spTgt spid="323"/>
                                        </p:tgtEl>
                                      </p:cBhvr>
                                      <p:by x="105000" y="105000"/>
                                    </p:animScale>
                                  </p:childTnLst>
                                </p:cTn>
                              </p:par>
                              <p:par>
                                <p:cTn id="78" presetID="26" presetClass="emph" presetSubtype="0" dur="2000" repeatCount="indefinite" fill="hold" grpId="0" nodeType="withEffect">
                                  <p:stCondLst>
                                    <p:cond delay="500"/>
                                  </p:stCondLst>
                                  <p:childTnLst>
                                    <p:animEffect transition="out" filter="fade">
                                      <p:cBhvr>
                                        <p:cTn id="79" dur="2000" tmFilter="0, 0; .2, .5; .8, .5; 1, 0"/>
                                        <p:tgtEl>
                                          <p:spTgt spid="324"/>
                                        </p:tgtEl>
                                      </p:cBhvr>
                                    </p:animEffect>
                                    <p:animScale>
                                      <p:cBhvr>
                                        <p:cTn id="80" dur="1000" autoRev="1" fill="hold"/>
                                        <p:tgtEl>
                                          <p:spTgt spid="324"/>
                                        </p:tgtEl>
                                      </p:cBhvr>
                                      <p:by x="105000" y="105000"/>
                                    </p:animScale>
                                  </p:childTnLst>
                                </p:cTn>
                              </p:par>
                              <p:par>
                                <p:cTn id="81" presetID="26" presetClass="emph" presetSubtype="0" dur="2000" repeatCount="indefinite" fill="hold" grpId="0" nodeType="withEffect">
                                  <p:stCondLst>
                                    <p:cond delay="500"/>
                                  </p:stCondLst>
                                  <p:childTnLst>
                                    <p:animEffect transition="out" filter="fade">
                                      <p:cBhvr>
                                        <p:cTn id="82" dur="2000" tmFilter="0, 0; .2, .5; .8, .5; 1, 0"/>
                                        <p:tgtEl>
                                          <p:spTgt spid="325"/>
                                        </p:tgtEl>
                                      </p:cBhvr>
                                    </p:animEffect>
                                    <p:animScale>
                                      <p:cBhvr>
                                        <p:cTn id="83" dur="1000" autoRev="1" fill="hold"/>
                                        <p:tgtEl>
                                          <p:spTgt spid="325"/>
                                        </p:tgtEl>
                                      </p:cBhvr>
                                      <p:by x="105000" y="105000"/>
                                    </p:animScale>
                                  </p:childTnLst>
                                </p:cTn>
                              </p:par>
                              <p:par>
                                <p:cTn id="84" presetID="26" presetClass="emph" presetSubtype="0" dur="2000" repeatCount="indefinite" fill="hold" grpId="0" nodeType="withEffect">
                                  <p:stCondLst>
                                    <p:cond delay="500"/>
                                  </p:stCondLst>
                                  <p:childTnLst>
                                    <p:animEffect transition="out" filter="fade">
                                      <p:cBhvr>
                                        <p:cTn id="85" dur="2000" tmFilter="0, 0; .2, .5; .8, .5; 1, 0"/>
                                        <p:tgtEl>
                                          <p:spTgt spid="326"/>
                                        </p:tgtEl>
                                      </p:cBhvr>
                                    </p:animEffect>
                                    <p:animScale>
                                      <p:cBhvr>
                                        <p:cTn id="86" dur="1000" autoRev="1" fill="hold"/>
                                        <p:tgtEl>
                                          <p:spTgt spid="326"/>
                                        </p:tgtEl>
                                      </p:cBhvr>
                                      <p:by x="105000" y="105000"/>
                                    </p:animScale>
                                  </p:childTnLst>
                                </p:cTn>
                              </p:par>
                              <p:par>
                                <p:cTn id="87" presetID="26" presetClass="emph" presetSubtype="0" dur="2000" repeatCount="indefinite" fill="hold" grpId="0" nodeType="withEffect">
                                  <p:stCondLst>
                                    <p:cond delay="500"/>
                                  </p:stCondLst>
                                  <p:childTnLst>
                                    <p:animEffect transition="out" filter="fade">
                                      <p:cBhvr>
                                        <p:cTn id="88" dur="2000" tmFilter="0, 0; .2, .5; .8, .5; 1, 0"/>
                                        <p:tgtEl>
                                          <p:spTgt spid="327"/>
                                        </p:tgtEl>
                                      </p:cBhvr>
                                    </p:animEffect>
                                    <p:animScale>
                                      <p:cBhvr>
                                        <p:cTn id="89" dur="1000" autoRev="1" fill="hold"/>
                                        <p:tgtEl>
                                          <p:spTgt spid="327"/>
                                        </p:tgtEl>
                                      </p:cBhvr>
                                      <p:by x="105000" y="105000"/>
                                    </p:animScale>
                                  </p:childTnLst>
                                </p:cTn>
                              </p:par>
                              <p:par>
                                <p:cTn id="90" presetID="26" presetClass="emph" presetSubtype="0" dur="2000" repeatCount="indefinite" fill="hold" grpId="0" nodeType="withEffect">
                                  <p:stCondLst>
                                    <p:cond delay="500"/>
                                  </p:stCondLst>
                                  <p:childTnLst>
                                    <p:animEffect transition="out" filter="fade">
                                      <p:cBhvr>
                                        <p:cTn id="91" dur="2000" tmFilter="0, 0; .2, .5; .8, .5; 1, 0"/>
                                        <p:tgtEl>
                                          <p:spTgt spid="328"/>
                                        </p:tgtEl>
                                      </p:cBhvr>
                                    </p:animEffect>
                                    <p:animScale>
                                      <p:cBhvr>
                                        <p:cTn id="92" dur="1000" autoRev="1" fill="hold"/>
                                        <p:tgtEl>
                                          <p:spTgt spid="328"/>
                                        </p:tgtEl>
                                      </p:cBhvr>
                                      <p:by x="105000" y="105000"/>
                                    </p:animScale>
                                  </p:childTnLst>
                                </p:cTn>
                              </p:par>
                              <p:par>
                                <p:cTn id="93" presetID="26" presetClass="emph" presetSubtype="0" dur="2000" repeatCount="indefinite" fill="hold" grpId="0" nodeType="withEffect">
                                  <p:stCondLst>
                                    <p:cond delay="500"/>
                                  </p:stCondLst>
                                  <p:childTnLst>
                                    <p:animEffect transition="out" filter="fade">
                                      <p:cBhvr>
                                        <p:cTn id="94" dur="2000" tmFilter="0, 0; .2, .5; .8, .5; 1, 0"/>
                                        <p:tgtEl>
                                          <p:spTgt spid="329"/>
                                        </p:tgtEl>
                                      </p:cBhvr>
                                    </p:animEffect>
                                    <p:animScale>
                                      <p:cBhvr>
                                        <p:cTn id="95" dur="1000" autoRev="1" fill="hold"/>
                                        <p:tgtEl>
                                          <p:spTgt spid="329"/>
                                        </p:tgtEl>
                                      </p:cBhvr>
                                      <p:by x="105000" y="105000"/>
                                    </p:animScale>
                                  </p:childTnLst>
                                </p:cTn>
                              </p:par>
                              <p:par>
                                <p:cTn id="96" presetID="26" presetClass="emph" presetSubtype="0" dur="2000" repeatCount="indefinite" fill="hold" grpId="0" nodeType="withEffect">
                                  <p:stCondLst>
                                    <p:cond delay="750"/>
                                  </p:stCondLst>
                                  <p:childTnLst>
                                    <p:animEffect transition="out" filter="fade">
                                      <p:cBhvr>
                                        <p:cTn id="97" dur="2000" tmFilter="0, 0; .2, .5; .8, .5; 1, 0"/>
                                        <p:tgtEl>
                                          <p:spTgt spid="330"/>
                                        </p:tgtEl>
                                      </p:cBhvr>
                                    </p:animEffect>
                                    <p:animScale>
                                      <p:cBhvr>
                                        <p:cTn id="98" dur="1000" autoRev="1" fill="hold"/>
                                        <p:tgtEl>
                                          <p:spTgt spid="330"/>
                                        </p:tgtEl>
                                      </p:cBhvr>
                                      <p:by x="105000" y="105000"/>
                                    </p:animScale>
                                  </p:childTnLst>
                                </p:cTn>
                              </p:par>
                              <p:par>
                                <p:cTn id="99" presetID="26" presetClass="emph" presetSubtype="0" dur="2000" repeatCount="indefinite" fill="hold" grpId="0" nodeType="withEffect">
                                  <p:stCondLst>
                                    <p:cond delay="750"/>
                                  </p:stCondLst>
                                  <p:childTnLst>
                                    <p:animEffect transition="out" filter="fade">
                                      <p:cBhvr>
                                        <p:cTn id="100" dur="2000" tmFilter="0, 0; .2, .5; .8, .5; 1, 0"/>
                                        <p:tgtEl>
                                          <p:spTgt spid="331"/>
                                        </p:tgtEl>
                                      </p:cBhvr>
                                    </p:animEffect>
                                    <p:animScale>
                                      <p:cBhvr>
                                        <p:cTn id="101" dur="1000" autoRev="1" fill="hold"/>
                                        <p:tgtEl>
                                          <p:spTgt spid="331"/>
                                        </p:tgtEl>
                                      </p:cBhvr>
                                      <p:by x="105000" y="105000"/>
                                    </p:animScale>
                                  </p:childTnLst>
                                </p:cTn>
                              </p:par>
                              <p:par>
                                <p:cTn id="102" presetID="26" presetClass="emph" presetSubtype="0" dur="2000" repeatCount="indefinite" fill="hold" grpId="0" nodeType="withEffect">
                                  <p:stCondLst>
                                    <p:cond delay="750"/>
                                  </p:stCondLst>
                                  <p:childTnLst>
                                    <p:animEffect transition="out" filter="fade">
                                      <p:cBhvr>
                                        <p:cTn id="103" dur="2000" tmFilter="0, 0; .2, .5; .8, .5; 1, 0"/>
                                        <p:tgtEl>
                                          <p:spTgt spid="332"/>
                                        </p:tgtEl>
                                      </p:cBhvr>
                                    </p:animEffect>
                                    <p:animScale>
                                      <p:cBhvr>
                                        <p:cTn id="104" dur="1000" autoRev="1" fill="hold"/>
                                        <p:tgtEl>
                                          <p:spTgt spid="332"/>
                                        </p:tgtEl>
                                      </p:cBhvr>
                                      <p:by x="105000" y="105000"/>
                                    </p:animScale>
                                  </p:childTnLst>
                                </p:cTn>
                              </p:par>
                              <p:par>
                                <p:cTn id="105" presetID="26" presetClass="emph" presetSubtype="0" dur="2000" repeatCount="indefinite" fill="hold" grpId="0" nodeType="withEffect">
                                  <p:stCondLst>
                                    <p:cond delay="750"/>
                                  </p:stCondLst>
                                  <p:childTnLst>
                                    <p:animEffect transition="out" filter="fade">
                                      <p:cBhvr>
                                        <p:cTn id="106" dur="2000" tmFilter="0, 0; .2, .5; .8, .5; 1, 0"/>
                                        <p:tgtEl>
                                          <p:spTgt spid="333"/>
                                        </p:tgtEl>
                                      </p:cBhvr>
                                    </p:animEffect>
                                    <p:animScale>
                                      <p:cBhvr>
                                        <p:cTn id="107" dur="1000" autoRev="1" fill="hold"/>
                                        <p:tgtEl>
                                          <p:spTgt spid="333"/>
                                        </p:tgtEl>
                                      </p:cBhvr>
                                      <p:by x="105000" y="105000"/>
                                    </p:animScale>
                                  </p:childTnLst>
                                </p:cTn>
                              </p:par>
                              <p:par>
                                <p:cTn id="108" presetID="26" presetClass="emph" presetSubtype="0" dur="2000" repeatCount="indefinite" fill="hold" grpId="0" nodeType="withEffect">
                                  <p:stCondLst>
                                    <p:cond delay="750"/>
                                  </p:stCondLst>
                                  <p:childTnLst>
                                    <p:animEffect transition="out" filter="fade">
                                      <p:cBhvr>
                                        <p:cTn id="109" dur="2000" tmFilter="0, 0; .2, .5; .8, .5; 1, 0"/>
                                        <p:tgtEl>
                                          <p:spTgt spid="334"/>
                                        </p:tgtEl>
                                      </p:cBhvr>
                                    </p:animEffect>
                                    <p:animScale>
                                      <p:cBhvr>
                                        <p:cTn id="110" dur="1000" autoRev="1" fill="hold"/>
                                        <p:tgtEl>
                                          <p:spTgt spid="334"/>
                                        </p:tgtEl>
                                      </p:cBhvr>
                                      <p:by x="105000" y="105000"/>
                                    </p:animScale>
                                  </p:childTnLst>
                                </p:cTn>
                              </p:par>
                              <p:par>
                                <p:cTn id="111" presetID="26" presetClass="emph" presetSubtype="0" dur="2000" repeatCount="indefinite" fill="hold" grpId="0" nodeType="withEffect">
                                  <p:stCondLst>
                                    <p:cond delay="750"/>
                                  </p:stCondLst>
                                  <p:childTnLst>
                                    <p:animEffect transition="out" filter="fade">
                                      <p:cBhvr>
                                        <p:cTn id="112" dur="2000" tmFilter="0, 0; .2, .5; .8, .5; 1, 0"/>
                                        <p:tgtEl>
                                          <p:spTgt spid="335"/>
                                        </p:tgtEl>
                                      </p:cBhvr>
                                    </p:animEffect>
                                    <p:animScale>
                                      <p:cBhvr>
                                        <p:cTn id="113" dur="1000" autoRev="1" fill="hold"/>
                                        <p:tgtEl>
                                          <p:spTgt spid="335"/>
                                        </p:tgtEl>
                                      </p:cBhvr>
                                      <p:by x="105000" y="105000"/>
                                    </p:animScale>
                                  </p:childTnLst>
                                </p:cTn>
                              </p:par>
                              <p:par>
                                <p:cTn id="114" presetID="26" presetClass="emph" presetSubtype="0" dur="2000" repeatCount="indefinite" fill="hold" grpId="0" nodeType="withEffect">
                                  <p:stCondLst>
                                    <p:cond delay="750"/>
                                  </p:stCondLst>
                                  <p:childTnLst>
                                    <p:animEffect transition="out" filter="fade">
                                      <p:cBhvr>
                                        <p:cTn id="115" dur="2000" tmFilter="0, 0; .2, .5; .8, .5; 1, 0"/>
                                        <p:tgtEl>
                                          <p:spTgt spid="336"/>
                                        </p:tgtEl>
                                      </p:cBhvr>
                                    </p:animEffect>
                                    <p:animScale>
                                      <p:cBhvr>
                                        <p:cTn id="116" dur="1000" autoRev="1" fill="hold"/>
                                        <p:tgtEl>
                                          <p:spTgt spid="336"/>
                                        </p:tgtEl>
                                      </p:cBhvr>
                                      <p:by x="105000" y="105000"/>
                                    </p:animScale>
                                  </p:childTnLst>
                                </p:cTn>
                              </p:par>
                              <p:par>
                                <p:cTn id="117" presetID="26" presetClass="emph" presetSubtype="0" dur="2000" repeatCount="indefinite" fill="hold" grpId="0" nodeType="withEffect">
                                  <p:stCondLst>
                                    <p:cond delay="750"/>
                                  </p:stCondLst>
                                  <p:childTnLst>
                                    <p:animEffect transition="out" filter="fade">
                                      <p:cBhvr>
                                        <p:cTn id="118" dur="2000" tmFilter="0, 0; .2, .5; .8, .5; 1, 0"/>
                                        <p:tgtEl>
                                          <p:spTgt spid="337"/>
                                        </p:tgtEl>
                                      </p:cBhvr>
                                    </p:animEffect>
                                    <p:animScale>
                                      <p:cBhvr>
                                        <p:cTn id="119" dur="1000" autoRev="1" fill="hold"/>
                                        <p:tgtEl>
                                          <p:spTgt spid="337"/>
                                        </p:tgtEl>
                                      </p:cBhvr>
                                      <p:by x="105000" y="105000"/>
                                    </p:animScale>
                                  </p:childTnLst>
                                </p:cTn>
                              </p:par>
                              <p:par>
                                <p:cTn id="120" presetID="26" presetClass="emph" presetSubtype="0" dur="2000" repeatCount="indefinite" fill="hold" grpId="0" nodeType="withEffect">
                                  <p:stCondLst>
                                    <p:cond delay="750"/>
                                  </p:stCondLst>
                                  <p:childTnLst>
                                    <p:animEffect transition="out" filter="fade">
                                      <p:cBhvr>
                                        <p:cTn id="121" dur="2000" tmFilter="0, 0; .2, .5; .8, .5; 1, 0"/>
                                        <p:tgtEl>
                                          <p:spTgt spid="338"/>
                                        </p:tgtEl>
                                      </p:cBhvr>
                                    </p:animEffect>
                                    <p:animScale>
                                      <p:cBhvr>
                                        <p:cTn id="122" dur="1000" autoRev="1" fill="hold"/>
                                        <p:tgtEl>
                                          <p:spTgt spid="338"/>
                                        </p:tgtEl>
                                      </p:cBhvr>
                                      <p:by x="105000" y="105000"/>
                                    </p:animScale>
                                  </p:childTnLst>
                                </p:cTn>
                              </p:par>
                              <p:par>
                                <p:cTn id="123" presetID="26" presetClass="emph" presetSubtype="0" dur="2000" repeatCount="indefinite" fill="hold" grpId="0" nodeType="withEffect">
                                  <p:stCondLst>
                                    <p:cond delay="750"/>
                                  </p:stCondLst>
                                  <p:childTnLst>
                                    <p:animEffect transition="out" filter="fade">
                                      <p:cBhvr>
                                        <p:cTn id="124" dur="2000" tmFilter="0, 0; .2, .5; .8, .5; 1, 0"/>
                                        <p:tgtEl>
                                          <p:spTgt spid="339"/>
                                        </p:tgtEl>
                                      </p:cBhvr>
                                    </p:animEffect>
                                    <p:animScale>
                                      <p:cBhvr>
                                        <p:cTn id="125" dur="1000" autoRev="1" fill="hold"/>
                                        <p:tgtEl>
                                          <p:spTgt spid="339"/>
                                        </p:tgtEl>
                                      </p:cBhvr>
                                      <p:by x="105000" y="105000"/>
                                    </p:animScale>
                                  </p:childTnLst>
                                </p:cTn>
                              </p:par>
                              <p:par>
                                <p:cTn id="126" presetID="26" presetClass="emph" presetSubtype="0" dur="2000" repeatCount="indefinite" fill="hold" grpId="0" nodeType="withEffect">
                                  <p:stCondLst>
                                    <p:cond delay="750"/>
                                  </p:stCondLst>
                                  <p:childTnLst>
                                    <p:animEffect transition="out" filter="fade">
                                      <p:cBhvr>
                                        <p:cTn id="127" dur="2000" tmFilter="0, 0; .2, .5; .8, .5; 1, 0"/>
                                        <p:tgtEl>
                                          <p:spTgt spid="340"/>
                                        </p:tgtEl>
                                      </p:cBhvr>
                                    </p:animEffect>
                                    <p:animScale>
                                      <p:cBhvr>
                                        <p:cTn id="128" dur="1000" autoRev="1" fill="hold"/>
                                        <p:tgtEl>
                                          <p:spTgt spid="340"/>
                                        </p:tgtEl>
                                      </p:cBhvr>
                                      <p:by x="105000" y="105000"/>
                                    </p:animScale>
                                  </p:childTnLst>
                                </p:cTn>
                              </p:par>
                              <p:par>
                                <p:cTn id="129" presetID="26" presetClass="emph" presetSubtype="0" dur="2000" repeatCount="indefinite" fill="hold" grpId="0" nodeType="withEffect">
                                  <p:stCondLst>
                                    <p:cond delay="1000"/>
                                  </p:stCondLst>
                                  <p:childTnLst>
                                    <p:animEffect transition="out" filter="fade">
                                      <p:cBhvr>
                                        <p:cTn id="130" dur="2000" tmFilter="0, 0; .2, .5; .8, .5; 1, 0"/>
                                        <p:tgtEl>
                                          <p:spTgt spid="341"/>
                                        </p:tgtEl>
                                      </p:cBhvr>
                                    </p:animEffect>
                                    <p:animScale>
                                      <p:cBhvr>
                                        <p:cTn id="131" dur="1000" autoRev="1" fill="hold"/>
                                        <p:tgtEl>
                                          <p:spTgt spid="341"/>
                                        </p:tgtEl>
                                      </p:cBhvr>
                                      <p:by x="105000" y="105000"/>
                                    </p:animScale>
                                  </p:childTnLst>
                                </p:cTn>
                              </p:par>
                              <p:par>
                                <p:cTn id="132" presetID="26" presetClass="emph" presetSubtype="0" dur="2000" repeatCount="indefinite" fill="hold" grpId="0" nodeType="withEffect">
                                  <p:stCondLst>
                                    <p:cond delay="1000"/>
                                  </p:stCondLst>
                                  <p:childTnLst>
                                    <p:animEffect transition="out" filter="fade">
                                      <p:cBhvr>
                                        <p:cTn id="133" dur="2000" tmFilter="0, 0; .2, .5; .8, .5; 1, 0"/>
                                        <p:tgtEl>
                                          <p:spTgt spid="342"/>
                                        </p:tgtEl>
                                      </p:cBhvr>
                                    </p:animEffect>
                                    <p:animScale>
                                      <p:cBhvr>
                                        <p:cTn id="134" dur="1000" autoRev="1" fill="hold"/>
                                        <p:tgtEl>
                                          <p:spTgt spid="342"/>
                                        </p:tgtEl>
                                      </p:cBhvr>
                                      <p:by x="105000" y="105000"/>
                                    </p:animScale>
                                  </p:childTnLst>
                                </p:cTn>
                              </p:par>
                              <p:par>
                                <p:cTn id="135" presetID="26" presetClass="emph" presetSubtype="0" dur="2000" repeatCount="indefinite" fill="hold" grpId="0" nodeType="withEffect">
                                  <p:stCondLst>
                                    <p:cond delay="1000"/>
                                  </p:stCondLst>
                                  <p:childTnLst>
                                    <p:animEffect transition="out" filter="fade">
                                      <p:cBhvr>
                                        <p:cTn id="136" dur="2000" tmFilter="0, 0; .2, .5; .8, .5; 1, 0"/>
                                        <p:tgtEl>
                                          <p:spTgt spid="343"/>
                                        </p:tgtEl>
                                      </p:cBhvr>
                                    </p:animEffect>
                                    <p:animScale>
                                      <p:cBhvr>
                                        <p:cTn id="137" dur="1000" autoRev="1" fill="hold"/>
                                        <p:tgtEl>
                                          <p:spTgt spid="343"/>
                                        </p:tgtEl>
                                      </p:cBhvr>
                                      <p:by x="105000" y="105000"/>
                                    </p:animScale>
                                  </p:childTnLst>
                                </p:cTn>
                              </p:par>
                              <p:par>
                                <p:cTn id="138" presetID="26" presetClass="emph" presetSubtype="0" dur="2000" repeatCount="indefinite" fill="hold" grpId="0" nodeType="withEffect">
                                  <p:stCondLst>
                                    <p:cond delay="1000"/>
                                  </p:stCondLst>
                                  <p:childTnLst>
                                    <p:animEffect transition="out" filter="fade">
                                      <p:cBhvr>
                                        <p:cTn id="139" dur="2000" tmFilter="0, 0; .2, .5; .8, .5; 1, 0"/>
                                        <p:tgtEl>
                                          <p:spTgt spid="344"/>
                                        </p:tgtEl>
                                      </p:cBhvr>
                                    </p:animEffect>
                                    <p:animScale>
                                      <p:cBhvr>
                                        <p:cTn id="140" dur="1000" autoRev="1" fill="hold"/>
                                        <p:tgtEl>
                                          <p:spTgt spid="344"/>
                                        </p:tgtEl>
                                      </p:cBhvr>
                                      <p:by x="105000" y="105000"/>
                                    </p:animScale>
                                  </p:childTnLst>
                                </p:cTn>
                              </p:par>
                              <p:par>
                                <p:cTn id="141" presetID="26" presetClass="emph" presetSubtype="0" dur="2000" repeatCount="indefinite" fill="hold" grpId="0" nodeType="withEffect">
                                  <p:stCondLst>
                                    <p:cond delay="1000"/>
                                  </p:stCondLst>
                                  <p:childTnLst>
                                    <p:animEffect transition="out" filter="fade">
                                      <p:cBhvr>
                                        <p:cTn id="142" dur="2000" tmFilter="0, 0; .2, .5; .8, .5; 1, 0"/>
                                        <p:tgtEl>
                                          <p:spTgt spid="345"/>
                                        </p:tgtEl>
                                      </p:cBhvr>
                                    </p:animEffect>
                                    <p:animScale>
                                      <p:cBhvr>
                                        <p:cTn id="143" dur="1000" autoRev="1" fill="hold"/>
                                        <p:tgtEl>
                                          <p:spTgt spid="345"/>
                                        </p:tgtEl>
                                      </p:cBhvr>
                                      <p:by x="105000" y="105000"/>
                                    </p:animScale>
                                  </p:childTnLst>
                                </p:cTn>
                              </p:par>
                              <p:par>
                                <p:cTn id="144" presetID="26" presetClass="emph" presetSubtype="0" dur="2000" repeatCount="indefinite" fill="hold" grpId="0" nodeType="withEffect">
                                  <p:stCondLst>
                                    <p:cond delay="1000"/>
                                  </p:stCondLst>
                                  <p:childTnLst>
                                    <p:animEffect transition="out" filter="fade">
                                      <p:cBhvr>
                                        <p:cTn id="145" dur="2000" tmFilter="0, 0; .2, .5; .8, .5; 1, 0"/>
                                        <p:tgtEl>
                                          <p:spTgt spid="346"/>
                                        </p:tgtEl>
                                      </p:cBhvr>
                                    </p:animEffect>
                                    <p:animScale>
                                      <p:cBhvr>
                                        <p:cTn id="146" dur="1000" autoRev="1" fill="hold"/>
                                        <p:tgtEl>
                                          <p:spTgt spid="346"/>
                                        </p:tgtEl>
                                      </p:cBhvr>
                                      <p:by x="105000" y="105000"/>
                                    </p:animScale>
                                  </p:childTnLst>
                                </p:cTn>
                              </p:par>
                              <p:par>
                                <p:cTn id="147" presetID="26" presetClass="emph" presetSubtype="0" dur="2000" repeatCount="indefinite" fill="hold" grpId="0" nodeType="withEffect">
                                  <p:stCondLst>
                                    <p:cond delay="1000"/>
                                  </p:stCondLst>
                                  <p:childTnLst>
                                    <p:animEffect transition="out" filter="fade">
                                      <p:cBhvr>
                                        <p:cTn id="148" dur="2000" tmFilter="0, 0; .2, .5; .8, .5; 1, 0"/>
                                        <p:tgtEl>
                                          <p:spTgt spid="347"/>
                                        </p:tgtEl>
                                      </p:cBhvr>
                                    </p:animEffect>
                                    <p:animScale>
                                      <p:cBhvr>
                                        <p:cTn id="149" dur="1000" autoRev="1" fill="hold"/>
                                        <p:tgtEl>
                                          <p:spTgt spid="347"/>
                                        </p:tgtEl>
                                      </p:cBhvr>
                                      <p:by x="105000" y="105000"/>
                                    </p:animScale>
                                  </p:childTnLst>
                                </p:cTn>
                              </p:par>
                              <p:par>
                                <p:cTn id="150" presetID="26" presetClass="emph" presetSubtype="0" dur="2000" repeatCount="indefinite" fill="hold" grpId="0" nodeType="withEffect">
                                  <p:stCondLst>
                                    <p:cond delay="1000"/>
                                  </p:stCondLst>
                                  <p:childTnLst>
                                    <p:animEffect transition="out" filter="fade">
                                      <p:cBhvr>
                                        <p:cTn id="151" dur="2000" tmFilter="0, 0; .2, .5; .8, .5; 1, 0"/>
                                        <p:tgtEl>
                                          <p:spTgt spid="348"/>
                                        </p:tgtEl>
                                      </p:cBhvr>
                                    </p:animEffect>
                                    <p:animScale>
                                      <p:cBhvr>
                                        <p:cTn id="152" dur="1000" autoRev="1" fill="hold"/>
                                        <p:tgtEl>
                                          <p:spTgt spid="348"/>
                                        </p:tgtEl>
                                      </p:cBhvr>
                                      <p:by x="105000" y="105000"/>
                                    </p:animScale>
                                  </p:childTnLst>
                                </p:cTn>
                              </p:par>
                              <p:par>
                                <p:cTn id="153" presetID="26" presetClass="emph" presetSubtype="0" dur="2000" repeatCount="indefinite" fill="hold" grpId="0" nodeType="withEffect">
                                  <p:stCondLst>
                                    <p:cond delay="1000"/>
                                  </p:stCondLst>
                                  <p:childTnLst>
                                    <p:animEffect transition="out" filter="fade">
                                      <p:cBhvr>
                                        <p:cTn id="154" dur="2000" tmFilter="0, 0; .2, .5; .8, .5; 1, 0"/>
                                        <p:tgtEl>
                                          <p:spTgt spid="349"/>
                                        </p:tgtEl>
                                      </p:cBhvr>
                                    </p:animEffect>
                                    <p:animScale>
                                      <p:cBhvr>
                                        <p:cTn id="155" dur="1000" autoRev="1" fill="hold"/>
                                        <p:tgtEl>
                                          <p:spTgt spid="349"/>
                                        </p:tgtEl>
                                      </p:cBhvr>
                                      <p:by x="105000" y="105000"/>
                                    </p:animScale>
                                  </p:childTnLst>
                                </p:cTn>
                              </p:par>
                              <p:par>
                                <p:cTn id="156" presetID="26" presetClass="emph" presetSubtype="0" dur="2000" repeatCount="indefinite" fill="hold" grpId="0" nodeType="withEffect">
                                  <p:stCondLst>
                                    <p:cond delay="1000"/>
                                  </p:stCondLst>
                                  <p:childTnLst>
                                    <p:animEffect transition="out" filter="fade">
                                      <p:cBhvr>
                                        <p:cTn id="157" dur="2000" tmFilter="0, 0; .2, .5; .8, .5; 1, 0"/>
                                        <p:tgtEl>
                                          <p:spTgt spid="350"/>
                                        </p:tgtEl>
                                      </p:cBhvr>
                                    </p:animEffect>
                                    <p:animScale>
                                      <p:cBhvr>
                                        <p:cTn id="158" dur="1000" autoRev="1" fill="hold"/>
                                        <p:tgtEl>
                                          <p:spTgt spid="350"/>
                                        </p:tgtEl>
                                      </p:cBhvr>
                                      <p:by x="105000" y="105000"/>
                                    </p:animScale>
                                  </p:childTnLst>
                                </p:cTn>
                              </p:par>
                              <p:par>
                                <p:cTn id="159" presetID="26" presetClass="emph" presetSubtype="0" dur="2000" repeatCount="indefinite" fill="hold" grpId="0" nodeType="withEffect">
                                  <p:stCondLst>
                                    <p:cond delay="1000"/>
                                  </p:stCondLst>
                                  <p:childTnLst>
                                    <p:animEffect transition="out" filter="fade">
                                      <p:cBhvr>
                                        <p:cTn id="160" dur="2000" tmFilter="0, 0; .2, .5; .8, .5; 1, 0"/>
                                        <p:tgtEl>
                                          <p:spTgt spid="351"/>
                                        </p:tgtEl>
                                      </p:cBhvr>
                                    </p:animEffect>
                                    <p:animScale>
                                      <p:cBhvr>
                                        <p:cTn id="161" dur="1000" autoRev="1" fill="hold"/>
                                        <p:tgtEl>
                                          <p:spTgt spid="351"/>
                                        </p:tgtEl>
                                      </p:cBhvr>
                                      <p:by x="105000" y="105000"/>
                                    </p:animScale>
                                  </p:childTnLst>
                                </p:cTn>
                              </p:par>
                              <p:par>
                                <p:cTn id="162" presetID="26" presetClass="emph" presetSubtype="0" dur="2000" repeatCount="indefinite" fill="hold" grpId="0" nodeType="withEffect">
                                  <p:stCondLst>
                                    <p:cond delay="1000"/>
                                  </p:stCondLst>
                                  <p:childTnLst>
                                    <p:animEffect transition="out" filter="fade">
                                      <p:cBhvr>
                                        <p:cTn id="163" dur="2000" tmFilter="0, 0; .2, .5; .8, .5; 1, 0"/>
                                        <p:tgtEl>
                                          <p:spTgt spid="352"/>
                                        </p:tgtEl>
                                      </p:cBhvr>
                                    </p:animEffect>
                                    <p:animScale>
                                      <p:cBhvr>
                                        <p:cTn id="164" dur="1000" autoRev="1" fill="hold"/>
                                        <p:tgtEl>
                                          <p:spTgt spid="352"/>
                                        </p:tgtEl>
                                      </p:cBhvr>
                                      <p:by x="105000" y="105000"/>
                                    </p:animScale>
                                  </p:childTnLst>
                                </p:cTn>
                              </p:par>
                              <p:par>
                                <p:cTn id="165" presetID="26" presetClass="emph" presetSubtype="0" dur="2000" repeatCount="indefinite" fill="hold" grpId="0" nodeType="withEffect">
                                  <p:stCondLst>
                                    <p:cond delay="1000"/>
                                  </p:stCondLst>
                                  <p:childTnLst>
                                    <p:animEffect transition="out" filter="fade">
                                      <p:cBhvr>
                                        <p:cTn id="166" dur="2000" tmFilter="0, 0; .2, .5; .8, .5; 1, 0"/>
                                        <p:tgtEl>
                                          <p:spTgt spid="353"/>
                                        </p:tgtEl>
                                      </p:cBhvr>
                                    </p:animEffect>
                                    <p:animScale>
                                      <p:cBhvr>
                                        <p:cTn id="167" dur="1000" autoRev="1" fill="hold"/>
                                        <p:tgtEl>
                                          <p:spTgt spid="353"/>
                                        </p:tgtEl>
                                      </p:cBhvr>
                                      <p:by x="105000" y="105000"/>
                                    </p:animScale>
                                  </p:childTnLst>
                                </p:cTn>
                              </p:par>
                              <p:par>
                                <p:cTn id="168" presetID="26" presetClass="emph" presetSubtype="0" dur="2000" repeatCount="indefinite" fill="hold" grpId="0" nodeType="withEffect">
                                  <p:stCondLst>
                                    <p:cond delay="1250"/>
                                  </p:stCondLst>
                                  <p:childTnLst>
                                    <p:animEffect transition="out" filter="fade">
                                      <p:cBhvr>
                                        <p:cTn id="169" dur="2000" tmFilter="0, 0; .2, .5; .8, .5; 1, 0"/>
                                        <p:tgtEl>
                                          <p:spTgt spid="354"/>
                                        </p:tgtEl>
                                      </p:cBhvr>
                                    </p:animEffect>
                                    <p:animScale>
                                      <p:cBhvr>
                                        <p:cTn id="170" dur="1000" autoRev="1" fill="hold"/>
                                        <p:tgtEl>
                                          <p:spTgt spid="354"/>
                                        </p:tgtEl>
                                      </p:cBhvr>
                                      <p:by x="105000" y="105000"/>
                                    </p:animScale>
                                  </p:childTnLst>
                                </p:cTn>
                              </p:par>
                              <p:par>
                                <p:cTn id="171" presetID="26" presetClass="emph" presetSubtype="0" dur="2000" repeatCount="indefinite" fill="hold" grpId="0" nodeType="withEffect">
                                  <p:stCondLst>
                                    <p:cond delay="1250"/>
                                  </p:stCondLst>
                                  <p:childTnLst>
                                    <p:animEffect transition="out" filter="fade">
                                      <p:cBhvr>
                                        <p:cTn id="172" dur="2000" tmFilter="0, 0; .2, .5; .8, .5; 1, 0"/>
                                        <p:tgtEl>
                                          <p:spTgt spid="355"/>
                                        </p:tgtEl>
                                      </p:cBhvr>
                                    </p:animEffect>
                                    <p:animScale>
                                      <p:cBhvr>
                                        <p:cTn id="173" dur="1000" autoRev="1" fill="hold"/>
                                        <p:tgtEl>
                                          <p:spTgt spid="355"/>
                                        </p:tgtEl>
                                      </p:cBhvr>
                                      <p:by x="105000" y="105000"/>
                                    </p:animScale>
                                  </p:childTnLst>
                                </p:cTn>
                              </p:par>
                              <p:par>
                                <p:cTn id="174" presetID="26" presetClass="emph" presetSubtype="0" dur="2000" repeatCount="indefinite" fill="hold" grpId="0" nodeType="withEffect">
                                  <p:stCondLst>
                                    <p:cond delay="1250"/>
                                  </p:stCondLst>
                                  <p:childTnLst>
                                    <p:animEffect transition="out" filter="fade">
                                      <p:cBhvr>
                                        <p:cTn id="175" dur="2000" tmFilter="0, 0; .2, .5; .8, .5; 1, 0"/>
                                        <p:tgtEl>
                                          <p:spTgt spid="356"/>
                                        </p:tgtEl>
                                      </p:cBhvr>
                                    </p:animEffect>
                                    <p:animScale>
                                      <p:cBhvr>
                                        <p:cTn id="176" dur="1000" autoRev="1" fill="hold"/>
                                        <p:tgtEl>
                                          <p:spTgt spid="356"/>
                                        </p:tgtEl>
                                      </p:cBhvr>
                                      <p:by x="105000" y="105000"/>
                                    </p:animScale>
                                  </p:childTnLst>
                                </p:cTn>
                              </p:par>
                              <p:par>
                                <p:cTn id="177" presetID="26" presetClass="emph" presetSubtype="0" dur="2000" repeatCount="indefinite" fill="hold" grpId="0" nodeType="withEffect">
                                  <p:stCondLst>
                                    <p:cond delay="1250"/>
                                  </p:stCondLst>
                                  <p:childTnLst>
                                    <p:animEffect transition="out" filter="fade">
                                      <p:cBhvr>
                                        <p:cTn id="178" dur="2000" tmFilter="0, 0; .2, .5; .8, .5; 1, 0"/>
                                        <p:tgtEl>
                                          <p:spTgt spid="357"/>
                                        </p:tgtEl>
                                      </p:cBhvr>
                                    </p:animEffect>
                                    <p:animScale>
                                      <p:cBhvr>
                                        <p:cTn id="179" dur="1000" autoRev="1" fill="hold"/>
                                        <p:tgtEl>
                                          <p:spTgt spid="357"/>
                                        </p:tgtEl>
                                      </p:cBhvr>
                                      <p:by x="105000" y="105000"/>
                                    </p:animScale>
                                  </p:childTnLst>
                                </p:cTn>
                              </p:par>
                              <p:par>
                                <p:cTn id="180" presetID="26" presetClass="emph" presetSubtype="0" dur="2000" repeatCount="indefinite" fill="hold" grpId="0" nodeType="withEffect">
                                  <p:stCondLst>
                                    <p:cond delay="1250"/>
                                  </p:stCondLst>
                                  <p:childTnLst>
                                    <p:animEffect transition="out" filter="fade">
                                      <p:cBhvr>
                                        <p:cTn id="181" dur="2000" tmFilter="0, 0; .2, .5; .8, .5; 1, 0"/>
                                        <p:tgtEl>
                                          <p:spTgt spid="358"/>
                                        </p:tgtEl>
                                      </p:cBhvr>
                                    </p:animEffect>
                                    <p:animScale>
                                      <p:cBhvr>
                                        <p:cTn id="182" dur="1000" autoRev="1" fill="hold"/>
                                        <p:tgtEl>
                                          <p:spTgt spid="358"/>
                                        </p:tgtEl>
                                      </p:cBhvr>
                                      <p:by x="105000" y="105000"/>
                                    </p:animScale>
                                  </p:childTnLst>
                                </p:cTn>
                              </p:par>
                              <p:par>
                                <p:cTn id="183" presetID="26" presetClass="emph" presetSubtype="0" dur="2000" repeatCount="indefinite" fill="hold" grpId="0" nodeType="withEffect">
                                  <p:stCondLst>
                                    <p:cond delay="1250"/>
                                  </p:stCondLst>
                                  <p:childTnLst>
                                    <p:animEffect transition="out" filter="fade">
                                      <p:cBhvr>
                                        <p:cTn id="184" dur="2000" tmFilter="0, 0; .2, .5; .8, .5; 1, 0"/>
                                        <p:tgtEl>
                                          <p:spTgt spid="359"/>
                                        </p:tgtEl>
                                      </p:cBhvr>
                                    </p:animEffect>
                                    <p:animScale>
                                      <p:cBhvr>
                                        <p:cTn id="185" dur="1000" autoRev="1" fill="hold"/>
                                        <p:tgtEl>
                                          <p:spTgt spid="359"/>
                                        </p:tgtEl>
                                      </p:cBhvr>
                                      <p:by x="105000" y="105000"/>
                                    </p:animScale>
                                  </p:childTnLst>
                                </p:cTn>
                              </p:par>
                              <p:par>
                                <p:cTn id="186" presetID="26" presetClass="emph" presetSubtype="0" dur="2000" repeatCount="indefinite" fill="hold" grpId="0" nodeType="withEffect">
                                  <p:stCondLst>
                                    <p:cond delay="1250"/>
                                  </p:stCondLst>
                                  <p:childTnLst>
                                    <p:animEffect transition="out" filter="fade">
                                      <p:cBhvr>
                                        <p:cTn id="187" dur="2000" tmFilter="0, 0; .2, .5; .8, .5; 1, 0"/>
                                        <p:tgtEl>
                                          <p:spTgt spid="360"/>
                                        </p:tgtEl>
                                      </p:cBhvr>
                                    </p:animEffect>
                                    <p:animScale>
                                      <p:cBhvr>
                                        <p:cTn id="188" dur="1000" autoRev="1" fill="hold"/>
                                        <p:tgtEl>
                                          <p:spTgt spid="360"/>
                                        </p:tgtEl>
                                      </p:cBhvr>
                                      <p:by x="105000" y="105000"/>
                                    </p:animScale>
                                  </p:childTnLst>
                                </p:cTn>
                              </p:par>
                              <p:par>
                                <p:cTn id="189" presetID="26" presetClass="emph" presetSubtype="0" dur="2000" repeatCount="indefinite" fill="hold" grpId="0" nodeType="withEffect">
                                  <p:stCondLst>
                                    <p:cond delay="1250"/>
                                  </p:stCondLst>
                                  <p:childTnLst>
                                    <p:animEffect transition="out" filter="fade">
                                      <p:cBhvr>
                                        <p:cTn id="190" dur="2000" tmFilter="0, 0; .2, .5; .8, .5; 1, 0"/>
                                        <p:tgtEl>
                                          <p:spTgt spid="361"/>
                                        </p:tgtEl>
                                      </p:cBhvr>
                                    </p:animEffect>
                                    <p:animScale>
                                      <p:cBhvr>
                                        <p:cTn id="191" dur="1000" autoRev="1" fill="hold"/>
                                        <p:tgtEl>
                                          <p:spTgt spid="361"/>
                                        </p:tgtEl>
                                      </p:cBhvr>
                                      <p:by x="105000" y="105000"/>
                                    </p:animScale>
                                  </p:childTnLst>
                                </p:cTn>
                              </p:par>
                              <p:par>
                                <p:cTn id="192" presetID="26" presetClass="emph" presetSubtype="0" dur="2000" repeatCount="indefinite" fill="hold" grpId="0" nodeType="withEffect">
                                  <p:stCondLst>
                                    <p:cond delay="1250"/>
                                  </p:stCondLst>
                                  <p:childTnLst>
                                    <p:animEffect transition="out" filter="fade">
                                      <p:cBhvr>
                                        <p:cTn id="193" dur="2000" tmFilter="0, 0; .2, .5; .8, .5; 1, 0"/>
                                        <p:tgtEl>
                                          <p:spTgt spid="362"/>
                                        </p:tgtEl>
                                      </p:cBhvr>
                                    </p:animEffect>
                                    <p:animScale>
                                      <p:cBhvr>
                                        <p:cTn id="194" dur="1000" autoRev="1" fill="hold"/>
                                        <p:tgtEl>
                                          <p:spTgt spid="362"/>
                                        </p:tgtEl>
                                      </p:cBhvr>
                                      <p:by x="105000" y="105000"/>
                                    </p:animScale>
                                  </p:childTnLst>
                                </p:cTn>
                              </p:par>
                              <p:par>
                                <p:cTn id="195" presetID="26" presetClass="emph" presetSubtype="0" dur="2000" repeatCount="indefinite" fill="hold" grpId="0" nodeType="withEffect">
                                  <p:stCondLst>
                                    <p:cond delay="1250"/>
                                  </p:stCondLst>
                                  <p:childTnLst>
                                    <p:animEffect transition="out" filter="fade">
                                      <p:cBhvr>
                                        <p:cTn id="196" dur="2000" tmFilter="0, 0; .2, .5; .8, .5; 1, 0"/>
                                        <p:tgtEl>
                                          <p:spTgt spid="363"/>
                                        </p:tgtEl>
                                      </p:cBhvr>
                                    </p:animEffect>
                                    <p:animScale>
                                      <p:cBhvr>
                                        <p:cTn id="197" dur="1000" autoRev="1" fill="hold"/>
                                        <p:tgtEl>
                                          <p:spTgt spid="363"/>
                                        </p:tgtEl>
                                      </p:cBhvr>
                                      <p:by x="105000" y="105000"/>
                                    </p:animScale>
                                  </p:childTnLst>
                                </p:cTn>
                              </p:par>
                              <p:par>
                                <p:cTn id="198" presetID="26" presetClass="emph" presetSubtype="0" dur="2000" repeatCount="indefinite" fill="hold" grpId="0" nodeType="withEffect">
                                  <p:stCondLst>
                                    <p:cond delay="1250"/>
                                  </p:stCondLst>
                                  <p:childTnLst>
                                    <p:animEffect transition="out" filter="fade">
                                      <p:cBhvr>
                                        <p:cTn id="199" dur="2000" tmFilter="0, 0; .2, .5; .8, .5; 1, 0"/>
                                        <p:tgtEl>
                                          <p:spTgt spid="364"/>
                                        </p:tgtEl>
                                      </p:cBhvr>
                                    </p:animEffect>
                                    <p:animScale>
                                      <p:cBhvr>
                                        <p:cTn id="200" dur="1000" autoRev="1" fill="hold"/>
                                        <p:tgtEl>
                                          <p:spTgt spid="364"/>
                                        </p:tgtEl>
                                      </p:cBhvr>
                                      <p:by x="105000" y="105000"/>
                                    </p:animScale>
                                  </p:childTnLst>
                                </p:cTn>
                              </p:par>
                              <p:par>
                                <p:cTn id="201" presetID="26" presetClass="emph" presetSubtype="0" dur="2000" repeatCount="indefinite" fill="hold" grpId="0" nodeType="withEffect">
                                  <p:stCondLst>
                                    <p:cond delay="1250"/>
                                  </p:stCondLst>
                                  <p:childTnLst>
                                    <p:animEffect transition="out" filter="fade">
                                      <p:cBhvr>
                                        <p:cTn id="202" dur="2000" tmFilter="0, 0; .2, .5; .8, .5; 1, 0"/>
                                        <p:tgtEl>
                                          <p:spTgt spid="365"/>
                                        </p:tgtEl>
                                      </p:cBhvr>
                                    </p:animEffect>
                                    <p:animScale>
                                      <p:cBhvr>
                                        <p:cTn id="203" dur="1000" autoRev="1" fill="hold"/>
                                        <p:tgtEl>
                                          <p:spTgt spid="365"/>
                                        </p:tgtEl>
                                      </p:cBhvr>
                                      <p:by x="105000" y="105000"/>
                                    </p:animScale>
                                  </p:childTnLst>
                                </p:cTn>
                              </p:par>
                              <p:par>
                                <p:cTn id="204" presetID="26" presetClass="emph" presetSubtype="0" dur="2000" repeatCount="indefinite" fill="hold" grpId="0" nodeType="withEffect">
                                  <p:stCondLst>
                                    <p:cond delay="1250"/>
                                  </p:stCondLst>
                                  <p:childTnLst>
                                    <p:animEffect transition="out" filter="fade">
                                      <p:cBhvr>
                                        <p:cTn id="205" dur="2000" tmFilter="0, 0; .2, .5; .8, .5; 1, 0"/>
                                        <p:tgtEl>
                                          <p:spTgt spid="366"/>
                                        </p:tgtEl>
                                      </p:cBhvr>
                                    </p:animEffect>
                                    <p:animScale>
                                      <p:cBhvr>
                                        <p:cTn id="206" dur="1000" autoRev="1" fill="hold"/>
                                        <p:tgtEl>
                                          <p:spTgt spid="366"/>
                                        </p:tgtEl>
                                      </p:cBhvr>
                                      <p:by x="105000" y="105000"/>
                                    </p:animScale>
                                  </p:childTnLst>
                                </p:cTn>
                              </p:par>
                              <p:par>
                                <p:cTn id="207" presetID="26" presetClass="emph" presetSubtype="0" dur="2000" repeatCount="indefinite" fill="hold" grpId="0" nodeType="withEffect">
                                  <p:stCondLst>
                                    <p:cond delay="1250"/>
                                  </p:stCondLst>
                                  <p:childTnLst>
                                    <p:animEffect transition="out" filter="fade">
                                      <p:cBhvr>
                                        <p:cTn id="208" dur="2000" tmFilter="0, 0; .2, .5; .8, .5; 1, 0"/>
                                        <p:tgtEl>
                                          <p:spTgt spid="367"/>
                                        </p:tgtEl>
                                      </p:cBhvr>
                                    </p:animEffect>
                                    <p:animScale>
                                      <p:cBhvr>
                                        <p:cTn id="209" dur="1000" autoRev="1" fill="hold"/>
                                        <p:tgtEl>
                                          <p:spTgt spid="367"/>
                                        </p:tgtEl>
                                      </p:cBhvr>
                                      <p:by x="105000" y="105000"/>
                                    </p:animScale>
                                  </p:childTnLst>
                                </p:cTn>
                              </p:par>
                              <p:par>
                                <p:cTn id="210" presetID="26" presetClass="emph" presetSubtype="0" dur="2000" repeatCount="indefinite" fill="hold" grpId="0" nodeType="withEffect">
                                  <p:stCondLst>
                                    <p:cond delay="1500"/>
                                  </p:stCondLst>
                                  <p:childTnLst>
                                    <p:animEffect transition="out" filter="fade">
                                      <p:cBhvr>
                                        <p:cTn id="211" dur="2000" tmFilter="0, 0; .2, .5; .8, .5; 1, 0"/>
                                        <p:tgtEl>
                                          <p:spTgt spid="368"/>
                                        </p:tgtEl>
                                      </p:cBhvr>
                                    </p:animEffect>
                                    <p:animScale>
                                      <p:cBhvr>
                                        <p:cTn id="212" dur="1000" autoRev="1" fill="hold"/>
                                        <p:tgtEl>
                                          <p:spTgt spid="368"/>
                                        </p:tgtEl>
                                      </p:cBhvr>
                                      <p:by x="105000" y="105000"/>
                                    </p:animScale>
                                  </p:childTnLst>
                                </p:cTn>
                              </p:par>
                              <p:par>
                                <p:cTn id="213" presetID="26" presetClass="emph" presetSubtype="0" dur="2000" repeatCount="indefinite" fill="hold" grpId="0" nodeType="withEffect">
                                  <p:stCondLst>
                                    <p:cond delay="1500"/>
                                  </p:stCondLst>
                                  <p:childTnLst>
                                    <p:animEffect transition="out" filter="fade">
                                      <p:cBhvr>
                                        <p:cTn id="214" dur="2000" tmFilter="0, 0; .2, .5; .8, .5; 1, 0"/>
                                        <p:tgtEl>
                                          <p:spTgt spid="369"/>
                                        </p:tgtEl>
                                      </p:cBhvr>
                                    </p:animEffect>
                                    <p:animScale>
                                      <p:cBhvr>
                                        <p:cTn id="215" dur="1000" autoRev="1" fill="hold"/>
                                        <p:tgtEl>
                                          <p:spTgt spid="369"/>
                                        </p:tgtEl>
                                      </p:cBhvr>
                                      <p:by x="105000" y="105000"/>
                                    </p:animScale>
                                  </p:childTnLst>
                                </p:cTn>
                              </p:par>
                              <p:par>
                                <p:cTn id="216" presetID="26" presetClass="emph" presetSubtype="0" dur="2000" repeatCount="indefinite" fill="hold" grpId="0" nodeType="withEffect">
                                  <p:stCondLst>
                                    <p:cond delay="1500"/>
                                  </p:stCondLst>
                                  <p:childTnLst>
                                    <p:animEffect transition="out" filter="fade">
                                      <p:cBhvr>
                                        <p:cTn id="217" dur="2000" tmFilter="0, 0; .2, .5; .8, .5; 1, 0"/>
                                        <p:tgtEl>
                                          <p:spTgt spid="370"/>
                                        </p:tgtEl>
                                      </p:cBhvr>
                                    </p:animEffect>
                                    <p:animScale>
                                      <p:cBhvr>
                                        <p:cTn id="218" dur="1000" autoRev="1" fill="hold"/>
                                        <p:tgtEl>
                                          <p:spTgt spid="370"/>
                                        </p:tgtEl>
                                      </p:cBhvr>
                                      <p:by x="105000" y="105000"/>
                                    </p:animScale>
                                  </p:childTnLst>
                                </p:cTn>
                              </p:par>
                              <p:par>
                                <p:cTn id="219" presetID="26" presetClass="emph" presetSubtype="0" dur="2000" repeatCount="indefinite" fill="hold" grpId="0" nodeType="withEffect">
                                  <p:stCondLst>
                                    <p:cond delay="1500"/>
                                  </p:stCondLst>
                                  <p:childTnLst>
                                    <p:animEffect transition="out" filter="fade">
                                      <p:cBhvr>
                                        <p:cTn id="220" dur="2000" tmFilter="0, 0; .2, .5; .8, .5; 1, 0"/>
                                        <p:tgtEl>
                                          <p:spTgt spid="371"/>
                                        </p:tgtEl>
                                      </p:cBhvr>
                                    </p:animEffect>
                                    <p:animScale>
                                      <p:cBhvr>
                                        <p:cTn id="221" dur="1000" autoRev="1" fill="hold"/>
                                        <p:tgtEl>
                                          <p:spTgt spid="371"/>
                                        </p:tgtEl>
                                      </p:cBhvr>
                                      <p:by x="105000" y="105000"/>
                                    </p:animScale>
                                  </p:childTnLst>
                                </p:cTn>
                              </p:par>
                              <p:par>
                                <p:cTn id="222" presetID="26" presetClass="emph" presetSubtype="0" dur="2000" repeatCount="indefinite" fill="hold" grpId="0" nodeType="withEffect">
                                  <p:stCondLst>
                                    <p:cond delay="1500"/>
                                  </p:stCondLst>
                                  <p:childTnLst>
                                    <p:animEffect transition="out" filter="fade">
                                      <p:cBhvr>
                                        <p:cTn id="223" dur="2000" tmFilter="0, 0; .2, .5; .8, .5; 1, 0"/>
                                        <p:tgtEl>
                                          <p:spTgt spid="372"/>
                                        </p:tgtEl>
                                      </p:cBhvr>
                                    </p:animEffect>
                                    <p:animScale>
                                      <p:cBhvr>
                                        <p:cTn id="224" dur="1000" autoRev="1" fill="hold"/>
                                        <p:tgtEl>
                                          <p:spTgt spid="372"/>
                                        </p:tgtEl>
                                      </p:cBhvr>
                                      <p:by x="105000" y="105000"/>
                                    </p:animScale>
                                  </p:childTnLst>
                                </p:cTn>
                              </p:par>
                              <p:par>
                                <p:cTn id="225" presetID="26" presetClass="emph" presetSubtype="0" dur="2000" repeatCount="indefinite" fill="hold" grpId="0" nodeType="withEffect">
                                  <p:stCondLst>
                                    <p:cond delay="1500"/>
                                  </p:stCondLst>
                                  <p:childTnLst>
                                    <p:animEffect transition="out" filter="fade">
                                      <p:cBhvr>
                                        <p:cTn id="226" dur="2000" tmFilter="0, 0; .2, .5; .8, .5; 1, 0"/>
                                        <p:tgtEl>
                                          <p:spTgt spid="373"/>
                                        </p:tgtEl>
                                      </p:cBhvr>
                                    </p:animEffect>
                                    <p:animScale>
                                      <p:cBhvr>
                                        <p:cTn id="227" dur="1000" autoRev="1" fill="hold"/>
                                        <p:tgtEl>
                                          <p:spTgt spid="373"/>
                                        </p:tgtEl>
                                      </p:cBhvr>
                                      <p:by x="105000" y="105000"/>
                                    </p:animScale>
                                  </p:childTnLst>
                                </p:cTn>
                              </p:par>
                              <p:par>
                                <p:cTn id="228" presetID="26" presetClass="emph" presetSubtype="0" dur="2000" repeatCount="indefinite" fill="hold" grpId="0" nodeType="withEffect">
                                  <p:stCondLst>
                                    <p:cond delay="1500"/>
                                  </p:stCondLst>
                                  <p:childTnLst>
                                    <p:animEffect transition="out" filter="fade">
                                      <p:cBhvr>
                                        <p:cTn id="229" dur="2000" tmFilter="0, 0; .2, .5; .8, .5; 1, 0"/>
                                        <p:tgtEl>
                                          <p:spTgt spid="374"/>
                                        </p:tgtEl>
                                      </p:cBhvr>
                                    </p:animEffect>
                                    <p:animScale>
                                      <p:cBhvr>
                                        <p:cTn id="230" dur="1000" autoRev="1" fill="hold"/>
                                        <p:tgtEl>
                                          <p:spTgt spid="374"/>
                                        </p:tgtEl>
                                      </p:cBhvr>
                                      <p:by x="105000" y="105000"/>
                                    </p:animScale>
                                  </p:childTnLst>
                                </p:cTn>
                              </p:par>
                              <p:par>
                                <p:cTn id="231" presetID="26" presetClass="emph" presetSubtype="0" dur="2000" repeatCount="indefinite" fill="hold" grpId="0" nodeType="withEffect">
                                  <p:stCondLst>
                                    <p:cond delay="1500"/>
                                  </p:stCondLst>
                                  <p:childTnLst>
                                    <p:animEffect transition="out" filter="fade">
                                      <p:cBhvr>
                                        <p:cTn id="232" dur="2000" tmFilter="0, 0; .2, .5; .8, .5; 1, 0"/>
                                        <p:tgtEl>
                                          <p:spTgt spid="375"/>
                                        </p:tgtEl>
                                      </p:cBhvr>
                                    </p:animEffect>
                                    <p:animScale>
                                      <p:cBhvr>
                                        <p:cTn id="233" dur="1000" autoRev="1" fill="hold"/>
                                        <p:tgtEl>
                                          <p:spTgt spid="375"/>
                                        </p:tgtEl>
                                      </p:cBhvr>
                                      <p:by x="105000" y="105000"/>
                                    </p:animScale>
                                  </p:childTnLst>
                                </p:cTn>
                              </p:par>
                              <p:par>
                                <p:cTn id="234" presetID="26" presetClass="emph" presetSubtype="0" dur="2000" repeatCount="indefinite" fill="hold" grpId="0" nodeType="withEffect">
                                  <p:stCondLst>
                                    <p:cond delay="1500"/>
                                  </p:stCondLst>
                                  <p:childTnLst>
                                    <p:animEffect transition="out" filter="fade">
                                      <p:cBhvr>
                                        <p:cTn id="235" dur="2000" tmFilter="0, 0; .2, .5; .8, .5; 1, 0"/>
                                        <p:tgtEl>
                                          <p:spTgt spid="376"/>
                                        </p:tgtEl>
                                      </p:cBhvr>
                                    </p:animEffect>
                                    <p:animScale>
                                      <p:cBhvr>
                                        <p:cTn id="236" dur="1000" autoRev="1" fill="hold"/>
                                        <p:tgtEl>
                                          <p:spTgt spid="376"/>
                                        </p:tgtEl>
                                      </p:cBhvr>
                                      <p:by x="105000" y="105000"/>
                                    </p:animScale>
                                  </p:childTnLst>
                                </p:cTn>
                              </p:par>
                              <p:par>
                                <p:cTn id="237" presetID="26" presetClass="emph" presetSubtype="0" dur="2000" repeatCount="indefinite" fill="hold" grpId="0" nodeType="withEffect">
                                  <p:stCondLst>
                                    <p:cond delay="1500"/>
                                  </p:stCondLst>
                                  <p:childTnLst>
                                    <p:animEffect transition="out" filter="fade">
                                      <p:cBhvr>
                                        <p:cTn id="238" dur="2000" tmFilter="0, 0; .2, .5; .8, .5; 1, 0"/>
                                        <p:tgtEl>
                                          <p:spTgt spid="377"/>
                                        </p:tgtEl>
                                      </p:cBhvr>
                                    </p:animEffect>
                                    <p:animScale>
                                      <p:cBhvr>
                                        <p:cTn id="239" dur="1000" autoRev="1" fill="hold"/>
                                        <p:tgtEl>
                                          <p:spTgt spid="377"/>
                                        </p:tgtEl>
                                      </p:cBhvr>
                                      <p:by x="105000" y="105000"/>
                                    </p:animScale>
                                  </p:childTnLst>
                                </p:cTn>
                              </p:par>
                              <p:par>
                                <p:cTn id="240" presetID="26" presetClass="emph" presetSubtype="0" dur="2000" repeatCount="indefinite" fill="hold" grpId="0" nodeType="withEffect">
                                  <p:stCondLst>
                                    <p:cond delay="1500"/>
                                  </p:stCondLst>
                                  <p:childTnLst>
                                    <p:animEffect transition="out" filter="fade">
                                      <p:cBhvr>
                                        <p:cTn id="241" dur="2000" tmFilter="0, 0; .2, .5; .8, .5; 1, 0"/>
                                        <p:tgtEl>
                                          <p:spTgt spid="378"/>
                                        </p:tgtEl>
                                      </p:cBhvr>
                                    </p:animEffect>
                                    <p:animScale>
                                      <p:cBhvr>
                                        <p:cTn id="242" dur="1000" autoRev="1" fill="hold"/>
                                        <p:tgtEl>
                                          <p:spTgt spid="378"/>
                                        </p:tgtEl>
                                      </p:cBhvr>
                                      <p:by x="105000" y="105000"/>
                                    </p:animScale>
                                  </p:childTnLst>
                                </p:cTn>
                              </p:par>
                              <p:par>
                                <p:cTn id="243" presetID="26" presetClass="emph" presetSubtype="0" dur="2000" repeatCount="indefinite" fill="hold" grpId="0" nodeType="withEffect">
                                  <p:stCondLst>
                                    <p:cond delay="1500"/>
                                  </p:stCondLst>
                                  <p:childTnLst>
                                    <p:animEffect transition="out" filter="fade">
                                      <p:cBhvr>
                                        <p:cTn id="244" dur="2000" tmFilter="0, 0; .2, .5; .8, .5; 1, 0"/>
                                        <p:tgtEl>
                                          <p:spTgt spid="379"/>
                                        </p:tgtEl>
                                      </p:cBhvr>
                                    </p:animEffect>
                                    <p:animScale>
                                      <p:cBhvr>
                                        <p:cTn id="245" dur="1000" autoRev="1" fill="hold"/>
                                        <p:tgtEl>
                                          <p:spTgt spid="379"/>
                                        </p:tgtEl>
                                      </p:cBhvr>
                                      <p:by x="105000" y="105000"/>
                                    </p:animScale>
                                  </p:childTnLst>
                                </p:cTn>
                              </p:par>
                              <p:par>
                                <p:cTn id="246" presetID="26" presetClass="emph" presetSubtype="0" dur="2000" repeatCount="indefinite" fill="hold" grpId="0" nodeType="withEffect">
                                  <p:stCondLst>
                                    <p:cond delay="1500"/>
                                  </p:stCondLst>
                                  <p:childTnLst>
                                    <p:animEffect transition="out" filter="fade">
                                      <p:cBhvr>
                                        <p:cTn id="247" dur="2000" tmFilter="0, 0; .2, .5; .8, .5; 1, 0"/>
                                        <p:tgtEl>
                                          <p:spTgt spid="380"/>
                                        </p:tgtEl>
                                      </p:cBhvr>
                                    </p:animEffect>
                                    <p:animScale>
                                      <p:cBhvr>
                                        <p:cTn id="248" dur="1000" autoRev="1" fill="hold"/>
                                        <p:tgtEl>
                                          <p:spTgt spid="380"/>
                                        </p:tgtEl>
                                      </p:cBhvr>
                                      <p:by x="105000" y="105000"/>
                                    </p:animScale>
                                  </p:childTnLst>
                                </p:cTn>
                              </p:par>
                              <p:par>
                                <p:cTn id="249" presetID="26" presetClass="emph" presetSubtype="0" dur="2000" repeatCount="indefinite" fill="hold" grpId="0" nodeType="withEffect">
                                  <p:stCondLst>
                                    <p:cond delay="1500"/>
                                  </p:stCondLst>
                                  <p:childTnLst>
                                    <p:animEffect transition="out" filter="fade">
                                      <p:cBhvr>
                                        <p:cTn id="250" dur="2000" tmFilter="0, 0; .2, .5; .8, .5; 1, 0"/>
                                        <p:tgtEl>
                                          <p:spTgt spid="381"/>
                                        </p:tgtEl>
                                      </p:cBhvr>
                                    </p:animEffect>
                                    <p:animScale>
                                      <p:cBhvr>
                                        <p:cTn id="251" dur="1000" autoRev="1" fill="hold"/>
                                        <p:tgtEl>
                                          <p:spTgt spid="381"/>
                                        </p:tgtEl>
                                      </p:cBhvr>
                                      <p:by x="105000" y="105000"/>
                                    </p:animScale>
                                  </p:childTnLst>
                                </p:cTn>
                              </p:par>
                              <p:par>
                                <p:cTn id="252" presetID="26" presetClass="emph" presetSubtype="0" dur="2000" repeatCount="indefinite" fill="hold" grpId="0" nodeType="withEffect">
                                  <p:stCondLst>
                                    <p:cond delay="1750"/>
                                  </p:stCondLst>
                                  <p:childTnLst>
                                    <p:animEffect transition="out" filter="fade">
                                      <p:cBhvr>
                                        <p:cTn id="253" dur="2000" tmFilter="0, 0; .2, .5; .8, .5; 1, 0"/>
                                        <p:tgtEl>
                                          <p:spTgt spid="382"/>
                                        </p:tgtEl>
                                      </p:cBhvr>
                                    </p:animEffect>
                                    <p:animScale>
                                      <p:cBhvr>
                                        <p:cTn id="254" dur="1000" autoRev="1" fill="hold"/>
                                        <p:tgtEl>
                                          <p:spTgt spid="382"/>
                                        </p:tgtEl>
                                      </p:cBhvr>
                                      <p:by x="105000" y="105000"/>
                                    </p:animScale>
                                  </p:childTnLst>
                                </p:cTn>
                              </p:par>
                              <p:par>
                                <p:cTn id="255" presetID="26" presetClass="emph" presetSubtype="0" dur="2000" repeatCount="indefinite" fill="hold" grpId="0" nodeType="withEffect">
                                  <p:stCondLst>
                                    <p:cond delay="1750"/>
                                  </p:stCondLst>
                                  <p:childTnLst>
                                    <p:animEffect transition="out" filter="fade">
                                      <p:cBhvr>
                                        <p:cTn id="256" dur="2000" tmFilter="0, 0; .2, .5; .8, .5; 1, 0"/>
                                        <p:tgtEl>
                                          <p:spTgt spid="383"/>
                                        </p:tgtEl>
                                      </p:cBhvr>
                                    </p:animEffect>
                                    <p:animScale>
                                      <p:cBhvr>
                                        <p:cTn id="257" dur="1000" autoRev="1" fill="hold"/>
                                        <p:tgtEl>
                                          <p:spTgt spid="383"/>
                                        </p:tgtEl>
                                      </p:cBhvr>
                                      <p:by x="105000" y="105000"/>
                                    </p:animScale>
                                  </p:childTnLst>
                                </p:cTn>
                              </p:par>
                              <p:par>
                                <p:cTn id="258" presetID="26" presetClass="emph" presetSubtype="0" dur="2000" repeatCount="indefinite" fill="hold" grpId="0" nodeType="withEffect">
                                  <p:stCondLst>
                                    <p:cond delay="1750"/>
                                  </p:stCondLst>
                                  <p:childTnLst>
                                    <p:animEffect transition="out" filter="fade">
                                      <p:cBhvr>
                                        <p:cTn id="259" dur="2000" tmFilter="0, 0; .2, .5; .8, .5; 1, 0"/>
                                        <p:tgtEl>
                                          <p:spTgt spid="384"/>
                                        </p:tgtEl>
                                      </p:cBhvr>
                                    </p:animEffect>
                                    <p:animScale>
                                      <p:cBhvr>
                                        <p:cTn id="260" dur="1000" autoRev="1" fill="hold"/>
                                        <p:tgtEl>
                                          <p:spTgt spid="384"/>
                                        </p:tgtEl>
                                      </p:cBhvr>
                                      <p:by x="105000" y="105000"/>
                                    </p:animScale>
                                  </p:childTnLst>
                                </p:cTn>
                              </p:par>
                              <p:par>
                                <p:cTn id="261" presetID="26" presetClass="emph" presetSubtype="0" dur="2000" repeatCount="indefinite" fill="hold" grpId="0" nodeType="withEffect">
                                  <p:stCondLst>
                                    <p:cond delay="1750"/>
                                  </p:stCondLst>
                                  <p:childTnLst>
                                    <p:animEffect transition="out" filter="fade">
                                      <p:cBhvr>
                                        <p:cTn id="262" dur="2000" tmFilter="0, 0; .2, .5; .8, .5; 1, 0"/>
                                        <p:tgtEl>
                                          <p:spTgt spid="385"/>
                                        </p:tgtEl>
                                      </p:cBhvr>
                                    </p:animEffect>
                                    <p:animScale>
                                      <p:cBhvr>
                                        <p:cTn id="263" dur="1000" autoRev="1" fill="hold"/>
                                        <p:tgtEl>
                                          <p:spTgt spid="385"/>
                                        </p:tgtEl>
                                      </p:cBhvr>
                                      <p:by x="105000" y="105000"/>
                                    </p:animScale>
                                  </p:childTnLst>
                                </p:cTn>
                              </p:par>
                              <p:par>
                                <p:cTn id="264" presetID="26" presetClass="emph" presetSubtype="0" dur="2000" repeatCount="indefinite" fill="hold" grpId="0" nodeType="withEffect">
                                  <p:stCondLst>
                                    <p:cond delay="1750"/>
                                  </p:stCondLst>
                                  <p:childTnLst>
                                    <p:animEffect transition="out" filter="fade">
                                      <p:cBhvr>
                                        <p:cTn id="265" dur="2000" tmFilter="0, 0; .2, .5; .8, .5; 1, 0"/>
                                        <p:tgtEl>
                                          <p:spTgt spid="386"/>
                                        </p:tgtEl>
                                      </p:cBhvr>
                                    </p:animEffect>
                                    <p:animScale>
                                      <p:cBhvr>
                                        <p:cTn id="266" dur="1000" autoRev="1" fill="hold"/>
                                        <p:tgtEl>
                                          <p:spTgt spid="386"/>
                                        </p:tgtEl>
                                      </p:cBhvr>
                                      <p:by x="105000" y="105000"/>
                                    </p:animScale>
                                  </p:childTnLst>
                                </p:cTn>
                              </p:par>
                              <p:par>
                                <p:cTn id="267" presetID="26" presetClass="emph" presetSubtype="0" dur="2000" repeatCount="indefinite" fill="hold" grpId="0" nodeType="withEffect">
                                  <p:stCondLst>
                                    <p:cond delay="1750"/>
                                  </p:stCondLst>
                                  <p:childTnLst>
                                    <p:animEffect transition="out" filter="fade">
                                      <p:cBhvr>
                                        <p:cTn id="268" dur="2000" tmFilter="0, 0; .2, .5; .8, .5; 1, 0"/>
                                        <p:tgtEl>
                                          <p:spTgt spid="387"/>
                                        </p:tgtEl>
                                      </p:cBhvr>
                                    </p:animEffect>
                                    <p:animScale>
                                      <p:cBhvr>
                                        <p:cTn id="269" dur="1000" autoRev="1" fill="hold"/>
                                        <p:tgtEl>
                                          <p:spTgt spid="387"/>
                                        </p:tgtEl>
                                      </p:cBhvr>
                                      <p:by x="105000" y="105000"/>
                                    </p:animScale>
                                  </p:childTnLst>
                                </p:cTn>
                              </p:par>
                              <p:par>
                                <p:cTn id="270" presetID="26" presetClass="emph" presetSubtype="0" dur="2000" repeatCount="indefinite" fill="hold" grpId="0" nodeType="withEffect">
                                  <p:stCondLst>
                                    <p:cond delay="1750"/>
                                  </p:stCondLst>
                                  <p:childTnLst>
                                    <p:animEffect transition="out" filter="fade">
                                      <p:cBhvr>
                                        <p:cTn id="271" dur="2000" tmFilter="0, 0; .2, .5; .8, .5; 1, 0"/>
                                        <p:tgtEl>
                                          <p:spTgt spid="388"/>
                                        </p:tgtEl>
                                      </p:cBhvr>
                                    </p:animEffect>
                                    <p:animScale>
                                      <p:cBhvr>
                                        <p:cTn id="272" dur="1000" autoRev="1" fill="hold"/>
                                        <p:tgtEl>
                                          <p:spTgt spid="388"/>
                                        </p:tgtEl>
                                      </p:cBhvr>
                                      <p:by x="105000" y="105000"/>
                                    </p:animScale>
                                  </p:childTnLst>
                                </p:cTn>
                              </p:par>
                              <p:par>
                                <p:cTn id="273" presetID="26" presetClass="emph" presetSubtype="0" dur="2000" repeatCount="indefinite" fill="hold" grpId="0" nodeType="withEffect">
                                  <p:stCondLst>
                                    <p:cond delay="1750"/>
                                  </p:stCondLst>
                                  <p:childTnLst>
                                    <p:animEffect transition="out" filter="fade">
                                      <p:cBhvr>
                                        <p:cTn id="274" dur="2000" tmFilter="0, 0; .2, .5; .8, .5; 1, 0"/>
                                        <p:tgtEl>
                                          <p:spTgt spid="389"/>
                                        </p:tgtEl>
                                      </p:cBhvr>
                                    </p:animEffect>
                                    <p:animScale>
                                      <p:cBhvr>
                                        <p:cTn id="275" dur="1000" autoRev="1" fill="hold"/>
                                        <p:tgtEl>
                                          <p:spTgt spid="389"/>
                                        </p:tgtEl>
                                      </p:cBhvr>
                                      <p:by x="105000" y="105000"/>
                                    </p:animScale>
                                  </p:childTnLst>
                                </p:cTn>
                              </p:par>
                              <p:par>
                                <p:cTn id="276" presetID="26" presetClass="emph" presetSubtype="0" dur="2000" repeatCount="indefinite" fill="hold" grpId="0" nodeType="withEffect">
                                  <p:stCondLst>
                                    <p:cond delay="1750"/>
                                  </p:stCondLst>
                                  <p:childTnLst>
                                    <p:animEffect transition="out" filter="fade">
                                      <p:cBhvr>
                                        <p:cTn id="277" dur="2000" tmFilter="0, 0; .2, .5; .8, .5; 1, 0"/>
                                        <p:tgtEl>
                                          <p:spTgt spid="390"/>
                                        </p:tgtEl>
                                      </p:cBhvr>
                                    </p:animEffect>
                                    <p:animScale>
                                      <p:cBhvr>
                                        <p:cTn id="278" dur="1000" autoRev="1" fill="hold"/>
                                        <p:tgtEl>
                                          <p:spTgt spid="390"/>
                                        </p:tgtEl>
                                      </p:cBhvr>
                                      <p:by x="105000" y="105000"/>
                                    </p:animScale>
                                  </p:childTnLst>
                                </p:cTn>
                              </p:par>
                              <p:par>
                                <p:cTn id="279" presetID="26" presetClass="emph" presetSubtype="0" dur="2000" repeatCount="indefinite" fill="hold" grpId="0" nodeType="withEffect">
                                  <p:stCondLst>
                                    <p:cond delay="1750"/>
                                  </p:stCondLst>
                                  <p:childTnLst>
                                    <p:animEffect transition="out" filter="fade">
                                      <p:cBhvr>
                                        <p:cTn id="280" dur="2000" tmFilter="0, 0; .2, .5; .8, .5; 1, 0"/>
                                        <p:tgtEl>
                                          <p:spTgt spid="391"/>
                                        </p:tgtEl>
                                      </p:cBhvr>
                                    </p:animEffect>
                                    <p:animScale>
                                      <p:cBhvr>
                                        <p:cTn id="281" dur="1000" autoRev="1" fill="hold"/>
                                        <p:tgtEl>
                                          <p:spTgt spid="391"/>
                                        </p:tgtEl>
                                      </p:cBhvr>
                                      <p:by x="105000" y="105000"/>
                                    </p:animScale>
                                  </p:childTnLst>
                                </p:cTn>
                              </p:par>
                              <p:par>
                                <p:cTn id="282" presetID="26" presetClass="emph" presetSubtype="0" dur="2000" repeatCount="indefinite" fill="hold" grpId="0" nodeType="withEffect">
                                  <p:stCondLst>
                                    <p:cond delay="1750"/>
                                  </p:stCondLst>
                                  <p:childTnLst>
                                    <p:animEffect transition="out" filter="fade">
                                      <p:cBhvr>
                                        <p:cTn id="283" dur="2000" tmFilter="0, 0; .2, .5; .8, .5; 1, 0"/>
                                        <p:tgtEl>
                                          <p:spTgt spid="392"/>
                                        </p:tgtEl>
                                      </p:cBhvr>
                                    </p:animEffect>
                                    <p:animScale>
                                      <p:cBhvr>
                                        <p:cTn id="284" dur="1000" autoRev="1" fill="hold"/>
                                        <p:tgtEl>
                                          <p:spTgt spid="392"/>
                                        </p:tgtEl>
                                      </p:cBhvr>
                                      <p:by x="105000" y="105000"/>
                                    </p:animScale>
                                  </p:childTnLst>
                                </p:cTn>
                              </p:par>
                              <p:par>
                                <p:cTn id="285" presetID="26" presetClass="emph" presetSubtype="0" dur="2000" repeatCount="indefinite" fill="hold" grpId="0" nodeType="withEffect">
                                  <p:stCondLst>
                                    <p:cond delay="1750"/>
                                  </p:stCondLst>
                                  <p:childTnLst>
                                    <p:animEffect transition="out" filter="fade">
                                      <p:cBhvr>
                                        <p:cTn id="286" dur="2000" tmFilter="0, 0; .2, .5; .8, .5; 1, 0"/>
                                        <p:tgtEl>
                                          <p:spTgt spid="393"/>
                                        </p:tgtEl>
                                      </p:cBhvr>
                                    </p:animEffect>
                                    <p:animScale>
                                      <p:cBhvr>
                                        <p:cTn id="287" dur="1000" autoRev="1" fill="hold"/>
                                        <p:tgtEl>
                                          <p:spTgt spid="393"/>
                                        </p:tgtEl>
                                      </p:cBhvr>
                                      <p:by x="105000" y="105000"/>
                                    </p:animScale>
                                  </p:childTnLst>
                                </p:cTn>
                              </p:par>
                              <p:par>
                                <p:cTn id="288" presetID="26" presetClass="emph" presetSubtype="0" dur="2000" repeatCount="indefinite" fill="hold" grpId="0" nodeType="withEffect">
                                  <p:stCondLst>
                                    <p:cond delay="1750"/>
                                  </p:stCondLst>
                                  <p:childTnLst>
                                    <p:animEffect transition="out" filter="fade">
                                      <p:cBhvr>
                                        <p:cTn id="289" dur="2000" tmFilter="0, 0; .2, .5; .8, .5; 1, 0"/>
                                        <p:tgtEl>
                                          <p:spTgt spid="394"/>
                                        </p:tgtEl>
                                      </p:cBhvr>
                                    </p:animEffect>
                                    <p:animScale>
                                      <p:cBhvr>
                                        <p:cTn id="290" dur="1000" autoRev="1" fill="hold"/>
                                        <p:tgtEl>
                                          <p:spTgt spid="394"/>
                                        </p:tgtEl>
                                      </p:cBhvr>
                                      <p:by x="105000" y="105000"/>
                                    </p:animScale>
                                  </p:childTnLst>
                                </p:cTn>
                              </p:par>
                              <p:par>
                                <p:cTn id="291" presetID="26" presetClass="emph" presetSubtype="0" dur="2000" repeatCount="indefinite" fill="hold" grpId="0" nodeType="withEffect">
                                  <p:stCondLst>
                                    <p:cond delay="1750"/>
                                  </p:stCondLst>
                                  <p:childTnLst>
                                    <p:animEffect transition="out" filter="fade">
                                      <p:cBhvr>
                                        <p:cTn id="292" dur="2000" tmFilter="0, 0; .2, .5; .8, .5; 1, 0"/>
                                        <p:tgtEl>
                                          <p:spTgt spid="395"/>
                                        </p:tgtEl>
                                      </p:cBhvr>
                                    </p:animEffect>
                                    <p:animScale>
                                      <p:cBhvr>
                                        <p:cTn id="293" dur="1000" autoRev="1" fill="hold"/>
                                        <p:tgtEl>
                                          <p:spTgt spid="395"/>
                                        </p:tgtEl>
                                      </p:cBhvr>
                                      <p:by x="105000" y="105000"/>
                                    </p:animScale>
                                  </p:childTnLst>
                                </p:cTn>
                              </p:par>
                              <p:par>
                                <p:cTn id="294" presetID="26" presetClass="emph" presetSubtype="0" dur="2000" repeatCount="indefinite" fill="hold" grpId="0" nodeType="withEffect">
                                  <p:stCondLst>
                                    <p:cond delay="2000"/>
                                  </p:stCondLst>
                                  <p:childTnLst>
                                    <p:animEffect transition="out" filter="fade">
                                      <p:cBhvr>
                                        <p:cTn id="295" dur="2000" tmFilter="0, 0; .2, .5; .8, .5; 1, 0"/>
                                        <p:tgtEl>
                                          <p:spTgt spid="396"/>
                                        </p:tgtEl>
                                      </p:cBhvr>
                                    </p:animEffect>
                                    <p:animScale>
                                      <p:cBhvr>
                                        <p:cTn id="296" dur="1000" autoRev="1" fill="hold"/>
                                        <p:tgtEl>
                                          <p:spTgt spid="396"/>
                                        </p:tgtEl>
                                      </p:cBhvr>
                                      <p:by x="105000" y="105000"/>
                                    </p:animScale>
                                  </p:childTnLst>
                                </p:cTn>
                              </p:par>
                              <p:par>
                                <p:cTn id="297" presetID="26" presetClass="emph" presetSubtype="0" dur="2000" repeatCount="indefinite" fill="hold" grpId="0" nodeType="withEffect">
                                  <p:stCondLst>
                                    <p:cond delay="2000"/>
                                  </p:stCondLst>
                                  <p:childTnLst>
                                    <p:animEffect transition="out" filter="fade">
                                      <p:cBhvr>
                                        <p:cTn id="298" dur="2000" tmFilter="0, 0; .2, .5; .8, .5; 1, 0"/>
                                        <p:tgtEl>
                                          <p:spTgt spid="397"/>
                                        </p:tgtEl>
                                      </p:cBhvr>
                                    </p:animEffect>
                                    <p:animScale>
                                      <p:cBhvr>
                                        <p:cTn id="299" dur="1000" autoRev="1" fill="hold"/>
                                        <p:tgtEl>
                                          <p:spTgt spid="397"/>
                                        </p:tgtEl>
                                      </p:cBhvr>
                                      <p:by x="105000" y="105000"/>
                                    </p:animScale>
                                  </p:childTnLst>
                                </p:cTn>
                              </p:par>
                              <p:par>
                                <p:cTn id="300" presetID="26" presetClass="emph" presetSubtype="0" dur="2000" repeatCount="indefinite" fill="hold" grpId="0" nodeType="withEffect">
                                  <p:stCondLst>
                                    <p:cond delay="2000"/>
                                  </p:stCondLst>
                                  <p:childTnLst>
                                    <p:animEffect transition="out" filter="fade">
                                      <p:cBhvr>
                                        <p:cTn id="301" dur="2000" tmFilter="0, 0; .2, .5; .8, .5; 1, 0"/>
                                        <p:tgtEl>
                                          <p:spTgt spid="398"/>
                                        </p:tgtEl>
                                      </p:cBhvr>
                                    </p:animEffect>
                                    <p:animScale>
                                      <p:cBhvr>
                                        <p:cTn id="302" dur="1000" autoRev="1" fill="hold"/>
                                        <p:tgtEl>
                                          <p:spTgt spid="398"/>
                                        </p:tgtEl>
                                      </p:cBhvr>
                                      <p:by x="105000" y="105000"/>
                                    </p:animScale>
                                  </p:childTnLst>
                                </p:cTn>
                              </p:par>
                              <p:par>
                                <p:cTn id="303" presetID="26" presetClass="emph" presetSubtype="0" dur="2000" repeatCount="indefinite" fill="hold" grpId="0" nodeType="withEffect">
                                  <p:stCondLst>
                                    <p:cond delay="2000"/>
                                  </p:stCondLst>
                                  <p:childTnLst>
                                    <p:animEffect transition="out" filter="fade">
                                      <p:cBhvr>
                                        <p:cTn id="304" dur="2000" tmFilter="0, 0; .2, .5; .8, .5; 1, 0"/>
                                        <p:tgtEl>
                                          <p:spTgt spid="399"/>
                                        </p:tgtEl>
                                      </p:cBhvr>
                                    </p:animEffect>
                                    <p:animScale>
                                      <p:cBhvr>
                                        <p:cTn id="305" dur="1000" autoRev="1" fill="hold"/>
                                        <p:tgtEl>
                                          <p:spTgt spid="399"/>
                                        </p:tgtEl>
                                      </p:cBhvr>
                                      <p:by x="105000" y="105000"/>
                                    </p:animScale>
                                  </p:childTnLst>
                                </p:cTn>
                              </p:par>
                              <p:par>
                                <p:cTn id="306" presetID="26" presetClass="emph" presetSubtype="0" dur="2000" repeatCount="indefinite" fill="hold" grpId="0" nodeType="withEffect">
                                  <p:stCondLst>
                                    <p:cond delay="2000"/>
                                  </p:stCondLst>
                                  <p:childTnLst>
                                    <p:animEffect transition="out" filter="fade">
                                      <p:cBhvr>
                                        <p:cTn id="307" dur="2000" tmFilter="0, 0; .2, .5; .8, .5; 1, 0"/>
                                        <p:tgtEl>
                                          <p:spTgt spid="400"/>
                                        </p:tgtEl>
                                      </p:cBhvr>
                                    </p:animEffect>
                                    <p:animScale>
                                      <p:cBhvr>
                                        <p:cTn id="308" dur="1000" autoRev="1" fill="hold"/>
                                        <p:tgtEl>
                                          <p:spTgt spid="400"/>
                                        </p:tgtEl>
                                      </p:cBhvr>
                                      <p:by x="105000" y="105000"/>
                                    </p:animScale>
                                  </p:childTnLst>
                                </p:cTn>
                              </p:par>
                              <p:par>
                                <p:cTn id="309" presetID="26" presetClass="emph" presetSubtype="0" dur="2000" repeatCount="indefinite" fill="hold" grpId="0" nodeType="withEffect">
                                  <p:stCondLst>
                                    <p:cond delay="2000"/>
                                  </p:stCondLst>
                                  <p:childTnLst>
                                    <p:animEffect transition="out" filter="fade">
                                      <p:cBhvr>
                                        <p:cTn id="310" dur="2000" tmFilter="0, 0; .2, .5; .8, .5; 1, 0"/>
                                        <p:tgtEl>
                                          <p:spTgt spid="401"/>
                                        </p:tgtEl>
                                      </p:cBhvr>
                                    </p:animEffect>
                                    <p:animScale>
                                      <p:cBhvr>
                                        <p:cTn id="311" dur="1000" autoRev="1" fill="hold"/>
                                        <p:tgtEl>
                                          <p:spTgt spid="401"/>
                                        </p:tgtEl>
                                      </p:cBhvr>
                                      <p:by x="105000" y="105000"/>
                                    </p:animScale>
                                  </p:childTnLst>
                                </p:cTn>
                              </p:par>
                              <p:par>
                                <p:cTn id="312" presetID="26" presetClass="emph" presetSubtype="0" dur="2000" repeatCount="indefinite" fill="hold" grpId="0" nodeType="withEffect">
                                  <p:stCondLst>
                                    <p:cond delay="2000"/>
                                  </p:stCondLst>
                                  <p:childTnLst>
                                    <p:animEffect transition="out" filter="fade">
                                      <p:cBhvr>
                                        <p:cTn id="313" dur="2000" tmFilter="0, 0; .2, .5; .8, .5; 1, 0"/>
                                        <p:tgtEl>
                                          <p:spTgt spid="402"/>
                                        </p:tgtEl>
                                      </p:cBhvr>
                                    </p:animEffect>
                                    <p:animScale>
                                      <p:cBhvr>
                                        <p:cTn id="314" dur="1000" autoRev="1" fill="hold"/>
                                        <p:tgtEl>
                                          <p:spTgt spid="402"/>
                                        </p:tgtEl>
                                      </p:cBhvr>
                                      <p:by x="105000" y="105000"/>
                                    </p:animScale>
                                  </p:childTnLst>
                                </p:cTn>
                              </p:par>
                              <p:par>
                                <p:cTn id="315" presetID="26" presetClass="emph" presetSubtype="0" dur="2000" repeatCount="indefinite" fill="hold" grpId="0" nodeType="withEffect">
                                  <p:stCondLst>
                                    <p:cond delay="2000"/>
                                  </p:stCondLst>
                                  <p:childTnLst>
                                    <p:animEffect transition="out" filter="fade">
                                      <p:cBhvr>
                                        <p:cTn id="316" dur="2000" tmFilter="0, 0; .2, .5; .8, .5; 1, 0"/>
                                        <p:tgtEl>
                                          <p:spTgt spid="403"/>
                                        </p:tgtEl>
                                      </p:cBhvr>
                                    </p:animEffect>
                                    <p:animScale>
                                      <p:cBhvr>
                                        <p:cTn id="317" dur="1000" autoRev="1" fill="hold"/>
                                        <p:tgtEl>
                                          <p:spTgt spid="403"/>
                                        </p:tgtEl>
                                      </p:cBhvr>
                                      <p:by x="105000" y="105000"/>
                                    </p:animScale>
                                  </p:childTnLst>
                                </p:cTn>
                              </p:par>
                              <p:par>
                                <p:cTn id="318" presetID="26" presetClass="emph" presetSubtype="0" dur="2000" repeatCount="indefinite" fill="hold" grpId="0" nodeType="withEffect">
                                  <p:stCondLst>
                                    <p:cond delay="2000"/>
                                  </p:stCondLst>
                                  <p:childTnLst>
                                    <p:animEffect transition="out" filter="fade">
                                      <p:cBhvr>
                                        <p:cTn id="319" dur="2000" tmFilter="0, 0; .2, .5; .8, .5; 1, 0"/>
                                        <p:tgtEl>
                                          <p:spTgt spid="404"/>
                                        </p:tgtEl>
                                      </p:cBhvr>
                                    </p:animEffect>
                                    <p:animScale>
                                      <p:cBhvr>
                                        <p:cTn id="320" dur="1000" autoRev="1" fill="hold"/>
                                        <p:tgtEl>
                                          <p:spTgt spid="404"/>
                                        </p:tgtEl>
                                      </p:cBhvr>
                                      <p:by x="105000" y="105000"/>
                                    </p:animScale>
                                  </p:childTnLst>
                                </p:cTn>
                              </p:par>
                              <p:par>
                                <p:cTn id="321" presetID="26" presetClass="emph" presetSubtype="0" dur="2000" repeatCount="indefinite" fill="hold" grpId="0" nodeType="withEffect">
                                  <p:stCondLst>
                                    <p:cond delay="2000"/>
                                  </p:stCondLst>
                                  <p:childTnLst>
                                    <p:animEffect transition="out" filter="fade">
                                      <p:cBhvr>
                                        <p:cTn id="322" dur="2000" tmFilter="0, 0; .2, .5; .8, .5; 1, 0"/>
                                        <p:tgtEl>
                                          <p:spTgt spid="405"/>
                                        </p:tgtEl>
                                      </p:cBhvr>
                                    </p:animEffect>
                                    <p:animScale>
                                      <p:cBhvr>
                                        <p:cTn id="323" dur="1000" autoRev="1" fill="hold"/>
                                        <p:tgtEl>
                                          <p:spTgt spid="405"/>
                                        </p:tgtEl>
                                      </p:cBhvr>
                                      <p:by x="105000" y="105000"/>
                                    </p:animScale>
                                  </p:childTnLst>
                                </p:cTn>
                              </p:par>
                              <p:par>
                                <p:cTn id="324" presetID="26" presetClass="emph" presetSubtype="0" dur="2000" repeatCount="indefinite" fill="hold" grpId="0" nodeType="withEffect">
                                  <p:stCondLst>
                                    <p:cond delay="2000"/>
                                  </p:stCondLst>
                                  <p:childTnLst>
                                    <p:animEffect transition="out" filter="fade">
                                      <p:cBhvr>
                                        <p:cTn id="325" dur="2000" tmFilter="0, 0; .2, .5; .8, .5; 1, 0"/>
                                        <p:tgtEl>
                                          <p:spTgt spid="406"/>
                                        </p:tgtEl>
                                      </p:cBhvr>
                                    </p:animEffect>
                                    <p:animScale>
                                      <p:cBhvr>
                                        <p:cTn id="326" dur="1000" autoRev="1" fill="hold"/>
                                        <p:tgtEl>
                                          <p:spTgt spid="406"/>
                                        </p:tgtEl>
                                      </p:cBhvr>
                                      <p:by x="105000" y="105000"/>
                                    </p:animScale>
                                  </p:childTnLst>
                                </p:cTn>
                              </p:par>
                              <p:par>
                                <p:cTn id="327" presetID="26" presetClass="emph" presetSubtype="0" dur="2000" repeatCount="indefinite" fill="hold" grpId="0" nodeType="withEffect">
                                  <p:stCondLst>
                                    <p:cond delay="2000"/>
                                  </p:stCondLst>
                                  <p:childTnLst>
                                    <p:animEffect transition="out" filter="fade">
                                      <p:cBhvr>
                                        <p:cTn id="328" dur="2000" tmFilter="0, 0; .2, .5; .8, .5; 1, 0"/>
                                        <p:tgtEl>
                                          <p:spTgt spid="407"/>
                                        </p:tgtEl>
                                      </p:cBhvr>
                                    </p:animEffect>
                                    <p:animScale>
                                      <p:cBhvr>
                                        <p:cTn id="329" dur="1000" autoRev="1" fill="hold"/>
                                        <p:tgtEl>
                                          <p:spTgt spid="407"/>
                                        </p:tgtEl>
                                      </p:cBhvr>
                                      <p:by x="105000" y="105000"/>
                                    </p:animScale>
                                  </p:childTnLst>
                                </p:cTn>
                              </p:par>
                              <p:par>
                                <p:cTn id="330" presetID="26" presetClass="emph" presetSubtype="0" dur="2000" repeatCount="indefinite" fill="hold" grpId="0" nodeType="withEffect">
                                  <p:stCondLst>
                                    <p:cond delay="2000"/>
                                  </p:stCondLst>
                                  <p:childTnLst>
                                    <p:animEffect transition="out" filter="fade">
                                      <p:cBhvr>
                                        <p:cTn id="331" dur="2000" tmFilter="0, 0; .2, .5; .8, .5; 1, 0"/>
                                        <p:tgtEl>
                                          <p:spTgt spid="408"/>
                                        </p:tgtEl>
                                      </p:cBhvr>
                                    </p:animEffect>
                                    <p:animScale>
                                      <p:cBhvr>
                                        <p:cTn id="332" dur="1000" autoRev="1" fill="hold"/>
                                        <p:tgtEl>
                                          <p:spTgt spid="408"/>
                                        </p:tgtEl>
                                      </p:cBhvr>
                                      <p:by x="105000" y="105000"/>
                                    </p:animScale>
                                  </p:childTnLst>
                                </p:cTn>
                              </p:par>
                              <p:par>
                                <p:cTn id="333" presetID="26" presetClass="emph" presetSubtype="0" dur="2000" repeatCount="indefinite" fill="hold" grpId="0" nodeType="withEffect">
                                  <p:stCondLst>
                                    <p:cond delay="2000"/>
                                  </p:stCondLst>
                                  <p:childTnLst>
                                    <p:animEffect transition="out" filter="fade">
                                      <p:cBhvr>
                                        <p:cTn id="334" dur="2000" tmFilter="0, 0; .2, .5; .8, .5; 1, 0"/>
                                        <p:tgtEl>
                                          <p:spTgt spid="409"/>
                                        </p:tgtEl>
                                      </p:cBhvr>
                                    </p:animEffect>
                                    <p:animScale>
                                      <p:cBhvr>
                                        <p:cTn id="335" dur="1000" autoRev="1" fill="hold"/>
                                        <p:tgtEl>
                                          <p:spTgt spid="409"/>
                                        </p:tgtEl>
                                      </p:cBhvr>
                                      <p:by x="105000" y="105000"/>
                                    </p:animScale>
                                  </p:childTnLst>
                                </p:cTn>
                              </p:par>
                              <p:par>
                                <p:cTn id="336" presetID="26" presetClass="emph" presetSubtype="0" dur="2000" repeatCount="indefinite" fill="hold" grpId="0" nodeType="withEffect">
                                  <p:stCondLst>
                                    <p:cond delay="2250"/>
                                  </p:stCondLst>
                                  <p:childTnLst>
                                    <p:animEffect transition="out" filter="fade">
                                      <p:cBhvr>
                                        <p:cTn id="337" dur="2000" tmFilter="0, 0; .2, .5; .8, .5; 1, 0"/>
                                        <p:tgtEl>
                                          <p:spTgt spid="410"/>
                                        </p:tgtEl>
                                      </p:cBhvr>
                                    </p:animEffect>
                                    <p:animScale>
                                      <p:cBhvr>
                                        <p:cTn id="338" dur="1000" autoRev="1" fill="hold"/>
                                        <p:tgtEl>
                                          <p:spTgt spid="410"/>
                                        </p:tgtEl>
                                      </p:cBhvr>
                                      <p:by x="105000" y="105000"/>
                                    </p:animScale>
                                  </p:childTnLst>
                                </p:cTn>
                              </p:par>
                              <p:par>
                                <p:cTn id="339" presetID="26" presetClass="emph" presetSubtype="0" dur="2000" repeatCount="indefinite" fill="hold" grpId="0" nodeType="withEffect">
                                  <p:stCondLst>
                                    <p:cond delay="2250"/>
                                  </p:stCondLst>
                                  <p:childTnLst>
                                    <p:animEffect transition="out" filter="fade">
                                      <p:cBhvr>
                                        <p:cTn id="340" dur="2000" tmFilter="0, 0; .2, .5; .8, .5; 1, 0"/>
                                        <p:tgtEl>
                                          <p:spTgt spid="411"/>
                                        </p:tgtEl>
                                      </p:cBhvr>
                                    </p:animEffect>
                                    <p:animScale>
                                      <p:cBhvr>
                                        <p:cTn id="341" dur="1000" autoRev="1" fill="hold"/>
                                        <p:tgtEl>
                                          <p:spTgt spid="411"/>
                                        </p:tgtEl>
                                      </p:cBhvr>
                                      <p:by x="105000" y="105000"/>
                                    </p:animScale>
                                  </p:childTnLst>
                                </p:cTn>
                              </p:par>
                              <p:par>
                                <p:cTn id="342" presetID="26" presetClass="emph" presetSubtype="0" dur="2000" repeatCount="indefinite" fill="hold" grpId="0" nodeType="withEffect">
                                  <p:stCondLst>
                                    <p:cond delay="2250"/>
                                  </p:stCondLst>
                                  <p:childTnLst>
                                    <p:animEffect transition="out" filter="fade">
                                      <p:cBhvr>
                                        <p:cTn id="343" dur="2000" tmFilter="0, 0; .2, .5; .8, .5; 1, 0"/>
                                        <p:tgtEl>
                                          <p:spTgt spid="412"/>
                                        </p:tgtEl>
                                      </p:cBhvr>
                                    </p:animEffect>
                                    <p:animScale>
                                      <p:cBhvr>
                                        <p:cTn id="344" dur="1000" autoRev="1" fill="hold"/>
                                        <p:tgtEl>
                                          <p:spTgt spid="412"/>
                                        </p:tgtEl>
                                      </p:cBhvr>
                                      <p:by x="105000" y="105000"/>
                                    </p:animScale>
                                  </p:childTnLst>
                                </p:cTn>
                              </p:par>
                              <p:par>
                                <p:cTn id="345" presetID="26" presetClass="emph" presetSubtype="0" dur="2000" repeatCount="indefinite" fill="hold" grpId="0" nodeType="withEffect">
                                  <p:stCondLst>
                                    <p:cond delay="2250"/>
                                  </p:stCondLst>
                                  <p:childTnLst>
                                    <p:animEffect transition="out" filter="fade">
                                      <p:cBhvr>
                                        <p:cTn id="346" dur="2000" tmFilter="0, 0; .2, .5; .8, .5; 1, 0"/>
                                        <p:tgtEl>
                                          <p:spTgt spid="413"/>
                                        </p:tgtEl>
                                      </p:cBhvr>
                                    </p:animEffect>
                                    <p:animScale>
                                      <p:cBhvr>
                                        <p:cTn id="347" dur="1000" autoRev="1" fill="hold"/>
                                        <p:tgtEl>
                                          <p:spTgt spid="413"/>
                                        </p:tgtEl>
                                      </p:cBhvr>
                                      <p:by x="105000" y="105000"/>
                                    </p:animScale>
                                  </p:childTnLst>
                                </p:cTn>
                              </p:par>
                              <p:par>
                                <p:cTn id="348" presetID="26" presetClass="emph" presetSubtype="0" dur="2000" repeatCount="indefinite" fill="hold" grpId="0" nodeType="withEffect">
                                  <p:stCondLst>
                                    <p:cond delay="2250"/>
                                  </p:stCondLst>
                                  <p:childTnLst>
                                    <p:animEffect transition="out" filter="fade">
                                      <p:cBhvr>
                                        <p:cTn id="349" dur="2000" tmFilter="0, 0; .2, .5; .8, .5; 1, 0"/>
                                        <p:tgtEl>
                                          <p:spTgt spid="414"/>
                                        </p:tgtEl>
                                      </p:cBhvr>
                                    </p:animEffect>
                                    <p:animScale>
                                      <p:cBhvr>
                                        <p:cTn id="350" dur="1000" autoRev="1" fill="hold"/>
                                        <p:tgtEl>
                                          <p:spTgt spid="414"/>
                                        </p:tgtEl>
                                      </p:cBhvr>
                                      <p:by x="105000" y="105000"/>
                                    </p:animScale>
                                  </p:childTnLst>
                                </p:cTn>
                              </p:par>
                              <p:par>
                                <p:cTn id="351" presetID="26" presetClass="emph" presetSubtype="0" dur="2000" repeatCount="indefinite" fill="hold" grpId="0" nodeType="withEffect">
                                  <p:stCondLst>
                                    <p:cond delay="2250"/>
                                  </p:stCondLst>
                                  <p:childTnLst>
                                    <p:animEffect transition="out" filter="fade">
                                      <p:cBhvr>
                                        <p:cTn id="352" dur="2000" tmFilter="0, 0; .2, .5; .8, .5; 1, 0"/>
                                        <p:tgtEl>
                                          <p:spTgt spid="415"/>
                                        </p:tgtEl>
                                      </p:cBhvr>
                                    </p:animEffect>
                                    <p:animScale>
                                      <p:cBhvr>
                                        <p:cTn id="353" dur="1000" autoRev="1" fill="hold"/>
                                        <p:tgtEl>
                                          <p:spTgt spid="415"/>
                                        </p:tgtEl>
                                      </p:cBhvr>
                                      <p:by x="105000" y="105000"/>
                                    </p:animScale>
                                  </p:childTnLst>
                                </p:cTn>
                              </p:par>
                              <p:par>
                                <p:cTn id="354" presetID="26" presetClass="emph" presetSubtype="0" dur="2000" repeatCount="indefinite" fill="hold" grpId="0" nodeType="withEffect">
                                  <p:stCondLst>
                                    <p:cond delay="2250"/>
                                  </p:stCondLst>
                                  <p:childTnLst>
                                    <p:animEffect transition="out" filter="fade">
                                      <p:cBhvr>
                                        <p:cTn id="355" dur="2000" tmFilter="0, 0; .2, .5; .8, .5; 1, 0"/>
                                        <p:tgtEl>
                                          <p:spTgt spid="416"/>
                                        </p:tgtEl>
                                      </p:cBhvr>
                                    </p:animEffect>
                                    <p:animScale>
                                      <p:cBhvr>
                                        <p:cTn id="356" dur="1000" autoRev="1" fill="hold"/>
                                        <p:tgtEl>
                                          <p:spTgt spid="416"/>
                                        </p:tgtEl>
                                      </p:cBhvr>
                                      <p:by x="105000" y="105000"/>
                                    </p:animScale>
                                  </p:childTnLst>
                                </p:cTn>
                              </p:par>
                              <p:par>
                                <p:cTn id="357" presetID="26" presetClass="emph" presetSubtype="0" dur="2000" repeatCount="indefinite" fill="hold" grpId="0" nodeType="withEffect">
                                  <p:stCondLst>
                                    <p:cond delay="2250"/>
                                  </p:stCondLst>
                                  <p:childTnLst>
                                    <p:animEffect transition="out" filter="fade">
                                      <p:cBhvr>
                                        <p:cTn id="358" dur="2000" tmFilter="0, 0; .2, .5; .8, .5; 1, 0"/>
                                        <p:tgtEl>
                                          <p:spTgt spid="417"/>
                                        </p:tgtEl>
                                      </p:cBhvr>
                                    </p:animEffect>
                                    <p:animScale>
                                      <p:cBhvr>
                                        <p:cTn id="359" dur="1000" autoRev="1" fill="hold"/>
                                        <p:tgtEl>
                                          <p:spTgt spid="417"/>
                                        </p:tgtEl>
                                      </p:cBhvr>
                                      <p:by x="105000" y="105000"/>
                                    </p:animScale>
                                  </p:childTnLst>
                                </p:cTn>
                              </p:par>
                              <p:par>
                                <p:cTn id="360" presetID="26" presetClass="emph" presetSubtype="0" dur="2000" repeatCount="indefinite" fill="hold" grpId="0" nodeType="withEffect">
                                  <p:stCondLst>
                                    <p:cond delay="2250"/>
                                  </p:stCondLst>
                                  <p:childTnLst>
                                    <p:animEffect transition="out" filter="fade">
                                      <p:cBhvr>
                                        <p:cTn id="361" dur="2000" tmFilter="0, 0; .2, .5; .8, .5; 1, 0"/>
                                        <p:tgtEl>
                                          <p:spTgt spid="418"/>
                                        </p:tgtEl>
                                      </p:cBhvr>
                                    </p:animEffect>
                                    <p:animScale>
                                      <p:cBhvr>
                                        <p:cTn id="362" dur="1000" autoRev="1" fill="hold"/>
                                        <p:tgtEl>
                                          <p:spTgt spid="418"/>
                                        </p:tgtEl>
                                      </p:cBhvr>
                                      <p:by x="105000" y="105000"/>
                                    </p:animScale>
                                  </p:childTnLst>
                                </p:cTn>
                              </p:par>
                              <p:par>
                                <p:cTn id="363" presetID="26" presetClass="emph" presetSubtype="0" dur="2000" repeatCount="indefinite" fill="hold" grpId="0" nodeType="withEffect">
                                  <p:stCondLst>
                                    <p:cond delay="2250"/>
                                  </p:stCondLst>
                                  <p:childTnLst>
                                    <p:animEffect transition="out" filter="fade">
                                      <p:cBhvr>
                                        <p:cTn id="364" dur="2000" tmFilter="0, 0; .2, .5; .8, .5; 1, 0"/>
                                        <p:tgtEl>
                                          <p:spTgt spid="419"/>
                                        </p:tgtEl>
                                      </p:cBhvr>
                                    </p:animEffect>
                                    <p:animScale>
                                      <p:cBhvr>
                                        <p:cTn id="365" dur="1000" autoRev="1" fill="hold"/>
                                        <p:tgtEl>
                                          <p:spTgt spid="419"/>
                                        </p:tgtEl>
                                      </p:cBhvr>
                                      <p:by x="105000" y="105000"/>
                                    </p:animScale>
                                  </p:childTnLst>
                                </p:cTn>
                              </p:par>
                              <p:par>
                                <p:cTn id="366" presetID="26" presetClass="emph" presetSubtype="0" dur="2000" repeatCount="indefinite" fill="hold" grpId="0" nodeType="withEffect">
                                  <p:stCondLst>
                                    <p:cond delay="2250"/>
                                  </p:stCondLst>
                                  <p:childTnLst>
                                    <p:animEffect transition="out" filter="fade">
                                      <p:cBhvr>
                                        <p:cTn id="367" dur="2000" tmFilter="0, 0; .2, .5; .8, .5; 1, 0"/>
                                        <p:tgtEl>
                                          <p:spTgt spid="420"/>
                                        </p:tgtEl>
                                      </p:cBhvr>
                                    </p:animEffect>
                                    <p:animScale>
                                      <p:cBhvr>
                                        <p:cTn id="368" dur="1000" autoRev="1" fill="hold"/>
                                        <p:tgtEl>
                                          <p:spTgt spid="420"/>
                                        </p:tgtEl>
                                      </p:cBhvr>
                                      <p:by x="105000" y="105000"/>
                                    </p:animScale>
                                  </p:childTnLst>
                                </p:cTn>
                              </p:par>
                              <p:par>
                                <p:cTn id="369" presetID="26" presetClass="emph" presetSubtype="0" dur="2000" repeatCount="indefinite" fill="hold" grpId="0" nodeType="withEffect">
                                  <p:stCondLst>
                                    <p:cond delay="2250"/>
                                  </p:stCondLst>
                                  <p:childTnLst>
                                    <p:animEffect transition="out" filter="fade">
                                      <p:cBhvr>
                                        <p:cTn id="370" dur="2000" tmFilter="0, 0; .2, .5; .8, .5; 1, 0"/>
                                        <p:tgtEl>
                                          <p:spTgt spid="421"/>
                                        </p:tgtEl>
                                      </p:cBhvr>
                                    </p:animEffect>
                                    <p:animScale>
                                      <p:cBhvr>
                                        <p:cTn id="371" dur="1000" autoRev="1" fill="hold"/>
                                        <p:tgtEl>
                                          <p:spTgt spid="421"/>
                                        </p:tgtEl>
                                      </p:cBhvr>
                                      <p:by x="105000" y="105000"/>
                                    </p:animScale>
                                  </p:childTnLst>
                                </p:cTn>
                              </p:par>
                              <p:par>
                                <p:cTn id="372" presetID="26" presetClass="emph" presetSubtype="0" dur="2000" repeatCount="indefinite" fill="hold" grpId="0" nodeType="withEffect">
                                  <p:stCondLst>
                                    <p:cond delay="2250"/>
                                  </p:stCondLst>
                                  <p:childTnLst>
                                    <p:animEffect transition="out" filter="fade">
                                      <p:cBhvr>
                                        <p:cTn id="373" dur="2000" tmFilter="0, 0; .2, .5; .8, .5; 1, 0"/>
                                        <p:tgtEl>
                                          <p:spTgt spid="422"/>
                                        </p:tgtEl>
                                      </p:cBhvr>
                                    </p:animEffect>
                                    <p:animScale>
                                      <p:cBhvr>
                                        <p:cTn id="374" dur="1000" autoRev="1" fill="hold"/>
                                        <p:tgtEl>
                                          <p:spTgt spid="422"/>
                                        </p:tgtEl>
                                      </p:cBhvr>
                                      <p:by x="105000" y="105000"/>
                                    </p:animScale>
                                  </p:childTnLst>
                                </p:cTn>
                              </p:par>
                              <p:par>
                                <p:cTn id="375" presetID="26" presetClass="emph" presetSubtype="0" dur="2000" repeatCount="indefinite" fill="hold" grpId="0" nodeType="withEffect">
                                  <p:stCondLst>
                                    <p:cond delay="2250"/>
                                  </p:stCondLst>
                                  <p:childTnLst>
                                    <p:animEffect transition="out" filter="fade">
                                      <p:cBhvr>
                                        <p:cTn id="376" dur="2000" tmFilter="0, 0; .2, .5; .8, .5; 1, 0"/>
                                        <p:tgtEl>
                                          <p:spTgt spid="423"/>
                                        </p:tgtEl>
                                      </p:cBhvr>
                                    </p:animEffect>
                                    <p:animScale>
                                      <p:cBhvr>
                                        <p:cTn id="377" dur="1000" autoRev="1" fill="hold"/>
                                        <p:tgtEl>
                                          <p:spTgt spid="423"/>
                                        </p:tgtEl>
                                      </p:cBhvr>
                                      <p:by x="105000" y="105000"/>
                                    </p:animScale>
                                  </p:childTnLst>
                                </p:cTn>
                              </p:par>
                              <p:par>
                                <p:cTn id="378" presetID="26" presetClass="emph" presetSubtype="0" dur="2000" repeatCount="indefinite" fill="hold" grpId="0" nodeType="withEffect">
                                  <p:stCondLst>
                                    <p:cond delay="2500"/>
                                  </p:stCondLst>
                                  <p:childTnLst>
                                    <p:animEffect transition="out" filter="fade">
                                      <p:cBhvr>
                                        <p:cTn id="379" dur="2000" tmFilter="0, 0; .2, .5; .8, .5; 1, 0"/>
                                        <p:tgtEl>
                                          <p:spTgt spid="424"/>
                                        </p:tgtEl>
                                      </p:cBhvr>
                                    </p:animEffect>
                                    <p:animScale>
                                      <p:cBhvr>
                                        <p:cTn id="380" dur="1000" autoRev="1" fill="hold"/>
                                        <p:tgtEl>
                                          <p:spTgt spid="424"/>
                                        </p:tgtEl>
                                      </p:cBhvr>
                                      <p:by x="105000" y="105000"/>
                                    </p:animScale>
                                  </p:childTnLst>
                                </p:cTn>
                              </p:par>
                              <p:par>
                                <p:cTn id="381" presetID="26" presetClass="emph" presetSubtype="0" dur="2000" repeatCount="indefinite" fill="hold" grpId="0" nodeType="withEffect">
                                  <p:stCondLst>
                                    <p:cond delay="2500"/>
                                  </p:stCondLst>
                                  <p:childTnLst>
                                    <p:animEffect transition="out" filter="fade">
                                      <p:cBhvr>
                                        <p:cTn id="382" dur="2000" tmFilter="0, 0; .2, .5; .8, .5; 1, 0"/>
                                        <p:tgtEl>
                                          <p:spTgt spid="425"/>
                                        </p:tgtEl>
                                      </p:cBhvr>
                                    </p:animEffect>
                                    <p:animScale>
                                      <p:cBhvr>
                                        <p:cTn id="383" dur="1000" autoRev="1" fill="hold"/>
                                        <p:tgtEl>
                                          <p:spTgt spid="425"/>
                                        </p:tgtEl>
                                      </p:cBhvr>
                                      <p:by x="105000" y="105000"/>
                                    </p:animScale>
                                  </p:childTnLst>
                                </p:cTn>
                              </p:par>
                              <p:par>
                                <p:cTn id="384" presetID="26" presetClass="emph" presetSubtype="0" dur="2000" repeatCount="indefinite" fill="hold" grpId="0" nodeType="withEffect">
                                  <p:stCondLst>
                                    <p:cond delay="2500"/>
                                  </p:stCondLst>
                                  <p:childTnLst>
                                    <p:animEffect transition="out" filter="fade">
                                      <p:cBhvr>
                                        <p:cTn id="385" dur="2000" tmFilter="0, 0; .2, .5; .8, .5; 1, 0"/>
                                        <p:tgtEl>
                                          <p:spTgt spid="426"/>
                                        </p:tgtEl>
                                      </p:cBhvr>
                                    </p:animEffect>
                                    <p:animScale>
                                      <p:cBhvr>
                                        <p:cTn id="386" dur="1000" autoRev="1" fill="hold"/>
                                        <p:tgtEl>
                                          <p:spTgt spid="426"/>
                                        </p:tgtEl>
                                      </p:cBhvr>
                                      <p:by x="105000" y="105000"/>
                                    </p:animScale>
                                  </p:childTnLst>
                                </p:cTn>
                              </p:par>
                              <p:par>
                                <p:cTn id="387" presetID="26" presetClass="emph" presetSubtype="0" dur="2000" repeatCount="indefinite" fill="hold" grpId="0" nodeType="withEffect">
                                  <p:stCondLst>
                                    <p:cond delay="2500"/>
                                  </p:stCondLst>
                                  <p:childTnLst>
                                    <p:animEffect transition="out" filter="fade">
                                      <p:cBhvr>
                                        <p:cTn id="388" dur="2000" tmFilter="0, 0; .2, .5; .8, .5; 1, 0"/>
                                        <p:tgtEl>
                                          <p:spTgt spid="427"/>
                                        </p:tgtEl>
                                      </p:cBhvr>
                                    </p:animEffect>
                                    <p:animScale>
                                      <p:cBhvr>
                                        <p:cTn id="389" dur="1000" autoRev="1" fill="hold"/>
                                        <p:tgtEl>
                                          <p:spTgt spid="427"/>
                                        </p:tgtEl>
                                      </p:cBhvr>
                                      <p:by x="105000" y="105000"/>
                                    </p:animScale>
                                  </p:childTnLst>
                                </p:cTn>
                              </p:par>
                              <p:par>
                                <p:cTn id="390" presetID="26" presetClass="emph" presetSubtype="0" dur="2000" repeatCount="indefinite" fill="hold" grpId="0" nodeType="withEffect">
                                  <p:stCondLst>
                                    <p:cond delay="2500"/>
                                  </p:stCondLst>
                                  <p:childTnLst>
                                    <p:animEffect transition="out" filter="fade">
                                      <p:cBhvr>
                                        <p:cTn id="391" dur="2000" tmFilter="0, 0; .2, .5; .8, .5; 1, 0"/>
                                        <p:tgtEl>
                                          <p:spTgt spid="428"/>
                                        </p:tgtEl>
                                      </p:cBhvr>
                                    </p:animEffect>
                                    <p:animScale>
                                      <p:cBhvr>
                                        <p:cTn id="392" dur="1000" autoRev="1" fill="hold"/>
                                        <p:tgtEl>
                                          <p:spTgt spid="428"/>
                                        </p:tgtEl>
                                      </p:cBhvr>
                                      <p:by x="105000" y="105000"/>
                                    </p:animScale>
                                  </p:childTnLst>
                                </p:cTn>
                              </p:par>
                              <p:par>
                                <p:cTn id="393" presetID="26" presetClass="emph" presetSubtype="0" dur="2000" repeatCount="indefinite" fill="hold" grpId="0" nodeType="withEffect">
                                  <p:stCondLst>
                                    <p:cond delay="2500"/>
                                  </p:stCondLst>
                                  <p:childTnLst>
                                    <p:animEffect transition="out" filter="fade">
                                      <p:cBhvr>
                                        <p:cTn id="394" dur="2000" tmFilter="0, 0; .2, .5; .8, .5; 1, 0"/>
                                        <p:tgtEl>
                                          <p:spTgt spid="429"/>
                                        </p:tgtEl>
                                      </p:cBhvr>
                                    </p:animEffect>
                                    <p:animScale>
                                      <p:cBhvr>
                                        <p:cTn id="395" dur="1000" autoRev="1" fill="hold"/>
                                        <p:tgtEl>
                                          <p:spTgt spid="429"/>
                                        </p:tgtEl>
                                      </p:cBhvr>
                                      <p:by x="105000" y="105000"/>
                                    </p:animScale>
                                  </p:childTnLst>
                                </p:cTn>
                              </p:par>
                              <p:par>
                                <p:cTn id="396" presetID="26" presetClass="emph" presetSubtype="0" dur="2000" repeatCount="indefinite" fill="hold" grpId="0" nodeType="withEffect">
                                  <p:stCondLst>
                                    <p:cond delay="2500"/>
                                  </p:stCondLst>
                                  <p:childTnLst>
                                    <p:animEffect transition="out" filter="fade">
                                      <p:cBhvr>
                                        <p:cTn id="397" dur="2000" tmFilter="0, 0; .2, .5; .8, .5; 1, 0"/>
                                        <p:tgtEl>
                                          <p:spTgt spid="430"/>
                                        </p:tgtEl>
                                      </p:cBhvr>
                                    </p:animEffect>
                                    <p:animScale>
                                      <p:cBhvr>
                                        <p:cTn id="398" dur="1000" autoRev="1" fill="hold"/>
                                        <p:tgtEl>
                                          <p:spTgt spid="430"/>
                                        </p:tgtEl>
                                      </p:cBhvr>
                                      <p:by x="105000" y="105000"/>
                                    </p:animScale>
                                  </p:childTnLst>
                                </p:cTn>
                              </p:par>
                              <p:par>
                                <p:cTn id="399" presetID="26" presetClass="emph" presetSubtype="0" dur="2000" repeatCount="indefinite" fill="hold" grpId="0" nodeType="withEffect">
                                  <p:stCondLst>
                                    <p:cond delay="2500"/>
                                  </p:stCondLst>
                                  <p:childTnLst>
                                    <p:animEffect transition="out" filter="fade">
                                      <p:cBhvr>
                                        <p:cTn id="400" dur="2000" tmFilter="0, 0; .2, .5; .8, .5; 1, 0"/>
                                        <p:tgtEl>
                                          <p:spTgt spid="431"/>
                                        </p:tgtEl>
                                      </p:cBhvr>
                                    </p:animEffect>
                                    <p:animScale>
                                      <p:cBhvr>
                                        <p:cTn id="401" dur="1000" autoRev="1" fill="hold"/>
                                        <p:tgtEl>
                                          <p:spTgt spid="431"/>
                                        </p:tgtEl>
                                      </p:cBhvr>
                                      <p:by x="105000" y="105000"/>
                                    </p:animScale>
                                  </p:childTnLst>
                                </p:cTn>
                              </p:par>
                              <p:par>
                                <p:cTn id="402" presetID="26" presetClass="emph" presetSubtype="0" dur="2000" repeatCount="indefinite" fill="hold" grpId="0" nodeType="withEffect">
                                  <p:stCondLst>
                                    <p:cond delay="2500"/>
                                  </p:stCondLst>
                                  <p:childTnLst>
                                    <p:animEffect transition="out" filter="fade">
                                      <p:cBhvr>
                                        <p:cTn id="403" dur="2000" tmFilter="0, 0; .2, .5; .8, .5; 1, 0"/>
                                        <p:tgtEl>
                                          <p:spTgt spid="432"/>
                                        </p:tgtEl>
                                      </p:cBhvr>
                                    </p:animEffect>
                                    <p:animScale>
                                      <p:cBhvr>
                                        <p:cTn id="404" dur="1000" autoRev="1" fill="hold"/>
                                        <p:tgtEl>
                                          <p:spTgt spid="432"/>
                                        </p:tgtEl>
                                      </p:cBhvr>
                                      <p:by x="105000" y="105000"/>
                                    </p:animScale>
                                  </p:childTnLst>
                                </p:cTn>
                              </p:par>
                              <p:par>
                                <p:cTn id="405" presetID="26" presetClass="emph" presetSubtype="0" dur="2000" repeatCount="indefinite" fill="hold" grpId="0" nodeType="withEffect">
                                  <p:stCondLst>
                                    <p:cond delay="2500"/>
                                  </p:stCondLst>
                                  <p:childTnLst>
                                    <p:animEffect transition="out" filter="fade">
                                      <p:cBhvr>
                                        <p:cTn id="406" dur="2000" tmFilter="0, 0; .2, .5; .8, .5; 1, 0"/>
                                        <p:tgtEl>
                                          <p:spTgt spid="433"/>
                                        </p:tgtEl>
                                      </p:cBhvr>
                                    </p:animEffect>
                                    <p:animScale>
                                      <p:cBhvr>
                                        <p:cTn id="407" dur="1000" autoRev="1" fill="hold"/>
                                        <p:tgtEl>
                                          <p:spTgt spid="433"/>
                                        </p:tgtEl>
                                      </p:cBhvr>
                                      <p:by x="105000" y="105000"/>
                                    </p:animScale>
                                  </p:childTnLst>
                                </p:cTn>
                              </p:par>
                              <p:par>
                                <p:cTn id="408" presetID="26" presetClass="emph" presetSubtype="0" dur="2000" repeatCount="indefinite" fill="hold" grpId="0" nodeType="withEffect">
                                  <p:stCondLst>
                                    <p:cond delay="2500"/>
                                  </p:stCondLst>
                                  <p:childTnLst>
                                    <p:animEffect transition="out" filter="fade">
                                      <p:cBhvr>
                                        <p:cTn id="409" dur="2000" tmFilter="0, 0; .2, .5; .8, .5; 1, 0"/>
                                        <p:tgtEl>
                                          <p:spTgt spid="434"/>
                                        </p:tgtEl>
                                      </p:cBhvr>
                                    </p:animEffect>
                                    <p:animScale>
                                      <p:cBhvr>
                                        <p:cTn id="410" dur="1000" autoRev="1" fill="hold"/>
                                        <p:tgtEl>
                                          <p:spTgt spid="434"/>
                                        </p:tgtEl>
                                      </p:cBhvr>
                                      <p:by x="105000" y="105000"/>
                                    </p:animScale>
                                  </p:childTnLst>
                                </p:cTn>
                              </p:par>
                              <p:par>
                                <p:cTn id="411" presetID="26" presetClass="emph" presetSubtype="0" dur="2000" repeatCount="indefinite" fill="hold" grpId="0" nodeType="withEffect">
                                  <p:stCondLst>
                                    <p:cond delay="2500"/>
                                  </p:stCondLst>
                                  <p:childTnLst>
                                    <p:animEffect transition="out" filter="fade">
                                      <p:cBhvr>
                                        <p:cTn id="412" dur="2000" tmFilter="0, 0; .2, .5; .8, .5; 1, 0"/>
                                        <p:tgtEl>
                                          <p:spTgt spid="435"/>
                                        </p:tgtEl>
                                      </p:cBhvr>
                                    </p:animEffect>
                                    <p:animScale>
                                      <p:cBhvr>
                                        <p:cTn id="413" dur="1000" autoRev="1" fill="hold"/>
                                        <p:tgtEl>
                                          <p:spTgt spid="435"/>
                                        </p:tgtEl>
                                      </p:cBhvr>
                                      <p:by x="105000" y="105000"/>
                                    </p:animScale>
                                  </p:childTnLst>
                                </p:cTn>
                              </p:par>
                              <p:par>
                                <p:cTn id="414" presetID="26" presetClass="emph" presetSubtype="0" dur="2000" repeatCount="indefinite" fill="hold" grpId="0" nodeType="withEffect">
                                  <p:stCondLst>
                                    <p:cond delay="2500"/>
                                  </p:stCondLst>
                                  <p:childTnLst>
                                    <p:animEffect transition="out" filter="fade">
                                      <p:cBhvr>
                                        <p:cTn id="415" dur="2000" tmFilter="0, 0; .2, .5; .8, .5; 1, 0"/>
                                        <p:tgtEl>
                                          <p:spTgt spid="436"/>
                                        </p:tgtEl>
                                      </p:cBhvr>
                                    </p:animEffect>
                                    <p:animScale>
                                      <p:cBhvr>
                                        <p:cTn id="416" dur="1000" autoRev="1" fill="hold"/>
                                        <p:tgtEl>
                                          <p:spTgt spid="436"/>
                                        </p:tgtEl>
                                      </p:cBhvr>
                                      <p:by x="105000" y="105000"/>
                                    </p:animScale>
                                  </p:childTnLst>
                                </p:cTn>
                              </p:par>
                              <p:par>
                                <p:cTn id="417" presetID="26" presetClass="emph" presetSubtype="0" dur="2000" repeatCount="indefinite" fill="hold" grpId="0" nodeType="withEffect">
                                  <p:stCondLst>
                                    <p:cond delay="2500"/>
                                  </p:stCondLst>
                                  <p:childTnLst>
                                    <p:animEffect transition="out" filter="fade">
                                      <p:cBhvr>
                                        <p:cTn id="418" dur="2000" tmFilter="0, 0; .2, .5; .8, .5; 1, 0"/>
                                        <p:tgtEl>
                                          <p:spTgt spid="437"/>
                                        </p:tgtEl>
                                      </p:cBhvr>
                                    </p:animEffect>
                                    <p:animScale>
                                      <p:cBhvr>
                                        <p:cTn id="419" dur="1000" autoRev="1" fill="hold"/>
                                        <p:tgtEl>
                                          <p:spTgt spid="437"/>
                                        </p:tgtEl>
                                      </p:cBhvr>
                                      <p:by x="105000" y="105000"/>
                                    </p:animScale>
                                  </p:childTnLst>
                                </p:cTn>
                              </p:par>
                              <p:par>
                                <p:cTn id="420" presetID="26" presetClass="emph" presetSubtype="0" dur="2000" repeatCount="indefinite" fill="hold" grpId="0" nodeType="withEffect">
                                  <p:stCondLst>
                                    <p:cond delay="2750"/>
                                  </p:stCondLst>
                                  <p:childTnLst>
                                    <p:animEffect transition="out" filter="fade">
                                      <p:cBhvr>
                                        <p:cTn id="421" dur="2000" tmFilter="0, 0; .2, .5; .8, .5; 1, 0"/>
                                        <p:tgtEl>
                                          <p:spTgt spid="438"/>
                                        </p:tgtEl>
                                      </p:cBhvr>
                                    </p:animEffect>
                                    <p:animScale>
                                      <p:cBhvr>
                                        <p:cTn id="422" dur="1000" autoRev="1" fill="hold"/>
                                        <p:tgtEl>
                                          <p:spTgt spid="438"/>
                                        </p:tgtEl>
                                      </p:cBhvr>
                                      <p:by x="105000" y="105000"/>
                                    </p:animScale>
                                  </p:childTnLst>
                                </p:cTn>
                              </p:par>
                              <p:par>
                                <p:cTn id="423" presetID="26" presetClass="emph" presetSubtype="0" dur="2000" repeatCount="indefinite" fill="hold" grpId="0" nodeType="withEffect">
                                  <p:stCondLst>
                                    <p:cond delay="2750"/>
                                  </p:stCondLst>
                                  <p:childTnLst>
                                    <p:animEffect transition="out" filter="fade">
                                      <p:cBhvr>
                                        <p:cTn id="424" dur="2000" tmFilter="0, 0; .2, .5; .8, .5; 1, 0"/>
                                        <p:tgtEl>
                                          <p:spTgt spid="439"/>
                                        </p:tgtEl>
                                      </p:cBhvr>
                                    </p:animEffect>
                                    <p:animScale>
                                      <p:cBhvr>
                                        <p:cTn id="425" dur="1000" autoRev="1" fill="hold"/>
                                        <p:tgtEl>
                                          <p:spTgt spid="439"/>
                                        </p:tgtEl>
                                      </p:cBhvr>
                                      <p:by x="105000" y="105000"/>
                                    </p:animScale>
                                  </p:childTnLst>
                                </p:cTn>
                              </p:par>
                              <p:par>
                                <p:cTn id="426" presetID="26" presetClass="emph" presetSubtype="0" dur="2000" repeatCount="indefinite" fill="hold" grpId="0" nodeType="withEffect">
                                  <p:stCondLst>
                                    <p:cond delay="2750"/>
                                  </p:stCondLst>
                                  <p:childTnLst>
                                    <p:animEffect transition="out" filter="fade">
                                      <p:cBhvr>
                                        <p:cTn id="427" dur="2000" tmFilter="0, 0; .2, .5; .8, .5; 1, 0"/>
                                        <p:tgtEl>
                                          <p:spTgt spid="440"/>
                                        </p:tgtEl>
                                      </p:cBhvr>
                                    </p:animEffect>
                                    <p:animScale>
                                      <p:cBhvr>
                                        <p:cTn id="428" dur="1000" autoRev="1" fill="hold"/>
                                        <p:tgtEl>
                                          <p:spTgt spid="440"/>
                                        </p:tgtEl>
                                      </p:cBhvr>
                                      <p:by x="105000" y="105000"/>
                                    </p:animScale>
                                  </p:childTnLst>
                                </p:cTn>
                              </p:par>
                              <p:par>
                                <p:cTn id="429" presetID="26" presetClass="emph" presetSubtype="0" dur="2000" repeatCount="indefinite" fill="hold" grpId="0" nodeType="withEffect">
                                  <p:stCondLst>
                                    <p:cond delay="2750"/>
                                  </p:stCondLst>
                                  <p:childTnLst>
                                    <p:animEffect transition="out" filter="fade">
                                      <p:cBhvr>
                                        <p:cTn id="430" dur="2000" tmFilter="0, 0; .2, .5; .8, .5; 1, 0"/>
                                        <p:tgtEl>
                                          <p:spTgt spid="441"/>
                                        </p:tgtEl>
                                      </p:cBhvr>
                                    </p:animEffect>
                                    <p:animScale>
                                      <p:cBhvr>
                                        <p:cTn id="431" dur="1000" autoRev="1" fill="hold"/>
                                        <p:tgtEl>
                                          <p:spTgt spid="441"/>
                                        </p:tgtEl>
                                      </p:cBhvr>
                                      <p:by x="105000" y="105000"/>
                                    </p:animScale>
                                  </p:childTnLst>
                                </p:cTn>
                              </p:par>
                              <p:par>
                                <p:cTn id="432" presetID="26" presetClass="emph" presetSubtype="0" dur="2000" repeatCount="indefinite" fill="hold" grpId="0" nodeType="withEffect">
                                  <p:stCondLst>
                                    <p:cond delay="2750"/>
                                  </p:stCondLst>
                                  <p:childTnLst>
                                    <p:animEffect transition="out" filter="fade">
                                      <p:cBhvr>
                                        <p:cTn id="433" dur="2000" tmFilter="0, 0; .2, .5; .8, .5; 1, 0"/>
                                        <p:tgtEl>
                                          <p:spTgt spid="442"/>
                                        </p:tgtEl>
                                      </p:cBhvr>
                                    </p:animEffect>
                                    <p:animScale>
                                      <p:cBhvr>
                                        <p:cTn id="434" dur="1000" autoRev="1" fill="hold"/>
                                        <p:tgtEl>
                                          <p:spTgt spid="442"/>
                                        </p:tgtEl>
                                      </p:cBhvr>
                                      <p:by x="105000" y="105000"/>
                                    </p:animScale>
                                  </p:childTnLst>
                                </p:cTn>
                              </p:par>
                              <p:par>
                                <p:cTn id="435" presetID="26" presetClass="emph" presetSubtype="0" dur="2000" repeatCount="indefinite" fill="hold" grpId="0" nodeType="withEffect">
                                  <p:stCondLst>
                                    <p:cond delay="2750"/>
                                  </p:stCondLst>
                                  <p:childTnLst>
                                    <p:animEffect transition="out" filter="fade">
                                      <p:cBhvr>
                                        <p:cTn id="436" dur="2000" tmFilter="0, 0; .2, .5; .8, .5; 1, 0"/>
                                        <p:tgtEl>
                                          <p:spTgt spid="443"/>
                                        </p:tgtEl>
                                      </p:cBhvr>
                                    </p:animEffect>
                                    <p:animScale>
                                      <p:cBhvr>
                                        <p:cTn id="437" dur="1000" autoRev="1" fill="hold"/>
                                        <p:tgtEl>
                                          <p:spTgt spid="443"/>
                                        </p:tgtEl>
                                      </p:cBhvr>
                                      <p:by x="105000" y="105000"/>
                                    </p:animScale>
                                  </p:childTnLst>
                                </p:cTn>
                              </p:par>
                              <p:par>
                                <p:cTn id="438" presetID="26" presetClass="emph" presetSubtype="0" dur="2000" repeatCount="indefinite" fill="hold" grpId="0" nodeType="withEffect">
                                  <p:stCondLst>
                                    <p:cond delay="2750"/>
                                  </p:stCondLst>
                                  <p:childTnLst>
                                    <p:animEffect transition="out" filter="fade">
                                      <p:cBhvr>
                                        <p:cTn id="439" dur="2000" tmFilter="0, 0; .2, .5; .8, .5; 1, 0"/>
                                        <p:tgtEl>
                                          <p:spTgt spid="444"/>
                                        </p:tgtEl>
                                      </p:cBhvr>
                                    </p:animEffect>
                                    <p:animScale>
                                      <p:cBhvr>
                                        <p:cTn id="440" dur="1000" autoRev="1" fill="hold"/>
                                        <p:tgtEl>
                                          <p:spTgt spid="444"/>
                                        </p:tgtEl>
                                      </p:cBhvr>
                                      <p:by x="105000" y="105000"/>
                                    </p:animScale>
                                  </p:childTnLst>
                                </p:cTn>
                              </p:par>
                              <p:par>
                                <p:cTn id="441" presetID="26" presetClass="emph" presetSubtype="0" dur="2000" repeatCount="indefinite" fill="hold" grpId="0" nodeType="withEffect">
                                  <p:stCondLst>
                                    <p:cond delay="2750"/>
                                  </p:stCondLst>
                                  <p:childTnLst>
                                    <p:animEffect transition="out" filter="fade">
                                      <p:cBhvr>
                                        <p:cTn id="442" dur="2000" tmFilter="0, 0; .2, .5; .8, .5; 1, 0"/>
                                        <p:tgtEl>
                                          <p:spTgt spid="445"/>
                                        </p:tgtEl>
                                      </p:cBhvr>
                                    </p:animEffect>
                                    <p:animScale>
                                      <p:cBhvr>
                                        <p:cTn id="443" dur="1000" autoRev="1" fill="hold"/>
                                        <p:tgtEl>
                                          <p:spTgt spid="445"/>
                                        </p:tgtEl>
                                      </p:cBhvr>
                                      <p:by x="105000" y="105000"/>
                                    </p:animScale>
                                  </p:childTnLst>
                                </p:cTn>
                              </p:par>
                              <p:par>
                                <p:cTn id="444" presetID="26" presetClass="emph" presetSubtype="0" dur="2000" repeatCount="indefinite" fill="hold" grpId="0" nodeType="withEffect">
                                  <p:stCondLst>
                                    <p:cond delay="2750"/>
                                  </p:stCondLst>
                                  <p:childTnLst>
                                    <p:animEffect transition="out" filter="fade">
                                      <p:cBhvr>
                                        <p:cTn id="445" dur="2000" tmFilter="0, 0; .2, .5; .8, .5; 1, 0"/>
                                        <p:tgtEl>
                                          <p:spTgt spid="446"/>
                                        </p:tgtEl>
                                      </p:cBhvr>
                                    </p:animEffect>
                                    <p:animScale>
                                      <p:cBhvr>
                                        <p:cTn id="446" dur="1000" autoRev="1" fill="hold"/>
                                        <p:tgtEl>
                                          <p:spTgt spid="446"/>
                                        </p:tgtEl>
                                      </p:cBhvr>
                                      <p:by x="105000" y="105000"/>
                                    </p:animScale>
                                  </p:childTnLst>
                                </p:cTn>
                              </p:par>
                              <p:par>
                                <p:cTn id="447" presetID="26" presetClass="emph" presetSubtype="0" dur="2000" repeatCount="indefinite" fill="hold" grpId="0" nodeType="withEffect">
                                  <p:stCondLst>
                                    <p:cond delay="2750"/>
                                  </p:stCondLst>
                                  <p:childTnLst>
                                    <p:animEffect transition="out" filter="fade">
                                      <p:cBhvr>
                                        <p:cTn id="448" dur="2000" tmFilter="0, 0; .2, .5; .8, .5; 1, 0"/>
                                        <p:tgtEl>
                                          <p:spTgt spid="447"/>
                                        </p:tgtEl>
                                      </p:cBhvr>
                                    </p:animEffect>
                                    <p:animScale>
                                      <p:cBhvr>
                                        <p:cTn id="449" dur="1000" autoRev="1" fill="hold"/>
                                        <p:tgtEl>
                                          <p:spTgt spid="447"/>
                                        </p:tgtEl>
                                      </p:cBhvr>
                                      <p:by x="105000" y="105000"/>
                                    </p:animScale>
                                  </p:childTnLst>
                                </p:cTn>
                              </p:par>
                              <p:par>
                                <p:cTn id="450" presetID="26" presetClass="emph" presetSubtype="0" dur="2000" repeatCount="indefinite" fill="hold" grpId="0" nodeType="withEffect">
                                  <p:stCondLst>
                                    <p:cond delay="2750"/>
                                  </p:stCondLst>
                                  <p:childTnLst>
                                    <p:animEffect transition="out" filter="fade">
                                      <p:cBhvr>
                                        <p:cTn id="451" dur="2000" tmFilter="0, 0; .2, .5; .8, .5; 1, 0"/>
                                        <p:tgtEl>
                                          <p:spTgt spid="448"/>
                                        </p:tgtEl>
                                      </p:cBhvr>
                                    </p:animEffect>
                                    <p:animScale>
                                      <p:cBhvr>
                                        <p:cTn id="452" dur="1000" autoRev="1" fill="hold"/>
                                        <p:tgtEl>
                                          <p:spTgt spid="448"/>
                                        </p:tgtEl>
                                      </p:cBhvr>
                                      <p:by x="105000" y="105000"/>
                                    </p:animScale>
                                  </p:childTnLst>
                                </p:cTn>
                              </p:par>
                              <p:par>
                                <p:cTn id="453" presetID="26" presetClass="emph" presetSubtype="0" dur="2000" repeatCount="indefinite" fill="hold" grpId="0" nodeType="withEffect">
                                  <p:stCondLst>
                                    <p:cond delay="2750"/>
                                  </p:stCondLst>
                                  <p:childTnLst>
                                    <p:animEffect transition="out" filter="fade">
                                      <p:cBhvr>
                                        <p:cTn id="454" dur="2000" tmFilter="0, 0; .2, .5; .8, .5; 1, 0"/>
                                        <p:tgtEl>
                                          <p:spTgt spid="449"/>
                                        </p:tgtEl>
                                      </p:cBhvr>
                                    </p:animEffect>
                                    <p:animScale>
                                      <p:cBhvr>
                                        <p:cTn id="455" dur="1000" autoRev="1" fill="hold"/>
                                        <p:tgtEl>
                                          <p:spTgt spid="449"/>
                                        </p:tgtEl>
                                      </p:cBhvr>
                                      <p:by x="105000" y="105000"/>
                                    </p:animScale>
                                  </p:childTnLst>
                                </p:cTn>
                              </p:par>
                              <p:par>
                                <p:cTn id="456" presetID="26" presetClass="emph" presetSubtype="0" dur="2000" repeatCount="indefinite" fill="hold" grpId="0" nodeType="withEffect">
                                  <p:stCondLst>
                                    <p:cond delay="2750"/>
                                  </p:stCondLst>
                                  <p:childTnLst>
                                    <p:animEffect transition="out" filter="fade">
                                      <p:cBhvr>
                                        <p:cTn id="457" dur="2000" tmFilter="0, 0; .2, .5; .8, .5; 1, 0"/>
                                        <p:tgtEl>
                                          <p:spTgt spid="450"/>
                                        </p:tgtEl>
                                      </p:cBhvr>
                                    </p:animEffect>
                                    <p:animScale>
                                      <p:cBhvr>
                                        <p:cTn id="458" dur="1000" autoRev="1" fill="hold"/>
                                        <p:tgtEl>
                                          <p:spTgt spid="450"/>
                                        </p:tgtEl>
                                      </p:cBhvr>
                                      <p:by x="105000" y="105000"/>
                                    </p:animScale>
                                  </p:childTnLst>
                                </p:cTn>
                              </p:par>
                              <p:par>
                                <p:cTn id="459" presetID="26" presetClass="emph" presetSubtype="0" dur="2000" repeatCount="indefinite" fill="hold" grpId="0" nodeType="withEffect">
                                  <p:stCondLst>
                                    <p:cond delay="2750"/>
                                  </p:stCondLst>
                                  <p:childTnLst>
                                    <p:animEffect transition="out" filter="fade">
                                      <p:cBhvr>
                                        <p:cTn id="460" dur="2000" tmFilter="0, 0; .2, .5; .8, .5; 1, 0"/>
                                        <p:tgtEl>
                                          <p:spTgt spid="451"/>
                                        </p:tgtEl>
                                      </p:cBhvr>
                                    </p:animEffect>
                                    <p:animScale>
                                      <p:cBhvr>
                                        <p:cTn id="461" dur="1000" autoRev="1" fill="hold"/>
                                        <p:tgtEl>
                                          <p:spTgt spid="451"/>
                                        </p:tgtEl>
                                      </p:cBhvr>
                                      <p:by x="105000" y="105000"/>
                                    </p:animScale>
                                  </p:childTnLst>
                                </p:cTn>
                              </p:par>
                              <p:par>
                                <p:cTn id="462" presetID="26" presetClass="emph" presetSubtype="0" dur="2000" repeatCount="indefinite" fill="hold" grpId="0" nodeType="withEffect">
                                  <p:stCondLst>
                                    <p:cond delay="3000"/>
                                  </p:stCondLst>
                                  <p:childTnLst>
                                    <p:animEffect transition="out" filter="fade">
                                      <p:cBhvr>
                                        <p:cTn id="463" dur="2000" tmFilter="0, 0; .2, .5; .8, .5; 1, 0"/>
                                        <p:tgtEl>
                                          <p:spTgt spid="452"/>
                                        </p:tgtEl>
                                      </p:cBhvr>
                                    </p:animEffect>
                                    <p:animScale>
                                      <p:cBhvr>
                                        <p:cTn id="464" dur="1000" autoRev="1" fill="hold"/>
                                        <p:tgtEl>
                                          <p:spTgt spid="452"/>
                                        </p:tgtEl>
                                      </p:cBhvr>
                                      <p:by x="105000" y="105000"/>
                                    </p:animScale>
                                  </p:childTnLst>
                                </p:cTn>
                              </p:par>
                              <p:par>
                                <p:cTn id="465" presetID="26" presetClass="emph" presetSubtype="0" dur="2000" repeatCount="indefinite" fill="hold" grpId="0" nodeType="withEffect">
                                  <p:stCondLst>
                                    <p:cond delay="3000"/>
                                  </p:stCondLst>
                                  <p:childTnLst>
                                    <p:animEffect transition="out" filter="fade">
                                      <p:cBhvr>
                                        <p:cTn id="466" dur="2000" tmFilter="0, 0; .2, .5; .8, .5; 1, 0"/>
                                        <p:tgtEl>
                                          <p:spTgt spid="453"/>
                                        </p:tgtEl>
                                      </p:cBhvr>
                                    </p:animEffect>
                                    <p:animScale>
                                      <p:cBhvr>
                                        <p:cTn id="467" dur="1000" autoRev="1" fill="hold"/>
                                        <p:tgtEl>
                                          <p:spTgt spid="453"/>
                                        </p:tgtEl>
                                      </p:cBhvr>
                                      <p:by x="105000" y="105000"/>
                                    </p:animScale>
                                  </p:childTnLst>
                                </p:cTn>
                              </p:par>
                              <p:par>
                                <p:cTn id="468" presetID="26" presetClass="emph" presetSubtype="0" dur="2000" repeatCount="indefinite" fill="hold" grpId="0" nodeType="withEffect">
                                  <p:stCondLst>
                                    <p:cond delay="3000"/>
                                  </p:stCondLst>
                                  <p:childTnLst>
                                    <p:animEffect transition="out" filter="fade">
                                      <p:cBhvr>
                                        <p:cTn id="469" dur="2000" tmFilter="0, 0; .2, .5; .8, .5; 1, 0"/>
                                        <p:tgtEl>
                                          <p:spTgt spid="454"/>
                                        </p:tgtEl>
                                      </p:cBhvr>
                                    </p:animEffect>
                                    <p:animScale>
                                      <p:cBhvr>
                                        <p:cTn id="470" dur="1000" autoRev="1" fill="hold"/>
                                        <p:tgtEl>
                                          <p:spTgt spid="454"/>
                                        </p:tgtEl>
                                      </p:cBhvr>
                                      <p:by x="105000" y="105000"/>
                                    </p:animScale>
                                  </p:childTnLst>
                                </p:cTn>
                              </p:par>
                              <p:par>
                                <p:cTn id="471" presetID="26" presetClass="emph" presetSubtype="0" dur="2000" repeatCount="indefinite" fill="hold" grpId="0" nodeType="withEffect">
                                  <p:stCondLst>
                                    <p:cond delay="3000"/>
                                  </p:stCondLst>
                                  <p:childTnLst>
                                    <p:animEffect transition="out" filter="fade">
                                      <p:cBhvr>
                                        <p:cTn id="472" dur="2000" tmFilter="0, 0; .2, .5; .8, .5; 1, 0"/>
                                        <p:tgtEl>
                                          <p:spTgt spid="455"/>
                                        </p:tgtEl>
                                      </p:cBhvr>
                                    </p:animEffect>
                                    <p:animScale>
                                      <p:cBhvr>
                                        <p:cTn id="473" dur="1000" autoRev="1" fill="hold"/>
                                        <p:tgtEl>
                                          <p:spTgt spid="455"/>
                                        </p:tgtEl>
                                      </p:cBhvr>
                                      <p:by x="105000" y="105000"/>
                                    </p:animScale>
                                  </p:childTnLst>
                                </p:cTn>
                              </p:par>
                              <p:par>
                                <p:cTn id="474" presetID="26" presetClass="emph" presetSubtype="0" dur="2000" repeatCount="indefinite" fill="hold" grpId="0" nodeType="withEffect">
                                  <p:stCondLst>
                                    <p:cond delay="3000"/>
                                  </p:stCondLst>
                                  <p:childTnLst>
                                    <p:animEffect transition="out" filter="fade">
                                      <p:cBhvr>
                                        <p:cTn id="475" dur="2000" tmFilter="0, 0; .2, .5; .8, .5; 1, 0"/>
                                        <p:tgtEl>
                                          <p:spTgt spid="456"/>
                                        </p:tgtEl>
                                      </p:cBhvr>
                                    </p:animEffect>
                                    <p:animScale>
                                      <p:cBhvr>
                                        <p:cTn id="476" dur="1000" autoRev="1" fill="hold"/>
                                        <p:tgtEl>
                                          <p:spTgt spid="456"/>
                                        </p:tgtEl>
                                      </p:cBhvr>
                                      <p:by x="105000" y="105000"/>
                                    </p:animScale>
                                  </p:childTnLst>
                                </p:cTn>
                              </p:par>
                              <p:par>
                                <p:cTn id="477" presetID="26" presetClass="emph" presetSubtype="0" dur="2000" repeatCount="indefinite" fill="hold" grpId="0" nodeType="withEffect">
                                  <p:stCondLst>
                                    <p:cond delay="3000"/>
                                  </p:stCondLst>
                                  <p:childTnLst>
                                    <p:animEffect transition="out" filter="fade">
                                      <p:cBhvr>
                                        <p:cTn id="478" dur="2000" tmFilter="0, 0; .2, .5; .8, .5; 1, 0"/>
                                        <p:tgtEl>
                                          <p:spTgt spid="457"/>
                                        </p:tgtEl>
                                      </p:cBhvr>
                                    </p:animEffect>
                                    <p:animScale>
                                      <p:cBhvr>
                                        <p:cTn id="479" dur="1000" autoRev="1" fill="hold"/>
                                        <p:tgtEl>
                                          <p:spTgt spid="457"/>
                                        </p:tgtEl>
                                      </p:cBhvr>
                                      <p:by x="105000" y="105000"/>
                                    </p:animScale>
                                  </p:childTnLst>
                                </p:cTn>
                              </p:par>
                              <p:par>
                                <p:cTn id="480" presetID="26" presetClass="emph" presetSubtype="0" dur="2000" repeatCount="indefinite" fill="hold" grpId="0" nodeType="withEffect">
                                  <p:stCondLst>
                                    <p:cond delay="3000"/>
                                  </p:stCondLst>
                                  <p:childTnLst>
                                    <p:animEffect transition="out" filter="fade">
                                      <p:cBhvr>
                                        <p:cTn id="481" dur="2000" tmFilter="0, 0; .2, .5; .8, .5; 1, 0"/>
                                        <p:tgtEl>
                                          <p:spTgt spid="458"/>
                                        </p:tgtEl>
                                      </p:cBhvr>
                                    </p:animEffect>
                                    <p:animScale>
                                      <p:cBhvr>
                                        <p:cTn id="482" dur="1000" autoRev="1" fill="hold"/>
                                        <p:tgtEl>
                                          <p:spTgt spid="458"/>
                                        </p:tgtEl>
                                      </p:cBhvr>
                                      <p:by x="105000" y="105000"/>
                                    </p:animScale>
                                  </p:childTnLst>
                                </p:cTn>
                              </p:par>
                              <p:par>
                                <p:cTn id="483" presetID="26" presetClass="emph" presetSubtype="0" dur="2000" repeatCount="indefinite" fill="hold" grpId="0" nodeType="withEffect">
                                  <p:stCondLst>
                                    <p:cond delay="3000"/>
                                  </p:stCondLst>
                                  <p:childTnLst>
                                    <p:animEffect transition="out" filter="fade">
                                      <p:cBhvr>
                                        <p:cTn id="484" dur="2000" tmFilter="0, 0; .2, .5; .8, .5; 1, 0"/>
                                        <p:tgtEl>
                                          <p:spTgt spid="459"/>
                                        </p:tgtEl>
                                      </p:cBhvr>
                                    </p:animEffect>
                                    <p:animScale>
                                      <p:cBhvr>
                                        <p:cTn id="485" dur="1000" autoRev="1" fill="hold"/>
                                        <p:tgtEl>
                                          <p:spTgt spid="459"/>
                                        </p:tgtEl>
                                      </p:cBhvr>
                                      <p:by x="105000" y="105000"/>
                                    </p:animScale>
                                  </p:childTnLst>
                                </p:cTn>
                              </p:par>
                              <p:par>
                                <p:cTn id="486" presetID="26" presetClass="emph" presetSubtype="0" dur="2000" repeatCount="indefinite" fill="hold" grpId="0" nodeType="withEffect">
                                  <p:stCondLst>
                                    <p:cond delay="3000"/>
                                  </p:stCondLst>
                                  <p:childTnLst>
                                    <p:animEffect transition="out" filter="fade">
                                      <p:cBhvr>
                                        <p:cTn id="487" dur="2000" tmFilter="0, 0; .2, .5; .8, .5; 1, 0"/>
                                        <p:tgtEl>
                                          <p:spTgt spid="460"/>
                                        </p:tgtEl>
                                      </p:cBhvr>
                                    </p:animEffect>
                                    <p:animScale>
                                      <p:cBhvr>
                                        <p:cTn id="488" dur="1000" autoRev="1" fill="hold"/>
                                        <p:tgtEl>
                                          <p:spTgt spid="460"/>
                                        </p:tgtEl>
                                      </p:cBhvr>
                                      <p:by x="105000" y="105000"/>
                                    </p:animScale>
                                  </p:childTnLst>
                                </p:cTn>
                              </p:par>
                              <p:par>
                                <p:cTn id="489" presetID="26" presetClass="emph" presetSubtype="0" dur="2000" repeatCount="indefinite" fill="hold" grpId="0" nodeType="withEffect">
                                  <p:stCondLst>
                                    <p:cond delay="3000"/>
                                  </p:stCondLst>
                                  <p:childTnLst>
                                    <p:animEffect transition="out" filter="fade">
                                      <p:cBhvr>
                                        <p:cTn id="490" dur="2000" tmFilter="0, 0; .2, .5; .8, .5; 1, 0"/>
                                        <p:tgtEl>
                                          <p:spTgt spid="461"/>
                                        </p:tgtEl>
                                      </p:cBhvr>
                                    </p:animEffect>
                                    <p:animScale>
                                      <p:cBhvr>
                                        <p:cTn id="491" dur="1000" autoRev="1" fill="hold"/>
                                        <p:tgtEl>
                                          <p:spTgt spid="461"/>
                                        </p:tgtEl>
                                      </p:cBhvr>
                                      <p:by x="105000" y="105000"/>
                                    </p:animScale>
                                  </p:childTnLst>
                                </p:cTn>
                              </p:par>
                              <p:par>
                                <p:cTn id="492" presetID="26" presetClass="emph" presetSubtype="0" dur="2000" repeatCount="indefinite" fill="hold" grpId="0" nodeType="withEffect">
                                  <p:stCondLst>
                                    <p:cond delay="3000"/>
                                  </p:stCondLst>
                                  <p:childTnLst>
                                    <p:animEffect transition="out" filter="fade">
                                      <p:cBhvr>
                                        <p:cTn id="493" dur="2000" tmFilter="0, 0; .2, .5; .8, .5; 1, 0"/>
                                        <p:tgtEl>
                                          <p:spTgt spid="462"/>
                                        </p:tgtEl>
                                      </p:cBhvr>
                                    </p:animEffect>
                                    <p:animScale>
                                      <p:cBhvr>
                                        <p:cTn id="494" dur="1000" autoRev="1" fill="hold"/>
                                        <p:tgtEl>
                                          <p:spTgt spid="462"/>
                                        </p:tgtEl>
                                      </p:cBhvr>
                                      <p:by x="105000" y="105000"/>
                                    </p:animScale>
                                  </p:childTnLst>
                                </p:cTn>
                              </p:par>
                              <p:par>
                                <p:cTn id="495" presetID="26" presetClass="emph" presetSubtype="0" dur="2000" repeatCount="indefinite" fill="hold" grpId="0" nodeType="withEffect">
                                  <p:stCondLst>
                                    <p:cond delay="3000"/>
                                  </p:stCondLst>
                                  <p:childTnLst>
                                    <p:animEffect transition="out" filter="fade">
                                      <p:cBhvr>
                                        <p:cTn id="496" dur="2000" tmFilter="0, 0; .2, .5; .8, .5; 1, 0"/>
                                        <p:tgtEl>
                                          <p:spTgt spid="463"/>
                                        </p:tgtEl>
                                      </p:cBhvr>
                                    </p:animEffect>
                                    <p:animScale>
                                      <p:cBhvr>
                                        <p:cTn id="497" dur="1000" autoRev="1" fill="hold"/>
                                        <p:tgtEl>
                                          <p:spTgt spid="463"/>
                                        </p:tgtEl>
                                      </p:cBhvr>
                                      <p:by x="105000" y="105000"/>
                                    </p:animScale>
                                  </p:childTnLst>
                                </p:cTn>
                              </p:par>
                              <p:par>
                                <p:cTn id="498" presetID="26" presetClass="emph" presetSubtype="0" dur="2000" repeatCount="indefinite" fill="hold" grpId="0" nodeType="withEffect">
                                  <p:stCondLst>
                                    <p:cond delay="3000"/>
                                  </p:stCondLst>
                                  <p:childTnLst>
                                    <p:animEffect transition="out" filter="fade">
                                      <p:cBhvr>
                                        <p:cTn id="499" dur="2000" tmFilter="0, 0; .2, .5; .8, .5; 1, 0"/>
                                        <p:tgtEl>
                                          <p:spTgt spid="464"/>
                                        </p:tgtEl>
                                      </p:cBhvr>
                                    </p:animEffect>
                                    <p:animScale>
                                      <p:cBhvr>
                                        <p:cTn id="500" dur="1000" autoRev="1" fill="hold"/>
                                        <p:tgtEl>
                                          <p:spTgt spid="464"/>
                                        </p:tgtEl>
                                      </p:cBhvr>
                                      <p:by x="105000" y="105000"/>
                                    </p:animScale>
                                  </p:childTnLst>
                                </p:cTn>
                              </p:par>
                              <p:par>
                                <p:cTn id="501" presetID="26" presetClass="emph" presetSubtype="0" dur="2000" repeatCount="indefinite" fill="hold" grpId="0" nodeType="withEffect">
                                  <p:stCondLst>
                                    <p:cond delay="3000"/>
                                  </p:stCondLst>
                                  <p:childTnLst>
                                    <p:animEffect transition="out" filter="fade">
                                      <p:cBhvr>
                                        <p:cTn id="502" dur="2000" tmFilter="0, 0; .2, .5; .8, .5; 1, 0"/>
                                        <p:tgtEl>
                                          <p:spTgt spid="465"/>
                                        </p:tgtEl>
                                      </p:cBhvr>
                                    </p:animEffect>
                                    <p:animScale>
                                      <p:cBhvr>
                                        <p:cTn id="503" dur="1000" autoRev="1" fill="hold"/>
                                        <p:tgtEl>
                                          <p:spTgt spid="465"/>
                                        </p:tgtEl>
                                      </p:cBhvr>
                                      <p:by x="105000" y="105000"/>
                                    </p:animScale>
                                  </p:childTnLst>
                                </p:cTn>
                              </p:par>
                              <p:par>
                                <p:cTn id="504" presetID="26" presetClass="emph" presetSubtype="0" dur="2000" repeatCount="indefinite" fill="hold" grpId="0" nodeType="withEffect">
                                  <p:stCondLst>
                                    <p:cond delay="3250"/>
                                  </p:stCondLst>
                                  <p:childTnLst>
                                    <p:animEffect transition="out" filter="fade">
                                      <p:cBhvr>
                                        <p:cTn id="505" dur="2000" tmFilter="0, 0; .2, .5; .8, .5; 1, 0"/>
                                        <p:tgtEl>
                                          <p:spTgt spid="466"/>
                                        </p:tgtEl>
                                      </p:cBhvr>
                                    </p:animEffect>
                                    <p:animScale>
                                      <p:cBhvr>
                                        <p:cTn id="506" dur="1000" autoRev="1" fill="hold"/>
                                        <p:tgtEl>
                                          <p:spTgt spid="466"/>
                                        </p:tgtEl>
                                      </p:cBhvr>
                                      <p:by x="105000" y="105000"/>
                                    </p:animScale>
                                  </p:childTnLst>
                                </p:cTn>
                              </p:par>
                              <p:par>
                                <p:cTn id="507" presetID="26" presetClass="emph" presetSubtype="0" dur="2000" repeatCount="indefinite" fill="hold" grpId="0" nodeType="withEffect">
                                  <p:stCondLst>
                                    <p:cond delay="3250"/>
                                  </p:stCondLst>
                                  <p:childTnLst>
                                    <p:animEffect transition="out" filter="fade">
                                      <p:cBhvr>
                                        <p:cTn id="508" dur="2000" tmFilter="0, 0; .2, .5; .8, .5; 1, 0"/>
                                        <p:tgtEl>
                                          <p:spTgt spid="467"/>
                                        </p:tgtEl>
                                      </p:cBhvr>
                                    </p:animEffect>
                                    <p:animScale>
                                      <p:cBhvr>
                                        <p:cTn id="509" dur="1000" autoRev="1" fill="hold"/>
                                        <p:tgtEl>
                                          <p:spTgt spid="467"/>
                                        </p:tgtEl>
                                      </p:cBhvr>
                                      <p:by x="105000" y="105000"/>
                                    </p:animScale>
                                  </p:childTnLst>
                                </p:cTn>
                              </p:par>
                              <p:par>
                                <p:cTn id="510" presetID="26" presetClass="emph" presetSubtype="0" dur="2000" repeatCount="indefinite" fill="hold" grpId="0" nodeType="withEffect">
                                  <p:stCondLst>
                                    <p:cond delay="3250"/>
                                  </p:stCondLst>
                                  <p:childTnLst>
                                    <p:animEffect transition="out" filter="fade">
                                      <p:cBhvr>
                                        <p:cTn id="511" dur="2000" tmFilter="0, 0; .2, .5; .8, .5; 1, 0"/>
                                        <p:tgtEl>
                                          <p:spTgt spid="468"/>
                                        </p:tgtEl>
                                      </p:cBhvr>
                                    </p:animEffect>
                                    <p:animScale>
                                      <p:cBhvr>
                                        <p:cTn id="512" dur="1000" autoRev="1" fill="hold"/>
                                        <p:tgtEl>
                                          <p:spTgt spid="468"/>
                                        </p:tgtEl>
                                      </p:cBhvr>
                                      <p:by x="105000" y="105000"/>
                                    </p:animScale>
                                  </p:childTnLst>
                                </p:cTn>
                              </p:par>
                              <p:par>
                                <p:cTn id="513" presetID="26" presetClass="emph" presetSubtype="0" dur="2000" repeatCount="indefinite" fill="hold" grpId="0" nodeType="withEffect">
                                  <p:stCondLst>
                                    <p:cond delay="3250"/>
                                  </p:stCondLst>
                                  <p:childTnLst>
                                    <p:animEffect transition="out" filter="fade">
                                      <p:cBhvr>
                                        <p:cTn id="514" dur="2000" tmFilter="0, 0; .2, .5; .8, .5; 1, 0"/>
                                        <p:tgtEl>
                                          <p:spTgt spid="469"/>
                                        </p:tgtEl>
                                      </p:cBhvr>
                                    </p:animEffect>
                                    <p:animScale>
                                      <p:cBhvr>
                                        <p:cTn id="515" dur="1000" autoRev="1" fill="hold"/>
                                        <p:tgtEl>
                                          <p:spTgt spid="469"/>
                                        </p:tgtEl>
                                      </p:cBhvr>
                                      <p:by x="105000" y="105000"/>
                                    </p:animScale>
                                  </p:childTnLst>
                                </p:cTn>
                              </p:par>
                              <p:par>
                                <p:cTn id="516" presetID="26" presetClass="emph" presetSubtype="0" dur="2000" repeatCount="indefinite" fill="hold" grpId="0" nodeType="withEffect">
                                  <p:stCondLst>
                                    <p:cond delay="3250"/>
                                  </p:stCondLst>
                                  <p:childTnLst>
                                    <p:animEffect transition="out" filter="fade">
                                      <p:cBhvr>
                                        <p:cTn id="517" dur="2000" tmFilter="0, 0; .2, .5; .8, .5; 1, 0"/>
                                        <p:tgtEl>
                                          <p:spTgt spid="470"/>
                                        </p:tgtEl>
                                      </p:cBhvr>
                                    </p:animEffect>
                                    <p:animScale>
                                      <p:cBhvr>
                                        <p:cTn id="518" dur="1000" autoRev="1" fill="hold"/>
                                        <p:tgtEl>
                                          <p:spTgt spid="470"/>
                                        </p:tgtEl>
                                      </p:cBhvr>
                                      <p:by x="105000" y="105000"/>
                                    </p:animScale>
                                  </p:childTnLst>
                                </p:cTn>
                              </p:par>
                              <p:par>
                                <p:cTn id="519" presetID="26" presetClass="emph" presetSubtype="0" dur="2000" repeatCount="indefinite" fill="hold" grpId="0" nodeType="withEffect">
                                  <p:stCondLst>
                                    <p:cond delay="3250"/>
                                  </p:stCondLst>
                                  <p:childTnLst>
                                    <p:animEffect transition="out" filter="fade">
                                      <p:cBhvr>
                                        <p:cTn id="520" dur="2000" tmFilter="0, 0; .2, .5; .8, .5; 1, 0"/>
                                        <p:tgtEl>
                                          <p:spTgt spid="471"/>
                                        </p:tgtEl>
                                      </p:cBhvr>
                                    </p:animEffect>
                                    <p:animScale>
                                      <p:cBhvr>
                                        <p:cTn id="521" dur="1000" autoRev="1" fill="hold"/>
                                        <p:tgtEl>
                                          <p:spTgt spid="471"/>
                                        </p:tgtEl>
                                      </p:cBhvr>
                                      <p:by x="105000" y="105000"/>
                                    </p:animScale>
                                  </p:childTnLst>
                                </p:cTn>
                              </p:par>
                              <p:par>
                                <p:cTn id="522" presetID="26" presetClass="emph" presetSubtype="0" dur="2000" repeatCount="indefinite" fill="hold" grpId="0" nodeType="withEffect">
                                  <p:stCondLst>
                                    <p:cond delay="3250"/>
                                  </p:stCondLst>
                                  <p:childTnLst>
                                    <p:animEffect transition="out" filter="fade">
                                      <p:cBhvr>
                                        <p:cTn id="523" dur="2000" tmFilter="0, 0; .2, .5; .8, .5; 1, 0"/>
                                        <p:tgtEl>
                                          <p:spTgt spid="472"/>
                                        </p:tgtEl>
                                      </p:cBhvr>
                                    </p:animEffect>
                                    <p:animScale>
                                      <p:cBhvr>
                                        <p:cTn id="524" dur="1000" autoRev="1" fill="hold"/>
                                        <p:tgtEl>
                                          <p:spTgt spid="472"/>
                                        </p:tgtEl>
                                      </p:cBhvr>
                                      <p:by x="105000" y="105000"/>
                                    </p:animScale>
                                  </p:childTnLst>
                                </p:cTn>
                              </p:par>
                              <p:par>
                                <p:cTn id="525" presetID="26" presetClass="emph" presetSubtype="0" dur="2000" repeatCount="indefinite" fill="hold" grpId="0" nodeType="withEffect">
                                  <p:stCondLst>
                                    <p:cond delay="3250"/>
                                  </p:stCondLst>
                                  <p:childTnLst>
                                    <p:animEffect transition="out" filter="fade">
                                      <p:cBhvr>
                                        <p:cTn id="526" dur="2000" tmFilter="0, 0; .2, .5; .8, .5; 1, 0"/>
                                        <p:tgtEl>
                                          <p:spTgt spid="473"/>
                                        </p:tgtEl>
                                      </p:cBhvr>
                                    </p:animEffect>
                                    <p:animScale>
                                      <p:cBhvr>
                                        <p:cTn id="527" dur="1000" autoRev="1" fill="hold"/>
                                        <p:tgtEl>
                                          <p:spTgt spid="473"/>
                                        </p:tgtEl>
                                      </p:cBhvr>
                                      <p:by x="105000" y="105000"/>
                                    </p:animScale>
                                  </p:childTnLst>
                                </p:cTn>
                              </p:par>
                              <p:par>
                                <p:cTn id="528" presetID="26" presetClass="emph" presetSubtype="0" dur="2000" repeatCount="indefinite" fill="hold" grpId="0" nodeType="withEffect">
                                  <p:stCondLst>
                                    <p:cond delay="3250"/>
                                  </p:stCondLst>
                                  <p:childTnLst>
                                    <p:animEffect transition="out" filter="fade">
                                      <p:cBhvr>
                                        <p:cTn id="529" dur="2000" tmFilter="0, 0; .2, .5; .8, .5; 1, 0"/>
                                        <p:tgtEl>
                                          <p:spTgt spid="474"/>
                                        </p:tgtEl>
                                      </p:cBhvr>
                                    </p:animEffect>
                                    <p:animScale>
                                      <p:cBhvr>
                                        <p:cTn id="530" dur="1000" autoRev="1" fill="hold"/>
                                        <p:tgtEl>
                                          <p:spTgt spid="474"/>
                                        </p:tgtEl>
                                      </p:cBhvr>
                                      <p:by x="105000" y="105000"/>
                                    </p:animScale>
                                  </p:childTnLst>
                                </p:cTn>
                              </p:par>
                              <p:par>
                                <p:cTn id="531" presetID="26" presetClass="emph" presetSubtype="0" dur="2000" repeatCount="indefinite" fill="hold" grpId="0" nodeType="withEffect">
                                  <p:stCondLst>
                                    <p:cond delay="3250"/>
                                  </p:stCondLst>
                                  <p:childTnLst>
                                    <p:animEffect transition="out" filter="fade">
                                      <p:cBhvr>
                                        <p:cTn id="532" dur="2000" tmFilter="0, 0; .2, .5; .8, .5; 1, 0"/>
                                        <p:tgtEl>
                                          <p:spTgt spid="475"/>
                                        </p:tgtEl>
                                      </p:cBhvr>
                                    </p:animEffect>
                                    <p:animScale>
                                      <p:cBhvr>
                                        <p:cTn id="533" dur="1000" autoRev="1" fill="hold"/>
                                        <p:tgtEl>
                                          <p:spTgt spid="475"/>
                                        </p:tgtEl>
                                      </p:cBhvr>
                                      <p:by x="105000" y="105000"/>
                                    </p:animScale>
                                  </p:childTnLst>
                                </p:cTn>
                              </p:par>
                              <p:par>
                                <p:cTn id="534" presetID="26" presetClass="emph" presetSubtype="0" dur="2000" repeatCount="indefinite" fill="hold" grpId="0" nodeType="withEffect">
                                  <p:stCondLst>
                                    <p:cond delay="3250"/>
                                  </p:stCondLst>
                                  <p:childTnLst>
                                    <p:animEffect transition="out" filter="fade">
                                      <p:cBhvr>
                                        <p:cTn id="535" dur="2000" tmFilter="0, 0; .2, .5; .8, .5; 1, 0"/>
                                        <p:tgtEl>
                                          <p:spTgt spid="476"/>
                                        </p:tgtEl>
                                      </p:cBhvr>
                                    </p:animEffect>
                                    <p:animScale>
                                      <p:cBhvr>
                                        <p:cTn id="536" dur="1000" autoRev="1" fill="hold"/>
                                        <p:tgtEl>
                                          <p:spTgt spid="476"/>
                                        </p:tgtEl>
                                      </p:cBhvr>
                                      <p:by x="105000" y="105000"/>
                                    </p:animScale>
                                  </p:childTnLst>
                                </p:cTn>
                              </p:par>
                              <p:par>
                                <p:cTn id="537" presetID="26" presetClass="emph" presetSubtype="0" dur="2000" repeatCount="indefinite" fill="hold" grpId="0" nodeType="withEffect">
                                  <p:stCondLst>
                                    <p:cond delay="3250"/>
                                  </p:stCondLst>
                                  <p:childTnLst>
                                    <p:animEffect transition="out" filter="fade">
                                      <p:cBhvr>
                                        <p:cTn id="538" dur="2000" tmFilter="0, 0; .2, .5; .8, .5; 1, 0"/>
                                        <p:tgtEl>
                                          <p:spTgt spid="477"/>
                                        </p:tgtEl>
                                      </p:cBhvr>
                                    </p:animEffect>
                                    <p:animScale>
                                      <p:cBhvr>
                                        <p:cTn id="539" dur="1000" autoRev="1" fill="hold"/>
                                        <p:tgtEl>
                                          <p:spTgt spid="477"/>
                                        </p:tgtEl>
                                      </p:cBhvr>
                                      <p:by x="105000" y="105000"/>
                                    </p:animScale>
                                  </p:childTnLst>
                                </p:cTn>
                              </p:par>
                              <p:par>
                                <p:cTn id="540" presetID="26" presetClass="emph" presetSubtype="0" dur="2000" repeatCount="indefinite" fill="hold" grpId="0" nodeType="withEffect">
                                  <p:stCondLst>
                                    <p:cond delay="3250"/>
                                  </p:stCondLst>
                                  <p:childTnLst>
                                    <p:animEffect transition="out" filter="fade">
                                      <p:cBhvr>
                                        <p:cTn id="541" dur="2000" tmFilter="0, 0; .2, .5; .8, .5; 1, 0"/>
                                        <p:tgtEl>
                                          <p:spTgt spid="478"/>
                                        </p:tgtEl>
                                      </p:cBhvr>
                                    </p:animEffect>
                                    <p:animScale>
                                      <p:cBhvr>
                                        <p:cTn id="542" dur="1000" autoRev="1" fill="hold"/>
                                        <p:tgtEl>
                                          <p:spTgt spid="478"/>
                                        </p:tgtEl>
                                      </p:cBhvr>
                                      <p:by x="105000" y="105000"/>
                                    </p:animScale>
                                  </p:childTnLst>
                                </p:cTn>
                              </p:par>
                              <p:par>
                                <p:cTn id="543" presetID="26" presetClass="emph" presetSubtype="0" dur="2000" repeatCount="indefinite" fill="hold" grpId="0" nodeType="withEffect">
                                  <p:stCondLst>
                                    <p:cond delay="3250"/>
                                  </p:stCondLst>
                                  <p:childTnLst>
                                    <p:animEffect transition="out" filter="fade">
                                      <p:cBhvr>
                                        <p:cTn id="544" dur="2000" tmFilter="0, 0; .2, .5; .8, .5; 1, 0"/>
                                        <p:tgtEl>
                                          <p:spTgt spid="479"/>
                                        </p:tgtEl>
                                      </p:cBhvr>
                                    </p:animEffect>
                                    <p:animScale>
                                      <p:cBhvr>
                                        <p:cTn id="545" dur="1000" autoRev="1" fill="hold"/>
                                        <p:tgtEl>
                                          <p:spTgt spid="479"/>
                                        </p:tgtEl>
                                      </p:cBhvr>
                                      <p:by x="105000" y="105000"/>
                                    </p:animScale>
                                  </p:childTnLst>
                                </p:cTn>
                              </p:par>
                              <p:par>
                                <p:cTn id="546" presetID="26" presetClass="emph" presetSubtype="0" dur="2000" repeatCount="indefinite" fill="hold" grpId="0" nodeType="withEffect">
                                  <p:stCondLst>
                                    <p:cond delay="3500"/>
                                  </p:stCondLst>
                                  <p:childTnLst>
                                    <p:animEffect transition="out" filter="fade">
                                      <p:cBhvr>
                                        <p:cTn id="547" dur="2000" tmFilter="0, 0; .2, .5; .8, .5; 1, 0"/>
                                        <p:tgtEl>
                                          <p:spTgt spid="480"/>
                                        </p:tgtEl>
                                      </p:cBhvr>
                                    </p:animEffect>
                                    <p:animScale>
                                      <p:cBhvr>
                                        <p:cTn id="548" dur="1000" autoRev="1" fill="hold"/>
                                        <p:tgtEl>
                                          <p:spTgt spid="480"/>
                                        </p:tgtEl>
                                      </p:cBhvr>
                                      <p:by x="105000" y="105000"/>
                                    </p:animScale>
                                  </p:childTnLst>
                                </p:cTn>
                              </p:par>
                              <p:par>
                                <p:cTn id="549" presetID="26" presetClass="emph" presetSubtype="0" dur="2000" repeatCount="indefinite" fill="hold" grpId="0" nodeType="withEffect">
                                  <p:stCondLst>
                                    <p:cond delay="3500"/>
                                  </p:stCondLst>
                                  <p:childTnLst>
                                    <p:animEffect transition="out" filter="fade">
                                      <p:cBhvr>
                                        <p:cTn id="550" dur="2000" tmFilter="0, 0; .2, .5; .8, .5; 1, 0"/>
                                        <p:tgtEl>
                                          <p:spTgt spid="481"/>
                                        </p:tgtEl>
                                      </p:cBhvr>
                                    </p:animEffect>
                                    <p:animScale>
                                      <p:cBhvr>
                                        <p:cTn id="551" dur="1000" autoRev="1" fill="hold"/>
                                        <p:tgtEl>
                                          <p:spTgt spid="481"/>
                                        </p:tgtEl>
                                      </p:cBhvr>
                                      <p:by x="105000" y="105000"/>
                                    </p:animScale>
                                  </p:childTnLst>
                                </p:cTn>
                              </p:par>
                              <p:par>
                                <p:cTn id="552" presetID="26" presetClass="emph" presetSubtype="0" dur="2000" repeatCount="indefinite" fill="hold" grpId="0" nodeType="withEffect">
                                  <p:stCondLst>
                                    <p:cond delay="3500"/>
                                  </p:stCondLst>
                                  <p:childTnLst>
                                    <p:animEffect transition="out" filter="fade">
                                      <p:cBhvr>
                                        <p:cTn id="553" dur="2000" tmFilter="0, 0; .2, .5; .8, .5; 1, 0"/>
                                        <p:tgtEl>
                                          <p:spTgt spid="482"/>
                                        </p:tgtEl>
                                      </p:cBhvr>
                                    </p:animEffect>
                                    <p:animScale>
                                      <p:cBhvr>
                                        <p:cTn id="554" dur="1000" autoRev="1" fill="hold"/>
                                        <p:tgtEl>
                                          <p:spTgt spid="482"/>
                                        </p:tgtEl>
                                      </p:cBhvr>
                                      <p:by x="105000" y="105000"/>
                                    </p:animScale>
                                  </p:childTnLst>
                                </p:cTn>
                              </p:par>
                              <p:par>
                                <p:cTn id="555" presetID="26" presetClass="emph" presetSubtype="0" dur="2000" repeatCount="indefinite" fill="hold" grpId="0" nodeType="withEffect">
                                  <p:stCondLst>
                                    <p:cond delay="3500"/>
                                  </p:stCondLst>
                                  <p:childTnLst>
                                    <p:animEffect transition="out" filter="fade">
                                      <p:cBhvr>
                                        <p:cTn id="556" dur="2000" tmFilter="0, 0; .2, .5; .8, .5; 1, 0"/>
                                        <p:tgtEl>
                                          <p:spTgt spid="483"/>
                                        </p:tgtEl>
                                      </p:cBhvr>
                                    </p:animEffect>
                                    <p:animScale>
                                      <p:cBhvr>
                                        <p:cTn id="557" dur="1000" autoRev="1" fill="hold"/>
                                        <p:tgtEl>
                                          <p:spTgt spid="483"/>
                                        </p:tgtEl>
                                      </p:cBhvr>
                                      <p:by x="105000" y="105000"/>
                                    </p:animScale>
                                  </p:childTnLst>
                                </p:cTn>
                              </p:par>
                              <p:par>
                                <p:cTn id="558" presetID="26" presetClass="emph" presetSubtype="0" dur="2000" repeatCount="indefinite" fill="hold" grpId="0" nodeType="withEffect">
                                  <p:stCondLst>
                                    <p:cond delay="3500"/>
                                  </p:stCondLst>
                                  <p:childTnLst>
                                    <p:animEffect transition="out" filter="fade">
                                      <p:cBhvr>
                                        <p:cTn id="559" dur="2000" tmFilter="0, 0; .2, .5; .8, .5; 1, 0"/>
                                        <p:tgtEl>
                                          <p:spTgt spid="484"/>
                                        </p:tgtEl>
                                      </p:cBhvr>
                                    </p:animEffect>
                                    <p:animScale>
                                      <p:cBhvr>
                                        <p:cTn id="560" dur="1000" autoRev="1" fill="hold"/>
                                        <p:tgtEl>
                                          <p:spTgt spid="484"/>
                                        </p:tgtEl>
                                      </p:cBhvr>
                                      <p:by x="105000" y="105000"/>
                                    </p:animScale>
                                  </p:childTnLst>
                                </p:cTn>
                              </p:par>
                              <p:par>
                                <p:cTn id="561" presetID="26" presetClass="emph" presetSubtype="0" dur="2000" repeatCount="indefinite" fill="hold" grpId="0" nodeType="withEffect">
                                  <p:stCondLst>
                                    <p:cond delay="3500"/>
                                  </p:stCondLst>
                                  <p:childTnLst>
                                    <p:animEffect transition="out" filter="fade">
                                      <p:cBhvr>
                                        <p:cTn id="562" dur="2000" tmFilter="0, 0; .2, .5; .8, .5; 1, 0"/>
                                        <p:tgtEl>
                                          <p:spTgt spid="485"/>
                                        </p:tgtEl>
                                      </p:cBhvr>
                                    </p:animEffect>
                                    <p:animScale>
                                      <p:cBhvr>
                                        <p:cTn id="563" dur="1000" autoRev="1" fill="hold"/>
                                        <p:tgtEl>
                                          <p:spTgt spid="485"/>
                                        </p:tgtEl>
                                      </p:cBhvr>
                                      <p:by x="105000" y="105000"/>
                                    </p:animScale>
                                  </p:childTnLst>
                                </p:cTn>
                              </p:par>
                              <p:par>
                                <p:cTn id="564" presetID="26" presetClass="emph" presetSubtype="0" dur="2000" repeatCount="indefinite" fill="hold" grpId="0" nodeType="withEffect">
                                  <p:stCondLst>
                                    <p:cond delay="3500"/>
                                  </p:stCondLst>
                                  <p:childTnLst>
                                    <p:animEffect transition="out" filter="fade">
                                      <p:cBhvr>
                                        <p:cTn id="565" dur="2000" tmFilter="0, 0; .2, .5; .8, .5; 1, 0"/>
                                        <p:tgtEl>
                                          <p:spTgt spid="486"/>
                                        </p:tgtEl>
                                      </p:cBhvr>
                                    </p:animEffect>
                                    <p:animScale>
                                      <p:cBhvr>
                                        <p:cTn id="566" dur="1000" autoRev="1" fill="hold"/>
                                        <p:tgtEl>
                                          <p:spTgt spid="486"/>
                                        </p:tgtEl>
                                      </p:cBhvr>
                                      <p:by x="105000" y="105000"/>
                                    </p:animScale>
                                  </p:childTnLst>
                                </p:cTn>
                              </p:par>
                              <p:par>
                                <p:cTn id="567" presetID="26" presetClass="emph" presetSubtype="0" dur="2000" repeatCount="indefinite" fill="hold" grpId="0" nodeType="withEffect">
                                  <p:stCondLst>
                                    <p:cond delay="3500"/>
                                  </p:stCondLst>
                                  <p:childTnLst>
                                    <p:animEffect transition="out" filter="fade">
                                      <p:cBhvr>
                                        <p:cTn id="568" dur="2000" tmFilter="0, 0; .2, .5; .8, .5; 1, 0"/>
                                        <p:tgtEl>
                                          <p:spTgt spid="487"/>
                                        </p:tgtEl>
                                      </p:cBhvr>
                                    </p:animEffect>
                                    <p:animScale>
                                      <p:cBhvr>
                                        <p:cTn id="569" dur="1000" autoRev="1" fill="hold"/>
                                        <p:tgtEl>
                                          <p:spTgt spid="487"/>
                                        </p:tgtEl>
                                      </p:cBhvr>
                                      <p:by x="105000" y="105000"/>
                                    </p:animScale>
                                  </p:childTnLst>
                                </p:cTn>
                              </p:par>
                              <p:par>
                                <p:cTn id="570" presetID="26" presetClass="emph" presetSubtype="0" dur="2000" repeatCount="indefinite" fill="hold" grpId="0" nodeType="withEffect">
                                  <p:stCondLst>
                                    <p:cond delay="3500"/>
                                  </p:stCondLst>
                                  <p:childTnLst>
                                    <p:animEffect transition="out" filter="fade">
                                      <p:cBhvr>
                                        <p:cTn id="571" dur="2000" tmFilter="0, 0; .2, .5; .8, .5; 1, 0"/>
                                        <p:tgtEl>
                                          <p:spTgt spid="488"/>
                                        </p:tgtEl>
                                      </p:cBhvr>
                                    </p:animEffect>
                                    <p:animScale>
                                      <p:cBhvr>
                                        <p:cTn id="572" dur="1000" autoRev="1" fill="hold"/>
                                        <p:tgtEl>
                                          <p:spTgt spid="488"/>
                                        </p:tgtEl>
                                      </p:cBhvr>
                                      <p:by x="105000" y="105000"/>
                                    </p:animScale>
                                  </p:childTnLst>
                                </p:cTn>
                              </p:par>
                              <p:par>
                                <p:cTn id="573" presetID="26" presetClass="emph" presetSubtype="0" dur="2000" repeatCount="indefinite" fill="hold" grpId="0" nodeType="withEffect">
                                  <p:stCondLst>
                                    <p:cond delay="3500"/>
                                  </p:stCondLst>
                                  <p:childTnLst>
                                    <p:animEffect transition="out" filter="fade">
                                      <p:cBhvr>
                                        <p:cTn id="574" dur="2000" tmFilter="0, 0; .2, .5; .8, .5; 1, 0"/>
                                        <p:tgtEl>
                                          <p:spTgt spid="489"/>
                                        </p:tgtEl>
                                      </p:cBhvr>
                                    </p:animEffect>
                                    <p:animScale>
                                      <p:cBhvr>
                                        <p:cTn id="575" dur="1000" autoRev="1" fill="hold"/>
                                        <p:tgtEl>
                                          <p:spTgt spid="489"/>
                                        </p:tgtEl>
                                      </p:cBhvr>
                                      <p:by x="105000" y="105000"/>
                                    </p:animScale>
                                  </p:childTnLst>
                                </p:cTn>
                              </p:par>
                              <p:par>
                                <p:cTn id="576" presetID="26" presetClass="emph" presetSubtype="0" dur="2000" repeatCount="indefinite" fill="hold" grpId="0" nodeType="withEffect">
                                  <p:stCondLst>
                                    <p:cond delay="3500"/>
                                  </p:stCondLst>
                                  <p:childTnLst>
                                    <p:animEffect transition="out" filter="fade">
                                      <p:cBhvr>
                                        <p:cTn id="577" dur="2000" tmFilter="0, 0; .2, .5; .8, .5; 1, 0"/>
                                        <p:tgtEl>
                                          <p:spTgt spid="490"/>
                                        </p:tgtEl>
                                      </p:cBhvr>
                                    </p:animEffect>
                                    <p:animScale>
                                      <p:cBhvr>
                                        <p:cTn id="578" dur="1000" autoRev="1" fill="hold"/>
                                        <p:tgtEl>
                                          <p:spTgt spid="490"/>
                                        </p:tgtEl>
                                      </p:cBhvr>
                                      <p:by x="105000" y="105000"/>
                                    </p:animScale>
                                  </p:childTnLst>
                                </p:cTn>
                              </p:par>
                              <p:par>
                                <p:cTn id="579" presetID="26" presetClass="emph" presetSubtype="0" dur="2000" repeatCount="indefinite" fill="hold" grpId="0" nodeType="withEffect">
                                  <p:stCondLst>
                                    <p:cond delay="3500"/>
                                  </p:stCondLst>
                                  <p:childTnLst>
                                    <p:animEffect transition="out" filter="fade">
                                      <p:cBhvr>
                                        <p:cTn id="580" dur="2000" tmFilter="0, 0; .2, .5; .8, .5; 1, 0"/>
                                        <p:tgtEl>
                                          <p:spTgt spid="491"/>
                                        </p:tgtEl>
                                      </p:cBhvr>
                                    </p:animEffect>
                                    <p:animScale>
                                      <p:cBhvr>
                                        <p:cTn id="581" dur="1000" autoRev="1" fill="hold"/>
                                        <p:tgtEl>
                                          <p:spTgt spid="491"/>
                                        </p:tgtEl>
                                      </p:cBhvr>
                                      <p:by x="105000" y="105000"/>
                                    </p:animScale>
                                  </p:childTnLst>
                                </p:cTn>
                              </p:par>
                              <p:par>
                                <p:cTn id="582" presetID="26" presetClass="emph" presetSubtype="0" dur="2000" repeatCount="indefinite" fill="hold" grpId="0" nodeType="withEffect">
                                  <p:stCondLst>
                                    <p:cond delay="3500"/>
                                  </p:stCondLst>
                                  <p:childTnLst>
                                    <p:animEffect transition="out" filter="fade">
                                      <p:cBhvr>
                                        <p:cTn id="583" dur="2000" tmFilter="0, 0; .2, .5; .8, .5; 1, 0"/>
                                        <p:tgtEl>
                                          <p:spTgt spid="492"/>
                                        </p:tgtEl>
                                      </p:cBhvr>
                                    </p:animEffect>
                                    <p:animScale>
                                      <p:cBhvr>
                                        <p:cTn id="584" dur="1000" autoRev="1" fill="hold"/>
                                        <p:tgtEl>
                                          <p:spTgt spid="492"/>
                                        </p:tgtEl>
                                      </p:cBhvr>
                                      <p:by x="105000" y="105000"/>
                                    </p:animScale>
                                  </p:childTnLst>
                                </p:cTn>
                              </p:par>
                              <p:par>
                                <p:cTn id="585" presetID="26" presetClass="emph" presetSubtype="0" dur="2000" repeatCount="indefinite" fill="hold" grpId="0" nodeType="withEffect">
                                  <p:stCondLst>
                                    <p:cond delay="3500"/>
                                  </p:stCondLst>
                                  <p:childTnLst>
                                    <p:animEffect transition="out" filter="fade">
                                      <p:cBhvr>
                                        <p:cTn id="586" dur="2000" tmFilter="0, 0; .2, .5; .8, .5; 1, 0"/>
                                        <p:tgtEl>
                                          <p:spTgt spid="493"/>
                                        </p:tgtEl>
                                      </p:cBhvr>
                                    </p:animEffect>
                                    <p:animScale>
                                      <p:cBhvr>
                                        <p:cTn id="587" dur="1000" autoRev="1" fill="hold"/>
                                        <p:tgtEl>
                                          <p:spTgt spid="493"/>
                                        </p:tgtEl>
                                      </p:cBhvr>
                                      <p:by x="105000" y="105000"/>
                                    </p:animScale>
                                  </p:childTnLst>
                                </p:cTn>
                              </p:par>
                              <p:par>
                                <p:cTn id="588" presetID="26" presetClass="emph" presetSubtype="0" dur="2000" repeatCount="indefinite" fill="hold" grpId="0" nodeType="withEffect">
                                  <p:stCondLst>
                                    <p:cond delay="3750"/>
                                  </p:stCondLst>
                                  <p:childTnLst>
                                    <p:animEffect transition="out" filter="fade">
                                      <p:cBhvr>
                                        <p:cTn id="589" dur="2000" tmFilter="0, 0; .2, .5; .8, .5; 1, 0"/>
                                        <p:tgtEl>
                                          <p:spTgt spid="297"/>
                                        </p:tgtEl>
                                      </p:cBhvr>
                                    </p:animEffect>
                                    <p:animScale>
                                      <p:cBhvr>
                                        <p:cTn id="590" dur="1000" autoRev="1" fill="hold"/>
                                        <p:tgtEl>
                                          <p:spTgt spid="297"/>
                                        </p:tgtEl>
                                      </p:cBhvr>
                                      <p:by x="105000" y="105000"/>
                                    </p:animScale>
                                  </p:childTnLst>
                                </p:cTn>
                              </p:par>
                              <p:par>
                                <p:cTn id="591" presetID="26" presetClass="emph" presetSubtype="0" dur="2000" repeatCount="indefinite" fill="hold" grpId="0" nodeType="withEffect">
                                  <p:stCondLst>
                                    <p:cond delay="3750"/>
                                  </p:stCondLst>
                                  <p:childTnLst>
                                    <p:animEffect transition="out" filter="fade">
                                      <p:cBhvr>
                                        <p:cTn id="592" dur="2000" tmFilter="0, 0; .2, .5; .8, .5; 1, 0"/>
                                        <p:tgtEl>
                                          <p:spTgt spid="298"/>
                                        </p:tgtEl>
                                      </p:cBhvr>
                                    </p:animEffect>
                                    <p:animScale>
                                      <p:cBhvr>
                                        <p:cTn id="593" dur="1000" autoRev="1" fill="hold"/>
                                        <p:tgtEl>
                                          <p:spTgt spid="298"/>
                                        </p:tgtEl>
                                      </p:cBhvr>
                                      <p:by x="105000" y="105000"/>
                                    </p:animScale>
                                  </p:childTnLst>
                                </p:cTn>
                              </p:par>
                              <p:par>
                                <p:cTn id="594" presetID="26" presetClass="emph" presetSubtype="0" dur="2000" repeatCount="indefinite" fill="hold" grpId="0" nodeType="withEffect">
                                  <p:stCondLst>
                                    <p:cond delay="3750"/>
                                  </p:stCondLst>
                                  <p:childTnLst>
                                    <p:animEffect transition="out" filter="fade">
                                      <p:cBhvr>
                                        <p:cTn id="595" dur="2000" tmFilter="0, 0; .2, .5; .8, .5; 1, 0"/>
                                        <p:tgtEl>
                                          <p:spTgt spid="299"/>
                                        </p:tgtEl>
                                      </p:cBhvr>
                                    </p:animEffect>
                                    <p:animScale>
                                      <p:cBhvr>
                                        <p:cTn id="596" dur="1000" autoRev="1" fill="hold"/>
                                        <p:tgtEl>
                                          <p:spTgt spid="299"/>
                                        </p:tgtEl>
                                      </p:cBhvr>
                                      <p:by x="105000" y="105000"/>
                                    </p:animScale>
                                  </p:childTnLst>
                                </p:cTn>
                              </p:par>
                              <p:par>
                                <p:cTn id="597" presetID="26" presetClass="emph" presetSubtype="0" dur="2000" repeatCount="indefinite" fill="hold" grpId="0" nodeType="withEffect">
                                  <p:stCondLst>
                                    <p:cond delay="3750"/>
                                  </p:stCondLst>
                                  <p:childTnLst>
                                    <p:animEffect transition="out" filter="fade">
                                      <p:cBhvr>
                                        <p:cTn id="598" dur="2000" tmFilter="0, 0; .2, .5; .8, .5; 1, 0"/>
                                        <p:tgtEl>
                                          <p:spTgt spid="300"/>
                                        </p:tgtEl>
                                      </p:cBhvr>
                                    </p:animEffect>
                                    <p:animScale>
                                      <p:cBhvr>
                                        <p:cTn id="599" dur="1000" autoRev="1" fill="hold"/>
                                        <p:tgtEl>
                                          <p:spTgt spid="300"/>
                                        </p:tgtEl>
                                      </p:cBhvr>
                                      <p:by x="105000" y="105000"/>
                                    </p:animScale>
                                  </p:childTnLst>
                                </p:cTn>
                              </p:par>
                              <p:par>
                                <p:cTn id="600" presetID="26" presetClass="emph" presetSubtype="0" dur="2000" repeatCount="indefinite" fill="hold" grpId="0" nodeType="withEffect">
                                  <p:stCondLst>
                                    <p:cond delay="3750"/>
                                  </p:stCondLst>
                                  <p:childTnLst>
                                    <p:animEffect transition="out" filter="fade">
                                      <p:cBhvr>
                                        <p:cTn id="601" dur="2000" tmFilter="0, 0; .2, .5; .8, .5; 1, 0"/>
                                        <p:tgtEl>
                                          <p:spTgt spid="301"/>
                                        </p:tgtEl>
                                      </p:cBhvr>
                                    </p:animEffect>
                                    <p:animScale>
                                      <p:cBhvr>
                                        <p:cTn id="602" dur="1000" autoRev="1" fill="hold"/>
                                        <p:tgtEl>
                                          <p:spTgt spid="301"/>
                                        </p:tgtEl>
                                      </p:cBhvr>
                                      <p:by x="105000" y="105000"/>
                                    </p:animScale>
                                  </p:childTnLst>
                                </p:cTn>
                              </p:par>
                              <p:par>
                                <p:cTn id="603" presetID="26" presetClass="emph" presetSubtype="0" dur="2000" repeatCount="indefinite" fill="hold" grpId="0" nodeType="withEffect">
                                  <p:stCondLst>
                                    <p:cond delay="3750"/>
                                  </p:stCondLst>
                                  <p:childTnLst>
                                    <p:animEffect transition="out" filter="fade">
                                      <p:cBhvr>
                                        <p:cTn id="604" dur="2000" tmFilter="0, 0; .2, .5; .8, .5; 1, 0"/>
                                        <p:tgtEl>
                                          <p:spTgt spid="302"/>
                                        </p:tgtEl>
                                      </p:cBhvr>
                                    </p:animEffect>
                                    <p:animScale>
                                      <p:cBhvr>
                                        <p:cTn id="605" dur="1000" autoRev="1" fill="hold"/>
                                        <p:tgtEl>
                                          <p:spTgt spid="302"/>
                                        </p:tgtEl>
                                      </p:cBhvr>
                                      <p:by x="105000" y="105000"/>
                                    </p:animScale>
                                  </p:childTnLst>
                                </p:cTn>
                              </p:par>
                              <p:par>
                                <p:cTn id="606" presetID="26" presetClass="emph" presetSubtype="0" dur="2000" repeatCount="indefinite" fill="hold" grpId="0" nodeType="withEffect">
                                  <p:stCondLst>
                                    <p:cond delay="3750"/>
                                  </p:stCondLst>
                                  <p:childTnLst>
                                    <p:animEffect transition="out" filter="fade">
                                      <p:cBhvr>
                                        <p:cTn id="607" dur="2000" tmFilter="0, 0; .2, .5; .8, .5; 1, 0"/>
                                        <p:tgtEl>
                                          <p:spTgt spid="303"/>
                                        </p:tgtEl>
                                      </p:cBhvr>
                                    </p:animEffect>
                                    <p:animScale>
                                      <p:cBhvr>
                                        <p:cTn id="608" dur="1000" autoRev="1" fill="hold"/>
                                        <p:tgtEl>
                                          <p:spTgt spid="303"/>
                                        </p:tgtEl>
                                      </p:cBhvr>
                                      <p:by x="105000" y="105000"/>
                                    </p:animScale>
                                  </p:childTnLst>
                                </p:cTn>
                              </p:par>
                              <p:par>
                                <p:cTn id="609" presetID="26" presetClass="emph" presetSubtype="0" dur="2000" repeatCount="indefinite" fill="hold" grpId="0" nodeType="withEffect">
                                  <p:stCondLst>
                                    <p:cond delay="3750"/>
                                  </p:stCondLst>
                                  <p:childTnLst>
                                    <p:animEffect transition="out" filter="fade">
                                      <p:cBhvr>
                                        <p:cTn id="610" dur="2000" tmFilter="0, 0; .2, .5; .8, .5; 1, 0"/>
                                        <p:tgtEl>
                                          <p:spTgt spid="304"/>
                                        </p:tgtEl>
                                      </p:cBhvr>
                                    </p:animEffect>
                                    <p:animScale>
                                      <p:cBhvr>
                                        <p:cTn id="611" dur="1000" autoRev="1" fill="hold"/>
                                        <p:tgtEl>
                                          <p:spTgt spid="304"/>
                                        </p:tgtEl>
                                      </p:cBhvr>
                                      <p:by x="105000" y="105000"/>
                                    </p:animScale>
                                  </p:childTnLst>
                                </p:cTn>
                              </p:par>
                              <p:par>
                                <p:cTn id="612" presetID="26" presetClass="emph" presetSubtype="0" dur="2000" repeatCount="indefinite" fill="hold" grpId="0" nodeType="withEffect">
                                  <p:stCondLst>
                                    <p:cond delay="3750"/>
                                  </p:stCondLst>
                                  <p:childTnLst>
                                    <p:animEffect transition="out" filter="fade">
                                      <p:cBhvr>
                                        <p:cTn id="613" dur="2000" tmFilter="0, 0; .2, .5; .8, .5; 1, 0"/>
                                        <p:tgtEl>
                                          <p:spTgt spid="305"/>
                                        </p:tgtEl>
                                      </p:cBhvr>
                                    </p:animEffect>
                                    <p:animScale>
                                      <p:cBhvr>
                                        <p:cTn id="614" dur="1000" autoRev="1" fill="hold"/>
                                        <p:tgtEl>
                                          <p:spTgt spid="305"/>
                                        </p:tgtEl>
                                      </p:cBhvr>
                                      <p:by x="105000" y="105000"/>
                                    </p:animScale>
                                  </p:childTnLst>
                                </p:cTn>
                              </p:par>
                              <p:par>
                                <p:cTn id="615" presetID="26" presetClass="emph" presetSubtype="0" dur="2000" repeatCount="indefinite" fill="hold" grpId="0" nodeType="withEffect">
                                  <p:stCondLst>
                                    <p:cond delay="3750"/>
                                  </p:stCondLst>
                                  <p:childTnLst>
                                    <p:animEffect transition="out" filter="fade">
                                      <p:cBhvr>
                                        <p:cTn id="616" dur="2000" tmFilter="0, 0; .2, .5; .8, .5; 1, 0"/>
                                        <p:tgtEl>
                                          <p:spTgt spid="306"/>
                                        </p:tgtEl>
                                      </p:cBhvr>
                                    </p:animEffect>
                                    <p:animScale>
                                      <p:cBhvr>
                                        <p:cTn id="617" dur="1000" autoRev="1" fill="hold"/>
                                        <p:tgtEl>
                                          <p:spTgt spid="306"/>
                                        </p:tgtEl>
                                      </p:cBhvr>
                                      <p:by x="105000" y="105000"/>
                                    </p:animScale>
                                  </p:childTnLst>
                                </p:cTn>
                              </p:par>
                              <p:par>
                                <p:cTn id="618" presetID="26" presetClass="emph" presetSubtype="0" dur="2000" repeatCount="indefinite" fill="hold" grpId="0" nodeType="withEffect">
                                  <p:stCondLst>
                                    <p:cond delay="3750"/>
                                  </p:stCondLst>
                                  <p:childTnLst>
                                    <p:animEffect transition="out" filter="fade">
                                      <p:cBhvr>
                                        <p:cTn id="619" dur="2000" tmFilter="0, 0; .2, .5; .8, .5; 1, 0"/>
                                        <p:tgtEl>
                                          <p:spTgt spid="307"/>
                                        </p:tgtEl>
                                      </p:cBhvr>
                                    </p:animEffect>
                                    <p:animScale>
                                      <p:cBhvr>
                                        <p:cTn id="620" dur="1000" autoRev="1" fill="hold"/>
                                        <p:tgtEl>
                                          <p:spTgt spid="307"/>
                                        </p:tgtEl>
                                      </p:cBhvr>
                                      <p:by x="105000" y="105000"/>
                                    </p:animScale>
                                  </p:childTnLst>
                                </p:cTn>
                              </p:par>
                              <p:par>
                                <p:cTn id="621" presetID="26" presetClass="emph" presetSubtype="0" dur="2000" repeatCount="indefinite" fill="hold" grpId="0" nodeType="withEffect">
                                  <p:stCondLst>
                                    <p:cond delay="3750"/>
                                  </p:stCondLst>
                                  <p:childTnLst>
                                    <p:animEffect transition="out" filter="fade">
                                      <p:cBhvr>
                                        <p:cTn id="622" dur="2000" tmFilter="0, 0; .2, .5; .8, .5; 1, 0"/>
                                        <p:tgtEl>
                                          <p:spTgt spid="308"/>
                                        </p:tgtEl>
                                      </p:cBhvr>
                                    </p:animEffect>
                                    <p:animScale>
                                      <p:cBhvr>
                                        <p:cTn id="623" dur="1000" autoRev="1" fill="hold"/>
                                        <p:tgtEl>
                                          <p:spTgt spid="308"/>
                                        </p:tgtEl>
                                      </p:cBhvr>
                                      <p:by x="105000" y="105000"/>
                                    </p:animScale>
                                  </p:childTnLst>
                                </p:cTn>
                              </p:par>
                              <p:par>
                                <p:cTn id="624" presetID="26" presetClass="emph" presetSubtype="0" dur="2000" repeatCount="indefinite" fill="hold" grpId="0" nodeType="withEffect">
                                  <p:stCondLst>
                                    <p:cond delay="4000"/>
                                  </p:stCondLst>
                                  <p:childTnLst>
                                    <p:animEffect transition="out" filter="fade">
                                      <p:cBhvr>
                                        <p:cTn id="625" dur="2000" tmFilter="0, 0; .2, .5; .8, .5; 1, 0"/>
                                        <p:tgtEl>
                                          <p:spTgt spid="287"/>
                                        </p:tgtEl>
                                      </p:cBhvr>
                                    </p:animEffect>
                                    <p:animScale>
                                      <p:cBhvr>
                                        <p:cTn id="626" dur="1000" autoRev="1" fill="hold"/>
                                        <p:tgtEl>
                                          <p:spTgt spid="287"/>
                                        </p:tgtEl>
                                      </p:cBhvr>
                                      <p:by x="105000" y="105000"/>
                                    </p:animScale>
                                  </p:childTnLst>
                                </p:cTn>
                              </p:par>
                              <p:par>
                                <p:cTn id="627" presetID="26" presetClass="emph" presetSubtype="0" dur="2000" repeatCount="indefinite" fill="hold" grpId="0" nodeType="withEffect">
                                  <p:stCondLst>
                                    <p:cond delay="4000"/>
                                  </p:stCondLst>
                                  <p:childTnLst>
                                    <p:animEffect transition="out" filter="fade">
                                      <p:cBhvr>
                                        <p:cTn id="628" dur="2000" tmFilter="0, 0; .2, .5; .8, .5; 1, 0"/>
                                        <p:tgtEl>
                                          <p:spTgt spid="288"/>
                                        </p:tgtEl>
                                      </p:cBhvr>
                                    </p:animEffect>
                                    <p:animScale>
                                      <p:cBhvr>
                                        <p:cTn id="629" dur="1000" autoRev="1" fill="hold"/>
                                        <p:tgtEl>
                                          <p:spTgt spid="288"/>
                                        </p:tgtEl>
                                      </p:cBhvr>
                                      <p:by x="105000" y="105000"/>
                                    </p:animScale>
                                  </p:childTnLst>
                                </p:cTn>
                              </p:par>
                              <p:par>
                                <p:cTn id="630" presetID="26" presetClass="emph" presetSubtype="0" dur="2000" repeatCount="indefinite" fill="hold" grpId="0" nodeType="withEffect">
                                  <p:stCondLst>
                                    <p:cond delay="4000"/>
                                  </p:stCondLst>
                                  <p:childTnLst>
                                    <p:animEffect transition="out" filter="fade">
                                      <p:cBhvr>
                                        <p:cTn id="631" dur="2000" tmFilter="0, 0; .2, .5; .8, .5; 1, 0"/>
                                        <p:tgtEl>
                                          <p:spTgt spid="289"/>
                                        </p:tgtEl>
                                      </p:cBhvr>
                                    </p:animEffect>
                                    <p:animScale>
                                      <p:cBhvr>
                                        <p:cTn id="632" dur="1000" autoRev="1" fill="hold"/>
                                        <p:tgtEl>
                                          <p:spTgt spid="289"/>
                                        </p:tgtEl>
                                      </p:cBhvr>
                                      <p:by x="105000" y="105000"/>
                                    </p:animScale>
                                  </p:childTnLst>
                                </p:cTn>
                              </p:par>
                              <p:par>
                                <p:cTn id="633" presetID="26" presetClass="emph" presetSubtype="0" dur="2000" repeatCount="indefinite" fill="hold" grpId="0" nodeType="withEffect">
                                  <p:stCondLst>
                                    <p:cond delay="4000"/>
                                  </p:stCondLst>
                                  <p:childTnLst>
                                    <p:animEffect transition="out" filter="fade">
                                      <p:cBhvr>
                                        <p:cTn id="634" dur="2000" tmFilter="0, 0; .2, .5; .8, .5; 1, 0"/>
                                        <p:tgtEl>
                                          <p:spTgt spid="290"/>
                                        </p:tgtEl>
                                      </p:cBhvr>
                                    </p:animEffect>
                                    <p:animScale>
                                      <p:cBhvr>
                                        <p:cTn id="635" dur="1000" autoRev="1" fill="hold"/>
                                        <p:tgtEl>
                                          <p:spTgt spid="290"/>
                                        </p:tgtEl>
                                      </p:cBhvr>
                                      <p:by x="105000" y="105000"/>
                                    </p:animScale>
                                  </p:childTnLst>
                                </p:cTn>
                              </p:par>
                              <p:par>
                                <p:cTn id="636" presetID="26" presetClass="emph" presetSubtype="0" dur="2000" repeatCount="indefinite" fill="hold" grpId="0" nodeType="withEffect">
                                  <p:stCondLst>
                                    <p:cond delay="4000"/>
                                  </p:stCondLst>
                                  <p:childTnLst>
                                    <p:animEffect transition="out" filter="fade">
                                      <p:cBhvr>
                                        <p:cTn id="637" dur="2000" tmFilter="0, 0; .2, .5; .8, .5; 1, 0"/>
                                        <p:tgtEl>
                                          <p:spTgt spid="291"/>
                                        </p:tgtEl>
                                      </p:cBhvr>
                                    </p:animEffect>
                                    <p:animScale>
                                      <p:cBhvr>
                                        <p:cTn id="638" dur="1000" autoRev="1" fill="hold"/>
                                        <p:tgtEl>
                                          <p:spTgt spid="291"/>
                                        </p:tgtEl>
                                      </p:cBhvr>
                                      <p:by x="105000" y="105000"/>
                                    </p:animScale>
                                  </p:childTnLst>
                                </p:cTn>
                              </p:par>
                              <p:par>
                                <p:cTn id="639" presetID="26" presetClass="emph" presetSubtype="0" dur="2000" repeatCount="indefinite" fill="hold" grpId="0" nodeType="withEffect">
                                  <p:stCondLst>
                                    <p:cond delay="4000"/>
                                  </p:stCondLst>
                                  <p:childTnLst>
                                    <p:animEffect transition="out" filter="fade">
                                      <p:cBhvr>
                                        <p:cTn id="640" dur="2000" tmFilter="0, 0; .2, .5; .8, .5; 1, 0"/>
                                        <p:tgtEl>
                                          <p:spTgt spid="292"/>
                                        </p:tgtEl>
                                      </p:cBhvr>
                                    </p:animEffect>
                                    <p:animScale>
                                      <p:cBhvr>
                                        <p:cTn id="641" dur="1000" autoRev="1" fill="hold"/>
                                        <p:tgtEl>
                                          <p:spTgt spid="292"/>
                                        </p:tgtEl>
                                      </p:cBhvr>
                                      <p:by x="105000" y="105000"/>
                                    </p:animScale>
                                  </p:childTnLst>
                                </p:cTn>
                              </p:par>
                              <p:par>
                                <p:cTn id="642" presetID="26" presetClass="emph" presetSubtype="0" dur="2000" repeatCount="indefinite" fill="hold" grpId="0" nodeType="withEffect">
                                  <p:stCondLst>
                                    <p:cond delay="4000"/>
                                  </p:stCondLst>
                                  <p:childTnLst>
                                    <p:animEffect transition="out" filter="fade">
                                      <p:cBhvr>
                                        <p:cTn id="643" dur="2000" tmFilter="0, 0; .2, .5; .8, .5; 1, 0"/>
                                        <p:tgtEl>
                                          <p:spTgt spid="293"/>
                                        </p:tgtEl>
                                      </p:cBhvr>
                                    </p:animEffect>
                                    <p:animScale>
                                      <p:cBhvr>
                                        <p:cTn id="644" dur="1000" autoRev="1" fill="hold"/>
                                        <p:tgtEl>
                                          <p:spTgt spid="293"/>
                                        </p:tgtEl>
                                      </p:cBhvr>
                                      <p:by x="105000" y="105000"/>
                                    </p:animScale>
                                  </p:childTnLst>
                                </p:cTn>
                              </p:par>
                              <p:par>
                                <p:cTn id="645" presetID="26" presetClass="emph" presetSubtype="0" dur="2000" repeatCount="indefinite" fill="hold" grpId="0" nodeType="withEffect">
                                  <p:stCondLst>
                                    <p:cond delay="4000"/>
                                  </p:stCondLst>
                                  <p:childTnLst>
                                    <p:animEffect transition="out" filter="fade">
                                      <p:cBhvr>
                                        <p:cTn id="646" dur="2000" tmFilter="0, 0; .2, .5; .8, .5; 1, 0"/>
                                        <p:tgtEl>
                                          <p:spTgt spid="294"/>
                                        </p:tgtEl>
                                      </p:cBhvr>
                                    </p:animEffect>
                                    <p:animScale>
                                      <p:cBhvr>
                                        <p:cTn id="647" dur="1000" autoRev="1" fill="hold"/>
                                        <p:tgtEl>
                                          <p:spTgt spid="294"/>
                                        </p:tgtEl>
                                      </p:cBhvr>
                                      <p:by x="105000" y="105000"/>
                                    </p:animScale>
                                  </p:childTnLst>
                                </p:cTn>
                              </p:par>
                              <p:par>
                                <p:cTn id="648" presetID="26" presetClass="emph" presetSubtype="0" dur="2000" repeatCount="indefinite" fill="hold" grpId="0" nodeType="withEffect">
                                  <p:stCondLst>
                                    <p:cond delay="4000"/>
                                  </p:stCondLst>
                                  <p:childTnLst>
                                    <p:animEffect transition="out" filter="fade">
                                      <p:cBhvr>
                                        <p:cTn id="649" dur="2000" tmFilter="0, 0; .2, .5; .8, .5; 1, 0"/>
                                        <p:tgtEl>
                                          <p:spTgt spid="295"/>
                                        </p:tgtEl>
                                      </p:cBhvr>
                                    </p:animEffect>
                                    <p:animScale>
                                      <p:cBhvr>
                                        <p:cTn id="650" dur="1000" autoRev="1" fill="hold"/>
                                        <p:tgtEl>
                                          <p:spTgt spid="295"/>
                                        </p:tgtEl>
                                      </p:cBhvr>
                                      <p:by x="105000" y="105000"/>
                                    </p:animScale>
                                  </p:childTnLst>
                                </p:cTn>
                              </p:par>
                              <p:par>
                                <p:cTn id="651" presetID="26" presetClass="emph" presetSubtype="0" dur="2000" repeatCount="indefinite" fill="hold" grpId="0" nodeType="withEffect">
                                  <p:stCondLst>
                                    <p:cond delay="4000"/>
                                  </p:stCondLst>
                                  <p:childTnLst>
                                    <p:animEffect transition="out" filter="fade">
                                      <p:cBhvr>
                                        <p:cTn id="652" dur="2000" tmFilter="0, 0; .2, .5; .8, .5; 1, 0"/>
                                        <p:tgtEl>
                                          <p:spTgt spid="296"/>
                                        </p:tgtEl>
                                      </p:cBhvr>
                                    </p:animEffect>
                                    <p:animScale>
                                      <p:cBhvr>
                                        <p:cTn id="653" dur="1000" autoRev="1" fill="hold"/>
                                        <p:tgtEl>
                                          <p:spTgt spid="296"/>
                                        </p:tgtEl>
                                      </p:cBhvr>
                                      <p:by x="105000" y="105000"/>
                                    </p:animScale>
                                  </p:childTnLst>
                                </p:cTn>
                              </p:par>
                              <p:par>
                                <p:cTn id="654" presetID="26" presetClass="emph" presetSubtype="0" dur="2000" repeatCount="indefinite" fill="hold" grpId="0" nodeType="withEffect">
                                  <p:stCondLst>
                                    <p:cond delay="4250"/>
                                  </p:stCondLst>
                                  <p:childTnLst>
                                    <p:animEffect transition="out" filter="fade">
                                      <p:cBhvr>
                                        <p:cTn id="655" dur="2000" tmFilter="0, 0; .2, .5; .8, .5; 1, 0"/>
                                        <p:tgtEl>
                                          <p:spTgt spid="279"/>
                                        </p:tgtEl>
                                      </p:cBhvr>
                                    </p:animEffect>
                                    <p:animScale>
                                      <p:cBhvr>
                                        <p:cTn id="656" dur="1000" autoRev="1" fill="hold"/>
                                        <p:tgtEl>
                                          <p:spTgt spid="279"/>
                                        </p:tgtEl>
                                      </p:cBhvr>
                                      <p:by x="105000" y="105000"/>
                                    </p:animScale>
                                  </p:childTnLst>
                                </p:cTn>
                              </p:par>
                              <p:par>
                                <p:cTn id="657" presetID="26" presetClass="emph" presetSubtype="0" dur="2000" repeatCount="indefinite" fill="hold" grpId="0" nodeType="withEffect">
                                  <p:stCondLst>
                                    <p:cond delay="4250"/>
                                  </p:stCondLst>
                                  <p:childTnLst>
                                    <p:animEffect transition="out" filter="fade">
                                      <p:cBhvr>
                                        <p:cTn id="658" dur="2000" tmFilter="0, 0; .2, .5; .8, .5; 1, 0"/>
                                        <p:tgtEl>
                                          <p:spTgt spid="280"/>
                                        </p:tgtEl>
                                      </p:cBhvr>
                                    </p:animEffect>
                                    <p:animScale>
                                      <p:cBhvr>
                                        <p:cTn id="659" dur="1000" autoRev="1" fill="hold"/>
                                        <p:tgtEl>
                                          <p:spTgt spid="280"/>
                                        </p:tgtEl>
                                      </p:cBhvr>
                                      <p:by x="105000" y="105000"/>
                                    </p:animScale>
                                  </p:childTnLst>
                                </p:cTn>
                              </p:par>
                              <p:par>
                                <p:cTn id="660" presetID="26" presetClass="emph" presetSubtype="0" dur="2000" repeatCount="indefinite" fill="hold" grpId="0" nodeType="withEffect">
                                  <p:stCondLst>
                                    <p:cond delay="4250"/>
                                  </p:stCondLst>
                                  <p:childTnLst>
                                    <p:animEffect transition="out" filter="fade">
                                      <p:cBhvr>
                                        <p:cTn id="661" dur="2000" tmFilter="0, 0; .2, .5; .8, .5; 1, 0"/>
                                        <p:tgtEl>
                                          <p:spTgt spid="281"/>
                                        </p:tgtEl>
                                      </p:cBhvr>
                                    </p:animEffect>
                                    <p:animScale>
                                      <p:cBhvr>
                                        <p:cTn id="662" dur="1000" autoRev="1" fill="hold"/>
                                        <p:tgtEl>
                                          <p:spTgt spid="281"/>
                                        </p:tgtEl>
                                      </p:cBhvr>
                                      <p:by x="105000" y="105000"/>
                                    </p:animScale>
                                  </p:childTnLst>
                                </p:cTn>
                              </p:par>
                              <p:par>
                                <p:cTn id="663" presetID="26" presetClass="emph" presetSubtype="0" dur="2000" repeatCount="indefinite" fill="hold" grpId="0" nodeType="withEffect">
                                  <p:stCondLst>
                                    <p:cond delay="4250"/>
                                  </p:stCondLst>
                                  <p:childTnLst>
                                    <p:animEffect transition="out" filter="fade">
                                      <p:cBhvr>
                                        <p:cTn id="664" dur="2000" tmFilter="0, 0; .2, .5; .8, .5; 1, 0"/>
                                        <p:tgtEl>
                                          <p:spTgt spid="282"/>
                                        </p:tgtEl>
                                      </p:cBhvr>
                                    </p:animEffect>
                                    <p:animScale>
                                      <p:cBhvr>
                                        <p:cTn id="665" dur="1000" autoRev="1" fill="hold"/>
                                        <p:tgtEl>
                                          <p:spTgt spid="282"/>
                                        </p:tgtEl>
                                      </p:cBhvr>
                                      <p:by x="105000" y="105000"/>
                                    </p:animScale>
                                  </p:childTnLst>
                                </p:cTn>
                              </p:par>
                              <p:par>
                                <p:cTn id="666" presetID="26" presetClass="emph" presetSubtype="0" dur="2000" repeatCount="indefinite" fill="hold" grpId="0" nodeType="withEffect">
                                  <p:stCondLst>
                                    <p:cond delay="4250"/>
                                  </p:stCondLst>
                                  <p:childTnLst>
                                    <p:animEffect transition="out" filter="fade">
                                      <p:cBhvr>
                                        <p:cTn id="667" dur="2000" tmFilter="0, 0; .2, .5; .8, .5; 1, 0"/>
                                        <p:tgtEl>
                                          <p:spTgt spid="283"/>
                                        </p:tgtEl>
                                      </p:cBhvr>
                                    </p:animEffect>
                                    <p:animScale>
                                      <p:cBhvr>
                                        <p:cTn id="668" dur="1000" autoRev="1" fill="hold"/>
                                        <p:tgtEl>
                                          <p:spTgt spid="283"/>
                                        </p:tgtEl>
                                      </p:cBhvr>
                                      <p:by x="105000" y="105000"/>
                                    </p:animScale>
                                  </p:childTnLst>
                                </p:cTn>
                              </p:par>
                              <p:par>
                                <p:cTn id="669" presetID="26" presetClass="emph" presetSubtype="0" dur="2000" repeatCount="indefinite" fill="hold" grpId="0" nodeType="withEffect">
                                  <p:stCondLst>
                                    <p:cond delay="4250"/>
                                  </p:stCondLst>
                                  <p:childTnLst>
                                    <p:animEffect transition="out" filter="fade">
                                      <p:cBhvr>
                                        <p:cTn id="670" dur="2000" tmFilter="0, 0; .2, .5; .8, .5; 1, 0"/>
                                        <p:tgtEl>
                                          <p:spTgt spid="284"/>
                                        </p:tgtEl>
                                      </p:cBhvr>
                                    </p:animEffect>
                                    <p:animScale>
                                      <p:cBhvr>
                                        <p:cTn id="671" dur="1000" autoRev="1" fill="hold"/>
                                        <p:tgtEl>
                                          <p:spTgt spid="284"/>
                                        </p:tgtEl>
                                      </p:cBhvr>
                                      <p:by x="105000" y="105000"/>
                                    </p:animScale>
                                  </p:childTnLst>
                                </p:cTn>
                              </p:par>
                              <p:par>
                                <p:cTn id="672" presetID="26" presetClass="emph" presetSubtype="0" dur="2000" repeatCount="indefinite" fill="hold" grpId="0" nodeType="withEffect">
                                  <p:stCondLst>
                                    <p:cond delay="4250"/>
                                  </p:stCondLst>
                                  <p:childTnLst>
                                    <p:animEffect transition="out" filter="fade">
                                      <p:cBhvr>
                                        <p:cTn id="673" dur="2000" tmFilter="0, 0; .2, .5; .8, .5; 1, 0"/>
                                        <p:tgtEl>
                                          <p:spTgt spid="285"/>
                                        </p:tgtEl>
                                      </p:cBhvr>
                                    </p:animEffect>
                                    <p:animScale>
                                      <p:cBhvr>
                                        <p:cTn id="674" dur="1000" autoRev="1" fill="hold"/>
                                        <p:tgtEl>
                                          <p:spTgt spid="285"/>
                                        </p:tgtEl>
                                      </p:cBhvr>
                                      <p:by x="105000" y="105000"/>
                                    </p:animScale>
                                  </p:childTnLst>
                                </p:cTn>
                              </p:par>
                              <p:par>
                                <p:cTn id="675" presetID="26" presetClass="emph" presetSubtype="0" dur="2000" repeatCount="indefinite" fill="hold" grpId="0" nodeType="withEffect">
                                  <p:stCondLst>
                                    <p:cond delay="4250"/>
                                  </p:stCondLst>
                                  <p:childTnLst>
                                    <p:animEffect transition="out" filter="fade">
                                      <p:cBhvr>
                                        <p:cTn id="676" dur="2000" tmFilter="0, 0; .2, .5; .8, .5; 1, 0"/>
                                        <p:tgtEl>
                                          <p:spTgt spid="286"/>
                                        </p:tgtEl>
                                      </p:cBhvr>
                                    </p:animEffect>
                                    <p:animScale>
                                      <p:cBhvr>
                                        <p:cTn id="677" dur="1000" autoRev="1" fill="hold"/>
                                        <p:tgtEl>
                                          <p:spTgt spid="286"/>
                                        </p:tgtEl>
                                      </p:cBhvr>
                                      <p:by x="105000" y="105000"/>
                                    </p:animScale>
                                  </p:childTnLst>
                                </p:cTn>
                              </p:par>
                              <p:par>
                                <p:cTn id="678" presetID="26" presetClass="emph" presetSubtype="0" dur="2000" repeatCount="indefinite" fill="hold" grpId="0" nodeType="withEffect">
                                  <p:stCondLst>
                                    <p:cond delay="4500"/>
                                  </p:stCondLst>
                                  <p:childTnLst>
                                    <p:animEffect transition="out" filter="fade">
                                      <p:cBhvr>
                                        <p:cTn id="679" dur="2000" tmFilter="0, 0; .2, .5; .8, .5; 1, 0"/>
                                        <p:tgtEl>
                                          <p:spTgt spid="273"/>
                                        </p:tgtEl>
                                      </p:cBhvr>
                                    </p:animEffect>
                                    <p:animScale>
                                      <p:cBhvr>
                                        <p:cTn id="680" dur="1000" autoRev="1" fill="hold"/>
                                        <p:tgtEl>
                                          <p:spTgt spid="273"/>
                                        </p:tgtEl>
                                      </p:cBhvr>
                                      <p:by x="105000" y="105000"/>
                                    </p:animScale>
                                  </p:childTnLst>
                                </p:cTn>
                              </p:par>
                              <p:par>
                                <p:cTn id="681" presetID="26" presetClass="emph" presetSubtype="0" dur="2000" repeatCount="indefinite" fill="hold" grpId="0" nodeType="withEffect">
                                  <p:stCondLst>
                                    <p:cond delay="4500"/>
                                  </p:stCondLst>
                                  <p:childTnLst>
                                    <p:animEffect transition="out" filter="fade">
                                      <p:cBhvr>
                                        <p:cTn id="682" dur="2000" tmFilter="0, 0; .2, .5; .8, .5; 1, 0"/>
                                        <p:tgtEl>
                                          <p:spTgt spid="274"/>
                                        </p:tgtEl>
                                      </p:cBhvr>
                                    </p:animEffect>
                                    <p:animScale>
                                      <p:cBhvr>
                                        <p:cTn id="683" dur="1000" autoRev="1" fill="hold"/>
                                        <p:tgtEl>
                                          <p:spTgt spid="274"/>
                                        </p:tgtEl>
                                      </p:cBhvr>
                                      <p:by x="105000" y="105000"/>
                                    </p:animScale>
                                  </p:childTnLst>
                                </p:cTn>
                              </p:par>
                              <p:par>
                                <p:cTn id="684" presetID="26" presetClass="emph" presetSubtype="0" dur="2000" repeatCount="indefinite" fill="hold" grpId="0" nodeType="withEffect">
                                  <p:stCondLst>
                                    <p:cond delay="4500"/>
                                  </p:stCondLst>
                                  <p:childTnLst>
                                    <p:animEffect transition="out" filter="fade">
                                      <p:cBhvr>
                                        <p:cTn id="685" dur="2000" tmFilter="0, 0; .2, .5; .8, .5; 1, 0"/>
                                        <p:tgtEl>
                                          <p:spTgt spid="275"/>
                                        </p:tgtEl>
                                      </p:cBhvr>
                                    </p:animEffect>
                                    <p:animScale>
                                      <p:cBhvr>
                                        <p:cTn id="686" dur="1000" autoRev="1" fill="hold"/>
                                        <p:tgtEl>
                                          <p:spTgt spid="275"/>
                                        </p:tgtEl>
                                      </p:cBhvr>
                                      <p:by x="105000" y="105000"/>
                                    </p:animScale>
                                  </p:childTnLst>
                                </p:cTn>
                              </p:par>
                              <p:par>
                                <p:cTn id="687" presetID="26" presetClass="emph" presetSubtype="0" dur="2000" repeatCount="indefinite" fill="hold" grpId="0" nodeType="withEffect">
                                  <p:stCondLst>
                                    <p:cond delay="4500"/>
                                  </p:stCondLst>
                                  <p:childTnLst>
                                    <p:animEffect transition="out" filter="fade">
                                      <p:cBhvr>
                                        <p:cTn id="688" dur="2000" tmFilter="0, 0; .2, .5; .8, .5; 1, 0"/>
                                        <p:tgtEl>
                                          <p:spTgt spid="276"/>
                                        </p:tgtEl>
                                      </p:cBhvr>
                                    </p:animEffect>
                                    <p:animScale>
                                      <p:cBhvr>
                                        <p:cTn id="689" dur="1000" autoRev="1" fill="hold"/>
                                        <p:tgtEl>
                                          <p:spTgt spid="276"/>
                                        </p:tgtEl>
                                      </p:cBhvr>
                                      <p:by x="105000" y="105000"/>
                                    </p:animScale>
                                  </p:childTnLst>
                                </p:cTn>
                              </p:par>
                              <p:par>
                                <p:cTn id="690" presetID="26" presetClass="emph" presetSubtype="0" dur="2000" repeatCount="indefinite" fill="hold" grpId="0" nodeType="withEffect">
                                  <p:stCondLst>
                                    <p:cond delay="4500"/>
                                  </p:stCondLst>
                                  <p:childTnLst>
                                    <p:animEffect transition="out" filter="fade">
                                      <p:cBhvr>
                                        <p:cTn id="691" dur="2000" tmFilter="0, 0; .2, .5; .8, .5; 1, 0"/>
                                        <p:tgtEl>
                                          <p:spTgt spid="277"/>
                                        </p:tgtEl>
                                      </p:cBhvr>
                                    </p:animEffect>
                                    <p:animScale>
                                      <p:cBhvr>
                                        <p:cTn id="692" dur="1000" autoRev="1" fill="hold"/>
                                        <p:tgtEl>
                                          <p:spTgt spid="277"/>
                                        </p:tgtEl>
                                      </p:cBhvr>
                                      <p:by x="105000" y="105000"/>
                                    </p:animScale>
                                  </p:childTnLst>
                                </p:cTn>
                              </p:par>
                              <p:par>
                                <p:cTn id="693" presetID="26" presetClass="emph" presetSubtype="0" dur="2000" repeatCount="indefinite" fill="hold" grpId="0" nodeType="withEffect">
                                  <p:stCondLst>
                                    <p:cond delay="4500"/>
                                  </p:stCondLst>
                                  <p:childTnLst>
                                    <p:animEffect transition="out" filter="fade">
                                      <p:cBhvr>
                                        <p:cTn id="694" dur="2000" tmFilter="0, 0; .2, .5; .8, .5; 1, 0"/>
                                        <p:tgtEl>
                                          <p:spTgt spid="278"/>
                                        </p:tgtEl>
                                      </p:cBhvr>
                                    </p:animEffect>
                                    <p:animScale>
                                      <p:cBhvr>
                                        <p:cTn id="695" dur="1000" autoRev="1" fill="hold"/>
                                        <p:tgtEl>
                                          <p:spTgt spid="278"/>
                                        </p:tgtEl>
                                      </p:cBhvr>
                                      <p:by x="105000" y="105000"/>
                                    </p:animScale>
                                  </p:childTnLst>
                                </p:cTn>
                              </p:par>
                              <p:par>
                                <p:cTn id="696" presetID="26" presetClass="emph" presetSubtype="0" dur="2000" repeatCount="indefinite" fill="hold" grpId="0" nodeType="withEffect">
                                  <p:stCondLst>
                                    <p:cond delay="4750"/>
                                  </p:stCondLst>
                                  <p:childTnLst>
                                    <p:animEffect transition="out" filter="fade">
                                      <p:cBhvr>
                                        <p:cTn id="697" dur="2000" tmFilter="0, 0; .2, .5; .8, .5; 1, 0"/>
                                        <p:tgtEl>
                                          <p:spTgt spid="269"/>
                                        </p:tgtEl>
                                      </p:cBhvr>
                                    </p:animEffect>
                                    <p:animScale>
                                      <p:cBhvr>
                                        <p:cTn id="698" dur="1000" autoRev="1" fill="hold"/>
                                        <p:tgtEl>
                                          <p:spTgt spid="269"/>
                                        </p:tgtEl>
                                      </p:cBhvr>
                                      <p:by x="105000" y="105000"/>
                                    </p:animScale>
                                  </p:childTnLst>
                                </p:cTn>
                              </p:par>
                              <p:par>
                                <p:cTn id="699" presetID="26" presetClass="emph" presetSubtype="0" dur="2000" repeatCount="indefinite" fill="hold" grpId="0" nodeType="withEffect">
                                  <p:stCondLst>
                                    <p:cond delay="4750"/>
                                  </p:stCondLst>
                                  <p:childTnLst>
                                    <p:animEffect transition="out" filter="fade">
                                      <p:cBhvr>
                                        <p:cTn id="700" dur="2000" tmFilter="0, 0; .2, .5; .8, .5; 1, 0"/>
                                        <p:tgtEl>
                                          <p:spTgt spid="270"/>
                                        </p:tgtEl>
                                      </p:cBhvr>
                                    </p:animEffect>
                                    <p:animScale>
                                      <p:cBhvr>
                                        <p:cTn id="701" dur="1000" autoRev="1" fill="hold"/>
                                        <p:tgtEl>
                                          <p:spTgt spid="270"/>
                                        </p:tgtEl>
                                      </p:cBhvr>
                                      <p:by x="105000" y="105000"/>
                                    </p:animScale>
                                  </p:childTnLst>
                                </p:cTn>
                              </p:par>
                              <p:par>
                                <p:cTn id="702" presetID="26" presetClass="emph" presetSubtype="0" dur="2000" repeatCount="indefinite" fill="hold" grpId="0" nodeType="withEffect">
                                  <p:stCondLst>
                                    <p:cond delay="4750"/>
                                  </p:stCondLst>
                                  <p:childTnLst>
                                    <p:animEffect transition="out" filter="fade">
                                      <p:cBhvr>
                                        <p:cTn id="703" dur="2000" tmFilter="0, 0; .2, .5; .8, .5; 1, 0"/>
                                        <p:tgtEl>
                                          <p:spTgt spid="271"/>
                                        </p:tgtEl>
                                      </p:cBhvr>
                                    </p:animEffect>
                                    <p:animScale>
                                      <p:cBhvr>
                                        <p:cTn id="704" dur="1000" autoRev="1" fill="hold"/>
                                        <p:tgtEl>
                                          <p:spTgt spid="271"/>
                                        </p:tgtEl>
                                      </p:cBhvr>
                                      <p:by x="105000" y="105000"/>
                                    </p:animScale>
                                  </p:childTnLst>
                                </p:cTn>
                              </p:par>
                              <p:par>
                                <p:cTn id="705" presetID="26" presetClass="emph" presetSubtype="0" dur="2000" repeatCount="indefinite" fill="hold" grpId="0" nodeType="withEffect">
                                  <p:stCondLst>
                                    <p:cond delay="4750"/>
                                  </p:stCondLst>
                                  <p:childTnLst>
                                    <p:animEffect transition="out" filter="fade">
                                      <p:cBhvr>
                                        <p:cTn id="706" dur="2000" tmFilter="0, 0; .2, .5; .8, .5; 1, 0"/>
                                        <p:tgtEl>
                                          <p:spTgt spid="272"/>
                                        </p:tgtEl>
                                      </p:cBhvr>
                                    </p:animEffect>
                                    <p:animScale>
                                      <p:cBhvr>
                                        <p:cTn id="707" dur="1000" autoRev="1" fill="hold"/>
                                        <p:tgtEl>
                                          <p:spTgt spid="272"/>
                                        </p:tgtEl>
                                      </p:cBhvr>
                                      <p:by x="105000" y="105000"/>
                                    </p:animScale>
                                  </p:childTnLst>
                                </p:cTn>
                              </p:par>
                              <p:par>
                                <p:cTn id="708" presetID="26" presetClass="emph" presetSubtype="0" dur="2000" repeatCount="indefinite" fill="hold" grpId="0" nodeType="withEffect">
                                  <p:stCondLst>
                                    <p:cond delay="5000"/>
                                  </p:stCondLst>
                                  <p:childTnLst>
                                    <p:animEffect transition="out" filter="fade">
                                      <p:cBhvr>
                                        <p:cTn id="709" dur="2000" tmFilter="0, 0; .2, .5; .8, .5; 1, 0"/>
                                        <p:tgtEl>
                                          <p:spTgt spid="267"/>
                                        </p:tgtEl>
                                      </p:cBhvr>
                                    </p:animEffect>
                                    <p:animScale>
                                      <p:cBhvr>
                                        <p:cTn id="710" dur="1000" autoRev="1" fill="hold"/>
                                        <p:tgtEl>
                                          <p:spTgt spid="267"/>
                                        </p:tgtEl>
                                      </p:cBhvr>
                                      <p:by x="105000" y="105000"/>
                                    </p:animScale>
                                  </p:childTnLst>
                                </p:cTn>
                              </p:par>
                              <p:par>
                                <p:cTn id="711" presetID="26" presetClass="emph" presetSubtype="0" dur="2000" repeatCount="indefinite" fill="hold" grpId="0" nodeType="withEffect">
                                  <p:stCondLst>
                                    <p:cond delay="5000"/>
                                  </p:stCondLst>
                                  <p:childTnLst>
                                    <p:animEffect transition="out" filter="fade">
                                      <p:cBhvr>
                                        <p:cTn id="712" dur="2000" tmFilter="0, 0; .2, .5; .8, .5; 1, 0"/>
                                        <p:tgtEl>
                                          <p:spTgt spid="268"/>
                                        </p:tgtEl>
                                      </p:cBhvr>
                                    </p:animEffect>
                                    <p:animScale>
                                      <p:cBhvr>
                                        <p:cTn id="713" dur="1000" autoRev="1" fill="hold"/>
                                        <p:tgtEl>
                                          <p:spTgt spid="268"/>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7" grpId="0" animBg="1"/>
      <p:bldP spid="268" grpId="0" animBg="1"/>
      <p:bldP spid="269" grpId="0" animBg="1"/>
      <p:bldP spid="270" grpId="0" animBg="1"/>
      <p:bldP spid="271" grpId="0" animBg="1"/>
      <p:bldP spid="272" grpId="0" animBg="1"/>
      <p:bldP spid="273" grpId="0" animBg="1"/>
      <p:bldP spid="274" grpId="0" animBg="1"/>
      <p:bldP spid="275" grpId="0" animBg="1"/>
      <p:bldP spid="276" grpId="0" animBg="1"/>
      <p:bldP spid="277" grpId="0" animBg="1"/>
      <p:bldP spid="278" grpId="0" animBg="1"/>
      <p:bldP spid="279" grpId="0" animBg="1"/>
      <p:bldP spid="280" grpId="0" animBg="1"/>
      <p:bldP spid="281" grpId="0" animBg="1"/>
      <p:bldP spid="282" grpId="0" animBg="1"/>
      <p:bldP spid="283" grpId="0" animBg="1"/>
      <p:bldP spid="284" grpId="0" animBg="1"/>
      <p:bldP spid="285" grpId="0" animBg="1"/>
      <p:bldP spid="286" grpId="0" animBg="1"/>
      <p:bldP spid="287" grpId="0" animBg="1"/>
      <p:bldP spid="288" grpId="0" animBg="1"/>
      <p:bldP spid="289" grpId="0" animBg="1"/>
      <p:bldP spid="290" grpId="0" animBg="1"/>
      <p:bldP spid="291" grpId="0" animBg="1"/>
      <p:bldP spid="292" grpId="0" animBg="1"/>
      <p:bldP spid="293" grpId="0" animBg="1"/>
      <p:bldP spid="294" grpId="0" animBg="1"/>
      <p:bldP spid="295" grpId="0" animBg="1"/>
      <p:bldP spid="296" grpId="0" animBg="1"/>
      <p:bldP spid="297" grpId="0" animBg="1"/>
      <p:bldP spid="298" grpId="0" animBg="1"/>
      <p:bldP spid="299" grpId="0" animBg="1"/>
      <p:bldP spid="300" grpId="0" animBg="1"/>
      <p:bldP spid="301" grpId="0" animBg="1"/>
      <p:bldP spid="302" grpId="0" animBg="1"/>
      <p:bldP spid="303" grpId="0" animBg="1"/>
      <p:bldP spid="304" grpId="0" animBg="1"/>
      <p:bldP spid="305" grpId="0" animBg="1"/>
      <p:bldP spid="306" grpId="0" animBg="1"/>
      <p:bldP spid="307" grpId="0" animBg="1"/>
      <p:bldP spid="308" grpId="0" animBg="1"/>
      <p:bldP spid="309" grpId="0" animBg="1"/>
      <p:bldP spid="310" grpId="0" animBg="1"/>
      <p:bldP spid="311" grpId="0" animBg="1"/>
      <p:bldP spid="312" grpId="0" animBg="1"/>
      <p:bldP spid="313" grpId="0" animBg="1"/>
      <p:bldP spid="314" grpId="0" animBg="1"/>
      <p:bldP spid="315" grpId="0" animBg="1"/>
      <p:bldP spid="316" grpId="0" animBg="1"/>
      <p:bldP spid="317" grpId="0" animBg="1"/>
      <p:bldP spid="318" grpId="0" animBg="1"/>
      <p:bldP spid="319" grpId="0" animBg="1"/>
      <p:bldP spid="320" grpId="0" animBg="1"/>
      <p:bldP spid="321" grpId="0" animBg="1"/>
      <p:bldP spid="322" grpId="0" animBg="1"/>
      <p:bldP spid="323" grpId="0" animBg="1"/>
      <p:bldP spid="324" grpId="0" animBg="1"/>
      <p:bldP spid="325" grpId="0" animBg="1"/>
      <p:bldP spid="326" grpId="0" animBg="1"/>
      <p:bldP spid="327" grpId="0" animBg="1"/>
      <p:bldP spid="328" grpId="0" animBg="1"/>
      <p:bldP spid="329" grpId="0" animBg="1"/>
      <p:bldP spid="330" grpId="0" animBg="1"/>
      <p:bldP spid="331" grpId="0" animBg="1"/>
      <p:bldP spid="332" grpId="0" animBg="1"/>
      <p:bldP spid="333" grpId="0" animBg="1"/>
      <p:bldP spid="334" grpId="0" animBg="1"/>
      <p:bldP spid="335" grpId="0" animBg="1"/>
      <p:bldP spid="336" grpId="0" animBg="1"/>
      <p:bldP spid="337" grpId="0" animBg="1"/>
      <p:bldP spid="338" grpId="0" animBg="1"/>
      <p:bldP spid="339" grpId="0" animBg="1"/>
      <p:bldP spid="340" grpId="0" animBg="1"/>
      <p:bldP spid="341" grpId="0" animBg="1"/>
      <p:bldP spid="342" grpId="0" animBg="1"/>
      <p:bldP spid="343" grpId="0" animBg="1"/>
      <p:bldP spid="344" grpId="0" animBg="1"/>
      <p:bldP spid="345" grpId="0" animBg="1"/>
      <p:bldP spid="346" grpId="0" animBg="1"/>
      <p:bldP spid="347" grpId="0" animBg="1"/>
      <p:bldP spid="348" grpId="0" animBg="1"/>
      <p:bldP spid="349" grpId="0" animBg="1"/>
      <p:bldP spid="350" grpId="0" animBg="1"/>
      <p:bldP spid="351" grpId="0" animBg="1"/>
      <p:bldP spid="352" grpId="0" animBg="1"/>
      <p:bldP spid="353" grpId="0" animBg="1"/>
      <p:bldP spid="354" grpId="0" animBg="1"/>
      <p:bldP spid="355" grpId="0" animBg="1"/>
      <p:bldP spid="356" grpId="0" animBg="1"/>
      <p:bldP spid="357" grpId="0" animBg="1"/>
      <p:bldP spid="358" grpId="0" animBg="1"/>
      <p:bldP spid="359" grpId="0" animBg="1"/>
      <p:bldP spid="360" grpId="0" animBg="1"/>
      <p:bldP spid="361" grpId="0" animBg="1"/>
      <p:bldP spid="362" grpId="0" animBg="1"/>
      <p:bldP spid="363" grpId="0" animBg="1"/>
      <p:bldP spid="364" grpId="0" animBg="1"/>
      <p:bldP spid="365" grpId="0" animBg="1"/>
      <p:bldP spid="366" grpId="0" animBg="1"/>
      <p:bldP spid="367" grpId="0" animBg="1"/>
      <p:bldP spid="368" grpId="0" animBg="1"/>
      <p:bldP spid="369" grpId="0" animBg="1"/>
      <p:bldP spid="370" grpId="0" animBg="1"/>
      <p:bldP spid="371" grpId="0" animBg="1"/>
      <p:bldP spid="372" grpId="0" animBg="1"/>
      <p:bldP spid="373" grpId="0" animBg="1"/>
      <p:bldP spid="374" grpId="0" animBg="1"/>
      <p:bldP spid="375" grpId="0" animBg="1"/>
      <p:bldP spid="376" grpId="0" animBg="1"/>
      <p:bldP spid="377" grpId="0" animBg="1"/>
      <p:bldP spid="378" grpId="0" animBg="1"/>
      <p:bldP spid="379" grpId="0" animBg="1"/>
      <p:bldP spid="380" grpId="0" animBg="1"/>
      <p:bldP spid="381" grpId="0" animBg="1"/>
      <p:bldP spid="382" grpId="0" animBg="1"/>
      <p:bldP spid="383" grpId="0" animBg="1"/>
      <p:bldP spid="384" grpId="0" animBg="1"/>
      <p:bldP spid="385" grpId="0" animBg="1"/>
      <p:bldP spid="386" grpId="0" animBg="1"/>
      <p:bldP spid="387" grpId="0" animBg="1"/>
      <p:bldP spid="388" grpId="0" animBg="1"/>
      <p:bldP spid="389" grpId="0" animBg="1"/>
      <p:bldP spid="390" grpId="0" animBg="1"/>
      <p:bldP spid="391" grpId="0" animBg="1"/>
      <p:bldP spid="392" grpId="0" animBg="1"/>
      <p:bldP spid="393" grpId="0" animBg="1"/>
      <p:bldP spid="394" grpId="0" animBg="1"/>
      <p:bldP spid="395" grpId="0" animBg="1"/>
      <p:bldP spid="396" grpId="0" animBg="1"/>
      <p:bldP spid="397" grpId="0" animBg="1"/>
      <p:bldP spid="398" grpId="0" animBg="1"/>
      <p:bldP spid="399" grpId="0" animBg="1"/>
      <p:bldP spid="400" grpId="0" animBg="1"/>
      <p:bldP spid="401" grpId="0" animBg="1"/>
      <p:bldP spid="402" grpId="0" animBg="1"/>
      <p:bldP spid="403" grpId="0" animBg="1"/>
      <p:bldP spid="404" grpId="0" animBg="1"/>
      <p:bldP spid="405" grpId="0" animBg="1"/>
      <p:bldP spid="406" grpId="0" animBg="1"/>
      <p:bldP spid="407" grpId="0" animBg="1"/>
      <p:bldP spid="408" grpId="0" animBg="1"/>
      <p:bldP spid="409" grpId="0" animBg="1"/>
      <p:bldP spid="410" grpId="0" animBg="1"/>
      <p:bldP spid="411" grpId="0" animBg="1"/>
      <p:bldP spid="412" grpId="0" animBg="1"/>
      <p:bldP spid="413" grpId="0" animBg="1"/>
      <p:bldP spid="414" grpId="0" animBg="1"/>
      <p:bldP spid="415" grpId="0" animBg="1"/>
      <p:bldP spid="416" grpId="0" animBg="1"/>
      <p:bldP spid="417" grpId="0" animBg="1"/>
      <p:bldP spid="418" grpId="0" animBg="1"/>
      <p:bldP spid="419" grpId="0" animBg="1"/>
      <p:bldP spid="420" grpId="0" animBg="1"/>
      <p:bldP spid="421" grpId="0" animBg="1"/>
      <p:bldP spid="422" grpId="0" animBg="1"/>
      <p:bldP spid="423" grpId="0" animBg="1"/>
      <p:bldP spid="424" grpId="0" animBg="1"/>
      <p:bldP spid="425" grpId="0" animBg="1"/>
      <p:bldP spid="426" grpId="0" animBg="1"/>
      <p:bldP spid="427" grpId="0" animBg="1"/>
      <p:bldP spid="428" grpId="0" animBg="1"/>
      <p:bldP spid="429" grpId="0" animBg="1"/>
      <p:bldP spid="430" grpId="0" animBg="1"/>
      <p:bldP spid="431" grpId="0" animBg="1"/>
      <p:bldP spid="432" grpId="0" animBg="1"/>
      <p:bldP spid="433" grpId="0" animBg="1"/>
      <p:bldP spid="434" grpId="0" animBg="1"/>
      <p:bldP spid="435" grpId="0" animBg="1"/>
      <p:bldP spid="436" grpId="0" animBg="1"/>
      <p:bldP spid="437" grpId="0" animBg="1"/>
      <p:bldP spid="438" grpId="0" animBg="1"/>
      <p:bldP spid="439" grpId="0" animBg="1"/>
      <p:bldP spid="440" grpId="0" animBg="1"/>
      <p:bldP spid="441" grpId="0" animBg="1"/>
      <p:bldP spid="442" grpId="0" animBg="1"/>
      <p:bldP spid="443" grpId="0" animBg="1"/>
      <p:bldP spid="444" grpId="0" animBg="1"/>
      <p:bldP spid="445" grpId="0" animBg="1"/>
      <p:bldP spid="446" grpId="0" animBg="1"/>
      <p:bldP spid="447" grpId="0" animBg="1"/>
      <p:bldP spid="448" grpId="0" animBg="1"/>
      <p:bldP spid="449" grpId="0" animBg="1"/>
      <p:bldP spid="450" grpId="0" animBg="1"/>
      <p:bldP spid="451" grpId="0" animBg="1"/>
      <p:bldP spid="452" grpId="0" animBg="1"/>
      <p:bldP spid="453" grpId="0" animBg="1"/>
      <p:bldP spid="454" grpId="0" animBg="1"/>
      <p:bldP spid="455" grpId="0" animBg="1"/>
      <p:bldP spid="456" grpId="0" animBg="1"/>
      <p:bldP spid="457" grpId="0" animBg="1"/>
      <p:bldP spid="458" grpId="0" animBg="1"/>
      <p:bldP spid="459" grpId="0" animBg="1"/>
      <p:bldP spid="460" grpId="0" animBg="1"/>
      <p:bldP spid="461" grpId="0" animBg="1"/>
      <p:bldP spid="462" grpId="0" animBg="1"/>
      <p:bldP spid="463" grpId="0" animBg="1"/>
      <p:bldP spid="464" grpId="0" animBg="1"/>
      <p:bldP spid="465" grpId="0" animBg="1"/>
      <p:bldP spid="466" grpId="0" animBg="1"/>
      <p:bldP spid="467" grpId="0" animBg="1"/>
      <p:bldP spid="468" grpId="0" animBg="1"/>
      <p:bldP spid="469" grpId="0" animBg="1"/>
      <p:bldP spid="470" grpId="0" animBg="1"/>
      <p:bldP spid="471" grpId="0" animBg="1"/>
      <p:bldP spid="472" grpId="0" animBg="1"/>
      <p:bldP spid="473" grpId="0" animBg="1"/>
      <p:bldP spid="474" grpId="0" animBg="1"/>
      <p:bldP spid="475" grpId="0" animBg="1"/>
      <p:bldP spid="476" grpId="0" animBg="1"/>
      <p:bldP spid="477" grpId="0" animBg="1"/>
      <p:bldP spid="478" grpId="0" animBg="1"/>
      <p:bldP spid="479" grpId="0" animBg="1"/>
      <p:bldP spid="480" grpId="0" animBg="1"/>
      <p:bldP spid="481" grpId="0" animBg="1"/>
      <p:bldP spid="482" grpId="0" animBg="1"/>
      <p:bldP spid="483" grpId="0" animBg="1"/>
      <p:bldP spid="484" grpId="0" animBg="1"/>
      <p:bldP spid="485" grpId="0" animBg="1"/>
      <p:bldP spid="486" grpId="0" animBg="1"/>
      <p:bldP spid="487" grpId="0" animBg="1"/>
      <p:bldP spid="488" grpId="0" animBg="1"/>
      <p:bldP spid="489" grpId="0" animBg="1"/>
      <p:bldP spid="490" grpId="0" animBg="1"/>
      <p:bldP spid="491" grpId="0" animBg="1"/>
      <p:bldP spid="492" grpId="0" animBg="1"/>
      <p:bldP spid="493" grpId="0" animBg="1"/>
      <p:bldP spid="2" grpId="0"/>
      <p:bldP spid="19" grpId="0">
        <p:tmplLst>
          <p:tmpl>
            <p:tnLst>
              <p:par>
                <p:cTn presetID="2" presetClass="entr" presetSubtype="2" decel="100000" fill="hold" nodeType="withEffect">
                  <p:stCondLst>
                    <p:cond delay="250"/>
                  </p:stCondLst>
                  <p:childTnLst>
                    <p:set>
                      <p:cBhvr>
                        <p:cTn dur="1" fill="hold">
                          <p:stCondLst>
                            <p:cond delay="0"/>
                          </p:stCondLst>
                        </p:cTn>
                        <p:tgtEl>
                          <p:spTgt spid="19"/>
                        </p:tgtEl>
                        <p:attrNameLst>
                          <p:attrName>style.visibility</p:attrName>
                        </p:attrNameLst>
                      </p:cBhvr>
                      <p:to>
                        <p:strVal val="visible"/>
                      </p:to>
                    </p:set>
                    <p:anim calcmode="lin" valueType="num">
                      <p:cBhvr additive="base">
                        <p:cTn dur="1000" fill="hold"/>
                        <p:tgtEl>
                          <p:spTgt spid="19"/>
                        </p:tgtEl>
                        <p:attrNameLst>
                          <p:attrName>ppt_x</p:attrName>
                        </p:attrNameLst>
                      </p:cBhvr>
                      <p:tavLst>
                        <p:tav tm="0">
                          <p:val>
                            <p:strVal val="1+#ppt_w/2"/>
                          </p:val>
                        </p:tav>
                        <p:tav tm="100000">
                          <p:val>
                            <p:strVal val="#ppt_x"/>
                          </p:val>
                        </p:tav>
                      </p:tavLst>
                    </p:anim>
                    <p:anim calcmode="lin" valueType="num">
                      <p:cBhvr additive="base">
                        <p:cTn dur="1000" fill="hold"/>
                        <p:tgtEl>
                          <p:spTgt spid="19"/>
                        </p:tgtEl>
                        <p:attrNameLst>
                          <p:attrName>ppt_y</p:attrName>
                        </p:attrNameLst>
                      </p:cBhvr>
                      <p:tavLst>
                        <p:tav tm="0">
                          <p:val>
                            <p:strVal val="#ppt_y"/>
                          </p:val>
                        </p:tav>
                        <p:tav tm="100000">
                          <p:val>
                            <p:strVal val="#ppt_y"/>
                          </p:val>
                        </p:tav>
                      </p:tavLst>
                    </p:anim>
                  </p:childTnLst>
                </p:cTn>
              </p:par>
            </p:tnLst>
          </p:tmpl>
        </p:tmplLst>
      </p:bldP>
      <p:bldP spid="20" grpId="0">
        <p:tmplLst>
          <p:tmpl>
            <p:tnLst>
              <p:par>
                <p:cTn presetID="2" presetClass="entr" presetSubtype="2" decel="100000" fill="hold" nodeType="withEffect">
                  <p:stCondLst>
                    <p:cond delay="250"/>
                  </p:stCondLst>
                  <p:childTnLst>
                    <p:set>
                      <p:cBhvr>
                        <p:cTn dur="1" fill="hold">
                          <p:stCondLst>
                            <p:cond delay="0"/>
                          </p:stCondLst>
                        </p:cTn>
                        <p:tgtEl>
                          <p:spTgt spid="20"/>
                        </p:tgtEl>
                        <p:attrNameLst>
                          <p:attrName>style.visibility</p:attrName>
                        </p:attrNameLst>
                      </p:cBhvr>
                      <p:to>
                        <p:strVal val="visible"/>
                      </p:to>
                    </p:set>
                    <p:anim calcmode="lin" valueType="num">
                      <p:cBhvr additive="base">
                        <p:cTn dur="1000" fill="hold"/>
                        <p:tgtEl>
                          <p:spTgt spid="20"/>
                        </p:tgtEl>
                        <p:attrNameLst>
                          <p:attrName>ppt_x</p:attrName>
                        </p:attrNameLst>
                      </p:cBhvr>
                      <p:tavLst>
                        <p:tav tm="0">
                          <p:val>
                            <p:strVal val="1+#ppt_w/2"/>
                          </p:val>
                        </p:tav>
                        <p:tav tm="100000">
                          <p:val>
                            <p:strVal val="#ppt_x"/>
                          </p:val>
                        </p:tav>
                      </p:tavLst>
                    </p:anim>
                    <p:anim calcmode="lin" valueType="num">
                      <p:cBhvr additive="base">
                        <p:cTn dur="1000" fill="hold"/>
                        <p:tgtEl>
                          <p:spTgt spid="20"/>
                        </p:tgtEl>
                        <p:attrNameLst>
                          <p:attrName>ppt_y</p:attrName>
                        </p:attrNameLst>
                      </p:cBhvr>
                      <p:tavLst>
                        <p:tav tm="0">
                          <p:val>
                            <p:strVal val="#ppt_y"/>
                          </p:val>
                        </p:tav>
                        <p:tav tm="100000">
                          <p:val>
                            <p:strVal val="#ppt_y"/>
                          </p:val>
                        </p:tav>
                      </p:tavLst>
                    </p:anim>
                  </p:childTnLst>
                </p:cTn>
              </p:par>
            </p:tnLst>
          </p:tmpl>
        </p:tmplLst>
      </p:bldP>
      <p:bldP spid="27" grpId="0" build="p">
        <p:tmplLst>
          <p:tmpl lvl="1">
            <p:tnLst>
              <p:par>
                <p:cTn presetID="2" presetClass="entr" presetSubtype="2" decel="100000" fill="hold" nodeType="withEffect">
                  <p:stCondLst>
                    <p:cond delay="250"/>
                  </p:stCondLst>
                  <p:childTnLst>
                    <p:set>
                      <p:cBhvr>
                        <p:cTn dur="1" fill="hold">
                          <p:stCondLst>
                            <p:cond delay="0"/>
                          </p:stCondLst>
                        </p:cTn>
                        <p:tgtEl>
                          <p:spTgt spid="27"/>
                        </p:tgtEl>
                        <p:attrNameLst>
                          <p:attrName>style.visibility</p:attrName>
                        </p:attrNameLst>
                      </p:cBhvr>
                      <p:to>
                        <p:strVal val="visible"/>
                      </p:to>
                    </p:set>
                    <p:anim calcmode="lin" valueType="num">
                      <p:cBhvr additive="base">
                        <p:cTn dur="1000" fill="hold"/>
                        <p:tgtEl>
                          <p:spTgt spid="27"/>
                        </p:tgtEl>
                        <p:attrNameLst>
                          <p:attrName>ppt_x</p:attrName>
                        </p:attrNameLst>
                      </p:cBhvr>
                      <p:tavLst>
                        <p:tav tm="0">
                          <p:val>
                            <p:strVal val="1+#ppt_w/2"/>
                          </p:val>
                        </p:tav>
                        <p:tav tm="100000">
                          <p:val>
                            <p:strVal val="#ppt_x"/>
                          </p:val>
                        </p:tav>
                      </p:tavLst>
                    </p:anim>
                    <p:anim calcmode="lin" valueType="num">
                      <p:cBhvr additive="base">
                        <p:cTn dur="1000" fill="hold"/>
                        <p:tgtEl>
                          <p:spTgt spid="27"/>
                        </p:tgtEl>
                        <p:attrNameLst>
                          <p:attrName>ppt_y</p:attrName>
                        </p:attrNameLst>
                      </p:cBhvr>
                      <p:tavLst>
                        <p:tav tm="0">
                          <p:val>
                            <p:strVal val="#ppt_y"/>
                          </p:val>
                        </p:tav>
                        <p:tav tm="100000">
                          <p:val>
                            <p:strVal val="#ppt_y"/>
                          </p:val>
                        </p:tav>
                      </p:tavLst>
                    </p:anim>
                  </p:childTnLst>
                </p:cTn>
              </p:par>
            </p:tnLst>
          </p:tmpl>
        </p:tmplLst>
      </p:bldP>
      <p:bldP spid="28" grpId="0" build="p">
        <p:tmplLst>
          <p:tmpl lvl="1">
            <p:tnLst>
              <p:par>
                <p:cTn presetID="2" presetClass="entr" presetSubtype="2" decel="100000" fill="hold" nodeType="withEffect">
                  <p:stCondLst>
                    <p:cond delay="250"/>
                  </p:stCondLst>
                  <p:childTnLst>
                    <p:set>
                      <p:cBhvr>
                        <p:cTn dur="1" fill="hold">
                          <p:stCondLst>
                            <p:cond delay="0"/>
                          </p:stCondLst>
                        </p:cTn>
                        <p:tgtEl>
                          <p:spTgt spid="28"/>
                        </p:tgtEl>
                        <p:attrNameLst>
                          <p:attrName>style.visibility</p:attrName>
                        </p:attrNameLst>
                      </p:cBhvr>
                      <p:to>
                        <p:strVal val="visible"/>
                      </p:to>
                    </p:set>
                    <p:anim calcmode="lin" valueType="num">
                      <p:cBhvr additive="base">
                        <p:cTn dur="1000" fill="hold"/>
                        <p:tgtEl>
                          <p:spTgt spid="28"/>
                        </p:tgtEl>
                        <p:attrNameLst>
                          <p:attrName>ppt_x</p:attrName>
                        </p:attrNameLst>
                      </p:cBhvr>
                      <p:tavLst>
                        <p:tav tm="0">
                          <p:val>
                            <p:strVal val="1+#ppt_w/2"/>
                          </p:val>
                        </p:tav>
                        <p:tav tm="100000">
                          <p:val>
                            <p:strVal val="#ppt_x"/>
                          </p:val>
                        </p:tav>
                      </p:tavLst>
                    </p:anim>
                    <p:anim calcmode="lin" valueType="num">
                      <p:cBhvr additive="base">
                        <p:cTn dur="1000" fill="hold"/>
                        <p:tgtEl>
                          <p:spTgt spid="28"/>
                        </p:tgtEl>
                        <p:attrNameLst>
                          <p:attrName>ppt_y</p:attrName>
                        </p:attrNameLst>
                      </p:cBhvr>
                      <p:tavLst>
                        <p:tav tm="0">
                          <p:val>
                            <p:strVal val="#ppt_y"/>
                          </p:val>
                        </p:tav>
                        <p:tav tm="100000">
                          <p:val>
                            <p:strVal val="#ppt_y"/>
                          </p:val>
                        </p:tav>
                      </p:tavLst>
                    </p:anim>
                  </p:childTnLst>
                </p:cTn>
              </p:par>
            </p:tnLst>
          </p:tmpl>
        </p:tmplLst>
      </p:bldP>
    </p:bldLst>
  </p:timing>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HEADLINE ONLY">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D580604-CA90-4824-BA71-7DD12488F4E8}"/>
              </a:ext>
            </a:extLst>
          </p:cNvPr>
          <p:cNvSpPr>
            <a:spLocks noGrp="1"/>
          </p:cNvSpPr>
          <p:nvPr>
            <p:ph type="title"/>
          </p:nvPr>
        </p:nvSpPr>
        <p:spPr/>
        <p:txBody>
          <a:bodyPr/>
          <a:lstStyle/>
          <a:p>
            <a:r>
              <a:rPr lang="de-DE"/>
              <a:t>Mastertitelformat bearbeiten</a:t>
            </a:r>
          </a:p>
        </p:txBody>
      </p:sp>
      <p:sp>
        <p:nvSpPr>
          <p:cNvPr id="3" name="Foliennummernplatzhalter 2">
            <a:extLst>
              <a:ext uri="{FF2B5EF4-FFF2-40B4-BE49-F238E27FC236}">
                <a16:creationId xmlns:a16="http://schemas.microsoft.com/office/drawing/2014/main" id="{648331E1-D418-47BC-B8D2-89EAF4B26D40}"/>
              </a:ext>
            </a:extLst>
          </p:cNvPr>
          <p:cNvSpPr>
            <a:spLocks noGrp="1"/>
          </p:cNvSpPr>
          <p:nvPr>
            <p:ph type="sldNum" sz="quarter" idx="10"/>
          </p:nvPr>
        </p:nvSpPr>
        <p:spPr/>
        <p:txBody>
          <a:bodyPr/>
          <a:lstStyle/>
          <a:p>
            <a:fld id="{A04BEB4F-8CE1-4F18-986F-6CE0A0BE9470}" type="slidenum">
              <a:rPr lang="de-DE" smtClean="0"/>
              <a:t>‹#›</a:t>
            </a:fld>
            <a:endParaRPr lang="de-DE"/>
          </a:p>
        </p:txBody>
      </p:sp>
    </p:spTree>
    <p:extLst>
      <p:ext uri="{BB962C8B-B14F-4D97-AF65-F5344CB8AC3E}">
        <p14:creationId xmlns:p14="http://schemas.microsoft.com/office/powerpoint/2010/main" val="2617862951"/>
      </p:ext>
    </p:extLst>
  </p:cSld>
  <p:clrMapOvr>
    <a:masterClrMapping/>
  </p:clrMapOvr>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FA4954A8-B84C-457D-BB69-9D6B39AD76F3}"/>
              </a:ext>
            </a:extLst>
          </p:cNvPr>
          <p:cNvSpPr>
            <a:spLocks noGrp="1"/>
          </p:cNvSpPr>
          <p:nvPr>
            <p:ph type="sldNum" sz="quarter" idx="10"/>
          </p:nvPr>
        </p:nvSpPr>
        <p:spPr/>
        <p:txBody>
          <a:bodyPr/>
          <a:lstStyle/>
          <a:p>
            <a:fld id="{A04BEB4F-8CE1-4F18-986F-6CE0A0BE9470}" type="slidenum">
              <a:rPr lang="de-DE" smtClean="0"/>
              <a:t>‹#›</a:t>
            </a:fld>
            <a:endParaRPr lang="de-DE"/>
          </a:p>
        </p:txBody>
      </p:sp>
    </p:spTree>
    <p:extLst>
      <p:ext uri="{BB962C8B-B14F-4D97-AF65-F5344CB8AC3E}">
        <p14:creationId xmlns:p14="http://schemas.microsoft.com/office/powerpoint/2010/main" val="3805660654"/>
      </p:ext>
    </p:extLst>
  </p:cSld>
  <p:clrMapOvr>
    <a:masterClrMapping/>
  </p:clrMapOv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8_Custom Layout">
    <p:spTree>
      <p:nvGrpSpPr>
        <p:cNvPr id="1" name=""/>
        <p:cNvGrpSpPr/>
        <p:nvPr/>
      </p:nvGrpSpPr>
      <p:grpSpPr>
        <a:xfrm>
          <a:off x="0" y="0"/>
          <a:ext cx="0" cy="0"/>
          <a:chOff x="0" y="0"/>
          <a:chExt cx="0" cy="0"/>
        </a:xfrm>
      </p:grpSpPr>
      <p:sp>
        <p:nvSpPr>
          <p:cNvPr id="2" name="Picture Placeholder 7">
            <a:extLst>
              <a:ext uri="{FF2B5EF4-FFF2-40B4-BE49-F238E27FC236}">
                <a16:creationId xmlns:a16="http://schemas.microsoft.com/office/drawing/2014/main" id="{2025C71F-F630-406C-A334-0B61D0F62D84}"/>
              </a:ext>
            </a:extLst>
          </p:cNvPr>
          <p:cNvSpPr>
            <a:spLocks noGrp="1"/>
          </p:cNvSpPr>
          <p:nvPr>
            <p:ph type="pic" sz="quarter" idx="15"/>
          </p:nvPr>
        </p:nvSpPr>
        <p:spPr>
          <a:xfrm>
            <a:off x="6096000" y="0"/>
            <a:ext cx="5314259" cy="6858000"/>
          </a:xfrm>
          <a:custGeom>
            <a:avLst/>
            <a:gdLst>
              <a:gd name="connsiteX0" fmla="*/ 0 w 10345056"/>
              <a:gd name="connsiteY0" fmla="*/ 0 h 10610851"/>
              <a:gd name="connsiteX1" fmla="*/ 10345056 w 10345056"/>
              <a:gd name="connsiteY1" fmla="*/ 0 h 10610851"/>
              <a:gd name="connsiteX2" fmla="*/ 10345056 w 10345056"/>
              <a:gd name="connsiteY2" fmla="*/ 10610851 h 10610851"/>
              <a:gd name="connsiteX3" fmla="*/ 0 w 10345056"/>
              <a:gd name="connsiteY3" fmla="*/ 10610851 h 10610851"/>
            </a:gdLst>
            <a:ahLst/>
            <a:cxnLst>
              <a:cxn ang="0">
                <a:pos x="connsiteX0" y="connsiteY0"/>
              </a:cxn>
              <a:cxn ang="0">
                <a:pos x="connsiteX1" y="connsiteY1"/>
              </a:cxn>
              <a:cxn ang="0">
                <a:pos x="connsiteX2" y="connsiteY2"/>
              </a:cxn>
              <a:cxn ang="0">
                <a:pos x="connsiteX3" y="connsiteY3"/>
              </a:cxn>
            </a:cxnLst>
            <a:rect l="l" t="t" r="r" b="b"/>
            <a:pathLst>
              <a:path w="10345056" h="10610851">
                <a:moveTo>
                  <a:pt x="0" y="0"/>
                </a:moveTo>
                <a:lnTo>
                  <a:pt x="10345056" y="0"/>
                </a:lnTo>
                <a:lnTo>
                  <a:pt x="10345056" y="10610851"/>
                </a:lnTo>
                <a:lnTo>
                  <a:pt x="0" y="10610851"/>
                </a:ln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Tree>
    <p:extLst>
      <p:ext uri="{BB962C8B-B14F-4D97-AF65-F5344CB8AC3E}">
        <p14:creationId xmlns:p14="http://schemas.microsoft.com/office/powerpoint/2010/main" val="1745553701"/>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2" dur="2000" decel="10000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2000" fill="hold"/>
                                        <p:tgtEl>
                                          <p:spTgt spid="2"/>
                                        </p:tgtEl>
                                        <p:attrNameLst>
                                          <p:attrName>ppt_x</p:attrName>
                                        </p:attrNameLst>
                                      </p:cBhvr>
                                      <p:tavLst>
                                        <p:tav tm="0">
                                          <p:val>
                                            <p:strVal val="1+#ppt_w/2"/>
                                          </p:val>
                                        </p:tav>
                                        <p:tav tm="100000">
                                          <p:val>
                                            <p:strVal val="#ppt_x"/>
                                          </p:val>
                                        </p:tav>
                                      </p:tavLst>
                                    </p:anim>
                                    <p:anim calcmode="lin" valueType="num">
                                      <p:cBhvr additive="base">
                                        <p:cTn id="8" dur="200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Layout>
</file>

<file path=ppt/slideLayouts/slideLayout330.xml><?xml version="1.0" encoding="utf-8"?>
<p:sldLayout xmlns:a="http://schemas.openxmlformats.org/drawingml/2006/main" xmlns:r="http://schemas.openxmlformats.org/officeDocument/2006/relationships" xmlns:p="http://schemas.openxmlformats.org/presentationml/2006/main" userDrawn="1">
  <p:cSld name="18_Title Slide">
    <p:spTree>
      <p:nvGrpSpPr>
        <p:cNvPr id="1" name=""/>
        <p:cNvGrpSpPr/>
        <p:nvPr/>
      </p:nvGrpSpPr>
      <p:grpSpPr>
        <a:xfrm>
          <a:off x="0" y="0"/>
          <a:ext cx="0" cy="0"/>
          <a:chOff x="0" y="0"/>
          <a:chExt cx="0" cy="0"/>
        </a:xfrm>
      </p:grpSpPr>
      <p:sp>
        <p:nvSpPr>
          <p:cNvPr id="16" name="Picture Placeholder 15"/>
          <p:cNvSpPr>
            <a:spLocks noGrp="1"/>
          </p:cNvSpPr>
          <p:nvPr>
            <p:ph type="pic" sz="quarter" idx="10"/>
          </p:nvPr>
        </p:nvSpPr>
        <p:spPr>
          <a:xfrm>
            <a:off x="357684" y="1812925"/>
            <a:ext cx="2222500" cy="3232150"/>
          </a:xfrm>
          <a:custGeom>
            <a:avLst/>
            <a:gdLst>
              <a:gd name="connsiteX0" fmla="*/ 167221 w 2222500"/>
              <a:gd name="connsiteY0" fmla="*/ 0 h 3232150"/>
              <a:gd name="connsiteX1" fmla="*/ 2055279 w 2222500"/>
              <a:gd name="connsiteY1" fmla="*/ 0 h 3232150"/>
              <a:gd name="connsiteX2" fmla="*/ 2222500 w 2222500"/>
              <a:gd name="connsiteY2" fmla="*/ 167221 h 3232150"/>
              <a:gd name="connsiteX3" fmla="*/ 2222500 w 2222500"/>
              <a:gd name="connsiteY3" fmla="*/ 3064929 h 3232150"/>
              <a:gd name="connsiteX4" fmla="*/ 2055279 w 2222500"/>
              <a:gd name="connsiteY4" fmla="*/ 3232150 h 3232150"/>
              <a:gd name="connsiteX5" fmla="*/ 167221 w 2222500"/>
              <a:gd name="connsiteY5" fmla="*/ 3232150 h 3232150"/>
              <a:gd name="connsiteX6" fmla="*/ 0 w 2222500"/>
              <a:gd name="connsiteY6" fmla="*/ 3064929 h 3232150"/>
              <a:gd name="connsiteX7" fmla="*/ 0 w 2222500"/>
              <a:gd name="connsiteY7" fmla="*/ 167221 h 3232150"/>
              <a:gd name="connsiteX8" fmla="*/ 167221 w 2222500"/>
              <a:gd name="connsiteY8" fmla="*/ 0 h 3232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22500" h="3232150">
                <a:moveTo>
                  <a:pt x="167221" y="0"/>
                </a:moveTo>
                <a:lnTo>
                  <a:pt x="2055279" y="0"/>
                </a:lnTo>
                <a:cubicBezTo>
                  <a:pt x="2147633" y="0"/>
                  <a:pt x="2222500" y="74867"/>
                  <a:pt x="2222500" y="167221"/>
                </a:cubicBezTo>
                <a:lnTo>
                  <a:pt x="2222500" y="3064929"/>
                </a:lnTo>
                <a:cubicBezTo>
                  <a:pt x="2222500" y="3157283"/>
                  <a:pt x="2147633" y="3232150"/>
                  <a:pt x="2055279" y="3232150"/>
                </a:cubicBezTo>
                <a:lnTo>
                  <a:pt x="167221" y="3232150"/>
                </a:lnTo>
                <a:cubicBezTo>
                  <a:pt x="74867" y="3232150"/>
                  <a:pt x="0" y="3157283"/>
                  <a:pt x="0" y="3064929"/>
                </a:cubicBezTo>
                <a:lnTo>
                  <a:pt x="0" y="167221"/>
                </a:lnTo>
                <a:cubicBezTo>
                  <a:pt x="0" y="74867"/>
                  <a:pt x="74867" y="0"/>
                  <a:pt x="167221" y="0"/>
                </a:cubicBezTo>
                <a:close/>
              </a:path>
            </a:pathLst>
          </a:custGeom>
          <a:pattFill prst="pct20">
            <a:fgClr>
              <a:srgbClr val="92D050"/>
            </a:fgClr>
            <a:bgClr>
              <a:schemeClr val="bg1"/>
            </a:bgClr>
          </a:pattFill>
          <a:ln>
            <a:noFill/>
          </a:ln>
        </p:spPr>
        <p:txBody>
          <a:bodyPr wrap="square">
            <a:noAutofit/>
          </a:bodyPr>
          <a:lstStyle>
            <a:lvl1pPr>
              <a:defRPr sz="1200">
                <a:latin typeface="Arial" panose="020B0604020202020204" pitchFamily="34" charset="0"/>
                <a:cs typeface="Arial" panose="020B0604020202020204" pitchFamily="34" charset="0"/>
              </a:defRPr>
            </a:lvl1pPr>
          </a:lstStyle>
          <a:p>
            <a:pPr lvl="0"/>
            <a:r>
              <a:rPr lang="en-US" noProof="0"/>
              <a:t>Click icon to add picture</a:t>
            </a:r>
            <a:endParaRPr lang="en-ID" noProof="0"/>
          </a:p>
        </p:txBody>
      </p:sp>
      <p:sp>
        <p:nvSpPr>
          <p:cNvPr id="15" name="Picture Placeholder 14"/>
          <p:cNvSpPr>
            <a:spLocks noGrp="1"/>
          </p:cNvSpPr>
          <p:nvPr>
            <p:ph type="pic" sz="quarter" idx="11"/>
          </p:nvPr>
        </p:nvSpPr>
        <p:spPr>
          <a:xfrm>
            <a:off x="2775006" y="0"/>
            <a:ext cx="2228632" cy="2459421"/>
          </a:xfrm>
          <a:custGeom>
            <a:avLst/>
            <a:gdLst>
              <a:gd name="connsiteX0" fmla="*/ 0 w 2228632"/>
              <a:gd name="connsiteY0" fmla="*/ 0 h 2459421"/>
              <a:gd name="connsiteX1" fmla="*/ 2228632 w 2228632"/>
              <a:gd name="connsiteY1" fmla="*/ 0 h 2459421"/>
              <a:gd name="connsiteX2" fmla="*/ 2228632 w 2228632"/>
              <a:gd name="connsiteY2" fmla="*/ 2329224 h 2459421"/>
              <a:gd name="connsiteX3" fmla="*/ 2098435 w 2228632"/>
              <a:gd name="connsiteY3" fmla="*/ 2459421 h 2459421"/>
              <a:gd name="connsiteX4" fmla="*/ 130197 w 2228632"/>
              <a:gd name="connsiteY4" fmla="*/ 2459421 h 2459421"/>
              <a:gd name="connsiteX5" fmla="*/ 0 w 2228632"/>
              <a:gd name="connsiteY5" fmla="*/ 2329224 h 2459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28632" h="2459421">
                <a:moveTo>
                  <a:pt x="0" y="0"/>
                </a:moveTo>
                <a:lnTo>
                  <a:pt x="2228632" y="0"/>
                </a:lnTo>
                <a:lnTo>
                  <a:pt x="2228632" y="2329224"/>
                </a:lnTo>
                <a:cubicBezTo>
                  <a:pt x="2228632" y="2401130"/>
                  <a:pt x="2170341" y="2459421"/>
                  <a:pt x="2098435" y="2459421"/>
                </a:cubicBezTo>
                <a:lnTo>
                  <a:pt x="130197" y="2459421"/>
                </a:lnTo>
                <a:cubicBezTo>
                  <a:pt x="58291" y="2459421"/>
                  <a:pt x="0" y="2401130"/>
                  <a:pt x="0" y="2329224"/>
                </a:cubicBezTo>
                <a:close/>
              </a:path>
            </a:pathLst>
          </a:custGeom>
          <a:pattFill prst="pct20">
            <a:fgClr>
              <a:srgbClr val="92D050"/>
            </a:fgClr>
            <a:bgClr>
              <a:schemeClr val="bg1"/>
            </a:bgClr>
          </a:pattFill>
          <a:ln>
            <a:noFill/>
          </a:ln>
        </p:spPr>
        <p:txBody>
          <a:bodyPr wrap="square">
            <a:noAutofit/>
          </a:bodyPr>
          <a:lstStyle>
            <a:lvl1pPr>
              <a:defRPr sz="1200">
                <a:latin typeface="Arial" panose="020B0604020202020204" pitchFamily="34" charset="0"/>
                <a:cs typeface="Arial" panose="020B0604020202020204" pitchFamily="34" charset="0"/>
              </a:defRPr>
            </a:lvl1pPr>
          </a:lstStyle>
          <a:p>
            <a:pPr lvl="0"/>
            <a:r>
              <a:rPr lang="en-US" noProof="0"/>
              <a:t>Click icon to add picture</a:t>
            </a:r>
            <a:endParaRPr lang="en-ID" noProof="0"/>
          </a:p>
        </p:txBody>
      </p:sp>
      <p:sp>
        <p:nvSpPr>
          <p:cNvPr id="17" name="Picture Placeholder 16"/>
          <p:cNvSpPr>
            <a:spLocks noGrp="1"/>
          </p:cNvSpPr>
          <p:nvPr>
            <p:ph type="pic" sz="quarter" idx="12"/>
          </p:nvPr>
        </p:nvSpPr>
        <p:spPr>
          <a:xfrm>
            <a:off x="2784642" y="2648386"/>
            <a:ext cx="2222500" cy="3232150"/>
          </a:xfrm>
          <a:custGeom>
            <a:avLst/>
            <a:gdLst>
              <a:gd name="connsiteX0" fmla="*/ 167221 w 2222500"/>
              <a:gd name="connsiteY0" fmla="*/ 0 h 3232150"/>
              <a:gd name="connsiteX1" fmla="*/ 2055279 w 2222500"/>
              <a:gd name="connsiteY1" fmla="*/ 0 h 3232150"/>
              <a:gd name="connsiteX2" fmla="*/ 2222500 w 2222500"/>
              <a:gd name="connsiteY2" fmla="*/ 167221 h 3232150"/>
              <a:gd name="connsiteX3" fmla="*/ 2222500 w 2222500"/>
              <a:gd name="connsiteY3" fmla="*/ 3064929 h 3232150"/>
              <a:gd name="connsiteX4" fmla="*/ 2055279 w 2222500"/>
              <a:gd name="connsiteY4" fmla="*/ 3232150 h 3232150"/>
              <a:gd name="connsiteX5" fmla="*/ 167221 w 2222500"/>
              <a:gd name="connsiteY5" fmla="*/ 3232150 h 3232150"/>
              <a:gd name="connsiteX6" fmla="*/ 0 w 2222500"/>
              <a:gd name="connsiteY6" fmla="*/ 3064929 h 3232150"/>
              <a:gd name="connsiteX7" fmla="*/ 0 w 2222500"/>
              <a:gd name="connsiteY7" fmla="*/ 167221 h 3232150"/>
              <a:gd name="connsiteX8" fmla="*/ 167221 w 2222500"/>
              <a:gd name="connsiteY8" fmla="*/ 0 h 3232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22500" h="3232150">
                <a:moveTo>
                  <a:pt x="167221" y="0"/>
                </a:moveTo>
                <a:lnTo>
                  <a:pt x="2055279" y="0"/>
                </a:lnTo>
                <a:cubicBezTo>
                  <a:pt x="2147633" y="0"/>
                  <a:pt x="2222500" y="74867"/>
                  <a:pt x="2222500" y="167221"/>
                </a:cubicBezTo>
                <a:lnTo>
                  <a:pt x="2222500" y="3064929"/>
                </a:lnTo>
                <a:cubicBezTo>
                  <a:pt x="2222500" y="3157283"/>
                  <a:pt x="2147633" y="3232150"/>
                  <a:pt x="2055279" y="3232150"/>
                </a:cubicBezTo>
                <a:lnTo>
                  <a:pt x="167221" y="3232150"/>
                </a:lnTo>
                <a:cubicBezTo>
                  <a:pt x="74867" y="3232150"/>
                  <a:pt x="0" y="3157283"/>
                  <a:pt x="0" y="3064929"/>
                </a:cubicBezTo>
                <a:lnTo>
                  <a:pt x="0" y="167221"/>
                </a:lnTo>
                <a:cubicBezTo>
                  <a:pt x="0" y="74867"/>
                  <a:pt x="74867" y="0"/>
                  <a:pt x="167221" y="0"/>
                </a:cubicBezTo>
                <a:close/>
              </a:path>
            </a:pathLst>
          </a:custGeom>
          <a:pattFill prst="pct20">
            <a:fgClr>
              <a:srgbClr val="92D050"/>
            </a:fgClr>
            <a:bgClr>
              <a:schemeClr val="bg1"/>
            </a:bgClr>
          </a:pattFill>
          <a:ln>
            <a:noFill/>
          </a:ln>
        </p:spPr>
        <p:txBody>
          <a:bodyPr wrap="square">
            <a:noAutofit/>
          </a:bodyPr>
          <a:lstStyle>
            <a:lvl1pPr>
              <a:defRPr sz="1200">
                <a:latin typeface="Arial" panose="020B0604020202020204" pitchFamily="34" charset="0"/>
                <a:cs typeface="Arial" panose="020B0604020202020204" pitchFamily="34" charset="0"/>
              </a:defRPr>
            </a:lvl1pPr>
          </a:lstStyle>
          <a:p>
            <a:pPr lvl="0"/>
            <a:r>
              <a:rPr lang="en-US" noProof="0"/>
              <a:t>Click icon to add picture</a:t>
            </a:r>
            <a:endParaRPr lang="en-ID" noProof="0"/>
          </a:p>
        </p:txBody>
      </p:sp>
      <p:sp>
        <p:nvSpPr>
          <p:cNvPr id="14" name="Picture Placeholder 13"/>
          <p:cNvSpPr>
            <a:spLocks noGrp="1"/>
          </p:cNvSpPr>
          <p:nvPr>
            <p:ph type="pic" sz="quarter" idx="13"/>
          </p:nvPr>
        </p:nvSpPr>
        <p:spPr>
          <a:xfrm>
            <a:off x="5184064" y="969361"/>
            <a:ext cx="2222500" cy="3232150"/>
          </a:xfrm>
          <a:custGeom>
            <a:avLst/>
            <a:gdLst>
              <a:gd name="connsiteX0" fmla="*/ 167221 w 2222500"/>
              <a:gd name="connsiteY0" fmla="*/ 0 h 3232150"/>
              <a:gd name="connsiteX1" fmla="*/ 2055279 w 2222500"/>
              <a:gd name="connsiteY1" fmla="*/ 0 h 3232150"/>
              <a:gd name="connsiteX2" fmla="*/ 2222500 w 2222500"/>
              <a:gd name="connsiteY2" fmla="*/ 167221 h 3232150"/>
              <a:gd name="connsiteX3" fmla="*/ 2222500 w 2222500"/>
              <a:gd name="connsiteY3" fmla="*/ 3064929 h 3232150"/>
              <a:gd name="connsiteX4" fmla="*/ 2055279 w 2222500"/>
              <a:gd name="connsiteY4" fmla="*/ 3232150 h 3232150"/>
              <a:gd name="connsiteX5" fmla="*/ 167221 w 2222500"/>
              <a:gd name="connsiteY5" fmla="*/ 3232150 h 3232150"/>
              <a:gd name="connsiteX6" fmla="*/ 0 w 2222500"/>
              <a:gd name="connsiteY6" fmla="*/ 3064929 h 3232150"/>
              <a:gd name="connsiteX7" fmla="*/ 0 w 2222500"/>
              <a:gd name="connsiteY7" fmla="*/ 167221 h 3232150"/>
              <a:gd name="connsiteX8" fmla="*/ 167221 w 2222500"/>
              <a:gd name="connsiteY8" fmla="*/ 0 h 3232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22500" h="3232150">
                <a:moveTo>
                  <a:pt x="167221" y="0"/>
                </a:moveTo>
                <a:lnTo>
                  <a:pt x="2055279" y="0"/>
                </a:lnTo>
                <a:cubicBezTo>
                  <a:pt x="2147633" y="0"/>
                  <a:pt x="2222500" y="74867"/>
                  <a:pt x="2222500" y="167221"/>
                </a:cubicBezTo>
                <a:lnTo>
                  <a:pt x="2222500" y="3064929"/>
                </a:lnTo>
                <a:cubicBezTo>
                  <a:pt x="2222500" y="3157283"/>
                  <a:pt x="2147633" y="3232150"/>
                  <a:pt x="2055279" y="3232150"/>
                </a:cubicBezTo>
                <a:lnTo>
                  <a:pt x="167221" y="3232150"/>
                </a:lnTo>
                <a:cubicBezTo>
                  <a:pt x="74867" y="3232150"/>
                  <a:pt x="0" y="3157283"/>
                  <a:pt x="0" y="3064929"/>
                </a:cubicBezTo>
                <a:lnTo>
                  <a:pt x="0" y="167221"/>
                </a:lnTo>
                <a:cubicBezTo>
                  <a:pt x="0" y="74867"/>
                  <a:pt x="74867" y="0"/>
                  <a:pt x="167221" y="0"/>
                </a:cubicBezTo>
                <a:close/>
              </a:path>
            </a:pathLst>
          </a:custGeom>
          <a:pattFill prst="pct20">
            <a:fgClr>
              <a:srgbClr val="92D050"/>
            </a:fgClr>
            <a:bgClr>
              <a:schemeClr val="bg1"/>
            </a:bgClr>
          </a:pattFill>
          <a:ln>
            <a:noFill/>
          </a:ln>
        </p:spPr>
        <p:txBody>
          <a:bodyPr wrap="square">
            <a:noAutofit/>
          </a:bodyPr>
          <a:lstStyle>
            <a:lvl1pPr>
              <a:defRPr sz="1200">
                <a:latin typeface="Arial" panose="020B0604020202020204" pitchFamily="34" charset="0"/>
                <a:cs typeface="Arial" panose="020B0604020202020204" pitchFamily="34" charset="0"/>
              </a:defRPr>
            </a:lvl1pPr>
          </a:lstStyle>
          <a:p>
            <a:pPr lvl="0"/>
            <a:r>
              <a:rPr lang="en-US" noProof="0"/>
              <a:t>Click icon to add picture</a:t>
            </a:r>
            <a:endParaRPr lang="en-ID" noProof="0"/>
          </a:p>
        </p:txBody>
      </p:sp>
      <p:sp>
        <p:nvSpPr>
          <p:cNvPr id="13" name="Picture Placeholder 12"/>
          <p:cNvSpPr>
            <a:spLocks noGrp="1"/>
          </p:cNvSpPr>
          <p:nvPr>
            <p:ph type="pic" sz="quarter" idx="14"/>
          </p:nvPr>
        </p:nvSpPr>
        <p:spPr>
          <a:xfrm>
            <a:off x="5180998" y="4398579"/>
            <a:ext cx="2228632" cy="2459421"/>
          </a:xfrm>
          <a:custGeom>
            <a:avLst/>
            <a:gdLst>
              <a:gd name="connsiteX0" fmla="*/ 130197 w 2228632"/>
              <a:gd name="connsiteY0" fmla="*/ 0 h 2459421"/>
              <a:gd name="connsiteX1" fmla="*/ 2098435 w 2228632"/>
              <a:gd name="connsiteY1" fmla="*/ 0 h 2459421"/>
              <a:gd name="connsiteX2" fmla="*/ 2228632 w 2228632"/>
              <a:gd name="connsiteY2" fmla="*/ 130197 h 2459421"/>
              <a:gd name="connsiteX3" fmla="*/ 2228632 w 2228632"/>
              <a:gd name="connsiteY3" fmla="*/ 2459421 h 2459421"/>
              <a:gd name="connsiteX4" fmla="*/ 0 w 2228632"/>
              <a:gd name="connsiteY4" fmla="*/ 2459421 h 2459421"/>
              <a:gd name="connsiteX5" fmla="*/ 0 w 2228632"/>
              <a:gd name="connsiteY5" fmla="*/ 130197 h 2459421"/>
              <a:gd name="connsiteX6" fmla="*/ 130197 w 2228632"/>
              <a:gd name="connsiteY6" fmla="*/ 0 h 2459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28632" h="2459421">
                <a:moveTo>
                  <a:pt x="130197" y="0"/>
                </a:moveTo>
                <a:lnTo>
                  <a:pt x="2098435" y="0"/>
                </a:lnTo>
                <a:cubicBezTo>
                  <a:pt x="2170341" y="0"/>
                  <a:pt x="2228632" y="58291"/>
                  <a:pt x="2228632" y="130197"/>
                </a:cubicBezTo>
                <a:lnTo>
                  <a:pt x="2228632" y="2459421"/>
                </a:lnTo>
                <a:lnTo>
                  <a:pt x="0" y="2459421"/>
                </a:lnTo>
                <a:lnTo>
                  <a:pt x="0" y="130197"/>
                </a:lnTo>
                <a:cubicBezTo>
                  <a:pt x="0" y="58291"/>
                  <a:pt x="58291" y="0"/>
                  <a:pt x="130197" y="0"/>
                </a:cubicBezTo>
                <a:close/>
              </a:path>
            </a:pathLst>
          </a:custGeom>
          <a:pattFill prst="pct20">
            <a:fgClr>
              <a:srgbClr val="92D050"/>
            </a:fgClr>
            <a:bgClr>
              <a:schemeClr val="bg1"/>
            </a:bgClr>
          </a:pattFill>
          <a:ln>
            <a:noFill/>
          </a:ln>
        </p:spPr>
        <p:txBody>
          <a:bodyPr wrap="square">
            <a:noAutofit/>
          </a:bodyPr>
          <a:lstStyle>
            <a:lvl1pPr>
              <a:defRPr sz="1200">
                <a:latin typeface="Arial" panose="020B0604020202020204" pitchFamily="34" charset="0"/>
                <a:cs typeface="Arial" panose="020B0604020202020204" pitchFamily="34" charset="0"/>
              </a:defRPr>
            </a:lvl1pPr>
          </a:lstStyle>
          <a:p>
            <a:pPr lvl="0"/>
            <a:r>
              <a:rPr lang="en-US" noProof="0"/>
              <a:t>Click icon to add picture</a:t>
            </a:r>
            <a:endParaRPr lang="en-ID" noProof="0"/>
          </a:p>
        </p:txBody>
      </p:sp>
    </p:spTree>
    <p:extLst>
      <p:ext uri="{BB962C8B-B14F-4D97-AF65-F5344CB8AC3E}">
        <p14:creationId xmlns:p14="http://schemas.microsoft.com/office/powerpoint/2010/main" val="1650304396"/>
      </p:ext>
    </p:extLst>
  </p:cSld>
  <p:clrMapOvr>
    <a:masterClrMapping/>
  </p:clrMapOvr>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CONFIDENTIAL with headline">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5B7CE861-129B-4C30-99C9-3AF00E51404C}"/>
              </a:ext>
            </a:extLst>
          </p:cNvPr>
          <p:cNvGraphicFramePr>
            <a:graphicFrameLocks noChangeAspect="1"/>
          </p:cNvGraphicFramePr>
          <p:nvPr userDrawn="1">
            <p:custDataLst>
              <p:tags r:id="rId1"/>
            </p:custDataLst>
            <p:extLst>
              <p:ext uri="{D42A27DB-BD31-4B8C-83A1-F6EECF244321}">
                <p14:modId xmlns:p14="http://schemas.microsoft.com/office/powerpoint/2010/main" val="36218329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2" name="Objekt 1" hidden="1">
                        <a:extLst>
                          <a:ext uri="{FF2B5EF4-FFF2-40B4-BE49-F238E27FC236}">
                            <a16:creationId xmlns:a16="http://schemas.microsoft.com/office/drawing/2014/main" id="{5B7CE861-129B-4C30-99C9-3AF00E51404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Textplatzhalter 8">
            <a:extLst>
              <a:ext uri="{FF2B5EF4-FFF2-40B4-BE49-F238E27FC236}">
                <a16:creationId xmlns:a16="http://schemas.microsoft.com/office/drawing/2014/main" id="{588DD81D-836C-4820-BA4F-D723F3BE6F3E}"/>
              </a:ext>
            </a:extLst>
          </p:cNvPr>
          <p:cNvSpPr>
            <a:spLocks noGrp="1"/>
          </p:cNvSpPr>
          <p:nvPr>
            <p:ph type="body" sz="quarter" idx="17" hasCustomPrompt="1"/>
          </p:nvPr>
        </p:nvSpPr>
        <p:spPr>
          <a:xfrm>
            <a:off x="6462714" y="172148"/>
            <a:ext cx="3942110" cy="363600"/>
          </a:xfrm>
        </p:spPr>
        <p:txBody>
          <a:bodyPr lIns="0" tIns="79200" anchor="t">
            <a:noAutofit/>
          </a:bodyPr>
          <a:lstStyle>
            <a:lvl1pPr marL="0" indent="0" algn="r" rtl="0">
              <a:buFont typeface="Arial" panose="020B0604020202020204" pitchFamily="34" charset="0"/>
              <a:buNone/>
              <a:defRPr sz="1000" cap="all" spc="200" baseline="0">
                <a:solidFill>
                  <a:schemeClr val="accent3"/>
                </a:solidFill>
                <a:latin typeface="Roboto Bold" panose="02000000000000000000" pitchFamily="2" charset="0"/>
                <a:ea typeface="Roboto Bold" panose="02000000000000000000" pitchFamily="2" charset="0"/>
              </a:defRPr>
            </a:lvl1pPr>
          </a:lstStyle>
          <a:p>
            <a:pPr lvl="0"/>
            <a:r>
              <a:rPr lang="en-US"/>
              <a:t>Chapter</a:t>
            </a:r>
          </a:p>
        </p:txBody>
      </p:sp>
      <p:sp>
        <p:nvSpPr>
          <p:cNvPr id="4" name="TextBox 32">
            <a:extLst>
              <a:ext uri="{FF2B5EF4-FFF2-40B4-BE49-F238E27FC236}">
                <a16:creationId xmlns:a16="http://schemas.microsoft.com/office/drawing/2014/main" id="{3E84B393-626E-4D99-ACD8-BED1AA75251B}"/>
              </a:ext>
            </a:extLst>
          </p:cNvPr>
          <p:cNvSpPr txBox="1"/>
          <p:nvPr userDrawn="1"/>
        </p:nvSpPr>
        <p:spPr>
          <a:xfrm rot="16200000">
            <a:off x="-347151" y="3510426"/>
            <a:ext cx="1243930" cy="180049"/>
          </a:xfrm>
          <a:prstGeom prst="rect">
            <a:avLst/>
          </a:prstGeom>
          <a:noFill/>
          <a:ln w="9525">
            <a:noFill/>
          </a:ln>
        </p:spPr>
        <p:txBody>
          <a:bodyPr vert="horz" wrap="none" lIns="0" tIns="0" rIns="0" bIns="0" rtlCol="0">
            <a:spAutoFit/>
          </a:bodyPr>
          <a:lstStyle/>
          <a:p>
            <a:pPr algn="ctr" rtl="0">
              <a:lnSpc>
                <a:spcPct val="90000"/>
              </a:lnSpc>
              <a:spcBef>
                <a:spcPts val="400"/>
              </a:spcBef>
              <a:buClr>
                <a:srgbClr val="000000"/>
              </a:buClr>
              <a:buSzTx/>
            </a:pPr>
            <a:r>
              <a:rPr lang="en-US" sz="1300" b="1" noProof="0">
                <a:solidFill>
                  <a:srgbClr val="E32119"/>
                </a:solidFill>
                <a:latin typeface="+mj-lt"/>
                <a:cs typeface="Arial Narrow" pitchFamily="34" charset="0"/>
              </a:rPr>
              <a:t>CONFIDENTIAL</a:t>
            </a:r>
          </a:p>
        </p:txBody>
      </p:sp>
      <p:sp>
        <p:nvSpPr>
          <p:cNvPr id="5" name="Titel 1">
            <a:extLst>
              <a:ext uri="{FF2B5EF4-FFF2-40B4-BE49-F238E27FC236}">
                <a16:creationId xmlns:a16="http://schemas.microsoft.com/office/drawing/2014/main" id="{530BC872-9263-40C4-84A9-F328C15EFF1E}"/>
              </a:ext>
            </a:extLst>
          </p:cNvPr>
          <p:cNvSpPr>
            <a:spLocks noGrp="1"/>
          </p:cNvSpPr>
          <p:nvPr>
            <p:ph type="title" hasCustomPrompt="1"/>
          </p:nvPr>
        </p:nvSpPr>
        <p:spPr>
          <a:xfrm>
            <a:off x="815952" y="733402"/>
            <a:ext cx="10560096" cy="767737"/>
          </a:xfrm>
        </p:spPr>
        <p:txBody>
          <a:bodyPr vert="horz">
            <a:noAutofit/>
          </a:bodyPr>
          <a:lstStyle>
            <a:lvl1pPr rtl="0">
              <a:lnSpc>
                <a:spcPct val="100000"/>
              </a:lnSpc>
              <a:defRPr/>
            </a:lvl1pPr>
          </a:lstStyle>
          <a:p>
            <a:r>
              <a:rPr lang="en-US"/>
              <a:t>Headline</a:t>
            </a:r>
          </a:p>
        </p:txBody>
      </p:sp>
      <p:sp>
        <p:nvSpPr>
          <p:cNvPr id="6" name="Inhaltsplatzhalter 5">
            <a:extLst>
              <a:ext uri="{FF2B5EF4-FFF2-40B4-BE49-F238E27FC236}">
                <a16:creationId xmlns:a16="http://schemas.microsoft.com/office/drawing/2014/main" id="{7F103B78-7FB8-46CE-8228-331AE73E56D6}"/>
              </a:ext>
            </a:extLst>
          </p:cNvPr>
          <p:cNvSpPr>
            <a:spLocks noGrp="1"/>
          </p:cNvSpPr>
          <p:nvPr>
            <p:ph sz="quarter" idx="12"/>
          </p:nvPr>
        </p:nvSpPr>
        <p:spPr>
          <a:xfrm>
            <a:off x="815951" y="2212433"/>
            <a:ext cx="10560096" cy="4107641"/>
          </a:xfrm>
        </p:spPr>
        <p:txBody>
          <a:bodyPr>
            <a:noAutofit/>
          </a:bodyPr>
          <a:lstStyle>
            <a:lvl1pPr rtl="0">
              <a:defRPr/>
            </a:lvl1pPr>
            <a:lvl2pPr rtl="0">
              <a:defRPr/>
            </a:lvl2pPr>
            <a:lvl3pPr rtl="0">
              <a:defRPr/>
            </a:lvl3pPr>
            <a:lvl4pPr rtl="0">
              <a:defRPr/>
            </a:lvl4pPr>
            <a:lvl5pPr rtl="0">
              <a:defRPr/>
            </a:lvl5pPr>
          </a:lstStyle>
          <a:p>
            <a:pPr lvl="0"/>
            <a:r>
              <a:rPr lang="en-US" err="1"/>
              <a:t>Mastertextformat bearbeiten</a:t>
            </a:r>
            <a:endParaRPr lang="en-US"/>
          </a:p>
          <a:p>
            <a:pPr lvl="1"/>
            <a:r>
              <a:rPr lang="en-US" err="1"/>
              <a:t>Zweite Ebene</a:t>
            </a:r>
          </a:p>
          <a:p>
            <a:pPr lvl="2"/>
            <a:r>
              <a:rPr lang="en-US" err="1"/>
              <a:t>Dritte Ebene</a:t>
            </a:r>
          </a:p>
          <a:p>
            <a:pPr lvl="3"/>
            <a:r>
              <a:rPr lang="en-US" err="1"/>
              <a:t>Vierte Ebene</a:t>
            </a:r>
          </a:p>
          <a:p>
            <a:pPr lvl="4"/>
            <a:r>
              <a:rPr lang="en-US" err="1"/>
              <a:t>Fünfte Ebene</a:t>
            </a:r>
          </a:p>
        </p:txBody>
      </p:sp>
      <p:sp>
        <p:nvSpPr>
          <p:cNvPr id="9" name="Textplatzhalter 8">
            <a:extLst>
              <a:ext uri="{FF2B5EF4-FFF2-40B4-BE49-F238E27FC236}">
                <a16:creationId xmlns:a16="http://schemas.microsoft.com/office/drawing/2014/main" id="{7CBCD10E-31A5-4685-96A9-6140F4781DC8}"/>
              </a:ext>
            </a:extLst>
          </p:cNvPr>
          <p:cNvSpPr>
            <a:spLocks noGrp="1"/>
          </p:cNvSpPr>
          <p:nvPr>
            <p:ph type="body" sz="quarter" idx="14" hasCustomPrompt="1"/>
          </p:nvPr>
        </p:nvSpPr>
        <p:spPr>
          <a:xfrm>
            <a:off x="10566399" y="172148"/>
            <a:ext cx="273049" cy="363600"/>
          </a:xfrm>
        </p:spPr>
        <p:txBody>
          <a:bodyPr lIns="0" tIns="79200" anchor="t">
            <a:noAutofit/>
          </a:bodyPr>
          <a:lstStyle>
            <a:lvl1pPr marL="0" indent="0" algn="l" rtl="0">
              <a:buFont typeface="Arial" panose="020B0604020202020204" pitchFamily="34" charset="0"/>
              <a:buNone/>
              <a:defRPr sz="1000" cap="all" spc="200" baseline="0">
                <a:solidFill>
                  <a:schemeClr val="accent3"/>
                </a:solidFill>
                <a:latin typeface="Roboto Bold" panose="02000000000000000000" pitchFamily="2" charset="0"/>
                <a:ea typeface="Roboto Bold" panose="02000000000000000000" pitchFamily="2" charset="0"/>
              </a:defRPr>
            </a:lvl1pPr>
          </a:lstStyle>
          <a:p>
            <a:pPr lvl="0"/>
            <a:r>
              <a:rPr lang="en-US"/>
              <a:t>XX</a:t>
            </a:r>
          </a:p>
        </p:txBody>
      </p:sp>
      <p:sp>
        <p:nvSpPr>
          <p:cNvPr id="7" name="Text Placeholder 6">
            <a:extLst>
              <a:ext uri="{FF2B5EF4-FFF2-40B4-BE49-F238E27FC236}">
                <a16:creationId xmlns:a16="http://schemas.microsoft.com/office/drawing/2014/main" id="{6B3395CB-16CC-4ADA-BA69-5D4B34424F9B}"/>
              </a:ext>
            </a:extLst>
          </p:cNvPr>
          <p:cNvSpPr>
            <a:spLocks noGrp="1"/>
          </p:cNvSpPr>
          <p:nvPr>
            <p:ph type="body" sz="quarter" idx="15" hasCustomPrompt="1"/>
          </p:nvPr>
        </p:nvSpPr>
        <p:spPr>
          <a:xfrm>
            <a:off x="815951" y="6322252"/>
            <a:ext cx="10566400" cy="535748"/>
          </a:xfrm>
        </p:spPr>
        <p:txBody>
          <a:bodyPr wrap="square" tIns="72000" bIns="72000">
            <a:normAutofit/>
          </a:bodyPr>
          <a:lstStyle>
            <a:lvl1pPr marL="0" indent="0" rtl="0">
              <a:lnSpc>
                <a:spcPct val="100000"/>
              </a:lnSpc>
              <a:spcAft>
                <a:spcPct val="0"/>
              </a:spcAft>
              <a:buFont typeface="Arial" panose="020B0604020202020204" pitchFamily="34" charset="0"/>
              <a:buNone/>
              <a:defRPr sz="1000"/>
            </a:lvl1pPr>
          </a:lstStyle>
          <a:p>
            <a:pPr lvl="0"/>
            <a:r>
              <a:rPr lang="en-US"/>
              <a:t>Footnote</a:t>
            </a:r>
          </a:p>
        </p:txBody>
      </p:sp>
      <p:sp>
        <p:nvSpPr>
          <p:cNvPr id="11" name="Foliennummernplatzhalter 1">
            <a:extLst>
              <a:ext uri="{FF2B5EF4-FFF2-40B4-BE49-F238E27FC236}">
                <a16:creationId xmlns:a16="http://schemas.microsoft.com/office/drawing/2014/main" id="{EBF48A47-49AC-4808-9FCE-82F4539BACE4}"/>
              </a:ext>
            </a:extLst>
          </p:cNvPr>
          <p:cNvSpPr>
            <a:spLocks noGrp="1"/>
          </p:cNvSpPr>
          <p:nvPr>
            <p:ph type="sldNum" sz="quarter" idx="4"/>
          </p:nvPr>
        </p:nvSpPr>
        <p:spPr>
          <a:xfrm>
            <a:off x="10839449" y="172800"/>
            <a:ext cx="536597" cy="365125"/>
          </a:xfrm>
          <a:prstGeom prst="rect">
            <a:avLst/>
          </a:prstGeom>
        </p:spPr>
        <p:txBody>
          <a:bodyPr vert="horz" lIns="91440" tIns="45720" rIns="0" bIns="45720" rtlCol="0" anchor="ctr"/>
          <a:lstStyle>
            <a:lvl1pPr algn="r" rtl="0">
              <a:defRPr sz="1000" spc="170" baseline="0">
                <a:solidFill>
                  <a:schemeClr val="accent3"/>
                </a:solidFill>
                <a:latin typeface="Roboto Bold" panose="02000000000000000000" pitchFamily="2" charset="0"/>
                <a:ea typeface="Roboto Bold" panose="02000000000000000000" pitchFamily="2" charset="0"/>
              </a:defRPr>
            </a:lvl1pPr>
          </a:lstStyle>
          <a:p>
            <a:fld id="{A04BEB4F-8CE1-4F18-986F-6CE0A0BE9470}" type="slidenum">
              <a:rPr lang="en-US" smtClean="0"/>
              <a:t>‹#›</a:t>
            </a:fld>
            <a:endParaRPr lang="en-US"/>
          </a:p>
        </p:txBody>
      </p:sp>
      <p:sp>
        <p:nvSpPr>
          <p:cNvPr id="12" name="TextBox 11">
            <a:extLst>
              <a:ext uri="{FF2B5EF4-FFF2-40B4-BE49-F238E27FC236}">
                <a16:creationId xmlns:a16="http://schemas.microsoft.com/office/drawing/2014/main" id="{CFFF5C0F-CB94-4C3C-A17B-E09A62A6B291}"/>
              </a:ext>
            </a:extLst>
          </p:cNvPr>
          <p:cNvSpPr txBox="1"/>
          <p:nvPr userDrawn="1"/>
        </p:nvSpPr>
        <p:spPr>
          <a:xfrm>
            <a:off x="10363875" y="233218"/>
            <a:ext cx="242374" cy="246221"/>
          </a:xfrm>
          <a:prstGeom prst="rect">
            <a:avLst/>
          </a:prstGeom>
          <a:noFill/>
        </p:spPr>
        <p:txBody>
          <a:bodyPr wrap="none" rtlCol="0">
            <a:spAutoFit/>
          </a:bodyPr>
          <a:lstStyle/>
          <a:p>
            <a:pPr algn="l" rtl="0"/>
            <a:r>
              <a:rPr lang="en-US" sz="1000" kern="1200" cap="all" spc="200" baseline="0">
                <a:solidFill>
                  <a:schemeClr val="accent3"/>
                </a:solidFill>
                <a:latin typeface="Roboto Bold" panose="02000000000000000000" pitchFamily="2" charset="0"/>
                <a:ea typeface="Roboto Bold" panose="02000000000000000000" pitchFamily="2" charset="0"/>
                <a:cs typeface="+mn-cs"/>
              </a:rPr>
              <a:t>|</a:t>
            </a:r>
          </a:p>
        </p:txBody>
      </p:sp>
      <p:sp>
        <p:nvSpPr>
          <p:cNvPr id="17" name="Text Placeholder 16">
            <a:extLst>
              <a:ext uri="{FF2B5EF4-FFF2-40B4-BE49-F238E27FC236}">
                <a16:creationId xmlns:a16="http://schemas.microsoft.com/office/drawing/2014/main" id="{E0881B06-B5A6-4C71-85BE-4A0BBB2CEC66}"/>
              </a:ext>
            </a:extLst>
          </p:cNvPr>
          <p:cNvSpPr>
            <a:spLocks noGrp="1"/>
          </p:cNvSpPr>
          <p:nvPr>
            <p:ph type="body" sz="quarter" idx="18" hasCustomPrompt="1"/>
          </p:nvPr>
        </p:nvSpPr>
        <p:spPr>
          <a:xfrm>
            <a:off x="812799" y="1501138"/>
            <a:ext cx="10569551" cy="451487"/>
          </a:xfrm>
        </p:spPr>
        <p:txBody>
          <a:bodyPr tIns="72000"/>
          <a:lstStyle>
            <a:lvl1pPr marL="0" indent="0" rtl="0">
              <a:buFont typeface="Arial" panose="020B0604020202020204" pitchFamily="34" charset="0"/>
              <a:buNone/>
              <a:defRPr lang="de-DE" sz="1800" kern="1200">
                <a:solidFill>
                  <a:schemeClr val="tx2"/>
                </a:solidFill>
                <a:latin typeface="+mj-lt"/>
                <a:ea typeface="+mj-ea"/>
                <a:cs typeface="+mj-cs"/>
              </a:defRPr>
            </a:lvl1pPr>
          </a:lstStyle>
          <a:p>
            <a:pPr lvl="0"/>
            <a:r>
              <a:rPr lang="en-US" err="1"/>
              <a:t>Subheadline</a:t>
            </a:r>
            <a:endParaRPr lang="en-US"/>
          </a:p>
        </p:txBody>
      </p:sp>
    </p:spTree>
    <p:extLst>
      <p:ext uri="{BB962C8B-B14F-4D97-AF65-F5344CB8AC3E}">
        <p14:creationId xmlns:p14="http://schemas.microsoft.com/office/powerpoint/2010/main" val="2661075283"/>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8" dur="1000" decel="10000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000" fill="hold"/>
                                        <p:tgtEl>
                                          <p:spTgt spid="5"/>
                                        </p:tgtEl>
                                        <p:attrNameLst>
                                          <p:attrName>ppt_x</p:attrName>
                                        </p:attrNameLst>
                                      </p:cBhvr>
                                      <p:tavLst>
                                        <p:tav tm="0">
                                          <p:val>
                                            <p:strVal val="0-#ppt_w/2"/>
                                          </p:val>
                                        </p:tav>
                                        <p:tav tm="100000">
                                          <p:val>
                                            <p:strVal val="#ppt_x"/>
                                          </p:val>
                                        </p:tav>
                                      </p:tavLst>
                                    </p:anim>
                                    <p:anim calcmode="lin" valueType="num">
                                      <p:cBhvr additive="base">
                                        <p:cTn id="8" dur="1000" fill="hold"/>
                                        <p:tgtEl>
                                          <p:spTgt spid="5"/>
                                        </p:tgtEl>
                                        <p:attrNameLst>
                                          <p:attrName>ppt_y</p:attrName>
                                        </p:attrNameLst>
                                      </p:cBhvr>
                                      <p:tavLst>
                                        <p:tav tm="0">
                                          <p:val>
                                            <p:strVal val="#ppt_y"/>
                                          </p:val>
                                        </p:tav>
                                        <p:tav tm="100000">
                                          <p:val>
                                            <p:strVal val="#ppt_y"/>
                                          </p:val>
                                        </p:tav>
                                      </p:tavLst>
                                    </p:anim>
                                  </p:childTnLst>
                                </p:cTn>
                              </p:par>
                              <p:par>
                                <p:cTn id="9" presetID="2" presetClass="entr" presetSubtype="8" dur="1000" decel="100000" fill="hold" grpId="0" nodeType="withEffect">
                                  <p:stCondLst>
                                    <p:cond delay="250"/>
                                  </p:stCondLst>
                                  <p:childTnLst>
                                    <p:set>
                                      <p:cBhvr>
                                        <p:cTn id="10" dur="1" fill="hold">
                                          <p:stCondLst>
                                            <p:cond delay="0"/>
                                          </p:stCondLst>
                                        </p:cTn>
                                        <p:tgtEl>
                                          <p:spTgt spid="6"/>
                                        </p:tgtEl>
                                        <p:attrNameLst>
                                          <p:attrName>style.visibility</p:attrName>
                                        </p:attrNameLst>
                                      </p:cBhvr>
                                      <p:to>
                                        <p:strVal val="visible"/>
                                      </p:to>
                                    </p:set>
                                    <p:anim calcmode="lin" valueType="num">
                                      <p:cBhvr additive="base">
                                        <p:cTn id="11" dur="1000" fill="hold"/>
                                        <p:tgtEl>
                                          <p:spTgt spid="6"/>
                                        </p:tgtEl>
                                        <p:attrNameLst>
                                          <p:attrName>ppt_x</p:attrName>
                                        </p:attrNameLst>
                                      </p:cBhvr>
                                      <p:tavLst>
                                        <p:tav tm="0">
                                          <p:val>
                                            <p:strVal val="0-#ppt_w/2"/>
                                          </p:val>
                                        </p:tav>
                                        <p:tav tm="100000">
                                          <p:val>
                                            <p:strVal val="#ppt_x"/>
                                          </p:val>
                                        </p:tav>
                                      </p:tavLst>
                                    </p:anim>
                                    <p:anim calcmode="lin" valueType="num">
                                      <p:cBhvr additive="base">
                                        <p:cTn id="12" dur="10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tmplLst>
          <p:tmpl>
            <p:tnLst>
              <p:par>
                <p:cTn presetID="2" presetClass="entr" presetSubtype="8" decel="100000" fill="hold" nodeType="withEffect">
                  <p:stCondLst>
                    <p:cond delay="250"/>
                  </p:stCondLst>
                  <p:childTnLst>
                    <p:set>
                      <p:cBhvr>
                        <p:cTn dur="1" fill="hold">
                          <p:stCondLst>
                            <p:cond delay="0"/>
                          </p:stCondLst>
                        </p:cTn>
                        <p:tgtEl>
                          <p:spTgt spid="6"/>
                        </p:tgtEl>
                        <p:attrNameLst>
                          <p:attrName>style.visibility</p:attrName>
                        </p:attrNameLst>
                      </p:cBhvr>
                      <p:to>
                        <p:strVal val="visible"/>
                      </p:to>
                    </p:set>
                    <p:anim calcmode="lin" valueType="num">
                      <p:cBhvr additive="base">
                        <p:cTn dur="1000" fill="hold"/>
                        <p:tgtEl>
                          <p:spTgt spid="6"/>
                        </p:tgtEl>
                        <p:attrNameLst>
                          <p:attrName>ppt_x</p:attrName>
                        </p:attrNameLst>
                      </p:cBhvr>
                      <p:tavLst>
                        <p:tav tm="0">
                          <p:val>
                            <p:strVal val="0-#ppt_w/2"/>
                          </p:val>
                        </p:tav>
                        <p:tav tm="100000">
                          <p:val>
                            <p:strVal val="#ppt_x"/>
                          </p:val>
                        </p:tav>
                      </p:tavLst>
                    </p:anim>
                    <p:anim calcmode="lin" valueType="num">
                      <p:cBhvr additive="base">
                        <p:cTn dur="1000" fill="hold"/>
                        <p:tgtEl>
                          <p:spTgt spid="6"/>
                        </p:tgtEl>
                        <p:attrNameLst>
                          <p:attrName>ppt_y</p:attrName>
                        </p:attrNameLst>
                      </p:cBhvr>
                      <p:tavLst>
                        <p:tav tm="0">
                          <p:val>
                            <p:strVal val="#ppt_y"/>
                          </p:val>
                        </p:tav>
                        <p:tav tm="100000">
                          <p:val>
                            <p:strVal val="#ppt_y"/>
                          </p:val>
                        </p:tav>
                      </p:tavLst>
                    </p:anim>
                  </p:childTnLst>
                </p:cTn>
              </p:par>
            </p:tnLst>
          </p:tmpl>
        </p:tmplLst>
      </p:bldP>
    </p:bldLst>
  </p:timing>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STRICTLY CONFIDENTIAL">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35BEAE1B-61FB-4AB7-A6CD-95911EDC105D}"/>
              </a:ext>
            </a:extLst>
          </p:cNvPr>
          <p:cNvGraphicFramePr>
            <a:graphicFrameLocks noChangeAspect="1"/>
          </p:cNvGraphicFramePr>
          <p:nvPr userDrawn="1">
            <p:custDataLst>
              <p:tags r:id="rId1"/>
            </p:custDataLst>
            <p:extLst>
              <p:ext uri="{D42A27DB-BD31-4B8C-83A1-F6EECF244321}">
                <p14:modId xmlns:p14="http://schemas.microsoft.com/office/powerpoint/2010/main" val="559615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2" name="Objekt 1" hidden="1">
                        <a:extLst>
                          <a:ext uri="{FF2B5EF4-FFF2-40B4-BE49-F238E27FC236}">
                            <a16:creationId xmlns:a16="http://schemas.microsoft.com/office/drawing/2014/main" id="{35BEAE1B-61FB-4AB7-A6CD-95911EDC105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Box 32">
            <a:extLst>
              <a:ext uri="{FF2B5EF4-FFF2-40B4-BE49-F238E27FC236}">
                <a16:creationId xmlns:a16="http://schemas.microsoft.com/office/drawing/2014/main" id="{B5E247E6-9C02-45E3-A547-02C506DDBE07}"/>
              </a:ext>
            </a:extLst>
          </p:cNvPr>
          <p:cNvSpPr txBox="1"/>
          <p:nvPr userDrawn="1"/>
        </p:nvSpPr>
        <p:spPr>
          <a:xfrm rot="16200000">
            <a:off x="-764733" y="3510426"/>
            <a:ext cx="2079095" cy="180049"/>
          </a:xfrm>
          <a:prstGeom prst="rect">
            <a:avLst/>
          </a:prstGeom>
          <a:noFill/>
          <a:ln w="9525">
            <a:noFill/>
          </a:ln>
        </p:spPr>
        <p:txBody>
          <a:bodyPr vert="horz" wrap="none" lIns="0" tIns="0" rIns="0" bIns="0" rtlCol="0">
            <a:spAutoFit/>
          </a:bodyPr>
          <a:lstStyle/>
          <a:p>
            <a:pPr algn="ctr" rtl="0">
              <a:lnSpc>
                <a:spcPct val="90000"/>
              </a:lnSpc>
              <a:spcBef>
                <a:spcPts val="400"/>
              </a:spcBef>
              <a:buClr>
                <a:srgbClr val="000000"/>
              </a:buClr>
              <a:buSzTx/>
            </a:pPr>
            <a:r>
              <a:rPr lang="en-US" sz="1300" b="1" noProof="0">
                <a:solidFill>
                  <a:srgbClr val="E32119"/>
                </a:solidFill>
                <a:latin typeface="+mj-lt"/>
                <a:cs typeface="Arial Narrow" pitchFamily="34" charset="0"/>
              </a:rPr>
              <a:t>STRICTLY CONFIDENTIAL</a:t>
            </a:r>
          </a:p>
        </p:txBody>
      </p:sp>
      <p:sp>
        <p:nvSpPr>
          <p:cNvPr id="6" name="Inhaltsplatzhalter 5">
            <a:extLst>
              <a:ext uri="{FF2B5EF4-FFF2-40B4-BE49-F238E27FC236}">
                <a16:creationId xmlns:a16="http://schemas.microsoft.com/office/drawing/2014/main" id="{58965A59-EA23-4443-A22E-9428FB3359A3}"/>
              </a:ext>
            </a:extLst>
          </p:cNvPr>
          <p:cNvSpPr>
            <a:spLocks noGrp="1"/>
          </p:cNvSpPr>
          <p:nvPr>
            <p:ph sz="quarter" idx="12"/>
          </p:nvPr>
        </p:nvSpPr>
        <p:spPr>
          <a:xfrm>
            <a:off x="815951" y="730250"/>
            <a:ext cx="10560096" cy="5592002"/>
          </a:xfrm>
        </p:spPr>
        <p:txBody>
          <a:bodyPr>
            <a:noAutofit/>
          </a:bodyPr>
          <a:lstStyle>
            <a:lvl1pPr rtl="0">
              <a:defRPr/>
            </a:lvl1pPr>
            <a:lvl2pPr rtl="0">
              <a:defRPr/>
            </a:lvl2pPr>
            <a:lvl3pPr rtl="0">
              <a:defRPr/>
            </a:lvl3pPr>
            <a:lvl4pPr rtl="0">
              <a:defRPr/>
            </a:lvl4pPr>
            <a:lvl5pPr rtl="0">
              <a:defRPr/>
            </a:lvl5pPr>
          </a:lstStyle>
          <a:p>
            <a:pPr lvl="0"/>
            <a:r>
              <a:rPr lang="en-US" err="1"/>
              <a:t>Mastertextformat bearbeiten</a:t>
            </a:r>
            <a:endParaRPr lang="en-US"/>
          </a:p>
          <a:p>
            <a:pPr lvl="1"/>
            <a:r>
              <a:rPr lang="en-US" err="1"/>
              <a:t>Zweite Ebene</a:t>
            </a:r>
          </a:p>
          <a:p>
            <a:pPr lvl="2"/>
            <a:r>
              <a:rPr lang="en-US" err="1"/>
              <a:t>Dritte Ebene</a:t>
            </a:r>
          </a:p>
          <a:p>
            <a:pPr lvl="3"/>
            <a:r>
              <a:rPr lang="en-US" err="1"/>
              <a:t>Vierte Ebene</a:t>
            </a:r>
          </a:p>
          <a:p>
            <a:pPr lvl="4"/>
            <a:r>
              <a:rPr lang="en-US" err="1"/>
              <a:t>Fünfte Ebene</a:t>
            </a:r>
          </a:p>
        </p:txBody>
      </p:sp>
      <p:sp>
        <p:nvSpPr>
          <p:cNvPr id="7" name="Textplatzhalter 8">
            <a:extLst>
              <a:ext uri="{FF2B5EF4-FFF2-40B4-BE49-F238E27FC236}">
                <a16:creationId xmlns:a16="http://schemas.microsoft.com/office/drawing/2014/main" id="{B2BCE87B-DAB3-4AAF-88F7-815A14ACD22C}"/>
              </a:ext>
            </a:extLst>
          </p:cNvPr>
          <p:cNvSpPr>
            <a:spLocks noGrp="1"/>
          </p:cNvSpPr>
          <p:nvPr>
            <p:ph type="body" sz="quarter" idx="17" hasCustomPrompt="1"/>
          </p:nvPr>
        </p:nvSpPr>
        <p:spPr>
          <a:xfrm>
            <a:off x="6462714" y="172148"/>
            <a:ext cx="3942110" cy="363600"/>
          </a:xfrm>
        </p:spPr>
        <p:txBody>
          <a:bodyPr lIns="0" tIns="79200" anchor="t">
            <a:noAutofit/>
          </a:bodyPr>
          <a:lstStyle>
            <a:lvl1pPr marL="0" indent="0" algn="r" rtl="0">
              <a:buFont typeface="Arial" panose="020B0604020202020204" pitchFamily="34" charset="0"/>
              <a:buNone/>
              <a:defRPr sz="1000" cap="all" spc="200" baseline="0">
                <a:solidFill>
                  <a:schemeClr val="accent3"/>
                </a:solidFill>
                <a:latin typeface="Roboto Bold" panose="02000000000000000000" pitchFamily="2" charset="0"/>
                <a:ea typeface="Roboto Bold" panose="02000000000000000000" pitchFamily="2" charset="0"/>
              </a:defRPr>
            </a:lvl1pPr>
          </a:lstStyle>
          <a:p>
            <a:pPr lvl="0"/>
            <a:r>
              <a:rPr lang="en-US"/>
              <a:t>Chapter</a:t>
            </a:r>
          </a:p>
        </p:txBody>
      </p:sp>
      <p:sp>
        <p:nvSpPr>
          <p:cNvPr id="8" name="Textplatzhalter 8">
            <a:extLst>
              <a:ext uri="{FF2B5EF4-FFF2-40B4-BE49-F238E27FC236}">
                <a16:creationId xmlns:a16="http://schemas.microsoft.com/office/drawing/2014/main" id="{39A08C6B-A530-4748-8E81-19770971BEA3}"/>
              </a:ext>
            </a:extLst>
          </p:cNvPr>
          <p:cNvSpPr>
            <a:spLocks noGrp="1"/>
          </p:cNvSpPr>
          <p:nvPr>
            <p:ph type="body" sz="quarter" idx="14" hasCustomPrompt="1"/>
          </p:nvPr>
        </p:nvSpPr>
        <p:spPr>
          <a:xfrm>
            <a:off x="10566399" y="172148"/>
            <a:ext cx="273049" cy="363600"/>
          </a:xfrm>
        </p:spPr>
        <p:txBody>
          <a:bodyPr lIns="0" tIns="79200" anchor="t">
            <a:noAutofit/>
          </a:bodyPr>
          <a:lstStyle>
            <a:lvl1pPr marL="0" indent="0" algn="l" rtl="0">
              <a:buFont typeface="Arial" panose="020B0604020202020204" pitchFamily="34" charset="0"/>
              <a:buNone/>
              <a:defRPr sz="1000" cap="all" spc="200" baseline="0">
                <a:solidFill>
                  <a:schemeClr val="accent3"/>
                </a:solidFill>
                <a:latin typeface="Roboto Bold" panose="02000000000000000000" pitchFamily="2" charset="0"/>
                <a:ea typeface="Roboto Bold" panose="02000000000000000000" pitchFamily="2" charset="0"/>
              </a:defRPr>
            </a:lvl1pPr>
          </a:lstStyle>
          <a:p>
            <a:pPr lvl="0"/>
            <a:r>
              <a:rPr lang="en-US"/>
              <a:t>XX</a:t>
            </a:r>
          </a:p>
        </p:txBody>
      </p:sp>
      <p:sp>
        <p:nvSpPr>
          <p:cNvPr id="10" name="Foliennummernplatzhalter 1">
            <a:extLst>
              <a:ext uri="{FF2B5EF4-FFF2-40B4-BE49-F238E27FC236}">
                <a16:creationId xmlns:a16="http://schemas.microsoft.com/office/drawing/2014/main" id="{091EAAE5-A9F5-40E4-8B54-1AB0671D5EA5}"/>
              </a:ext>
            </a:extLst>
          </p:cNvPr>
          <p:cNvSpPr>
            <a:spLocks noGrp="1"/>
          </p:cNvSpPr>
          <p:nvPr>
            <p:ph type="sldNum" sz="quarter" idx="4"/>
          </p:nvPr>
        </p:nvSpPr>
        <p:spPr>
          <a:xfrm>
            <a:off x="10839449" y="172800"/>
            <a:ext cx="536597" cy="365125"/>
          </a:xfrm>
          <a:prstGeom prst="rect">
            <a:avLst/>
          </a:prstGeom>
        </p:spPr>
        <p:txBody>
          <a:bodyPr vert="horz" lIns="91440" tIns="45720" rIns="0" bIns="45720" rtlCol="0" anchor="ctr"/>
          <a:lstStyle>
            <a:lvl1pPr algn="r" rtl="0">
              <a:defRPr sz="1000" spc="170" baseline="0">
                <a:solidFill>
                  <a:schemeClr val="accent3"/>
                </a:solidFill>
                <a:latin typeface="Roboto Bold" panose="02000000000000000000" pitchFamily="2" charset="0"/>
                <a:ea typeface="Roboto Bold" panose="02000000000000000000" pitchFamily="2" charset="0"/>
              </a:defRPr>
            </a:lvl1pPr>
          </a:lstStyle>
          <a:p>
            <a:fld id="{A04BEB4F-8CE1-4F18-986F-6CE0A0BE9470}" type="slidenum">
              <a:rPr lang="en-US" smtClean="0"/>
              <a:t>‹#›</a:t>
            </a:fld>
            <a:endParaRPr lang="en-US"/>
          </a:p>
        </p:txBody>
      </p:sp>
      <p:sp>
        <p:nvSpPr>
          <p:cNvPr id="11" name="TextBox 10">
            <a:extLst>
              <a:ext uri="{FF2B5EF4-FFF2-40B4-BE49-F238E27FC236}">
                <a16:creationId xmlns:a16="http://schemas.microsoft.com/office/drawing/2014/main" id="{918A3963-2FBF-43D2-B55D-670A3A3FE8B6}"/>
              </a:ext>
            </a:extLst>
          </p:cNvPr>
          <p:cNvSpPr txBox="1"/>
          <p:nvPr userDrawn="1"/>
        </p:nvSpPr>
        <p:spPr>
          <a:xfrm>
            <a:off x="10363875" y="233218"/>
            <a:ext cx="242374" cy="246221"/>
          </a:xfrm>
          <a:prstGeom prst="rect">
            <a:avLst/>
          </a:prstGeom>
          <a:noFill/>
        </p:spPr>
        <p:txBody>
          <a:bodyPr wrap="none" rtlCol="0">
            <a:spAutoFit/>
          </a:bodyPr>
          <a:lstStyle/>
          <a:p>
            <a:pPr algn="l" rtl="0"/>
            <a:r>
              <a:rPr lang="en-US" sz="1000" kern="1200" cap="all" spc="200" baseline="0">
                <a:solidFill>
                  <a:schemeClr val="accent3"/>
                </a:solidFill>
                <a:latin typeface="Roboto Bold" panose="02000000000000000000" pitchFamily="2" charset="0"/>
                <a:ea typeface="Roboto Bold" panose="02000000000000000000" pitchFamily="2" charset="0"/>
                <a:cs typeface="+mn-cs"/>
              </a:rPr>
              <a:t>|</a:t>
            </a:r>
          </a:p>
        </p:txBody>
      </p:sp>
      <p:sp>
        <p:nvSpPr>
          <p:cNvPr id="12" name="Text Placeholder 6">
            <a:extLst>
              <a:ext uri="{FF2B5EF4-FFF2-40B4-BE49-F238E27FC236}">
                <a16:creationId xmlns:a16="http://schemas.microsoft.com/office/drawing/2014/main" id="{1F30242F-B07A-490D-BB9F-A9B4A03ABF98}"/>
              </a:ext>
            </a:extLst>
          </p:cNvPr>
          <p:cNvSpPr>
            <a:spLocks noGrp="1"/>
          </p:cNvSpPr>
          <p:nvPr>
            <p:ph type="body" sz="quarter" idx="15" hasCustomPrompt="1"/>
          </p:nvPr>
        </p:nvSpPr>
        <p:spPr>
          <a:xfrm>
            <a:off x="815951" y="6322252"/>
            <a:ext cx="10566400" cy="535748"/>
          </a:xfrm>
        </p:spPr>
        <p:txBody>
          <a:bodyPr wrap="square" tIns="72000" bIns="72000">
            <a:normAutofit/>
          </a:bodyPr>
          <a:lstStyle>
            <a:lvl1pPr marL="0" indent="0" rtl="0">
              <a:lnSpc>
                <a:spcPct val="100000"/>
              </a:lnSpc>
              <a:spcAft>
                <a:spcPct val="0"/>
              </a:spcAft>
              <a:buFont typeface="Arial" panose="020B0604020202020204" pitchFamily="34" charset="0"/>
              <a:buNone/>
              <a:defRPr sz="1000"/>
            </a:lvl1pPr>
          </a:lstStyle>
          <a:p>
            <a:pPr lvl="0"/>
            <a:r>
              <a:rPr lang="en-US"/>
              <a:t>Footnote</a:t>
            </a:r>
          </a:p>
        </p:txBody>
      </p:sp>
    </p:spTree>
    <p:extLst>
      <p:ext uri="{BB962C8B-B14F-4D97-AF65-F5344CB8AC3E}">
        <p14:creationId xmlns:p14="http://schemas.microsoft.com/office/powerpoint/2010/main" val="2966340200"/>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8" dur="1000" decel="100000" fill="hold" grpId="0" nodeType="withEffect">
                                  <p:stCondLst>
                                    <p:cond delay="25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1000" fill="hold"/>
                                        <p:tgtEl>
                                          <p:spTgt spid="6"/>
                                        </p:tgtEl>
                                        <p:attrNameLst>
                                          <p:attrName>ppt_x</p:attrName>
                                        </p:attrNameLst>
                                      </p:cBhvr>
                                      <p:tavLst>
                                        <p:tav tm="0">
                                          <p:val>
                                            <p:strVal val="0-#ppt_w/2"/>
                                          </p:val>
                                        </p:tav>
                                        <p:tav tm="100000">
                                          <p:val>
                                            <p:strVal val="#ppt_x"/>
                                          </p:val>
                                        </p:tav>
                                      </p:tavLst>
                                    </p:anim>
                                    <p:anim calcmode="lin" valueType="num">
                                      <p:cBhvr additive="base">
                                        <p:cTn id="8" dur="10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tmplLst>
          <p:tmpl>
            <p:tnLst>
              <p:par>
                <p:cTn presetID="2" presetClass="entr" presetSubtype="8" decel="100000" fill="hold" nodeType="withEffect">
                  <p:stCondLst>
                    <p:cond delay="250"/>
                  </p:stCondLst>
                  <p:childTnLst>
                    <p:set>
                      <p:cBhvr>
                        <p:cTn dur="1" fill="hold">
                          <p:stCondLst>
                            <p:cond delay="0"/>
                          </p:stCondLst>
                        </p:cTn>
                        <p:tgtEl>
                          <p:spTgt spid="6"/>
                        </p:tgtEl>
                        <p:attrNameLst>
                          <p:attrName>style.visibility</p:attrName>
                        </p:attrNameLst>
                      </p:cBhvr>
                      <p:to>
                        <p:strVal val="visible"/>
                      </p:to>
                    </p:set>
                    <p:anim calcmode="lin" valueType="num">
                      <p:cBhvr additive="base">
                        <p:cTn dur="1000" fill="hold"/>
                        <p:tgtEl>
                          <p:spTgt spid="6"/>
                        </p:tgtEl>
                        <p:attrNameLst>
                          <p:attrName>ppt_x</p:attrName>
                        </p:attrNameLst>
                      </p:cBhvr>
                      <p:tavLst>
                        <p:tav tm="0">
                          <p:val>
                            <p:strVal val="0-#ppt_w/2"/>
                          </p:val>
                        </p:tav>
                        <p:tav tm="100000">
                          <p:val>
                            <p:strVal val="#ppt_x"/>
                          </p:val>
                        </p:tav>
                      </p:tavLst>
                    </p:anim>
                    <p:anim calcmode="lin" valueType="num">
                      <p:cBhvr additive="base">
                        <p:cTn dur="1000" fill="hold"/>
                        <p:tgtEl>
                          <p:spTgt spid="6"/>
                        </p:tgtEl>
                        <p:attrNameLst>
                          <p:attrName>ppt_y</p:attrName>
                        </p:attrNameLst>
                      </p:cBhvr>
                      <p:tavLst>
                        <p:tav tm="0">
                          <p:val>
                            <p:strVal val="#ppt_y"/>
                          </p:val>
                        </p:tav>
                        <p:tav tm="100000">
                          <p:val>
                            <p:strVal val="#ppt_y"/>
                          </p:val>
                        </p:tav>
                      </p:tavLst>
                    </p:anim>
                  </p:childTnLst>
                </p:cTn>
              </p:par>
            </p:tnLst>
          </p:tmpl>
        </p:tmplLst>
      </p:bldP>
    </p:bldLst>
  </p:timing>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DIVIDER / CONCLUSION TOPs">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E1058909-D4FB-408E-996E-97C0E7F1126C}"/>
              </a:ext>
            </a:extLst>
          </p:cNvPr>
          <p:cNvGraphicFramePr>
            <a:graphicFrameLocks noChangeAspect="1"/>
          </p:cNvGraphicFramePr>
          <p:nvPr userDrawn="1">
            <p:custDataLst>
              <p:tags r:id="rId1"/>
            </p:custDataLst>
            <p:extLst>
              <p:ext uri="{D42A27DB-BD31-4B8C-83A1-F6EECF244321}">
                <p14:modId xmlns:p14="http://schemas.microsoft.com/office/powerpoint/2010/main" val="18205600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4" name="Objekt 3" hidden="1">
                        <a:extLst>
                          <a:ext uri="{FF2B5EF4-FFF2-40B4-BE49-F238E27FC236}">
                            <a16:creationId xmlns:a16="http://schemas.microsoft.com/office/drawing/2014/main" id="{E1058909-D4FB-408E-996E-97C0E7F112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Picture 11">
            <a:extLst>
              <a:ext uri="{FF2B5EF4-FFF2-40B4-BE49-F238E27FC236}">
                <a16:creationId xmlns:a16="http://schemas.microsoft.com/office/drawing/2014/main" id="{4C7901F2-2515-45FA-8DAB-E69A64D51442}"/>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Rectangle 1">
            <a:extLst>
              <a:ext uri="{FF2B5EF4-FFF2-40B4-BE49-F238E27FC236}">
                <a16:creationId xmlns:a16="http://schemas.microsoft.com/office/drawing/2014/main" id="{F38E9032-B158-4CE0-AC02-615C1AFBE35C}"/>
              </a:ext>
            </a:extLst>
          </p:cNvPr>
          <p:cNvSpPr/>
          <p:nvPr userDrawn="1"/>
        </p:nvSpPr>
        <p:spPr>
          <a:xfrm>
            <a:off x="-1" y="4562475"/>
            <a:ext cx="12192000" cy="2295526"/>
          </a:xfrm>
          <a:prstGeom prst="rect">
            <a:avLst/>
          </a:prstGeom>
          <a:gradFill>
            <a:gsLst>
              <a:gs pos="0">
                <a:schemeClr val="tx1">
                  <a:alpha val="0"/>
                </a:schemeClr>
              </a:gs>
              <a:gs pos="100000">
                <a:schemeClr val="tx1">
                  <a:alpha val="5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3" name="Foliennummernplatzhalter 2">
            <a:extLst>
              <a:ext uri="{FF2B5EF4-FFF2-40B4-BE49-F238E27FC236}">
                <a16:creationId xmlns:a16="http://schemas.microsoft.com/office/drawing/2014/main" id="{162EBB97-69F6-4196-B4E4-174B0DFEE6DF}"/>
              </a:ext>
            </a:extLst>
          </p:cNvPr>
          <p:cNvSpPr>
            <a:spLocks noGrp="1"/>
          </p:cNvSpPr>
          <p:nvPr>
            <p:ph type="sldNum" sz="quarter" idx="10"/>
          </p:nvPr>
        </p:nvSpPr>
        <p:spPr/>
        <p:txBody>
          <a:bodyPr/>
          <a:lstStyle>
            <a:lvl1pPr rtl="0">
              <a:defRPr>
                <a:solidFill>
                  <a:schemeClr val="bg2"/>
                </a:solidFill>
              </a:defRPr>
            </a:lvl1pPr>
          </a:lstStyle>
          <a:p>
            <a:fld id="{A04BEB4F-8CE1-4F18-986F-6CE0A0BE9470}" type="slidenum">
              <a:rPr lang="en-US" smtClean="0"/>
              <a:t>‹#›</a:t>
            </a:fld>
            <a:endParaRPr lang="en-US"/>
          </a:p>
        </p:txBody>
      </p:sp>
      <p:sp>
        <p:nvSpPr>
          <p:cNvPr id="7" name="Textplatzhalter 9">
            <a:extLst>
              <a:ext uri="{FF2B5EF4-FFF2-40B4-BE49-F238E27FC236}">
                <a16:creationId xmlns:a16="http://schemas.microsoft.com/office/drawing/2014/main" id="{D2CB092C-CBAD-4510-B0E1-42BA977D5CED}"/>
              </a:ext>
            </a:extLst>
          </p:cNvPr>
          <p:cNvSpPr>
            <a:spLocks noGrp="1"/>
          </p:cNvSpPr>
          <p:nvPr>
            <p:ph type="body" sz="quarter" idx="13" hasCustomPrompt="1"/>
          </p:nvPr>
        </p:nvSpPr>
        <p:spPr>
          <a:xfrm>
            <a:off x="812800" y="5935264"/>
            <a:ext cx="1369708" cy="378564"/>
          </a:xfrm>
          <a:noFill/>
        </p:spPr>
        <p:txBody>
          <a:bodyPr lIns="0" tIns="0" rIns="0" bIns="0" anchor="t">
            <a:normAutofit/>
          </a:bodyPr>
          <a:lstStyle>
            <a:lvl1pPr marL="0" indent="0" rtl="0">
              <a:lnSpc>
                <a:spcPct val="100000"/>
              </a:lnSpc>
              <a:spcAft>
                <a:spcPct val="0"/>
              </a:spcAft>
              <a:buNone/>
              <a:defRPr sz="2800" baseline="0">
                <a:solidFill>
                  <a:schemeClr val="bg1"/>
                </a:solidFill>
                <a:latin typeface="+mj-lt"/>
              </a:defRPr>
            </a:lvl1pPr>
          </a:lstStyle>
          <a:p>
            <a:pPr lvl="0"/>
            <a:r>
              <a:rPr lang="en-US"/>
              <a:t>XX</a:t>
            </a:r>
          </a:p>
        </p:txBody>
      </p:sp>
      <p:sp>
        <p:nvSpPr>
          <p:cNvPr id="8" name="Textplatzhalter 9">
            <a:extLst>
              <a:ext uri="{FF2B5EF4-FFF2-40B4-BE49-F238E27FC236}">
                <a16:creationId xmlns:a16="http://schemas.microsoft.com/office/drawing/2014/main" id="{C77B3E84-095F-408A-9969-F873A6E51667}"/>
              </a:ext>
            </a:extLst>
          </p:cNvPr>
          <p:cNvSpPr>
            <a:spLocks noGrp="1"/>
          </p:cNvSpPr>
          <p:nvPr>
            <p:ph type="body" sz="quarter" idx="14"/>
          </p:nvPr>
        </p:nvSpPr>
        <p:spPr>
          <a:xfrm>
            <a:off x="2182508" y="5091292"/>
            <a:ext cx="10009491" cy="1224000"/>
          </a:xfrm>
          <a:noFill/>
        </p:spPr>
        <p:txBody>
          <a:bodyPr lIns="0" tIns="360000" rIns="864000" bIns="360000" anchor="t">
            <a:normAutofit/>
          </a:bodyPr>
          <a:lstStyle>
            <a:lvl1pPr marL="0" indent="0" rtl="0">
              <a:spcAft>
                <a:spcPct val="0"/>
              </a:spcAft>
              <a:buNone/>
              <a:defRPr sz="2800" baseline="0">
                <a:solidFill>
                  <a:schemeClr val="bg1"/>
                </a:solidFill>
                <a:latin typeface="+mj-lt"/>
              </a:defRPr>
            </a:lvl1pPr>
          </a:lstStyle>
          <a:p>
            <a:pPr lvl="0"/>
            <a:endParaRPr lang="en-US"/>
          </a:p>
        </p:txBody>
      </p:sp>
      <p:sp>
        <p:nvSpPr>
          <p:cNvPr id="9" name="TextBox 8">
            <a:extLst>
              <a:ext uri="{FF2B5EF4-FFF2-40B4-BE49-F238E27FC236}">
                <a16:creationId xmlns:a16="http://schemas.microsoft.com/office/drawing/2014/main" id="{59EB7F25-01ED-42E5-88D6-409AC5C7160A}"/>
              </a:ext>
            </a:extLst>
          </p:cNvPr>
          <p:cNvSpPr txBox="1"/>
          <p:nvPr userDrawn="1"/>
        </p:nvSpPr>
        <p:spPr>
          <a:xfrm>
            <a:off x="812800" y="5504377"/>
            <a:ext cx="737381" cy="430887"/>
          </a:xfrm>
          <a:prstGeom prst="rect">
            <a:avLst/>
          </a:prstGeom>
          <a:noFill/>
        </p:spPr>
        <p:txBody>
          <a:bodyPr wrap="none" lIns="0" tIns="0" rIns="0" bIns="0" rtlCol="0">
            <a:spAutoFit/>
          </a:bodyPr>
          <a:lstStyle/>
          <a:p>
            <a:pPr algn="l" rtl="0"/>
            <a:r>
              <a:rPr lang="en-US" sz="2800" kern="1200" baseline="0">
                <a:solidFill>
                  <a:schemeClr val="bg1"/>
                </a:solidFill>
                <a:latin typeface="+mj-lt"/>
                <a:ea typeface="+mn-ea"/>
                <a:cs typeface="+mn-cs"/>
              </a:rPr>
              <a:t>TOP</a:t>
            </a:r>
          </a:p>
        </p:txBody>
      </p:sp>
      <p:sp>
        <p:nvSpPr>
          <p:cNvPr id="14" name="Textfeld 2">
            <a:extLst>
              <a:ext uri="{FF2B5EF4-FFF2-40B4-BE49-F238E27FC236}">
                <a16:creationId xmlns:a16="http://schemas.microsoft.com/office/drawing/2014/main" id="{2BE8949A-9B82-4735-A3C4-4EB1781AC1BF}"/>
              </a:ext>
            </a:extLst>
          </p:cNvPr>
          <p:cNvSpPr txBox="1"/>
          <p:nvPr userDrawn="1"/>
        </p:nvSpPr>
        <p:spPr>
          <a:xfrm>
            <a:off x="1238250" y="243591"/>
            <a:ext cx="3184846" cy="246221"/>
          </a:xfrm>
          <a:prstGeom prst="rect">
            <a:avLst/>
          </a:prstGeom>
          <a:noFill/>
        </p:spPr>
        <p:txBody>
          <a:bodyPr wrap="none" rtlCol="0">
            <a:spAutoFit/>
          </a:bodyPr>
          <a:lstStyle/>
          <a:p>
            <a:pPr algn="l" rtl="0"/>
            <a:r>
              <a:rPr lang="en-US" sz="1000" cap="all" spc="170" baseline="0">
                <a:solidFill>
                  <a:schemeClr val="bg2"/>
                </a:solidFill>
                <a:latin typeface="Roboto Bold" panose="02000000000000000000" pitchFamily="2" charset="0"/>
                <a:ea typeface="Roboto Bold" panose="02000000000000000000" pitchFamily="2" charset="0"/>
              </a:rPr>
              <a:t>THINKING AHEAD – Moving Forward</a:t>
            </a:r>
          </a:p>
        </p:txBody>
      </p:sp>
      <p:pic>
        <p:nvPicPr>
          <p:cNvPr id="15" name="Grafik 6">
            <a:extLst>
              <a:ext uri="{FF2B5EF4-FFF2-40B4-BE49-F238E27FC236}">
                <a16:creationId xmlns:a16="http://schemas.microsoft.com/office/drawing/2014/main" id="{22C3094D-FCD7-4C90-AE4F-F3ADF8EC2EBD}"/>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815952" y="191826"/>
            <a:ext cx="346098" cy="346098"/>
          </a:xfrm>
          <a:prstGeom prst="rect">
            <a:avLst/>
          </a:prstGeom>
        </p:spPr>
      </p:pic>
      <p:sp>
        <p:nvSpPr>
          <p:cNvPr id="23" name="Freeform: Shape 22">
            <a:extLst>
              <a:ext uri="{FF2B5EF4-FFF2-40B4-BE49-F238E27FC236}">
                <a16:creationId xmlns:a16="http://schemas.microsoft.com/office/drawing/2014/main" id="{721155FA-A714-4764-9B56-4FE4E40A6DE3}"/>
              </a:ext>
            </a:extLst>
          </p:cNvPr>
          <p:cNvSpPr/>
          <p:nvPr/>
        </p:nvSpPr>
        <p:spPr>
          <a:xfrm>
            <a:off x="11433276" y="4584542"/>
            <a:ext cx="758724" cy="2281609"/>
          </a:xfrm>
          <a:custGeom>
            <a:avLst/>
            <a:gdLst>
              <a:gd name="connsiteX0" fmla="*/ 758724 w 758724"/>
              <a:gd name="connsiteY0" fmla="*/ 1794885 h 2281609"/>
              <a:gd name="connsiteX1" fmla="*/ 758724 w 758724"/>
              <a:gd name="connsiteY1" fmla="*/ 1860319 h 2281609"/>
              <a:gd name="connsiteX2" fmla="*/ 476212 w 758724"/>
              <a:gd name="connsiteY2" fmla="*/ 2281609 h 2281609"/>
              <a:gd name="connsiteX3" fmla="*/ 432284 w 758724"/>
              <a:gd name="connsiteY3" fmla="*/ 2281609 h 2281609"/>
              <a:gd name="connsiteX4" fmla="*/ 30247 w 758724"/>
              <a:gd name="connsiteY4" fmla="*/ 0 h 2281609"/>
              <a:gd name="connsiteX5" fmla="*/ 758724 w 758724"/>
              <a:gd name="connsiteY5" fmla="*/ 1086146 h 2281609"/>
              <a:gd name="connsiteX6" fmla="*/ 758724 w 758724"/>
              <a:gd name="connsiteY6" fmla="*/ 1151628 h 2281609"/>
              <a:gd name="connsiteX7" fmla="*/ 0 w 758724"/>
              <a:gd name="connsiteY7" fmla="*/ 20287 h 2281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8724" h="2281609">
                <a:moveTo>
                  <a:pt x="758724" y="1794885"/>
                </a:moveTo>
                <a:lnTo>
                  <a:pt x="758724" y="1860319"/>
                </a:lnTo>
                <a:lnTo>
                  <a:pt x="476212" y="2281609"/>
                </a:lnTo>
                <a:lnTo>
                  <a:pt x="432284" y="2281609"/>
                </a:lnTo>
                <a:close/>
                <a:moveTo>
                  <a:pt x="30247" y="0"/>
                </a:moveTo>
                <a:lnTo>
                  <a:pt x="758724" y="1086146"/>
                </a:lnTo>
                <a:lnTo>
                  <a:pt x="758724" y="1151628"/>
                </a:lnTo>
                <a:lnTo>
                  <a:pt x="0" y="20287"/>
                </a:lnTo>
                <a:close/>
              </a:path>
            </a:pathLst>
          </a:custGeom>
          <a:solidFill>
            <a:srgbClr val="FFFFFF"/>
          </a:solidFill>
          <a:ln w="12144" cap="flat">
            <a:noFill/>
            <a:prstDash val="solid"/>
            <a:miter/>
          </a:ln>
        </p:spPr>
        <p:txBody>
          <a:bodyPr rtlCol="0" anchor="ctr"/>
          <a:lstStyle/>
          <a:p>
            <a:pPr rtl="0"/>
            <a:endParaRPr lang="en-US"/>
          </a:p>
        </p:txBody>
      </p:sp>
      <p:sp>
        <p:nvSpPr>
          <p:cNvPr id="25" name="Freeform: Shape 24">
            <a:extLst>
              <a:ext uri="{FF2B5EF4-FFF2-40B4-BE49-F238E27FC236}">
                <a16:creationId xmlns:a16="http://schemas.microsoft.com/office/drawing/2014/main" id="{764FD81A-9520-4B42-AC5E-FFCEC6E2C81C}"/>
              </a:ext>
            </a:extLst>
          </p:cNvPr>
          <p:cNvSpPr/>
          <p:nvPr/>
        </p:nvSpPr>
        <p:spPr>
          <a:xfrm>
            <a:off x="10476976" y="4576391"/>
            <a:ext cx="1392410" cy="2289760"/>
          </a:xfrm>
          <a:custGeom>
            <a:avLst/>
            <a:gdLst>
              <a:gd name="connsiteX0" fmla="*/ 59075 w 1392410"/>
              <a:gd name="connsiteY0" fmla="*/ 620 h 2289760"/>
              <a:gd name="connsiteX1" fmla="*/ 346489 w 1392410"/>
              <a:gd name="connsiteY1" fmla="*/ 620 h 2289760"/>
              <a:gd name="connsiteX2" fmla="*/ 468816 w 1392410"/>
              <a:gd name="connsiteY2" fmla="*/ 65852 h 2289760"/>
              <a:gd name="connsiteX3" fmla="*/ 1373450 w 1392410"/>
              <a:gd name="connsiteY3" fmla="*/ 1414240 h 2289760"/>
              <a:gd name="connsiteX4" fmla="*/ 1373450 w 1392410"/>
              <a:gd name="connsiteY4" fmla="*/ 1548958 h 2289760"/>
              <a:gd name="connsiteX5" fmla="*/ 876528 w 1392410"/>
              <a:gd name="connsiteY5" fmla="*/ 2289760 h 2289760"/>
              <a:gd name="connsiteX6" fmla="*/ 832465 w 1392410"/>
              <a:gd name="connsiteY6" fmla="*/ 2289760 h 2289760"/>
              <a:gd name="connsiteX7" fmla="*/ 1343081 w 1392410"/>
              <a:gd name="connsiteY7" fmla="*/ 1528428 h 2289760"/>
              <a:gd name="connsiteX8" fmla="*/ 1343081 w 1392410"/>
              <a:gd name="connsiteY8" fmla="*/ 1434405 h 2289760"/>
              <a:gd name="connsiteX9" fmla="*/ 438567 w 1392410"/>
              <a:gd name="connsiteY9" fmla="*/ 85653 h 2289760"/>
              <a:gd name="connsiteX10" fmla="*/ 346488 w 1392410"/>
              <a:gd name="connsiteY10" fmla="*/ 37062 h 2289760"/>
              <a:gd name="connsiteX11" fmla="*/ 59075 w 1392410"/>
              <a:gd name="connsiteY11" fmla="*/ 37062 h 2289760"/>
              <a:gd name="connsiteX12" fmla="*/ 37817 w 1392410"/>
              <a:gd name="connsiteY12" fmla="*/ 44230 h 2289760"/>
              <a:gd name="connsiteX13" fmla="*/ 43648 w 1392410"/>
              <a:gd name="connsiteY13" fmla="*/ 65852 h 2289760"/>
              <a:gd name="connsiteX14" fmla="*/ 948161 w 1392410"/>
              <a:gd name="connsiteY14" fmla="*/ 1414240 h 2289760"/>
              <a:gd name="connsiteX15" fmla="*/ 948161 w 1392410"/>
              <a:gd name="connsiteY15" fmla="*/ 1548958 h 2289760"/>
              <a:gd name="connsiteX16" fmla="*/ 451389 w 1392410"/>
              <a:gd name="connsiteY16" fmla="*/ 2289760 h 2289760"/>
              <a:gd name="connsiteX17" fmla="*/ 407461 w 1392410"/>
              <a:gd name="connsiteY17" fmla="*/ 2289760 h 2289760"/>
              <a:gd name="connsiteX18" fmla="*/ 917913 w 1392410"/>
              <a:gd name="connsiteY18" fmla="*/ 1528671 h 2289760"/>
              <a:gd name="connsiteX19" fmla="*/ 917913 w 1392410"/>
              <a:gd name="connsiteY19" fmla="*/ 1434649 h 2289760"/>
              <a:gd name="connsiteX20" fmla="*/ 13400 w 1392410"/>
              <a:gd name="connsiteY20" fmla="*/ 85653 h 2289760"/>
              <a:gd name="connsiteX21" fmla="*/ 16631 w 1392410"/>
              <a:gd name="connsiteY21" fmla="*/ 13400 h 2289760"/>
              <a:gd name="connsiteX22" fmla="*/ 59075 w 1392410"/>
              <a:gd name="connsiteY22" fmla="*/ 620 h 2289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92410" h="2289760">
                <a:moveTo>
                  <a:pt x="59075" y="620"/>
                </a:moveTo>
                <a:lnTo>
                  <a:pt x="346489" y="620"/>
                </a:lnTo>
                <a:cubicBezTo>
                  <a:pt x="394967" y="2978"/>
                  <a:pt x="439846" y="26910"/>
                  <a:pt x="468816" y="65852"/>
                </a:cubicBezTo>
                <a:lnTo>
                  <a:pt x="1373450" y="1414240"/>
                </a:lnTo>
                <a:cubicBezTo>
                  <a:pt x="1398731" y="1455588"/>
                  <a:pt x="1398731" y="1507610"/>
                  <a:pt x="1373450" y="1548958"/>
                </a:cubicBezTo>
                <a:lnTo>
                  <a:pt x="876528" y="2289760"/>
                </a:lnTo>
                <a:lnTo>
                  <a:pt x="832465" y="2289760"/>
                </a:lnTo>
                <a:lnTo>
                  <a:pt x="1343081" y="1528428"/>
                </a:lnTo>
                <a:cubicBezTo>
                  <a:pt x="1360209" y="1499427"/>
                  <a:pt x="1360209" y="1463406"/>
                  <a:pt x="1343081" y="1434405"/>
                </a:cubicBezTo>
                <a:lnTo>
                  <a:pt x="438567" y="85653"/>
                </a:lnTo>
                <a:cubicBezTo>
                  <a:pt x="416316" y="56937"/>
                  <a:pt x="382752" y="39224"/>
                  <a:pt x="346488" y="37062"/>
                </a:cubicBezTo>
                <a:lnTo>
                  <a:pt x="59075" y="37062"/>
                </a:lnTo>
                <a:cubicBezTo>
                  <a:pt x="46199" y="37062"/>
                  <a:pt x="39639" y="40707"/>
                  <a:pt x="37817" y="44230"/>
                </a:cubicBezTo>
                <a:cubicBezTo>
                  <a:pt x="35995" y="47752"/>
                  <a:pt x="36481" y="55162"/>
                  <a:pt x="43648" y="65852"/>
                </a:cubicBezTo>
                <a:lnTo>
                  <a:pt x="948161" y="1414240"/>
                </a:lnTo>
                <a:cubicBezTo>
                  <a:pt x="973554" y="1455556"/>
                  <a:pt x="973554" y="1507642"/>
                  <a:pt x="948161" y="1548958"/>
                </a:cubicBezTo>
                <a:lnTo>
                  <a:pt x="451389" y="2289760"/>
                </a:lnTo>
                <a:lnTo>
                  <a:pt x="407461" y="2289760"/>
                </a:lnTo>
                <a:lnTo>
                  <a:pt x="917913" y="1528671"/>
                </a:lnTo>
                <a:cubicBezTo>
                  <a:pt x="935042" y="1499670"/>
                  <a:pt x="935042" y="1463649"/>
                  <a:pt x="917913" y="1434649"/>
                </a:cubicBezTo>
                <a:lnTo>
                  <a:pt x="13400" y="85653"/>
                </a:lnTo>
                <a:cubicBezTo>
                  <a:pt x="-5660" y="64809"/>
                  <a:pt x="-4213" y="32460"/>
                  <a:pt x="16631" y="13400"/>
                </a:cubicBezTo>
                <a:cubicBezTo>
                  <a:pt x="28102" y="2911"/>
                  <a:pt x="43720" y="-1792"/>
                  <a:pt x="59075" y="620"/>
                </a:cubicBezTo>
                <a:close/>
              </a:path>
            </a:pathLst>
          </a:custGeom>
          <a:solidFill>
            <a:srgbClr val="FFFFFF"/>
          </a:solidFill>
          <a:ln w="12144" cap="flat">
            <a:noFill/>
            <a:prstDash val="solid"/>
            <a:miter/>
          </a:ln>
        </p:spPr>
        <p:txBody>
          <a:bodyPr rtlCol="0" anchor="ctr"/>
          <a:lstStyle/>
          <a:p>
            <a:pPr rtl="0"/>
            <a:endParaRPr lang="en-US"/>
          </a:p>
        </p:txBody>
      </p:sp>
    </p:spTree>
    <p:extLst>
      <p:ext uri="{BB962C8B-B14F-4D97-AF65-F5344CB8AC3E}">
        <p14:creationId xmlns:p14="http://schemas.microsoft.com/office/powerpoint/2010/main" val="4127220071"/>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10" presetClass="entr" presetSubtype="0" dur="1000" fill="hold" grpId="0" nodeType="with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1000"/>
                                        <p:tgtEl>
                                          <p:spTgt spid="9">
                                            <p:txEl>
                                              <p:pRg st="0" end="0"/>
                                            </p:txEl>
                                          </p:spTgt>
                                        </p:tgtEl>
                                      </p:cBhvr>
                                    </p:animEffect>
                                  </p:childTnLst>
                                </p:cTn>
                              </p:par>
                              <p:par>
                                <p:cTn id="8" presetID="10" presetClass="entr" presetSubtype="0" dur="1000" fill="hold" grpId="0" nodeType="withEffect">
                                  <p:stCondLst>
                                    <p:cond delay="250"/>
                                  </p:stCondLst>
                                  <p:childTnLst>
                                    <p:set>
                                      <p:cBhvr>
                                        <p:cTn id="9" dur="1" fill="hold">
                                          <p:stCondLst>
                                            <p:cond delay="0"/>
                                          </p:stCondLst>
                                        </p:cTn>
                                        <p:tgtEl>
                                          <p:spTgt spid="7">
                                            <p:txEl>
                                              <p:pRg st="0" end="0"/>
                                            </p:txEl>
                                          </p:spTgt>
                                        </p:tgtEl>
                                        <p:attrNameLst>
                                          <p:attrName>style.visibility</p:attrName>
                                        </p:attrNameLst>
                                      </p:cBhvr>
                                      <p:to>
                                        <p:strVal val="visible"/>
                                      </p:to>
                                    </p:set>
                                    <p:animEffect transition="in" filter="fade">
                                      <p:cBhvr>
                                        <p:cTn id="10" dur="1000"/>
                                        <p:tgtEl>
                                          <p:spTgt spid="7">
                                            <p:txEl>
                                              <p:pRg st="0" end="0"/>
                                            </p:txEl>
                                          </p:spTgt>
                                        </p:tgtEl>
                                      </p:cBhvr>
                                    </p:animEffect>
                                  </p:childTnLst>
                                </p:cTn>
                              </p:par>
                              <p:par>
                                <p:cTn id="11" presetID="10" presetClass="entr" presetSubtype="0" dur="1000" fill="hold" grpId="0" nodeType="withEffect">
                                  <p:stCondLst>
                                    <p:cond delay="250"/>
                                  </p:stCondLst>
                                  <p:childTnLst>
                                    <p:set>
                                      <p:cBhvr>
                                        <p:cTn id="12" dur="1" fill="hold">
                                          <p:stCondLst>
                                            <p:cond delay="0"/>
                                          </p:stCondLst>
                                        </p:cTn>
                                        <p:tgtEl>
                                          <p:spTgt spid="8">
                                            <p:txEl>
                                              <p:pRg st="0" end="0"/>
                                            </p:txEl>
                                          </p:spTgt>
                                        </p:tgtEl>
                                        <p:attrNameLst>
                                          <p:attrName>style.visibility</p:attrName>
                                        </p:attrNameLst>
                                      </p:cBhvr>
                                      <p:to>
                                        <p:strVal val="visible"/>
                                      </p:to>
                                    </p:set>
                                    <p:animEffect transition="in" filter="fade">
                                      <p:cBhvr>
                                        <p:cTn id="13" dur="1000"/>
                                        <p:tgtEl>
                                          <p:spTgt spid="8">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uiExpand="1" build="p">
        <p:tmplLst>
          <p:tmpl>
            <p:tnLst>
              <p:par>
                <p:cTn presetID="10" presetClass="entr" presetSubtype="0" fill="hold" nodeType="afterEffect">
                  <p:stCondLst>
                    <p:cond delay="250"/>
                  </p:stCondLst>
                  <p:childTnLst>
                    <p:set>
                      <p:cBhvr>
                        <p:cTn dur="1" fill="hold">
                          <p:stCondLst>
                            <p:cond delay="0"/>
                          </p:stCondLst>
                        </p:cTn>
                        <p:tgtEl>
                          <p:spTgt spid="7"/>
                        </p:tgtEl>
                        <p:attrNameLst>
                          <p:attrName>style.visibility</p:attrName>
                        </p:attrNameLst>
                      </p:cBhvr>
                      <p:to>
                        <p:strVal val="visible"/>
                      </p:to>
                    </p:set>
                    <p:animEffect transition="in" filter="fade">
                      <p:cBhvr>
                        <p:cTn dur="1000"/>
                        <p:tgtEl>
                          <p:spTgt spid="7"/>
                        </p:tgtEl>
                      </p:cBhvr>
                    </p:animEffect>
                  </p:childTnLst>
                </p:cTn>
              </p:par>
            </p:tnLst>
          </p:tmpl>
          <p:tmpl lvl="1">
            <p:tnLst>
              <p:par>
                <p:cTn presetID="10" presetClass="entr" presetSubtype="0" fill="hold" nodeType="withEffect">
                  <p:stCondLst>
                    <p:cond delay="250"/>
                  </p:stCondLst>
                  <p:childTnLst>
                    <p:set>
                      <p:cBhvr>
                        <p:cTn dur="1" fill="hold">
                          <p:stCondLst>
                            <p:cond delay="0"/>
                          </p:stCondLst>
                        </p:cTn>
                        <p:tgtEl>
                          <p:spTgt spid="7"/>
                        </p:tgtEl>
                        <p:attrNameLst>
                          <p:attrName>style.visibility</p:attrName>
                        </p:attrNameLst>
                      </p:cBhvr>
                      <p:to>
                        <p:strVal val="visible"/>
                      </p:to>
                    </p:set>
                    <p:animEffect transition="in" filter="fade">
                      <p:cBhvr>
                        <p:cTn dur="1000"/>
                        <p:tgtEl>
                          <p:spTgt spid="7"/>
                        </p:tgtEl>
                      </p:cBhvr>
                    </p:animEffect>
                  </p:childTnLst>
                </p:cTn>
              </p:par>
            </p:tnLst>
          </p:tmpl>
        </p:tmplLst>
      </p:bldP>
      <p:bldP spid="8" grpId="0" uiExpand="1" build="p">
        <p:tmplLst>
          <p:tmpl>
            <p:tnLst>
              <p:par>
                <p:cTn presetID="10" presetClass="entr" presetSubtype="0" fill="hold" nodeType="afterEffect">
                  <p:stCondLst>
                    <p:cond delay="250"/>
                  </p:stCondLst>
                  <p:childTnLst>
                    <p:set>
                      <p:cBhvr>
                        <p:cTn dur="1" fill="hold">
                          <p:stCondLst>
                            <p:cond delay="0"/>
                          </p:stCondLst>
                        </p:cTn>
                        <p:tgtEl>
                          <p:spTgt spid="8"/>
                        </p:tgtEl>
                        <p:attrNameLst>
                          <p:attrName>style.visibility</p:attrName>
                        </p:attrNameLst>
                      </p:cBhvr>
                      <p:to>
                        <p:strVal val="visible"/>
                      </p:to>
                    </p:set>
                    <p:animEffect transition="in" filter="fade">
                      <p:cBhvr>
                        <p:cTn dur="1000"/>
                        <p:tgtEl>
                          <p:spTgt spid="8"/>
                        </p:tgtEl>
                      </p:cBhvr>
                    </p:animEffect>
                  </p:childTnLst>
                </p:cTn>
              </p:par>
            </p:tnLst>
          </p:tmpl>
          <p:tmpl lvl="1">
            <p:tnLst>
              <p:par>
                <p:cTn presetID="10" presetClass="entr" presetSubtype="0" fill="hold" nodeType="withEffect" nodePh="1">
                  <p:stCondLst>
                    <p:cond delay="250"/>
                  </p:stCondLst>
                  <p:endCondLst>
                    <p:cond delay="0"/>
                  </p:endCondLst>
                  <p:childTnLst>
                    <p:set>
                      <p:cBhvr>
                        <p:cTn dur="1" fill="hold">
                          <p:stCondLst>
                            <p:cond delay="0"/>
                          </p:stCondLst>
                        </p:cTn>
                        <p:tgtEl>
                          <p:spTgt spid="8"/>
                        </p:tgtEl>
                        <p:attrNameLst>
                          <p:attrName>style.visibility</p:attrName>
                        </p:attrNameLst>
                      </p:cBhvr>
                      <p:to>
                        <p:strVal val="visible"/>
                      </p:to>
                    </p:set>
                    <p:animEffect transition="in" filter="fade">
                      <p:cBhvr>
                        <p:cTn dur="1000"/>
                        <p:tgtEl>
                          <p:spTgt spid="8"/>
                        </p:tgtEl>
                      </p:cBhvr>
                    </p:animEffect>
                  </p:childTnLst>
                </p:cTn>
              </p:par>
            </p:tnLst>
          </p:tmpl>
        </p:tmplLst>
      </p:bldP>
      <p:bldP spid="9" grpId="0" build="p"/>
    </p:bldLst>
  </p:timing>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DIVIDER / CONCLUSION TOPs Subsection ">
    <p:spTree>
      <p:nvGrpSpPr>
        <p:cNvPr id="1" name=""/>
        <p:cNvGrpSpPr/>
        <p:nvPr/>
      </p:nvGrpSpPr>
      <p:grpSpPr>
        <a:xfrm>
          <a:off x="0" y="0"/>
          <a:ext cx="0" cy="0"/>
          <a:chOff x="0" y="0"/>
          <a:chExt cx="0" cy="0"/>
        </a:xfrm>
      </p:grpSpPr>
      <p:pic>
        <p:nvPicPr>
          <p:cNvPr id="6" name="Picture 2" descr="Hohe Erwartungen an künstliche Intelligenz KI">
            <a:extLst>
              <a:ext uri="{FF2B5EF4-FFF2-40B4-BE49-F238E27FC236}">
                <a16:creationId xmlns:a16="http://schemas.microsoft.com/office/drawing/2014/main" id="{1DDCFE70-008C-4CB5-E74D-FB0C5FD40AD0}"/>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auto">
          <a:xfrm>
            <a:off x="0" y="0"/>
            <a:ext cx="12188504" cy="6857999"/>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5" name="Objekt 4" hidden="1">
            <a:extLst>
              <a:ext uri="{FF2B5EF4-FFF2-40B4-BE49-F238E27FC236}">
                <a16:creationId xmlns:a16="http://schemas.microsoft.com/office/drawing/2014/main" id="{C2D3D933-AC98-4EFD-83C6-3798C758CC2A}"/>
              </a:ext>
            </a:extLst>
          </p:cNvPr>
          <p:cNvGraphicFramePr>
            <a:graphicFrameLocks noChangeAspect="1"/>
          </p:cNvGraphicFramePr>
          <p:nvPr userDrawn="1">
            <p:custDataLst>
              <p:tags r:id="rId1"/>
            </p:custDataLst>
            <p:extLst>
              <p:ext uri="{D42A27DB-BD31-4B8C-83A1-F6EECF244321}">
                <p14:modId xmlns:p14="http://schemas.microsoft.com/office/powerpoint/2010/main" val="22368992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5" name="Objekt 4" hidden="1">
                        <a:extLst>
                          <a:ext uri="{FF2B5EF4-FFF2-40B4-BE49-F238E27FC236}">
                            <a16:creationId xmlns:a16="http://schemas.microsoft.com/office/drawing/2014/main" id="{C2D3D933-AC98-4EFD-83C6-3798C758CC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a:extLst>
              <a:ext uri="{FF2B5EF4-FFF2-40B4-BE49-F238E27FC236}">
                <a16:creationId xmlns:a16="http://schemas.microsoft.com/office/drawing/2014/main" id="{65208007-9D71-4182-9EDD-23EA8D64CEA5}"/>
              </a:ext>
            </a:extLst>
          </p:cNvPr>
          <p:cNvSpPr/>
          <p:nvPr userDrawn="1"/>
        </p:nvSpPr>
        <p:spPr>
          <a:xfrm>
            <a:off x="0" y="0"/>
            <a:ext cx="12192000" cy="6858000"/>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3" name="Foliennummernplatzhalter 2">
            <a:extLst>
              <a:ext uri="{FF2B5EF4-FFF2-40B4-BE49-F238E27FC236}">
                <a16:creationId xmlns:a16="http://schemas.microsoft.com/office/drawing/2014/main" id="{162EBB97-69F6-4196-B4E4-174B0DFEE6DF}"/>
              </a:ext>
            </a:extLst>
          </p:cNvPr>
          <p:cNvSpPr>
            <a:spLocks noGrp="1"/>
          </p:cNvSpPr>
          <p:nvPr>
            <p:ph type="sldNum" sz="quarter" idx="10"/>
          </p:nvPr>
        </p:nvSpPr>
        <p:spPr/>
        <p:txBody>
          <a:bodyPr/>
          <a:lstStyle>
            <a:lvl1pPr rtl="0">
              <a:defRPr>
                <a:solidFill>
                  <a:schemeClr val="bg1"/>
                </a:solidFill>
              </a:defRPr>
            </a:lvl1pPr>
          </a:lstStyle>
          <a:p>
            <a:fld id="{A04BEB4F-8CE1-4F18-986F-6CE0A0BE9470}" type="slidenum">
              <a:rPr lang="en-US" smtClean="0"/>
              <a:t>‹#›</a:t>
            </a:fld>
            <a:endParaRPr lang="en-US"/>
          </a:p>
        </p:txBody>
      </p:sp>
      <p:pic>
        <p:nvPicPr>
          <p:cNvPr id="7" name="Grafik 6">
            <a:extLst>
              <a:ext uri="{FF2B5EF4-FFF2-40B4-BE49-F238E27FC236}">
                <a16:creationId xmlns:a16="http://schemas.microsoft.com/office/drawing/2014/main" id="{716B335C-870F-44DC-B5BE-51590B0591B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815952" y="193652"/>
            <a:ext cx="346098" cy="346098"/>
          </a:xfrm>
          <a:prstGeom prst="rect">
            <a:avLst/>
          </a:prstGeom>
        </p:spPr>
      </p:pic>
      <p:sp>
        <p:nvSpPr>
          <p:cNvPr id="8" name="Textfeld 7">
            <a:extLst>
              <a:ext uri="{FF2B5EF4-FFF2-40B4-BE49-F238E27FC236}">
                <a16:creationId xmlns:a16="http://schemas.microsoft.com/office/drawing/2014/main" id="{DF238617-03C9-4E8F-921F-38442B436A39}"/>
              </a:ext>
            </a:extLst>
          </p:cNvPr>
          <p:cNvSpPr txBox="1"/>
          <p:nvPr userDrawn="1"/>
        </p:nvSpPr>
        <p:spPr>
          <a:xfrm>
            <a:off x="1238250" y="243591"/>
            <a:ext cx="3184846" cy="246221"/>
          </a:xfrm>
          <a:prstGeom prst="rect">
            <a:avLst/>
          </a:prstGeom>
          <a:noFill/>
        </p:spPr>
        <p:txBody>
          <a:bodyPr wrap="none" rtlCol="0">
            <a:spAutoFit/>
          </a:bodyPr>
          <a:lstStyle/>
          <a:p>
            <a:pPr algn="l" rtl="0"/>
            <a:r>
              <a:rPr lang="en-US" sz="1000" cap="all" spc="170" baseline="0">
                <a:solidFill>
                  <a:schemeClr val="bg1"/>
                </a:solidFill>
                <a:latin typeface="Roboto Bold" panose="02000000000000000000" pitchFamily="2" charset="0"/>
                <a:ea typeface="Roboto Bold" panose="02000000000000000000" pitchFamily="2" charset="0"/>
              </a:rPr>
              <a:t>THINKING AHEAD – Moving Forward</a:t>
            </a:r>
          </a:p>
        </p:txBody>
      </p:sp>
      <p:sp>
        <p:nvSpPr>
          <p:cNvPr id="9" name="Freihandform: Form 8">
            <a:extLst>
              <a:ext uri="{FF2B5EF4-FFF2-40B4-BE49-F238E27FC236}">
                <a16:creationId xmlns:a16="http://schemas.microsoft.com/office/drawing/2014/main" id="{228E39A1-0F26-41AA-BA9C-D4CCBD2D55A1}"/>
              </a:ext>
            </a:extLst>
          </p:cNvPr>
          <p:cNvSpPr/>
          <p:nvPr userDrawn="1"/>
        </p:nvSpPr>
        <p:spPr>
          <a:xfrm>
            <a:off x="11841261" y="4050916"/>
            <a:ext cx="347243" cy="376374"/>
          </a:xfrm>
          <a:custGeom>
            <a:avLst/>
            <a:gdLst>
              <a:gd name="connsiteX0" fmla="*/ 158473 w 347243"/>
              <a:gd name="connsiteY0" fmla="*/ 376375 h 376374"/>
              <a:gd name="connsiteX1" fmla="*/ 0 w 347243"/>
              <a:gd name="connsiteY1" fmla="*/ 376375 h 376374"/>
              <a:gd name="connsiteX2" fmla="*/ 185274 w 347243"/>
              <a:gd name="connsiteY2" fmla="*/ 189935 h 376374"/>
              <a:gd name="connsiteX3" fmla="*/ 0 w 347243"/>
              <a:gd name="connsiteY3" fmla="*/ 0 h 376374"/>
              <a:gd name="connsiteX4" fmla="*/ 161969 w 347243"/>
              <a:gd name="connsiteY4" fmla="*/ 0 h 376374"/>
              <a:gd name="connsiteX5" fmla="*/ 347244 w 347243"/>
              <a:gd name="connsiteY5" fmla="*/ 185274 h 376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7243" h="376374">
                <a:moveTo>
                  <a:pt x="158473" y="376375"/>
                </a:moveTo>
                <a:lnTo>
                  <a:pt x="0" y="376375"/>
                </a:lnTo>
                <a:lnTo>
                  <a:pt x="185274" y="189935"/>
                </a:lnTo>
                <a:lnTo>
                  <a:pt x="0" y="0"/>
                </a:lnTo>
                <a:lnTo>
                  <a:pt x="161969" y="0"/>
                </a:lnTo>
                <a:lnTo>
                  <a:pt x="347244" y="185274"/>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11" name="Freihandform: Form 10">
            <a:extLst>
              <a:ext uri="{FF2B5EF4-FFF2-40B4-BE49-F238E27FC236}">
                <a16:creationId xmlns:a16="http://schemas.microsoft.com/office/drawing/2014/main" id="{84B17EBD-DD58-4BAA-BEA2-FBB854BA3882}"/>
              </a:ext>
            </a:extLst>
          </p:cNvPr>
          <p:cNvSpPr/>
          <p:nvPr userDrawn="1"/>
        </p:nvSpPr>
        <p:spPr>
          <a:xfrm>
            <a:off x="11841261" y="4405152"/>
            <a:ext cx="347243" cy="377540"/>
          </a:xfrm>
          <a:custGeom>
            <a:avLst/>
            <a:gdLst>
              <a:gd name="connsiteX0" fmla="*/ 158473 w 347243"/>
              <a:gd name="connsiteY0" fmla="*/ 377540 h 377540"/>
              <a:gd name="connsiteX1" fmla="*/ 0 w 347243"/>
              <a:gd name="connsiteY1" fmla="*/ 377540 h 377540"/>
              <a:gd name="connsiteX2" fmla="*/ 185274 w 347243"/>
              <a:gd name="connsiteY2" fmla="*/ 189935 h 377540"/>
              <a:gd name="connsiteX3" fmla="*/ 0 w 347243"/>
              <a:gd name="connsiteY3" fmla="*/ 0 h 377540"/>
              <a:gd name="connsiteX4" fmla="*/ 161969 w 347243"/>
              <a:gd name="connsiteY4" fmla="*/ 0 h 377540"/>
              <a:gd name="connsiteX5" fmla="*/ 347244 w 347243"/>
              <a:gd name="connsiteY5" fmla="*/ 185274 h 377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7243" h="377540">
                <a:moveTo>
                  <a:pt x="158473" y="377540"/>
                </a:moveTo>
                <a:lnTo>
                  <a:pt x="0" y="377540"/>
                </a:lnTo>
                <a:lnTo>
                  <a:pt x="185274" y="189935"/>
                </a:lnTo>
                <a:lnTo>
                  <a:pt x="0" y="0"/>
                </a:lnTo>
                <a:lnTo>
                  <a:pt x="161969" y="0"/>
                </a:lnTo>
                <a:lnTo>
                  <a:pt x="347244" y="185274"/>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12" name="Freihandform: Form 11">
            <a:extLst>
              <a:ext uri="{FF2B5EF4-FFF2-40B4-BE49-F238E27FC236}">
                <a16:creationId xmlns:a16="http://schemas.microsoft.com/office/drawing/2014/main" id="{C3A937E4-66C3-4DD7-B635-E6F19750E516}"/>
              </a:ext>
            </a:extLst>
          </p:cNvPr>
          <p:cNvSpPr/>
          <p:nvPr userDrawn="1"/>
        </p:nvSpPr>
        <p:spPr>
          <a:xfrm>
            <a:off x="11494017" y="3704837"/>
            <a:ext cx="330930" cy="358896"/>
          </a:xfrm>
          <a:custGeom>
            <a:avLst/>
            <a:gdLst>
              <a:gd name="connsiteX0" fmla="*/ 151482 w 330930"/>
              <a:gd name="connsiteY0" fmla="*/ 358896 h 358896"/>
              <a:gd name="connsiteX1" fmla="*/ 0 w 330930"/>
              <a:gd name="connsiteY1" fmla="*/ 358896 h 358896"/>
              <a:gd name="connsiteX2" fmla="*/ 177118 w 330930"/>
              <a:gd name="connsiteY2" fmla="*/ 180613 h 358896"/>
              <a:gd name="connsiteX3" fmla="*/ 0 w 330930"/>
              <a:gd name="connsiteY3" fmla="*/ 0 h 358896"/>
              <a:gd name="connsiteX4" fmla="*/ 154979 w 330930"/>
              <a:gd name="connsiteY4" fmla="*/ 0 h 358896"/>
              <a:gd name="connsiteX5" fmla="*/ 330931 w 330930"/>
              <a:gd name="connsiteY5" fmla="*/ 175953 h 358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930" h="358896">
                <a:moveTo>
                  <a:pt x="151482" y="358896"/>
                </a:moveTo>
                <a:lnTo>
                  <a:pt x="0" y="358896"/>
                </a:lnTo>
                <a:lnTo>
                  <a:pt x="177118" y="180613"/>
                </a:lnTo>
                <a:lnTo>
                  <a:pt x="0" y="0"/>
                </a:lnTo>
                <a:lnTo>
                  <a:pt x="154979" y="0"/>
                </a:lnTo>
                <a:lnTo>
                  <a:pt x="330931" y="175953"/>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14" name="Freihandform: Form 13">
            <a:extLst>
              <a:ext uri="{FF2B5EF4-FFF2-40B4-BE49-F238E27FC236}">
                <a16:creationId xmlns:a16="http://schemas.microsoft.com/office/drawing/2014/main" id="{F8C3B083-5A1D-419B-89F6-6286658FFFA1}"/>
              </a:ext>
            </a:extLst>
          </p:cNvPr>
          <p:cNvSpPr/>
          <p:nvPr userDrawn="1"/>
        </p:nvSpPr>
        <p:spPr>
          <a:xfrm>
            <a:off x="11494017" y="4059073"/>
            <a:ext cx="330930" cy="360061"/>
          </a:xfrm>
          <a:custGeom>
            <a:avLst/>
            <a:gdLst>
              <a:gd name="connsiteX0" fmla="*/ 151482 w 330930"/>
              <a:gd name="connsiteY0" fmla="*/ 360062 h 360061"/>
              <a:gd name="connsiteX1" fmla="*/ 0 w 330930"/>
              <a:gd name="connsiteY1" fmla="*/ 360062 h 360061"/>
              <a:gd name="connsiteX2" fmla="*/ 177118 w 330930"/>
              <a:gd name="connsiteY2" fmla="*/ 181779 h 360061"/>
              <a:gd name="connsiteX3" fmla="*/ 0 w 330930"/>
              <a:gd name="connsiteY3" fmla="*/ 0 h 360061"/>
              <a:gd name="connsiteX4" fmla="*/ 154979 w 330930"/>
              <a:gd name="connsiteY4" fmla="*/ 0 h 360061"/>
              <a:gd name="connsiteX5" fmla="*/ 330931 w 330930"/>
              <a:gd name="connsiteY5" fmla="*/ 177118 h 360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930" h="360061">
                <a:moveTo>
                  <a:pt x="151482" y="360062"/>
                </a:moveTo>
                <a:lnTo>
                  <a:pt x="0" y="360062"/>
                </a:lnTo>
                <a:lnTo>
                  <a:pt x="177118" y="181779"/>
                </a:lnTo>
                <a:lnTo>
                  <a:pt x="0" y="0"/>
                </a:lnTo>
                <a:lnTo>
                  <a:pt x="154979" y="0"/>
                </a:lnTo>
                <a:lnTo>
                  <a:pt x="330931" y="177118"/>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15" name="Freihandform: Form 14">
            <a:extLst>
              <a:ext uri="{FF2B5EF4-FFF2-40B4-BE49-F238E27FC236}">
                <a16:creationId xmlns:a16="http://schemas.microsoft.com/office/drawing/2014/main" id="{50EB5A79-49FE-4477-A4FF-598C74840FB6}"/>
              </a:ext>
            </a:extLst>
          </p:cNvPr>
          <p:cNvSpPr/>
          <p:nvPr userDrawn="1"/>
        </p:nvSpPr>
        <p:spPr>
          <a:xfrm>
            <a:off x="11494017" y="4414474"/>
            <a:ext cx="330930" cy="358896"/>
          </a:xfrm>
          <a:custGeom>
            <a:avLst/>
            <a:gdLst>
              <a:gd name="connsiteX0" fmla="*/ 151482 w 330930"/>
              <a:gd name="connsiteY0" fmla="*/ 358896 h 358896"/>
              <a:gd name="connsiteX1" fmla="*/ 0 w 330930"/>
              <a:gd name="connsiteY1" fmla="*/ 358896 h 358896"/>
              <a:gd name="connsiteX2" fmla="*/ 177118 w 330930"/>
              <a:gd name="connsiteY2" fmla="*/ 180613 h 358896"/>
              <a:gd name="connsiteX3" fmla="*/ 0 w 330930"/>
              <a:gd name="connsiteY3" fmla="*/ 0 h 358896"/>
              <a:gd name="connsiteX4" fmla="*/ 154979 w 330930"/>
              <a:gd name="connsiteY4" fmla="*/ 0 h 358896"/>
              <a:gd name="connsiteX5" fmla="*/ 330931 w 330930"/>
              <a:gd name="connsiteY5" fmla="*/ 175952 h 358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930" h="358896">
                <a:moveTo>
                  <a:pt x="151482" y="358896"/>
                </a:moveTo>
                <a:lnTo>
                  <a:pt x="0" y="358896"/>
                </a:lnTo>
                <a:lnTo>
                  <a:pt x="177118" y="180613"/>
                </a:lnTo>
                <a:lnTo>
                  <a:pt x="0" y="0"/>
                </a:lnTo>
                <a:lnTo>
                  <a:pt x="154979" y="0"/>
                </a:lnTo>
                <a:lnTo>
                  <a:pt x="330931" y="175952"/>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16" name="Freihandform: Form 15">
            <a:extLst>
              <a:ext uri="{FF2B5EF4-FFF2-40B4-BE49-F238E27FC236}">
                <a16:creationId xmlns:a16="http://schemas.microsoft.com/office/drawing/2014/main" id="{604871CE-B423-49DE-919D-74D219D289C0}"/>
              </a:ext>
            </a:extLst>
          </p:cNvPr>
          <p:cNvSpPr/>
          <p:nvPr userDrawn="1"/>
        </p:nvSpPr>
        <p:spPr>
          <a:xfrm>
            <a:off x="11494017" y="4768709"/>
            <a:ext cx="330930" cy="360061"/>
          </a:xfrm>
          <a:custGeom>
            <a:avLst/>
            <a:gdLst>
              <a:gd name="connsiteX0" fmla="*/ 151482 w 330930"/>
              <a:gd name="connsiteY0" fmla="*/ 360062 h 360061"/>
              <a:gd name="connsiteX1" fmla="*/ 0 w 330930"/>
              <a:gd name="connsiteY1" fmla="*/ 360062 h 360061"/>
              <a:gd name="connsiteX2" fmla="*/ 177118 w 330930"/>
              <a:gd name="connsiteY2" fmla="*/ 181779 h 360061"/>
              <a:gd name="connsiteX3" fmla="*/ 0 w 330930"/>
              <a:gd name="connsiteY3" fmla="*/ 0 h 360061"/>
              <a:gd name="connsiteX4" fmla="*/ 154979 w 330930"/>
              <a:gd name="connsiteY4" fmla="*/ 0 h 360061"/>
              <a:gd name="connsiteX5" fmla="*/ 330931 w 330930"/>
              <a:gd name="connsiteY5" fmla="*/ 177118 h 360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930" h="360061">
                <a:moveTo>
                  <a:pt x="151482" y="360062"/>
                </a:moveTo>
                <a:lnTo>
                  <a:pt x="0" y="360062"/>
                </a:lnTo>
                <a:lnTo>
                  <a:pt x="177118" y="181779"/>
                </a:lnTo>
                <a:lnTo>
                  <a:pt x="0" y="0"/>
                </a:lnTo>
                <a:lnTo>
                  <a:pt x="154979" y="0"/>
                </a:lnTo>
                <a:lnTo>
                  <a:pt x="330931" y="177118"/>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17" name="Freihandform: Form 16">
            <a:extLst>
              <a:ext uri="{FF2B5EF4-FFF2-40B4-BE49-F238E27FC236}">
                <a16:creationId xmlns:a16="http://schemas.microsoft.com/office/drawing/2014/main" id="{4D65BE3E-4C18-475A-9ED3-DE2BB59E49D7}"/>
              </a:ext>
            </a:extLst>
          </p:cNvPr>
          <p:cNvSpPr/>
          <p:nvPr userDrawn="1"/>
        </p:nvSpPr>
        <p:spPr>
          <a:xfrm>
            <a:off x="11147939" y="3358759"/>
            <a:ext cx="314616" cy="341417"/>
          </a:xfrm>
          <a:custGeom>
            <a:avLst/>
            <a:gdLst>
              <a:gd name="connsiteX0" fmla="*/ 143325 w 314616"/>
              <a:gd name="connsiteY0" fmla="*/ 341418 h 341417"/>
              <a:gd name="connsiteX1" fmla="*/ 0 w 314616"/>
              <a:gd name="connsiteY1" fmla="*/ 341418 h 341417"/>
              <a:gd name="connsiteX2" fmla="*/ 167795 w 314616"/>
              <a:gd name="connsiteY2" fmla="*/ 172457 h 341417"/>
              <a:gd name="connsiteX3" fmla="*/ 0 w 314616"/>
              <a:gd name="connsiteY3" fmla="*/ 0 h 341417"/>
              <a:gd name="connsiteX4" fmla="*/ 146821 w 314616"/>
              <a:gd name="connsiteY4" fmla="*/ 0 h 341417"/>
              <a:gd name="connsiteX5" fmla="*/ 314617 w 314616"/>
              <a:gd name="connsiteY5" fmla="*/ 167796 h 341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4616" h="341417">
                <a:moveTo>
                  <a:pt x="143325" y="341418"/>
                </a:moveTo>
                <a:lnTo>
                  <a:pt x="0" y="341418"/>
                </a:lnTo>
                <a:lnTo>
                  <a:pt x="167795" y="172457"/>
                </a:lnTo>
                <a:lnTo>
                  <a:pt x="0" y="0"/>
                </a:lnTo>
                <a:lnTo>
                  <a:pt x="146821" y="0"/>
                </a:lnTo>
                <a:lnTo>
                  <a:pt x="314617" y="167796"/>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18" name="Freihandform: Form 17">
            <a:extLst>
              <a:ext uri="{FF2B5EF4-FFF2-40B4-BE49-F238E27FC236}">
                <a16:creationId xmlns:a16="http://schemas.microsoft.com/office/drawing/2014/main" id="{E34679BF-98E0-4C43-9EB6-8E929045F37C}"/>
              </a:ext>
            </a:extLst>
          </p:cNvPr>
          <p:cNvSpPr/>
          <p:nvPr userDrawn="1"/>
        </p:nvSpPr>
        <p:spPr>
          <a:xfrm>
            <a:off x="11147939" y="3714159"/>
            <a:ext cx="314616" cy="340252"/>
          </a:xfrm>
          <a:custGeom>
            <a:avLst/>
            <a:gdLst>
              <a:gd name="connsiteX0" fmla="*/ 143325 w 314616"/>
              <a:gd name="connsiteY0" fmla="*/ 340252 h 340252"/>
              <a:gd name="connsiteX1" fmla="*/ 0 w 314616"/>
              <a:gd name="connsiteY1" fmla="*/ 340252 h 340252"/>
              <a:gd name="connsiteX2" fmla="*/ 167795 w 314616"/>
              <a:gd name="connsiteY2" fmla="*/ 171291 h 340252"/>
              <a:gd name="connsiteX3" fmla="*/ 0 w 314616"/>
              <a:gd name="connsiteY3" fmla="*/ 0 h 340252"/>
              <a:gd name="connsiteX4" fmla="*/ 146821 w 314616"/>
              <a:gd name="connsiteY4" fmla="*/ 0 h 340252"/>
              <a:gd name="connsiteX5" fmla="*/ 314617 w 314616"/>
              <a:gd name="connsiteY5" fmla="*/ 166631 h 340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4616" h="340252">
                <a:moveTo>
                  <a:pt x="143325" y="340252"/>
                </a:moveTo>
                <a:lnTo>
                  <a:pt x="0" y="340252"/>
                </a:lnTo>
                <a:lnTo>
                  <a:pt x="167795" y="171291"/>
                </a:lnTo>
                <a:lnTo>
                  <a:pt x="0" y="0"/>
                </a:lnTo>
                <a:lnTo>
                  <a:pt x="146821" y="0"/>
                </a:lnTo>
                <a:lnTo>
                  <a:pt x="314617" y="166631"/>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19" name="Freihandform: Form 18">
            <a:extLst>
              <a:ext uri="{FF2B5EF4-FFF2-40B4-BE49-F238E27FC236}">
                <a16:creationId xmlns:a16="http://schemas.microsoft.com/office/drawing/2014/main" id="{61178343-3B5C-4EA0-B93D-DA39DE247356}"/>
              </a:ext>
            </a:extLst>
          </p:cNvPr>
          <p:cNvSpPr/>
          <p:nvPr userDrawn="1"/>
        </p:nvSpPr>
        <p:spPr>
          <a:xfrm>
            <a:off x="11147939" y="4068395"/>
            <a:ext cx="314616" cy="341417"/>
          </a:xfrm>
          <a:custGeom>
            <a:avLst/>
            <a:gdLst>
              <a:gd name="connsiteX0" fmla="*/ 143325 w 314616"/>
              <a:gd name="connsiteY0" fmla="*/ 341418 h 341417"/>
              <a:gd name="connsiteX1" fmla="*/ 0 w 314616"/>
              <a:gd name="connsiteY1" fmla="*/ 341418 h 341417"/>
              <a:gd name="connsiteX2" fmla="*/ 167795 w 314616"/>
              <a:gd name="connsiteY2" fmla="*/ 172457 h 341417"/>
              <a:gd name="connsiteX3" fmla="*/ 0 w 314616"/>
              <a:gd name="connsiteY3" fmla="*/ 0 h 341417"/>
              <a:gd name="connsiteX4" fmla="*/ 146821 w 314616"/>
              <a:gd name="connsiteY4" fmla="*/ 0 h 341417"/>
              <a:gd name="connsiteX5" fmla="*/ 314617 w 314616"/>
              <a:gd name="connsiteY5" fmla="*/ 167796 h 341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4616" h="341417">
                <a:moveTo>
                  <a:pt x="143325" y="341418"/>
                </a:moveTo>
                <a:lnTo>
                  <a:pt x="0" y="341418"/>
                </a:lnTo>
                <a:lnTo>
                  <a:pt x="167795" y="172457"/>
                </a:lnTo>
                <a:lnTo>
                  <a:pt x="0" y="0"/>
                </a:lnTo>
                <a:lnTo>
                  <a:pt x="146821" y="0"/>
                </a:lnTo>
                <a:lnTo>
                  <a:pt x="314617" y="167796"/>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20" name="Freihandform: Form 19">
            <a:extLst>
              <a:ext uri="{FF2B5EF4-FFF2-40B4-BE49-F238E27FC236}">
                <a16:creationId xmlns:a16="http://schemas.microsoft.com/office/drawing/2014/main" id="{EFDA8C24-BCB4-435A-B57E-08D469E0E5BA}"/>
              </a:ext>
            </a:extLst>
          </p:cNvPr>
          <p:cNvSpPr/>
          <p:nvPr userDrawn="1"/>
        </p:nvSpPr>
        <p:spPr>
          <a:xfrm>
            <a:off x="11147939" y="4423796"/>
            <a:ext cx="314616" cy="340252"/>
          </a:xfrm>
          <a:custGeom>
            <a:avLst/>
            <a:gdLst>
              <a:gd name="connsiteX0" fmla="*/ 143325 w 314616"/>
              <a:gd name="connsiteY0" fmla="*/ 340252 h 340252"/>
              <a:gd name="connsiteX1" fmla="*/ 0 w 314616"/>
              <a:gd name="connsiteY1" fmla="*/ 340252 h 340252"/>
              <a:gd name="connsiteX2" fmla="*/ 167795 w 314616"/>
              <a:gd name="connsiteY2" fmla="*/ 171291 h 340252"/>
              <a:gd name="connsiteX3" fmla="*/ 0 w 314616"/>
              <a:gd name="connsiteY3" fmla="*/ 0 h 340252"/>
              <a:gd name="connsiteX4" fmla="*/ 146821 w 314616"/>
              <a:gd name="connsiteY4" fmla="*/ 0 h 340252"/>
              <a:gd name="connsiteX5" fmla="*/ 314617 w 314616"/>
              <a:gd name="connsiteY5" fmla="*/ 167796 h 340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4616" h="340252">
                <a:moveTo>
                  <a:pt x="143325" y="340252"/>
                </a:moveTo>
                <a:lnTo>
                  <a:pt x="0" y="340252"/>
                </a:lnTo>
                <a:lnTo>
                  <a:pt x="167795" y="171291"/>
                </a:lnTo>
                <a:lnTo>
                  <a:pt x="0" y="0"/>
                </a:lnTo>
                <a:lnTo>
                  <a:pt x="146821" y="0"/>
                </a:lnTo>
                <a:lnTo>
                  <a:pt x="314617" y="167796"/>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21" name="Freihandform: Form 20">
            <a:extLst>
              <a:ext uri="{FF2B5EF4-FFF2-40B4-BE49-F238E27FC236}">
                <a16:creationId xmlns:a16="http://schemas.microsoft.com/office/drawing/2014/main" id="{D5092E80-F183-487C-9720-F0CC52022EFC}"/>
              </a:ext>
            </a:extLst>
          </p:cNvPr>
          <p:cNvSpPr/>
          <p:nvPr userDrawn="1"/>
        </p:nvSpPr>
        <p:spPr>
          <a:xfrm>
            <a:off x="11147939" y="4778031"/>
            <a:ext cx="314616" cy="341417"/>
          </a:xfrm>
          <a:custGeom>
            <a:avLst/>
            <a:gdLst>
              <a:gd name="connsiteX0" fmla="*/ 143325 w 314616"/>
              <a:gd name="connsiteY0" fmla="*/ 341418 h 341417"/>
              <a:gd name="connsiteX1" fmla="*/ 0 w 314616"/>
              <a:gd name="connsiteY1" fmla="*/ 341418 h 341417"/>
              <a:gd name="connsiteX2" fmla="*/ 167795 w 314616"/>
              <a:gd name="connsiteY2" fmla="*/ 172457 h 341417"/>
              <a:gd name="connsiteX3" fmla="*/ 0 w 314616"/>
              <a:gd name="connsiteY3" fmla="*/ 0 h 341417"/>
              <a:gd name="connsiteX4" fmla="*/ 146821 w 314616"/>
              <a:gd name="connsiteY4" fmla="*/ 0 h 341417"/>
              <a:gd name="connsiteX5" fmla="*/ 314617 w 314616"/>
              <a:gd name="connsiteY5" fmla="*/ 167796 h 341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4616" h="341417">
                <a:moveTo>
                  <a:pt x="143325" y="341418"/>
                </a:moveTo>
                <a:lnTo>
                  <a:pt x="0" y="341418"/>
                </a:lnTo>
                <a:lnTo>
                  <a:pt x="167795" y="172457"/>
                </a:lnTo>
                <a:lnTo>
                  <a:pt x="0" y="0"/>
                </a:lnTo>
                <a:lnTo>
                  <a:pt x="146821" y="0"/>
                </a:lnTo>
                <a:lnTo>
                  <a:pt x="314617" y="167796"/>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22" name="Freihandform: Form 21">
            <a:extLst>
              <a:ext uri="{FF2B5EF4-FFF2-40B4-BE49-F238E27FC236}">
                <a16:creationId xmlns:a16="http://schemas.microsoft.com/office/drawing/2014/main" id="{C1B35ED9-5960-4CA7-BB4B-F8CBB7AA51C4}"/>
              </a:ext>
            </a:extLst>
          </p:cNvPr>
          <p:cNvSpPr/>
          <p:nvPr userDrawn="1"/>
        </p:nvSpPr>
        <p:spPr>
          <a:xfrm>
            <a:off x="11147939" y="5133432"/>
            <a:ext cx="314616" cy="341417"/>
          </a:xfrm>
          <a:custGeom>
            <a:avLst/>
            <a:gdLst>
              <a:gd name="connsiteX0" fmla="*/ 143325 w 314616"/>
              <a:gd name="connsiteY0" fmla="*/ 341418 h 341417"/>
              <a:gd name="connsiteX1" fmla="*/ 0 w 314616"/>
              <a:gd name="connsiteY1" fmla="*/ 341418 h 341417"/>
              <a:gd name="connsiteX2" fmla="*/ 167795 w 314616"/>
              <a:gd name="connsiteY2" fmla="*/ 171292 h 341417"/>
              <a:gd name="connsiteX3" fmla="*/ 0 w 314616"/>
              <a:gd name="connsiteY3" fmla="*/ 0 h 341417"/>
              <a:gd name="connsiteX4" fmla="*/ 146821 w 314616"/>
              <a:gd name="connsiteY4" fmla="*/ 0 h 341417"/>
              <a:gd name="connsiteX5" fmla="*/ 314617 w 314616"/>
              <a:gd name="connsiteY5" fmla="*/ 167796 h 341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4616" h="341417">
                <a:moveTo>
                  <a:pt x="143325" y="341418"/>
                </a:moveTo>
                <a:lnTo>
                  <a:pt x="0" y="341418"/>
                </a:lnTo>
                <a:lnTo>
                  <a:pt x="167795" y="171292"/>
                </a:lnTo>
                <a:lnTo>
                  <a:pt x="0" y="0"/>
                </a:lnTo>
                <a:lnTo>
                  <a:pt x="146821" y="0"/>
                </a:lnTo>
                <a:lnTo>
                  <a:pt x="314617" y="167796"/>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23" name="Freihandform: Form 22">
            <a:extLst>
              <a:ext uri="{FF2B5EF4-FFF2-40B4-BE49-F238E27FC236}">
                <a16:creationId xmlns:a16="http://schemas.microsoft.com/office/drawing/2014/main" id="{9F138ACB-7671-4AAE-A5A5-0385B3F81E81}"/>
              </a:ext>
            </a:extLst>
          </p:cNvPr>
          <p:cNvSpPr/>
          <p:nvPr userDrawn="1"/>
        </p:nvSpPr>
        <p:spPr>
          <a:xfrm>
            <a:off x="10801860" y="3012680"/>
            <a:ext cx="297138" cy="323938"/>
          </a:xfrm>
          <a:custGeom>
            <a:avLst/>
            <a:gdLst>
              <a:gd name="connsiteX0" fmla="*/ 135168 w 297138"/>
              <a:gd name="connsiteY0" fmla="*/ 323939 h 323938"/>
              <a:gd name="connsiteX1" fmla="*/ 0 w 297138"/>
              <a:gd name="connsiteY1" fmla="*/ 323939 h 323938"/>
              <a:gd name="connsiteX2" fmla="*/ 158473 w 297138"/>
              <a:gd name="connsiteY2" fmla="*/ 163135 h 323938"/>
              <a:gd name="connsiteX3" fmla="*/ 0 w 297138"/>
              <a:gd name="connsiteY3" fmla="*/ 0 h 323938"/>
              <a:gd name="connsiteX4" fmla="*/ 138664 w 297138"/>
              <a:gd name="connsiteY4" fmla="*/ 0 h 323938"/>
              <a:gd name="connsiteX5" fmla="*/ 297138 w 297138"/>
              <a:gd name="connsiteY5" fmla="*/ 159639 h 323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3938">
                <a:moveTo>
                  <a:pt x="135168" y="323939"/>
                </a:moveTo>
                <a:lnTo>
                  <a:pt x="0" y="323939"/>
                </a:lnTo>
                <a:lnTo>
                  <a:pt x="158473" y="163135"/>
                </a:lnTo>
                <a:lnTo>
                  <a:pt x="0" y="0"/>
                </a:lnTo>
                <a:lnTo>
                  <a:pt x="138664" y="0"/>
                </a:lnTo>
                <a:lnTo>
                  <a:pt x="297138" y="159639"/>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24" name="Freihandform: Form 23">
            <a:extLst>
              <a:ext uri="{FF2B5EF4-FFF2-40B4-BE49-F238E27FC236}">
                <a16:creationId xmlns:a16="http://schemas.microsoft.com/office/drawing/2014/main" id="{2B3C2618-90AD-4A6D-BF2E-EAEA6C389EFC}"/>
              </a:ext>
            </a:extLst>
          </p:cNvPr>
          <p:cNvSpPr/>
          <p:nvPr userDrawn="1"/>
        </p:nvSpPr>
        <p:spPr>
          <a:xfrm>
            <a:off x="10801860" y="3368081"/>
            <a:ext cx="297138" cy="322773"/>
          </a:xfrm>
          <a:custGeom>
            <a:avLst/>
            <a:gdLst>
              <a:gd name="connsiteX0" fmla="*/ 135168 w 297138"/>
              <a:gd name="connsiteY0" fmla="*/ 322774 h 322773"/>
              <a:gd name="connsiteX1" fmla="*/ 0 w 297138"/>
              <a:gd name="connsiteY1" fmla="*/ 322774 h 322773"/>
              <a:gd name="connsiteX2" fmla="*/ 158473 w 297138"/>
              <a:gd name="connsiteY2" fmla="*/ 163135 h 322773"/>
              <a:gd name="connsiteX3" fmla="*/ 0 w 297138"/>
              <a:gd name="connsiteY3" fmla="*/ 0 h 322773"/>
              <a:gd name="connsiteX4" fmla="*/ 138664 w 297138"/>
              <a:gd name="connsiteY4" fmla="*/ 0 h 322773"/>
              <a:gd name="connsiteX5" fmla="*/ 297138 w 297138"/>
              <a:gd name="connsiteY5" fmla="*/ 158474 h 322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2773">
                <a:moveTo>
                  <a:pt x="135168" y="322774"/>
                </a:moveTo>
                <a:lnTo>
                  <a:pt x="0" y="322774"/>
                </a:lnTo>
                <a:lnTo>
                  <a:pt x="158473" y="163135"/>
                </a:lnTo>
                <a:lnTo>
                  <a:pt x="0" y="0"/>
                </a:lnTo>
                <a:lnTo>
                  <a:pt x="138664" y="0"/>
                </a:lnTo>
                <a:lnTo>
                  <a:pt x="297138" y="158474"/>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25" name="Freihandform: Form 24">
            <a:extLst>
              <a:ext uri="{FF2B5EF4-FFF2-40B4-BE49-F238E27FC236}">
                <a16:creationId xmlns:a16="http://schemas.microsoft.com/office/drawing/2014/main" id="{E48A0A2B-A992-446D-9659-C4F813A3FD7F}"/>
              </a:ext>
            </a:extLst>
          </p:cNvPr>
          <p:cNvSpPr/>
          <p:nvPr userDrawn="1"/>
        </p:nvSpPr>
        <p:spPr>
          <a:xfrm>
            <a:off x="10801860" y="3722316"/>
            <a:ext cx="297138" cy="323938"/>
          </a:xfrm>
          <a:custGeom>
            <a:avLst/>
            <a:gdLst>
              <a:gd name="connsiteX0" fmla="*/ 135168 w 297138"/>
              <a:gd name="connsiteY0" fmla="*/ 323939 h 323938"/>
              <a:gd name="connsiteX1" fmla="*/ 0 w 297138"/>
              <a:gd name="connsiteY1" fmla="*/ 323939 h 323938"/>
              <a:gd name="connsiteX2" fmla="*/ 158473 w 297138"/>
              <a:gd name="connsiteY2" fmla="*/ 163135 h 323938"/>
              <a:gd name="connsiteX3" fmla="*/ 0 w 297138"/>
              <a:gd name="connsiteY3" fmla="*/ 0 h 323938"/>
              <a:gd name="connsiteX4" fmla="*/ 138664 w 297138"/>
              <a:gd name="connsiteY4" fmla="*/ 0 h 323938"/>
              <a:gd name="connsiteX5" fmla="*/ 297138 w 297138"/>
              <a:gd name="connsiteY5" fmla="*/ 159639 h 323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3938">
                <a:moveTo>
                  <a:pt x="135168" y="323939"/>
                </a:moveTo>
                <a:lnTo>
                  <a:pt x="0" y="323939"/>
                </a:lnTo>
                <a:lnTo>
                  <a:pt x="158473" y="163135"/>
                </a:lnTo>
                <a:lnTo>
                  <a:pt x="0" y="0"/>
                </a:lnTo>
                <a:lnTo>
                  <a:pt x="138664" y="0"/>
                </a:lnTo>
                <a:lnTo>
                  <a:pt x="297138" y="159639"/>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26" name="Freihandform: Form 25">
            <a:extLst>
              <a:ext uri="{FF2B5EF4-FFF2-40B4-BE49-F238E27FC236}">
                <a16:creationId xmlns:a16="http://schemas.microsoft.com/office/drawing/2014/main" id="{8FFBFC9C-456D-4388-8E2B-24B5A07C1A69}"/>
              </a:ext>
            </a:extLst>
          </p:cNvPr>
          <p:cNvSpPr/>
          <p:nvPr userDrawn="1"/>
        </p:nvSpPr>
        <p:spPr>
          <a:xfrm>
            <a:off x="10801860" y="4077717"/>
            <a:ext cx="297138" cy="322773"/>
          </a:xfrm>
          <a:custGeom>
            <a:avLst/>
            <a:gdLst>
              <a:gd name="connsiteX0" fmla="*/ 135168 w 297138"/>
              <a:gd name="connsiteY0" fmla="*/ 322774 h 322773"/>
              <a:gd name="connsiteX1" fmla="*/ 0 w 297138"/>
              <a:gd name="connsiteY1" fmla="*/ 322774 h 322773"/>
              <a:gd name="connsiteX2" fmla="*/ 158473 w 297138"/>
              <a:gd name="connsiteY2" fmla="*/ 163135 h 322773"/>
              <a:gd name="connsiteX3" fmla="*/ 0 w 297138"/>
              <a:gd name="connsiteY3" fmla="*/ 0 h 322773"/>
              <a:gd name="connsiteX4" fmla="*/ 138664 w 297138"/>
              <a:gd name="connsiteY4" fmla="*/ 0 h 322773"/>
              <a:gd name="connsiteX5" fmla="*/ 297138 w 297138"/>
              <a:gd name="connsiteY5" fmla="*/ 158474 h 322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2773">
                <a:moveTo>
                  <a:pt x="135168" y="322774"/>
                </a:moveTo>
                <a:lnTo>
                  <a:pt x="0" y="322774"/>
                </a:lnTo>
                <a:lnTo>
                  <a:pt x="158473" y="163135"/>
                </a:lnTo>
                <a:lnTo>
                  <a:pt x="0" y="0"/>
                </a:lnTo>
                <a:lnTo>
                  <a:pt x="138664" y="0"/>
                </a:lnTo>
                <a:lnTo>
                  <a:pt x="297138" y="158474"/>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27" name="Freihandform: Form 26">
            <a:extLst>
              <a:ext uri="{FF2B5EF4-FFF2-40B4-BE49-F238E27FC236}">
                <a16:creationId xmlns:a16="http://schemas.microsoft.com/office/drawing/2014/main" id="{F00693EB-D06D-4D97-B313-DAC6AD0CADB2}"/>
              </a:ext>
            </a:extLst>
          </p:cNvPr>
          <p:cNvSpPr/>
          <p:nvPr userDrawn="1"/>
        </p:nvSpPr>
        <p:spPr>
          <a:xfrm>
            <a:off x="10801860" y="4431952"/>
            <a:ext cx="297138" cy="323938"/>
          </a:xfrm>
          <a:custGeom>
            <a:avLst/>
            <a:gdLst>
              <a:gd name="connsiteX0" fmla="*/ 135168 w 297138"/>
              <a:gd name="connsiteY0" fmla="*/ 323939 h 323938"/>
              <a:gd name="connsiteX1" fmla="*/ 0 w 297138"/>
              <a:gd name="connsiteY1" fmla="*/ 323939 h 323938"/>
              <a:gd name="connsiteX2" fmla="*/ 158473 w 297138"/>
              <a:gd name="connsiteY2" fmla="*/ 163135 h 323938"/>
              <a:gd name="connsiteX3" fmla="*/ 0 w 297138"/>
              <a:gd name="connsiteY3" fmla="*/ 0 h 323938"/>
              <a:gd name="connsiteX4" fmla="*/ 138664 w 297138"/>
              <a:gd name="connsiteY4" fmla="*/ 0 h 323938"/>
              <a:gd name="connsiteX5" fmla="*/ 297138 w 297138"/>
              <a:gd name="connsiteY5" fmla="*/ 159639 h 323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3938">
                <a:moveTo>
                  <a:pt x="135168" y="323939"/>
                </a:moveTo>
                <a:lnTo>
                  <a:pt x="0" y="323939"/>
                </a:lnTo>
                <a:lnTo>
                  <a:pt x="158473" y="163135"/>
                </a:lnTo>
                <a:lnTo>
                  <a:pt x="0" y="0"/>
                </a:lnTo>
                <a:lnTo>
                  <a:pt x="138664" y="0"/>
                </a:lnTo>
                <a:lnTo>
                  <a:pt x="297138" y="159639"/>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28" name="Freihandform: Form 27">
            <a:extLst>
              <a:ext uri="{FF2B5EF4-FFF2-40B4-BE49-F238E27FC236}">
                <a16:creationId xmlns:a16="http://schemas.microsoft.com/office/drawing/2014/main" id="{89281142-940F-4240-B9E8-12A5A5BA0FB0}"/>
              </a:ext>
            </a:extLst>
          </p:cNvPr>
          <p:cNvSpPr/>
          <p:nvPr userDrawn="1"/>
        </p:nvSpPr>
        <p:spPr>
          <a:xfrm>
            <a:off x="10801860" y="4787353"/>
            <a:ext cx="297138" cy="322773"/>
          </a:xfrm>
          <a:custGeom>
            <a:avLst/>
            <a:gdLst>
              <a:gd name="connsiteX0" fmla="*/ 135168 w 297138"/>
              <a:gd name="connsiteY0" fmla="*/ 322774 h 322773"/>
              <a:gd name="connsiteX1" fmla="*/ 0 w 297138"/>
              <a:gd name="connsiteY1" fmla="*/ 322774 h 322773"/>
              <a:gd name="connsiteX2" fmla="*/ 158473 w 297138"/>
              <a:gd name="connsiteY2" fmla="*/ 163135 h 322773"/>
              <a:gd name="connsiteX3" fmla="*/ 0 w 297138"/>
              <a:gd name="connsiteY3" fmla="*/ 0 h 322773"/>
              <a:gd name="connsiteX4" fmla="*/ 138664 w 297138"/>
              <a:gd name="connsiteY4" fmla="*/ 0 h 322773"/>
              <a:gd name="connsiteX5" fmla="*/ 297138 w 297138"/>
              <a:gd name="connsiteY5" fmla="*/ 158474 h 322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2773">
                <a:moveTo>
                  <a:pt x="135168" y="322774"/>
                </a:moveTo>
                <a:lnTo>
                  <a:pt x="0" y="322774"/>
                </a:lnTo>
                <a:lnTo>
                  <a:pt x="158473" y="163135"/>
                </a:lnTo>
                <a:lnTo>
                  <a:pt x="0" y="0"/>
                </a:lnTo>
                <a:lnTo>
                  <a:pt x="138664" y="0"/>
                </a:lnTo>
                <a:lnTo>
                  <a:pt x="297138" y="158474"/>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29" name="Freihandform: Form 28">
            <a:extLst>
              <a:ext uri="{FF2B5EF4-FFF2-40B4-BE49-F238E27FC236}">
                <a16:creationId xmlns:a16="http://schemas.microsoft.com/office/drawing/2014/main" id="{AD49AADD-9E83-4EC4-93DE-9880F8701DC6}"/>
              </a:ext>
            </a:extLst>
          </p:cNvPr>
          <p:cNvSpPr/>
          <p:nvPr userDrawn="1"/>
        </p:nvSpPr>
        <p:spPr>
          <a:xfrm>
            <a:off x="10801860" y="5141588"/>
            <a:ext cx="297138" cy="323938"/>
          </a:xfrm>
          <a:custGeom>
            <a:avLst/>
            <a:gdLst>
              <a:gd name="connsiteX0" fmla="*/ 135168 w 297138"/>
              <a:gd name="connsiteY0" fmla="*/ 323939 h 323938"/>
              <a:gd name="connsiteX1" fmla="*/ 0 w 297138"/>
              <a:gd name="connsiteY1" fmla="*/ 323939 h 323938"/>
              <a:gd name="connsiteX2" fmla="*/ 158473 w 297138"/>
              <a:gd name="connsiteY2" fmla="*/ 163135 h 323938"/>
              <a:gd name="connsiteX3" fmla="*/ 0 w 297138"/>
              <a:gd name="connsiteY3" fmla="*/ 0 h 323938"/>
              <a:gd name="connsiteX4" fmla="*/ 138664 w 297138"/>
              <a:gd name="connsiteY4" fmla="*/ 0 h 323938"/>
              <a:gd name="connsiteX5" fmla="*/ 297138 w 297138"/>
              <a:gd name="connsiteY5" fmla="*/ 159639 h 323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3938">
                <a:moveTo>
                  <a:pt x="135168" y="323939"/>
                </a:moveTo>
                <a:lnTo>
                  <a:pt x="0" y="323939"/>
                </a:lnTo>
                <a:lnTo>
                  <a:pt x="158473" y="163135"/>
                </a:lnTo>
                <a:lnTo>
                  <a:pt x="0" y="0"/>
                </a:lnTo>
                <a:lnTo>
                  <a:pt x="138664" y="0"/>
                </a:lnTo>
                <a:lnTo>
                  <a:pt x="297138" y="159639"/>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30" name="Freihandform: Form 29">
            <a:extLst>
              <a:ext uri="{FF2B5EF4-FFF2-40B4-BE49-F238E27FC236}">
                <a16:creationId xmlns:a16="http://schemas.microsoft.com/office/drawing/2014/main" id="{CEC9758F-A286-43BE-8F88-A30958FA2316}"/>
              </a:ext>
            </a:extLst>
          </p:cNvPr>
          <p:cNvSpPr/>
          <p:nvPr userDrawn="1"/>
        </p:nvSpPr>
        <p:spPr>
          <a:xfrm>
            <a:off x="10801860" y="5496989"/>
            <a:ext cx="297138" cy="322773"/>
          </a:xfrm>
          <a:custGeom>
            <a:avLst/>
            <a:gdLst>
              <a:gd name="connsiteX0" fmla="*/ 135168 w 297138"/>
              <a:gd name="connsiteY0" fmla="*/ 322773 h 322773"/>
              <a:gd name="connsiteX1" fmla="*/ 0 w 297138"/>
              <a:gd name="connsiteY1" fmla="*/ 322773 h 322773"/>
              <a:gd name="connsiteX2" fmla="*/ 158473 w 297138"/>
              <a:gd name="connsiteY2" fmla="*/ 163135 h 322773"/>
              <a:gd name="connsiteX3" fmla="*/ 0 w 297138"/>
              <a:gd name="connsiteY3" fmla="*/ 0 h 322773"/>
              <a:gd name="connsiteX4" fmla="*/ 138664 w 297138"/>
              <a:gd name="connsiteY4" fmla="*/ 0 h 322773"/>
              <a:gd name="connsiteX5" fmla="*/ 297138 w 297138"/>
              <a:gd name="connsiteY5" fmla="*/ 158473 h 322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2773">
                <a:moveTo>
                  <a:pt x="135168" y="322773"/>
                </a:moveTo>
                <a:lnTo>
                  <a:pt x="0" y="322773"/>
                </a:lnTo>
                <a:lnTo>
                  <a:pt x="158473" y="163135"/>
                </a:lnTo>
                <a:lnTo>
                  <a:pt x="0" y="0"/>
                </a:lnTo>
                <a:lnTo>
                  <a:pt x="138664" y="0"/>
                </a:lnTo>
                <a:lnTo>
                  <a:pt x="297138" y="158473"/>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31" name="Freihandform: Form 30">
            <a:extLst>
              <a:ext uri="{FF2B5EF4-FFF2-40B4-BE49-F238E27FC236}">
                <a16:creationId xmlns:a16="http://schemas.microsoft.com/office/drawing/2014/main" id="{10E4B3AC-44DF-4AD9-A386-DE5F1B7DCE9A}"/>
              </a:ext>
            </a:extLst>
          </p:cNvPr>
          <p:cNvSpPr/>
          <p:nvPr userDrawn="1"/>
        </p:nvSpPr>
        <p:spPr>
          <a:xfrm>
            <a:off x="10454616" y="2667767"/>
            <a:ext cx="280824" cy="304129"/>
          </a:xfrm>
          <a:custGeom>
            <a:avLst/>
            <a:gdLst>
              <a:gd name="connsiteX0" fmla="*/ 129343 w 280824"/>
              <a:gd name="connsiteY0" fmla="*/ 304130 h 304129"/>
              <a:gd name="connsiteX1" fmla="*/ 0 w 280824"/>
              <a:gd name="connsiteY1" fmla="*/ 304130 h 304129"/>
              <a:gd name="connsiteX2" fmla="*/ 150317 w 280824"/>
              <a:gd name="connsiteY2" fmla="*/ 153813 h 304129"/>
              <a:gd name="connsiteX3" fmla="*/ 0 w 280824"/>
              <a:gd name="connsiteY3" fmla="*/ 0 h 304129"/>
              <a:gd name="connsiteX4" fmla="*/ 131673 w 280824"/>
              <a:gd name="connsiteY4" fmla="*/ 0 h 304129"/>
              <a:gd name="connsiteX5" fmla="*/ 280825 w 280824"/>
              <a:gd name="connsiteY5" fmla="*/ 149152 h 304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4129">
                <a:moveTo>
                  <a:pt x="129343" y="304130"/>
                </a:moveTo>
                <a:lnTo>
                  <a:pt x="0" y="304130"/>
                </a:lnTo>
                <a:lnTo>
                  <a:pt x="150317" y="153813"/>
                </a:lnTo>
                <a:lnTo>
                  <a:pt x="0" y="0"/>
                </a:lnTo>
                <a:lnTo>
                  <a:pt x="131673" y="0"/>
                </a:lnTo>
                <a:lnTo>
                  <a:pt x="280825" y="149152"/>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32" name="Freihandform: Form 31">
            <a:extLst>
              <a:ext uri="{FF2B5EF4-FFF2-40B4-BE49-F238E27FC236}">
                <a16:creationId xmlns:a16="http://schemas.microsoft.com/office/drawing/2014/main" id="{8811811D-2DA5-49D3-BA92-FC8455548E2D}"/>
              </a:ext>
            </a:extLst>
          </p:cNvPr>
          <p:cNvSpPr/>
          <p:nvPr userDrawn="1"/>
        </p:nvSpPr>
        <p:spPr>
          <a:xfrm>
            <a:off x="10454616" y="3022002"/>
            <a:ext cx="280824" cy="305294"/>
          </a:xfrm>
          <a:custGeom>
            <a:avLst/>
            <a:gdLst>
              <a:gd name="connsiteX0" fmla="*/ 129343 w 280824"/>
              <a:gd name="connsiteY0" fmla="*/ 305295 h 305294"/>
              <a:gd name="connsiteX1" fmla="*/ 0 w 280824"/>
              <a:gd name="connsiteY1" fmla="*/ 305295 h 305294"/>
              <a:gd name="connsiteX2" fmla="*/ 150317 w 280824"/>
              <a:gd name="connsiteY2" fmla="*/ 153813 h 305294"/>
              <a:gd name="connsiteX3" fmla="*/ 0 w 280824"/>
              <a:gd name="connsiteY3" fmla="*/ 0 h 305294"/>
              <a:gd name="connsiteX4" fmla="*/ 131673 w 280824"/>
              <a:gd name="connsiteY4" fmla="*/ 0 h 305294"/>
              <a:gd name="connsiteX5" fmla="*/ 280825 w 280824"/>
              <a:gd name="connsiteY5" fmla="*/ 150317 h 305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5294">
                <a:moveTo>
                  <a:pt x="129343" y="305295"/>
                </a:moveTo>
                <a:lnTo>
                  <a:pt x="0" y="305295"/>
                </a:lnTo>
                <a:lnTo>
                  <a:pt x="150317" y="153813"/>
                </a:lnTo>
                <a:lnTo>
                  <a:pt x="0" y="0"/>
                </a:lnTo>
                <a:lnTo>
                  <a:pt x="131673" y="0"/>
                </a:lnTo>
                <a:lnTo>
                  <a:pt x="280825" y="150317"/>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33" name="Freihandform: Form 32">
            <a:extLst>
              <a:ext uri="{FF2B5EF4-FFF2-40B4-BE49-F238E27FC236}">
                <a16:creationId xmlns:a16="http://schemas.microsoft.com/office/drawing/2014/main" id="{22B5D9B8-7812-4DBD-B100-796AE8B99475}"/>
              </a:ext>
            </a:extLst>
          </p:cNvPr>
          <p:cNvSpPr/>
          <p:nvPr userDrawn="1"/>
        </p:nvSpPr>
        <p:spPr>
          <a:xfrm>
            <a:off x="10454616" y="3377403"/>
            <a:ext cx="280824" cy="304129"/>
          </a:xfrm>
          <a:custGeom>
            <a:avLst/>
            <a:gdLst>
              <a:gd name="connsiteX0" fmla="*/ 129343 w 280824"/>
              <a:gd name="connsiteY0" fmla="*/ 304130 h 304129"/>
              <a:gd name="connsiteX1" fmla="*/ 0 w 280824"/>
              <a:gd name="connsiteY1" fmla="*/ 304130 h 304129"/>
              <a:gd name="connsiteX2" fmla="*/ 150317 w 280824"/>
              <a:gd name="connsiteY2" fmla="*/ 153813 h 304129"/>
              <a:gd name="connsiteX3" fmla="*/ 0 w 280824"/>
              <a:gd name="connsiteY3" fmla="*/ 0 h 304129"/>
              <a:gd name="connsiteX4" fmla="*/ 131673 w 280824"/>
              <a:gd name="connsiteY4" fmla="*/ 0 h 304129"/>
              <a:gd name="connsiteX5" fmla="*/ 280825 w 280824"/>
              <a:gd name="connsiteY5" fmla="*/ 149152 h 304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4129">
                <a:moveTo>
                  <a:pt x="129343" y="304130"/>
                </a:moveTo>
                <a:lnTo>
                  <a:pt x="0" y="304130"/>
                </a:lnTo>
                <a:lnTo>
                  <a:pt x="150317" y="153813"/>
                </a:lnTo>
                <a:lnTo>
                  <a:pt x="0" y="0"/>
                </a:lnTo>
                <a:lnTo>
                  <a:pt x="131673" y="0"/>
                </a:lnTo>
                <a:lnTo>
                  <a:pt x="280825" y="149152"/>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34" name="Freihandform: Form 33">
            <a:extLst>
              <a:ext uri="{FF2B5EF4-FFF2-40B4-BE49-F238E27FC236}">
                <a16:creationId xmlns:a16="http://schemas.microsoft.com/office/drawing/2014/main" id="{86D162DF-0300-42DA-8C90-0E11543E0CB5}"/>
              </a:ext>
            </a:extLst>
          </p:cNvPr>
          <p:cNvSpPr/>
          <p:nvPr userDrawn="1"/>
        </p:nvSpPr>
        <p:spPr>
          <a:xfrm>
            <a:off x="10454616" y="3731638"/>
            <a:ext cx="280824" cy="305294"/>
          </a:xfrm>
          <a:custGeom>
            <a:avLst/>
            <a:gdLst>
              <a:gd name="connsiteX0" fmla="*/ 129343 w 280824"/>
              <a:gd name="connsiteY0" fmla="*/ 305295 h 305294"/>
              <a:gd name="connsiteX1" fmla="*/ 0 w 280824"/>
              <a:gd name="connsiteY1" fmla="*/ 305295 h 305294"/>
              <a:gd name="connsiteX2" fmla="*/ 150317 w 280824"/>
              <a:gd name="connsiteY2" fmla="*/ 153813 h 305294"/>
              <a:gd name="connsiteX3" fmla="*/ 0 w 280824"/>
              <a:gd name="connsiteY3" fmla="*/ 0 h 305294"/>
              <a:gd name="connsiteX4" fmla="*/ 131673 w 280824"/>
              <a:gd name="connsiteY4" fmla="*/ 0 h 305294"/>
              <a:gd name="connsiteX5" fmla="*/ 280825 w 280824"/>
              <a:gd name="connsiteY5" fmla="*/ 150317 h 305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5294">
                <a:moveTo>
                  <a:pt x="129343" y="305295"/>
                </a:moveTo>
                <a:lnTo>
                  <a:pt x="0" y="305295"/>
                </a:lnTo>
                <a:lnTo>
                  <a:pt x="150317" y="153813"/>
                </a:lnTo>
                <a:lnTo>
                  <a:pt x="0" y="0"/>
                </a:lnTo>
                <a:lnTo>
                  <a:pt x="131673" y="0"/>
                </a:lnTo>
                <a:lnTo>
                  <a:pt x="280825" y="150317"/>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35" name="Freihandform: Form 34">
            <a:extLst>
              <a:ext uri="{FF2B5EF4-FFF2-40B4-BE49-F238E27FC236}">
                <a16:creationId xmlns:a16="http://schemas.microsoft.com/office/drawing/2014/main" id="{DD4C0CC3-D65C-4CC8-98A0-B7BBDF885BDD}"/>
              </a:ext>
            </a:extLst>
          </p:cNvPr>
          <p:cNvSpPr/>
          <p:nvPr userDrawn="1"/>
        </p:nvSpPr>
        <p:spPr>
          <a:xfrm>
            <a:off x="10454616" y="4087039"/>
            <a:ext cx="280824" cy="304129"/>
          </a:xfrm>
          <a:custGeom>
            <a:avLst/>
            <a:gdLst>
              <a:gd name="connsiteX0" fmla="*/ 129343 w 280824"/>
              <a:gd name="connsiteY0" fmla="*/ 304130 h 304129"/>
              <a:gd name="connsiteX1" fmla="*/ 0 w 280824"/>
              <a:gd name="connsiteY1" fmla="*/ 304130 h 304129"/>
              <a:gd name="connsiteX2" fmla="*/ 150317 w 280824"/>
              <a:gd name="connsiteY2" fmla="*/ 153813 h 304129"/>
              <a:gd name="connsiteX3" fmla="*/ 0 w 280824"/>
              <a:gd name="connsiteY3" fmla="*/ 0 h 304129"/>
              <a:gd name="connsiteX4" fmla="*/ 131673 w 280824"/>
              <a:gd name="connsiteY4" fmla="*/ 0 h 304129"/>
              <a:gd name="connsiteX5" fmla="*/ 280825 w 280824"/>
              <a:gd name="connsiteY5" fmla="*/ 149152 h 304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4129">
                <a:moveTo>
                  <a:pt x="129343" y="304130"/>
                </a:moveTo>
                <a:lnTo>
                  <a:pt x="0" y="304130"/>
                </a:lnTo>
                <a:lnTo>
                  <a:pt x="150317" y="153813"/>
                </a:lnTo>
                <a:lnTo>
                  <a:pt x="0" y="0"/>
                </a:lnTo>
                <a:lnTo>
                  <a:pt x="131673" y="0"/>
                </a:lnTo>
                <a:lnTo>
                  <a:pt x="280825" y="149152"/>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36" name="Freihandform: Form 35">
            <a:extLst>
              <a:ext uri="{FF2B5EF4-FFF2-40B4-BE49-F238E27FC236}">
                <a16:creationId xmlns:a16="http://schemas.microsoft.com/office/drawing/2014/main" id="{02A170C8-FEFD-40FE-9F35-49A2B2094DA3}"/>
              </a:ext>
            </a:extLst>
          </p:cNvPr>
          <p:cNvSpPr/>
          <p:nvPr userDrawn="1"/>
        </p:nvSpPr>
        <p:spPr>
          <a:xfrm>
            <a:off x="10454616" y="4441274"/>
            <a:ext cx="280824" cy="305294"/>
          </a:xfrm>
          <a:custGeom>
            <a:avLst/>
            <a:gdLst>
              <a:gd name="connsiteX0" fmla="*/ 129343 w 280824"/>
              <a:gd name="connsiteY0" fmla="*/ 305295 h 305294"/>
              <a:gd name="connsiteX1" fmla="*/ 0 w 280824"/>
              <a:gd name="connsiteY1" fmla="*/ 305295 h 305294"/>
              <a:gd name="connsiteX2" fmla="*/ 150317 w 280824"/>
              <a:gd name="connsiteY2" fmla="*/ 153813 h 305294"/>
              <a:gd name="connsiteX3" fmla="*/ 0 w 280824"/>
              <a:gd name="connsiteY3" fmla="*/ 0 h 305294"/>
              <a:gd name="connsiteX4" fmla="*/ 131673 w 280824"/>
              <a:gd name="connsiteY4" fmla="*/ 0 h 305294"/>
              <a:gd name="connsiteX5" fmla="*/ 280825 w 280824"/>
              <a:gd name="connsiteY5" fmla="*/ 150317 h 305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5294">
                <a:moveTo>
                  <a:pt x="129343" y="305295"/>
                </a:moveTo>
                <a:lnTo>
                  <a:pt x="0" y="305295"/>
                </a:lnTo>
                <a:lnTo>
                  <a:pt x="150317" y="153813"/>
                </a:lnTo>
                <a:lnTo>
                  <a:pt x="0" y="0"/>
                </a:lnTo>
                <a:lnTo>
                  <a:pt x="131673" y="0"/>
                </a:lnTo>
                <a:lnTo>
                  <a:pt x="280825" y="150317"/>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37" name="Freihandform: Form 36">
            <a:extLst>
              <a:ext uri="{FF2B5EF4-FFF2-40B4-BE49-F238E27FC236}">
                <a16:creationId xmlns:a16="http://schemas.microsoft.com/office/drawing/2014/main" id="{AC345B7B-E2A3-4996-AC13-FEB811736E2B}"/>
              </a:ext>
            </a:extLst>
          </p:cNvPr>
          <p:cNvSpPr/>
          <p:nvPr userDrawn="1"/>
        </p:nvSpPr>
        <p:spPr>
          <a:xfrm>
            <a:off x="10454616" y="4796675"/>
            <a:ext cx="280824" cy="304129"/>
          </a:xfrm>
          <a:custGeom>
            <a:avLst/>
            <a:gdLst>
              <a:gd name="connsiteX0" fmla="*/ 129343 w 280824"/>
              <a:gd name="connsiteY0" fmla="*/ 304130 h 304129"/>
              <a:gd name="connsiteX1" fmla="*/ 0 w 280824"/>
              <a:gd name="connsiteY1" fmla="*/ 304130 h 304129"/>
              <a:gd name="connsiteX2" fmla="*/ 150317 w 280824"/>
              <a:gd name="connsiteY2" fmla="*/ 153813 h 304129"/>
              <a:gd name="connsiteX3" fmla="*/ 0 w 280824"/>
              <a:gd name="connsiteY3" fmla="*/ 0 h 304129"/>
              <a:gd name="connsiteX4" fmla="*/ 131673 w 280824"/>
              <a:gd name="connsiteY4" fmla="*/ 0 h 304129"/>
              <a:gd name="connsiteX5" fmla="*/ 280825 w 280824"/>
              <a:gd name="connsiteY5" fmla="*/ 149152 h 304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4129">
                <a:moveTo>
                  <a:pt x="129343" y="304130"/>
                </a:moveTo>
                <a:lnTo>
                  <a:pt x="0" y="304130"/>
                </a:lnTo>
                <a:lnTo>
                  <a:pt x="150317" y="153813"/>
                </a:lnTo>
                <a:lnTo>
                  <a:pt x="0" y="0"/>
                </a:lnTo>
                <a:lnTo>
                  <a:pt x="131673" y="0"/>
                </a:lnTo>
                <a:lnTo>
                  <a:pt x="280825" y="149152"/>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38" name="Freihandform: Form 37">
            <a:extLst>
              <a:ext uri="{FF2B5EF4-FFF2-40B4-BE49-F238E27FC236}">
                <a16:creationId xmlns:a16="http://schemas.microsoft.com/office/drawing/2014/main" id="{B8E4486F-5EEF-4D77-997B-BF5B2B27593D}"/>
              </a:ext>
            </a:extLst>
          </p:cNvPr>
          <p:cNvSpPr/>
          <p:nvPr userDrawn="1"/>
        </p:nvSpPr>
        <p:spPr>
          <a:xfrm>
            <a:off x="10454616" y="5150910"/>
            <a:ext cx="280824" cy="305295"/>
          </a:xfrm>
          <a:custGeom>
            <a:avLst/>
            <a:gdLst>
              <a:gd name="connsiteX0" fmla="*/ 129343 w 280824"/>
              <a:gd name="connsiteY0" fmla="*/ 305295 h 305295"/>
              <a:gd name="connsiteX1" fmla="*/ 0 w 280824"/>
              <a:gd name="connsiteY1" fmla="*/ 305295 h 305295"/>
              <a:gd name="connsiteX2" fmla="*/ 150317 w 280824"/>
              <a:gd name="connsiteY2" fmla="*/ 153813 h 305295"/>
              <a:gd name="connsiteX3" fmla="*/ 0 w 280824"/>
              <a:gd name="connsiteY3" fmla="*/ 0 h 305295"/>
              <a:gd name="connsiteX4" fmla="*/ 131673 w 280824"/>
              <a:gd name="connsiteY4" fmla="*/ 0 h 305295"/>
              <a:gd name="connsiteX5" fmla="*/ 280825 w 280824"/>
              <a:gd name="connsiteY5" fmla="*/ 150317 h 305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5295">
                <a:moveTo>
                  <a:pt x="129343" y="305295"/>
                </a:moveTo>
                <a:lnTo>
                  <a:pt x="0" y="305295"/>
                </a:lnTo>
                <a:lnTo>
                  <a:pt x="150317" y="153813"/>
                </a:lnTo>
                <a:lnTo>
                  <a:pt x="0" y="0"/>
                </a:lnTo>
                <a:lnTo>
                  <a:pt x="131673" y="0"/>
                </a:lnTo>
                <a:lnTo>
                  <a:pt x="280825" y="150317"/>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39" name="Freihandform: Form 38">
            <a:extLst>
              <a:ext uri="{FF2B5EF4-FFF2-40B4-BE49-F238E27FC236}">
                <a16:creationId xmlns:a16="http://schemas.microsoft.com/office/drawing/2014/main" id="{D6505117-AB3A-443A-8D0D-8AB7DE155481}"/>
              </a:ext>
            </a:extLst>
          </p:cNvPr>
          <p:cNvSpPr/>
          <p:nvPr userDrawn="1"/>
        </p:nvSpPr>
        <p:spPr>
          <a:xfrm>
            <a:off x="10454616" y="5506311"/>
            <a:ext cx="280824" cy="305295"/>
          </a:xfrm>
          <a:custGeom>
            <a:avLst/>
            <a:gdLst>
              <a:gd name="connsiteX0" fmla="*/ 129343 w 280824"/>
              <a:gd name="connsiteY0" fmla="*/ 305295 h 305295"/>
              <a:gd name="connsiteX1" fmla="*/ 0 w 280824"/>
              <a:gd name="connsiteY1" fmla="*/ 305295 h 305295"/>
              <a:gd name="connsiteX2" fmla="*/ 150317 w 280824"/>
              <a:gd name="connsiteY2" fmla="*/ 153813 h 305295"/>
              <a:gd name="connsiteX3" fmla="*/ 0 w 280824"/>
              <a:gd name="connsiteY3" fmla="*/ 0 h 305295"/>
              <a:gd name="connsiteX4" fmla="*/ 131673 w 280824"/>
              <a:gd name="connsiteY4" fmla="*/ 0 h 305295"/>
              <a:gd name="connsiteX5" fmla="*/ 280825 w 280824"/>
              <a:gd name="connsiteY5" fmla="*/ 149152 h 305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5295">
                <a:moveTo>
                  <a:pt x="129343" y="305295"/>
                </a:moveTo>
                <a:lnTo>
                  <a:pt x="0" y="305295"/>
                </a:lnTo>
                <a:lnTo>
                  <a:pt x="150317" y="153813"/>
                </a:lnTo>
                <a:lnTo>
                  <a:pt x="0" y="0"/>
                </a:lnTo>
                <a:lnTo>
                  <a:pt x="131673" y="0"/>
                </a:lnTo>
                <a:lnTo>
                  <a:pt x="280825" y="149152"/>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40" name="Freihandform: Form 39">
            <a:extLst>
              <a:ext uri="{FF2B5EF4-FFF2-40B4-BE49-F238E27FC236}">
                <a16:creationId xmlns:a16="http://schemas.microsoft.com/office/drawing/2014/main" id="{39669028-3F82-4FFB-B750-58E81D23A155}"/>
              </a:ext>
            </a:extLst>
          </p:cNvPr>
          <p:cNvSpPr/>
          <p:nvPr userDrawn="1"/>
        </p:nvSpPr>
        <p:spPr>
          <a:xfrm>
            <a:off x="10454616" y="5860546"/>
            <a:ext cx="280824" cy="305295"/>
          </a:xfrm>
          <a:custGeom>
            <a:avLst/>
            <a:gdLst>
              <a:gd name="connsiteX0" fmla="*/ 129343 w 280824"/>
              <a:gd name="connsiteY0" fmla="*/ 305295 h 305295"/>
              <a:gd name="connsiteX1" fmla="*/ 0 w 280824"/>
              <a:gd name="connsiteY1" fmla="*/ 305295 h 305295"/>
              <a:gd name="connsiteX2" fmla="*/ 150317 w 280824"/>
              <a:gd name="connsiteY2" fmla="*/ 153813 h 305295"/>
              <a:gd name="connsiteX3" fmla="*/ 0 w 280824"/>
              <a:gd name="connsiteY3" fmla="*/ 0 h 305295"/>
              <a:gd name="connsiteX4" fmla="*/ 131673 w 280824"/>
              <a:gd name="connsiteY4" fmla="*/ 0 h 305295"/>
              <a:gd name="connsiteX5" fmla="*/ 280825 w 280824"/>
              <a:gd name="connsiteY5" fmla="*/ 150317 h 305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5295">
                <a:moveTo>
                  <a:pt x="129343" y="305295"/>
                </a:moveTo>
                <a:lnTo>
                  <a:pt x="0" y="305295"/>
                </a:lnTo>
                <a:lnTo>
                  <a:pt x="150317" y="153813"/>
                </a:lnTo>
                <a:lnTo>
                  <a:pt x="0" y="0"/>
                </a:lnTo>
                <a:lnTo>
                  <a:pt x="131673" y="0"/>
                </a:lnTo>
                <a:lnTo>
                  <a:pt x="280825" y="150317"/>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41" name="Freihandform: Form 40">
            <a:extLst>
              <a:ext uri="{FF2B5EF4-FFF2-40B4-BE49-F238E27FC236}">
                <a16:creationId xmlns:a16="http://schemas.microsoft.com/office/drawing/2014/main" id="{C052D073-BC16-47D7-9E2C-5858BC88F099}"/>
              </a:ext>
            </a:extLst>
          </p:cNvPr>
          <p:cNvSpPr/>
          <p:nvPr userDrawn="1"/>
        </p:nvSpPr>
        <p:spPr>
          <a:xfrm>
            <a:off x="10108537" y="2321688"/>
            <a:ext cx="264511" cy="286650"/>
          </a:xfrm>
          <a:custGeom>
            <a:avLst/>
            <a:gdLst>
              <a:gd name="connsiteX0" fmla="*/ 121186 w 264511"/>
              <a:gd name="connsiteY0" fmla="*/ 286651 h 286650"/>
              <a:gd name="connsiteX1" fmla="*/ 0 w 264511"/>
              <a:gd name="connsiteY1" fmla="*/ 286651 h 286650"/>
              <a:gd name="connsiteX2" fmla="*/ 140995 w 264511"/>
              <a:gd name="connsiteY2" fmla="*/ 144491 h 286650"/>
              <a:gd name="connsiteX3" fmla="*/ 0 w 264511"/>
              <a:gd name="connsiteY3" fmla="*/ 0 h 286650"/>
              <a:gd name="connsiteX4" fmla="*/ 123516 w 264511"/>
              <a:gd name="connsiteY4" fmla="*/ 0 h 286650"/>
              <a:gd name="connsiteX5" fmla="*/ 264511 w 264511"/>
              <a:gd name="connsiteY5" fmla="*/ 140995 h 28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0">
                <a:moveTo>
                  <a:pt x="121186" y="286651"/>
                </a:moveTo>
                <a:lnTo>
                  <a:pt x="0" y="286651"/>
                </a:lnTo>
                <a:lnTo>
                  <a:pt x="140995" y="144491"/>
                </a:lnTo>
                <a:lnTo>
                  <a:pt x="0" y="0"/>
                </a:lnTo>
                <a:lnTo>
                  <a:pt x="123516" y="0"/>
                </a:lnTo>
                <a:lnTo>
                  <a:pt x="264511" y="140995"/>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42" name="Freihandform: Form 41">
            <a:extLst>
              <a:ext uri="{FF2B5EF4-FFF2-40B4-BE49-F238E27FC236}">
                <a16:creationId xmlns:a16="http://schemas.microsoft.com/office/drawing/2014/main" id="{22709753-BB78-4BFE-8162-272859C89E3A}"/>
              </a:ext>
            </a:extLst>
          </p:cNvPr>
          <p:cNvSpPr/>
          <p:nvPr userDrawn="1"/>
        </p:nvSpPr>
        <p:spPr>
          <a:xfrm>
            <a:off x="10108537" y="2675924"/>
            <a:ext cx="264511" cy="286650"/>
          </a:xfrm>
          <a:custGeom>
            <a:avLst/>
            <a:gdLst>
              <a:gd name="connsiteX0" fmla="*/ 121186 w 264511"/>
              <a:gd name="connsiteY0" fmla="*/ 286651 h 286650"/>
              <a:gd name="connsiteX1" fmla="*/ 0 w 264511"/>
              <a:gd name="connsiteY1" fmla="*/ 286651 h 286650"/>
              <a:gd name="connsiteX2" fmla="*/ 140995 w 264511"/>
              <a:gd name="connsiteY2" fmla="*/ 144491 h 286650"/>
              <a:gd name="connsiteX3" fmla="*/ 0 w 264511"/>
              <a:gd name="connsiteY3" fmla="*/ 0 h 286650"/>
              <a:gd name="connsiteX4" fmla="*/ 123516 w 264511"/>
              <a:gd name="connsiteY4" fmla="*/ 0 h 286650"/>
              <a:gd name="connsiteX5" fmla="*/ 264511 w 264511"/>
              <a:gd name="connsiteY5" fmla="*/ 140995 h 28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0">
                <a:moveTo>
                  <a:pt x="121186" y="286651"/>
                </a:moveTo>
                <a:lnTo>
                  <a:pt x="0" y="286651"/>
                </a:lnTo>
                <a:lnTo>
                  <a:pt x="140995" y="144491"/>
                </a:lnTo>
                <a:lnTo>
                  <a:pt x="0" y="0"/>
                </a:lnTo>
                <a:lnTo>
                  <a:pt x="123516" y="0"/>
                </a:lnTo>
                <a:lnTo>
                  <a:pt x="264511" y="140995"/>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43" name="Freihandform: Form 42">
            <a:extLst>
              <a:ext uri="{FF2B5EF4-FFF2-40B4-BE49-F238E27FC236}">
                <a16:creationId xmlns:a16="http://schemas.microsoft.com/office/drawing/2014/main" id="{A22910F7-91DB-466D-959B-1F3CE7A1DC88}"/>
              </a:ext>
            </a:extLst>
          </p:cNvPr>
          <p:cNvSpPr/>
          <p:nvPr userDrawn="1"/>
        </p:nvSpPr>
        <p:spPr>
          <a:xfrm>
            <a:off x="10108537" y="3031324"/>
            <a:ext cx="264511" cy="286650"/>
          </a:xfrm>
          <a:custGeom>
            <a:avLst/>
            <a:gdLst>
              <a:gd name="connsiteX0" fmla="*/ 121186 w 264511"/>
              <a:gd name="connsiteY0" fmla="*/ 286651 h 286650"/>
              <a:gd name="connsiteX1" fmla="*/ 0 w 264511"/>
              <a:gd name="connsiteY1" fmla="*/ 286651 h 286650"/>
              <a:gd name="connsiteX2" fmla="*/ 140995 w 264511"/>
              <a:gd name="connsiteY2" fmla="*/ 144491 h 286650"/>
              <a:gd name="connsiteX3" fmla="*/ 0 w 264511"/>
              <a:gd name="connsiteY3" fmla="*/ 0 h 286650"/>
              <a:gd name="connsiteX4" fmla="*/ 123516 w 264511"/>
              <a:gd name="connsiteY4" fmla="*/ 0 h 286650"/>
              <a:gd name="connsiteX5" fmla="*/ 264511 w 264511"/>
              <a:gd name="connsiteY5" fmla="*/ 140995 h 28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0">
                <a:moveTo>
                  <a:pt x="121186" y="286651"/>
                </a:moveTo>
                <a:lnTo>
                  <a:pt x="0" y="286651"/>
                </a:lnTo>
                <a:lnTo>
                  <a:pt x="140995" y="144491"/>
                </a:lnTo>
                <a:lnTo>
                  <a:pt x="0" y="0"/>
                </a:lnTo>
                <a:lnTo>
                  <a:pt x="123516" y="0"/>
                </a:lnTo>
                <a:lnTo>
                  <a:pt x="264511" y="140995"/>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44" name="Freihandform: Form 43">
            <a:extLst>
              <a:ext uri="{FF2B5EF4-FFF2-40B4-BE49-F238E27FC236}">
                <a16:creationId xmlns:a16="http://schemas.microsoft.com/office/drawing/2014/main" id="{826CB9D5-4E43-47C9-BB33-61EABEEBA649}"/>
              </a:ext>
            </a:extLst>
          </p:cNvPr>
          <p:cNvSpPr/>
          <p:nvPr userDrawn="1"/>
        </p:nvSpPr>
        <p:spPr>
          <a:xfrm>
            <a:off x="10108537" y="3385560"/>
            <a:ext cx="264511" cy="287816"/>
          </a:xfrm>
          <a:custGeom>
            <a:avLst/>
            <a:gdLst>
              <a:gd name="connsiteX0" fmla="*/ 121186 w 264511"/>
              <a:gd name="connsiteY0" fmla="*/ 287816 h 287816"/>
              <a:gd name="connsiteX1" fmla="*/ 0 w 264511"/>
              <a:gd name="connsiteY1" fmla="*/ 287816 h 287816"/>
              <a:gd name="connsiteX2" fmla="*/ 140995 w 264511"/>
              <a:gd name="connsiteY2" fmla="*/ 145656 h 287816"/>
              <a:gd name="connsiteX3" fmla="*/ 0 w 264511"/>
              <a:gd name="connsiteY3" fmla="*/ 0 h 287816"/>
              <a:gd name="connsiteX4" fmla="*/ 123516 w 264511"/>
              <a:gd name="connsiteY4" fmla="*/ 0 h 287816"/>
              <a:gd name="connsiteX5" fmla="*/ 264511 w 264511"/>
              <a:gd name="connsiteY5" fmla="*/ 140995 h 287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7816">
                <a:moveTo>
                  <a:pt x="121186" y="287816"/>
                </a:moveTo>
                <a:lnTo>
                  <a:pt x="0" y="287816"/>
                </a:lnTo>
                <a:lnTo>
                  <a:pt x="140995" y="145656"/>
                </a:lnTo>
                <a:lnTo>
                  <a:pt x="0" y="0"/>
                </a:lnTo>
                <a:lnTo>
                  <a:pt x="123516" y="0"/>
                </a:lnTo>
                <a:lnTo>
                  <a:pt x="264511" y="140995"/>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45" name="Freihandform: Form 44">
            <a:extLst>
              <a:ext uri="{FF2B5EF4-FFF2-40B4-BE49-F238E27FC236}">
                <a16:creationId xmlns:a16="http://schemas.microsoft.com/office/drawing/2014/main" id="{C8C69474-2E2B-4F56-A063-6C4788169936}"/>
              </a:ext>
            </a:extLst>
          </p:cNvPr>
          <p:cNvSpPr/>
          <p:nvPr userDrawn="1"/>
        </p:nvSpPr>
        <p:spPr>
          <a:xfrm>
            <a:off x="10108537" y="3740960"/>
            <a:ext cx="264511" cy="286651"/>
          </a:xfrm>
          <a:custGeom>
            <a:avLst/>
            <a:gdLst>
              <a:gd name="connsiteX0" fmla="*/ 121186 w 264511"/>
              <a:gd name="connsiteY0" fmla="*/ 286651 h 286651"/>
              <a:gd name="connsiteX1" fmla="*/ 0 w 264511"/>
              <a:gd name="connsiteY1" fmla="*/ 286651 h 286651"/>
              <a:gd name="connsiteX2" fmla="*/ 140995 w 264511"/>
              <a:gd name="connsiteY2" fmla="*/ 144491 h 286651"/>
              <a:gd name="connsiteX3" fmla="*/ 0 w 264511"/>
              <a:gd name="connsiteY3" fmla="*/ 0 h 286651"/>
              <a:gd name="connsiteX4" fmla="*/ 123516 w 264511"/>
              <a:gd name="connsiteY4" fmla="*/ 0 h 286651"/>
              <a:gd name="connsiteX5" fmla="*/ 264511 w 264511"/>
              <a:gd name="connsiteY5" fmla="*/ 140995 h 286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1">
                <a:moveTo>
                  <a:pt x="121186" y="286651"/>
                </a:moveTo>
                <a:lnTo>
                  <a:pt x="0" y="286651"/>
                </a:lnTo>
                <a:lnTo>
                  <a:pt x="140995" y="144491"/>
                </a:lnTo>
                <a:lnTo>
                  <a:pt x="0" y="0"/>
                </a:lnTo>
                <a:lnTo>
                  <a:pt x="123516" y="0"/>
                </a:lnTo>
                <a:lnTo>
                  <a:pt x="264511" y="140995"/>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46" name="Freihandform: Form 45">
            <a:extLst>
              <a:ext uri="{FF2B5EF4-FFF2-40B4-BE49-F238E27FC236}">
                <a16:creationId xmlns:a16="http://schemas.microsoft.com/office/drawing/2014/main" id="{6A15B5C5-8142-42EE-A485-A8B5988EDC27}"/>
              </a:ext>
            </a:extLst>
          </p:cNvPr>
          <p:cNvSpPr/>
          <p:nvPr userDrawn="1"/>
        </p:nvSpPr>
        <p:spPr>
          <a:xfrm>
            <a:off x="10108537" y="4095195"/>
            <a:ext cx="264511" cy="287816"/>
          </a:xfrm>
          <a:custGeom>
            <a:avLst/>
            <a:gdLst>
              <a:gd name="connsiteX0" fmla="*/ 121186 w 264511"/>
              <a:gd name="connsiteY0" fmla="*/ 287816 h 287816"/>
              <a:gd name="connsiteX1" fmla="*/ 0 w 264511"/>
              <a:gd name="connsiteY1" fmla="*/ 287816 h 287816"/>
              <a:gd name="connsiteX2" fmla="*/ 140995 w 264511"/>
              <a:gd name="connsiteY2" fmla="*/ 145656 h 287816"/>
              <a:gd name="connsiteX3" fmla="*/ 0 w 264511"/>
              <a:gd name="connsiteY3" fmla="*/ 0 h 287816"/>
              <a:gd name="connsiteX4" fmla="*/ 123516 w 264511"/>
              <a:gd name="connsiteY4" fmla="*/ 0 h 287816"/>
              <a:gd name="connsiteX5" fmla="*/ 264511 w 264511"/>
              <a:gd name="connsiteY5" fmla="*/ 140995 h 287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7816">
                <a:moveTo>
                  <a:pt x="121186" y="287816"/>
                </a:moveTo>
                <a:lnTo>
                  <a:pt x="0" y="287816"/>
                </a:lnTo>
                <a:lnTo>
                  <a:pt x="140995" y="145656"/>
                </a:lnTo>
                <a:lnTo>
                  <a:pt x="0" y="0"/>
                </a:lnTo>
                <a:lnTo>
                  <a:pt x="123516" y="0"/>
                </a:lnTo>
                <a:lnTo>
                  <a:pt x="264511" y="140995"/>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47" name="Freihandform: Form 46">
            <a:extLst>
              <a:ext uri="{FF2B5EF4-FFF2-40B4-BE49-F238E27FC236}">
                <a16:creationId xmlns:a16="http://schemas.microsoft.com/office/drawing/2014/main" id="{1727EBFF-C2D7-40A8-A58B-2B7D71122DA5}"/>
              </a:ext>
            </a:extLst>
          </p:cNvPr>
          <p:cNvSpPr/>
          <p:nvPr userDrawn="1"/>
        </p:nvSpPr>
        <p:spPr>
          <a:xfrm>
            <a:off x="10108537" y="4450596"/>
            <a:ext cx="264511" cy="286651"/>
          </a:xfrm>
          <a:custGeom>
            <a:avLst/>
            <a:gdLst>
              <a:gd name="connsiteX0" fmla="*/ 121186 w 264511"/>
              <a:gd name="connsiteY0" fmla="*/ 286651 h 286651"/>
              <a:gd name="connsiteX1" fmla="*/ 0 w 264511"/>
              <a:gd name="connsiteY1" fmla="*/ 286651 h 286651"/>
              <a:gd name="connsiteX2" fmla="*/ 140995 w 264511"/>
              <a:gd name="connsiteY2" fmla="*/ 144491 h 286651"/>
              <a:gd name="connsiteX3" fmla="*/ 0 w 264511"/>
              <a:gd name="connsiteY3" fmla="*/ 0 h 286651"/>
              <a:gd name="connsiteX4" fmla="*/ 123516 w 264511"/>
              <a:gd name="connsiteY4" fmla="*/ 0 h 286651"/>
              <a:gd name="connsiteX5" fmla="*/ 264511 w 264511"/>
              <a:gd name="connsiteY5" fmla="*/ 140995 h 286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1">
                <a:moveTo>
                  <a:pt x="121186" y="286651"/>
                </a:moveTo>
                <a:lnTo>
                  <a:pt x="0" y="286651"/>
                </a:lnTo>
                <a:lnTo>
                  <a:pt x="140995" y="144491"/>
                </a:lnTo>
                <a:lnTo>
                  <a:pt x="0" y="0"/>
                </a:lnTo>
                <a:lnTo>
                  <a:pt x="123516" y="0"/>
                </a:lnTo>
                <a:lnTo>
                  <a:pt x="264511" y="140995"/>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48" name="Freihandform: Form 47">
            <a:extLst>
              <a:ext uri="{FF2B5EF4-FFF2-40B4-BE49-F238E27FC236}">
                <a16:creationId xmlns:a16="http://schemas.microsoft.com/office/drawing/2014/main" id="{A91B802F-74C6-4FE5-ADA0-9CA6A6A9580C}"/>
              </a:ext>
            </a:extLst>
          </p:cNvPr>
          <p:cNvSpPr/>
          <p:nvPr userDrawn="1"/>
        </p:nvSpPr>
        <p:spPr>
          <a:xfrm>
            <a:off x="10108537" y="4805997"/>
            <a:ext cx="264511" cy="286651"/>
          </a:xfrm>
          <a:custGeom>
            <a:avLst/>
            <a:gdLst>
              <a:gd name="connsiteX0" fmla="*/ 121186 w 264511"/>
              <a:gd name="connsiteY0" fmla="*/ 286651 h 286651"/>
              <a:gd name="connsiteX1" fmla="*/ 0 w 264511"/>
              <a:gd name="connsiteY1" fmla="*/ 286651 h 286651"/>
              <a:gd name="connsiteX2" fmla="*/ 140995 w 264511"/>
              <a:gd name="connsiteY2" fmla="*/ 144491 h 286651"/>
              <a:gd name="connsiteX3" fmla="*/ 0 w 264511"/>
              <a:gd name="connsiteY3" fmla="*/ 0 h 286651"/>
              <a:gd name="connsiteX4" fmla="*/ 123516 w 264511"/>
              <a:gd name="connsiteY4" fmla="*/ 0 h 286651"/>
              <a:gd name="connsiteX5" fmla="*/ 264511 w 264511"/>
              <a:gd name="connsiteY5" fmla="*/ 139830 h 286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1">
                <a:moveTo>
                  <a:pt x="121186" y="286651"/>
                </a:moveTo>
                <a:lnTo>
                  <a:pt x="0" y="286651"/>
                </a:lnTo>
                <a:lnTo>
                  <a:pt x="140995" y="144491"/>
                </a:lnTo>
                <a:lnTo>
                  <a:pt x="0" y="0"/>
                </a:lnTo>
                <a:lnTo>
                  <a:pt x="123516" y="0"/>
                </a:lnTo>
                <a:lnTo>
                  <a:pt x="264511" y="139830"/>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49" name="Freihandform: Form 48">
            <a:extLst>
              <a:ext uri="{FF2B5EF4-FFF2-40B4-BE49-F238E27FC236}">
                <a16:creationId xmlns:a16="http://schemas.microsoft.com/office/drawing/2014/main" id="{6CF92DD3-54A0-4F52-BE35-389040C64EA5}"/>
              </a:ext>
            </a:extLst>
          </p:cNvPr>
          <p:cNvSpPr/>
          <p:nvPr userDrawn="1"/>
        </p:nvSpPr>
        <p:spPr>
          <a:xfrm>
            <a:off x="10108537" y="5160232"/>
            <a:ext cx="264511" cy="286651"/>
          </a:xfrm>
          <a:custGeom>
            <a:avLst/>
            <a:gdLst>
              <a:gd name="connsiteX0" fmla="*/ 121186 w 264511"/>
              <a:gd name="connsiteY0" fmla="*/ 286651 h 286651"/>
              <a:gd name="connsiteX1" fmla="*/ 0 w 264511"/>
              <a:gd name="connsiteY1" fmla="*/ 286651 h 286651"/>
              <a:gd name="connsiteX2" fmla="*/ 140995 w 264511"/>
              <a:gd name="connsiteY2" fmla="*/ 144491 h 286651"/>
              <a:gd name="connsiteX3" fmla="*/ 0 w 264511"/>
              <a:gd name="connsiteY3" fmla="*/ 0 h 286651"/>
              <a:gd name="connsiteX4" fmla="*/ 123516 w 264511"/>
              <a:gd name="connsiteY4" fmla="*/ 0 h 286651"/>
              <a:gd name="connsiteX5" fmla="*/ 264511 w 264511"/>
              <a:gd name="connsiteY5" fmla="*/ 140995 h 286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1">
                <a:moveTo>
                  <a:pt x="121186" y="286651"/>
                </a:moveTo>
                <a:lnTo>
                  <a:pt x="0" y="286651"/>
                </a:lnTo>
                <a:lnTo>
                  <a:pt x="140995" y="144491"/>
                </a:lnTo>
                <a:lnTo>
                  <a:pt x="0" y="0"/>
                </a:lnTo>
                <a:lnTo>
                  <a:pt x="123516" y="0"/>
                </a:lnTo>
                <a:lnTo>
                  <a:pt x="264511" y="140995"/>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50" name="Freihandform: Form 49">
            <a:extLst>
              <a:ext uri="{FF2B5EF4-FFF2-40B4-BE49-F238E27FC236}">
                <a16:creationId xmlns:a16="http://schemas.microsoft.com/office/drawing/2014/main" id="{2555E8DF-390D-4B36-A4CD-A2F037D187F8}"/>
              </a:ext>
            </a:extLst>
          </p:cNvPr>
          <p:cNvSpPr/>
          <p:nvPr userDrawn="1"/>
        </p:nvSpPr>
        <p:spPr>
          <a:xfrm>
            <a:off x="10108537" y="5515633"/>
            <a:ext cx="264511" cy="286651"/>
          </a:xfrm>
          <a:custGeom>
            <a:avLst/>
            <a:gdLst>
              <a:gd name="connsiteX0" fmla="*/ 121186 w 264511"/>
              <a:gd name="connsiteY0" fmla="*/ 286651 h 286651"/>
              <a:gd name="connsiteX1" fmla="*/ 0 w 264511"/>
              <a:gd name="connsiteY1" fmla="*/ 286651 h 286651"/>
              <a:gd name="connsiteX2" fmla="*/ 140995 w 264511"/>
              <a:gd name="connsiteY2" fmla="*/ 144491 h 286651"/>
              <a:gd name="connsiteX3" fmla="*/ 0 w 264511"/>
              <a:gd name="connsiteY3" fmla="*/ 0 h 286651"/>
              <a:gd name="connsiteX4" fmla="*/ 123516 w 264511"/>
              <a:gd name="connsiteY4" fmla="*/ 0 h 286651"/>
              <a:gd name="connsiteX5" fmla="*/ 264511 w 264511"/>
              <a:gd name="connsiteY5" fmla="*/ 140995 h 286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1">
                <a:moveTo>
                  <a:pt x="121186" y="286651"/>
                </a:moveTo>
                <a:lnTo>
                  <a:pt x="0" y="286651"/>
                </a:lnTo>
                <a:lnTo>
                  <a:pt x="140995" y="144491"/>
                </a:lnTo>
                <a:lnTo>
                  <a:pt x="0" y="0"/>
                </a:lnTo>
                <a:lnTo>
                  <a:pt x="123516" y="0"/>
                </a:lnTo>
                <a:lnTo>
                  <a:pt x="264511" y="140995"/>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51" name="Freihandform: Form 50">
            <a:extLst>
              <a:ext uri="{FF2B5EF4-FFF2-40B4-BE49-F238E27FC236}">
                <a16:creationId xmlns:a16="http://schemas.microsoft.com/office/drawing/2014/main" id="{D4FA121B-C71F-46CC-8F69-5BFFC12CB97F}"/>
              </a:ext>
            </a:extLst>
          </p:cNvPr>
          <p:cNvSpPr/>
          <p:nvPr userDrawn="1"/>
        </p:nvSpPr>
        <p:spPr>
          <a:xfrm>
            <a:off x="10108537" y="5869868"/>
            <a:ext cx="264511" cy="286650"/>
          </a:xfrm>
          <a:custGeom>
            <a:avLst/>
            <a:gdLst>
              <a:gd name="connsiteX0" fmla="*/ 121186 w 264511"/>
              <a:gd name="connsiteY0" fmla="*/ 286651 h 286650"/>
              <a:gd name="connsiteX1" fmla="*/ 0 w 264511"/>
              <a:gd name="connsiteY1" fmla="*/ 286651 h 286650"/>
              <a:gd name="connsiteX2" fmla="*/ 140995 w 264511"/>
              <a:gd name="connsiteY2" fmla="*/ 144491 h 286650"/>
              <a:gd name="connsiteX3" fmla="*/ 0 w 264511"/>
              <a:gd name="connsiteY3" fmla="*/ 0 h 286650"/>
              <a:gd name="connsiteX4" fmla="*/ 123516 w 264511"/>
              <a:gd name="connsiteY4" fmla="*/ 0 h 286650"/>
              <a:gd name="connsiteX5" fmla="*/ 264511 w 264511"/>
              <a:gd name="connsiteY5" fmla="*/ 140995 h 28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0">
                <a:moveTo>
                  <a:pt x="121186" y="286651"/>
                </a:moveTo>
                <a:lnTo>
                  <a:pt x="0" y="286651"/>
                </a:lnTo>
                <a:lnTo>
                  <a:pt x="140995" y="144491"/>
                </a:lnTo>
                <a:lnTo>
                  <a:pt x="0" y="0"/>
                </a:lnTo>
                <a:lnTo>
                  <a:pt x="123516" y="0"/>
                </a:lnTo>
                <a:lnTo>
                  <a:pt x="264511" y="140995"/>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52" name="Freihandform: Form 51">
            <a:extLst>
              <a:ext uri="{FF2B5EF4-FFF2-40B4-BE49-F238E27FC236}">
                <a16:creationId xmlns:a16="http://schemas.microsoft.com/office/drawing/2014/main" id="{B0FE5107-E518-48A3-83DE-B670A31CC989}"/>
              </a:ext>
            </a:extLst>
          </p:cNvPr>
          <p:cNvSpPr/>
          <p:nvPr userDrawn="1"/>
        </p:nvSpPr>
        <p:spPr>
          <a:xfrm>
            <a:off x="10108537" y="6225269"/>
            <a:ext cx="264511" cy="286650"/>
          </a:xfrm>
          <a:custGeom>
            <a:avLst/>
            <a:gdLst>
              <a:gd name="connsiteX0" fmla="*/ 121186 w 264511"/>
              <a:gd name="connsiteY0" fmla="*/ 286651 h 286650"/>
              <a:gd name="connsiteX1" fmla="*/ 0 w 264511"/>
              <a:gd name="connsiteY1" fmla="*/ 286651 h 286650"/>
              <a:gd name="connsiteX2" fmla="*/ 140995 w 264511"/>
              <a:gd name="connsiteY2" fmla="*/ 144491 h 286650"/>
              <a:gd name="connsiteX3" fmla="*/ 0 w 264511"/>
              <a:gd name="connsiteY3" fmla="*/ 0 h 286650"/>
              <a:gd name="connsiteX4" fmla="*/ 123516 w 264511"/>
              <a:gd name="connsiteY4" fmla="*/ 0 h 286650"/>
              <a:gd name="connsiteX5" fmla="*/ 264511 w 264511"/>
              <a:gd name="connsiteY5" fmla="*/ 140995 h 28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0">
                <a:moveTo>
                  <a:pt x="121186" y="286651"/>
                </a:moveTo>
                <a:lnTo>
                  <a:pt x="0" y="286651"/>
                </a:lnTo>
                <a:lnTo>
                  <a:pt x="140995" y="144491"/>
                </a:lnTo>
                <a:lnTo>
                  <a:pt x="0" y="0"/>
                </a:lnTo>
                <a:lnTo>
                  <a:pt x="123516" y="0"/>
                </a:lnTo>
                <a:lnTo>
                  <a:pt x="264511" y="140995"/>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53" name="Freihandform: Form 52">
            <a:extLst>
              <a:ext uri="{FF2B5EF4-FFF2-40B4-BE49-F238E27FC236}">
                <a16:creationId xmlns:a16="http://schemas.microsoft.com/office/drawing/2014/main" id="{7A366DEC-81B5-44A9-B5CF-6383C28D2A42}"/>
              </a:ext>
            </a:extLst>
          </p:cNvPr>
          <p:cNvSpPr/>
          <p:nvPr userDrawn="1"/>
        </p:nvSpPr>
        <p:spPr>
          <a:xfrm>
            <a:off x="4909201" y="2101456"/>
            <a:ext cx="16313" cy="17478"/>
          </a:xfrm>
          <a:custGeom>
            <a:avLst/>
            <a:gdLst>
              <a:gd name="connsiteX0" fmla="*/ 8157 w 16313"/>
              <a:gd name="connsiteY0" fmla="*/ 17479 h 17478"/>
              <a:gd name="connsiteX1" fmla="*/ 0 w 16313"/>
              <a:gd name="connsiteY1" fmla="*/ 17479 h 17478"/>
              <a:gd name="connsiteX2" fmla="*/ 9322 w 16313"/>
              <a:gd name="connsiteY2" fmla="*/ 8157 h 17478"/>
              <a:gd name="connsiteX3" fmla="*/ 0 w 16313"/>
              <a:gd name="connsiteY3" fmla="*/ 0 h 17478"/>
              <a:gd name="connsiteX4" fmla="*/ 8157 w 16313"/>
              <a:gd name="connsiteY4" fmla="*/ 0 h 17478"/>
              <a:gd name="connsiteX5" fmla="*/ 16313 w 16313"/>
              <a:gd name="connsiteY5" fmla="*/ 8157 h 17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13" h="17478">
                <a:moveTo>
                  <a:pt x="8157" y="17479"/>
                </a:moveTo>
                <a:lnTo>
                  <a:pt x="0" y="17479"/>
                </a:lnTo>
                <a:lnTo>
                  <a:pt x="9322" y="8157"/>
                </a:lnTo>
                <a:lnTo>
                  <a:pt x="0" y="0"/>
                </a:lnTo>
                <a:lnTo>
                  <a:pt x="8157" y="0"/>
                </a:lnTo>
                <a:lnTo>
                  <a:pt x="16313" y="8157"/>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54" name="Freihandform: Form 53">
            <a:extLst>
              <a:ext uri="{FF2B5EF4-FFF2-40B4-BE49-F238E27FC236}">
                <a16:creationId xmlns:a16="http://schemas.microsoft.com/office/drawing/2014/main" id="{0DDF4593-D746-4C36-B630-B6EAA339AF15}"/>
              </a:ext>
            </a:extLst>
          </p:cNvPr>
          <p:cNvSpPr/>
          <p:nvPr userDrawn="1"/>
        </p:nvSpPr>
        <p:spPr>
          <a:xfrm>
            <a:off x="4909201" y="2455692"/>
            <a:ext cx="16313" cy="18643"/>
          </a:xfrm>
          <a:custGeom>
            <a:avLst/>
            <a:gdLst>
              <a:gd name="connsiteX0" fmla="*/ 8157 w 16313"/>
              <a:gd name="connsiteY0" fmla="*/ 18644 h 18643"/>
              <a:gd name="connsiteX1" fmla="*/ 0 w 16313"/>
              <a:gd name="connsiteY1" fmla="*/ 18644 h 18643"/>
              <a:gd name="connsiteX2" fmla="*/ 9322 w 16313"/>
              <a:gd name="connsiteY2" fmla="*/ 9322 h 18643"/>
              <a:gd name="connsiteX3" fmla="*/ 0 w 16313"/>
              <a:gd name="connsiteY3" fmla="*/ 0 h 18643"/>
              <a:gd name="connsiteX4" fmla="*/ 8157 w 16313"/>
              <a:gd name="connsiteY4" fmla="*/ 0 h 18643"/>
              <a:gd name="connsiteX5" fmla="*/ 16313 w 16313"/>
              <a:gd name="connsiteY5" fmla="*/ 9322 h 18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13" h="18643">
                <a:moveTo>
                  <a:pt x="8157" y="18644"/>
                </a:moveTo>
                <a:lnTo>
                  <a:pt x="0" y="18644"/>
                </a:lnTo>
                <a:lnTo>
                  <a:pt x="9322" y="9322"/>
                </a:lnTo>
                <a:lnTo>
                  <a:pt x="0" y="0"/>
                </a:lnTo>
                <a:lnTo>
                  <a:pt x="8157" y="0"/>
                </a:lnTo>
                <a:lnTo>
                  <a:pt x="16313" y="9322"/>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55" name="Freihandform: Form 54">
            <a:extLst>
              <a:ext uri="{FF2B5EF4-FFF2-40B4-BE49-F238E27FC236}">
                <a16:creationId xmlns:a16="http://schemas.microsoft.com/office/drawing/2014/main" id="{D013ACD7-DBF1-4C9A-B114-7ABEE53868EE}"/>
              </a:ext>
            </a:extLst>
          </p:cNvPr>
          <p:cNvSpPr/>
          <p:nvPr userDrawn="1"/>
        </p:nvSpPr>
        <p:spPr>
          <a:xfrm>
            <a:off x="4909201" y="2811092"/>
            <a:ext cx="16313" cy="17478"/>
          </a:xfrm>
          <a:custGeom>
            <a:avLst/>
            <a:gdLst>
              <a:gd name="connsiteX0" fmla="*/ 8157 w 16313"/>
              <a:gd name="connsiteY0" fmla="*/ 17479 h 17478"/>
              <a:gd name="connsiteX1" fmla="*/ 0 w 16313"/>
              <a:gd name="connsiteY1" fmla="*/ 17479 h 17478"/>
              <a:gd name="connsiteX2" fmla="*/ 9322 w 16313"/>
              <a:gd name="connsiteY2" fmla="*/ 8157 h 17478"/>
              <a:gd name="connsiteX3" fmla="*/ 0 w 16313"/>
              <a:gd name="connsiteY3" fmla="*/ 0 h 17478"/>
              <a:gd name="connsiteX4" fmla="*/ 8157 w 16313"/>
              <a:gd name="connsiteY4" fmla="*/ 0 h 17478"/>
              <a:gd name="connsiteX5" fmla="*/ 16313 w 16313"/>
              <a:gd name="connsiteY5" fmla="*/ 8157 h 17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13" h="17478">
                <a:moveTo>
                  <a:pt x="8157" y="17479"/>
                </a:moveTo>
                <a:lnTo>
                  <a:pt x="0" y="17479"/>
                </a:lnTo>
                <a:lnTo>
                  <a:pt x="9322" y="8157"/>
                </a:lnTo>
                <a:lnTo>
                  <a:pt x="0" y="0"/>
                </a:lnTo>
                <a:lnTo>
                  <a:pt x="8157" y="0"/>
                </a:lnTo>
                <a:lnTo>
                  <a:pt x="16313" y="8157"/>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56" name="Freihandform: Form 55">
            <a:extLst>
              <a:ext uri="{FF2B5EF4-FFF2-40B4-BE49-F238E27FC236}">
                <a16:creationId xmlns:a16="http://schemas.microsoft.com/office/drawing/2014/main" id="{85132110-5BD5-46A5-8DE6-E70F699D0034}"/>
              </a:ext>
            </a:extLst>
          </p:cNvPr>
          <p:cNvSpPr/>
          <p:nvPr userDrawn="1"/>
        </p:nvSpPr>
        <p:spPr>
          <a:xfrm>
            <a:off x="4909201" y="6359273"/>
            <a:ext cx="16313" cy="18643"/>
          </a:xfrm>
          <a:custGeom>
            <a:avLst/>
            <a:gdLst>
              <a:gd name="connsiteX0" fmla="*/ 8157 w 16313"/>
              <a:gd name="connsiteY0" fmla="*/ 18644 h 18643"/>
              <a:gd name="connsiteX1" fmla="*/ 0 w 16313"/>
              <a:gd name="connsiteY1" fmla="*/ 18644 h 18643"/>
              <a:gd name="connsiteX2" fmla="*/ 9322 w 16313"/>
              <a:gd name="connsiteY2" fmla="*/ 9322 h 18643"/>
              <a:gd name="connsiteX3" fmla="*/ 0 w 16313"/>
              <a:gd name="connsiteY3" fmla="*/ 0 h 18643"/>
              <a:gd name="connsiteX4" fmla="*/ 8157 w 16313"/>
              <a:gd name="connsiteY4" fmla="*/ 0 h 18643"/>
              <a:gd name="connsiteX5" fmla="*/ 16313 w 16313"/>
              <a:gd name="connsiteY5" fmla="*/ 9322 h 18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13" h="18643">
                <a:moveTo>
                  <a:pt x="8157" y="18644"/>
                </a:moveTo>
                <a:lnTo>
                  <a:pt x="0" y="18644"/>
                </a:lnTo>
                <a:lnTo>
                  <a:pt x="9322" y="9322"/>
                </a:lnTo>
                <a:lnTo>
                  <a:pt x="0" y="0"/>
                </a:lnTo>
                <a:lnTo>
                  <a:pt x="8157" y="0"/>
                </a:lnTo>
                <a:lnTo>
                  <a:pt x="16313" y="9322"/>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57" name="Freihandform: Form 56">
            <a:extLst>
              <a:ext uri="{FF2B5EF4-FFF2-40B4-BE49-F238E27FC236}">
                <a16:creationId xmlns:a16="http://schemas.microsoft.com/office/drawing/2014/main" id="{CC6A1E08-2252-4D8C-A2EA-0991A4B18952}"/>
              </a:ext>
            </a:extLst>
          </p:cNvPr>
          <p:cNvSpPr/>
          <p:nvPr userDrawn="1"/>
        </p:nvSpPr>
        <p:spPr>
          <a:xfrm>
            <a:off x="4909201" y="6714673"/>
            <a:ext cx="16313" cy="17478"/>
          </a:xfrm>
          <a:custGeom>
            <a:avLst/>
            <a:gdLst>
              <a:gd name="connsiteX0" fmla="*/ 8157 w 16313"/>
              <a:gd name="connsiteY0" fmla="*/ 17479 h 17478"/>
              <a:gd name="connsiteX1" fmla="*/ 0 w 16313"/>
              <a:gd name="connsiteY1" fmla="*/ 17479 h 17478"/>
              <a:gd name="connsiteX2" fmla="*/ 9322 w 16313"/>
              <a:gd name="connsiteY2" fmla="*/ 8157 h 17478"/>
              <a:gd name="connsiteX3" fmla="*/ 0 w 16313"/>
              <a:gd name="connsiteY3" fmla="*/ 0 h 17478"/>
              <a:gd name="connsiteX4" fmla="*/ 8157 w 16313"/>
              <a:gd name="connsiteY4" fmla="*/ 0 h 17478"/>
              <a:gd name="connsiteX5" fmla="*/ 16313 w 16313"/>
              <a:gd name="connsiteY5" fmla="*/ 8157 h 17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13" h="17478">
                <a:moveTo>
                  <a:pt x="8157" y="17479"/>
                </a:moveTo>
                <a:lnTo>
                  <a:pt x="0" y="17479"/>
                </a:lnTo>
                <a:lnTo>
                  <a:pt x="9322" y="8157"/>
                </a:lnTo>
                <a:lnTo>
                  <a:pt x="0" y="0"/>
                </a:lnTo>
                <a:lnTo>
                  <a:pt x="8157" y="0"/>
                </a:lnTo>
                <a:lnTo>
                  <a:pt x="16313" y="8157"/>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58" name="Freihandform: Form 57">
            <a:extLst>
              <a:ext uri="{FF2B5EF4-FFF2-40B4-BE49-F238E27FC236}">
                <a16:creationId xmlns:a16="http://schemas.microsoft.com/office/drawing/2014/main" id="{94BACCAA-D139-4B98-995D-8186B64082DF}"/>
              </a:ext>
            </a:extLst>
          </p:cNvPr>
          <p:cNvSpPr/>
          <p:nvPr userDrawn="1"/>
        </p:nvSpPr>
        <p:spPr>
          <a:xfrm>
            <a:off x="5255279" y="2092134"/>
            <a:ext cx="33792" cy="36122"/>
          </a:xfrm>
          <a:custGeom>
            <a:avLst/>
            <a:gdLst>
              <a:gd name="connsiteX0" fmla="*/ 15148 w 33792"/>
              <a:gd name="connsiteY0" fmla="*/ 36123 h 36122"/>
              <a:gd name="connsiteX1" fmla="*/ 0 w 33792"/>
              <a:gd name="connsiteY1" fmla="*/ 36123 h 36122"/>
              <a:gd name="connsiteX2" fmla="*/ 18644 w 33792"/>
              <a:gd name="connsiteY2" fmla="*/ 17479 h 36122"/>
              <a:gd name="connsiteX3" fmla="*/ 0 w 33792"/>
              <a:gd name="connsiteY3" fmla="*/ 0 h 36122"/>
              <a:gd name="connsiteX4" fmla="*/ 16313 w 33792"/>
              <a:gd name="connsiteY4" fmla="*/ 0 h 36122"/>
              <a:gd name="connsiteX5" fmla="*/ 33792 w 33792"/>
              <a:gd name="connsiteY5" fmla="*/ 17479 h 3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92" h="36122">
                <a:moveTo>
                  <a:pt x="15148" y="36123"/>
                </a:moveTo>
                <a:lnTo>
                  <a:pt x="0" y="36123"/>
                </a:lnTo>
                <a:lnTo>
                  <a:pt x="18644" y="17479"/>
                </a:lnTo>
                <a:lnTo>
                  <a:pt x="0" y="0"/>
                </a:lnTo>
                <a:lnTo>
                  <a:pt x="16313" y="0"/>
                </a:lnTo>
                <a:lnTo>
                  <a:pt x="33792" y="17479"/>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59" name="Freihandform: Form 58">
            <a:extLst>
              <a:ext uri="{FF2B5EF4-FFF2-40B4-BE49-F238E27FC236}">
                <a16:creationId xmlns:a16="http://schemas.microsoft.com/office/drawing/2014/main" id="{0093645C-13D5-4F63-8A3E-38E98361FF6C}"/>
              </a:ext>
            </a:extLst>
          </p:cNvPr>
          <p:cNvSpPr/>
          <p:nvPr userDrawn="1"/>
        </p:nvSpPr>
        <p:spPr>
          <a:xfrm>
            <a:off x="5255279" y="2446370"/>
            <a:ext cx="33792" cy="36122"/>
          </a:xfrm>
          <a:custGeom>
            <a:avLst/>
            <a:gdLst>
              <a:gd name="connsiteX0" fmla="*/ 15148 w 33792"/>
              <a:gd name="connsiteY0" fmla="*/ 36123 h 36122"/>
              <a:gd name="connsiteX1" fmla="*/ 0 w 33792"/>
              <a:gd name="connsiteY1" fmla="*/ 36123 h 36122"/>
              <a:gd name="connsiteX2" fmla="*/ 18644 w 33792"/>
              <a:gd name="connsiteY2" fmla="*/ 18644 h 36122"/>
              <a:gd name="connsiteX3" fmla="*/ 0 w 33792"/>
              <a:gd name="connsiteY3" fmla="*/ 0 h 36122"/>
              <a:gd name="connsiteX4" fmla="*/ 16313 w 33792"/>
              <a:gd name="connsiteY4" fmla="*/ 0 h 36122"/>
              <a:gd name="connsiteX5" fmla="*/ 33792 w 33792"/>
              <a:gd name="connsiteY5" fmla="*/ 18644 h 3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92" h="36122">
                <a:moveTo>
                  <a:pt x="15148" y="36123"/>
                </a:moveTo>
                <a:lnTo>
                  <a:pt x="0" y="36123"/>
                </a:lnTo>
                <a:lnTo>
                  <a:pt x="18644" y="18644"/>
                </a:lnTo>
                <a:lnTo>
                  <a:pt x="0" y="0"/>
                </a:lnTo>
                <a:lnTo>
                  <a:pt x="16313" y="0"/>
                </a:lnTo>
                <a:lnTo>
                  <a:pt x="33792" y="18644"/>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60" name="Freihandform: Form 59">
            <a:extLst>
              <a:ext uri="{FF2B5EF4-FFF2-40B4-BE49-F238E27FC236}">
                <a16:creationId xmlns:a16="http://schemas.microsoft.com/office/drawing/2014/main" id="{00B06041-C102-4FF4-8E0B-FE020F6E04BE}"/>
              </a:ext>
            </a:extLst>
          </p:cNvPr>
          <p:cNvSpPr/>
          <p:nvPr userDrawn="1"/>
        </p:nvSpPr>
        <p:spPr>
          <a:xfrm>
            <a:off x="5255279" y="2801770"/>
            <a:ext cx="33792" cy="36122"/>
          </a:xfrm>
          <a:custGeom>
            <a:avLst/>
            <a:gdLst>
              <a:gd name="connsiteX0" fmla="*/ 15148 w 33792"/>
              <a:gd name="connsiteY0" fmla="*/ 36123 h 36122"/>
              <a:gd name="connsiteX1" fmla="*/ 0 w 33792"/>
              <a:gd name="connsiteY1" fmla="*/ 36123 h 36122"/>
              <a:gd name="connsiteX2" fmla="*/ 18644 w 33792"/>
              <a:gd name="connsiteY2" fmla="*/ 17479 h 36122"/>
              <a:gd name="connsiteX3" fmla="*/ 0 w 33792"/>
              <a:gd name="connsiteY3" fmla="*/ 0 h 36122"/>
              <a:gd name="connsiteX4" fmla="*/ 16313 w 33792"/>
              <a:gd name="connsiteY4" fmla="*/ 0 h 36122"/>
              <a:gd name="connsiteX5" fmla="*/ 33792 w 33792"/>
              <a:gd name="connsiteY5" fmla="*/ 17479 h 3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92" h="36122">
                <a:moveTo>
                  <a:pt x="15148" y="36123"/>
                </a:moveTo>
                <a:lnTo>
                  <a:pt x="0" y="36123"/>
                </a:lnTo>
                <a:lnTo>
                  <a:pt x="18644" y="17479"/>
                </a:lnTo>
                <a:lnTo>
                  <a:pt x="0" y="0"/>
                </a:lnTo>
                <a:lnTo>
                  <a:pt x="16313" y="0"/>
                </a:lnTo>
                <a:lnTo>
                  <a:pt x="33792" y="17479"/>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61" name="Freihandform: Form 60">
            <a:extLst>
              <a:ext uri="{FF2B5EF4-FFF2-40B4-BE49-F238E27FC236}">
                <a16:creationId xmlns:a16="http://schemas.microsoft.com/office/drawing/2014/main" id="{12C4F0CF-F0D2-4FAD-8079-4F1BCCF7EA94}"/>
              </a:ext>
            </a:extLst>
          </p:cNvPr>
          <p:cNvSpPr/>
          <p:nvPr userDrawn="1"/>
        </p:nvSpPr>
        <p:spPr>
          <a:xfrm>
            <a:off x="5255279" y="3156006"/>
            <a:ext cx="33792" cy="36122"/>
          </a:xfrm>
          <a:custGeom>
            <a:avLst/>
            <a:gdLst>
              <a:gd name="connsiteX0" fmla="*/ 15148 w 33792"/>
              <a:gd name="connsiteY0" fmla="*/ 36123 h 36122"/>
              <a:gd name="connsiteX1" fmla="*/ 0 w 33792"/>
              <a:gd name="connsiteY1" fmla="*/ 36123 h 36122"/>
              <a:gd name="connsiteX2" fmla="*/ 18644 w 33792"/>
              <a:gd name="connsiteY2" fmla="*/ 18644 h 36122"/>
              <a:gd name="connsiteX3" fmla="*/ 0 w 33792"/>
              <a:gd name="connsiteY3" fmla="*/ 0 h 36122"/>
              <a:gd name="connsiteX4" fmla="*/ 16313 w 33792"/>
              <a:gd name="connsiteY4" fmla="*/ 0 h 36122"/>
              <a:gd name="connsiteX5" fmla="*/ 33792 w 33792"/>
              <a:gd name="connsiteY5" fmla="*/ 18644 h 3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92" h="36122">
                <a:moveTo>
                  <a:pt x="15148" y="36123"/>
                </a:moveTo>
                <a:lnTo>
                  <a:pt x="0" y="36123"/>
                </a:lnTo>
                <a:lnTo>
                  <a:pt x="18644" y="18644"/>
                </a:lnTo>
                <a:lnTo>
                  <a:pt x="0" y="0"/>
                </a:lnTo>
                <a:lnTo>
                  <a:pt x="16313" y="0"/>
                </a:lnTo>
                <a:lnTo>
                  <a:pt x="33792" y="18644"/>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62" name="Freihandform: Form 61">
            <a:extLst>
              <a:ext uri="{FF2B5EF4-FFF2-40B4-BE49-F238E27FC236}">
                <a16:creationId xmlns:a16="http://schemas.microsoft.com/office/drawing/2014/main" id="{88F5DBA3-0519-4C40-BE84-F7879323096B}"/>
              </a:ext>
            </a:extLst>
          </p:cNvPr>
          <p:cNvSpPr/>
          <p:nvPr userDrawn="1"/>
        </p:nvSpPr>
        <p:spPr>
          <a:xfrm>
            <a:off x="5255279" y="5995715"/>
            <a:ext cx="33792" cy="36122"/>
          </a:xfrm>
          <a:custGeom>
            <a:avLst/>
            <a:gdLst>
              <a:gd name="connsiteX0" fmla="*/ 15148 w 33792"/>
              <a:gd name="connsiteY0" fmla="*/ 36123 h 36122"/>
              <a:gd name="connsiteX1" fmla="*/ 0 w 33792"/>
              <a:gd name="connsiteY1" fmla="*/ 36123 h 36122"/>
              <a:gd name="connsiteX2" fmla="*/ 18644 w 33792"/>
              <a:gd name="connsiteY2" fmla="*/ 17479 h 36122"/>
              <a:gd name="connsiteX3" fmla="*/ 0 w 33792"/>
              <a:gd name="connsiteY3" fmla="*/ 0 h 36122"/>
              <a:gd name="connsiteX4" fmla="*/ 16313 w 33792"/>
              <a:gd name="connsiteY4" fmla="*/ 0 h 36122"/>
              <a:gd name="connsiteX5" fmla="*/ 33792 w 33792"/>
              <a:gd name="connsiteY5" fmla="*/ 17479 h 3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92" h="36122">
                <a:moveTo>
                  <a:pt x="15148" y="36123"/>
                </a:moveTo>
                <a:lnTo>
                  <a:pt x="0" y="36123"/>
                </a:lnTo>
                <a:lnTo>
                  <a:pt x="18644" y="17479"/>
                </a:lnTo>
                <a:lnTo>
                  <a:pt x="0" y="0"/>
                </a:lnTo>
                <a:lnTo>
                  <a:pt x="16313" y="0"/>
                </a:lnTo>
                <a:lnTo>
                  <a:pt x="33792" y="17479"/>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63" name="Freihandform: Form 62">
            <a:extLst>
              <a:ext uri="{FF2B5EF4-FFF2-40B4-BE49-F238E27FC236}">
                <a16:creationId xmlns:a16="http://schemas.microsoft.com/office/drawing/2014/main" id="{EFE7A8C0-6860-40C6-A96A-CB1D694837BB}"/>
              </a:ext>
            </a:extLst>
          </p:cNvPr>
          <p:cNvSpPr/>
          <p:nvPr userDrawn="1"/>
        </p:nvSpPr>
        <p:spPr>
          <a:xfrm>
            <a:off x="5255279" y="6349950"/>
            <a:ext cx="33792" cy="36122"/>
          </a:xfrm>
          <a:custGeom>
            <a:avLst/>
            <a:gdLst>
              <a:gd name="connsiteX0" fmla="*/ 15148 w 33792"/>
              <a:gd name="connsiteY0" fmla="*/ 36123 h 36122"/>
              <a:gd name="connsiteX1" fmla="*/ 0 w 33792"/>
              <a:gd name="connsiteY1" fmla="*/ 36123 h 36122"/>
              <a:gd name="connsiteX2" fmla="*/ 18644 w 33792"/>
              <a:gd name="connsiteY2" fmla="*/ 18644 h 36122"/>
              <a:gd name="connsiteX3" fmla="*/ 0 w 33792"/>
              <a:gd name="connsiteY3" fmla="*/ 0 h 36122"/>
              <a:gd name="connsiteX4" fmla="*/ 16313 w 33792"/>
              <a:gd name="connsiteY4" fmla="*/ 0 h 36122"/>
              <a:gd name="connsiteX5" fmla="*/ 33792 w 33792"/>
              <a:gd name="connsiteY5" fmla="*/ 17479 h 3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92" h="36122">
                <a:moveTo>
                  <a:pt x="15148" y="36123"/>
                </a:moveTo>
                <a:lnTo>
                  <a:pt x="0" y="36123"/>
                </a:lnTo>
                <a:lnTo>
                  <a:pt x="18644" y="18644"/>
                </a:lnTo>
                <a:lnTo>
                  <a:pt x="0" y="0"/>
                </a:lnTo>
                <a:lnTo>
                  <a:pt x="16313" y="0"/>
                </a:lnTo>
                <a:lnTo>
                  <a:pt x="33792" y="17479"/>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64" name="Freihandform: Form 63">
            <a:extLst>
              <a:ext uri="{FF2B5EF4-FFF2-40B4-BE49-F238E27FC236}">
                <a16:creationId xmlns:a16="http://schemas.microsoft.com/office/drawing/2014/main" id="{DF7ECB85-3FCA-4568-A463-8ECC4322FE81}"/>
              </a:ext>
            </a:extLst>
          </p:cNvPr>
          <p:cNvSpPr/>
          <p:nvPr userDrawn="1"/>
        </p:nvSpPr>
        <p:spPr>
          <a:xfrm>
            <a:off x="5255279" y="6705351"/>
            <a:ext cx="33792" cy="36122"/>
          </a:xfrm>
          <a:custGeom>
            <a:avLst/>
            <a:gdLst>
              <a:gd name="connsiteX0" fmla="*/ 15148 w 33792"/>
              <a:gd name="connsiteY0" fmla="*/ 36123 h 36122"/>
              <a:gd name="connsiteX1" fmla="*/ 0 w 33792"/>
              <a:gd name="connsiteY1" fmla="*/ 36123 h 36122"/>
              <a:gd name="connsiteX2" fmla="*/ 18644 w 33792"/>
              <a:gd name="connsiteY2" fmla="*/ 17479 h 36122"/>
              <a:gd name="connsiteX3" fmla="*/ 0 w 33792"/>
              <a:gd name="connsiteY3" fmla="*/ 0 h 36122"/>
              <a:gd name="connsiteX4" fmla="*/ 16313 w 33792"/>
              <a:gd name="connsiteY4" fmla="*/ 0 h 36122"/>
              <a:gd name="connsiteX5" fmla="*/ 33792 w 33792"/>
              <a:gd name="connsiteY5" fmla="*/ 17479 h 3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92" h="36122">
                <a:moveTo>
                  <a:pt x="15148" y="36123"/>
                </a:moveTo>
                <a:lnTo>
                  <a:pt x="0" y="36123"/>
                </a:lnTo>
                <a:lnTo>
                  <a:pt x="18644" y="17479"/>
                </a:lnTo>
                <a:lnTo>
                  <a:pt x="0" y="0"/>
                </a:lnTo>
                <a:lnTo>
                  <a:pt x="16313" y="0"/>
                </a:lnTo>
                <a:lnTo>
                  <a:pt x="33792" y="17479"/>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65" name="Freihandform: Form 64">
            <a:extLst>
              <a:ext uri="{FF2B5EF4-FFF2-40B4-BE49-F238E27FC236}">
                <a16:creationId xmlns:a16="http://schemas.microsoft.com/office/drawing/2014/main" id="{55CFDAEB-DBD7-4527-953A-E9935BB5F3DD}"/>
              </a:ext>
            </a:extLst>
          </p:cNvPr>
          <p:cNvSpPr/>
          <p:nvPr userDrawn="1"/>
        </p:nvSpPr>
        <p:spPr>
          <a:xfrm>
            <a:off x="5602523" y="2082812"/>
            <a:ext cx="50105" cy="54766"/>
          </a:xfrm>
          <a:custGeom>
            <a:avLst/>
            <a:gdLst>
              <a:gd name="connsiteX0" fmla="*/ 22140 w 50105"/>
              <a:gd name="connsiteY0" fmla="*/ 54767 h 54766"/>
              <a:gd name="connsiteX1" fmla="*/ 0 w 50105"/>
              <a:gd name="connsiteY1" fmla="*/ 54767 h 54766"/>
              <a:gd name="connsiteX2" fmla="*/ 26801 w 50105"/>
              <a:gd name="connsiteY2" fmla="*/ 27966 h 54766"/>
              <a:gd name="connsiteX3" fmla="*/ 0 w 50105"/>
              <a:gd name="connsiteY3" fmla="*/ 0 h 54766"/>
              <a:gd name="connsiteX4" fmla="*/ 23305 w 50105"/>
              <a:gd name="connsiteY4" fmla="*/ 0 h 54766"/>
              <a:gd name="connsiteX5" fmla="*/ 50106 w 50105"/>
              <a:gd name="connsiteY5" fmla="*/ 26801 h 5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4765">
                <a:moveTo>
                  <a:pt x="22140" y="54767"/>
                </a:moveTo>
                <a:lnTo>
                  <a:pt x="0" y="54767"/>
                </a:lnTo>
                <a:lnTo>
                  <a:pt x="26801" y="27966"/>
                </a:lnTo>
                <a:lnTo>
                  <a:pt x="0" y="0"/>
                </a:lnTo>
                <a:lnTo>
                  <a:pt x="23305" y="0"/>
                </a:lnTo>
                <a:lnTo>
                  <a:pt x="50106" y="26801"/>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66" name="Freihandform: Form 65">
            <a:extLst>
              <a:ext uri="{FF2B5EF4-FFF2-40B4-BE49-F238E27FC236}">
                <a16:creationId xmlns:a16="http://schemas.microsoft.com/office/drawing/2014/main" id="{E95E513C-E5AB-407C-A18D-322174C27620}"/>
              </a:ext>
            </a:extLst>
          </p:cNvPr>
          <p:cNvSpPr/>
          <p:nvPr userDrawn="1"/>
        </p:nvSpPr>
        <p:spPr>
          <a:xfrm>
            <a:off x="5602523" y="2438213"/>
            <a:ext cx="50105" cy="53601"/>
          </a:xfrm>
          <a:custGeom>
            <a:avLst/>
            <a:gdLst>
              <a:gd name="connsiteX0" fmla="*/ 22140 w 50105"/>
              <a:gd name="connsiteY0" fmla="*/ 53601 h 53601"/>
              <a:gd name="connsiteX1" fmla="*/ 0 w 50105"/>
              <a:gd name="connsiteY1" fmla="*/ 53601 h 53601"/>
              <a:gd name="connsiteX2" fmla="*/ 26801 w 50105"/>
              <a:gd name="connsiteY2" fmla="*/ 26801 h 53601"/>
              <a:gd name="connsiteX3" fmla="*/ 0 w 50105"/>
              <a:gd name="connsiteY3" fmla="*/ 0 h 53601"/>
              <a:gd name="connsiteX4" fmla="*/ 23305 w 50105"/>
              <a:gd name="connsiteY4" fmla="*/ 0 h 53601"/>
              <a:gd name="connsiteX5" fmla="*/ 50106 w 50105"/>
              <a:gd name="connsiteY5" fmla="*/ 25635 h 53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3601">
                <a:moveTo>
                  <a:pt x="22140" y="53601"/>
                </a:moveTo>
                <a:lnTo>
                  <a:pt x="0" y="53601"/>
                </a:lnTo>
                <a:lnTo>
                  <a:pt x="26801" y="26801"/>
                </a:lnTo>
                <a:lnTo>
                  <a:pt x="0" y="0"/>
                </a:lnTo>
                <a:lnTo>
                  <a:pt x="23305" y="0"/>
                </a:lnTo>
                <a:lnTo>
                  <a:pt x="50106" y="25635"/>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67" name="Freihandform: Form 66">
            <a:extLst>
              <a:ext uri="{FF2B5EF4-FFF2-40B4-BE49-F238E27FC236}">
                <a16:creationId xmlns:a16="http://schemas.microsoft.com/office/drawing/2014/main" id="{565C6943-2549-42D1-AE14-9B5289B94FD2}"/>
              </a:ext>
            </a:extLst>
          </p:cNvPr>
          <p:cNvSpPr/>
          <p:nvPr userDrawn="1"/>
        </p:nvSpPr>
        <p:spPr>
          <a:xfrm>
            <a:off x="5602523" y="2792448"/>
            <a:ext cx="50105" cy="54766"/>
          </a:xfrm>
          <a:custGeom>
            <a:avLst/>
            <a:gdLst>
              <a:gd name="connsiteX0" fmla="*/ 22140 w 50105"/>
              <a:gd name="connsiteY0" fmla="*/ 54767 h 54766"/>
              <a:gd name="connsiteX1" fmla="*/ 0 w 50105"/>
              <a:gd name="connsiteY1" fmla="*/ 54767 h 54766"/>
              <a:gd name="connsiteX2" fmla="*/ 26801 w 50105"/>
              <a:gd name="connsiteY2" fmla="*/ 27966 h 54766"/>
              <a:gd name="connsiteX3" fmla="*/ 0 w 50105"/>
              <a:gd name="connsiteY3" fmla="*/ 0 h 54766"/>
              <a:gd name="connsiteX4" fmla="*/ 23305 w 50105"/>
              <a:gd name="connsiteY4" fmla="*/ 0 h 54766"/>
              <a:gd name="connsiteX5" fmla="*/ 50106 w 50105"/>
              <a:gd name="connsiteY5" fmla="*/ 26801 h 5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4765">
                <a:moveTo>
                  <a:pt x="22140" y="54767"/>
                </a:moveTo>
                <a:lnTo>
                  <a:pt x="0" y="54767"/>
                </a:lnTo>
                <a:lnTo>
                  <a:pt x="26801" y="27966"/>
                </a:lnTo>
                <a:lnTo>
                  <a:pt x="0" y="0"/>
                </a:lnTo>
                <a:lnTo>
                  <a:pt x="23305" y="0"/>
                </a:lnTo>
                <a:lnTo>
                  <a:pt x="50106" y="26801"/>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68" name="Freihandform: Form 67">
            <a:extLst>
              <a:ext uri="{FF2B5EF4-FFF2-40B4-BE49-F238E27FC236}">
                <a16:creationId xmlns:a16="http://schemas.microsoft.com/office/drawing/2014/main" id="{7C010397-420A-4A60-AF49-8E51FD05B3FB}"/>
              </a:ext>
            </a:extLst>
          </p:cNvPr>
          <p:cNvSpPr/>
          <p:nvPr userDrawn="1"/>
        </p:nvSpPr>
        <p:spPr>
          <a:xfrm>
            <a:off x="5602523" y="3147849"/>
            <a:ext cx="50105" cy="53601"/>
          </a:xfrm>
          <a:custGeom>
            <a:avLst/>
            <a:gdLst>
              <a:gd name="connsiteX0" fmla="*/ 22140 w 50105"/>
              <a:gd name="connsiteY0" fmla="*/ 53601 h 53601"/>
              <a:gd name="connsiteX1" fmla="*/ 0 w 50105"/>
              <a:gd name="connsiteY1" fmla="*/ 53601 h 53601"/>
              <a:gd name="connsiteX2" fmla="*/ 26801 w 50105"/>
              <a:gd name="connsiteY2" fmla="*/ 26801 h 53601"/>
              <a:gd name="connsiteX3" fmla="*/ 0 w 50105"/>
              <a:gd name="connsiteY3" fmla="*/ 0 h 53601"/>
              <a:gd name="connsiteX4" fmla="*/ 23305 w 50105"/>
              <a:gd name="connsiteY4" fmla="*/ 0 h 53601"/>
              <a:gd name="connsiteX5" fmla="*/ 50106 w 50105"/>
              <a:gd name="connsiteY5" fmla="*/ 26801 h 53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3601">
                <a:moveTo>
                  <a:pt x="22140" y="53601"/>
                </a:moveTo>
                <a:lnTo>
                  <a:pt x="0" y="53601"/>
                </a:lnTo>
                <a:lnTo>
                  <a:pt x="26801" y="26801"/>
                </a:lnTo>
                <a:lnTo>
                  <a:pt x="0" y="0"/>
                </a:lnTo>
                <a:lnTo>
                  <a:pt x="23305" y="0"/>
                </a:lnTo>
                <a:lnTo>
                  <a:pt x="50106" y="26801"/>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69" name="Freihandform: Form 68">
            <a:extLst>
              <a:ext uri="{FF2B5EF4-FFF2-40B4-BE49-F238E27FC236}">
                <a16:creationId xmlns:a16="http://schemas.microsoft.com/office/drawing/2014/main" id="{E4FEC3D8-B759-453B-8979-8DDBD6DC05B4}"/>
              </a:ext>
            </a:extLst>
          </p:cNvPr>
          <p:cNvSpPr/>
          <p:nvPr userDrawn="1"/>
        </p:nvSpPr>
        <p:spPr>
          <a:xfrm>
            <a:off x="5602523" y="3502084"/>
            <a:ext cx="50105" cy="54766"/>
          </a:xfrm>
          <a:custGeom>
            <a:avLst/>
            <a:gdLst>
              <a:gd name="connsiteX0" fmla="*/ 22140 w 50105"/>
              <a:gd name="connsiteY0" fmla="*/ 54767 h 54766"/>
              <a:gd name="connsiteX1" fmla="*/ 0 w 50105"/>
              <a:gd name="connsiteY1" fmla="*/ 54767 h 54766"/>
              <a:gd name="connsiteX2" fmla="*/ 26801 w 50105"/>
              <a:gd name="connsiteY2" fmla="*/ 27966 h 54766"/>
              <a:gd name="connsiteX3" fmla="*/ 0 w 50105"/>
              <a:gd name="connsiteY3" fmla="*/ 0 h 54766"/>
              <a:gd name="connsiteX4" fmla="*/ 23305 w 50105"/>
              <a:gd name="connsiteY4" fmla="*/ 0 h 54766"/>
              <a:gd name="connsiteX5" fmla="*/ 50106 w 50105"/>
              <a:gd name="connsiteY5" fmla="*/ 26801 h 5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4765">
                <a:moveTo>
                  <a:pt x="22140" y="54767"/>
                </a:moveTo>
                <a:lnTo>
                  <a:pt x="0" y="54767"/>
                </a:lnTo>
                <a:lnTo>
                  <a:pt x="26801" y="27966"/>
                </a:lnTo>
                <a:lnTo>
                  <a:pt x="0" y="0"/>
                </a:lnTo>
                <a:lnTo>
                  <a:pt x="23305" y="0"/>
                </a:lnTo>
                <a:lnTo>
                  <a:pt x="50106" y="26801"/>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70" name="Freihandform: Form 69">
            <a:extLst>
              <a:ext uri="{FF2B5EF4-FFF2-40B4-BE49-F238E27FC236}">
                <a16:creationId xmlns:a16="http://schemas.microsoft.com/office/drawing/2014/main" id="{1DF06340-9A41-4107-924D-A3AC1436BBB6}"/>
              </a:ext>
            </a:extLst>
          </p:cNvPr>
          <p:cNvSpPr/>
          <p:nvPr userDrawn="1"/>
        </p:nvSpPr>
        <p:spPr>
          <a:xfrm>
            <a:off x="5602523" y="5630993"/>
            <a:ext cx="50105" cy="54766"/>
          </a:xfrm>
          <a:custGeom>
            <a:avLst/>
            <a:gdLst>
              <a:gd name="connsiteX0" fmla="*/ 22140 w 50105"/>
              <a:gd name="connsiteY0" fmla="*/ 54766 h 54766"/>
              <a:gd name="connsiteX1" fmla="*/ 0 w 50105"/>
              <a:gd name="connsiteY1" fmla="*/ 54766 h 54766"/>
              <a:gd name="connsiteX2" fmla="*/ 26801 w 50105"/>
              <a:gd name="connsiteY2" fmla="*/ 27966 h 54766"/>
              <a:gd name="connsiteX3" fmla="*/ 0 w 50105"/>
              <a:gd name="connsiteY3" fmla="*/ 0 h 54766"/>
              <a:gd name="connsiteX4" fmla="*/ 23305 w 50105"/>
              <a:gd name="connsiteY4" fmla="*/ 0 h 54766"/>
              <a:gd name="connsiteX5" fmla="*/ 50106 w 50105"/>
              <a:gd name="connsiteY5" fmla="*/ 26801 h 5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4765">
                <a:moveTo>
                  <a:pt x="22140" y="54766"/>
                </a:moveTo>
                <a:lnTo>
                  <a:pt x="0" y="54766"/>
                </a:lnTo>
                <a:lnTo>
                  <a:pt x="26801" y="27966"/>
                </a:lnTo>
                <a:lnTo>
                  <a:pt x="0" y="0"/>
                </a:lnTo>
                <a:lnTo>
                  <a:pt x="23305" y="0"/>
                </a:lnTo>
                <a:lnTo>
                  <a:pt x="50106" y="26801"/>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71" name="Freihandform: Form 70">
            <a:extLst>
              <a:ext uri="{FF2B5EF4-FFF2-40B4-BE49-F238E27FC236}">
                <a16:creationId xmlns:a16="http://schemas.microsoft.com/office/drawing/2014/main" id="{479EF1ED-EB43-49AF-A2BC-D2E1EFF0A1A1}"/>
              </a:ext>
            </a:extLst>
          </p:cNvPr>
          <p:cNvSpPr/>
          <p:nvPr userDrawn="1"/>
        </p:nvSpPr>
        <p:spPr>
          <a:xfrm>
            <a:off x="5602523" y="5986393"/>
            <a:ext cx="50105" cy="54766"/>
          </a:xfrm>
          <a:custGeom>
            <a:avLst/>
            <a:gdLst>
              <a:gd name="connsiteX0" fmla="*/ 22140 w 50105"/>
              <a:gd name="connsiteY0" fmla="*/ 54766 h 54766"/>
              <a:gd name="connsiteX1" fmla="*/ 0 w 50105"/>
              <a:gd name="connsiteY1" fmla="*/ 54766 h 54766"/>
              <a:gd name="connsiteX2" fmla="*/ 26801 w 50105"/>
              <a:gd name="connsiteY2" fmla="*/ 26801 h 54766"/>
              <a:gd name="connsiteX3" fmla="*/ 0 w 50105"/>
              <a:gd name="connsiteY3" fmla="*/ 0 h 54766"/>
              <a:gd name="connsiteX4" fmla="*/ 23305 w 50105"/>
              <a:gd name="connsiteY4" fmla="*/ 0 h 54766"/>
              <a:gd name="connsiteX5" fmla="*/ 50106 w 50105"/>
              <a:gd name="connsiteY5" fmla="*/ 26801 h 5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4765">
                <a:moveTo>
                  <a:pt x="22140" y="54766"/>
                </a:moveTo>
                <a:lnTo>
                  <a:pt x="0" y="54766"/>
                </a:lnTo>
                <a:lnTo>
                  <a:pt x="26801" y="26801"/>
                </a:lnTo>
                <a:lnTo>
                  <a:pt x="0" y="0"/>
                </a:lnTo>
                <a:lnTo>
                  <a:pt x="23305" y="0"/>
                </a:lnTo>
                <a:lnTo>
                  <a:pt x="50106" y="26801"/>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72" name="Freihandform: Form 71">
            <a:extLst>
              <a:ext uri="{FF2B5EF4-FFF2-40B4-BE49-F238E27FC236}">
                <a16:creationId xmlns:a16="http://schemas.microsoft.com/office/drawing/2014/main" id="{4EBADFFA-C55F-4EA9-A6D5-D11C527E5FDF}"/>
              </a:ext>
            </a:extLst>
          </p:cNvPr>
          <p:cNvSpPr/>
          <p:nvPr userDrawn="1"/>
        </p:nvSpPr>
        <p:spPr>
          <a:xfrm>
            <a:off x="5602523" y="6340628"/>
            <a:ext cx="50105" cy="54766"/>
          </a:xfrm>
          <a:custGeom>
            <a:avLst/>
            <a:gdLst>
              <a:gd name="connsiteX0" fmla="*/ 22140 w 50105"/>
              <a:gd name="connsiteY0" fmla="*/ 54766 h 54766"/>
              <a:gd name="connsiteX1" fmla="*/ 0 w 50105"/>
              <a:gd name="connsiteY1" fmla="*/ 54766 h 54766"/>
              <a:gd name="connsiteX2" fmla="*/ 26801 w 50105"/>
              <a:gd name="connsiteY2" fmla="*/ 27966 h 54766"/>
              <a:gd name="connsiteX3" fmla="*/ 0 w 50105"/>
              <a:gd name="connsiteY3" fmla="*/ 0 h 54766"/>
              <a:gd name="connsiteX4" fmla="*/ 23305 w 50105"/>
              <a:gd name="connsiteY4" fmla="*/ 0 h 54766"/>
              <a:gd name="connsiteX5" fmla="*/ 50106 w 50105"/>
              <a:gd name="connsiteY5" fmla="*/ 26801 h 5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4765">
                <a:moveTo>
                  <a:pt x="22140" y="54766"/>
                </a:moveTo>
                <a:lnTo>
                  <a:pt x="0" y="54766"/>
                </a:lnTo>
                <a:lnTo>
                  <a:pt x="26801" y="27966"/>
                </a:lnTo>
                <a:lnTo>
                  <a:pt x="0" y="0"/>
                </a:lnTo>
                <a:lnTo>
                  <a:pt x="23305" y="0"/>
                </a:lnTo>
                <a:lnTo>
                  <a:pt x="50106" y="26801"/>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73" name="Freihandform: Form 72">
            <a:extLst>
              <a:ext uri="{FF2B5EF4-FFF2-40B4-BE49-F238E27FC236}">
                <a16:creationId xmlns:a16="http://schemas.microsoft.com/office/drawing/2014/main" id="{A1D4AA95-33DF-4713-9875-15C3CA5D19CD}"/>
              </a:ext>
            </a:extLst>
          </p:cNvPr>
          <p:cNvSpPr/>
          <p:nvPr userDrawn="1"/>
        </p:nvSpPr>
        <p:spPr>
          <a:xfrm>
            <a:off x="5602523" y="6696029"/>
            <a:ext cx="50105" cy="54766"/>
          </a:xfrm>
          <a:custGeom>
            <a:avLst/>
            <a:gdLst>
              <a:gd name="connsiteX0" fmla="*/ 22140 w 50105"/>
              <a:gd name="connsiteY0" fmla="*/ 54766 h 54766"/>
              <a:gd name="connsiteX1" fmla="*/ 0 w 50105"/>
              <a:gd name="connsiteY1" fmla="*/ 54766 h 54766"/>
              <a:gd name="connsiteX2" fmla="*/ 26801 w 50105"/>
              <a:gd name="connsiteY2" fmla="*/ 27966 h 54766"/>
              <a:gd name="connsiteX3" fmla="*/ 0 w 50105"/>
              <a:gd name="connsiteY3" fmla="*/ 0 h 54766"/>
              <a:gd name="connsiteX4" fmla="*/ 23305 w 50105"/>
              <a:gd name="connsiteY4" fmla="*/ 0 h 54766"/>
              <a:gd name="connsiteX5" fmla="*/ 50106 w 50105"/>
              <a:gd name="connsiteY5" fmla="*/ 26801 h 5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4765">
                <a:moveTo>
                  <a:pt x="22140" y="54766"/>
                </a:moveTo>
                <a:lnTo>
                  <a:pt x="0" y="54766"/>
                </a:lnTo>
                <a:lnTo>
                  <a:pt x="26801" y="27966"/>
                </a:lnTo>
                <a:lnTo>
                  <a:pt x="0" y="0"/>
                </a:lnTo>
                <a:lnTo>
                  <a:pt x="23305" y="0"/>
                </a:lnTo>
                <a:lnTo>
                  <a:pt x="50106" y="26801"/>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74" name="Freihandform: Form 73">
            <a:extLst>
              <a:ext uri="{FF2B5EF4-FFF2-40B4-BE49-F238E27FC236}">
                <a16:creationId xmlns:a16="http://schemas.microsoft.com/office/drawing/2014/main" id="{CE6264C8-5425-4E3A-A548-C9AA6D778127}"/>
              </a:ext>
            </a:extLst>
          </p:cNvPr>
          <p:cNvSpPr/>
          <p:nvPr userDrawn="1"/>
        </p:nvSpPr>
        <p:spPr>
          <a:xfrm>
            <a:off x="5948602" y="2073490"/>
            <a:ext cx="66419" cy="72245"/>
          </a:xfrm>
          <a:custGeom>
            <a:avLst/>
            <a:gdLst>
              <a:gd name="connsiteX0" fmla="*/ 30297 w 66419"/>
              <a:gd name="connsiteY0" fmla="*/ 72245 h 72245"/>
              <a:gd name="connsiteX1" fmla="*/ 0 w 66419"/>
              <a:gd name="connsiteY1" fmla="*/ 72245 h 72245"/>
              <a:gd name="connsiteX2" fmla="*/ 36123 w 66419"/>
              <a:gd name="connsiteY2" fmla="*/ 37288 h 72245"/>
              <a:gd name="connsiteX3" fmla="*/ 0 w 66419"/>
              <a:gd name="connsiteY3" fmla="*/ 0 h 72245"/>
              <a:gd name="connsiteX4" fmla="*/ 31462 w 66419"/>
              <a:gd name="connsiteY4" fmla="*/ 0 h 72245"/>
              <a:gd name="connsiteX5" fmla="*/ 66419 w 66419"/>
              <a:gd name="connsiteY5" fmla="*/ 36123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5"/>
                </a:moveTo>
                <a:lnTo>
                  <a:pt x="0" y="72245"/>
                </a:lnTo>
                <a:lnTo>
                  <a:pt x="36123" y="37288"/>
                </a:lnTo>
                <a:lnTo>
                  <a:pt x="0" y="0"/>
                </a:lnTo>
                <a:lnTo>
                  <a:pt x="31462" y="0"/>
                </a:lnTo>
                <a:lnTo>
                  <a:pt x="66419" y="36123"/>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75" name="Freihandform: Form 74">
            <a:extLst>
              <a:ext uri="{FF2B5EF4-FFF2-40B4-BE49-F238E27FC236}">
                <a16:creationId xmlns:a16="http://schemas.microsoft.com/office/drawing/2014/main" id="{A07C2689-5C4C-4685-8913-175D884BEA1B}"/>
              </a:ext>
            </a:extLst>
          </p:cNvPr>
          <p:cNvSpPr/>
          <p:nvPr userDrawn="1"/>
        </p:nvSpPr>
        <p:spPr>
          <a:xfrm>
            <a:off x="5948602" y="2428891"/>
            <a:ext cx="66419" cy="72245"/>
          </a:xfrm>
          <a:custGeom>
            <a:avLst/>
            <a:gdLst>
              <a:gd name="connsiteX0" fmla="*/ 30297 w 66419"/>
              <a:gd name="connsiteY0" fmla="*/ 72245 h 72245"/>
              <a:gd name="connsiteX1" fmla="*/ 0 w 66419"/>
              <a:gd name="connsiteY1" fmla="*/ 72245 h 72245"/>
              <a:gd name="connsiteX2" fmla="*/ 36123 w 66419"/>
              <a:gd name="connsiteY2" fmla="*/ 36123 h 72245"/>
              <a:gd name="connsiteX3" fmla="*/ 0 w 66419"/>
              <a:gd name="connsiteY3" fmla="*/ 0 h 72245"/>
              <a:gd name="connsiteX4" fmla="*/ 31462 w 66419"/>
              <a:gd name="connsiteY4" fmla="*/ 0 h 72245"/>
              <a:gd name="connsiteX5" fmla="*/ 66419 w 66419"/>
              <a:gd name="connsiteY5" fmla="*/ 34957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5"/>
                </a:moveTo>
                <a:lnTo>
                  <a:pt x="0" y="72245"/>
                </a:lnTo>
                <a:lnTo>
                  <a:pt x="36123" y="36123"/>
                </a:lnTo>
                <a:lnTo>
                  <a:pt x="0" y="0"/>
                </a:lnTo>
                <a:lnTo>
                  <a:pt x="31462" y="0"/>
                </a:lnTo>
                <a:lnTo>
                  <a:pt x="66419" y="34957"/>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76" name="Freihandform: Form 75">
            <a:extLst>
              <a:ext uri="{FF2B5EF4-FFF2-40B4-BE49-F238E27FC236}">
                <a16:creationId xmlns:a16="http://schemas.microsoft.com/office/drawing/2014/main" id="{7F63536F-018D-42F3-AD36-8539B6DB0E4D}"/>
              </a:ext>
            </a:extLst>
          </p:cNvPr>
          <p:cNvSpPr/>
          <p:nvPr userDrawn="1"/>
        </p:nvSpPr>
        <p:spPr>
          <a:xfrm>
            <a:off x="5948602" y="2783126"/>
            <a:ext cx="66419" cy="72245"/>
          </a:xfrm>
          <a:custGeom>
            <a:avLst/>
            <a:gdLst>
              <a:gd name="connsiteX0" fmla="*/ 30297 w 66419"/>
              <a:gd name="connsiteY0" fmla="*/ 72245 h 72245"/>
              <a:gd name="connsiteX1" fmla="*/ 0 w 66419"/>
              <a:gd name="connsiteY1" fmla="*/ 72245 h 72245"/>
              <a:gd name="connsiteX2" fmla="*/ 36123 w 66419"/>
              <a:gd name="connsiteY2" fmla="*/ 37288 h 72245"/>
              <a:gd name="connsiteX3" fmla="*/ 0 w 66419"/>
              <a:gd name="connsiteY3" fmla="*/ 0 h 72245"/>
              <a:gd name="connsiteX4" fmla="*/ 31462 w 66419"/>
              <a:gd name="connsiteY4" fmla="*/ 0 h 72245"/>
              <a:gd name="connsiteX5" fmla="*/ 66419 w 66419"/>
              <a:gd name="connsiteY5" fmla="*/ 36123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5"/>
                </a:moveTo>
                <a:lnTo>
                  <a:pt x="0" y="72245"/>
                </a:lnTo>
                <a:lnTo>
                  <a:pt x="36123" y="37288"/>
                </a:lnTo>
                <a:lnTo>
                  <a:pt x="0" y="0"/>
                </a:lnTo>
                <a:lnTo>
                  <a:pt x="31462" y="0"/>
                </a:lnTo>
                <a:lnTo>
                  <a:pt x="66419" y="36123"/>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77" name="Freihandform: Form 76">
            <a:extLst>
              <a:ext uri="{FF2B5EF4-FFF2-40B4-BE49-F238E27FC236}">
                <a16:creationId xmlns:a16="http://schemas.microsoft.com/office/drawing/2014/main" id="{E7A933C5-25F6-4FF6-9C37-E101566DF5D1}"/>
              </a:ext>
            </a:extLst>
          </p:cNvPr>
          <p:cNvSpPr/>
          <p:nvPr userDrawn="1"/>
        </p:nvSpPr>
        <p:spPr>
          <a:xfrm>
            <a:off x="5948602" y="3138527"/>
            <a:ext cx="66419" cy="72245"/>
          </a:xfrm>
          <a:custGeom>
            <a:avLst/>
            <a:gdLst>
              <a:gd name="connsiteX0" fmla="*/ 30297 w 66419"/>
              <a:gd name="connsiteY0" fmla="*/ 72245 h 72245"/>
              <a:gd name="connsiteX1" fmla="*/ 0 w 66419"/>
              <a:gd name="connsiteY1" fmla="*/ 72245 h 72245"/>
              <a:gd name="connsiteX2" fmla="*/ 36123 w 66419"/>
              <a:gd name="connsiteY2" fmla="*/ 36123 h 72245"/>
              <a:gd name="connsiteX3" fmla="*/ 0 w 66419"/>
              <a:gd name="connsiteY3" fmla="*/ 0 h 72245"/>
              <a:gd name="connsiteX4" fmla="*/ 31462 w 66419"/>
              <a:gd name="connsiteY4" fmla="*/ 0 h 72245"/>
              <a:gd name="connsiteX5" fmla="*/ 66419 w 66419"/>
              <a:gd name="connsiteY5" fmla="*/ 34957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5"/>
                </a:moveTo>
                <a:lnTo>
                  <a:pt x="0" y="72245"/>
                </a:lnTo>
                <a:lnTo>
                  <a:pt x="36123" y="36123"/>
                </a:lnTo>
                <a:lnTo>
                  <a:pt x="0" y="0"/>
                </a:lnTo>
                <a:lnTo>
                  <a:pt x="31462" y="0"/>
                </a:lnTo>
                <a:lnTo>
                  <a:pt x="66419" y="34957"/>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78" name="Freihandform: Form 77">
            <a:extLst>
              <a:ext uri="{FF2B5EF4-FFF2-40B4-BE49-F238E27FC236}">
                <a16:creationId xmlns:a16="http://schemas.microsoft.com/office/drawing/2014/main" id="{3C0F2D32-08D9-4D24-B13F-866983F22FDB}"/>
              </a:ext>
            </a:extLst>
          </p:cNvPr>
          <p:cNvSpPr/>
          <p:nvPr userDrawn="1"/>
        </p:nvSpPr>
        <p:spPr>
          <a:xfrm>
            <a:off x="5948602" y="3492762"/>
            <a:ext cx="66419" cy="73410"/>
          </a:xfrm>
          <a:custGeom>
            <a:avLst/>
            <a:gdLst>
              <a:gd name="connsiteX0" fmla="*/ 30297 w 66419"/>
              <a:gd name="connsiteY0" fmla="*/ 73411 h 73410"/>
              <a:gd name="connsiteX1" fmla="*/ 0 w 66419"/>
              <a:gd name="connsiteY1" fmla="*/ 73411 h 73410"/>
              <a:gd name="connsiteX2" fmla="*/ 36123 w 66419"/>
              <a:gd name="connsiteY2" fmla="*/ 37288 h 73410"/>
              <a:gd name="connsiteX3" fmla="*/ 0 w 66419"/>
              <a:gd name="connsiteY3" fmla="*/ 0 h 73410"/>
              <a:gd name="connsiteX4" fmla="*/ 31462 w 66419"/>
              <a:gd name="connsiteY4" fmla="*/ 0 h 73410"/>
              <a:gd name="connsiteX5" fmla="*/ 66419 w 66419"/>
              <a:gd name="connsiteY5" fmla="*/ 36123 h 73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3410">
                <a:moveTo>
                  <a:pt x="30297" y="73411"/>
                </a:moveTo>
                <a:lnTo>
                  <a:pt x="0" y="73411"/>
                </a:lnTo>
                <a:lnTo>
                  <a:pt x="36123" y="37288"/>
                </a:lnTo>
                <a:lnTo>
                  <a:pt x="0" y="0"/>
                </a:lnTo>
                <a:lnTo>
                  <a:pt x="31462" y="0"/>
                </a:lnTo>
                <a:lnTo>
                  <a:pt x="66419" y="36123"/>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79" name="Freihandform: Form 78">
            <a:extLst>
              <a:ext uri="{FF2B5EF4-FFF2-40B4-BE49-F238E27FC236}">
                <a16:creationId xmlns:a16="http://schemas.microsoft.com/office/drawing/2014/main" id="{B4D4817D-4731-42A5-93F4-FEB21866F9B4}"/>
              </a:ext>
            </a:extLst>
          </p:cNvPr>
          <p:cNvSpPr/>
          <p:nvPr userDrawn="1"/>
        </p:nvSpPr>
        <p:spPr>
          <a:xfrm>
            <a:off x="5948602" y="3848163"/>
            <a:ext cx="66419" cy="72245"/>
          </a:xfrm>
          <a:custGeom>
            <a:avLst/>
            <a:gdLst>
              <a:gd name="connsiteX0" fmla="*/ 30297 w 66419"/>
              <a:gd name="connsiteY0" fmla="*/ 72245 h 72245"/>
              <a:gd name="connsiteX1" fmla="*/ 0 w 66419"/>
              <a:gd name="connsiteY1" fmla="*/ 72245 h 72245"/>
              <a:gd name="connsiteX2" fmla="*/ 36123 w 66419"/>
              <a:gd name="connsiteY2" fmla="*/ 36123 h 72245"/>
              <a:gd name="connsiteX3" fmla="*/ 0 w 66419"/>
              <a:gd name="connsiteY3" fmla="*/ 0 h 72245"/>
              <a:gd name="connsiteX4" fmla="*/ 31462 w 66419"/>
              <a:gd name="connsiteY4" fmla="*/ 0 h 72245"/>
              <a:gd name="connsiteX5" fmla="*/ 66419 w 66419"/>
              <a:gd name="connsiteY5" fmla="*/ 34957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5"/>
                </a:moveTo>
                <a:lnTo>
                  <a:pt x="0" y="72245"/>
                </a:lnTo>
                <a:lnTo>
                  <a:pt x="36123" y="36123"/>
                </a:lnTo>
                <a:lnTo>
                  <a:pt x="0" y="0"/>
                </a:lnTo>
                <a:lnTo>
                  <a:pt x="31462" y="0"/>
                </a:lnTo>
                <a:lnTo>
                  <a:pt x="66419" y="34957"/>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80" name="Freihandform: Form 79">
            <a:extLst>
              <a:ext uri="{FF2B5EF4-FFF2-40B4-BE49-F238E27FC236}">
                <a16:creationId xmlns:a16="http://schemas.microsoft.com/office/drawing/2014/main" id="{3E3F5F79-7D12-4CE7-8ACA-54939A4C2D50}"/>
              </a:ext>
            </a:extLst>
          </p:cNvPr>
          <p:cNvSpPr/>
          <p:nvPr userDrawn="1"/>
        </p:nvSpPr>
        <p:spPr>
          <a:xfrm>
            <a:off x="5948602" y="5267435"/>
            <a:ext cx="66419" cy="72245"/>
          </a:xfrm>
          <a:custGeom>
            <a:avLst/>
            <a:gdLst>
              <a:gd name="connsiteX0" fmla="*/ 30297 w 66419"/>
              <a:gd name="connsiteY0" fmla="*/ 72246 h 72245"/>
              <a:gd name="connsiteX1" fmla="*/ 0 w 66419"/>
              <a:gd name="connsiteY1" fmla="*/ 72246 h 72245"/>
              <a:gd name="connsiteX2" fmla="*/ 36123 w 66419"/>
              <a:gd name="connsiteY2" fmla="*/ 36123 h 72245"/>
              <a:gd name="connsiteX3" fmla="*/ 0 w 66419"/>
              <a:gd name="connsiteY3" fmla="*/ 0 h 72245"/>
              <a:gd name="connsiteX4" fmla="*/ 31462 w 66419"/>
              <a:gd name="connsiteY4" fmla="*/ 0 h 72245"/>
              <a:gd name="connsiteX5" fmla="*/ 66419 w 66419"/>
              <a:gd name="connsiteY5" fmla="*/ 36123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6"/>
                </a:moveTo>
                <a:lnTo>
                  <a:pt x="0" y="72246"/>
                </a:lnTo>
                <a:lnTo>
                  <a:pt x="36123" y="36123"/>
                </a:lnTo>
                <a:lnTo>
                  <a:pt x="0" y="0"/>
                </a:lnTo>
                <a:lnTo>
                  <a:pt x="31462" y="0"/>
                </a:lnTo>
                <a:lnTo>
                  <a:pt x="66419" y="36123"/>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81" name="Freihandform: Form 80">
            <a:extLst>
              <a:ext uri="{FF2B5EF4-FFF2-40B4-BE49-F238E27FC236}">
                <a16:creationId xmlns:a16="http://schemas.microsoft.com/office/drawing/2014/main" id="{09523624-2DE9-4F81-884B-463B9D465ADB}"/>
              </a:ext>
            </a:extLst>
          </p:cNvPr>
          <p:cNvSpPr/>
          <p:nvPr userDrawn="1"/>
        </p:nvSpPr>
        <p:spPr>
          <a:xfrm>
            <a:off x="5948602" y="5622836"/>
            <a:ext cx="66419" cy="72245"/>
          </a:xfrm>
          <a:custGeom>
            <a:avLst/>
            <a:gdLst>
              <a:gd name="connsiteX0" fmla="*/ 30297 w 66419"/>
              <a:gd name="connsiteY0" fmla="*/ 72246 h 72245"/>
              <a:gd name="connsiteX1" fmla="*/ 0 w 66419"/>
              <a:gd name="connsiteY1" fmla="*/ 72246 h 72245"/>
              <a:gd name="connsiteX2" fmla="*/ 36123 w 66419"/>
              <a:gd name="connsiteY2" fmla="*/ 36123 h 72245"/>
              <a:gd name="connsiteX3" fmla="*/ 0 w 66419"/>
              <a:gd name="connsiteY3" fmla="*/ 0 h 72245"/>
              <a:gd name="connsiteX4" fmla="*/ 31462 w 66419"/>
              <a:gd name="connsiteY4" fmla="*/ 0 h 72245"/>
              <a:gd name="connsiteX5" fmla="*/ 66419 w 66419"/>
              <a:gd name="connsiteY5" fmla="*/ 34957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6"/>
                </a:moveTo>
                <a:lnTo>
                  <a:pt x="0" y="72246"/>
                </a:lnTo>
                <a:lnTo>
                  <a:pt x="36123" y="36123"/>
                </a:lnTo>
                <a:lnTo>
                  <a:pt x="0" y="0"/>
                </a:lnTo>
                <a:lnTo>
                  <a:pt x="31462" y="0"/>
                </a:lnTo>
                <a:lnTo>
                  <a:pt x="66419" y="34957"/>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82" name="Freihandform: Form 81">
            <a:extLst>
              <a:ext uri="{FF2B5EF4-FFF2-40B4-BE49-F238E27FC236}">
                <a16:creationId xmlns:a16="http://schemas.microsoft.com/office/drawing/2014/main" id="{3BAE2ECB-E3DE-400C-B547-EABFEB22B3BC}"/>
              </a:ext>
            </a:extLst>
          </p:cNvPr>
          <p:cNvSpPr/>
          <p:nvPr userDrawn="1"/>
        </p:nvSpPr>
        <p:spPr>
          <a:xfrm>
            <a:off x="5948602" y="5977071"/>
            <a:ext cx="66419" cy="72245"/>
          </a:xfrm>
          <a:custGeom>
            <a:avLst/>
            <a:gdLst>
              <a:gd name="connsiteX0" fmla="*/ 30297 w 66419"/>
              <a:gd name="connsiteY0" fmla="*/ 72246 h 72245"/>
              <a:gd name="connsiteX1" fmla="*/ 0 w 66419"/>
              <a:gd name="connsiteY1" fmla="*/ 72246 h 72245"/>
              <a:gd name="connsiteX2" fmla="*/ 36123 w 66419"/>
              <a:gd name="connsiteY2" fmla="*/ 36123 h 72245"/>
              <a:gd name="connsiteX3" fmla="*/ 0 w 66419"/>
              <a:gd name="connsiteY3" fmla="*/ 0 h 72245"/>
              <a:gd name="connsiteX4" fmla="*/ 31462 w 66419"/>
              <a:gd name="connsiteY4" fmla="*/ 0 h 72245"/>
              <a:gd name="connsiteX5" fmla="*/ 66419 w 66419"/>
              <a:gd name="connsiteY5" fmla="*/ 36123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6"/>
                </a:moveTo>
                <a:lnTo>
                  <a:pt x="0" y="72246"/>
                </a:lnTo>
                <a:lnTo>
                  <a:pt x="36123" y="36123"/>
                </a:lnTo>
                <a:lnTo>
                  <a:pt x="0" y="0"/>
                </a:lnTo>
                <a:lnTo>
                  <a:pt x="31462" y="0"/>
                </a:lnTo>
                <a:lnTo>
                  <a:pt x="66419" y="36123"/>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83" name="Freihandform: Form 82">
            <a:extLst>
              <a:ext uri="{FF2B5EF4-FFF2-40B4-BE49-F238E27FC236}">
                <a16:creationId xmlns:a16="http://schemas.microsoft.com/office/drawing/2014/main" id="{E9BDDA1E-32EC-47ED-83F5-8663595C5D80}"/>
              </a:ext>
            </a:extLst>
          </p:cNvPr>
          <p:cNvSpPr/>
          <p:nvPr userDrawn="1"/>
        </p:nvSpPr>
        <p:spPr>
          <a:xfrm>
            <a:off x="5948602" y="6332472"/>
            <a:ext cx="66419" cy="72245"/>
          </a:xfrm>
          <a:custGeom>
            <a:avLst/>
            <a:gdLst>
              <a:gd name="connsiteX0" fmla="*/ 30297 w 66419"/>
              <a:gd name="connsiteY0" fmla="*/ 72246 h 72245"/>
              <a:gd name="connsiteX1" fmla="*/ 0 w 66419"/>
              <a:gd name="connsiteY1" fmla="*/ 72246 h 72245"/>
              <a:gd name="connsiteX2" fmla="*/ 36123 w 66419"/>
              <a:gd name="connsiteY2" fmla="*/ 36123 h 72245"/>
              <a:gd name="connsiteX3" fmla="*/ 0 w 66419"/>
              <a:gd name="connsiteY3" fmla="*/ 0 h 72245"/>
              <a:gd name="connsiteX4" fmla="*/ 31462 w 66419"/>
              <a:gd name="connsiteY4" fmla="*/ 0 h 72245"/>
              <a:gd name="connsiteX5" fmla="*/ 66419 w 66419"/>
              <a:gd name="connsiteY5" fmla="*/ 34957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6"/>
                </a:moveTo>
                <a:lnTo>
                  <a:pt x="0" y="72246"/>
                </a:lnTo>
                <a:lnTo>
                  <a:pt x="36123" y="36123"/>
                </a:lnTo>
                <a:lnTo>
                  <a:pt x="0" y="0"/>
                </a:lnTo>
                <a:lnTo>
                  <a:pt x="31462" y="0"/>
                </a:lnTo>
                <a:lnTo>
                  <a:pt x="66419" y="34957"/>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84" name="Freihandform: Form 83">
            <a:extLst>
              <a:ext uri="{FF2B5EF4-FFF2-40B4-BE49-F238E27FC236}">
                <a16:creationId xmlns:a16="http://schemas.microsoft.com/office/drawing/2014/main" id="{34862F86-A4AC-48CD-AAD4-1A755DE57E66}"/>
              </a:ext>
            </a:extLst>
          </p:cNvPr>
          <p:cNvSpPr/>
          <p:nvPr userDrawn="1"/>
        </p:nvSpPr>
        <p:spPr>
          <a:xfrm>
            <a:off x="5948602" y="6686707"/>
            <a:ext cx="66419" cy="72245"/>
          </a:xfrm>
          <a:custGeom>
            <a:avLst/>
            <a:gdLst>
              <a:gd name="connsiteX0" fmla="*/ 30297 w 66419"/>
              <a:gd name="connsiteY0" fmla="*/ 72246 h 72245"/>
              <a:gd name="connsiteX1" fmla="*/ 0 w 66419"/>
              <a:gd name="connsiteY1" fmla="*/ 72246 h 72245"/>
              <a:gd name="connsiteX2" fmla="*/ 36123 w 66419"/>
              <a:gd name="connsiteY2" fmla="*/ 37288 h 72245"/>
              <a:gd name="connsiteX3" fmla="*/ 0 w 66419"/>
              <a:gd name="connsiteY3" fmla="*/ 0 h 72245"/>
              <a:gd name="connsiteX4" fmla="*/ 31462 w 66419"/>
              <a:gd name="connsiteY4" fmla="*/ 0 h 72245"/>
              <a:gd name="connsiteX5" fmla="*/ 66419 w 66419"/>
              <a:gd name="connsiteY5" fmla="*/ 36123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6"/>
                </a:moveTo>
                <a:lnTo>
                  <a:pt x="0" y="72246"/>
                </a:lnTo>
                <a:lnTo>
                  <a:pt x="36123" y="37288"/>
                </a:lnTo>
                <a:lnTo>
                  <a:pt x="0" y="0"/>
                </a:lnTo>
                <a:lnTo>
                  <a:pt x="31462" y="0"/>
                </a:lnTo>
                <a:lnTo>
                  <a:pt x="66419" y="36123"/>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85" name="Freihandform: Form 84">
            <a:extLst>
              <a:ext uri="{FF2B5EF4-FFF2-40B4-BE49-F238E27FC236}">
                <a16:creationId xmlns:a16="http://schemas.microsoft.com/office/drawing/2014/main" id="{43B1BD14-6A10-4145-BB1B-CDB6A7D8D805}"/>
              </a:ext>
            </a:extLst>
          </p:cNvPr>
          <p:cNvSpPr/>
          <p:nvPr userDrawn="1"/>
        </p:nvSpPr>
        <p:spPr>
          <a:xfrm>
            <a:off x="6294680" y="2064168"/>
            <a:ext cx="83897" cy="90889"/>
          </a:xfrm>
          <a:custGeom>
            <a:avLst/>
            <a:gdLst>
              <a:gd name="connsiteX0" fmla="*/ 38453 w 83897"/>
              <a:gd name="connsiteY0" fmla="*/ 90889 h 90889"/>
              <a:gd name="connsiteX1" fmla="*/ 0 w 83897"/>
              <a:gd name="connsiteY1" fmla="*/ 90889 h 90889"/>
              <a:gd name="connsiteX2" fmla="*/ 45445 w 83897"/>
              <a:gd name="connsiteY2" fmla="*/ 46610 h 90889"/>
              <a:gd name="connsiteX3" fmla="*/ 0 w 83897"/>
              <a:gd name="connsiteY3" fmla="*/ 0 h 90889"/>
              <a:gd name="connsiteX4" fmla="*/ 39618 w 83897"/>
              <a:gd name="connsiteY4" fmla="*/ 0 h 90889"/>
              <a:gd name="connsiteX5" fmla="*/ 83898 w 83897"/>
              <a:gd name="connsiteY5" fmla="*/ 45445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6610"/>
                </a:lnTo>
                <a:lnTo>
                  <a:pt x="0" y="0"/>
                </a:lnTo>
                <a:lnTo>
                  <a:pt x="39618" y="0"/>
                </a:lnTo>
                <a:lnTo>
                  <a:pt x="83898" y="45445"/>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86" name="Freihandform: Form 85">
            <a:extLst>
              <a:ext uri="{FF2B5EF4-FFF2-40B4-BE49-F238E27FC236}">
                <a16:creationId xmlns:a16="http://schemas.microsoft.com/office/drawing/2014/main" id="{61EE4211-85B6-4562-85BA-F22F3E20DD29}"/>
              </a:ext>
            </a:extLst>
          </p:cNvPr>
          <p:cNvSpPr/>
          <p:nvPr userDrawn="1"/>
        </p:nvSpPr>
        <p:spPr>
          <a:xfrm>
            <a:off x="6294680" y="2419569"/>
            <a:ext cx="83897" cy="90889"/>
          </a:xfrm>
          <a:custGeom>
            <a:avLst/>
            <a:gdLst>
              <a:gd name="connsiteX0" fmla="*/ 38453 w 83897"/>
              <a:gd name="connsiteY0" fmla="*/ 90889 h 90889"/>
              <a:gd name="connsiteX1" fmla="*/ 0 w 83897"/>
              <a:gd name="connsiteY1" fmla="*/ 90889 h 90889"/>
              <a:gd name="connsiteX2" fmla="*/ 45445 w 83897"/>
              <a:gd name="connsiteY2" fmla="*/ 45445 h 90889"/>
              <a:gd name="connsiteX3" fmla="*/ 0 w 83897"/>
              <a:gd name="connsiteY3" fmla="*/ 0 h 90889"/>
              <a:gd name="connsiteX4" fmla="*/ 39618 w 83897"/>
              <a:gd name="connsiteY4" fmla="*/ 0 h 90889"/>
              <a:gd name="connsiteX5" fmla="*/ 83898 w 83897"/>
              <a:gd name="connsiteY5" fmla="*/ 44279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5445"/>
                </a:lnTo>
                <a:lnTo>
                  <a:pt x="0" y="0"/>
                </a:lnTo>
                <a:lnTo>
                  <a:pt x="39618" y="0"/>
                </a:lnTo>
                <a:lnTo>
                  <a:pt x="83898" y="44279"/>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87" name="Freihandform: Form 86">
            <a:extLst>
              <a:ext uri="{FF2B5EF4-FFF2-40B4-BE49-F238E27FC236}">
                <a16:creationId xmlns:a16="http://schemas.microsoft.com/office/drawing/2014/main" id="{536DCCBC-D96D-4A02-BBC2-19048F080316}"/>
              </a:ext>
            </a:extLst>
          </p:cNvPr>
          <p:cNvSpPr/>
          <p:nvPr userDrawn="1"/>
        </p:nvSpPr>
        <p:spPr>
          <a:xfrm>
            <a:off x="6294680" y="2773804"/>
            <a:ext cx="83897" cy="90889"/>
          </a:xfrm>
          <a:custGeom>
            <a:avLst/>
            <a:gdLst>
              <a:gd name="connsiteX0" fmla="*/ 38453 w 83897"/>
              <a:gd name="connsiteY0" fmla="*/ 90889 h 90889"/>
              <a:gd name="connsiteX1" fmla="*/ 0 w 83897"/>
              <a:gd name="connsiteY1" fmla="*/ 90889 h 90889"/>
              <a:gd name="connsiteX2" fmla="*/ 45445 w 83897"/>
              <a:gd name="connsiteY2" fmla="*/ 46610 h 90889"/>
              <a:gd name="connsiteX3" fmla="*/ 0 w 83897"/>
              <a:gd name="connsiteY3" fmla="*/ 0 h 90889"/>
              <a:gd name="connsiteX4" fmla="*/ 39618 w 83897"/>
              <a:gd name="connsiteY4" fmla="*/ 0 h 90889"/>
              <a:gd name="connsiteX5" fmla="*/ 83898 w 83897"/>
              <a:gd name="connsiteY5" fmla="*/ 45445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6610"/>
                </a:lnTo>
                <a:lnTo>
                  <a:pt x="0" y="0"/>
                </a:lnTo>
                <a:lnTo>
                  <a:pt x="39618" y="0"/>
                </a:lnTo>
                <a:lnTo>
                  <a:pt x="83898" y="45445"/>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88" name="Freihandform: Form 87">
            <a:extLst>
              <a:ext uri="{FF2B5EF4-FFF2-40B4-BE49-F238E27FC236}">
                <a16:creationId xmlns:a16="http://schemas.microsoft.com/office/drawing/2014/main" id="{63BBE0F9-E7FF-4681-A20D-D7D1BA2BDB25}"/>
              </a:ext>
            </a:extLst>
          </p:cNvPr>
          <p:cNvSpPr/>
          <p:nvPr userDrawn="1"/>
        </p:nvSpPr>
        <p:spPr>
          <a:xfrm>
            <a:off x="6294680" y="3129205"/>
            <a:ext cx="83897" cy="90889"/>
          </a:xfrm>
          <a:custGeom>
            <a:avLst/>
            <a:gdLst>
              <a:gd name="connsiteX0" fmla="*/ 38453 w 83897"/>
              <a:gd name="connsiteY0" fmla="*/ 90889 h 90889"/>
              <a:gd name="connsiteX1" fmla="*/ 0 w 83897"/>
              <a:gd name="connsiteY1" fmla="*/ 90889 h 90889"/>
              <a:gd name="connsiteX2" fmla="*/ 45445 w 83897"/>
              <a:gd name="connsiteY2" fmla="*/ 45445 h 90889"/>
              <a:gd name="connsiteX3" fmla="*/ 0 w 83897"/>
              <a:gd name="connsiteY3" fmla="*/ 0 h 90889"/>
              <a:gd name="connsiteX4" fmla="*/ 39618 w 83897"/>
              <a:gd name="connsiteY4" fmla="*/ 0 h 90889"/>
              <a:gd name="connsiteX5" fmla="*/ 83898 w 83897"/>
              <a:gd name="connsiteY5" fmla="*/ 44279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5445"/>
                </a:lnTo>
                <a:lnTo>
                  <a:pt x="0" y="0"/>
                </a:lnTo>
                <a:lnTo>
                  <a:pt x="39618" y="0"/>
                </a:lnTo>
                <a:lnTo>
                  <a:pt x="83898" y="44279"/>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89" name="Freihandform: Form 88">
            <a:extLst>
              <a:ext uri="{FF2B5EF4-FFF2-40B4-BE49-F238E27FC236}">
                <a16:creationId xmlns:a16="http://schemas.microsoft.com/office/drawing/2014/main" id="{C44F9E79-A576-493A-95C8-9591C8CE0124}"/>
              </a:ext>
            </a:extLst>
          </p:cNvPr>
          <p:cNvSpPr/>
          <p:nvPr userDrawn="1"/>
        </p:nvSpPr>
        <p:spPr>
          <a:xfrm>
            <a:off x="6294680" y="3484606"/>
            <a:ext cx="83897" cy="89724"/>
          </a:xfrm>
          <a:custGeom>
            <a:avLst/>
            <a:gdLst>
              <a:gd name="connsiteX0" fmla="*/ 38453 w 83897"/>
              <a:gd name="connsiteY0" fmla="*/ 89724 h 89724"/>
              <a:gd name="connsiteX1" fmla="*/ 0 w 83897"/>
              <a:gd name="connsiteY1" fmla="*/ 89724 h 89724"/>
              <a:gd name="connsiteX2" fmla="*/ 45445 w 83897"/>
              <a:gd name="connsiteY2" fmla="*/ 45445 h 89724"/>
              <a:gd name="connsiteX3" fmla="*/ 0 w 83897"/>
              <a:gd name="connsiteY3" fmla="*/ 0 h 89724"/>
              <a:gd name="connsiteX4" fmla="*/ 39618 w 83897"/>
              <a:gd name="connsiteY4" fmla="*/ 0 h 89724"/>
              <a:gd name="connsiteX5" fmla="*/ 83898 w 83897"/>
              <a:gd name="connsiteY5" fmla="*/ 44279 h 89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89724">
                <a:moveTo>
                  <a:pt x="38453" y="89724"/>
                </a:moveTo>
                <a:lnTo>
                  <a:pt x="0" y="89724"/>
                </a:lnTo>
                <a:lnTo>
                  <a:pt x="45445" y="45445"/>
                </a:lnTo>
                <a:lnTo>
                  <a:pt x="0" y="0"/>
                </a:lnTo>
                <a:lnTo>
                  <a:pt x="39618" y="0"/>
                </a:lnTo>
                <a:lnTo>
                  <a:pt x="83898" y="44279"/>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90" name="Freihandform: Form 89">
            <a:extLst>
              <a:ext uri="{FF2B5EF4-FFF2-40B4-BE49-F238E27FC236}">
                <a16:creationId xmlns:a16="http://schemas.microsoft.com/office/drawing/2014/main" id="{1D71A084-7CCC-4C7B-9280-B2E067745881}"/>
              </a:ext>
            </a:extLst>
          </p:cNvPr>
          <p:cNvSpPr/>
          <p:nvPr userDrawn="1"/>
        </p:nvSpPr>
        <p:spPr>
          <a:xfrm>
            <a:off x="6294680" y="3838841"/>
            <a:ext cx="83897" cy="90889"/>
          </a:xfrm>
          <a:custGeom>
            <a:avLst/>
            <a:gdLst>
              <a:gd name="connsiteX0" fmla="*/ 38453 w 83897"/>
              <a:gd name="connsiteY0" fmla="*/ 90889 h 90889"/>
              <a:gd name="connsiteX1" fmla="*/ 0 w 83897"/>
              <a:gd name="connsiteY1" fmla="*/ 90889 h 90889"/>
              <a:gd name="connsiteX2" fmla="*/ 45445 w 83897"/>
              <a:gd name="connsiteY2" fmla="*/ 45445 h 90889"/>
              <a:gd name="connsiteX3" fmla="*/ 0 w 83897"/>
              <a:gd name="connsiteY3" fmla="*/ 0 h 90889"/>
              <a:gd name="connsiteX4" fmla="*/ 39618 w 83897"/>
              <a:gd name="connsiteY4" fmla="*/ 0 h 90889"/>
              <a:gd name="connsiteX5" fmla="*/ 83898 w 83897"/>
              <a:gd name="connsiteY5" fmla="*/ 44279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5445"/>
                </a:lnTo>
                <a:lnTo>
                  <a:pt x="0" y="0"/>
                </a:lnTo>
                <a:lnTo>
                  <a:pt x="39618" y="0"/>
                </a:lnTo>
                <a:lnTo>
                  <a:pt x="83898" y="44279"/>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91" name="Freihandform: Form 90">
            <a:extLst>
              <a:ext uri="{FF2B5EF4-FFF2-40B4-BE49-F238E27FC236}">
                <a16:creationId xmlns:a16="http://schemas.microsoft.com/office/drawing/2014/main" id="{3A978525-E6A5-4387-9498-101DE63D238C}"/>
              </a:ext>
            </a:extLst>
          </p:cNvPr>
          <p:cNvSpPr/>
          <p:nvPr userDrawn="1"/>
        </p:nvSpPr>
        <p:spPr>
          <a:xfrm>
            <a:off x="6294680" y="4194242"/>
            <a:ext cx="83897" cy="89724"/>
          </a:xfrm>
          <a:custGeom>
            <a:avLst/>
            <a:gdLst>
              <a:gd name="connsiteX0" fmla="*/ 38453 w 83897"/>
              <a:gd name="connsiteY0" fmla="*/ 89724 h 89724"/>
              <a:gd name="connsiteX1" fmla="*/ 0 w 83897"/>
              <a:gd name="connsiteY1" fmla="*/ 89724 h 89724"/>
              <a:gd name="connsiteX2" fmla="*/ 45445 w 83897"/>
              <a:gd name="connsiteY2" fmla="*/ 45445 h 89724"/>
              <a:gd name="connsiteX3" fmla="*/ 0 w 83897"/>
              <a:gd name="connsiteY3" fmla="*/ 0 h 89724"/>
              <a:gd name="connsiteX4" fmla="*/ 39618 w 83897"/>
              <a:gd name="connsiteY4" fmla="*/ 0 h 89724"/>
              <a:gd name="connsiteX5" fmla="*/ 83898 w 83897"/>
              <a:gd name="connsiteY5" fmla="*/ 44279 h 89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89724">
                <a:moveTo>
                  <a:pt x="38453" y="89724"/>
                </a:moveTo>
                <a:lnTo>
                  <a:pt x="0" y="89724"/>
                </a:lnTo>
                <a:lnTo>
                  <a:pt x="45445" y="45445"/>
                </a:lnTo>
                <a:lnTo>
                  <a:pt x="0" y="0"/>
                </a:lnTo>
                <a:lnTo>
                  <a:pt x="39618" y="0"/>
                </a:lnTo>
                <a:lnTo>
                  <a:pt x="83898" y="44279"/>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92" name="Freihandform: Form 91">
            <a:extLst>
              <a:ext uri="{FF2B5EF4-FFF2-40B4-BE49-F238E27FC236}">
                <a16:creationId xmlns:a16="http://schemas.microsoft.com/office/drawing/2014/main" id="{64A0CEE6-22D8-4C48-8A91-5F6FD8E1EE1B}"/>
              </a:ext>
            </a:extLst>
          </p:cNvPr>
          <p:cNvSpPr/>
          <p:nvPr userDrawn="1"/>
        </p:nvSpPr>
        <p:spPr>
          <a:xfrm>
            <a:off x="6294680" y="4903878"/>
            <a:ext cx="83897" cy="89724"/>
          </a:xfrm>
          <a:custGeom>
            <a:avLst/>
            <a:gdLst>
              <a:gd name="connsiteX0" fmla="*/ 38453 w 83897"/>
              <a:gd name="connsiteY0" fmla="*/ 89724 h 89724"/>
              <a:gd name="connsiteX1" fmla="*/ 0 w 83897"/>
              <a:gd name="connsiteY1" fmla="*/ 89724 h 89724"/>
              <a:gd name="connsiteX2" fmla="*/ 45445 w 83897"/>
              <a:gd name="connsiteY2" fmla="*/ 45445 h 89724"/>
              <a:gd name="connsiteX3" fmla="*/ 0 w 83897"/>
              <a:gd name="connsiteY3" fmla="*/ 0 h 89724"/>
              <a:gd name="connsiteX4" fmla="*/ 39618 w 83897"/>
              <a:gd name="connsiteY4" fmla="*/ 0 h 89724"/>
              <a:gd name="connsiteX5" fmla="*/ 83898 w 83897"/>
              <a:gd name="connsiteY5" fmla="*/ 44279 h 89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89724">
                <a:moveTo>
                  <a:pt x="38453" y="89724"/>
                </a:moveTo>
                <a:lnTo>
                  <a:pt x="0" y="89724"/>
                </a:lnTo>
                <a:lnTo>
                  <a:pt x="45445" y="45445"/>
                </a:lnTo>
                <a:lnTo>
                  <a:pt x="0" y="0"/>
                </a:lnTo>
                <a:lnTo>
                  <a:pt x="39618" y="0"/>
                </a:lnTo>
                <a:lnTo>
                  <a:pt x="83898" y="44279"/>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93" name="Freihandform: Form 92">
            <a:extLst>
              <a:ext uri="{FF2B5EF4-FFF2-40B4-BE49-F238E27FC236}">
                <a16:creationId xmlns:a16="http://schemas.microsoft.com/office/drawing/2014/main" id="{8CDC27FB-29F1-476C-8825-D43DF93706E1}"/>
              </a:ext>
            </a:extLst>
          </p:cNvPr>
          <p:cNvSpPr/>
          <p:nvPr userDrawn="1"/>
        </p:nvSpPr>
        <p:spPr>
          <a:xfrm>
            <a:off x="6294680" y="5258113"/>
            <a:ext cx="83897" cy="90889"/>
          </a:xfrm>
          <a:custGeom>
            <a:avLst/>
            <a:gdLst>
              <a:gd name="connsiteX0" fmla="*/ 38453 w 83897"/>
              <a:gd name="connsiteY0" fmla="*/ 90889 h 90889"/>
              <a:gd name="connsiteX1" fmla="*/ 0 w 83897"/>
              <a:gd name="connsiteY1" fmla="*/ 90889 h 90889"/>
              <a:gd name="connsiteX2" fmla="*/ 45445 w 83897"/>
              <a:gd name="connsiteY2" fmla="*/ 45445 h 90889"/>
              <a:gd name="connsiteX3" fmla="*/ 0 w 83897"/>
              <a:gd name="connsiteY3" fmla="*/ 0 h 90889"/>
              <a:gd name="connsiteX4" fmla="*/ 39618 w 83897"/>
              <a:gd name="connsiteY4" fmla="*/ 0 h 90889"/>
              <a:gd name="connsiteX5" fmla="*/ 83898 w 83897"/>
              <a:gd name="connsiteY5" fmla="*/ 44279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5445"/>
                </a:lnTo>
                <a:lnTo>
                  <a:pt x="0" y="0"/>
                </a:lnTo>
                <a:lnTo>
                  <a:pt x="39618" y="0"/>
                </a:lnTo>
                <a:lnTo>
                  <a:pt x="83898" y="44279"/>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94" name="Freihandform: Form 93">
            <a:extLst>
              <a:ext uri="{FF2B5EF4-FFF2-40B4-BE49-F238E27FC236}">
                <a16:creationId xmlns:a16="http://schemas.microsoft.com/office/drawing/2014/main" id="{3EB4C2F3-CA76-4583-9524-6832080FCF46}"/>
              </a:ext>
            </a:extLst>
          </p:cNvPr>
          <p:cNvSpPr/>
          <p:nvPr userDrawn="1"/>
        </p:nvSpPr>
        <p:spPr>
          <a:xfrm>
            <a:off x="6294680" y="5613514"/>
            <a:ext cx="83897" cy="90889"/>
          </a:xfrm>
          <a:custGeom>
            <a:avLst/>
            <a:gdLst>
              <a:gd name="connsiteX0" fmla="*/ 38453 w 83897"/>
              <a:gd name="connsiteY0" fmla="*/ 90889 h 90889"/>
              <a:gd name="connsiteX1" fmla="*/ 0 w 83897"/>
              <a:gd name="connsiteY1" fmla="*/ 90889 h 90889"/>
              <a:gd name="connsiteX2" fmla="*/ 45445 w 83897"/>
              <a:gd name="connsiteY2" fmla="*/ 45445 h 90889"/>
              <a:gd name="connsiteX3" fmla="*/ 0 w 83897"/>
              <a:gd name="connsiteY3" fmla="*/ 0 h 90889"/>
              <a:gd name="connsiteX4" fmla="*/ 39618 w 83897"/>
              <a:gd name="connsiteY4" fmla="*/ 0 h 90889"/>
              <a:gd name="connsiteX5" fmla="*/ 83898 w 83897"/>
              <a:gd name="connsiteY5" fmla="*/ 44279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5445"/>
                </a:lnTo>
                <a:lnTo>
                  <a:pt x="0" y="0"/>
                </a:lnTo>
                <a:lnTo>
                  <a:pt x="39618" y="0"/>
                </a:lnTo>
                <a:lnTo>
                  <a:pt x="83898" y="44279"/>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95" name="Freihandform: Form 94">
            <a:extLst>
              <a:ext uri="{FF2B5EF4-FFF2-40B4-BE49-F238E27FC236}">
                <a16:creationId xmlns:a16="http://schemas.microsoft.com/office/drawing/2014/main" id="{F135C26F-79DA-4BAC-853C-80E59F9BCED2}"/>
              </a:ext>
            </a:extLst>
          </p:cNvPr>
          <p:cNvSpPr/>
          <p:nvPr userDrawn="1"/>
        </p:nvSpPr>
        <p:spPr>
          <a:xfrm>
            <a:off x="6294680" y="5967749"/>
            <a:ext cx="83897" cy="90889"/>
          </a:xfrm>
          <a:custGeom>
            <a:avLst/>
            <a:gdLst>
              <a:gd name="connsiteX0" fmla="*/ 38453 w 83897"/>
              <a:gd name="connsiteY0" fmla="*/ 90889 h 90889"/>
              <a:gd name="connsiteX1" fmla="*/ 0 w 83897"/>
              <a:gd name="connsiteY1" fmla="*/ 90889 h 90889"/>
              <a:gd name="connsiteX2" fmla="*/ 45445 w 83897"/>
              <a:gd name="connsiteY2" fmla="*/ 46610 h 90889"/>
              <a:gd name="connsiteX3" fmla="*/ 0 w 83897"/>
              <a:gd name="connsiteY3" fmla="*/ 0 h 90889"/>
              <a:gd name="connsiteX4" fmla="*/ 39618 w 83897"/>
              <a:gd name="connsiteY4" fmla="*/ 0 h 90889"/>
              <a:gd name="connsiteX5" fmla="*/ 83898 w 83897"/>
              <a:gd name="connsiteY5" fmla="*/ 45445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6610"/>
                </a:lnTo>
                <a:lnTo>
                  <a:pt x="0" y="0"/>
                </a:lnTo>
                <a:lnTo>
                  <a:pt x="39618" y="0"/>
                </a:lnTo>
                <a:lnTo>
                  <a:pt x="83898" y="45445"/>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96" name="Freihandform: Form 95">
            <a:extLst>
              <a:ext uri="{FF2B5EF4-FFF2-40B4-BE49-F238E27FC236}">
                <a16:creationId xmlns:a16="http://schemas.microsoft.com/office/drawing/2014/main" id="{3E35FA85-A903-4CFD-B654-7358369F20F9}"/>
              </a:ext>
            </a:extLst>
          </p:cNvPr>
          <p:cNvSpPr/>
          <p:nvPr userDrawn="1"/>
        </p:nvSpPr>
        <p:spPr>
          <a:xfrm>
            <a:off x="6294680" y="6323150"/>
            <a:ext cx="83897" cy="90889"/>
          </a:xfrm>
          <a:custGeom>
            <a:avLst/>
            <a:gdLst>
              <a:gd name="connsiteX0" fmla="*/ 38453 w 83897"/>
              <a:gd name="connsiteY0" fmla="*/ 90889 h 90889"/>
              <a:gd name="connsiteX1" fmla="*/ 0 w 83897"/>
              <a:gd name="connsiteY1" fmla="*/ 90889 h 90889"/>
              <a:gd name="connsiteX2" fmla="*/ 45445 w 83897"/>
              <a:gd name="connsiteY2" fmla="*/ 45445 h 90889"/>
              <a:gd name="connsiteX3" fmla="*/ 0 w 83897"/>
              <a:gd name="connsiteY3" fmla="*/ 0 h 90889"/>
              <a:gd name="connsiteX4" fmla="*/ 39618 w 83897"/>
              <a:gd name="connsiteY4" fmla="*/ 0 h 90889"/>
              <a:gd name="connsiteX5" fmla="*/ 83898 w 83897"/>
              <a:gd name="connsiteY5" fmla="*/ 44279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5445"/>
                </a:lnTo>
                <a:lnTo>
                  <a:pt x="0" y="0"/>
                </a:lnTo>
                <a:lnTo>
                  <a:pt x="39618" y="0"/>
                </a:lnTo>
                <a:lnTo>
                  <a:pt x="83898" y="44279"/>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97" name="Freihandform: Form 96">
            <a:extLst>
              <a:ext uri="{FF2B5EF4-FFF2-40B4-BE49-F238E27FC236}">
                <a16:creationId xmlns:a16="http://schemas.microsoft.com/office/drawing/2014/main" id="{59067F63-85B0-4649-A8E6-FB51B16BA558}"/>
              </a:ext>
            </a:extLst>
          </p:cNvPr>
          <p:cNvSpPr/>
          <p:nvPr userDrawn="1"/>
        </p:nvSpPr>
        <p:spPr>
          <a:xfrm>
            <a:off x="6294680" y="6677385"/>
            <a:ext cx="83897" cy="90889"/>
          </a:xfrm>
          <a:custGeom>
            <a:avLst/>
            <a:gdLst>
              <a:gd name="connsiteX0" fmla="*/ 38453 w 83897"/>
              <a:gd name="connsiteY0" fmla="*/ 90889 h 90889"/>
              <a:gd name="connsiteX1" fmla="*/ 0 w 83897"/>
              <a:gd name="connsiteY1" fmla="*/ 90889 h 90889"/>
              <a:gd name="connsiteX2" fmla="*/ 45445 w 83897"/>
              <a:gd name="connsiteY2" fmla="*/ 46610 h 90889"/>
              <a:gd name="connsiteX3" fmla="*/ 0 w 83897"/>
              <a:gd name="connsiteY3" fmla="*/ 0 h 90889"/>
              <a:gd name="connsiteX4" fmla="*/ 39618 w 83897"/>
              <a:gd name="connsiteY4" fmla="*/ 0 h 90889"/>
              <a:gd name="connsiteX5" fmla="*/ 83898 w 83897"/>
              <a:gd name="connsiteY5" fmla="*/ 45445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6610"/>
                </a:lnTo>
                <a:lnTo>
                  <a:pt x="0" y="0"/>
                </a:lnTo>
                <a:lnTo>
                  <a:pt x="39618" y="0"/>
                </a:lnTo>
                <a:lnTo>
                  <a:pt x="83898" y="45445"/>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98" name="Freihandform: Form 97">
            <a:extLst>
              <a:ext uri="{FF2B5EF4-FFF2-40B4-BE49-F238E27FC236}">
                <a16:creationId xmlns:a16="http://schemas.microsoft.com/office/drawing/2014/main" id="{183457A2-D214-4D00-ADAE-05EE4BC9F121}"/>
              </a:ext>
            </a:extLst>
          </p:cNvPr>
          <p:cNvSpPr/>
          <p:nvPr userDrawn="1"/>
        </p:nvSpPr>
        <p:spPr>
          <a:xfrm>
            <a:off x="6641924" y="2056012"/>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3601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3601"/>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99" name="Freihandform: Form 98">
            <a:extLst>
              <a:ext uri="{FF2B5EF4-FFF2-40B4-BE49-F238E27FC236}">
                <a16:creationId xmlns:a16="http://schemas.microsoft.com/office/drawing/2014/main" id="{856A47E6-DC21-4AC7-9E91-5B7145569984}"/>
              </a:ext>
            </a:extLst>
          </p:cNvPr>
          <p:cNvSpPr/>
          <p:nvPr userDrawn="1"/>
        </p:nvSpPr>
        <p:spPr>
          <a:xfrm>
            <a:off x="6641924" y="2410247"/>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3601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3601"/>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100" name="Freihandform: Form 99">
            <a:extLst>
              <a:ext uri="{FF2B5EF4-FFF2-40B4-BE49-F238E27FC236}">
                <a16:creationId xmlns:a16="http://schemas.microsoft.com/office/drawing/2014/main" id="{131BBA2E-A329-44D6-8E0D-359E4F558C2E}"/>
              </a:ext>
            </a:extLst>
          </p:cNvPr>
          <p:cNvSpPr/>
          <p:nvPr userDrawn="1"/>
        </p:nvSpPr>
        <p:spPr>
          <a:xfrm>
            <a:off x="6641924" y="2765648"/>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3601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3601"/>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101" name="Freihandform: Form 100">
            <a:extLst>
              <a:ext uri="{FF2B5EF4-FFF2-40B4-BE49-F238E27FC236}">
                <a16:creationId xmlns:a16="http://schemas.microsoft.com/office/drawing/2014/main" id="{1BA7ED68-CA5D-445D-960A-159CEBD59D10}"/>
              </a:ext>
            </a:extLst>
          </p:cNvPr>
          <p:cNvSpPr/>
          <p:nvPr userDrawn="1"/>
        </p:nvSpPr>
        <p:spPr>
          <a:xfrm>
            <a:off x="6641924" y="3119883"/>
            <a:ext cx="100211" cy="109533"/>
          </a:xfrm>
          <a:custGeom>
            <a:avLst/>
            <a:gdLst>
              <a:gd name="connsiteX0" fmla="*/ 45445 w 100211"/>
              <a:gd name="connsiteY0" fmla="*/ 109533 h 109533"/>
              <a:gd name="connsiteX1" fmla="*/ 0 w 100211"/>
              <a:gd name="connsiteY1" fmla="*/ 109533 h 109533"/>
              <a:gd name="connsiteX2" fmla="*/ 53601 w 100211"/>
              <a:gd name="connsiteY2" fmla="*/ 54767 h 109533"/>
              <a:gd name="connsiteX3" fmla="*/ 0 w 100211"/>
              <a:gd name="connsiteY3" fmla="*/ 0 h 109533"/>
              <a:gd name="connsiteX4" fmla="*/ 46610 w 100211"/>
              <a:gd name="connsiteY4" fmla="*/ 0 h 109533"/>
              <a:gd name="connsiteX5" fmla="*/ 100211 w 100211"/>
              <a:gd name="connsiteY5" fmla="*/ 53601 h 109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9533">
                <a:moveTo>
                  <a:pt x="45445" y="109533"/>
                </a:moveTo>
                <a:lnTo>
                  <a:pt x="0" y="109533"/>
                </a:lnTo>
                <a:lnTo>
                  <a:pt x="53601" y="54767"/>
                </a:lnTo>
                <a:lnTo>
                  <a:pt x="0" y="0"/>
                </a:lnTo>
                <a:lnTo>
                  <a:pt x="46610" y="0"/>
                </a:lnTo>
                <a:lnTo>
                  <a:pt x="100211" y="53601"/>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102" name="Freihandform: Form 101">
            <a:extLst>
              <a:ext uri="{FF2B5EF4-FFF2-40B4-BE49-F238E27FC236}">
                <a16:creationId xmlns:a16="http://schemas.microsoft.com/office/drawing/2014/main" id="{DF891AFB-3457-47F8-90F0-136BD73BF17A}"/>
              </a:ext>
            </a:extLst>
          </p:cNvPr>
          <p:cNvSpPr/>
          <p:nvPr userDrawn="1"/>
        </p:nvSpPr>
        <p:spPr>
          <a:xfrm>
            <a:off x="6641924" y="3475284"/>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3601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3601"/>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103" name="Freihandform: Form 102">
            <a:extLst>
              <a:ext uri="{FF2B5EF4-FFF2-40B4-BE49-F238E27FC236}">
                <a16:creationId xmlns:a16="http://schemas.microsoft.com/office/drawing/2014/main" id="{23DB383E-F562-493B-AC92-3BBE9D4FAD8D}"/>
              </a:ext>
            </a:extLst>
          </p:cNvPr>
          <p:cNvSpPr/>
          <p:nvPr userDrawn="1"/>
        </p:nvSpPr>
        <p:spPr>
          <a:xfrm>
            <a:off x="6641924" y="3829519"/>
            <a:ext cx="100211" cy="109533"/>
          </a:xfrm>
          <a:custGeom>
            <a:avLst/>
            <a:gdLst>
              <a:gd name="connsiteX0" fmla="*/ 45445 w 100211"/>
              <a:gd name="connsiteY0" fmla="*/ 109533 h 109533"/>
              <a:gd name="connsiteX1" fmla="*/ 0 w 100211"/>
              <a:gd name="connsiteY1" fmla="*/ 109533 h 109533"/>
              <a:gd name="connsiteX2" fmla="*/ 53601 w 100211"/>
              <a:gd name="connsiteY2" fmla="*/ 54767 h 109533"/>
              <a:gd name="connsiteX3" fmla="*/ 0 w 100211"/>
              <a:gd name="connsiteY3" fmla="*/ 0 h 109533"/>
              <a:gd name="connsiteX4" fmla="*/ 46610 w 100211"/>
              <a:gd name="connsiteY4" fmla="*/ 0 h 109533"/>
              <a:gd name="connsiteX5" fmla="*/ 100211 w 100211"/>
              <a:gd name="connsiteY5" fmla="*/ 53601 h 109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9533">
                <a:moveTo>
                  <a:pt x="45445" y="109533"/>
                </a:moveTo>
                <a:lnTo>
                  <a:pt x="0" y="109533"/>
                </a:lnTo>
                <a:lnTo>
                  <a:pt x="53601" y="54767"/>
                </a:lnTo>
                <a:lnTo>
                  <a:pt x="0" y="0"/>
                </a:lnTo>
                <a:lnTo>
                  <a:pt x="46610" y="0"/>
                </a:lnTo>
                <a:lnTo>
                  <a:pt x="100211" y="53601"/>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104" name="Freihandform: Form 103">
            <a:extLst>
              <a:ext uri="{FF2B5EF4-FFF2-40B4-BE49-F238E27FC236}">
                <a16:creationId xmlns:a16="http://schemas.microsoft.com/office/drawing/2014/main" id="{7462FFF7-2968-440C-8C2F-293482D075F2}"/>
              </a:ext>
            </a:extLst>
          </p:cNvPr>
          <p:cNvSpPr/>
          <p:nvPr userDrawn="1"/>
        </p:nvSpPr>
        <p:spPr>
          <a:xfrm>
            <a:off x="6641924" y="4184920"/>
            <a:ext cx="100211" cy="108367"/>
          </a:xfrm>
          <a:custGeom>
            <a:avLst/>
            <a:gdLst>
              <a:gd name="connsiteX0" fmla="*/ 45445 w 100211"/>
              <a:gd name="connsiteY0" fmla="*/ 108368 h 108367"/>
              <a:gd name="connsiteX1" fmla="*/ 0 w 100211"/>
              <a:gd name="connsiteY1" fmla="*/ 108368 h 108367"/>
              <a:gd name="connsiteX2" fmla="*/ 53601 w 100211"/>
              <a:gd name="connsiteY2" fmla="*/ 54767 h 108367"/>
              <a:gd name="connsiteX3" fmla="*/ 0 w 100211"/>
              <a:gd name="connsiteY3" fmla="*/ 0 h 108367"/>
              <a:gd name="connsiteX4" fmla="*/ 46610 w 100211"/>
              <a:gd name="connsiteY4" fmla="*/ 0 h 108367"/>
              <a:gd name="connsiteX5" fmla="*/ 100211 w 100211"/>
              <a:gd name="connsiteY5" fmla="*/ 53601 h 108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7">
                <a:moveTo>
                  <a:pt x="45445" y="108368"/>
                </a:moveTo>
                <a:lnTo>
                  <a:pt x="0" y="108368"/>
                </a:lnTo>
                <a:lnTo>
                  <a:pt x="53601" y="54767"/>
                </a:lnTo>
                <a:lnTo>
                  <a:pt x="0" y="0"/>
                </a:lnTo>
                <a:lnTo>
                  <a:pt x="46610" y="0"/>
                </a:lnTo>
                <a:lnTo>
                  <a:pt x="100211" y="53601"/>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105" name="Freihandform: Form 104">
            <a:extLst>
              <a:ext uri="{FF2B5EF4-FFF2-40B4-BE49-F238E27FC236}">
                <a16:creationId xmlns:a16="http://schemas.microsoft.com/office/drawing/2014/main" id="{BEAAA412-EFD8-4DF9-B684-899716EF2AB4}"/>
              </a:ext>
            </a:extLst>
          </p:cNvPr>
          <p:cNvSpPr/>
          <p:nvPr userDrawn="1"/>
        </p:nvSpPr>
        <p:spPr>
          <a:xfrm>
            <a:off x="6641924" y="4539155"/>
            <a:ext cx="100211" cy="109533"/>
          </a:xfrm>
          <a:custGeom>
            <a:avLst/>
            <a:gdLst>
              <a:gd name="connsiteX0" fmla="*/ 45445 w 100211"/>
              <a:gd name="connsiteY0" fmla="*/ 109533 h 109533"/>
              <a:gd name="connsiteX1" fmla="*/ 0 w 100211"/>
              <a:gd name="connsiteY1" fmla="*/ 109533 h 109533"/>
              <a:gd name="connsiteX2" fmla="*/ 53601 w 100211"/>
              <a:gd name="connsiteY2" fmla="*/ 54767 h 109533"/>
              <a:gd name="connsiteX3" fmla="*/ 0 w 100211"/>
              <a:gd name="connsiteY3" fmla="*/ 0 h 109533"/>
              <a:gd name="connsiteX4" fmla="*/ 46610 w 100211"/>
              <a:gd name="connsiteY4" fmla="*/ 0 h 109533"/>
              <a:gd name="connsiteX5" fmla="*/ 100211 w 100211"/>
              <a:gd name="connsiteY5" fmla="*/ 53601 h 109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9533">
                <a:moveTo>
                  <a:pt x="45445" y="109533"/>
                </a:moveTo>
                <a:lnTo>
                  <a:pt x="0" y="109533"/>
                </a:lnTo>
                <a:lnTo>
                  <a:pt x="53601" y="54767"/>
                </a:lnTo>
                <a:lnTo>
                  <a:pt x="0" y="0"/>
                </a:lnTo>
                <a:lnTo>
                  <a:pt x="46610" y="0"/>
                </a:lnTo>
                <a:lnTo>
                  <a:pt x="100211" y="53601"/>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106" name="Freihandform: Form 105">
            <a:extLst>
              <a:ext uri="{FF2B5EF4-FFF2-40B4-BE49-F238E27FC236}">
                <a16:creationId xmlns:a16="http://schemas.microsoft.com/office/drawing/2014/main" id="{2AC5A39E-D87D-4EA7-91E5-8FFC7A23F7D7}"/>
              </a:ext>
            </a:extLst>
          </p:cNvPr>
          <p:cNvSpPr/>
          <p:nvPr userDrawn="1"/>
        </p:nvSpPr>
        <p:spPr>
          <a:xfrm>
            <a:off x="6641924" y="4894556"/>
            <a:ext cx="100211" cy="108367"/>
          </a:xfrm>
          <a:custGeom>
            <a:avLst/>
            <a:gdLst>
              <a:gd name="connsiteX0" fmla="*/ 45445 w 100211"/>
              <a:gd name="connsiteY0" fmla="*/ 108368 h 108367"/>
              <a:gd name="connsiteX1" fmla="*/ 0 w 100211"/>
              <a:gd name="connsiteY1" fmla="*/ 108368 h 108367"/>
              <a:gd name="connsiteX2" fmla="*/ 53601 w 100211"/>
              <a:gd name="connsiteY2" fmla="*/ 54767 h 108367"/>
              <a:gd name="connsiteX3" fmla="*/ 0 w 100211"/>
              <a:gd name="connsiteY3" fmla="*/ 0 h 108367"/>
              <a:gd name="connsiteX4" fmla="*/ 46610 w 100211"/>
              <a:gd name="connsiteY4" fmla="*/ 0 h 108367"/>
              <a:gd name="connsiteX5" fmla="*/ 100211 w 100211"/>
              <a:gd name="connsiteY5" fmla="*/ 53601 h 108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7">
                <a:moveTo>
                  <a:pt x="45445" y="108368"/>
                </a:moveTo>
                <a:lnTo>
                  <a:pt x="0" y="108368"/>
                </a:lnTo>
                <a:lnTo>
                  <a:pt x="53601" y="54767"/>
                </a:lnTo>
                <a:lnTo>
                  <a:pt x="0" y="0"/>
                </a:lnTo>
                <a:lnTo>
                  <a:pt x="46610" y="0"/>
                </a:lnTo>
                <a:lnTo>
                  <a:pt x="100211" y="53601"/>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107" name="Freihandform: Form 106">
            <a:extLst>
              <a:ext uri="{FF2B5EF4-FFF2-40B4-BE49-F238E27FC236}">
                <a16:creationId xmlns:a16="http://schemas.microsoft.com/office/drawing/2014/main" id="{288DAC95-3A44-4112-B77F-0B5BE40BEE1C}"/>
              </a:ext>
            </a:extLst>
          </p:cNvPr>
          <p:cNvSpPr/>
          <p:nvPr userDrawn="1"/>
        </p:nvSpPr>
        <p:spPr>
          <a:xfrm>
            <a:off x="6641924" y="5249956"/>
            <a:ext cx="100211" cy="108367"/>
          </a:xfrm>
          <a:custGeom>
            <a:avLst/>
            <a:gdLst>
              <a:gd name="connsiteX0" fmla="*/ 45445 w 100211"/>
              <a:gd name="connsiteY0" fmla="*/ 108368 h 108367"/>
              <a:gd name="connsiteX1" fmla="*/ 0 w 100211"/>
              <a:gd name="connsiteY1" fmla="*/ 108368 h 108367"/>
              <a:gd name="connsiteX2" fmla="*/ 53601 w 100211"/>
              <a:gd name="connsiteY2" fmla="*/ 54767 h 108367"/>
              <a:gd name="connsiteX3" fmla="*/ 0 w 100211"/>
              <a:gd name="connsiteY3" fmla="*/ 0 h 108367"/>
              <a:gd name="connsiteX4" fmla="*/ 46610 w 100211"/>
              <a:gd name="connsiteY4" fmla="*/ 0 h 108367"/>
              <a:gd name="connsiteX5" fmla="*/ 100211 w 100211"/>
              <a:gd name="connsiteY5" fmla="*/ 52436 h 108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7">
                <a:moveTo>
                  <a:pt x="45445" y="108368"/>
                </a:moveTo>
                <a:lnTo>
                  <a:pt x="0" y="108368"/>
                </a:lnTo>
                <a:lnTo>
                  <a:pt x="53601" y="54767"/>
                </a:lnTo>
                <a:lnTo>
                  <a:pt x="0" y="0"/>
                </a:lnTo>
                <a:lnTo>
                  <a:pt x="46610" y="0"/>
                </a:lnTo>
                <a:lnTo>
                  <a:pt x="100211" y="52436"/>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108" name="Freihandform: Form 107">
            <a:extLst>
              <a:ext uri="{FF2B5EF4-FFF2-40B4-BE49-F238E27FC236}">
                <a16:creationId xmlns:a16="http://schemas.microsoft.com/office/drawing/2014/main" id="{1725C649-75C6-41E2-A17A-8B06E90E5F23}"/>
              </a:ext>
            </a:extLst>
          </p:cNvPr>
          <p:cNvSpPr/>
          <p:nvPr userDrawn="1"/>
        </p:nvSpPr>
        <p:spPr>
          <a:xfrm>
            <a:off x="6641924" y="5604192"/>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3601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3601"/>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109" name="Freihandform: Form 108">
            <a:extLst>
              <a:ext uri="{FF2B5EF4-FFF2-40B4-BE49-F238E27FC236}">
                <a16:creationId xmlns:a16="http://schemas.microsoft.com/office/drawing/2014/main" id="{228B8A60-B822-4E24-A0C8-57F4CF08B586}"/>
              </a:ext>
            </a:extLst>
          </p:cNvPr>
          <p:cNvSpPr/>
          <p:nvPr userDrawn="1"/>
        </p:nvSpPr>
        <p:spPr>
          <a:xfrm>
            <a:off x="6641924" y="5959592"/>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2436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2436"/>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110" name="Freihandform: Form 109">
            <a:extLst>
              <a:ext uri="{FF2B5EF4-FFF2-40B4-BE49-F238E27FC236}">
                <a16:creationId xmlns:a16="http://schemas.microsoft.com/office/drawing/2014/main" id="{AA7B80BD-AB9B-44B4-BCE3-B8041B906A54}"/>
              </a:ext>
            </a:extLst>
          </p:cNvPr>
          <p:cNvSpPr/>
          <p:nvPr userDrawn="1"/>
        </p:nvSpPr>
        <p:spPr>
          <a:xfrm>
            <a:off x="6641924" y="6313828"/>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3601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3601"/>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111" name="Freihandform: Form 110">
            <a:extLst>
              <a:ext uri="{FF2B5EF4-FFF2-40B4-BE49-F238E27FC236}">
                <a16:creationId xmlns:a16="http://schemas.microsoft.com/office/drawing/2014/main" id="{8CE668C1-68D5-4163-BDA9-D87C9CAA74C4}"/>
              </a:ext>
            </a:extLst>
          </p:cNvPr>
          <p:cNvSpPr/>
          <p:nvPr userDrawn="1"/>
        </p:nvSpPr>
        <p:spPr>
          <a:xfrm>
            <a:off x="6641924" y="6669228"/>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2436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2436"/>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112" name="Freihandform: Form 111">
            <a:extLst>
              <a:ext uri="{FF2B5EF4-FFF2-40B4-BE49-F238E27FC236}">
                <a16:creationId xmlns:a16="http://schemas.microsoft.com/office/drawing/2014/main" id="{E7C8AC77-4E4F-469F-A055-637078665410}"/>
              </a:ext>
            </a:extLst>
          </p:cNvPr>
          <p:cNvSpPr/>
          <p:nvPr userDrawn="1"/>
        </p:nvSpPr>
        <p:spPr>
          <a:xfrm>
            <a:off x="6988003" y="2046690"/>
            <a:ext cx="117690" cy="127012"/>
          </a:xfrm>
          <a:custGeom>
            <a:avLst/>
            <a:gdLst>
              <a:gd name="connsiteX0" fmla="*/ 53601 w 117690"/>
              <a:gd name="connsiteY0" fmla="*/ 127012 h 127012"/>
              <a:gd name="connsiteX1" fmla="*/ 0 w 117690"/>
              <a:gd name="connsiteY1" fmla="*/ 127012 h 127012"/>
              <a:gd name="connsiteX2" fmla="*/ 62924 w 117690"/>
              <a:gd name="connsiteY2" fmla="*/ 64089 h 127012"/>
              <a:gd name="connsiteX3" fmla="*/ 0 w 117690"/>
              <a:gd name="connsiteY3" fmla="*/ 0 h 127012"/>
              <a:gd name="connsiteX4" fmla="*/ 54767 w 117690"/>
              <a:gd name="connsiteY4" fmla="*/ 0 h 127012"/>
              <a:gd name="connsiteX5" fmla="*/ 117690 w 117690"/>
              <a:gd name="connsiteY5" fmla="*/ 61758 h 12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2">
                <a:moveTo>
                  <a:pt x="53601" y="127012"/>
                </a:moveTo>
                <a:lnTo>
                  <a:pt x="0" y="127012"/>
                </a:lnTo>
                <a:lnTo>
                  <a:pt x="62924" y="64089"/>
                </a:lnTo>
                <a:lnTo>
                  <a:pt x="0" y="0"/>
                </a:lnTo>
                <a:lnTo>
                  <a:pt x="54767" y="0"/>
                </a:lnTo>
                <a:lnTo>
                  <a:pt x="117690" y="61758"/>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113" name="Freihandform: Form 112">
            <a:extLst>
              <a:ext uri="{FF2B5EF4-FFF2-40B4-BE49-F238E27FC236}">
                <a16:creationId xmlns:a16="http://schemas.microsoft.com/office/drawing/2014/main" id="{9B233175-81FD-4D69-ADD5-F0021CA53D9B}"/>
              </a:ext>
            </a:extLst>
          </p:cNvPr>
          <p:cNvSpPr/>
          <p:nvPr userDrawn="1"/>
        </p:nvSpPr>
        <p:spPr>
          <a:xfrm>
            <a:off x="6988003" y="2400925"/>
            <a:ext cx="117690" cy="127012"/>
          </a:xfrm>
          <a:custGeom>
            <a:avLst/>
            <a:gdLst>
              <a:gd name="connsiteX0" fmla="*/ 53601 w 117690"/>
              <a:gd name="connsiteY0" fmla="*/ 127012 h 127012"/>
              <a:gd name="connsiteX1" fmla="*/ 0 w 117690"/>
              <a:gd name="connsiteY1" fmla="*/ 127012 h 127012"/>
              <a:gd name="connsiteX2" fmla="*/ 62924 w 117690"/>
              <a:gd name="connsiteY2" fmla="*/ 64089 h 127012"/>
              <a:gd name="connsiteX3" fmla="*/ 0 w 117690"/>
              <a:gd name="connsiteY3" fmla="*/ 0 h 127012"/>
              <a:gd name="connsiteX4" fmla="*/ 54767 w 117690"/>
              <a:gd name="connsiteY4" fmla="*/ 0 h 127012"/>
              <a:gd name="connsiteX5" fmla="*/ 117690 w 117690"/>
              <a:gd name="connsiteY5" fmla="*/ 62923 h 12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2">
                <a:moveTo>
                  <a:pt x="53601" y="127012"/>
                </a:moveTo>
                <a:lnTo>
                  <a:pt x="0" y="127012"/>
                </a:lnTo>
                <a:lnTo>
                  <a:pt x="62924" y="64089"/>
                </a:lnTo>
                <a:lnTo>
                  <a:pt x="0" y="0"/>
                </a:lnTo>
                <a:lnTo>
                  <a:pt x="54767" y="0"/>
                </a:lnTo>
                <a:lnTo>
                  <a:pt x="117690" y="62923"/>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114" name="Freihandform: Form 113">
            <a:extLst>
              <a:ext uri="{FF2B5EF4-FFF2-40B4-BE49-F238E27FC236}">
                <a16:creationId xmlns:a16="http://schemas.microsoft.com/office/drawing/2014/main" id="{46F08885-AF06-4981-AD74-0DB2AF113D20}"/>
              </a:ext>
            </a:extLst>
          </p:cNvPr>
          <p:cNvSpPr/>
          <p:nvPr userDrawn="1"/>
        </p:nvSpPr>
        <p:spPr>
          <a:xfrm>
            <a:off x="6988003" y="2756326"/>
            <a:ext cx="117690" cy="127012"/>
          </a:xfrm>
          <a:custGeom>
            <a:avLst/>
            <a:gdLst>
              <a:gd name="connsiteX0" fmla="*/ 53601 w 117690"/>
              <a:gd name="connsiteY0" fmla="*/ 127012 h 127012"/>
              <a:gd name="connsiteX1" fmla="*/ 0 w 117690"/>
              <a:gd name="connsiteY1" fmla="*/ 127012 h 127012"/>
              <a:gd name="connsiteX2" fmla="*/ 62924 w 117690"/>
              <a:gd name="connsiteY2" fmla="*/ 64089 h 127012"/>
              <a:gd name="connsiteX3" fmla="*/ 0 w 117690"/>
              <a:gd name="connsiteY3" fmla="*/ 0 h 127012"/>
              <a:gd name="connsiteX4" fmla="*/ 54767 w 117690"/>
              <a:gd name="connsiteY4" fmla="*/ 0 h 127012"/>
              <a:gd name="connsiteX5" fmla="*/ 117690 w 117690"/>
              <a:gd name="connsiteY5" fmla="*/ 61758 h 12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2">
                <a:moveTo>
                  <a:pt x="53601" y="127012"/>
                </a:moveTo>
                <a:lnTo>
                  <a:pt x="0" y="127012"/>
                </a:lnTo>
                <a:lnTo>
                  <a:pt x="62924" y="64089"/>
                </a:lnTo>
                <a:lnTo>
                  <a:pt x="0" y="0"/>
                </a:lnTo>
                <a:lnTo>
                  <a:pt x="54767" y="0"/>
                </a:lnTo>
                <a:lnTo>
                  <a:pt x="117690" y="61758"/>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115" name="Freihandform: Form 114">
            <a:extLst>
              <a:ext uri="{FF2B5EF4-FFF2-40B4-BE49-F238E27FC236}">
                <a16:creationId xmlns:a16="http://schemas.microsoft.com/office/drawing/2014/main" id="{C86CABC2-1BC2-4E18-925A-6BBD41D769E9}"/>
              </a:ext>
            </a:extLst>
          </p:cNvPr>
          <p:cNvSpPr/>
          <p:nvPr userDrawn="1"/>
        </p:nvSpPr>
        <p:spPr>
          <a:xfrm>
            <a:off x="6988003" y="3111726"/>
            <a:ext cx="117690" cy="125846"/>
          </a:xfrm>
          <a:custGeom>
            <a:avLst/>
            <a:gdLst>
              <a:gd name="connsiteX0" fmla="*/ 53601 w 117690"/>
              <a:gd name="connsiteY0" fmla="*/ 125847 h 125846"/>
              <a:gd name="connsiteX1" fmla="*/ 0 w 117690"/>
              <a:gd name="connsiteY1" fmla="*/ 125847 h 125846"/>
              <a:gd name="connsiteX2" fmla="*/ 62924 w 117690"/>
              <a:gd name="connsiteY2" fmla="*/ 62923 h 125846"/>
              <a:gd name="connsiteX3" fmla="*/ 0 w 117690"/>
              <a:gd name="connsiteY3" fmla="*/ 0 h 125846"/>
              <a:gd name="connsiteX4" fmla="*/ 54767 w 117690"/>
              <a:gd name="connsiteY4" fmla="*/ 0 h 125846"/>
              <a:gd name="connsiteX5" fmla="*/ 117690 w 117690"/>
              <a:gd name="connsiteY5" fmla="*/ 61758 h 125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5846">
                <a:moveTo>
                  <a:pt x="53601" y="125847"/>
                </a:moveTo>
                <a:lnTo>
                  <a:pt x="0" y="125847"/>
                </a:lnTo>
                <a:lnTo>
                  <a:pt x="62924" y="62923"/>
                </a:lnTo>
                <a:lnTo>
                  <a:pt x="0" y="0"/>
                </a:lnTo>
                <a:lnTo>
                  <a:pt x="54767" y="0"/>
                </a:lnTo>
                <a:lnTo>
                  <a:pt x="117690" y="61758"/>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116" name="Freihandform: Form 115">
            <a:extLst>
              <a:ext uri="{FF2B5EF4-FFF2-40B4-BE49-F238E27FC236}">
                <a16:creationId xmlns:a16="http://schemas.microsoft.com/office/drawing/2014/main" id="{B868F685-0AEA-4FB0-BF92-7B2B2B24B116}"/>
              </a:ext>
            </a:extLst>
          </p:cNvPr>
          <p:cNvSpPr/>
          <p:nvPr userDrawn="1"/>
        </p:nvSpPr>
        <p:spPr>
          <a:xfrm>
            <a:off x="6988003" y="3465962"/>
            <a:ext cx="117690" cy="127012"/>
          </a:xfrm>
          <a:custGeom>
            <a:avLst/>
            <a:gdLst>
              <a:gd name="connsiteX0" fmla="*/ 53601 w 117690"/>
              <a:gd name="connsiteY0" fmla="*/ 127012 h 127012"/>
              <a:gd name="connsiteX1" fmla="*/ 0 w 117690"/>
              <a:gd name="connsiteY1" fmla="*/ 127012 h 127012"/>
              <a:gd name="connsiteX2" fmla="*/ 62924 w 117690"/>
              <a:gd name="connsiteY2" fmla="*/ 64089 h 127012"/>
              <a:gd name="connsiteX3" fmla="*/ 0 w 117690"/>
              <a:gd name="connsiteY3" fmla="*/ 0 h 127012"/>
              <a:gd name="connsiteX4" fmla="*/ 54767 w 117690"/>
              <a:gd name="connsiteY4" fmla="*/ 0 h 127012"/>
              <a:gd name="connsiteX5" fmla="*/ 117690 w 117690"/>
              <a:gd name="connsiteY5" fmla="*/ 62923 h 12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2">
                <a:moveTo>
                  <a:pt x="53601" y="127012"/>
                </a:moveTo>
                <a:lnTo>
                  <a:pt x="0" y="127012"/>
                </a:lnTo>
                <a:lnTo>
                  <a:pt x="62924" y="64089"/>
                </a:lnTo>
                <a:lnTo>
                  <a:pt x="0" y="0"/>
                </a:lnTo>
                <a:lnTo>
                  <a:pt x="54767" y="0"/>
                </a:lnTo>
                <a:lnTo>
                  <a:pt x="117690" y="62923"/>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117" name="Freihandform: Form 116">
            <a:extLst>
              <a:ext uri="{FF2B5EF4-FFF2-40B4-BE49-F238E27FC236}">
                <a16:creationId xmlns:a16="http://schemas.microsoft.com/office/drawing/2014/main" id="{626A95CE-AB44-428B-809E-E354D8E02C22}"/>
              </a:ext>
            </a:extLst>
          </p:cNvPr>
          <p:cNvSpPr/>
          <p:nvPr userDrawn="1"/>
        </p:nvSpPr>
        <p:spPr>
          <a:xfrm>
            <a:off x="6988003" y="3821362"/>
            <a:ext cx="117690" cy="125846"/>
          </a:xfrm>
          <a:custGeom>
            <a:avLst/>
            <a:gdLst>
              <a:gd name="connsiteX0" fmla="*/ 53601 w 117690"/>
              <a:gd name="connsiteY0" fmla="*/ 125847 h 125846"/>
              <a:gd name="connsiteX1" fmla="*/ 0 w 117690"/>
              <a:gd name="connsiteY1" fmla="*/ 125847 h 125846"/>
              <a:gd name="connsiteX2" fmla="*/ 62924 w 117690"/>
              <a:gd name="connsiteY2" fmla="*/ 62923 h 125846"/>
              <a:gd name="connsiteX3" fmla="*/ 0 w 117690"/>
              <a:gd name="connsiteY3" fmla="*/ 0 h 125846"/>
              <a:gd name="connsiteX4" fmla="*/ 54767 w 117690"/>
              <a:gd name="connsiteY4" fmla="*/ 0 h 125846"/>
              <a:gd name="connsiteX5" fmla="*/ 117690 w 117690"/>
              <a:gd name="connsiteY5" fmla="*/ 61758 h 125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5846">
                <a:moveTo>
                  <a:pt x="53601" y="125847"/>
                </a:moveTo>
                <a:lnTo>
                  <a:pt x="0" y="125847"/>
                </a:lnTo>
                <a:lnTo>
                  <a:pt x="62924" y="62923"/>
                </a:lnTo>
                <a:lnTo>
                  <a:pt x="0" y="0"/>
                </a:lnTo>
                <a:lnTo>
                  <a:pt x="54767" y="0"/>
                </a:lnTo>
                <a:lnTo>
                  <a:pt x="117690" y="61758"/>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118" name="Freihandform: Form 117">
            <a:extLst>
              <a:ext uri="{FF2B5EF4-FFF2-40B4-BE49-F238E27FC236}">
                <a16:creationId xmlns:a16="http://schemas.microsoft.com/office/drawing/2014/main" id="{D45FC8C5-51F1-4430-9013-30C9B55943C2}"/>
              </a:ext>
            </a:extLst>
          </p:cNvPr>
          <p:cNvSpPr/>
          <p:nvPr userDrawn="1"/>
        </p:nvSpPr>
        <p:spPr>
          <a:xfrm>
            <a:off x="6988003" y="4175598"/>
            <a:ext cx="117690" cy="127011"/>
          </a:xfrm>
          <a:custGeom>
            <a:avLst/>
            <a:gdLst>
              <a:gd name="connsiteX0" fmla="*/ 53601 w 117690"/>
              <a:gd name="connsiteY0" fmla="*/ 127012 h 127011"/>
              <a:gd name="connsiteX1" fmla="*/ 0 w 117690"/>
              <a:gd name="connsiteY1" fmla="*/ 127012 h 127011"/>
              <a:gd name="connsiteX2" fmla="*/ 62924 w 117690"/>
              <a:gd name="connsiteY2" fmla="*/ 64089 h 127011"/>
              <a:gd name="connsiteX3" fmla="*/ 0 w 117690"/>
              <a:gd name="connsiteY3" fmla="*/ 0 h 127011"/>
              <a:gd name="connsiteX4" fmla="*/ 54767 w 117690"/>
              <a:gd name="connsiteY4" fmla="*/ 0 h 127011"/>
              <a:gd name="connsiteX5" fmla="*/ 117690 w 117690"/>
              <a:gd name="connsiteY5" fmla="*/ 62923 h 12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1">
                <a:moveTo>
                  <a:pt x="53601" y="127012"/>
                </a:moveTo>
                <a:lnTo>
                  <a:pt x="0" y="127012"/>
                </a:lnTo>
                <a:lnTo>
                  <a:pt x="62924" y="64089"/>
                </a:lnTo>
                <a:lnTo>
                  <a:pt x="0" y="0"/>
                </a:lnTo>
                <a:lnTo>
                  <a:pt x="54767" y="0"/>
                </a:lnTo>
                <a:lnTo>
                  <a:pt x="117690" y="62923"/>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119" name="Freihandform: Form 118">
            <a:extLst>
              <a:ext uri="{FF2B5EF4-FFF2-40B4-BE49-F238E27FC236}">
                <a16:creationId xmlns:a16="http://schemas.microsoft.com/office/drawing/2014/main" id="{4576E275-B37C-4FF8-9364-9726AB4BF19E}"/>
              </a:ext>
            </a:extLst>
          </p:cNvPr>
          <p:cNvSpPr/>
          <p:nvPr userDrawn="1"/>
        </p:nvSpPr>
        <p:spPr>
          <a:xfrm>
            <a:off x="6988003" y="4530998"/>
            <a:ext cx="117690" cy="125846"/>
          </a:xfrm>
          <a:custGeom>
            <a:avLst/>
            <a:gdLst>
              <a:gd name="connsiteX0" fmla="*/ 53601 w 117690"/>
              <a:gd name="connsiteY0" fmla="*/ 125847 h 125846"/>
              <a:gd name="connsiteX1" fmla="*/ 0 w 117690"/>
              <a:gd name="connsiteY1" fmla="*/ 125847 h 125846"/>
              <a:gd name="connsiteX2" fmla="*/ 62924 w 117690"/>
              <a:gd name="connsiteY2" fmla="*/ 64089 h 125846"/>
              <a:gd name="connsiteX3" fmla="*/ 0 w 117690"/>
              <a:gd name="connsiteY3" fmla="*/ 0 h 125846"/>
              <a:gd name="connsiteX4" fmla="*/ 54767 w 117690"/>
              <a:gd name="connsiteY4" fmla="*/ 0 h 125846"/>
              <a:gd name="connsiteX5" fmla="*/ 117690 w 117690"/>
              <a:gd name="connsiteY5" fmla="*/ 61758 h 125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5846">
                <a:moveTo>
                  <a:pt x="53601" y="125847"/>
                </a:moveTo>
                <a:lnTo>
                  <a:pt x="0" y="125847"/>
                </a:lnTo>
                <a:lnTo>
                  <a:pt x="62924" y="64089"/>
                </a:lnTo>
                <a:lnTo>
                  <a:pt x="0" y="0"/>
                </a:lnTo>
                <a:lnTo>
                  <a:pt x="54767" y="0"/>
                </a:lnTo>
                <a:lnTo>
                  <a:pt x="117690" y="61758"/>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120" name="Freihandform: Form 119">
            <a:extLst>
              <a:ext uri="{FF2B5EF4-FFF2-40B4-BE49-F238E27FC236}">
                <a16:creationId xmlns:a16="http://schemas.microsoft.com/office/drawing/2014/main" id="{C2A0CA66-2AD7-449F-9550-4A3065D6721D}"/>
              </a:ext>
            </a:extLst>
          </p:cNvPr>
          <p:cNvSpPr/>
          <p:nvPr userDrawn="1"/>
        </p:nvSpPr>
        <p:spPr>
          <a:xfrm>
            <a:off x="6988003" y="4885234"/>
            <a:ext cx="117690" cy="127012"/>
          </a:xfrm>
          <a:custGeom>
            <a:avLst/>
            <a:gdLst>
              <a:gd name="connsiteX0" fmla="*/ 53601 w 117690"/>
              <a:gd name="connsiteY0" fmla="*/ 127012 h 127012"/>
              <a:gd name="connsiteX1" fmla="*/ 0 w 117690"/>
              <a:gd name="connsiteY1" fmla="*/ 127012 h 127012"/>
              <a:gd name="connsiteX2" fmla="*/ 62924 w 117690"/>
              <a:gd name="connsiteY2" fmla="*/ 64089 h 127012"/>
              <a:gd name="connsiteX3" fmla="*/ 0 w 117690"/>
              <a:gd name="connsiteY3" fmla="*/ 0 h 127012"/>
              <a:gd name="connsiteX4" fmla="*/ 54767 w 117690"/>
              <a:gd name="connsiteY4" fmla="*/ 0 h 127012"/>
              <a:gd name="connsiteX5" fmla="*/ 117690 w 117690"/>
              <a:gd name="connsiteY5" fmla="*/ 62923 h 12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2">
                <a:moveTo>
                  <a:pt x="53601" y="127012"/>
                </a:moveTo>
                <a:lnTo>
                  <a:pt x="0" y="127012"/>
                </a:lnTo>
                <a:lnTo>
                  <a:pt x="62924" y="64089"/>
                </a:lnTo>
                <a:lnTo>
                  <a:pt x="0" y="0"/>
                </a:lnTo>
                <a:lnTo>
                  <a:pt x="54767" y="0"/>
                </a:lnTo>
                <a:lnTo>
                  <a:pt x="117690" y="62923"/>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121" name="Freihandform: Form 120">
            <a:extLst>
              <a:ext uri="{FF2B5EF4-FFF2-40B4-BE49-F238E27FC236}">
                <a16:creationId xmlns:a16="http://schemas.microsoft.com/office/drawing/2014/main" id="{810C6B34-440E-40BD-B971-548B6DC25F35}"/>
              </a:ext>
            </a:extLst>
          </p:cNvPr>
          <p:cNvSpPr/>
          <p:nvPr userDrawn="1"/>
        </p:nvSpPr>
        <p:spPr>
          <a:xfrm>
            <a:off x="6988003" y="5240634"/>
            <a:ext cx="117690" cy="127011"/>
          </a:xfrm>
          <a:custGeom>
            <a:avLst/>
            <a:gdLst>
              <a:gd name="connsiteX0" fmla="*/ 53601 w 117690"/>
              <a:gd name="connsiteY0" fmla="*/ 127012 h 127011"/>
              <a:gd name="connsiteX1" fmla="*/ 0 w 117690"/>
              <a:gd name="connsiteY1" fmla="*/ 127012 h 127011"/>
              <a:gd name="connsiteX2" fmla="*/ 62924 w 117690"/>
              <a:gd name="connsiteY2" fmla="*/ 64089 h 127011"/>
              <a:gd name="connsiteX3" fmla="*/ 0 w 117690"/>
              <a:gd name="connsiteY3" fmla="*/ 0 h 127011"/>
              <a:gd name="connsiteX4" fmla="*/ 54767 w 117690"/>
              <a:gd name="connsiteY4" fmla="*/ 0 h 127011"/>
              <a:gd name="connsiteX5" fmla="*/ 117690 w 117690"/>
              <a:gd name="connsiteY5" fmla="*/ 61758 h 12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1">
                <a:moveTo>
                  <a:pt x="53601" y="127012"/>
                </a:moveTo>
                <a:lnTo>
                  <a:pt x="0" y="127012"/>
                </a:lnTo>
                <a:lnTo>
                  <a:pt x="62924" y="64089"/>
                </a:lnTo>
                <a:lnTo>
                  <a:pt x="0" y="0"/>
                </a:lnTo>
                <a:lnTo>
                  <a:pt x="54767" y="0"/>
                </a:lnTo>
                <a:lnTo>
                  <a:pt x="117690" y="61758"/>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122" name="Freihandform: Form 121">
            <a:extLst>
              <a:ext uri="{FF2B5EF4-FFF2-40B4-BE49-F238E27FC236}">
                <a16:creationId xmlns:a16="http://schemas.microsoft.com/office/drawing/2014/main" id="{26B65320-B084-4D66-86E8-57A29C890C22}"/>
              </a:ext>
            </a:extLst>
          </p:cNvPr>
          <p:cNvSpPr/>
          <p:nvPr userDrawn="1"/>
        </p:nvSpPr>
        <p:spPr>
          <a:xfrm>
            <a:off x="6988003" y="5594870"/>
            <a:ext cx="117690" cy="127011"/>
          </a:xfrm>
          <a:custGeom>
            <a:avLst/>
            <a:gdLst>
              <a:gd name="connsiteX0" fmla="*/ 53601 w 117690"/>
              <a:gd name="connsiteY0" fmla="*/ 127012 h 127011"/>
              <a:gd name="connsiteX1" fmla="*/ 0 w 117690"/>
              <a:gd name="connsiteY1" fmla="*/ 127012 h 127011"/>
              <a:gd name="connsiteX2" fmla="*/ 62924 w 117690"/>
              <a:gd name="connsiteY2" fmla="*/ 64089 h 127011"/>
              <a:gd name="connsiteX3" fmla="*/ 0 w 117690"/>
              <a:gd name="connsiteY3" fmla="*/ 0 h 127011"/>
              <a:gd name="connsiteX4" fmla="*/ 54767 w 117690"/>
              <a:gd name="connsiteY4" fmla="*/ 0 h 127011"/>
              <a:gd name="connsiteX5" fmla="*/ 117690 w 117690"/>
              <a:gd name="connsiteY5" fmla="*/ 62923 h 12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1">
                <a:moveTo>
                  <a:pt x="53601" y="127012"/>
                </a:moveTo>
                <a:lnTo>
                  <a:pt x="0" y="127012"/>
                </a:lnTo>
                <a:lnTo>
                  <a:pt x="62924" y="64089"/>
                </a:lnTo>
                <a:lnTo>
                  <a:pt x="0" y="0"/>
                </a:lnTo>
                <a:lnTo>
                  <a:pt x="54767" y="0"/>
                </a:lnTo>
                <a:lnTo>
                  <a:pt x="117690" y="62923"/>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123" name="Freihandform: Form 122">
            <a:extLst>
              <a:ext uri="{FF2B5EF4-FFF2-40B4-BE49-F238E27FC236}">
                <a16:creationId xmlns:a16="http://schemas.microsoft.com/office/drawing/2014/main" id="{95CF7401-F141-4E21-872A-8273A1489D8D}"/>
              </a:ext>
            </a:extLst>
          </p:cNvPr>
          <p:cNvSpPr/>
          <p:nvPr userDrawn="1"/>
        </p:nvSpPr>
        <p:spPr>
          <a:xfrm>
            <a:off x="6988003" y="5950270"/>
            <a:ext cx="117690" cy="127011"/>
          </a:xfrm>
          <a:custGeom>
            <a:avLst/>
            <a:gdLst>
              <a:gd name="connsiteX0" fmla="*/ 53601 w 117690"/>
              <a:gd name="connsiteY0" fmla="*/ 127012 h 127011"/>
              <a:gd name="connsiteX1" fmla="*/ 0 w 117690"/>
              <a:gd name="connsiteY1" fmla="*/ 127012 h 127011"/>
              <a:gd name="connsiteX2" fmla="*/ 62924 w 117690"/>
              <a:gd name="connsiteY2" fmla="*/ 64089 h 127011"/>
              <a:gd name="connsiteX3" fmla="*/ 0 w 117690"/>
              <a:gd name="connsiteY3" fmla="*/ 0 h 127011"/>
              <a:gd name="connsiteX4" fmla="*/ 54767 w 117690"/>
              <a:gd name="connsiteY4" fmla="*/ 0 h 127011"/>
              <a:gd name="connsiteX5" fmla="*/ 117690 w 117690"/>
              <a:gd name="connsiteY5" fmla="*/ 61758 h 12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1">
                <a:moveTo>
                  <a:pt x="53601" y="127012"/>
                </a:moveTo>
                <a:lnTo>
                  <a:pt x="0" y="127012"/>
                </a:lnTo>
                <a:lnTo>
                  <a:pt x="62924" y="64089"/>
                </a:lnTo>
                <a:lnTo>
                  <a:pt x="0" y="0"/>
                </a:lnTo>
                <a:lnTo>
                  <a:pt x="54767" y="0"/>
                </a:lnTo>
                <a:lnTo>
                  <a:pt x="117690" y="61758"/>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124" name="Freihandform: Form 123">
            <a:extLst>
              <a:ext uri="{FF2B5EF4-FFF2-40B4-BE49-F238E27FC236}">
                <a16:creationId xmlns:a16="http://schemas.microsoft.com/office/drawing/2014/main" id="{13AFCDEB-2C1E-4CCB-BDB5-C1EFAC4E8F42}"/>
              </a:ext>
            </a:extLst>
          </p:cNvPr>
          <p:cNvSpPr/>
          <p:nvPr userDrawn="1"/>
        </p:nvSpPr>
        <p:spPr>
          <a:xfrm>
            <a:off x="6988003" y="6304506"/>
            <a:ext cx="117690" cy="127011"/>
          </a:xfrm>
          <a:custGeom>
            <a:avLst/>
            <a:gdLst>
              <a:gd name="connsiteX0" fmla="*/ 53601 w 117690"/>
              <a:gd name="connsiteY0" fmla="*/ 127012 h 127011"/>
              <a:gd name="connsiteX1" fmla="*/ 0 w 117690"/>
              <a:gd name="connsiteY1" fmla="*/ 127012 h 127011"/>
              <a:gd name="connsiteX2" fmla="*/ 62924 w 117690"/>
              <a:gd name="connsiteY2" fmla="*/ 64089 h 127011"/>
              <a:gd name="connsiteX3" fmla="*/ 0 w 117690"/>
              <a:gd name="connsiteY3" fmla="*/ 0 h 127011"/>
              <a:gd name="connsiteX4" fmla="*/ 54767 w 117690"/>
              <a:gd name="connsiteY4" fmla="*/ 0 h 127011"/>
              <a:gd name="connsiteX5" fmla="*/ 117690 w 117690"/>
              <a:gd name="connsiteY5" fmla="*/ 62923 h 12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1">
                <a:moveTo>
                  <a:pt x="53601" y="127012"/>
                </a:moveTo>
                <a:lnTo>
                  <a:pt x="0" y="127012"/>
                </a:lnTo>
                <a:lnTo>
                  <a:pt x="62924" y="64089"/>
                </a:lnTo>
                <a:lnTo>
                  <a:pt x="0" y="0"/>
                </a:lnTo>
                <a:lnTo>
                  <a:pt x="54767" y="0"/>
                </a:lnTo>
                <a:lnTo>
                  <a:pt x="117690" y="62923"/>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125" name="Freihandform: Form 124">
            <a:extLst>
              <a:ext uri="{FF2B5EF4-FFF2-40B4-BE49-F238E27FC236}">
                <a16:creationId xmlns:a16="http://schemas.microsoft.com/office/drawing/2014/main" id="{A9754498-E396-4394-BE2A-D119D8B633A8}"/>
              </a:ext>
            </a:extLst>
          </p:cNvPr>
          <p:cNvSpPr/>
          <p:nvPr userDrawn="1"/>
        </p:nvSpPr>
        <p:spPr>
          <a:xfrm>
            <a:off x="6988003" y="6659906"/>
            <a:ext cx="117690" cy="127011"/>
          </a:xfrm>
          <a:custGeom>
            <a:avLst/>
            <a:gdLst>
              <a:gd name="connsiteX0" fmla="*/ 53601 w 117690"/>
              <a:gd name="connsiteY0" fmla="*/ 127012 h 127011"/>
              <a:gd name="connsiteX1" fmla="*/ 0 w 117690"/>
              <a:gd name="connsiteY1" fmla="*/ 127012 h 127011"/>
              <a:gd name="connsiteX2" fmla="*/ 62924 w 117690"/>
              <a:gd name="connsiteY2" fmla="*/ 64089 h 127011"/>
              <a:gd name="connsiteX3" fmla="*/ 0 w 117690"/>
              <a:gd name="connsiteY3" fmla="*/ 0 h 127011"/>
              <a:gd name="connsiteX4" fmla="*/ 54767 w 117690"/>
              <a:gd name="connsiteY4" fmla="*/ 0 h 127011"/>
              <a:gd name="connsiteX5" fmla="*/ 117690 w 117690"/>
              <a:gd name="connsiteY5" fmla="*/ 61758 h 12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1">
                <a:moveTo>
                  <a:pt x="53601" y="127012"/>
                </a:moveTo>
                <a:lnTo>
                  <a:pt x="0" y="127012"/>
                </a:lnTo>
                <a:lnTo>
                  <a:pt x="62924" y="64089"/>
                </a:lnTo>
                <a:lnTo>
                  <a:pt x="0" y="0"/>
                </a:lnTo>
                <a:lnTo>
                  <a:pt x="54767" y="0"/>
                </a:lnTo>
                <a:lnTo>
                  <a:pt x="117690" y="61758"/>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126" name="Freihandform: Form 125">
            <a:extLst>
              <a:ext uri="{FF2B5EF4-FFF2-40B4-BE49-F238E27FC236}">
                <a16:creationId xmlns:a16="http://schemas.microsoft.com/office/drawing/2014/main" id="{F4E3000C-CEA9-44EB-8851-A8B3AD260025}"/>
              </a:ext>
            </a:extLst>
          </p:cNvPr>
          <p:cNvSpPr/>
          <p:nvPr userDrawn="1"/>
        </p:nvSpPr>
        <p:spPr>
          <a:xfrm>
            <a:off x="7335247" y="2038533"/>
            <a:ext cx="132838" cy="143325"/>
          </a:xfrm>
          <a:custGeom>
            <a:avLst/>
            <a:gdLst>
              <a:gd name="connsiteX0" fmla="*/ 60593 w 132838"/>
              <a:gd name="connsiteY0" fmla="*/ 143326 h 143325"/>
              <a:gd name="connsiteX1" fmla="*/ 0 w 132838"/>
              <a:gd name="connsiteY1" fmla="*/ 143326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6"/>
                </a:moveTo>
                <a:lnTo>
                  <a:pt x="0" y="143326"/>
                </a:lnTo>
                <a:lnTo>
                  <a:pt x="71080" y="72245"/>
                </a:lnTo>
                <a:lnTo>
                  <a:pt x="0" y="0"/>
                </a:lnTo>
                <a:lnTo>
                  <a:pt x="61758" y="0"/>
                </a:lnTo>
                <a:lnTo>
                  <a:pt x="132838" y="69915"/>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127" name="Freihandform: Form 126">
            <a:extLst>
              <a:ext uri="{FF2B5EF4-FFF2-40B4-BE49-F238E27FC236}">
                <a16:creationId xmlns:a16="http://schemas.microsoft.com/office/drawing/2014/main" id="{2FEBA4C7-D77A-4E57-A5EF-DF08512111C0}"/>
              </a:ext>
            </a:extLst>
          </p:cNvPr>
          <p:cNvSpPr/>
          <p:nvPr userDrawn="1"/>
        </p:nvSpPr>
        <p:spPr>
          <a:xfrm>
            <a:off x="7335247" y="2392768"/>
            <a:ext cx="132838" cy="143325"/>
          </a:xfrm>
          <a:custGeom>
            <a:avLst/>
            <a:gdLst>
              <a:gd name="connsiteX0" fmla="*/ 60593 w 132838"/>
              <a:gd name="connsiteY0" fmla="*/ 143325 h 143325"/>
              <a:gd name="connsiteX1" fmla="*/ 0 w 132838"/>
              <a:gd name="connsiteY1" fmla="*/ 143325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71080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5"/>
                </a:moveTo>
                <a:lnTo>
                  <a:pt x="0" y="143325"/>
                </a:lnTo>
                <a:lnTo>
                  <a:pt x="71080" y="72245"/>
                </a:lnTo>
                <a:lnTo>
                  <a:pt x="0" y="0"/>
                </a:lnTo>
                <a:lnTo>
                  <a:pt x="61758" y="0"/>
                </a:lnTo>
                <a:lnTo>
                  <a:pt x="132838" y="71080"/>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128" name="Freihandform: Form 127">
            <a:extLst>
              <a:ext uri="{FF2B5EF4-FFF2-40B4-BE49-F238E27FC236}">
                <a16:creationId xmlns:a16="http://schemas.microsoft.com/office/drawing/2014/main" id="{2B2A6A66-6EEE-4F53-891C-D3ABC346ACCE}"/>
              </a:ext>
            </a:extLst>
          </p:cNvPr>
          <p:cNvSpPr/>
          <p:nvPr userDrawn="1"/>
        </p:nvSpPr>
        <p:spPr>
          <a:xfrm>
            <a:off x="7335247" y="2748169"/>
            <a:ext cx="132838" cy="143325"/>
          </a:xfrm>
          <a:custGeom>
            <a:avLst/>
            <a:gdLst>
              <a:gd name="connsiteX0" fmla="*/ 60593 w 132838"/>
              <a:gd name="connsiteY0" fmla="*/ 143325 h 143325"/>
              <a:gd name="connsiteX1" fmla="*/ 0 w 132838"/>
              <a:gd name="connsiteY1" fmla="*/ 143325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5"/>
                </a:moveTo>
                <a:lnTo>
                  <a:pt x="0" y="143325"/>
                </a:lnTo>
                <a:lnTo>
                  <a:pt x="71080" y="72245"/>
                </a:lnTo>
                <a:lnTo>
                  <a:pt x="0" y="0"/>
                </a:lnTo>
                <a:lnTo>
                  <a:pt x="61758" y="0"/>
                </a:lnTo>
                <a:lnTo>
                  <a:pt x="132838" y="69915"/>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129" name="Freihandform: Form 128">
            <a:extLst>
              <a:ext uri="{FF2B5EF4-FFF2-40B4-BE49-F238E27FC236}">
                <a16:creationId xmlns:a16="http://schemas.microsoft.com/office/drawing/2014/main" id="{0091A447-6DE9-4E11-8FAE-BD941BDD3FC0}"/>
              </a:ext>
            </a:extLst>
          </p:cNvPr>
          <p:cNvSpPr/>
          <p:nvPr userDrawn="1"/>
        </p:nvSpPr>
        <p:spPr>
          <a:xfrm>
            <a:off x="7335247" y="3102404"/>
            <a:ext cx="132838" cy="143325"/>
          </a:xfrm>
          <a:custGeom>
            <a:avLst/>
            <a:gdLst>
              <a:gd name="connsiteX0" fmla="*/ 60593 w 132838"/>
              <a:gd name="connsiteY0" fmla="*/ 143326 h 143325"/>
              <a:gd name="connsiteX1" fmla="*/ 0 w 132838"/>
              <a:gd name="connsiteY1" fmla="*/ 143326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71080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6"/>
                </a:moveTo>
                <a:lnTo>
                  <a:pt x="0" y="143326"/>
                </a:lnTo>
                <a:lnTo>
                  <a:pt x="71080" y="72245"/>
                </a:lnTo>
                <a:lnTo>
                  <a:pt x="0" y="0"/>
                </a:lnTo>
                <a:lnTo>
                  <a:pt x="61758" y="0"/>
                </a:lnTo>
                <a:lnTo>
                  <a:pt x="132838" y="71080"/>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130" name="Freihandform: Form 129">
            <a:extLst>
              <a:ext uri="{FF2B5EF4-FFF2-40B4-BE49-F238E27FC236}">
                <a16:creationId xmlns:a16="http://schemas.microsoft.com/office/drawing/2014/main" id="{1F18D53D-4086-4EE3-B029-469C545C3698}"/>
              </a:ext>
            </a:extLst>
          </p:cNvPr>
          <p:cNvSpPr/>
          <p:nvPr userDrawn="1"/>
        </p:nvSpPr>
        <p:spPr>
          <a:xfrm>
            <a:off x="7335247" y="3457805"/>
            <a:ext cx="132838" cy="143325"/>
          </a:xfrm>
          <a:custGeom>
            <a:avLst/>
            <a:gdLst>
              <a:gd name="connsiteX0" fmla="*/ 60593 w 132838"/>
              <a:gd name="connsiteY0" fmla="*/ 143326 h 143325"/>
              <a:gd name="connsiteX1" fmla="*/ 0 w 132838"/>
              <a:gd name="connsiteY1" fmla="*/ 143326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6"/>
                </a:moveTo>
                <a:lnTo>
                  <a:pt x="0" y="143326"/>
                </a:lnTo>
                <a:lnTo>
                  <a:pt x="71080" y="72245"/>
                </a:lnTo>
                <a:lnTo>
                  <a:pt x="0" y="0"/>
                </a:lnTo>
                <a:lnTo>
                  <a:pt x="61758" y="0"/>
                </a:lnTo>
                <a:lnTo>
                  <a:pt x="132838" y="69915"/>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131" name="Freihandform: Form 130">
            <a:extLst>
              <a:ext uri="{FF2B5EF4-FFF2-40B4-BE49-F238E27FC236}">
                <a16:creationId xmlns:a16="http://schemas.microsoft.com/office/drawing/2014/main" id="{C848A0FC-111A-40DD-BE18-27DDF31B209C}"/>
              </a:ext>
            </a:extLst>
          </p:cNvPr>
          <p:cNvSpPr/>
          <p:nvPr userDrawn="1"/>
        </p:nvSpPr>
        <p:spPr>
          <a:xfrm>
            <a:off x="7335247" y="3812040"/>
            <a:ext cx="132838" cy="144490"/>
          </a:xfrm>
          <a:custGeom>
            <a:avLst/>
            <a:gdLst>
              <a:gd name="connsiteX0" fmla="*/ 60593 w 132838"/>
              <a:gd name="connsiteY0" fmla="*/ 144491 h 144490"/>
              <a:gd name="connsiteX1" fmla="*/ 0 w 132838"/>
              <a:gd name="connsiteY1" fmla="*/ 144491 h 144490"/>
              <a:gd name="connsiteX2" fmla="*/ 71080 w 132838"/>
              <a:gd name="connsiteY2" fmla="*/ 73410 h 144490"/>
              <a:gd name="connsiteX3" fmla="*/ 0 w 132838"/>
              <a:gd name="connsiteY3" fmla="*/ 0 h 144490"/>
              <a:gd name="connsiteX4" fmla="*/ 61758 w 132838"/>
              <a:gd name="connsiteY4" fmla="*/ 0 h 144490"/>
              <a:gd name="connsiteX5" fmla="*/ 132838 w 132838"/>
              <a:gd name="connsiteY5" fmla="*/ 71080 h 144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4490">
                <a:moveTo>
                  <a:pt x="60593" y="144491"/>
                </a:moveTo>
                <a:lnTo>
                  <a:pt x="0" y="144491"/>
                </a:lnTo>
                <a:lnTo>
                  <a:pt x="71080" y="73410"/>
                </a:lnTo>
                <a:lnTo>
                  <a:pt x="0" y="0"/>
                </a:lnTo>
                <a:lnTo>
                  <a:pt x="61758" y="0"/>
                </a:lnTo>
                <a:lnTo>
                  <a:pt x="132838" y="71080"/>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132" name="Freihandform: Form 131">
            <a:extLst>
              <a:ext uri="{FF2B5EF4-FFF2-40B4-BE49-F238E27FC236}">
                <a16:creationId xmlns:a16="http://schemas.microsoft.com/office/drawing/2014/main" id="{259C5B67-9BB8-44CB-BDEB-E4760585BC97}"/>
              </a:ext>
            </a:extLst>
          </p:cNvPr>
          <p:cNvSpPr/>
          <p:nvPr userDrawn="1"/>
        </p:nvSpPr>
        <p:spPr>
          <a:xfrm>
            <a:off x="7335247" y="4167441"/>
            <a:ext cx="132838" cy="143325"/>
          </a:xfrm>
          <a:custGeom>
            <a:avLst/>
            <a:gdLst>
              <a:gd name="connsiteX0" fmla="*/ 60593 w 132838"/>
              <a:gd name="connsiteY0" fmla="*/ 143325 h 143325"/>
              <a:gd name="connsiteX1" fmla="*/ 0 w 132838"/>
              <a:gd name="connsiteY1" fmla="*/ 143325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5"/>
                </a:moveTo>
                <a:lnTo>
                  <a:pt x="0" y="143325"/>
                </a:lnTo>
                <a:lnTo>
                  <a:pt x="71080" y="72245"/>
                </a:lnTo>
                <a:lnTo>
                  <a:pt x="0" y="0"/>
                </a:lnTo>
                <a:lnTo>
                  <a:pt x="61758" y="0"/>
                </a:lnTo>
                <a:lnTo>
                  <a:pt x="132838" y="69915"/>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133" name="Freihandform: Form 132">
            <a:extLst>
              <a:ext uri="{FF2B5EF4-FFF2-40B4-BE49-F238E27FC236}">
                <a16:creationId xmlns:a16="http://schemas.microsoft.com/office/drawing/2014/main" id="{E10A0CBB-93B3-4E84-94FF-76F6DE1C4B3F}"/>
              </a:ext>
            </a:extLst>
          </p:cNvPr>
          <p:cNvSpPr/>
          <p:nvPr userDrawn="1"/>
        </p:nvSpPr>
        <p:spPr>
          <a:xfrm>
            <a:off x="7335247" y="4522842"/>
            <a:ext cx="132838" cy="143325"/>
          </a:xfrm>
          <a:custGeom>
            <a:avLst/>
            <a:gdLst>
              <a:gd name="connsiteX0" fmla="*/ 60593 w 132838"/>
              <a:gd name="connsiteY0" fmla="*/ 143325 h 143325"/>
              <a:gd name="connsiteX1" fmla="*/ 0 w 132838"/>
              <a:gd name="connsiteY1" fmla="*/ 143325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5"/>
                </a:moveTo>
                <a:lnTo>
                  <a:pt x="0" y="143325"/>
                </a:lnTo>
                <a:lnTo>
                  <a:pt x="71080" y="72245"/>
                </a:lnTo>
                <a:lnTo>
                  <a:pt x="0" y="0"/>
                </a:lnTo>
                <a:lnTo>
                  <a:pt x="61758" y="0"/>
                </a:lnTo>
                <a:lnTo>
                  <a:pt x="132838" y="69915"/>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134" name="Freihandform: Form 133">
            <a:extLst>
              <a:ext uri="{FF2B5EF4-FFF2-40B4-BE49-F238E27FC236}">
                <a16:creationId xmlns:a16="http://schemas.microsoft.com/office/drawing/2014/main" id="{BE741E57-826D-4967-A14E-45F6C9245C48}"/>
              </a:ext>
            </a:extLst>
          </p:cNvPr>
          <p:cNvSpPr/>
          <p:nvPr userDrawn="1"/>
        </p:nvSpPr>
        <p:spPr>
          <a:xfrm>
            <a:off x="7335247" y="4877077"/>
            <a:ext cx="132838" cy="143325"/>
          </a:xfrm>
          <a:custGeom>
            <a:avLst/>
            <a:gdLst>
              <a:gd name="connsiteX0" fmla="*/ 60593 w 132838"/>
              <a:gd name="connsiteY0" fmla="*/ 143325 h 143325"/>
              <a:gd name="connsiteX1" fmla="*/ 0 w 132838"/>
              <a:gd name="connsiteY1" fmla="*/ 143325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71080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5"/>
                </a:moveTo>
                <a:lnTo>
                  <a:pt x="0" y="143325"/>
                </a:lnTo>
                <a:lnTo>
                  <a:pt x="71080" y="72245"/>
                </a:lnTo>
                <a:lnTo>
                  <a:pt x="0" y="0"/>
                </a:lnTo>
                <a:lnTo>
                  <a:pt x="61758" y="0"/>
                </a:lnTo>
                <a:lnTo>
                  <a:pt x="132838" y="71080"/>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135" name="Freihandform: Form 134">
            <a:extLst>
              <a:ext uri="{FF2B5EF4-FFF2-40B4-BE49-F238E27FC236}">
                <a16:creationId xmlns:a16="http://schemas.microsoft.com/office/drawing/2014/main" id="{BC7B3BD0-CE6B-409C-A5F8-7639CED4C445}"/>
              </a:ext>
            </a:extLst>
          </p:cNvPr>
          <p:cNvSpPr/>
          <p:nvPr userDrawn="1"/>
        </p:nvSpPr>
        <p:spPr>
          <a:xfrm>
            <a:off x="7335247" y="5232478"/>
            <a:ext cx="132838" cy="143325"/>
          </a:xfrm>
          <a:custGeom>
            <a:avLst/>
            <a:gdLst>
              <a:gd name="connsiteX0" fmla="*/ 60593 w 132838"/>
              <a:gd name="connsiteY0" fmla="*/ 143325 h 143325"/>
              <a:gd name="connsiteX1" fmla="*/ 0 w 132838"/>
              <a:gd name="connsiteY1" fmla="*/ 143325 h 143325"/>
              <a:gd name="connsiteX2" fmla="*/ 71080 w 132838"/>
              <a:gd name="connsiteY2" fmla="*/ 72246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5"/>
                </a:moveTo>
                <a:lnTo>
                  <a:pt x="0" y="143325"/>
                </a:lnTo>
                <a:lnTo>
                  <a:pt x="71080" y="72246"/>
                </a:lnTo>
                <a:lnTo>
                  <a:pt x="0" y="0"/>
                </a:lnTo>
                <a:lnTo>
                  <a:pt x="61758" y="0"/>
                </a:lnTo>
                <a:lnTo>
                  <a:pt x="132838" y="69915"/>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136" name="Freihandform: Form 135">
            <a:extLst>
              <a:ext uri="{FF2B5EF4-FFF2-40B4-BE49-F238E27FC236}">
                <a16:creationId xmlns:a16="http://schemas.microsoft.com/office/drawing/2014/main" id="{D0E85425-9BE5-4C49-AC66-3B4F6B488A59}"/>
              </a:ext>
            </a:extLst>
          </p:cNvPr>
          <p:cNvSpPr/>
          <p:nvPr userDrawn="1"/>
        </p:nvSpPr>
        <p:spPr>
          <a:xfrm>
            <a:off x="7335247" y="5586713"/>
            <a:ext cx="132838" cy="143325"/>
          </a:xfrm>
          <a:custGeom>
            <a:avLst/>
            <a:gdLst>
              <a:gd name="connsiteX0" fmla="*/ 60593 w 132838"/>
              <a:gd name="connsiteY0" fmla="*/ 143326 h 143325"/>
              <a:gd name="connsiteX1" fmla="*/ 0 w 132838"/>
              <a:gd name="connsiteY1" fmla="*/ 143326 h 143325"/>
              <a:gd name="connsiteX2" fmla="*/ 71080 w 132838"/>
              <a:gd name="connsiteY2" fmla="*/ 72246 h 143325"/>
              <a:gd name="connsiteX3" fmla="*/ 0 w 132838"/>
              <a:gd name="connsiteY3" fmla="*/ 0 h 143325"/>
              <a:gd name="connsiteX4" fmla="*/ 61758 w 132838"/>
              <a:gd name="connsiteY4" fmla="*/ 0 h 143325"/>
              <a:gd name="connsiteX5" fmla="*/ 132838 w 132838"/>
              <a:gd name="connsiteY5" fmla="*/ 71080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6"/>
                </a:moveTo>
                <a:lnTo>
                  <a:pt x="0" y="143326"/>
                </a:lnTo>
                <a:lnTo>
                  <a:pt x="71080" y="72246"/>
                </a:lnTo>
                <a:lnTo>
                  <a:pt x="0" y="0"/>
                </a:lnTo>
                <a:lnTo>
                  <a:pt x="61758" y="0"/>
                </a:lnTo>
                <a:lnTo>
                  <a:pt x="132838" y="71080"/>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137" name="Freihandform: Form 136">
            <a:extLst>
              <a:ext uri="{FF2B5EF4-FFF2-40B4-BE49-F238E27FC236}">
                <a16:creationId xmlns:a16="http://schemas.microsoft.com/office/drawing/2014/main" id="{59B8B0CB-32FE-4231-B06A-4ECC351FFE9F}"/>
              </a:ext>
            </a:extLst>
          </p:cNvPr>
          <p:cNvSpPr/>
          <p:nvPr userDrawn="1"/>
        </p:nvSpPr>
        <p:spPr>
          <a:xfrm>
            <a:off x="7335247" y="5942114"/>
            <a:ext cx="132838" cy="143325"/>
          </a:xfrm>
          <a:custGeom>
            <a:avLst/>
            <a:gdLst>
              <a:gd name="connsiteX0" fmla="*/ 60593 w 132838"/>
              <a:gd name="connsiteY0" fmla="*/ 143326 h 143325"/>
              <a:gd name="connsiteX1" fmla="*/ 0 w 132838"/>
              <a:gd name="connsiteY1" fmla="*/ 143326 h 143325"/>
              <a:gd name="connsiteX2" fmla="*/ 71080 w 132838"/>
              <a:gd name="connsiteY2" fmla="*/ 72246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6"/>
                </a:moveTo>
                <a:lnTo>
                  <a:pt x="0" y="143326"/>
                </a:lnTo>
                <a:lnTo>
                  <a:pt x="71080" y="72246"/>
                </a:lnTo>
                <a:lnTo>
                  <a:pt x="0" y="0"/>
                </a:lnTo>
                <a:lnTo>
                  <a:pt x="61758" y="0"/>
                </a:lnTo>
                <a:lnTo>
                  <a:pt x="132838" y="69915"/>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138" name="Freihandform: Form 137">
            <a:extLst>
              <a:ext uri="{FF2B5EF4-FFF2-40B4-BE49-F238E27FC236}">
                <a16:creationId xmlns:a16="http://schemas.microsoft.com/office/drawing/2014/main" id="{CDF9856D-C3E6-4589-9B17-6537318C47FA}"/>
              </a:ext>
            </a:extLst>
          </p:cNvPr>
          <p:cNvSpPr/>
          <p:nvPr userDrawn="1"/>
        </p:nvSpPr>
        <p:spPr>
          <a:xfrm>
            <a:off x="7335247" y="6296349"/>
            <a:ext cx="132838" cy="143325"/>
          </a:xfrm>
          <a:custGeom>
            <a:avLst/>
            <a:gdLst>
              <a:gd name="connsiteX0" fmla="*/ 60593 w 132838"/>
              <a:gd name="connsiteY0" fmla="*/ 143326 h 143325"/>
              <a:gd name="connsiteX1" fmla="*/ 0 w 132838"/>
              <a:gd name="connsiteY1" fmla="*/ 143326 h 143325"/>
              <a:gd name="connsiteX2" fmla="*/ 71080 w 132838"/>
              <a:gd name="connsiteY2" fmla="*/ 72246 h 143325"/>
              <a:gd name="connsiteX3" fmla="*/ 0 w 132838"/>
              <a:gd name="connsiteY3" fmla="*/ 0 h 143325"/>
              <a:gd name="connsiteX4" fmla="*/ 61758 w 132838"/>
              <a:gd name="connsiteY4" fmla="*/ 0 h 143325"/>
              <a:gd name="connsiteX5" fmla="*/ 132838 w 132838"/>
              <a:gd name="connsiteY5" fmla="*/ 71080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6"/>
                </a:moveTo>
                <a:lnTo>
                  <a:pt x="0" y="143326"/>
                </a:lnTo>
                <a:lnTo>
                  <a:pt x="71080" y="72246"/>
                </a:lnTo>
                <a:lnTo>
                  <a:pt x="0" y="0"/>
                </a:lnTo>
                <a:lnTo>
                  <a:pt x="61758" y="0"/>
                </a:lnTo>
                <a:lnTo>
                  <a:pt x="132838" y="71080"/>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139" name="Freihandform: Form 138">
            <a:extLst>
              <a:ext uri="{FF2B5EF4-FFF2-40B4-BE49-F238E27FC236}">
                <a16:creationId xmlns:a16="http://schemas.microsoft.com/office/drawing/2014/main" id="{38FED1A9-FE61-42E6-B000-758465841AEC}"/>
              </a:ext>
            </a:extLst>
          </p:cNvPr>
          <p:cNvSpPr/>
          <p:nvPr userDrawn="1"/>
        </p:nvSpPr>
        <p:spPr>
          <a:xfrm>
            <a:off x="7335247" y="6651749"/>
            <a:ext cx="132838" cy="143325"/>
          </a:xfrm>
          <a:custGeom>
            <a:avLst/>
            <a:gdLst>
              <a:gd name="connsiteX0" fmla="*/ 60593 w 132838"/>
              <a:gd name="connsiteY0" fmla="*/ 143326 h 143325"/>
              <a:gd name="connsiteX1" fmla="*/ 0 w 132838"/>
              <a:gd name="connsiteY1" fmla="*/ 143326 h 143325"/>
              <a:gd name="connsiteX2" fmla="*/ 71080 w 132838"/>
              <a:gd name="connsiteY2" fmla="*/ 72246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6"/>
                </a:moveTo>
                <a:lnTo>
                  <a:pt x="0" y="143326"/>
                </a:lnTo>
                <a:lnTo>
                  <a:pt x="71080" y="72246"/>
                </a:lnTo>
                <a:lnTo>
                  <a:pt x="0" y="0"/>
                </a:lnTo>
                <a:lnTo>
                  <a:pt x="61758" y="0"/>
                </a:lnTo>
                <a:lnTo>
                  <a:pt x="132838" y="69915"/>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140" name="Freihandform: Form 139">
            <a:extLst>
              <a:ext uri="{FF2B5EF4-FFF2-40B4-BE49-F238E27FC236}">
                <a16:creationId xmlns:a16="http://schemas.microsoft.com/office/drawing/2014/main" id="{4EF56CDC-127C-4AB1-B0CE-3EB10AC31C66}"/>
              </a:ext>
            </a:extLst>
          </p:cNvPr>
          <p:cNvSpPr/>
          <p:nvPr userDrawn="1"/>
        </p:nvSpPr>
        <p:spPr>
          <a:xfrm>
            <a:off x="7682491" y="2029211"/>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79237"/>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141" name="Freihandform: Form 140">
            <a:extLst>
              <a:ext uri="{FF2B5EF4-FFF2-40B4-BE49-F238E27FC236}">
                <a16:creationId xmlns:a16="http://schemas.microsoft.com/office/drawing/2014/main" id="{8C9136EF-D2BC-4CED-8FF4-3B14C033E6CA}"/>
              </a:ext>
            </a:extLst>
          </p:cNvPr>
          <p:cNvSpPr/>
          <p:nvPr userDrawn="1"/>
        </p:nvSpPr>
        <p:spPr>
          <a:xfrm>
            <a:off x="7682491" y="2384612"/>
            <a:ext cx="147986" cy="160804"/>
          </a:xfrm>
          <a:custGeom>
            <a:avLst/>
            <a:gdLst>
              <a:gd name="connsiteX0" fmla="*/ 67584 w 147986"/>
              <a:gd name="connsiteY0" fmla="*/ 160804 h 160804"/>
              <a:gd name="connsiteX1" fmla="*/ 0 w 147986"/>
              <a:gd name="connsiteY1" fmla="*/ 160804 h 160804"/>
              <a:gd name="connsiteX2" fmla="*/ 79237 w 147986"/>
              <a:gd name="connsiteY2" fmla="*/ 80402 h 160804"/>
              <a:gd name="connsiteX3" fmla="*/ 0 w 147986"/>
              <a:gd name="connsiteY3" fmla="*/ 0 h 160804"/>
              <a:gd name="connsiteX4" fmla="*/ 68750 w 147986"/>
              <a:gd name="connsiteY4" fmla="*/ 0 h 160804"/>
              <a:gd name="connsiteX5" fmla="*/ 147986 w 147986"/>
              <a:gd name="connsiteY5" fmla="*/ 79237 h 160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0804">
                <a:moveTo>
                  <a:pt x="67584" y="160804"/>
                </a:moveTo>
                <a:lnTo>
                  <a:pt x="0" y="160804"/>
                </a:lnTo>
                <a:lnTo>
                  <a:pt x="79237" y="80402"/>
                </a:lnTo>
                <a:lnTo>
                  <a:pt x="0" y="0"/>
                </a:lnTo>
                <a:lnTo>
                  <a:pt x="68750" y="0"/>
                </a:lnTo>
                <a:lnTo>
                  <a:pt x="147986" y="79237"/>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142" name="Freihandform: Form 141">
            <a:extLst>
              <a:ext uri="{FF2B5EF4-FFF2-40B4-BE49-F238E27FC236}">
                <a16:creationId xmlns:a16="http://schemas.microsoft.com/office/drawing/2014/main" id="{4569E76D-F4FA-4A74-A472-2C55B9EAC15B}"/>
              </a:ext>
            </a:extLst>
          </p:cNvPr>
          <p:cNvSpPr/>
          <p:nvPr userDrawn="1"/>
        </p:nvSpPr>
        <p:spPr>
          <a:xfrm>
            <a:off x="7682491" y="2738847"/>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79237"/>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143" name="Freihandform: Form 142">
            <a:extLst>
              <a:ext uri="{FF2B5EF4-FFF2-40B4-BE49-F238E27FC236}">
                <a16:creationId xmlns:a16="http://schemas.microsoft.com/office/drawing/2014/main" id="{528B66DD-B565-4BDE-9558-E77627F084D4}"/>
              </a:ext>
            </a:extLst>
          </p:cNvPr>
          <p:cNvSpPr/>
          <p:nvPr userDrawn="1"/>
        </p:nvSpPr>
        <p:spPr>
          <a:xfrm>
            <a:off x="7682491" y="3094248"/>
            <a:ext cx="147986" cy="160804"/>
          </a:xfrm>
          <a:custGeom>
            <a:avLst/>
            <a:gdLst>
              <a:gd name="connsiteX0" fmla="*/ 67584 w 147986"/>
              <a:gd name="connsiteY0" fmla="*/ 160804 h 160804"/>
              <a:gd name="connsiteX1" fmla="*/ 0 w 147986"/>
              <a:gd name="connsiteY1" fmla="*/ 160804 h 160804"/>
              <a:gd name="connsiteX2" fmla="*/ 79237 w 147986"/>
              <a:gd name="connsiteY2" fmla="*/ 81567 h 160804"/>
              <a:gd name="connsiteX3" fmla="*/ 0 w 147986"/>
              <a:gd name="connsiteY3" fmla="*/ 0 h 160804"/>
              <a:gd name="connsiteX4" fmla="*/ 68750 w 147986"/>
              <a:gd name="connsiteY4" fmla="*/ 0 h 160804"/>
              <a:gd name="connsiteX5" fmla="*/ 147986 w 147986"/>
              <a:gd name="connsiteY5" fmla="*/ 79237 h 160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0804">
                <a:moveTo>
                  <a:pt x="67584" y="160804"/>
                </a:moveTo>
                <a:lnTo>
                  <a:pt x="0" y="160804"/>
                </a:lnTo>
                <a:lnTo>
                  <a:pt x="79237" y="81567"/>
                </a:lnTo>
                <a:lnTo>
                  <a:pt x="0" y="0"/>
                </a:lnTo>
                <a:lnTo>
                  <a:pt x="68750" y="0"/>
                </a:lnTo>
                <a:lnTo>
                  <a:pt x="147986" y="79237"/>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144" name="Freihandform: Form 143">
            <a:extLst>
              <a:ext uri="{FF2B5EF4-FFF2-40B4-BE49-F238E27FC236}">
                <a16:creationId xmlns:a16="http://schemas.microsoft.com/office/drawing/2014/main" id="{22BBAF1C-7C70-4F51-B014-6DC73F68E698}"/>
              </a:ext>
            </a:extLst>
          </p:cNvPr>
          <p:cNvSpPr/>
          <p:nvPr userDrawn="1"/>
        </p:nvSpPr>
        <p:spPr>
          <a:xfrm>
            <a:off x="7682491" y="3448483"/>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79237"/>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145" name="Freihandform: Form 144">
            <a:extLst>
              <a:ext uri="{FF2B5EF4-FFF2-40B4-BE49-F238E27FC236}">
                <a16:creationId xmlns:a16="http://schemas.microsoft.com/office/drawing/2014/main" id="{2C1E7832-B0C7-4A63-82D7-3BBA52516F26}"/>
              </a:ext>
            </a:extLst>
          </p:cNvPr>
          <p:cNvSpPr/>
          <p:nvPr userDrawn="1"/>
        </p:nvSpPr>
        <p:spPr>
          <a:xfrm>
            <a:off x="7682491" y="3803883"/>
            <a:ext cx="147986" cy="160804"/>
          </a:xfrm>
          <a:custGeom>
            <a:avLst/>
            <a:gdLst>
              <a:gd name="connsiteX0" fmla="*/ 67584 w 147986"/>
              <a:gd name="connsiteY0" fmla="*/ 160804 h 160804"/>
              <a:gd name="connsiteX1" fmla="*/ 0 w 147986"/>
              <a:gd name="connsiteY1" fmla="*/ 160804 h 160804"/>
              <a:gd name="connsiteX2" fmla="*/ 79237 w 147986"/>
              <a:gd name="connsiteY2" fmla="*/ 81567 h 160804"/>
              <a:gd name="connsiteX3" fmla="*/ 0 w 147986"/>
              <a:gd name="connsiteY3" fmla="*/ 0 h 160804"/>
              <a:gd name="connsiteX4" fmla="*/ 68750 w 147986"/>
              <a:gd name="connsiteY4" fmla="*/ 0 h 160804"/>
              <a:gd name="connsiteX5" fmla="*/ 147986 w 147986"/>
              <a:gd name="connsiteY5" fmla="*/ 79237 h 160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0804">
                <a:moveTo>
                  <a:pt x="67584" y="160804"/>
                </a:moveTo>
                <a:lnTo>
                  <a:pt x="0" y="160804"/>
                </a:lnTo>
                <a:lnTo>
                  <a:pt x="79237" y="81567"/>
                </a:lnTo>
                <a:lnTo>
                  <a:pt x="0" y="0"/>
                </a:lnTo>
                <a:lnTo>
                  <a:pt x="68750" y="0"/>
                </a:lnTo>
                <a:lnTo>
                  <a:pt x="147986" y="79237"/>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146" name="Freihandform: Form 145">
            <a:extLst>
              <a:ext uri="{FF2B5EF4-FFF2-40B4-BE49-F238E27FC236}">
                <a16:creationId xmlns:a16="http://schemas.microsoft.com/office/drawing/2014/main" id="{4ADB28F8-65A7-427A-9339-4EA2851C22DE}"/>
              </a:ext>
            </a:extLst>
          </p:cNvPr>
          <p:cNvSpPr/>
          <p:nvPr userDrawn="1"/>
        </p:nvSpPr>
        <p:spPr>
          <a:xfrm>
            <a:off x="7682491" y="4158119"/>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79237"/>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147" name="Freihandform: Form 146">
            <a:extLst>
              <a:ext uri="{FF2B5EF4-FFF2-40B4-BE49-F238E27FC236}">
                <a16:creationId xmlns:a16="http://schemas.microsoft.com/office/drawing/2014/main" id="{01D41F8F-ECEB-4D64-A1BD-CCF25E726CC3}"/>
              </a:ext>
            </a:extLst>
          </p:cNvPr>
          <p:cNvSpPr/>
          <p:nvPr userDrawn="1"/>
        </p:nvSpPr>
        <p:spPr>
          <a:xfrm>
            <a:off x="7682491" y="4513520"/>
            <a:ext cx="147986" cy="160804"/>
          </a:xfrm>
          <a:custGeom>
            <a:avLst/>
            <a:gdLst>
              <a:gd name="connsiteX0" fmla="*/ 67584 w 147986"/>
              <a:gd name="connsiteY0" fmla="*/ 160804 h 160804"/>
              <a:gd name="connsiteX1" fmla="*/ 0 w 147986"/>
              <a:gd name="connsiteY1" fmla="*/ 160804 h 160804"/>
              <a:gd name="connsiteX2" fmla="*/ 79237 w 147986"/>
              <a:gd name="connsiteY2" fmla="*/ 81567 h 160804"/>
              <a:gd name="connsiteX3" fmla="*/ 0 w 147986"/>
              <a:gd name="connsiteY3" fmla="*/ 0 h 160804"/>
              <a:gd name="connsiteX4" fmla="*/ 68750 w 147986"/>
              <a:gd name="connsiteY4" fmla="*/ 0 h 160804"/>
              <a:gd name="connsiteX5" fmla="*/ 147986 w 147986"/>
              <a:gd name="connsiteY5" fmla="*/ 79237 h 160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0804">
                <a:moveTo>
                  <a:pt x="67584" y="160804"/>
                </a:moveTo>
                <a:lnTo>
                  <a:pt x="0" y="160804"/>
                </a:lnTo>
                <a:lnTo>
                  <a:pt x="79237" y="81567"/>
                </a:lnTo>
                <a:lnTo>
                  <a:pt x="0" y="0"/>
                </a:lnTo>
                <a:lnTo>
                  <a:pt x="68750" y="0"/>
                </a:lnTo>
                <a:lnTo>
                  <a:pt x="147986" y="79237"/>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148" name="Freihandform: Form 147">
            <a:extLst>
              <a:ext uri="{FF2B5EF4-FFF2-40B4-BE49-F238E27FC236}">
                <a16:creationId xmlns:a16="http://schemas.microsoft.com/office/drawing/2014/main" id="{CE531F72-8D2B-4919-8595-94099FCA9A1E}"/>
              </a:ext>
            </a:extLst>
          </p:cNvPr>
          <p:cNvSpPr/>
          <p:nvPr userDrawn="1"/>
        </p:nvSpPr>
        <p:spPr>
          <a:xfrm>
            <a:off x="7682491" y="4867755"/>
            <a:ext cx="147986" cy="161969"/>
          </a:xfrm>
          <a:custGeom>
            <a:avLst/>
            <a:gdLst>
              <a:gd name="connsiteX0" fmla="*/ 67584 w 147986"/>
              <a:gd name="connsiteY0" fmla="*/ 161970 h 161969"/>
              <a:gd name="connsiteX1" fmla="*/ 0 w 147986"/>
              <a:gd name="connsiteY1" fmla="*/ 161970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70"/>
                </a:moveTo>
                <a:lnTo>
                  <a:pt x="0" y="161970"/>
                </a:lnTo>
                <a:lnTo>
                  <a:pt x="79237" y="81567"/>
                </a:lnTo>
                <a:lnTo>
                  <a:pt x="0" y="0"/>
                </a:lnTo>
                <a:lnTo>
                  <a:pt x="68750" y="0"/>
                </a:lnTo>
                <a:lnTo>
                  <a:pt x="147986" y="79237"/>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149" name="Freihandform: Form 148">
            <a:extLst>
              <a:ext uri="{FF2B5EF4-FFF2-40B4-BE49-F238E27FC236}">
                <a16:creationId xmlns:a16="http://schemas.microsoft.com/office/drawing/2014/main" id="{B4F193FC-DA83-48F9-89F8-2D99F6AB5F00}"/>
              </a:ext>
            </a:extLst>
          </p:cNvPr>
          <p:cNvSpPr/>
          <p:nvPr userDrawn="1"/>
        </p:nvSpPr>
        <p:spPr>
          <a:xfrm>
            <a:off x="7682491" y="5223156"/>
            <a:ext cx="147986" cy="160804"/>
          </a:xfrm>
          <a:custGeom>
            <a:avLst/>
            <a:gdLst>
              <a:gd name="connsiteX0" fmla="*/ 67584 w 147986"/>
              <a:gd name="connsiteY0" fmla="*/ 160804 h 160804"/>
              <a:gd name="connsiteX1" fmla="*/ 0 w 147986"/>
              <a:gd name="connsiteY1" fmla="*/ 160804 h 160804"/>
              <a:gd name="connsiteX2" fmla="*/ 79237 w 147986"/>
              <a:gd name="connsiteY2" fmla="*/ 81567 h 160804"/>
              <a:gd name="connsiteX3" fmla="*/ 0 w 147986"/>
              <a:gd name="connsiteY3" fmla="*/ 0 h 160804"/>
              <a:gd name="connsiteX4" fmla="*/ 68750 w 147986"/>
              <a:gd name="connsiteY4" fmla="*/ 0 h 160804"/>
              <a:gd name="connsiteX5" fmla="*/ 147986 w 147986"/>
              <a:gd name="connsiteY5" fmla="*/ 79237 h 160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0804">
                <a:moveTo>
                  <a:pt x="67584" y="160804"/>
                </a:moveTo>
                <a:lnTo>
                  <a:pt x="0" y="160804"/>
                </a:lnTo>
                <a:lnTo>
                  <a:pt x="79237" y="81567"/>
                </a:lnTo>
                <a:lnTo>
                  <a:pt x="0" y="0"/>
                </a:lnTo>
                <a:lnTo>
                  <a:pt x="68750" y="0"/>
                </a:lnTo>
                <a:lnTo>
                  <a:pt x="147986" y="79237"/>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150" name="Freihandform: Form 149">
            <a:extLst>
              <a:ext uri="{FF2B5EF4-FFF2-40B4-BE49-F238E27FC236}">
                <a16:creationId xmlns:a16="http://schemas.microsoft.com/office/drawing/2014/main" id="{B6B3DDD1-B89D-4894-B73C-DBC48334AF1F}"/>
              </a:ext>
            </a:extLst>
          </p:cNvPr>
          <p:cNvSpPr/>
          <p:nvPr userDrawn="1"/>
        </p:nvSpPr>
        <p:spPr>
          <a:xfrm>
            <a:off x="7682491" y="5577391"/>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79237"/>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151" name="Freihandform: Form 150">
            <a:extLst>
              <a:ext uri="{FF2B5EF4-FFF2-40B4-BE49-F238E27FC236}">
                <a16:creationId xmlns:a16="http://schemas.microsoft.com/office/drawing/2014/main" id="{811AA052-2E74-40BE-9995-8034FBAF463A}"/>
              </a:ext>
            </a:extLst>
          </p:cNvPr>
          <p:cNvSpPr/>
          <p:nvPr userDrawn="1"/>
        </p:nvSpPr>
        <p:spPr>
          <a:xfrm>
            <a:off x="7682491" y="5932792"/>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79237"/>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152" name="Freihandform: Form 151">
            <a:extLst>
              <a:ext uri="{FF2B5EF4-FFF2-40B4-BE49-F238E27FC236}">
                <a16:creationId xmlns:a16="http://schemas.microsoft.com/office/drawing/2014/main" id="{D5FC3F70-8430-487B-955D-7CCE09194A36}"/>
              </a:ext>
            </a:extLst>
          </p:cNvPr>
          <p:cNvSpPr/>
          <p:nvPr userDrawn="1"/>
        </p:nvSpPr>
        <p:spPr>
          <a:xfrm>
            <a:off x="7682491" y="6287027"/>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80402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80402"/>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153" name="Freihandform: Form 152">
            <a:extLst>
              <a:ext uri="{FF2B5EF4-FFF2-40B4-BE49-F238E27FC236}">
                <a16:creationId xmlns:a16="http://schemas.microsoft.com/office/drawing/2014/main" id="{B2958A8B-B9EC-4E18-918A-DDD606A07ECA}"/>
              </a:ext>
            </a:extLst>
          </p:cNvPr>
          <p:cNvSpPr/>
          <p:nvPr userDrawn="1"/>
        </p:nvSpPr>
        <p:spPr>
          <a:xfrm>
            <a:off x="7682491" y="6642428"/>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79237"/>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154" name="Freihandform: Form 153">
            <a:extLst>
              <a:ext uri="{FF2B5EF4-FFF2-40B4-BE49-F238E27FC236}">
                <a16:creationId xmlns:a16="http://schemas.microsoft.com/office/drawing/2014/main" id="{F691BD25-1275-4AF8-9A84-E92E11AD82D6}"/>
              </a:ext>
            </a:extLst>
          </p:cNvPr>
          <p:cNvSpPr/>
          <p:nvPr userDrawn="1"/>
        </p:nvSpPr>
        <p:spPr>
          <a:xfrm>
            <a:off x="8028570" y="2019889"/>
            <a:ext cx="165465" cy="179448"/>
          </a:xfrm>
          <a:custGeom>
            <a:avLst/>
            <a:gdLst>
              <a:gd name="connsiteX0" fmla="*/ 75741 w 165465"/>
              <a:gd name="connsiteY0" fmla="*/ 179448 h 179448"/>
              <a:gd name="connsiteX1" fmla="*/ 0 w 165465"/>
              <a:gd name="connsiteY1" fmla="*/ 179448 h 179448"/>
              <a:gd name="connsiteX2" fmla="*/ 88559 w 165465"/>
              <a:gd name="connsiteY2" fmla="*/ 90889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89"/>
                </a:lnTo>
                <a:lnTo>
                  <a:pt x="0" y="0"/>
                </a:lnTo>
                <a:lnTo>
                  <a:pt x="76906" y="0"/>
                </a:lnTo>
                <a:lnTo>
                  <a:pt x="165465" y="88559"/>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155" name="Freihandform: Form 154">
            <a:extLst>
              <a:ext uri="{FF2B5EF4-FFF2-40B4-BE49-F238E27FC236}">
                <a16:creationId xmlns:a16="http://schemas.microsoft.com/office/drawing/2014/main" id="{DC4CAB94-430C-4912-8959-C4A9739D2BF3}"/>
              </a:ext>
            </a:extLst>
          </p:cNvPr>
          <p:cNvSpPr/>
          <p:nvPr userDrawn="1"/>
        </p:nvSpPr>
        <p:spPr>
          <a:xfrm>
            <a:off x="8028570" y="2375290"/>
            <a:ext cx="165465" cy="179448"/>
          </a:xfrm>
          <a:custGeom>
            <a:avLst/>
            <a:gdLst>
              <a:gd name="connsiteX0" fmla="*/ 75741 w 165465"/>
              <a:gd name="connsiteY0" fmla="*/ 179448 h 179448"/>
              <a:gd name="connsiteX1" fmla="*/ 0 w 165465"/>
              <a:gd name="connsiteY1" fmla="*/ 179448 h 179448"/>
              <a:gd name="connsiteX2" fmla="*/ 88559 w 165465"/>
              <a:gd name="connsiteY2" fmla="*/ 90889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89"/>
                </a:lnTo>
                <a:lnTo>
                  <a:pt x="0" y="0"/>
                </a:lnTo>
                <a:lnTo>
                  <a:pt x="76906" y="0"/>
                </a:lnTo>
                <a:lnTo>
                  <a:pt x="165465" y="88559"/>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156" name="Freihandform: Form 155">
            <a:extLst>
              <a:ext uri="{FF2B5EF4-FFF2-40B4-BE49-F238E27FC236}">
                <a16:creationId xmlns:a16="http://schemas.microsoft.com/office/drawing/2014/main" id="{C6BBFAA2-3B04-47FB-9741-86AA2D0A66BD}"/>
              </a:ext>
            </a:extLst>
          </p:cNvPr>
          <p:cNvSpPr/>
          <p:nvPr userDrawn="1"/>
        </p:nvSpPr>
        <p:spPr>
          <a:xfrm>
            <a:off x="8028570" y="2729525"/>
            <a:ext cx="165465" cy="179448"/>
          </a:xfrm>
          <a:custGeom>
            <a:avLst/>
            <a:gdLst>
              <a:gd name="connsiteX0" fmla="*/ 75741 w 165465"/>
              <a:gd name="connsiteY0" fmla="*/ 179448 h 179448"/>
              <a:gd name="connsiteX1" fmla="*/ 0 w 165465"/>
              <a:gd name="connsiteY1" fmla="*/ 179448 h 179448"/>
              <a:gd name="connsiteX2" fmla="*/ 88559 w 165465"/>
              <a:gd name="connsiteY2" fmla="*/ 90889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89"/>
                </a:lnTo>
                <a:lnTo>
                  <a:pt x="0" y="0"/>
                </a:lnTo>
                <a:lnTo>
                  <a:pt x="76906" y="0"/>
                </a:lnTo>
                <a:lnTo>
                  <a:pt x="165465" y="88559"/>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157" name="Freihandform: Form 156">
            <a:extLst>
              <a:ext uri="{FF2B5EF4-FFF2-40B4-BE49-F238E27FC236}">
                <a16:creationId xmlns:a16="http://schemas.microsoft.com/office/drawing/2014/main" id="{87273E84-7569-46FA-A0DE-65EF20AC2304}"/>
              </a:ext>
            </a:extLst>
          </p:cNvPr>
          <p:cNvSpPr/>
          <p:nvPr userDrawn="1"/>
        </p:nvSpPr>
        <p:spPr>
          <a:xfrm>
            <a:off x="8028570" y="3084926"/>
            <a:ext cx="165465" cy="179448"/>
          </a:xfrm>
          <a:custGeom>
            <a:avLst/>
            <a:gdLst>
              <a:gd name="connsiteX0" fmla="*/ 75741 w 165465"/>
              <a:gd name="connsiteY0" fmla="*/ 179448 h 179448"/>
              <a:gd name="connsiteX1" fmla="*/ 0 w 165465"/>
              <a:gd name="connsiteY1" fmla="*/ 179448 h 179448"/>
              <a:gd name="connsiteX2" fmla="*/ 88559 w 165465"/>
              <a:gd name="connsiteY2" fmla="*/ 90889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89"/>
                </a:lnTo>
                <a:lnTo>
                  <a:pt x="0" y="0"/>
                </a:lnTo>
                <a:lnTo>
                  <a:pt x="76906" y="0"/>
                </a:lnTo>
                <a:lnTo>
                  <a:pt x="165465" y="88559"/>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158" name="Freihandform: Form 157">
            <a:extLst>
              <a:ext uri="{FF2B5EF4-FFF2-40B4-BE49-F238E27FC236}">
                <a16:creationId xmlns:a16="http://schemas.microsoft.com/office/drawing/2014/main" id="{BB7E0BC0-C1AD-4461-9A4C-CC414046CDC0}"/>
              </a:ext>
            </a:extLst>
          </p:cNvPr>
          <p:cNvSpPr/>
          <p:nvPr userDrawn="1"/>
        </p:nvSpPr>
        <p:spPr>
          <a:xfrm>
            <a:off x="8028570" y="3439161"/>
            <a:ext cx="165465" cy="180613"/>
          </a:xfrm>
          <a:custGeom>
            <a:avLst/>
            <a:gdLst>
              <a:gd name="connsiteX0" fmla="*/ 75741 w 165465"/>
              <a:gd name="connsiteY0" fmla="*/ 180614 h 180613"/>
              <a:gd name="connsiteX1" fmla="*/ 0 w 165465"/>
              <a:gd name="connsiteY1" fmla="*/ 180614 h 180613"/>
              <a:gd name="connsiteX2" fmla="*/ 88559 w 165465"/>
              <a:gd name="connsiteY2" fmla="*/ 90889 h 180613"/>
              <a:gd name="connsiteX3" fmla="*/ 0 w 165465"/>
              <a:gd name="connsiteY3" fmla="*/ 0 h 180613"/>
              <a:gd name="connsiteX4" fmla="*/ 76906 w 165465"/>
              <a:gd name="connsiteY4" fmla="*/ 0 h 180613"/>
              <a:gd name="connsiteX5" fmla="*/ 165465 w 165465"/>
              <a:gd name="connsiteY5" fmla="*/ 88559 h 180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80613">
                <a:moveTo>
                  <a:pt x="75741" y="180614"/>
                </a:moveTo>
                <a:lnTo>
                  <a:pt x="0" y="180614"/>
                </a:lnTo>
                <a:lnTo>
                  <a:pt x="88559" y="90889"/>
                </a:lnTo>
                <a:lnTo>
                  <a:pt x="0" y="0"/>
                </a:lnTo>
                <a:lnTo>
                  <a:pt x="76906" y="0"/>
                </a:lnTo>
                <a:lnTo>
                  <a:pt x="165465" y="88559"/>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159" name="Freihandform: Form 158">
            <a:extLst>
              <a:ext uri="{FF2B5EF4-FFF2-40B4-BE49-F238E27FC236}">
                <a16:creationId xmlns:a16="http://schemas.microsoft.com/office/drawing/2014/main" id="{B6BD8AFE-4266-4C06-B3C7-3032BC71F4E3}"/>
              </a:ext>
            </a:extLst>
          </p:cNvPr>
          <p:cNvSpPr/>
          <p:nvPr userDrawn="1"/>
        </p:nvSpPr>
        <p:spPr>
          <a:xfrm>
            <a:off x="8028570" y="3794562"/>
            <a:ext cx="165465" cy="179448"/>
          </a:xfrm>
          <a:custGeom>
            <a:avLst/>
            <a:gdLst>
              <a:gd name="connsiteX0" fmla="*/ 75741 w 165465"/>
              <a:gd name="connsiteY0" fmla="*/ 179448 h 179448"/>
              <a:gd name="connsiteX1" fmla="*/ 0 w 165465"/>
              <a:gd name="connsiteY1" fmla="*/ 179448 h 179448"/>
              <a:gd name="connsiteX2" fmla="*/ 88559 w 165465"/>
              <a:gd name="connsiteY2" fmla="*/ 90889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89"/>
                </a:lnTo>
                <a:lnTo>
                  <a:pt x="0" y="0"/>
                </a:lnTo>
                <a:lnTo>
                  <a:pt x="76906" y="0"/>
                </a:lnTo>
                <a:lnTo>
                  <a:pt x="165465" y="88559"/>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160" name="Freihandform: Form 159">
            <a:extLst>
              <a:ext uri="{FF2B5EF4-FFF2-40B4-BE49-F238E27FC236}">
                <a16:creationId xmlns:a16="http://schemas.microsoft.com/office/drawing/2014/main" id="{F3695435-C87C-4AAF-9339-04ED04C5A759}"/>
              </a:ext>
            </a:extLst>
          </p:cNvPr>
          <p:cNvSpPr/>
          <p:nvPr userDrawn="1"/>
        </p:nvSpPr>
        <p:spPr>
          <a:xfrm>
            <a:off x="8028570" y="4148797"/>
            <a:ext cx="165465" cy="180613"/>
          </a:xfrm>
          <a:custGeom>
            <a:avLst/>
            <a:gdLst>
              <a:gd name="connsiteX0" fmla="*/ 75741 w 165465"/>
              <a:gd name="connsiteY0" fmla="*/ 180613 h 180613"/>
              <a:gd name="connsiteX1" fmla="*/ 0 w 165465"/>
              <a:gd name="connsiteY1" fmla="*/ 180613 h 180613"/>
              <a:gd name="connsiteX2" fmla="*/ 88559 w 165465"/>
              <a:gd name="connsiteY2" fmla="*/ 90889 h 180613"/>
              <a:gd name="connsiteX3" fmla="*/ 0 w 165465"/>
              <a:gd name="connsiteY3" fmla="*/ 0 h 180613"/>
              <a:gd name="connsiteX4" fmla="*/ 76906 w 165465"/>
              <a:gd name="connsiteY4" fmla="*/ 0 h 180613"/>
              <a:gd name="connsiteX5" fmla="*/ 165465 w 165465"/>
              <a:gd name="connsiteY5" fmla="*/ 88559 h 180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80613">
                <a:moveTo>
                  <a:pt x="75741" y="180613"/>
                </a:moveTo>
                <a:lnTo>
                  <a:pt x="0" y="180613"/>
                </a:lnTo>
                <a:lnTo>
                  <a:pt x="88559" y="90889"/>
                </a:lnTo>
                <a:lnTo>
                  <a:pt x="0" y="0"/>
                </a:lnTo>
                <a:lnTo>
                  <a:pt x="76906" y="0"/>
                </a:lnTo>
                <a:lnTo>
                  <a:pt x="165465" y="88559"/>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161" name="Freihandform: Form 160">
            <a:extLst>
              <a:ext uri="{FF2B5EF4-FFF2-40B4-BE49-F238E27FC236}">
                <a16:creationId xmlns:a16="http://schemas.microsoft.com/office/drawing/2014/main" id="{11C808CA-4A35-4E86-BA83-E00F3EF95605}"/>
              </a:ext>
            </a:extLst>
          </p:cNvPr>
          <p:cNvSpPr/>
          <p:nvPr userDrawn="1"/>
        </p:nvSpPr>
        <p:spPr>
          <a:xfrm>
            <a:off x="8028570" y="4504198"/>
            <a:ext cx="165465" cy="179448"/>
          </a:xfrm>
          <a:custGeom>
            <a:avLst/>
            <a:gdLst>
              <a:gd name="connsiteX0" fmla="*/ 75741 w 165465"/>
              <a:gd name="connsiteY0" fmla="*/ 179448 h 179448"/>
              <a:gd name="connsiteX1" fmla="*/ 0 w 165465"/>
              <a:gd name="connsiteY1" fmla="*/ 179448 h 179448"/>
              <a:gd name="connsiteX2" fmla="*/ 88559 w 165465"/>
              <a:gd name="connsiteY2" fmla="*/ 90889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89"/>
                </a:lnTo>
                <a:lnTo>
                  <a:pt x="0" y="0"/>
                </a:lnTo>
                <a:lnTo>
                  <a:pt x="76906" y="0"/>
                </a:lnTo>
                <a:lnTo>
                  <a:pt x="165465" y="88559"/>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162" name="Freihandform: Form 161">
            <a:extLst>
              <a:ext uri="{FF2B5EF4-FFF2-40B4-BE49-F238E27FC236}">
                <a16:creationId xmlns:a16="http://schemas.microsoft.com/office/drawing/2014/main" id="{49E3713B-D0F3-4994-AF90-60F1CB246E60}"/>
              </a:ext>
            </a:extLst>
          </p:cNvPr>
          <p:cNvSpPr/>
          <p:nvPr userDrawn="1"/>
        </p:nvSpPr>
        <p:spPr>
          <a:xfrm>
            <a:off x="8028570" y="4859598"/>
            <a:ext cx="165465" cy="179448"/>
          </a:xfrm>
          <a:custGeom>
            <a:avLst/>
            <a:gdLst>
              <a:gd name="connsiteX0" fmla="*/ 75741 w 165465"/>
              <a:gd name="connsiteY0" fmla="*/ 179448 h 179448"/>
              <a:gd name="connsiteX1" fmla="*/ 0 w 165465"/>
              <a:gd name="connsiteY1" fmla="*/ 179448 h 179448"/>
              <a:gd name="connsiteX2" fmla="*/ 88559 w 165465"/>
              <a:gd name="connsiteY2" fmla="*/ 89724 h 179448"/>
              <a:gd name="connsiteX3" fmla="*/ 0 w 165465"/>
              <a:gd name="connsiteY3" fmla="*/ 0 h 179448"/>
              <a:gd name="connsiteX4" fmla="*/ 76906 w 165465"/>
              <a:gd name="connsiteY4" fmla="*/ 0 h 179448"/>
              <a:gd name="connsiteX5" fmla="*/ 165465 w 165465"/>
              <a:gd name="connsiteY5" fmla="*/ 87394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89724"/>
                </a:lnTo>
                <a:lnTo>
                  <a:pt x="0" y="0"/>
                </a:lnTo>
                <a:lnTo>
                  <a:pt x="76906" y="0"/>
                </a:lnTo>
                <a:lnTo>
                  <a:pt x="165465" y="87394"/>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163" name="Freihandform: Form 162">
            <a:extLst>
              <a:ext uri="{FF2B5EF4-FFF2-40B4-BE49-F238E27FC236}">
                <a16:creationId xmlns:a16="http://schemas.microsoft.com/office/drawing/2014/main" id="{868047CF-C772-468C-A607-65A3B676D60F}"/>
              </a:ext>
            </a:extLst>
          </p:cNvPr>
          <p:cNvSpPr/>
          <p:nvPr userDrawn="1"/>
        </p:nvSpPr>
        <p:spPr>
          <a:xfrm>
            <a:off x="8028570" y="5213834"/>
            <a:ext cx="165465" cy="179448"/>
          </a:xfrm>
          <a:custGeom>
            <a:avLst/>
            <a:gdLst>
              <a:gd name="connsiteX0" fmla="*/ 75741 w 165465"/>
              <a:gd name="connsiteY0" fmla="*/ 179448 h 179448"/>
              <a:gd name="connsiteX1" fmla="*/ 0 w 165465"/>
              <a:gd name="connsiteY1" fmla="*/ 179448 h 179448"/>
              <a:gd name="connsiteX2" fmla="*/ 88559 w 165465"/>
              <a:gd name="connsiteY2" fmla="*/ 90890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90"/>
                </a:lnTo>
                <a:lnTo>
                  <a:pt x="0" y="0"/>
                </a:lnTo>
                <a:lnTo>
                  <a:pt x="76906" y="0"/>
                </a:lnTo>
                <a:lnTo>
                  <a:pt x="165465" y="88559"/>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164" name="Freihandform: Form 163">
            <a:extLst>
              <a:ext uri="{FF2B5EF4-FFF2-40B4-BE49-F238E27FC236}">
                <a16:creationId xmlns:a16="http://schemas.microsoft.com/office/drawing/2014/main" id="{F8A4F29B-3660-49FA-8AF7-514C22860C77}"/>
              </a:ext>
            </a:extLst>
          </p:cNvPr>
          <p:cNvSpPr/>
          <p:nvPr userDrawn="1"/>
        </p:nvSpPr>
        <p:spPr>
          <a:xfrm>
            <a:off x="8028570" y="5569234"/>
            <a:ext cx="165465" cy="179448"/>
          </a:xfrm>
          <a:custGeom>
            <a:avLst/>
            <a:gdLst>
              <a:gd name="connsiteX0" fmla="*/ 75741 w 165465"/>
              <a:gd name="connsiteY0" fmla="*/ 179448 h 179448"/>
              <a:gd name="connsiteX1" fmla="*/ 0 w 165465"/>
              <a:gd name="connsiteY1" fmla="*/ 179448 h 179448"/>
              <a:gd name="connsiteX2" fmla="*/ 88559 w 165465"/>
              <a:gd name="connsiteY2" fmla="*/ 89724 h 179448"/>
              <a:gd name="connsiteX3" fmla="*/ 0 w 165465"/>
              <a:gd name="connsiteY3" fmla="*/ 0 h 179448"/>
              <a:gd name="connsiteX4" fmla="*/ 76906 w 165465"/>
              <a:gd name="connsiteY4" fmla="*/ 0 h 179448"/>
              <a:gd name="connsiteX5" fmla="*/ 165465 w 165465"/>
              <a:gd name="connsiteY5" fmla="*/ 87394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89724"/>
                </a:lnTo>
                <a:lnTo>
                  <a:pt x="0" y="0"/>
                </a:lnTo>
                <a:lnTo>
                  <a:pt x="76906" y="0"/>
                </a:lnTo>
                <a:lnTo>
                  <a:pt x="165465" y="87394"/>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165" name="Freihandform: Form 164">
            <a:extLst>
              <a:ext uri="{FF2B5EF4-FFF2-40B4-BE49-F238E27FC236}">
                <a16:creationId xmlns:a16="http://schemas.microsoft.com/office/drawing/2014/main" id="{46685656-5684-4E77-9CAD-0B41EEF6BE36}"/>
              </a:ext>
            </a:extLst>
          </p:cNvPr>
          <p:cNvSpPr/>
          <p:nvPr userDrawn="1"/>
        </p:nvSpPr>
        <p:spPr>
          <a:xfrm>
            <a:off x="8028570" y="5923469"/>
            <a:ext cx="165465" cy="179448"/>
          </a:xfrm>
          <a:custGeom>
            <a:avLst/>
            <a:gdLst>
              <a:gd name="connsiteX0" fmla="*/ 75741 w 165465"/>
              <a:gd name="connsiteY0" fmla="*/ 179448 h 179448"/>
              <a:gd name="connsiteX1" fmla="*/ 0 w 165465"/>
              <a:gd name="connsiteY1" fmla="*/ 179448 h 179448"/>
              <a:gd name="connsiteX2" fmla="*/ 88559 w 165465"/>
              <a:gd name="connsiteY2" fmla="*/ 90890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90"/>
                </a:lnTo>
                <a:lnTo>
                  <a:pt x="0" y="0"/>
                </a:lnTo>
                <a:lnTo>
                  <a:pt x="76906" y="0"/>
                </a:lnTo>
                <a:lnTo>
                  <a:pt x="165465" y="88559"/>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166" name="Freihandform: Form 165">
            <a:extLst>
              <a:ext uri="{FF2B5EF4-FFF2-40B4-BE49-F238E27FC236}">
                <a16:creationId xmlns:a16="http://schemas.microsoft.com/office/drawing/2014/main" id="{4ED77200-5A3B-4FAB-97CF-876143D134BF}"/>
              </a:ext>
            </a:extLst>
          </p:cNvPr>
          <p:cNvSpPr/>
          <p:nvPr userDrawn="1"/>
        </p:nvSpPr>
        <p:spPr>
          <a:xfrm>
            <a:off x="8028570" y="6278870"/>
            <a:ext cx="165465" cy="179448"/>
          </a:xfrm>
          <a:custGeom>
            <a:avLst/>
            <a:gdLst>
              <a:gd name="connsiteX0" fmla="*/ 75741 w 165465"/>
              <a:gd name="connsiteY0" fmla="*/ 179448 h 179448"/>
              <a:gd name="connsiteX1" fmla="*/ 0 w 165465"/>
              <a:gd name="connsiteY1" fmla="*/ 179448 h 179448"/>
              <a:gd name="connsiteX2" fmla="*/ 88559 w 165465"/>
              <a:gd name="connsiteY2" fmla="*/ 89724 h 179448"/>
              <a:gd name="connsiteX3" fmla="*/ 0 w 165465"/>
              <a:gd name="connsiteY3" fmla="*/ 0 h 179448"/>
              <a:gd name="connsiteX4" fmla="*/ 76906 w 165465"/>
              <a:gd name="connsiteY4" fmla="*/ 0 h 179448"/>
              <a:gd name="connsiteX5" fmla="*/ 165465 w 165465"/>
              <a:gd name="connsiteY5" fmla="*/ 87394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89724"/>
                </a:lnTo>
                <a:lnTo>
                  <a:pt x="0" y="0"/>
                </a:lnTo>
                <a:lnTo>
                  <a:pt x="76906" y="0"/>
                </a:lnTo>
                <a:lnTo>
                  <a:pt x="165465" y="87394"/>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167" name="Freihandform: Form 166">
            <a:extLst>
              <a:ext uri="{FF2B5EF4-FFF2-40B4-BE49-F238E27FC236}">
                <a16:creationId xmlns:a16="http://schemas.microsoft.com/office/drawing/2014/main" id="{6DC5B69F-AA67-4338-A444-81CC657A6C56}"/>
              </a:ext>
            </a:extLst>
          </p:cNvPr>
          <p:cNvSpPr/>
          <p:nvPr userDrawn="1"/>
        </p:nvSpPr>
        <p:spPr>
          <a:xfrm>
            <a:off x="8028570" y="6633106"/>
            <a:ext cx="165465" cy="179448"/>
          </a:xfrm>
          <a:custGeom>
            <a:avLst/>
            <a:gdLst>
              <a:gd name="connsiteX0" fmla="*/ 75741 w 165465"/>
              <a:gd name="connsiteY0" fmla="*/ 179448 h 179448"/>
              <a:gd name="connsiteX1" fmla="*/ 0 w 165465"/>
              <a:gd name="connsiteY1" fmla="*/ 179448 h 179448"/>
              <a:gd name="connsiteX2" fmla="*/ 88559 w 165465"/>
              <a:gd name="connsiteY2" fmla="*/ 90889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89"/>
                </a:lnTo>
                <a:lnTo>
                  <a:pt x="0" y="0"/>
                </a:lnTo>
                <a:lnTo>
                  <a:pt x="76906" y="0"/>
                </a:lnTo>
                <a:lnTo>
                  <a:pt x="165465" y="88559"/>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168" name="Freihandform: Form 167">
            <a:extLst>
              <a:ext uri="{FF2B5EF4-FFF2-40B4-BE49-F238E27FC236}">
                <a16:creationId xmlns:a16="http://schemas.microsoft.com/office/drawing/2014/main" id="{6AF8D443-2884-41DC-A7BA-21AB00F1188E}"/>
              </a:ext>
            </a:extLst>
          </p:cNvPr>
          <p:cNvSpPr/>
          <p:nvPr userDrawn="1"/>
        </p:nvSpPr>
        <p:spPr>
          <a:xfrm>
            <a:off x="8375813" y="2011732"/>
            <a:ext cx="180613" cy="196926"/>
          </a:xfrm>
          <a:custGeom>
            <a:avLst/>
            <a:gdLst>
              <a:gd name="connsiteX0" fmla="*/ 82733 w 180613"/>
              <a:gd name="connsiteY0" fmla="*/ 196927 h 196926"/>
              <a:gd name="connsiteX1" fmla="*/ 0 w 180613"/>
              <a:gd name="connsiteY1" fmla="*/ 196927 h 196926"/>
              <a:gd name="connsiteX2" fmla="*/ 96715 w 180613"/>
              <a:gd name="connsiteY2" fmla="*/ 99046 h 196926"/>
              <a:gd name="connsiteX3" fmla="*/ 0 w 180613"/>
              <a:gd name="connsiteY3" fmla="*/ 0 h 196926"/>
              <a:gd name="connsiteX4" fmla="*/ 83898 w 180613"/>
              <a:gd name="connsiteY4" fmla="*/ 0 h 196926"/>
              <a:gd name="connsiteX5" fmla="*/ 180613 w 180613"/>
              <a:gd name="connsiteY5" fmla="*/ 96716 h 196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6926">
                <a:moveTo>
                  <a:pt x="82733" y="196927"/>
                </a:moveTo>
                <a:lnTo>
                  <a:pt x="0" y="196927"/>
                </a:lnTo>
                <a:lnTo>
                  <a:pt x="96715" y="99046"/>
                </a:lnTo>
                <a:lnTo>
                  <a:pt x="0" y="0"/>
                </a:lnTo>
                <a:lnTo>
                  <a:pt x="83898" y="0"/>
                </a:lnTo>
                <a:lnTo>
                  <a:pt x="180613" y="96716"/>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169" name="Freihandform: Form 168">
            <a:extLst>
              <a:ext uri="{FF2B5EF4-FFF2-40B4-BE49-F238E27FC236}">
                <a16:creationId xmlns:a16="http://schemas.microsoft.com/office/drawing/2014/main" id="{CE4A96D2-F7AA-4408-9B31-101E0036163C}"/>
              </a:ext>
            </a:extLst>
          </p:cNvPr>
          <p:cNvSpPr/>
          <p:nvPr userDrawn="1"/>
        </p:nvSpPr>
        <p:spPr>
          <a:xfrm>
            <a:off x="8375813" y="2367133"/>
            <a:ext cx="180613" cy="195761"/>
          </a:xfrm>
          <a:custGeom>
            <a:avLst/>
            <a:gdLst>
              <a:gd name="connsiteX0" fmla="*/ 82733 w 180613"/>
              <a:gd name="connsiteY0" fmla="*/ 195762 h 195761"/>
              <a:gd name="connsiteX1" fmla="*/ 0 w 180613"/>
              <a:gd name="connsiteY1" fmla="*/ 195762 h 195761"/>
              <a:gd name="connsiteX2" fmla="*/ 96715 w 180613"/>
              <a:gd name="connsiteY2" fmla="*/ 99046 h 195761"/>
              <a:gd name="connsiteX3" fmla="*/ 0 w 180613"/>
              <a:gd name="connsiteY3" fmla="*/ 0 h 195761"/>
              <a:gd name="connsiteX4" fmla="*/ 83898 w 180613"/>
              <a:gd name="connsiteY4" fmla="*/ 0 h 195761"/>
              <a:gd name="connsiteX5" fmla="*/ 180613 w 180613"/>
              <a:gd name="connsiteY5" fmla="*/ 95550 h 19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5761">
                <a:moveTo>
                  <a:pt x="82733" y="195762"/>
                </a:moveTo>
                <a:lnTo>
                  <a:pt x="0" y="195762"/>
                </a:lnTo>
                <a:lnTo>
                  <a:pt x="96715" y="99046"/>
                </a:lnTo>
                <a:lnTo>
                  <a:pt x="0" y="0"/>
                </a:lnTo>
                <a:lnTo>
                  <a:pt x="83898" y="0"/>
                </a:lnTo>
                <a:lnTo>
                  <a:pt x="180613" y="95550"/>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170" name="Freihandform: Form 169">
            <a:extLst>
              <a:ext uri="{FF2B5EF4-FFF2-40B4-BE49-F238E27FC236}">
                <a16:creationId xmlns:a16="http://schemas.microsoft.com/office/drawing/2014/main" id="{0C53E3EF-A2A5-4B56-984D-69A6D5FD4210}"/>
              </a:ext>
            </a:extLst>
          </p:cNvPr>
          <p:cNvSpPr/>
          <p:nvPr userDrawn="1"/>
        </p:nvSpPr>
        <p:spPr>
          <a:xfrm>
            <a:off x="8375813" y="2721368"/>
            <a:ext cx="180613" cy="196926"/>
          </a:xfrm>
          <a:custGeom>
            <a:avLst/>
            <a:gdLst>
              <a:gd name="connsiteX0" fmla="*/ 82733 w 180613"/>
              <a:gd name="connsiteY0" fmla="*/ 196927 h 196926"/>
              <a:gd name="connsiteX1" fmla="*/ 0 w 180613"/>
              <a:gd name="connsiteY1" fmla="*/ 196927 h 196926"/>
              <a:gd name="connsiteX2" fmla="*/ 96715 w 180613"/>
              <a:gd name="connsiteY2" fmla="*/ 99046 h 196926"/>
              <a:gd name="connsiteX3" fmla="*/ 0 w 180613"/>
              <a:gd name="connsiteY3" fmla="*/ 0 h 196926"/>
              <a:gd name="connsiteX4" fmla="*/ 83898 w 180613"/>
              <a:gd name="connsiteY4" fmla="*/ 0 h 196926"/>
              <a:gd name="connsiteX5" fmla="*/ 180613 w 180613"/>
              <a:gd name="connsiteY5" fmla="*/ 96716 h 196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6926">
                <a:moveTo>
                  <a:pt x="82733" y="196927"/>
                </a:moveTo>
                <a:lnTo>
                  <a:pt x="0" y="196927"/>
                </a:lnTo>
                <a:lnTo>
                  <a:pt x="96715" y="99046"/>
                </a:lnTo>
                <a:lnTo>
                  <a:pt x="0" y="0"/>
                </a:lnTo>
                <a:lnTo>
                  <a:pt x="83898" y="0"/>
                </a:lnTo>
                <a:lnTo>
                  <a:pt x="180613" y="96716"/>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171" name="Freihandform: Form 170">
            <a:extLst>
              <a:ext uri="{FF2B5EF4-FFF2-40B4-BE49-F238E27FC236}">
                <a16:creationId xmlns:a16="http://schemas.microsoft.com/office/drawing/2014/main" id="{FAE7EF37-28DF-40BF-BED3-E4AA2A2A15E5}"/>
              </a:ext>
            </a:extLst>
          </p:cNvPr>
          <p:cNvSpPr/>
          <p:nvPr userDrawn="1"/>
        </p:nvSpPr>
        <p:spPr>
          <a:xfrm>
            <a:off x="8375813" y="3076769"/>
            <a:ext cx="180613" cy="195761"/>
          </a:xfrm>
          <a:custGeom>
            <a:avLst/>
            <a:gdLst>
              <a:gd name="connsiteX0" fmla="*/ 82733 w 180613"/>
              <a:gd name="connsiteY0" fmla="*/ 195762 h 195761"/>
              <a:gd name="connsiteX1" fmla="*/ 0 w 180613"/>
              <a:gd name="connsiteY1" fmla="*/ 195762 h 195761"/>
              <a:gd name="connsiteX2" fmla="*/ 96715 w 180613"/>
              <a:gd name="connsiteY2" fmla="*/ 99046 h 195761"/>
              <a:gd name="connsiteX3" fmla="*/ 0 w 180613"/>
              <a:gd name="connsiteY3" fmla="*/ 0 h 195761"/>
              <a:gd name="connsiteX4" fmla="*/ 83898 w 180613"/>
              <a:gd name="connsiteY4" fmla="*/ 0 h 195761"/>
              <a:gd name="connsiteX5" fmla="*/ 180613 w 180613"/>
              <a:gd name="connsiteY5" fmla="*/ 95550 h 19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5761">
                <a:moveTo>
                  <a:pt x="82733" y="195762"/>
                </a:moveTo>
                <a:lnTo>
                  <a:pt x="0" y="195762"/>
                </a:lnTo>
                <a:lnTo>
                  <a:pt x="96715" y="99046"/>
                </a:lnTo>
                <a:lnTo>
                  <a:pt x="0" y="0"/>
                </a:lnTo>
                <a:lnTo>
                  <a:pt x="83898" y="0"/>
                </a:lnTo>
                <a:lnTo>
                  <a:pt x="180613" y="95550"/>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172" name="Freihandform: Form 171">
            <a:extLst>
              <a:ext uri="{FF2B5EF4-FFF2-40B4-BE49-F238E27FC236}">
                <a16:creationId xmlns:a16="http://schemas.microsoft.com/office/drawing/2014/main" id="{91F25CA8-DD84-41EA-ABB9-E6B3A0432754}"/>
              </a:ext>
            </a:extLst>
          </p:cNvPr>
          <p:cNvSpPr/>
          <p:nvPr userDrawn="1"/>
        </p:nvSpPr>
        <p:spPr>
          <a:xfrm>
            <a:off x="8375813" y="3431004"/>
            <a:ext cx="180613" cy="196926"/>
          </a:xfrm>
          <a:custGeom>
            <a:avLst/>
            <a:gdLst>
              <a:gd name="connsiteX0" fmla="*/ 82733 w 180613"/>
              <a:gd name="connsiteY0" fmla="*/ 196927 h 196926"/>
              <a:gd name="connsiteX1" fmla="*/ 0 w 180613"/>
              <a:gd name="connsiteY1" fmla="*/ 196927 h 196926"/>
              <a:gd name="connsiteX2" fmla="*/ 96715 w 180613"/>
              <a:gd name="connsiteY2" fmla="*/ 99046 h 196926"/>
              <a:gd name="connsiteX3" fmla="*/ 0 w 180613"/>
              <a:gd name="connsiteY3" fmla="*/ 0 h 196926"/>
              <a:gd name="connsiteX4" fmla="*/ 83898 w 180613"/>
              <a:gd name="connsiteY4" fmla="*/ 0 h 196926"/>
              <a:gd name="connsiteX5" fmla="*/ 180613 w 180613"/>
              <a:gd name="connsiteY5" fmla="*/ 96716 h 196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6926">
                <a:moveTo>
                  <a:pt x="82733" y="196927"/>
                </a:moveTo>
                <a:lnTo>
                  <a:pt x="0" y="196927"/>
                </a:lnTo>
                <a:lnTo>
                  <a:pt x="96715" y="99046"/>
                </a:lnTo>
                <a:lnTo>
                  <a:pt x="0" y="0"/>
                </a:lnTo>
                <a:lnTo>
                  <a:pt x="83898" y="0"/>
                </a:lnTo>
                <a:lnTo>
                  <a:pt x="180613" y="96716"/>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173" name="Freihandform: Form 172">
            <a:extLst>
              <a:ext uri="{FF2B5EF4-FFF2-40B4-BE49-F238E27FC236}">
                <a16:creationId xmlns:a16="http://schemas.microsoft.com/office/drawing/2014/main" id="{B7D96561-C828-466C-9DB0-65C39976D69F}"/>
              </a:ext>
            </a:extLst>
          </p:cNvPr>
          <p:cNvSpPr/>
          <p:nvPr userDrawn="1"/>
        </p:nvSpPr>
        <p:spPr>
          <a:xfrm>
            <a:off x="8375813" y="3786405"/>
            <a:ext cx="180613" cy="195761"/>
          </a:xfrm>
          <a:custGeom>
            <a:avLst/>
            <a:gdLst>
              <a:gd name="connsiteX0" fmla="*/ 82733 w 180613"/>
              <a:gd name="connsiteY0" fmla="*/ 195762 h 195761"/>
              <a:gd name="connsiteX1" fmla="*/ 0 w 180613"/>
              <a:gd name="connsiteY1" fmla="*/ 195762 h 195761"/>
              <a:gd name="connsiteX2" fmla="*/ 96715 w 180613"/>
              <a:gd name="connsiteY2" fmla="*/ 99046 h 195761"/>
              <a:gd name="connsiteX3" fmla="*/ 0 w 180613"/>
              <a:gd name="connsiteY3" fmla="*/ 0 h 195761"/>
              <a:gd name="connsiteX4" fmla="*/ 83898 w 180613"/>
              <a:gd name="connsiteY4" fmla="*/ 0 h 195761"/>
              <a:gd name="connsiteX5" fmla="*/ 180613 w 180613"/>
              <a:gd name="connsiteY5" fmla="*/ 96716 h 19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5761">
                <a:moveTo>
                  <a:pt x="82733" y="195762"/>
                </a:moveTo>
                <a:lnTo>
                  <a:pt x="0" y="195762"/>
                </a:lnTo>
                <a:lnTo>
                  <a:pt x="96715" y="99046"/>
                </a:lnTo>
                <a:lnTo>
                  <a:pt x="0" y="0"/>
                </a:lnTo>
                <a:lnTo>
                  <a:pt x="83898" y="0"/>
                </a:lnTo>
                <a:lnTo>
                  <a:pt x="180613" y="96716"/>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174" name="Freihandform: Form 173">
            <a:extLst>
              <a:ext uri="{FF2B5EF4-FFF2-40B4-BE49-F238E27FC236}">
                <a16:creationId xmlns:a16="http://schemas.microsoft.com/office/drawing/2014/main" id="{E25319EB-B7B4-49DA-AC68-702F6C094489}"/>
              </a:ext>
            </a:extLst>
          </p:cNvPr>
          <p:cNvSpPr/>
          <p:nvPr userDrawn="1"/>
        </p:nvSpPr>
        <p:spPr>
          <a:xfrm>
            <a:off x="8375813" y="4140640"/>
            <a:ext cx="180613" cy="196926"/>
          </a:xfrm>
          <a:custGeom>
            <a:avLst/>
            <a:gdLst>
              <a:gd name="connsiteX0" fmla="*/ 82733 w 180613"/>
              <a:gd name="connsiteY0" fmla="*/ 196927 h 196926"/>
              <a:gd name="connsiteX1" fmla="*/ 0 w 180613"/>
              <a:gd name="connsiteY1" fmla="*/ 196927 h 196926"/>
              <a:gd name="connsiteX2" fmla="*/ 96715 w 180613"/>
              <a:gd name="connsiteY2" fmla="*/ 99046 h 196926"/>
              <a:gd name="connsiteX3" fmla="*/ 0 w 180613"/>
              <a:gd name="connsiteY3" fmla="*/ 0 h 196926"/>
              <a:gd name="connsiteX4" fmla="*/ 83898 w 180613"/>
              <a:gd name="connsiteY4" fmla="*/ 0 h 196926"/>
              <a:gd name="connsiteX5" fmla="*/ 180613 w 180613"/>
              <a:gd name="connsiteY5" fmla="*/ 96716 h 196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6926">
                <a:moveTo>
                  <a:pt x="82733" y="196927"/>
                </a:moveTo>
                <a:lnTo>
                  <a:pt x="0" y="196927"/>
                </a:lnTo>
                <a:lnTo>
                  <a:pt x="96715" y="99046"/>
                </a:lnTo>
                <a:lnTo>
                  <a:pt x="0" y="0"/>
                </a:lnTo>
                <a:lnTo>
                  <a:pt x="83898" y="0"/>
                </a:lnTo>
                <a:lnTo>
                  <a:pt x="180613" y="96716"/>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175" name="Freihandform: Form 174">
            <a:extLst>
              <a:ext uri="{FF2B5EF4-FFF2-40B4-BE49-F238E27FC236}">
                <a16:creationId xmlns:a16="http://schemas.microsoft.com/office/drawing/2014/main" id="{16D6A1D1-4BF9-41B9-98BB-536834025E9B}"/>
              </a:ext>
            </a:extLst>
          </p:cNvPr>
          <p:cNvSpPr/>
          <p:nvPr userDrawn="1"/>
        </p:nvSpPr>
        <p:spPr>
          <a:xfrm>
            <a:off x="8375813" y="4496041"/>
            <a:ext cx="180613" cy="195761"/>
          </a:xfrm>
          <a:custGeom>
            <a:avLst/>
            <a:gdLst>
              <a:gd name="connsiteX0" fmla="*/ 82733 w 180613"/>
              <a:gd name="connsiteY0" fmla="*/ 195762 h 195761"/>
              <a:gd name="connsiteX1" fmla="*/ 0 w 180613"/>
              <a:gd name="connsiteY1" fmla="*/ 195762 h 195761"/>
              <a:gd name="connsiteX2" fmla="*/ 96715 w 180613"/>
              <a:gd name="connsiteY2" fmla="*/ 99046 h 195761"/>
              <a:gd name="connsiteX3" fmla="*/ 0 w 180613"/>
              <a:gd name="connsiteY3" fmla="*/ 0 h 195761"/>
              <a:gd name="connsiteX4" fmla="*/ 83898 w 180613"/>
              <a:gd name="connsiteY4" fmla="*/ 0 h 195761"/>
              <a:gd name="connsiteX5" fmla="*/ 180613 w 180613"/>
              <a:gd name="connsiteY5" fmla="*/ 96716 h 19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5761">
                <a:moveTo>
                  <a:pt x="82733" y="195762"/>
                </a:moveTo>
                <a:lnTo>
                  <a:pt x="0" y="195762"/>
                </a:lnTo>
                <a:lnTo>
                  <a:pt x="96715" y="99046"/>
                </a:lnTo>
                <a:lnTo>
                  <a:pt x="0" y="0"/>
                </a:lnTo>
                <a:lnTo>
                  <a:pt x="83898" y="0"/>
                </a:lnTo>
                <a:lnTo>
                  <a:pt x="180613" y="96716"/>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176" name="Freihandform: Form 175">
            <a:extLst>
              <a:ext uri="{FF2B5EF4-FFF2-40B4-BE49-F238E27FC236}">
                <a16:creationId xmlns:a16="http://schemas.microsoft.com/office/drawing/2014/main" id="{604C88A3-EFBB-4D78-8062-5AED615ABED7}"/>
              </a:ext>
            </a:extLst>
          </p:cNvPr>
          <p:cNvSpPr/>
          <p:nvPr userDrawn="1"/>
        </p:nvSpPr>
        <p:spPr>
          <a:xfrm>
            <a:off x="8375813" y="4850276"/>
            <a:ext cx="180613" cy="196927"/>
          </a:xfrm>
          <a:custGeom>
            <a:avLst/>
            <a:gdLst>
              <a:gd name="connsiteX0" fmla="*/ 82733 w 180613"/>
              <a:gd name="connsiteY0" fmla="*/ 196927 h 196927"/>
              <a:gd name="connsiteX1" fmla="*/ 0 w 180613"/>
              <a:gd name="connsiteY1" fmla="*/ 196927 h 196927"/>
              <a:gd name="connsiteX2" fmla="*/ 96715 w 180613"/>
              <a:gd name="connsiteY2" fmla="*/ 99046 h 196927"/>
              <a:gd name="connsiteX3" fmla="*/ 0 w 180613"/>
              <a:gd name="connsiteY3" fmla="*/ 0 h 196927"/>
              <a:gd name="connsiteX4" fmla="*/ 83898 w 180613"/>
              <a:gd name="connsiteY4" fmla="*/ 0 h 196927"/>
              <a:gd name="connsiteX5" fmla="*/ 180613 w 180613"/>
              <a:gd name="connsiteY5" fmla="*/ 96716 h 196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6927">
                <a:moveTo>
                  <a:pt x="82733" y="196927"/>
                </a:moveTo>
                <a:lnTo>
                  <a:pt x="0" y="196927"/>
                </a:lnTo>
                <a:lnTo>
                  <a:pt x="96715" y="99046"/>
                </a:lnTo>
                <a:lnTo>
                  <a:pt x="0" y="0"/>
                </a:lnTo>
                <a:lnTo>
                  <a:pt x="83898" y="0"/>
                </a:lnTo>
                <a:lnTo>
                  <a:pt x="180613" y="96716"/>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177" name="Freihandform: Form 176">
            <a:extLst>
              <a:ext uri="{FF2B5EF4-FFF2-40B4-BE49-F238E27FC236}">
                <a16:creationId xmlns:a16="http://schemas.microsoft.com/office/drawing/2014/main" id="{28BE4318-C9B0-4E2A-A05B-B25DE7DFC23F}"/>
              </a:ext>
            </a:extLst>
          </p:cNvPr>
          <p:cNvSpPr/>
          <p:nvPr userDrawn="1"/>
        </p:nvSpPr>
        <p:spPr>
          <a:xfrm>
            <a:off x="8375813" y="5205677"/>
            <a:ext cx="180613" cy="195761"/>
          </a:xfrm>
          <a:custGeom>
            <a:avLst/>
            <a:gdLst>
              <a:gd name="connsiteX0" fmla="*/ 82733 w 180613"/>
              <a:gd name="connsiteY0" fmla="*/ 195762 h 195761"/>
              <a:gd name="connsiteX1" fmla="*/ 0 w 180613"/>
              <a:gd name="connsiteY1" fmla="*/ 195762 h 195761"/>
              <a:gd name="connsiteX2" fmla="*/ 96715 w 180613"/>
              <a:gd name="connsiteY2" fmla="*/ 99046 h 195761"/>
              <a:gd name="connsiteX3" fmla="*/ 0 w 180613"/>
              <a:gd name="connsiteY3" fmla="*/ 0 h 195761"/>
              <a:gd name="connsiteX4" fmla="*/ 83898 w 180613"/>
              <a:gd name="connsiteY4" fmla="*/ 0 h 195761"/>
              <a:gd name="connsiteX5" fmla="*/ 180613 w 180613"/>
              <a:gd name="connsiteY5" fmla="*/ 96715 h 19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5761">
                <a:moveTo>
                  <a:pt x="82733" y="195762"/>
                </a:moveTo>
                <a:lnTo>
                  <a:pt x="0" y="195762"/>
                </a:lnTo>
                <a:lnTo>
                  <a:pt x="96715" y="99046"/>
                </a:lnTo>
                <a:lnTo>
                  <a:pt x="0" y="0"/>
                </a:lnTo>
                <a:lnTo>
                  <a:pt x="83898" y="0"/>
                </a:lnTo>
                <a:lnTo>
                  <a:pt x="180613" y="96715"/>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178" name="Freihandform: Form 177">
            <a:extLst>
              <a:ext uri="{FF2B5EF4-FFF2-40B4-BE49-F238E27FC236}">
                <a16:creationId xmlns:a16="http://schemas.microsoft.com/office/drawing/2014/main" id="{FA0A833F-554B-4BE0-AC5E-DE626D90CBA6}"/>
              </a:ext>
            </a:extLst>
          </p:cNvPr>
          <p:cNvSpPr/>
          <p:nvPr userDrawn="1"/>
        </p:nvSpPr>
        <p:spPr>
          <a:xfrm>
            <a:off x="8375813" y="5559912"/>
            <a:ext cx="180613" cy="196926"/>
          </a:xfrm>
          <a:custGeom>
            <a:avLst/>
            <a:gdLst>
              <a:gd name="connsiteX0" fmla="*/ 82733 w 180613"/>
              <a:gd name="connsiteY0" fmla="*/ 196927 h 196926"/>
              <a:gd name="connsiteX1" fmla="*/ 0 w 180613"/>
              <a:gd name="connsiteY1" fmla="*/ 196927 h 196926"/>
              <a:gd name="connsiteX2" fmla="*/ 96715 w 180613"/>
              <a:gd name="connsiteY2" fmla="*/ 99046 h 196926"/>
              <a:gd name="connsiteX3" fmla="*/ 0 w 180613"/>
              <a:gd name="connsiteY3" fmla="*/ 0 h 196926"/>
              <a:gd name="connsiteX4" fmla="*/ 83898 w 180613"/>
              <a:gd name="connsiteY4" fmla="*/ 0 h 196926"/>
              <a:gd name="connsiteX5" fmla="*/ 180613 w 180613"/>
              <a:gd name="connsiteY5" fmla="*/ 96715 h 196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6926">
                <a:moveTo>
                  <a:pt x="82733" y="196927"/>
                </a:moveTo>
                <a:lnTo>
                  <a:pt x="0" y="196927"/>
                </a:lnTo>
                <a:lnTo>
                  <a:pt x="96715" y="99046"/>
                </a:lnTo>
                <a:lnTo>
                  <a:pt x="0" y="0"/>
                </a:lnTo>
                <a:lnTo>
                  <a:pt x="83898" y="0"/>
                </a:lnTo>
                <a:lnTo>
                  <a:pt x="180613" y="96715"/>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179" name="Freihandform: Form 178">
            <a:extLst>
              <a:ext uri="{FF2B5EF4-FFF2-40B4-BE49-F238E27FC236}">
                <a16:creationId xmlns:a16="http://schemas.microsoft.com/office/drawing/2014/main" id="{6B549FD8-A0CD-4D20-AE30-441F25C75062}"/>
              </a:ext>
            </a:extLst>
          </p:cNvPr>
          <p:cNvSpPr/>
          <p:nvPr userDrawn="1"/>
        </p:nvSpPr>
        <p:spPr>
          <a:xfrm>
            <a:off x="8375813" y="5915313"/>
            <a:ext cx="180613" cy="195761"/>
          </a:xfrm>
          <a:custGeom>
            <a:avLst/>
            <a:gdLst>
              <a:gd name="connsiteX0" fmla="*/ 82733 w 180613"/>
              <a:gd name="connsiteY0" fmla="*/ 195762 h 195761"/>
              <a:gd name="connsiteX1" fmla="*/ 0 w 180613"/>
              <a:gd name="connsiteY1" fmla="*/ 195762 h 195761"/>
              <a:gd name="connsiteX2" fmla="*/ 96715 w 180613"/>
              <a:gd name="connsiteY2" fmla="*/ 99046 h 195761"/>
              <a:gd name="connsiteX3" fmla="*/ 0 w 180613"/>
              <a:gd name="connsiteY3" fmla="*/ 0 h 195761"/>
              <a:gd name="connsiteX4" fmla="*/ 83898 w 180613"/>
              <a:gd name="connsiteY4" fmla="*/ 0 h 195761"/>
              <a:gd name="connsiteX5" fmla="*/ 180613 w 180613"/>
              <a:gd name="connsiteY5" fmla="*/ 96715 h 19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5761">
                <a:moveTo>
                  <a:pt x="82733" y="195762"/>
                </a:moveTo>
                <a:lnTo>
                  <a:pt x="0" y="195762"/>
                </a:lnTo>
                <a:lnTo>
                  <a:pt x="96715" y="99046"/>
                </a:lnTo>
                <a:lnTo>
                  <a:pt x="0" y="0"/>
                </a:lnTo>
                <a:lnTo>
                  <a:pt x="83898" y="0"/>
                </a:lnTo>
                <a:lnTo>
                  <a:pt x="180613" y="96715"/>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180" name="Freihandform: Form 179">
            <a:extLst>
              <a:ext uri="{FF2B5EF4-FFF2-40B4-BE49-F238E27FC236}">
                <a16:creationId xmlns:a16="http://schemas.microsoft.com/office/drawing/2014/main" id="{36F0E624-A695-49F8-A9F9-F508C4AB72D9}"/>
              </a:ext>
            </a:extLst>
          </p:cNvPr>
          <p:cNvSpPr/>
          <p:nvPr userDrawn="1"/>
        </p:nvSpPr>
        <p:spPr>
          <a:xfrm>
            <a:off x="8375813" y="6270714"/>
            <a:ext cx="180613" cy="195761"/>
          </a:xfrm>
          <a:custGeom>
            <a:avLst/>
            <a:gdLst>
              <a:gd name="connsiteX0" fmla="*/ 82733 w 180613"/>
              <a:gd name="connsiteY0" fmla="*/ 195762 h 195761"/>
              <a:gd name="connsiteX1" fmla="*/ 0 w 180613"/>
              <a:gd name="connsiteY1" fmla="*/ 195762 h 195761"/>
              <a:gd name="connsiteX2" fmla="*/ 96715 w 180613"/>
              <a:gd name="connsiteY2" fmla="*/ 97881 h 195761"/>
              <a:gd name="connsiteX3" fmla="*/ 0 w 180613"/>
              <a:gd name="connsiteY3" fmla="*/ 0 h 195761"/>
              <a:gd name="connsiteX4" fmla="*/ 83898 w 180613"/>
              <a:gd name="connsiteY4" fmla="*/ 0 h 195761"/>
              <a:gd name="connsiteX5" fmla="*/ 180613 w 180613"/>
              <a:gd name="connsiteY5" fmla="*/ 95550 h 19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5761">
                <a:moveTo>
                  <a:pt x="82733" y="195762"/>
                </a:moveTo>
                <a:lnTo>
                  <a:pt x="0" y="195762"/>
                </a:lnTo>
                <a:lnTo>
                  <a:pt x="96715" y="97881"/>
                </a:lnTo>
                <a:lnTo>
                  <a:pt x="0" y="0"/>
                </a:lnTo>
                <a:lnTo>
                  <a:pt x="83898" y="0"/>
                </a:lnTo>
                <a:lnTo>
                  <a:pt x="180613" y="95550"/>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181" name="Freihandform: Form 180">
            <a:extLst>
              <a:ext uri="{FF2B5EF4-FFF2-40B4-BE49-F238E27FC236}">
                <a16:creationId xmlns:a16="http://schemas.microsoft.com/office/drawing/2014/main" id="{FCCEB576-1342-4970-91C3-813FF09CB68B}"/>
              </a:ext>
            </a:extLst>
          </p:cNvPr>
          <p:cNvSpPr/>
          <p:nvPr userDrawn="1"/>
        </p:nvSpPr>
        <p:spPr>
          <a:xfrm>
            <a:off x="8375813" y="6624949"/>
            <a:ext cx="180613" cy="196926"/>
          </a:xfrm>
          <a:custGeom>
            <a:avLst/>
            <a:gdLst>
              <a:gd name="connsiteX0" fmla="*/ 82733 w 180613"/>
              <a:gd name="connsiteY0" fmla="*/ 196927 h 196926"/>
              <a:gd name="connsiteX1" fmla="*/ 0 w 180613"/>
              <a:gd name="connsiteY1" fmla="*/ 196927 h 196926"/>
              <a:gd name="connsiteX2" fmla="*/ 96715 w 180613"/>
              <a:gd name="connsiteY2" fmla="*/ 99046 h 196926"/>
              <a:gd name="connsiteX3" fmla="*/ 0 w 180613"/>
              <a:gd name="connsiteY3" fmla="*/ 0 h 196926"/>
              <a:gd name="connsiteX4" fmla="*/ 83898 w 180613"/>
              <a:gd name="connsiteY4" fmla="*/ 0 h 196926"/>
              <a:gd name="connsiteX5" fmla="*/ 180613 w 180613"/>
              <a:gd name="connsiteY5" fmla="*/ 96715 h 196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6926">
                <a:moveTo>
                  <a:pt x="82733" y="196927"/>
                </a:moveTo>
                <a:lnTo>
                  <a:pt x="0" y="196927"/>
                </a:lnTo>
                <a:lnTo>
                  <a:pt x="96715" y="99046"/>
                </a:lnTo>
                <a:lnTo>
                  <a:pt x="0" y="0"/>
                </a:lnTo>
                <a:lnTo>
                  <a:pt x="83898" y="0"/>
                </a:lnTo>
                <a:lnTo>
                  <a:pt x="180613" y="96715"/>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182" name="Freihandform: Form 181">
            <a:extLst>
              <a:ext uri="{FF2B5EF4-FFF2-40B4-BE49-F238E27FC236}">
                <a16:creationId xmlns:a16="http://schemas.microsoft.com/office/drawing/2014/main" id="{C71B72A8-B10C-4364-A53A-822423D71B28}"/>
              </a:ext>
            </a:extLst>
          </p:cNvPr>
          <p:cNvSpPr/>
          <p:nvPr userDrawn="1"/>
        </p:nvSpPr>
        <p:spPr>
          <a:xfrm>
            <a:off x="8721892" y="2002410"/>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6038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6038"/>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183" name="Freihandform: Form 182">
            <a:extLst>
              <a:ext uri="{FF2B5EF4-FFF2-40B4-BE49-F238E27FC236}">
                <a16:creationId xmlns:a16="http://schemas.microsoft.com/office/drawing/2014/main" id="{E1132820-5089-4741-9D60-DAE2D2D497C4}"/>
              </a:ext>
            </a:extLst>
          </p:cNvPr>
          <p:cNvSpPr/>
          <p:nvPr userDrawn="1"/>
        </p:nvSpPr>
        <p:spPr>
          <a:xfrm>
            <a:off x="8721892" y="2357811"/>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4872"/>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184" name="Freihandform: Form 183">
            <a:extLst>
              <a:ext uri="{FF2B5EF4-FFF2-40B4-BE49-F238E27FC236}">
                <a16:creationId xmlns:a16="http://schemas.microsoft.com/office/drawing/2014/main" id="{3D92AB75-59E5-4E8C-9EEC-EAF687DD35E8}"/>
              </a:ext>
            </a:extLst>
          </p:cNvPr>
          <p:cNvSpPr/>
          <p:nvPr userDrawn="1"/>
        </p:nvSpPr>
        <p:spPr>
          <a:xfrm>
            <a:off x="8721892" y="2712046"/>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6038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6038"/>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185" name="Freihandform: Form 184">
            <a:extLst>
              <a:ext uri="{FF2B5EF4-FFF2-40B4-BE49-F238E27FC236}">
                <a16:creationId xmlns:a16="http://schemas.microsoft.com/office/drawing/2014/main" id="{A48C5770-AF03-4193-9325-FB3B7DA87D39}"/>
              </a:ext>
            </a:extLst>
          </p:cNvPr>
          <p:cNvSpPr/>
          <p:nvPr userDrawn="1"/>
        </p:nvSpPr>
        <p:spPr>
          <a:xfrm>
            <a:off x="8721892" y="3067447"/>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4872"/>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186" name="Freihandform: Form 185">
            <a:extLst>
              <a:ext uri="{FF2B5EF4-FFF2-40B4-BE49-F238E27FC236}">
                <a16:creationId xmlns:a16="http://schemas.microsoft.com/office/drawing/2014/main" id="{F69B1AF7-E993-4532-9321-16906D97E376}"/>
              </a:ext>
            </a:extLst>
          </p:cNvPr>
          <p:cNvSpPr/>
          <p:nvPr userDrawn="1"/>
        </p:nvSpPr>
        <p:spPr>
          <a:xfrm>
            <a:off x="8721892" y="3421682"/>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6038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6038"/>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187" name="Freihandform: Form 186">
            <a:extLst>
              <a:ext uri="{FF2B5EF4-FFF2-40B4-BE49-F238E27FC236}">
                <a16:creationId xmlns:a16="http://schemas.microsoft.com/office/drawing/2014/main" id="{AFC2475C-E9F8-4A9E-9954-D6096FA0221D}"/>
              </a:ext>
            </a:extLst>
          </p:cNvPr>
          <p:cNvSpPr/>
          <p:nvPr userDrawn="1"/>
        </p:nvSpPr>
        <p:spPr>
          <a:xfrm>
            <a:off x="8721892" y="3777083"/>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4872"/>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188" name="Freihandform: Form 187">
            <a:extLst>
              <a:ext uri="{FF2B5EF4-FFF2-40B4-BE49-F238E27FC236}">
                <a16:creationId xmlns:a16="http://schemas.microsoft.com/office/drawing/2014/main" id="{7EB26989-D867-4128-9830-EAB977A39E2C}"/>
              </a:ext>
            </a:extLst>
          </p:cNvPr>
          <p:cNvSpPr/>
          <p:nvPr userDrawn="1"/>
        </p:nvSpPr>
        <p:spPr>
          <a:xfrm>
            <a:off x="8721892" y="4132484"/>
            <a:ext cx="198092" cy="214405"/>
          </a:xfrm>
          <a:custGeom>
            <a:avLst/>
            <a:gdLst>
              <a:gd name="connsiteX0" fmla="*/ 90889 w 198092"/>
              <a:gd name="connsiteY0" fmla="*/ 214406 h 214405"/>
              <a:gd name="connsiteX1" fmla="*/ 0 w 198092"/>
              <a:gd name="connsiteY1" fmla="*/ 214406 h 214405"/>
              <a:gd name="connsiteX2" fmla="*/ 106037 w 198092"/>
              <a:gd name="connsiteY2" fmla="*/ 107203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7203"/>
                </a:lnTo>
                <a:lnTo>
                  <a:pt x="0" y="0"/>
                </a:lnTo>
                <a:lnTo>
                  <a:pt x="92055" y="0"/>
                </a:lnTo>
                <a:lnTo>
                  <a:pt x="198092" y="104872"/>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189" name="Freihandform: Form 188">
            <a:extLst>
              <a:ext uri="{FF2B5EF4-FFF2-40B4-BE49-F238E27FC236}">
                <a16:creationId xmlns:a16="http://schemas.microsoft.com/office/drawing/2014/main" id="{D58ED5A0-1CC3-4805-B8C1-D90486D067AD}"/>
              </a:ext>
            </a:extLst>
          </p:cNvPr>
          <p:cNvSpPr/>
          <p:nvPr userDrawn="1"/>
        </p:nvSpPr>
        <p:spPr>
          <a:xfrm>
            <a:off x="8721892" y="4486719"/>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4872"/>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190" name="Freihandform: Form 189">
            <a:extLst>
              <a:ext uri="{FF2B5EF4-FFF2-40B4-BE49-F238E27FC236}">
                <a16:creationId xmlns:a16="http://schemas.microsoft.com/office/drawing/2014/main" id="{6DD20BB9-FA2C-4712-987B-4726856A0C35}"/>
              </a:ext>
            </a:extLst>
          </p:cNvPr>
          <p:cNvSpPr/>
          <p:nvPr userDrawn="1"/>
        </p:nvSpPr>
        <p:spPr>
          <a:xfrm>
            <a:off x="8721892" y="4842120"/>
            <a:ext cx="198092" cy="214405"/>
          </a:xfrm>
          <a:custGeom>
            <a:avLst/>
            <a:gdLst>
              <a:gd name="connsiteX0" fmla="*/ 90889 w 198092"/>
              <a:gd name="connsiteY0" fmla="*/ 214406 h 214405"/>
              <a:gd name="connsiteX1" fmla="*/ 0 w 198092"/>
              <a:gd name="connsiteY1" fmla="*/ 214406 h 214405"/>
              <a:gd name="connsiteX2" fmla="*/ 106037 w 198092"/>
              <a:gd name="connsiteY2" fmla="*/ 107203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7203"/>
                </a:lnTo>
                <a:lnTo>
                  <a:pt x="0" y="0"/>
                </a:lnTo>
                <a:lnTo>
                  <a:pt x="92055" y="0"/>
                </a:lnTo>
                <a:lnTo>
                  <a:pt x="198092" y="104872"/>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191" name="Freihandform: Form 190">
            <a:extLst>
              <a:ext uri="{FF2B5EF4-FFF2-40B4-BE49-F238E27FC236}">
                <a16:creationId xmlns:a16="http://schemas.microsoft.com/office/drawing/2014/main" id="{D107B7FD-0E11-4F40-959C-D75544D7F80D}"/>
              </a:ext>
            </a:extLst>
          </p:cNvPr>
          <p:cNvSpPr/>
          <p:nvPr userDrawn="1"/>
        </p:nvSpPr>
        <p:spPr>
          <a:xfrm>
            <a:off x="8721892" y="5196355"/>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6038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6038"/>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192" name="Freihandform: Form 191">
            <a:extLst>
              <a:ext uri="{FF2B5EF4-FFF2-40B4-BE49-F238E27FC236}">
                <a16:creationId xmlns:a16="http://schemas.microsoft.com/office/drawing/2014/main" id="{0BEC6CE0-98D3-41C9-B80C-DB6BCA5DEC2F}"/>
              </a:ext>
            </a:extLst>
          </p:cNvPr>
          <p:cNvSpPr/>
          <p:nvPr userDrawn="1"/>
        </p:nvSpPr>
        <p:spPr>
          <a:xfrm>
            <a:off x="8721892" y="5551755"/>
            <a:ext cx="198092" cy="214405"/>
          </a:xfrm>
          <a:custGeom>
            <a:avLst/>
            <a:gdLst>
              <a:gd name="connsiteX0" fmla="*/ 90889 w 198092"/>
              <a:gd name="connsiteY0" fmla="*/ 214406 h 214405"/>
              <a:gd name="connsiteX1" fmla="*/ 0 w 198092"/>
              <a:gd name="connsiteY1" fmla="*/ 214406 h 214405"/>
              <a:gd name="connsiteX2" fmla="*/ 106037 w 198092"/>
              <a:gd name="connsiteY2" fmla="*/ 107203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7203"/>
                </a:lnTo>
                <a:lnTo>
                  <a:pt x="0" y="0"/>
                </a:lnTo>
                <a:lnTo>
                  <a:pt x="92055" y="0"/>
                </a:lnTo>
                <a:lnTo>
                  <a:pt x="198092" y="104872"/>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193" name="Freihandform: Form 192">
            <a:extLst>
              <a:ext uri="{FF2B5EF4-FFF2-40B4-BE49-F238E27FC236}">
                <a16:creationId xmlns:a16="http://schemas.microsoft.com/office/drawing/2014/main" id="{59B3988B-6436-487C-A393-213D7F3ADAC4}"/>
              </a:ext>
            </a:extLst>
          </p:cNvPr>
          <p:cNvSpPr/>
          <p:nvPr userDrawn="1"/>
        </p:nvSpPr>
        <p:spPr>
          <a:xfrm>
            <a:off x="8721892" y="5905991"/>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6038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6038"/>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194" name="Freihandform: Form 193">
            <a:extLst>
              <a:ext uri="{FF2B5EF4-FFF2-40B4-BE49-F238E27FC236}">
                <a16:creationId xmlns:a16="http://schemas.microsoft.com/office/drawing/2014/main" id="{779D9B39-4482-4D38-9D58-270431FA24F6}"/>
              </a:ext>
            </a:extLst>
          </p:cNvPr>
          <p:cNvSpPr/>
          <p:nvPr userDrawn="1"/>
        </p:nvSpPr>
        <p:spPr>
          <a:xfrm>
            <a:off x="8721892" y="6261391"/>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4872"/>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195" name="Freihandform: Form 194">
            <a:extLst>
              <a:ext uri="{FF2B5EF4-FFF2-40B4-BE49-F238E27FC236}">
                <a16:creationId xmlns:a16="http://schemas.microsoft.com/office/drawing/2014/main" id="{C56A34C0-8FD6-430D-A1CE-2A1C13157499}"/>
              </a:ext>
            </a:extLst>
          </p:cNvPr>
          <p:cNvSpPr/>
          <p:nvPr userDrawn="1"/>
        </p:nvSpPr>
        <p:spPr>
          <a:xfrm>
            <a:off x="8721892" y="6615627"/>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6037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6037"/>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196" name="Freihandform: Form 195">
            <a:extLst>
              <a:ext uri="{FF2B5EF4-FFF2-40B4-BE49-F238E27FC236}">
                <a16:creationId xmlns:a16="http://schemas.microsoft.com/office/drawing/2014/main" id="{B971C55B-0E05-4ADF-8455-66B869B0688E}"/>
              </a:ext>
            </a:extLst>
          </p:cNvPr>
          <p:cNvSpPr/>
          <p:nvPr userDrawn="1"/>
        </p:nvSpPr>
        <p:spPr>
          <a:xfrm>
            <a:off x="9069136" y="1994253"/>
            <a:ext cx="214405" cy="231884"/>
          </a:xfrm>
          <a:custGeom>
            <a:avLst/>
            <a:gdLst>
              <a:gd name="connsiteX0" fmla="*/ 97881 w 214405"/>
              <a:gd name="connsiteY0" fmla="*/ 231884 h 231884"/>
              <a:gd name="connsiteX1" fmla="*/ 0 w 214405"/>
              <a:gd name="connsiteY1" fmla="*/ 231884 h 231884"/>
              <a:gd name="connsiteX2" fmla="*/ 114194 w 214405"/>
              <a:gd name="connsiteY2" fmla="*/ 116525 h 231884"/>
              <a:gd name="connsiteX3" fmla="*/ 0 w 214405"/>
              <a:gd name="connsiteY3" fmla="*/ 0 h 231884"/>
              <a:gd name="connsiteX4" fmla="*/ 100211 w 214405"/>
              <a:gd name="connsiteY4" fmla="*/ 0 h 231884"/>
              <a:gd name="connsiteX5" fmla="*/ 214406 w 214405"/>
              <a:gd name="connsiteY5" fmla="*/ 114194 h 23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1884">
                <a:moveTo>
                  <a:pt x="97881" y="231884"/>
                </a:moveTo>
                <a:lnTo>
                  <a:pt x="0" y="231884"/>
                </a:lnTo>
                <a:lnTo>
                  <a:pt x="114194" y="116525"/>
                </a:lnTo>
                <a:lnTo>
                  <a:pt x="0" y="0"/>
                </a:lnTo>
                <a:lnTo>
                  <a:pt x="100211" y="0"/>
                </a:lnTo>
                <a:lnTo>
                  <a:pt x="214406" y="114194"/>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197" name="Freihandform: Form 196">
            <a:extLst>
              <a:ext uri="{FF2B5EF4-FFF2-40B4-BE49-F238E27FC236}">
                <a16:creationId xmlns:a16="http://schemas.microsoft.com/office/drawing/2014/main" id="{A0D374C9-6BA9-4F83-BFC5-970158F3E867}"/>
              </a:ext>
            </a:extLst>
          </p:cNvPr>
          <p:cNvSpPr/>
          <p:nvPr userDrawn="1"/>
        </p:nvSpPr>
        <p:spPr>
          <a:xfrm>
            <a:off x="9069136" y="2348489"/>
            <a:ext cx="214405" cy="233049"/>
          </a:xfrm>
          <a:custGeom>
            <a:avLst/>
            <a:gdLst>
              <a:gd name="connsiteX0" fmla="*/ 97881 w 214405"/>
              <a:gd name="connsiteY0" fmla="*/ 233050 h 233049"/>
              <a:gd name="connsiteX1" fmla="*/ 0 w 214405"/>
              <a:gd name="connsiteY1" fmla="*/ 233050 h 233049"/>
              <a:gd name="connsiteX2" fmla="*/ 114194 w 214405"/>
              <a:gd name="connsiteY2" fmla="*/ 117690 h 233049"/>
              <a:gd name="connsiteX3" fmla="*/ 0 w 214405"/>
              <a:gd name="connsiteY3" fmla="*/ 0 h 233049"/>
              <a:gd name="connsiteX4" fmla="*/ 100211 w 214405"/>
              <a:gd name="connsiteY4" fmla="*/ 0 h 233049"/>
              <a:gd name="connsiteX5" fmla="*/ 214406 w 214405"/>
              <a:gd name="connsiteY5" fmla="*/ 114194 h 23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3048">
                <a:moveTo>
                  <a:pt x="97881" y="233050"/>
                </a:moveTo>
                <a:lnTo>
                  <a:pt x="0" y="233050"/>
                </a:lnTo>
                <a:lnTo>
                  <a:pt x="114194" y="117690"/>
                </a:lnTo>
                <a:lnTo>
                  <a:pt x="0" y="0"/>
                </a:lnTo>
                <a:lnTo>
                  <a:pt x="100211" y="0"/>
                </a:lnTo>
                <a:lnTo>
                  <a:pt x="214406" y="114194"/>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198" name="Freihandform: Form 197">
            <a:extLst>
              <a:ext uri="{FF2B5EF4-FFF2-40B4-BE49-F238E27FC236}">
                <a16:creationId xmlns:a16="http://schemas.microsoft.com/office/drawing/2014/main" id="{DA9E1C91-F218-45C3-AB87-F1537D4AB36C}"/>
              </a:ext>
            </a:extLst>
          </p:cNvPr>
          <p:cNvSpPr/>
          <p:nvPr userDrawn="1"/>
        </p:nvSpPr>
        <p:spPr>
          <a:xfrm>
            <a:off x="9069136" y="2703889"/>
            <a:ext cx="214405" cy="231884"/>
          </a:xfrm>
          <a:custGeom>
            <a:avLst/>
            <a:gdLst>
              <a:gd name="connsiteX0" fmla="*/ 97881 w 214405"/>
              <a:gd name="connsiteY0" fmla="*/ 231884 h 231884"/>
              <a:gd name="connsiteX1" fmla="*/ 0 w 214405"/>
              <a:gd name="connsiteY1" fmla="*/ 231884 h 231884"/>
              <a:gd name="connsiteX2" fmla="*/ 114194 w 214405"/>
              <a:gd name="connsiteY2" fmla="*/ 116525 h 231884"/>
              <a:gd name="connsiteX3" fmla="*/ 0 w 214405"/>
              <a:gd name="connsiteY3" fmla="*/ 0 h 231884"/>
              <a:gd name="connsiteX4" fmla="*/ 100211 w 214405"/>
              <a:gd name="connsiteY4" fmla="*/ 0 h 231884"/>
              <a:gd name="connsiteX5" fmla="*/ 214406 w 214405"/>
              <a:gd name="connsiteY5" fmla="*/ 114194 h 23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1884">
                <a:moveTo>
                  <a:pt x="97881" y="231884"/>
                </a:moveTo>
                <a:lnTo>
                  <a:pt x="0" y="231884"/>
                </a:lnTo>
                <a:lnTo>
                  <a:pt x="114194" y="116525"/>
                </a:lnTo>
                <a:lnTo>
                  <a:pt x="0" y="0"/>
                </a:lnTo>
                <a:lnTo>
                  <a:pt x="100211" y="0"/>
                </a:lnTo>
                <a:lnTo>
                  <a:pt x="214406" y="114194"/>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199" name="Freihandform: Form 198">
            <a:extLst>
              <a:ext uri="{FF2B5EF4-FFF2-40B4-BE49-F238E27FC236}">
                <a16:creationId xmlns:a16="http://schemas.microsoft.com/office/drawing/2014/main" id="{2492B28E-09F5-4AD2-BCDD-FCB36DE2600D}"/>
              </a:ext>
            </a:extLst>
          </p:cNvPr>
          <p:cNvSpPr/>
          <p:nvPr userDrawn="1"/>
        </p:nvSpPr>
        <p:spPr>
          <a:xfrm>
            <a:off x="9069136" y="3058125"/>
            <a:ext cx="214405" cy="233049"/>
          </a:xfrm>
          <a:custGeom>
            <a:avLst/>
            <a:gdLst>
              <a:gd name="connsiteX0" fmla="*/ 97881 w 214405"/>
              <a:gd name="connsiteY0" fmla="*/ 233050 h 233049"/>
              <a:gd name="connsiteX1" fmla="*/ 0 w 214405"/>
              <a:gd name="connsiteY1" fmla="*/ 233050 h 233049"/>
              <a:gd name="connsiteX2" fmla="*/ 114194 w 214405"/>
              <a:gd name="connsiteY2" fmla="*/ 117690 h 233049"/>
              <a:gd name="connsiteX3" fmla="*/ 0 w 214405"/>
              <a:gd name="connsiteY3" fmla="*/ 0 h 233049"/>
              <a:gd name="connsiteX4" fmla="*/ 100211 w 214405"/>
              <a:gd name="connsiteY4" fmla="*/ 0 h 233049"/>
              <a:gd name="connsiteX5" fmla="*/ 214406 w 214405"/>
              <a:gd name="connsiteY5" fmla="*/ 114194 h 23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3048">
                <a:moveTo>
                  <a:pt x="97881" y="233050"/>
                </a:moveTo>
                <a:lnTo>
                  <a:pt x="0" y="233050"/>
                </a:lnTo>
                <a:lnTo>
                  <a:pt x="114194" y="117690"/>
                </a:lnTo>
                <a:lnTo>
                  <a:pt x="0" y="0"/>
                </a:lnTo>
                <a:lnTo>
                  <a:pt x="100211" y="0"/>
                </a:lnTo>
                <a:lnTo>
                  <a:pt x="214406" y="114194"/>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200" name="Freihandform: Form 199">
            <a:extLst>
              <a:ext uri="{FF2B5EF4-FFF2-40B4-BE49-F238E27FC236}">
                <a16:creationId xmlns:a16="http://schemas.microsoft.com/office/drawing/2014/main" id="{160082CD-2EE6-4668-93EF-416702415DBF}"/>
              </a:ext>
            </a:extLst>
          </p:cNvPr>
          <p:cNvSpPr/>
          <p:nvPr userDrawn="1"/>
        </p:nvSpPr>
        <p:spPr>
          <a:xfrm>
            <a:off x="9069136" y="3413526"/>
            <a:ext cx="214405" cy="231884"/>
          </a:xfrm>
          <a:custGeom>
            <a:avLst/>
            <a:gdLst>
              <a:gd name="connsiteX0" fmla="*/ 97881 w 214405"/>
              <a:gd name="connsiteY0" fmla="*/ 231884 h 231884"/>
              <a:gd name="connsiteX1" fmla="*/ 0 w 214405"/>
              <a:gd name="connsiteY1" fmla="*/ 231884 h 231884"/>
              <a:gd name="connsiteX2" fmla="*/ 114194 w 214405"/>
              <a:gd name="connsiteY2" fmla="*/ 116525 h 231884"/>
              <a:gd name="connsiteX3" fmla="*/ 0 w 214405"/>
              <a:gd name="connsiteY3" fmla="*/ 0 h 231884"/>
              <a:gd name="connsiteX4" fmla="*/ 100211 w 214405"/>
              <a:gd name="connsiteY4" fmla="*/ 0 h 231884"/>
              <a:gd name="connsiteX5" fmla="*/ 214406 w 214405"/>
              <a:gd name="connsiteY5" fmla="*/ 114194 h 23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1884">
                <a:moveTo>
                  <a:pt x="97881" y="231884"/>
                </a:moveTo>
                <a:lnTo>
                  <a:pt x="0" y="231884"/>
                </a:lnTo>
                <a:lnTo>
                  <a:pt x="114194" y="116525"/>
                </a:lnTo>
                <a:lnTo>
                  <a:pt x="0" y="0"/>
                </a:lnTo>
                <a:lnTo>
                  <a:pt x="100211" y="0"/>
                </a:lnTo>
                <a:lnTo>
                  <a:pt x="214406" y="114194"/>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201" name="Freihandform: Form 200">
            <a:extLst>
              <a:ext uri="{FF2B5EF4-FFF2-40B4-BE49-F238E27FC236}">
                <a16:creationId xmlns:a16="http://schemas.microsoft.com/office/drawing/2014/main" id="{EC398B7B-BB5C-4602-9E4E-A08872036BF0}"/>
              </a:ext>
            </a:extLst>
          </p:cNvPr>
          <p:cNvSpPr/>
          <p:nvPr userDrawn="1"/>
        </p:nvSpPr>
        <p:spPr>
          <a:xfrm>
            <a:off x="9069136" y="3767761"/>
            <a:ext cx="214405" cy="233049"/>
          </a:xfrm>
          <a:custGeom>
            <a:avLst/>
            <a:gdLst>
              <a:gd name="connsiteX0" fmla="*/ 97881 w 214405"/>
              <a:gd name="connsiteY0" fmla="*/ 233050 h 233049"/>
              <a:gd name="connsiteX1" fmla="*/ 0 w 214405"/>
              <a:gd name="connsiteY1" fmla="*/ 233050 h 233049"/>
              <a:gd name="connsiteX2" fmla="*/ 114194 w 214405"/>
              <a:gd name="connsiteY2" fmla="*/ 117690 h 233049"/>
              <a:gd name="connsiteX3" fmla="*/ 0 w 214405"/>
              <a:gd name="connsiteY3" fmla="*/ 0 h 233049"/>
              <a:gd name="connsiteX4" fmla="*/ 100211 w 214405"/>
              <a:gd name="connsiteY4" fmla="*/ 0 h 233049"/>
              <a:gd name="connsiteX5" fmla="*/ 214406 w 214405"/>
              <a:gd name="connsiteY5" fmla="*/ 114194 h 23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3048">
                <a:moveTo>
                  <a:pt x="97881" y="233050"/>
                </a:moveTo>
                <a:lnTo>
                  <a:pt x="0" y="233050"/>
                </a:lnTo>
                <a:lnTo>
                  <a:pt x="114194" y="117690"/>
                </a:lnTo>
                <a:lnTo>
                  <a:pt x="0" y="0"/>
                </a:lnTo>
                <a:lnTo>
                  <a:pt x="100211" y="0"/>
                </a:lnTo>
                <a:lnTo>
                  <a:pt x="214406" y="114194"/>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202" name="Freihandform: Form 201">
            <a:extLst>
              <a:ext uri="{FF2B5EF4-FFF2-40B4-BE49-F238E27FC236}">
                <a16:creationId xmlns:a16="http://schemas.microsoft.com/office/drawing/2014/main" id="{EC13F2B5-4D6F-4FB1-A365-C60BBEF6C5A2}"/>
              </a:ext>
            </a:extLst>
          </p:cNvPr>
          <p:cNvSpPr/>
          <p:nvPr userDrawn="1"/>
        </p:nvSpPr>
        <p:spPr>
          <a:xfrm>
            <a:off x="9069136" y="4123162"/>
            <a:ext cx="214405" cy="231884"/>
          </a:xfrm>
          <a:custGeom>
            <a:avLst/>
            <a:gdLst>
              <a:gd name="connsiteX0" fmla="*/ 97881 w 214405"/>
              <a:gd name="connsiteY0" fmla="*/ 231884 h 231884"/>
              <a:gd name="connsiteX1" fmla="*/ 0 w 214405"/>
              <a:gd name="connsiteY1" fmla="*/ 231884 h 231884"/>
              <a:gd name="connsiteX2" fmla="*/ 114194 w 214405"/>
              <a:gd name="connsiteY2" fmla="*/ 116525 h 231884"/>
              <a:gd name="connsiteX3" fmla="*/ 0 w 214405"/>
              <a:gd name="connsiteY3" fmla="*/ 0 h 231884"/>
              <a:gd name="connsiteX4" fmla="*/ 100211 w 214405"/>
              <a:gd name="connsiteY4" fmla="*/ 0 h 231884"/>
              <a:gd name="connsiteX5" fmla="*/ 214406 w 214405"/>
              <a:gd name="connsiteY5" fmla="*/ 114194 h 23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1884">
                <a:moveTo>
                  <a:pt x="97881" y="231884"/>
                </a:moveTo>
                <a:lnTo>
                  <a:pt x="0" y="231884"/>
                </a:lnTo>
                <a:lnTo>
                  <a:pt x="114194" y="116525"/>
                </a:lnTo>
                <a:lnTo>
                  <a:pt x="0" y="0"/>
                </a:lnTo>
                <a:lnTo>
                  <a:pt x="100211" y="0"/>
                </a:lnTo>
                <a:lnTo>
                  <a:pt x="214406" y="114194"/>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203" name="Freihandform: Form 202">
            <a:extLst>
              <a:ext uri="{FF2B5EF4-FFF2-40B4-BE49-F238E27FC236}">
                <a16:creationId xmlns:a16="http://schemas.microsoft.com/office/drawing/2014/main" id="{C79817D0-0C3B-48B8-80D4-0F007EDBC499}"/>
              </a:ext>
            </a:extLst>
          </p:cNvPr>
          <p:cNvSpPr/>
          <p:nvPr userDrawn="1"/>
        </p:nvSpPr>
        <p:spPr>
          <a:xfrm>
            <a:off x="9069136" y="4477397"/>
            <a:ext cx="214405" cy="233049"/>
          </a:xfrm>
          <a:custGeom>
            <a:avLst/>
            <a:gdLst>
              <a:gd name="connsiteX0" fmla="*/ 97881 w 214405"/>
              <a:gd name="connsiteY0" fmla="*/ 233050 h 233049"/>
              <a:gd name="connsiteX1" fmla="*/ 0 w 214405"/>
              <a:gd name="connsiteY1" fmla="*/ 233050 h 233049"/>
              <a:gd name="connsiteX2" fmla="*/ 114194 w 214405"/>
              <a:gd name="connsiteY2" fmla="*/ 117690 h 233049"/>
              <a:gd name="connsiteX3" fmla="*/ 0 w 214405"/>
              <a:gd name="connsiteY3" fmla="*/ 0 h 233049"/>
              <a:gd name="connsiteX4" fmla="*/ 100211 w 214405"/>
              <a:gd name="connsiteY4" fmla="*/ 0 h 233049"/>
              <a:gd name="connsiteX5" fmla="*/ 214406 w 214405"/>
              <a:gd name="connsiteY5" fmla="*/ 114194 h 23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3048">
                <a:moveTo>
                  <a:pt x="97881" y="233050"/>
                </a:moveTo>
                <a:lnTo>
                  <a:pt x="0" y="233050"/>
                </a:lnTo>
                <a:lnTo>
                  <a:pt x="114194" y="117690"/>
                </a:lnTo>
                <a:lnTo>
                  <a:pt x="0" y="0"/>
                </a:lnTo>
                <a:lnTo>
                  <a:pt x="100211" y="0"/>
                </a:lnTo>
                <a:lnTo>
                  <a:pt x="214406" y="114194"/>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204" name="Freihandform: Form 203">
            <a:extLst>
              <a:ext uri="{FF2B5EF4-FFF2-40B4-BE49-F238E27FC236}">
                <a16:creationId xmlns:a16="http://schemas.microsoft.com/office/drawing/2014/main" id="{AE9CEB4E-E922-401F-B67A-B68DDEAC30AD}"/>
              </a:ext>
            </a:extLst>
          </p:cNvPr>
          <p:cNvSpPr/>
          <p:nvPr userDrawn="1"/>
        </p:nvSpPr>
        <p:spPr>
          <a:xfrm>
            <a:off x="9069136" y="4832797"/>
            <a:ext cx="214405" cy="231884"/>
          </a:xfrm>
          <a:custGeom>
            <a:avLst/>
            <a:gdLst>
              <a:gd name="connsiteX0" fmla="*/ 97881 w 214405"/>
              <a:gd name="connsiteY0" fmla="*/ 231884 h 231884"/>
              <a:gd name="connsiteX1" fmla="*/ 0 w 214405"/>
              <a:gd name="connsiteY1" fmla="*/ 231884 h 231884"/>
              <a:gd name="connsiteX2" fmla="*/ 114194 w 214405"/>
              <a:gd name="connsiteY2" fmla="*/ 116525 h 231884"/>
              <a:gd name="connsiteX3" fmla="*/ 0 w 214405"/>
              <a:gd name="connsiteY3" fmla="*/ 0 h 231884"/>
              <a:gd name="connsiteX4" fmla="*/ 100211 w 214405"/>
              <a:gd name="connsiteY4" fmla="*/ 0 h 231884"/>
              <a:gd name="connsiteX5" fmla="*/ 214406 w 214405"/>
              <a:gd name="connsiteY5" fmla="*/ 114194 h 23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1884">
                <a:moveTo>
                  <a:pt x="97881" y="231884"/>
                </a:moveTo>
                <a:lnTo>
                  <a:pt x="0" y="231884"/>
                </a:lnTo>
                <a:lnTo>
                  <a:pt x="114194" y="116525"/>
                </a:lnTo>
                <a:lnTo>
                  <a:pt x="0" y="0"/>
                </a:lnTo>
                <a:lnTo>
                  <a:pt x="100211" y="0"/>
                </a:lnTo>
                <a:lnTo>
                  <a:pt x="214406" y="114194"/>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205" name="Freihandform: Form 204">
            <a:extLst>
              <a:ext uri="{FF2B5EF4-FFF2-40B4-BE49-F238E27FC236}">
                <a16:creationId xmlns:a16="http://schemas.microsoft.com/office/drawing/2014/main" id="{A6F8843E-2679-41E7-96DF-C290E8EE23AA}"/>
              </a:ext>
            </a:extLst>
          </p:cNvPr>
          <p:cNvSpPr/>
          <p:nvPr userDrawn="1"/>
        </p:nvSpPr>
        <p:spPr>
          <a:xfrm>
            <a:off x="9069136" y="5187033"/>
            <a:ext cx="214405" cy="233049"/>
          </a:xfrm>
          <a:custGeom>
            <a:avLst/>
            <a:gdLst>
              <a:gd name="connsiteX0" fmla="*/ 97881 w 214405"/>
              <a:gd name="connsiteY0" fmla="*/ 233050 h 233049"/>
              <a:gd name="connsiteX1" fmla="*/ 0 w 214405"/>
              <a:gd name="connsiteY1" fmla="*/ 233050 h 233049"/>
              <a:gd name="connsiteX2" fmla="*/ 114194 w 214405"/>
              <a:gd name="connsiteY2" fmla="*/ 117690 h 233049"/>
              <a:gd name="connsiteX3" fmla="*/ 0 w 214405"/>
              <a:gd name="connsiteY3" fmla="*/ 0 h 233049"/>
              <a:gd name="connsiteX4" fmla="*/ 100211 w 214405"/>
              <a:gd name="connsiteY4" fmla="*/ 0 h 233049"/>
              <a:gd name="connsiteX5" fmla="*/ 214406 w 214405"/>
              <a:gd name="connsiteY5" fmla="*/ 114194 h 23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3048">
                <a:moveTo>
                  <a:pt x="97881" y="233050"/>
                </a:moveTo>
                <a:lnTo>
                  <a:pt x="0" y="233050"/>
                </a:lnTo>
                <a:lnTo>
                  <a:pt x="114194" y="117690"/>
                </a:lnTo>
                <a:lnTo>
                  <a:pt x="0" y="0"/>
                </a:lnTo>
                <a:lnTo>
                  <a:pt x="100211" y="0"/>
                </a:lnTo>
                <a:lnTo>
                  <a:pt x="214406" y="114194"/>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206" name="Freihandform: Form 205">
            <a:extLst>
              <a:ext uri="{FF2B5EF4-FFF2-40B4-BE49-F238E27FC236}">
                <a16:creationId xmlns:a16="http://schemas.microsoft.com/office/drawing/2014/main" id="{215B1B05-3D47-434A-930D-538A456E3DC8}"/>
              </a:ext>
            </a:extLst>
          </p:cNvPr>
          <p:cNvSpPr/>
          <p:nvPr userDrawn="1"/>
        </p:nvSpPr>
        <p:spPr>
          <a:xfrm>
            <a:off x="9069136" y="5542434"/>
            <a:ext cx="214405" cy="231884"/>
          </a:xfrm>
          <a:custGeom>
            <a:avLst/>
            <a:gdLst>
              <a:gd name="connsiteX0" fmla="*/ 97881 w 214405"/>
              <a:gd name="connsiteY0" fmla="*/ 231884 h 231884"/>
              <a:gd name="connsiteX1" fmla="*/ 0 w 214405"/>
              <a:gd name="connsiteY1" fmla="*/ 231884 h 231884"/>
              <a:gd name="connsiteX2" fmla="*/ 114194 w 214405"/>
              <a:gd name="connsiteY2" fmla="*/ 117690 h 231884"/>
              <a:gd name="connsiteX3" fmla="*/ 0 w 214405"/>
              <a:gd name="connsiteY3" fmla="*/ 0 h 231884"/>
              <a:gd name="connsiteX4" fmla="*/ 100211 w 214405"/>
              <a:gd name="connsiteY4" fmla="*/ 0 h 231884"/>
              <a:gd name="connsiteX5" fmla="*/ 214406 w 214405"/>
              <a:gd name="connsiteY5" fmla="*/ 114194 h 23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1884">
                <a:moveTo>
                  <a:pt x="97881" y="231884"/>
                </a:moveTo>
                <a:lnTo>
                  <a:pt x="0" y="231884"/>
                </a:lnTo>
                <a:lnTo>
                  <a:pt x="114194" y="117690"/>
                </a:lnTo>
                <a:lnTo>
                  <a:pt x="0" y="0"/>
                </a:lnTo>
                <a:lnTo>
                  <a:pt x="100211" y="0"/>
                </a:lnTo>
                <a:lnTo>
                  <a:pt x="214406" y="114194"/>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207" name="Freihandform: Form 206">
            <a:extLst>
              <a:ext uri="{FF2B5EF4-FFF2-40B4-BE49-F238E27FC236}">
                <a16:creationId xmlns:a16="http://schemas.microsoft.com/office/drawing/2014/main" id="{071BF930-9E4A-4609-9452-74F5D75A4D89}"/>
              </a:ext>
            </a:extLst>
          </p:cNvPr>
          <p:cNvSpPr/>
          <p:nvPr userDrawn="1"/>
        </p:nvSpPr>
        <p:spPr>
          <a:xfrm>
            <a:off x="9069136" y="5896669"/>
            <a:ext cx="214405" cy="233049"/>
          </a:xfrm>
          <a:custGeom>
            <a:avLst/>
            <a:gdLst>
              <a:gd name="connsiteX0" fmla="*/ 97881 w 214405"/>
              <a:gd name="connsiteY0" fmla="*/ 233050 h 233049"/>
              <a:gd name="connsiteX1" fmla="*/ 0 w 214405"/>
              <a:gd name="connsiteY1" fmla="*/ 233050 h 233049"/>
              <a:gd name="connsiteX2" fmla="*/ 114194 w 214405"/>
              <a:gd name="connsiteY2" fmla="*/ 117690 h 233049"/>
              <a:gd name="connsiteX3" fmla="*/ 0 w 214405"/>
              <a:gd name="connsiteY3" fmla="*/ 0 h 233049"/>
              <a:gd name="connsiteX4" fmla="*/ 100211 w 214405"/>
              <a:gd name="connsiteY4" fmla="*/ 0 h 233049"/>
              <a:gd name="connsiteX5" fmla="*/ 214406 w 214405"/>
              <a:gd name="connsiteY5" fmla="*/ 114194 h 23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3048">
                <a:moveTo>
                  <a:pt x="97881" y="233050"/>
                </a:moveTo>
                <a:lnTo>
                  <a:pt x="0" y="233050"/>
                </a:lnTo>
                <a:lnTo>
                  <a:pt x="114194" y="117690"/>
                </a:lnTo>
                <a:lnTo>
                  <a:pt x="0" y="0"/>
                </a:lnTo>
                <a:lnTo>
                  <a:pt x="100211" y="0"/>
                </a:lnTo>
                <a:lnTo>
                  <a:pt x="214406" y="114194"/>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208" name="Freihandform: Form 207">
            <a:extLst>
              <a:ext uri="{FF2B5EF4-FFF2-40B4-BE49-F238E27FC236}">
                <a16:creationId xmlns:a16="http://schemas.microsoft.com/office/drawing/2014/main" id="{084CB511-06DF-462B-986F-93AADA41F0F4}"/>
              </a:ext>
            </a:extLst>
          </p:cNvPr>
          <p:cNvSpPr/>
          <p:nvPr userDrawn="1"/>
        </p:nvSpPr>
        <p:spPr>
          <a:xfrm>
            <a:off x="9069136" y="6252070"/>
            <a:ext cx="214405" cy="233049"/>
          </a:xfrm>
          <a:custGeom>
            <a:avLst/>
            <a:gdLst>
              <a:gd name="connsiteX0" fmla="*/ 97881 w 214405"/>
              <a:gd name="connsiteY0" fmla="*/ 233050 h 233049"/>
              <a:gd name="connsiteX1" fmla="*/ 0 w 214405"/>
              <a:gd name="connsiteY1" fmla="*/ 233050 h 233049"/>
              <a:gd name="connsiteX2" fmla="*/ 114194 w 214405"/>
              <a:gd name="connsiteY2" fmla="*/ 117690 h 233049"/>
              <a:gd name="connsiteX3" fmla="*/ 0 w 214405"/>
              <a:gd name="connsiteY3" fmla="*/ 0 h 233049"/>
              <a:gd name="connsiteX4" fmla="*/ 100211 w 214405"/>
              <a:gd name="connsiteY4" fmla="*/ 0 h 233049"/>
              <a:gd name="connsiteX5" fmla="*/ 214406 w 214405"/>
              <a:gd name="connsiteY5" fmla="*/ 114194 h 23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3048">
                <a:moveTo>
                  <a:pt x="97881" y="233050"/>
                </a:moveTo>
                <a:lnTo>
                  <a:pt x="0" y="233050"/>
                </a:lnTo>
                <a:lnTo>
                  <a:pt x="114194" y="117690"/>
                </a:lnTo>
                <a:lnTo>
                  <a:pt x="0" y="0"/>
                </a:lnTo>
                <a:lnTo>
                  <a:pt x="100211" y="0"/>
                </a:lnTo>
                <a:lnTo>
                  <a:pt x="214406" y="114194"/>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209" name="Freihandform: Form 208">
            <a:extLst>
              <a:ext uri="{FF2B5EF4-FFF2-40B4-BE49-F238E27FC236}">
                <a16:creationId xmlns:a16="http://schemas.microsoft.com/office/drawing/2014/main" id="{3E968065-397B-451F-8539-EA0CB9A7E175}"/>
              </a:ext>
            </a:extLst>
          </p:cNvPr>
          <p:cNvSpPr/>
          <p:nvPr userDrawn="1"/>
        </p:nvSpPr>
        <p:spPr>
          <a:xfrm>
            <a:off x="9069136" y="6607470"/>
            <a:ext cx="214405" cy="231884"/>
          </a:xfrm>
          <a:custGeom>
            <a:avLst/>
            <a:gdLst>
              <a:gd name="connsiteX0" fmla="*/ 97881 w 214405"/>
              <a:gd name="connsiteY0" fmla="*/ 231884 h 231884"/>
              <a:gd name="connsiteX1" fmla="*/ 0 w 214405"/>
              <a:gd name="connsiteY1" fmla="*/ 231884 h 231884"/>
              <a:gd name="connsiteX2" fmla="*/ 114194 w 214405"/>
              <a:gd name="connsiteY2" fmla="*/ 116525 h 231884"/>
              <a:gd name="connsiteX3" fmla="*/ 0 w 214405"/>
              <a:gd name="connsiteY3" fmla="*/ 0 h 231884"/>
              <a:gd name="connsiteX4" fmla="*/ 100211 w 214405"/>
              <a:gd name="connsiteY4" fmla="*/ 0 h 231884"/>
              <a:gd name="connsiteX5" fmla="*/ 214406 w 214405"/>
              <a:gd name="connsiteY5" fmla="*/ 114194 h 23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1884">
                <a:moveTo>
                  <a:pt x="97881" y="231884"/>
                </a:moveTo>
                <a:lnTo>
                  <a:pt x="0" y="231884"/>
                </a:lnTo>
                <a:lnTo>
                  <a:pt x="114194" y="116525"/>
                </a:lnTo>
                <a:lnTo>
                  <a:pt x="0" y="0"/>
                </a:lnTo>
                <a:lnTo>
                  <a:pt x="100211" y="0"/>
                </a:lnTo>
                <a:lnTo>
                  <a:pt x="214406" y="114194"/>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210" name="Freihandform: Form 209">
            <a:extLst>
              <a:ext uri="{FF2B5EF4-FFF2-40B4-BE49-F238E27FC236}">
                <a16:creationId xmlns:a16="http://schemas.microsoft.com/office/drawing/2014/main" id="{6E85CB86-5BB4-4AAE-AF56-1FFA4565733D}"/>
              </a:ext>
            </a:extLst>
          </p:cNvPr>
          <p:cNvSpPr/>
          <p:nvPr userDrawn="1"/>
        </p:nvSpPr>
        <p:spPr>
          <a:xfrm>
            <a:off x="9415215" y="1984931"/>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2351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5847"/>
                </a:lnTo>
                <a:lnTo>
                  <a:pt x="0" y="0"/>
                </a:lnTo>
                <a:lnTo>
                  <a:pt x="108368" y="0"/>
                </a:lnTo>
                <a:lnTo>
                  <a:pt x="230719" y="122351"/>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211" name="Freihandform: Form 210">
            <a:extLst>
              <a:ext uri="{FF2B5EF4-FFF2-40B4-BE49-F238E27FC236}">
                <a16:creationId xmlns:a16="http://schemas.microsoft.com/office/drawing/2014/main" id="{CFB8E64A-3E12-46C6-87D8-66CBB2425962}"/>
              </a:ext>
            </a:extLst>
          </p:cNvPr>
          <p:cNvSpPr/>
          <p:nvPr userDrawn="1"/>
        </p:nvSpPr>
        <p:spPr>
          <a:xfrm>
            <a:off x="9415215" y="2339167"/>
            <a:ext cx="230718" cy="250528"/>
          </a:xfrm>
          <a:custGeom>
            <a:avLst/>
            <a:gdLst>
              <a:gd name="connsiteX0" fmla="*/ 106037 w 230718"/>
              <a:gd name="connsiteY0" fmla="*/ 250528 h 250528"/>
              <a:gd name="connsiteX1" fmla="*/ 0 w 230718"/>
              <a:gd name="connsiteY1" fmla="*/ 250528 h 250528"/>
              <a:gd name="connsiteX2" fmla="*/ 123516 w 230718"/>
              <a:gd name="connsiteY2" fmla="*/ 127012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7012"/>
                </a:lnTo>
                <a:lnTo>
                  <a:pt x="0" y="0"/>
                </a:lnTo>
                <a:lnTo>
                  <a:pt x="108368" y="0"/>
                </a:lnTo>
                <a:lnTo>
                  <a:pt x="230719" y="123516"/>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212" name="Freihandform: Form 211">
            <a:extLst>
              <a:ext uri="{FF2B5EF4-FFF2-40B4-BE49-F238E27FC236}">
                <a16:creationId xmlns:a16="http://schemas.microsoft.com/office/drawing/2014/main" id="{D7750CA3-8186-404F-821B-B7ACDC600D49}"/>
              </a:ext>
            </a:extLst>
          </p:cNvPr>
          <p:cNvSpPr/>
          <p:nvPr userDrawn="1"/>
        </p:nvSpPr>
        <p:spPr>
          <a:xfrm>
            <a:off x="9415215" y="2694568"/>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5847"/>
                </a:lnTo>
                <a:lnTo>
                  <a:pt x="0" y="0"/>
                </a:lnTo>
                <a:lnTo>
                  <a:pt x="108368" y="0"/>
                </a:lnTo>
                <a:lnTo>
                  <a:pt x="230719" y="123516"/>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213" name="Freihandform: Form 212">
            <a:extLst>
              <a:ext uri="{FF2B5EF4-FFF2-40B4-BE49-F238E27FC236}">
                <a16:creationId xmlns:a16="http://schemas.microsoft.com/office/drawing/2014/main" id="{5FC66292-4352-4940-A2D6-92FF3429CC5B}"/>
              </a:ext>
            </a:extLst>
          </p:cNvPr>
          <p:cNvSpPr/>
          <p:nvPr userDrawn="1"/>
        </p:nvSpPr>
        <p:spPr>
          <a:xfrm>
            <a:off x="9415215" y="3048803"/>
            <a:ext cx="230718" cy="250528"/>
          </a:xfrm>
          <a:custGeom>
            <a:avLst/>
            <a:gdLst>
              <a:gd name="connsiteX0" fmla="*/ 106037 w 230718"/>
              <a:gd name="connsiteY0" fmla="*/ 250528 h 250528"/>
              <a:gd name="connsiteX1" fmla="*/ 0 w 230718"/>
              <a:gd name="connsiteY1" fmla="*/ 250528 h 250528"/>
              <a:gd name="connsiteX2" fmla="*/ 123516 w 230718"/>
              <a:gd name="connsiteY2" fmla="*/ 127012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7012"/>
                </a:lnTo>
                <a:lnTo>
                  <a:pt x="0" y="0"/>
                </a:lnTo>
                <a:lnTo>
                  <a:pt x="108368" y="0"/>
                </a:lnTo>
                <a:lnTo>
                  <a:pt x="230719" y="123516"/>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214" name="Freihandform: Form 213">
            <a:extLst>
              <a:ext uri="{FF2B5EF4-FFF2-40B4-BE49-F238E27FC236}">
                <a16:creationId xmlns:a16="http://schemas.microsoft.com/office/drawing/2014/main" id="{24923806-8A74-4CC7-B809-8F8330E70CCB}"/>
              </a:ext>
            </a:extLst>
          </p:cNvPr>
          <p:cNvSpPr/>
          <p:nvPr userDrawn="1"/>
        </p:nvSpPr>
        <p:spPr>
          <a:xfrm>
            <a:off x="9415215" y="3404203"/>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5847"/>
                </a:lnTo>
                <a:lnTo>
                  <a:pt x="0" y="0"/>
                </a:lnTo>
                <a:lnTo>
                  <a:pt x="108368" y="0"/>
                </a:lnTo>
                <a:lnTo>
                  <a:pt x="230719" y="123516"/>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215" name="Freihandform: Form 214">
            <a:extLst>
              <a:ext uri="{FF2B5EF4-FFF2-40B4-BE49-F238E27FC236}">
                <a16:creationId xmlns:a16="http://schemas.microsoft.com/office/drawing/2014/main" id="{10A2240C-0BDA-4703-812D-770C5FF3EF8A}"/>
              </a:ext>
            </a:extLst>
          </p:cNvPr>
          <p:cNvSpPr/>
          <p:nvPr userDrawn="1"/>
        </p:nvSpPr>
        <p:spPr>
          <a:xfrm>
            <a:off x="9415215" y="3758439"/>
            <a:ext cx="230718" cy="251693"/>
          </a:xfrm>
          <a:custGeom>
            <a:avLst/>
            <a:gdLst>
              <a:gd name="connsiteX0" fmla="*/ 106037 w 230718"/>
              <a:gd name="connsiteY0" fmla="*/ 251694 h 251693"/>
              <a:gd name="connsiteX1" fmla="*/ 0 w 230718"/>
              <a:gd name="connsiteY1" fmla="*/ 251694 h 251693"/>
              <a:gd name="connsiteX2" fmla="*/ 123516 w 230718"/>
              <a:gd name="connsiteY2" fmla="*/ 127012 h 251693"/>
              <a:gd name="connsiteX3" fmla="*/ 0 w 230718"/>
              <a:gd name="connsiteY3" fmla="*/ 0 h 251693"/>
              <a:gd name="connsiteX4" fmla="*/ 108368 w 230718"/>
              <a:gd name="connsiteY4" fmla="*/ 0 h 251693"/>
              <a:gd name="connsiteX5" fmla="*/ 230719 w 230718"/>
              <a:gd name="connsiteY5" fmla="*/ 123516 h 251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1693">
                <a:moveTo>
                  <a:pt x="106037" y="251694"/>
                </a:moveTo>
                <a:lnTo>
                  <a:pt x="0" y="251694"/>
                </a:lnTo>
                <a:lnTo>
                  <a:pt x="123516" y="127012"/>
                </a:lnTo>
                <a:lnTo>
                  <a:pt x="0" y="0"/>
                </a:lnTo>
                <a:lnTo>
                  <a:pt x="108368" y="0"/>
                </a:lnTo>
                <a:lnTo>
                  <a:pt x="230719" y="123516"/>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216" name="Freihandform: Form 215">
            <a:extLst>
              <a:ext uri="{FF2B5EF4-FFF2-40B4-BE49-F238E27FC236}">
                <a16:creationId xmlns:a16="http://schemas.microsoft.com/office/drawing/2014/main" id="{4AE50D48-E84E-4D1F-B37B-03DBFF3988A5}"/>
              </a:ext>
            </a:extLst>
          </p:cNvPr>
          <p:cNvSpPr/>
          <p:nvPr userDrawn="1"/>
        </p:nvSpPr>
        <p:spPr>
          <a:xfrm>
            <a:off x="9415215" y="4113840"/>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5847"/>
                </a:lnTo>
                <a:lnTo>
                  <a:pt x="0" y="0"/>
                </a:lnTo>
                <a:lnTo>
                  <a:pt x="108368" y="0"/>
                </a:lnTo>
                <a:lnTo>
                  <a:pt x="230719" y="123516"/>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217" name="Freihandform: Form 216">
            <a:extLst>
              <a:ext uri="{FF2B5EF4-FFF2-40B4-BE49-F238E27FC236}">
                <a16:creationId xmlns:a16="http://schemas.microsoft.com/office/drawing/2014/main" id="{F4B7EDB8-9B5E-4FE0-8B99-D43E379E9C2C}"/>
              </a:ext>
            </a:extLst>
          </p:cNvPr>
          <p:cNvSpPr/>
          <p:nvPr userDrawn="1"/>
        </p:nvSpPr>
        <p:spPr>
          <a:xfrm>
            <a:off x="9415215" y="4469240"/>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2351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5847"/>
                </a:lnTo>
                <a:lnTo>
                  <a:pt x="0" y="0"/>
                </a:lnTo>
                <a:lnTo>
                  <a:pt x="108368" y="0"/>
                </a:lnTo>
                <a:lnTo>
                  <a:pt x="230719" y="122351"/>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218" name="Freihandform: Form 217">
            <a:extLst>
              <a:ext uri="{FF2B5EF4-FFF2-40B4-BE49-F238E27FC236}">
                <a16:creationId xmlns:a16="http://schemas.microsoft.com/office/drawing/2014/main" id="{6C7B9EF0-88C2-4318-AAF4-BDCED195EC9F}"/>
              </a:ext>
            </a:extLst>
          </p:cNvPr>
          <p:cNvSpPr/>
          <p:nvPr userDrawn="1"/>
        </p:nvSpPr>
        <p:spPr>
          <a:xfrm>
            <a:off x="9415215" y="4823475"/>
            <a:ext cx="230718" cy="250528"/>
          </a:xfrm>
          <a:custGeom>
            <a:avLst/>
            <a:gdLst>
              <a:gd name="connsiteX0" fmla="*/ 106037 w 230718"/>
              <a:gd name="connsiteY0" fmla="*/ 250528 h 250528"/>
              <a:gd name="connsiteX1" fmla="*/ 0 w 230718"/>
              <a:gd name="connsiteY1" fmla="*/ 250528 h 250528"/>
              <a:gd name="connsiteX2" fmla="*/ 123516 w 230718"/>
              <a:gd name="connsiteY2" fmla="*/ 127012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7012"/>
                </a:lnTo>
                <a:lnTo>
                  <a:pt x="0" y="0"/>
                </a:lnTo>
                <a:lnTo>
                  <a:pt x="108368" y="0"/>
                </a:lnTo>
                <a:lnTo>
                  <a:pt x="230719" y="123516"/>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219" name="Freihandform: Form 218">
            <a:extLst>
              <a:ext uri="{FF2B5EF4-FFF2-40B4-BE49-F238E27FC236}">
                <a16:creationId xmlns:a16="http://schemas.microsoft.com/office/drawing/2014/main" id="{53A7C4EC-6AAB-4B80-96D1-295E51FF4A53}"/>
              </a:ext>
            </a:extLst>
          </p:cNvPr>
          <p:cNvSpPr/>
          <p:nvPr userDrawn="1"/>
        </p:nvSpPr>
        <p:spPr>
          <a:xfrm>
            <a:off x="9415215" y="5178876"/>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2351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5847"/>
                </a:lnTo>
                <a:lnTo>
                  <a:pt x="0" y="0"/>
                </a:lnTo>
                <a:lnTo>
                  <a:pt x="108368" y="0"/>
                </a:lnTo>
                <a:lnTo>
                  <a:pt x="230719" y="122351"/>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220" name="Freihandform: Form 219">
            <a:extLst>
              <a:ext uri="{FF2B5EF4-FFF2-40B4-BE49-F238E27FC236}">
                <a16:creationId xmlns:a16="http://schemas.microsoft.com/office/drawing/2014/main" id="{B2933393-A38B-4A5B-A279-7AAA49F15142}"/>
              </a:ext>
            </a:extLst>
          </p:cNvPr>
          <p:cNvSpPr/>
          <p:nvPr userDrawn="1"/>
        </p:nvSpPr>
        <p:spPr>
          <a:xfrm>
            <a:off x="9415215" y="5533111"/>
            <a:ext cx="230718" cy="250528"/>
          </a:xfrm>
          <a:custGeom>
            <a:avLst/>
            <a:gdLst>
              <a:gd name="connsiteX0" fmla="*/ 106037 w 230718"/>
              <a:gd name="connsiteY0" fmla="*/ 250528 h 250528"/>
              <a:gd name="connsiteX1" fmla="*/ 0 w 230718"/>
              <a:gd name="connsiteY1" fmla="*/ 250528 h 250528"/>
              <a:gd name="connsiteX2" fmla="*/ 123516 w 230718"/>
              <a:gd name="connsiteY2" fmla="*/ 127012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7012"/>
                </a:lnTo>
                <a:lnTo>
                  <a:pt x="0" y="0"/>
                </a:lnTo>
                <a:lnTo>
                  <a:pt x="108368" y="0"/>
                </a:lnTo>
                <a:lnTo>
                  <a:pt x="230719" y="123516"/>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221" name="Freihandform: Form 220">
            <a:extLst>
              <a:ext uri="{FF2B5EF4-FFF2-40B4-BE49-F238E27FC236}">
                <a16:creationId xmlns:a16="http://schemas.microsoft.com/office/drawing/2014/main" id="{67908A13-F16D-441B-B370-2E71BE19F2C5}"/>
              </a:ext>
            </a:extLst>
          </p:cNvPr>
          <p:cNvSpPr/>
          <p:nvPr userDrawn="1"/>
        </p:nvSpPr>
        <p:spPr>
          <a:xfrm>
            <a:off x="9415215" y="5888512"/>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2351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5847"/>
                </a:lnTo>
                <a:lnTo>
                  <a:pt x="0" y="0"/>
                </a:lnTo>
                <a:lnTo>
                  <a:pt x="108368" y="0"/>
                </a:lnTo>
                <a:lnTo>
                  <a:pt x="230719" y="122351"/>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222" name="Freihandform: Form 221">
            <a:extLst>
              <a:ext uri="{FF2B5EF4-FFF2-40B4-BE49-F238E27FC236}">
                <a16:creationId xmlns:a16="http://schemas.microsoft.com/office/drawing/2014/main" id="{D7964D65-7EF9-45B9-BFB5-24534CBFA2EC}"/>
              </a:ext>
            </a:extLst>
          </p:cNvPr>
          <p:cNvSpPr/>
          <p:nvPr userDrawn="1"/>
        </p:nvSpPr>
        <p:spPr>
          <a:xfrm>
            <a:off x="9415215" y="6242748"/>
            <a:ext cx="230718" cy="250528"/>
          </a:xfrm>
          <a:custGeom>
            <a:avLst/>
            <a:gdLst>
              <a:gd name="connsiteX0" fmla="*/ 106037 w 230718"/>
              <a:gd name="connsiteY0" fmla="*/ 250528 h 250528"/>
              <a:gd name="connsiteX1" fmla="*/ 0 w 230718"/>
              <a:gd name="connsiteY1" fmla="*/ 250528 h 250528"/>
              <a:gd name="connsiteX2" fmla="*/ 123516 w 230718"/>
              <a:gd name="connsiteY2" fmla="*/ 127012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7012"/>
                </a:lnTo>
                <a:lnTo>
                  <a:pt x="0" y="0"/>
                </a:lnTo>
                <a:lnTo>
                  <a:pt x="108368" y="0"/>
                </a:lnTo>
                <a:lnTo>
                  <a:pt x="230719" y="123516"/>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223" name="Freihandform: Form 222">
            <a:extLst>
              <a:ext uri="{FF2B5EF4-FFF2-40B4-BE49-F238E27FC236}">
                <a16:creationId xmlns:a16="http://schemas.microsoft.com/office/drawing/2014/main" id="{9C9C275D-8CBA-4F92-883B-4929C1BC0F1D}"/>
              </a:ext>
            </a:extLst>
          </p:cNvPr>
          <p:cNvSpPr/>
          <p:nvPr userDrawn="1"/>
        </p:nvSpPr>
        <p:spPr>
          <a:xfrm>
            <a:off x="9415215" y="6598148"/>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2351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5847"/>
                </a:lnTo>
                <a:lnTo>
                  <a:pt x="0" y="0"/>
                </a:lnTo>
                <a:lnTo>
                  <a:pt x="108368" y="0"/>
                </a:lnTo>
                <a:lnTo>
                  <a:pt x="230719" y="122351"/>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224" name="Freihandform: Form 223">
            <a:extLst>
              <a:ext uri="{FF2B5EF4-FFF2-40B4-BE49-F238E27FC236}">
                <a16:creationId xmlns:a16="http://schemas.microsoft.com/office/drawing/2014/main" id="{6D2BCCAA-B205-4936-869F-06D92D00CA1D}"/>
              </a:ext>
            </a:extLst>
          </p:cNvPr>
          <p:cNvSpPr/>
          <p:nvPr userDrawn="1"/>
        </p:nvSpPr>
        <p:spPr>
          <a:xfrm>
            <a:off x="9761293" y="1975610"/>
            <a:ext cx="248198" cy="269172"/>
          </a:xfrm>
          <a:custGeom>
            <a:avLst/>
            <a:gdLst>
              <a:gd name="connsiteX0" fmla="*/ 114195 w 248198"/>
              <a:gd name="connsiteY0" fmla="*/ 269172 h 269172"/>
              <a:gd name="connsiteX1" fmla="*/ 0 w 248198"/>
              <a:gd name="connsiteY1" fmla="*/ 269172 h 269172"/>
              <a:gd name="connsiteX2" fmla="*/ 132838 w 248198"/>
              <a:gd name="connsiteY2" fmla="*/ 135169 h 269172"/>
              <a:gd name="connsiteX3" fmla="*/ 0 w 248198"/>
              <a:gd name="connsiteY3" fmla="*/ 0 h 269172"/>
              <a:gd name="connsiteX4" fmla="*/ 116525 w 248198"/>
              <a:gd name="connsiteY4" fmla="*/ 0 h 269172"/>
              <a:gd name="connsiteX5" fmla="*/ 248198 w 248198"/>
              <a:gd name="connsiteY5" fmla="*/ 131673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5169"/>
                </a:lnTo>
                <a:lnTo>
                  <a:pt x="0" y="0"/>
                </a:lnTo>
                <a:lnTo>
                  <a:pt x="116525" y="0"/>
                </a:lnTo>
                <a:lnTo>
                  <a:pt x="248198" y="131673"/>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225" name="Freihandform: Form 224">
            <a:extLst>
              <a:ext uri="{FF2B5EF4-FFF2-40B4-BE49-F238E27FC236}">
                <a16:creationId xmlns:a16="http://schemas.microsoft.com/office/drawing/2014/main" id="{3C51EDAC-50A1-4CD7-ABB1-4E1438FB88E3}"/>
              </a:ext>
            </a:extLst>
          </p:cNvPr>
          <p:cNvSpPr/>
          <p:nvPr userDrawn="1"/>
        </p:nvSpPr>
        <p:spPr>
          <a:xfrm>
            <a:off x="9761293" y="2331010"/>
            <a:ext cx="248198" cy="268007"/>
          </a:xfrm>
          <a:custGeom>
            <a:avLst/>
            <a:gdLst>
              <a:gd name="connsiteX0" fmla="*/ 114195 w 248198"/>
              <a:gd name="connsiteY0" fmla="*/ 268007 h 268007"/>
              <a:gd name="connsiteX1" fmla="*/ 0 w 248198"/>
              <a:gd name="connsiteY1" fmla="*/ 268007 h 268007"/>
              <a:gd name="connsiteX2" fmla="*/ 132838 w 248198"/>
              <a:gd name="connsiteY2" fmla="*/ 135169 h 268007"/>
              <a:gd name="connsiteX3" fmla="*/ 0 w 248198"/>
              <a:gd name="connsiteY3" fmla="*/ 0 h 268007"/>
              <a:gd name="connsiteX4" fmla="*/ 116525 w 248198"/>
              <a:gd name="connsiteY4" fmla="*/ 0 h 268007"/>
              <a:gd name="connsiteX5" fmla="*/ 248198 w 248198"/>
              <a:gd name="connsiteY5" fmla="*/ 131673 h 268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8007">
                <a:moveTo>
                  <a:pt x="114195" y="268007"/>
                </a:moveTo>
                <a:lnTo>
                  <a:pt x="0" y="268007"/>
                </a:lnTo>
                <a:lnTo>
                  <a:pt x="132838" y="135169"/>
                </a:lnTo>
                <a:lnTo>
                  <a:pt x="0" y="0"/>
                </a:lnTo>
                <a:lnTo>
                  <a:pt x="116525" y="0"/>
                </a:lnTo>
                <a:lnTo>
                  <a:pt x="248198" y="131673"/>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226" name="Freihandform: Form 225">
            <a:extLst>
              <a:ext uri="{FF2B5EF4-FFF2-40B4-BE49-F238E27FC236}">
                <a16:creationId xmlns:a16="http://schemas.microsoft.com/office/drawing/2014/main" id="{F0C63A58-DF6A-4ABC-8314-0EED65F3B230}"/>
              </a:ext>
            </a:extLst>
          </p:cNvPr>
          <p:cNvSpPr/>
          <p:nvPr userDrawn="1"/>
        </p:nvSpPr>
        <p:spPr>
          <a:xfrm>
            <a:off x="9761293" y="2685246"/>
            <a:ext cx="248198" cy="269172"/>
          </a:xfrm>
          <a:custGeom>
            <a:avLst/>
            <a:gdLst>
              <a:gd name="connsiteX0" fmla="*/ 114195 w 248198"/>
              <a:gd name="connsiteY0" fmla="*/ 269172 h 269172"/>
              <a:gd name="connsiteX1" fmla="*/ 0 w 248198"/>
              <a:gd name="connsiteY1" fmla="*/ 269172 h 269172"/>
              <a:gd name="connsiteX2" fmla="*/ 132838 w 248198"/>
              <a:gd name="connsiteY2" fmla="*/ 135169 h 269172"/>
              <a:gd name="connsiteX3" fmla="*/ 0 w 248198"/>
              <a:gd name="connsiteY3" fmla="*/ 0 h 269172"/>
              <a:gd name="connsiteX4" fmla="*/ 116525 w 248198"/>
              <a:gd name="connsiteY4" fmla="*/ 0 h 269172"/>
              <a:gd name="connsiteX5" fmla="*/ 248198 w 248198"/>
              <a:gd name="connsiteY5" fmla="*/ 131673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5169"/>
                </a:lnTo>
                <a:lnTo>
                  <a:pt x="0" y="0"/>
                </a:lnTo>
                <a:lnTo>
                  <a:pt x="116525" y="0"/>
                </a:lnTo>
                <a:lnTo>
                  <a:pt x="248198" y="131673"/>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227" name="Freihandform: Form 226">
            <a:extLst>
              <a:ext uri="{FF2B5EF4-FFF2-40B4-BE49-F238E27FC236}">
                <a16:creationId xmlns:a16="http://schemas.microsoft.com/office/drawing/2014/main" id="{DBF5668C-6555-445D-96C3-10D0030AD3C2}"/>
              </a:ext>
            </a:extLst>
          </p:cNvPr>
          <p:cNvSpPr/>
          <p:nvPr userDrawn="1"/>
        </p:nvSpPr>
        <p:spPr>
          <a:xfrm>
            <a:off x="9761293" y="3040646"/>
            <a:ext cx="248198" cy="268007"/>
          </a:xfrm>
          <a:custGeom>
            <a:avLst/>
            <a:gdLst>
              <a:gd name="connsiteX0" fmla="*/ 114195 w 248198"/>
              <a:gd name="connsiteY0" fmla="*/ 268007 h 268007"/>
              <a:gd name="connsiteX1" fmla="*/ 0 w 248198"/>
              <a:gd name="connsiteY1" fmla="*/ 268007 h 268007"/>
              <a:gd name="connsiteX2" fmla="*/ 132838 w 248198"/>
              <a:gd name="connsiteY2" fmla="*/ 135169 h 268007"/>
              <a:gd name="connsiteX3" fmla="*/ 0 w 248198"/>
              <a:gd name="connsiteY3" fmla="*/ 0 h 268007"/>
              <a:gd name="connsiteX4" fmla="*/ 116525 w 248198"/>
              <a:gd name="connsiteY4" fmla="*/ 0 h 268007"/>
              <a:gd name="connsiteX5" fmla="*/ 248198 w 248198"/>
              <a:gd name="connsiteY5" fmla="*/ 131673 h 268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8007">
                <a:moveTo>
                  <a:pt x="114195" y="268007"/>
                </a:moveTo>
                <a:lnTo>
                  <a:pt x="0" y="268007"/>
                </a:lnTo>
                <a:lnTo>
                  <a:pt x="132838" y="135169"/>
                </a:lnTo>
                <a:lnTo>
                  <a:pt x="0" y="0"/>
                </a:lnTo>
                <a:lnTo>
                  <a:pt x="116525" y="0"/>
                </a:lnTo>
                <a:lnTo>
                  <a:pt x="248198" y="131673"/>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228" name="Freihandform: Form 227">
            <a:extLst>
              <a:ext uri="{FF2B5EF4-FFF2-40B4-BE49-F238E27FC236}">
                <a16:creationId xmlns:a16="http://schemas.microsoft.com/office/drawing/2014/main" id="{6D5129A8-5EBF-4D3E-909F-BE2E2414B7AA}"/>
              </a:ext>
            </a:extLst>
          </p:cNvPr>
          <p:cNvSpPr/>
          <p:nvPr userDrawn="1"/>
        </p:nvSpPr>
        <p:spPr>
          <a:xfrm>
            <a:off x="9761293" y="3394882"/>
            <a:ext cx="248198" cy="269172"/>
          </a:xfrm>
          <a:custGeom>
            <a:avLst/>
            <a:gdLst>
              <a:gd name="connsiteX0" fmla="*/ 114195 w 248198"/>
              <a:gd name="connsiteY0" fmla="*/ 269172 h 269172"/>
              <a:gd name="connsiteX1" fmla="*/ 0 w 248198"/>
              <a:gd name="connsiteY1" fmla="*/ 269172 h 269172"/>
              <a:gd name="connsiteX2" fmla="*/ 132838 w 248198"/>
              <a:gd name="connsiteY2" fmla="*/ 135169 h 269172"/>
              <a:gd name="connsiteX3" fmla="*/ 0 w 248198"/>
              <a:gd name="connsiteY3" fmla="*/ 0 h 269172"/>
              <a:gd name="connsiteX4" fmla="*/ 116525 w 248198"/>
              <a:gd name="connsiteY4" fmla="*/ 0 h 269172"/>
              <a:gd name="connsiteX5" fmla="*/ 248198 w 248198"/>
              <a:gd name="connsiteY5" fmla="*/ 131673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5169"/>
                </a:lnTo>
                <a:lnTo>
                  <a:pt x="0" y="0"/>
                </a:lnTo>
                <a:lnTo>
                  <a:pt x="116525" y="0"/>
                </a:lnTo>
                <a:lnTo>
                  <a:pt x="248198" y="131673"/>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229" name="Freihandform: Form 228">
            <a:extLst>
              <a:ext uri="{FF2B5EF4-FFF2-40B4-BE49-F238E27FC236}">
                <a16:creationId xmlns:a16="http://schemas.microsoft.com/office/drawing/2014/main" id="{9F3FEBB7-4E1F-4A67-BC5C-C145D4456456}"/>
              </a:ext>
            </a:extLst>
          </p:cNvPr>
          <p:cNvSpPr/>
          <p:nvPr userDrawn="1"/>
        </p:nvSpPr>
        <p:spPr>
          <a:xfrm>
            <a:off x="9761293" y="3750282"/>
            <a:ext cx="248198" cy="268007"/>
          </a:xfrm>
          <a:custGeom>
            <a:avLst/>
            <a:gdLst>
              <a:gd name="connsiteX0" fmla="*/ 114195 w 248198"/>
              <a:gd name="connsiteY0" fmla="*/ 268007 h 268007"/>
              <a:gd name="connsiteX1" fmla="*/ 0 w 248198"/>
              <a:gd name="connsiteY1" fmla="*/ 268007 h 268007"/>
              <a:gd name="connsiteX2" fmla="*/ 132838 w 248198"/>
              <a:gd name="connsiteY2" fmla="*/ 135169 h 268007"/>
              <a:gd name="connsiteX3" fmla="*/ 0 w 248198"/>
              <a:gd name="connsiteY3" fmla="*/ 0 h 268007"/>
              <a:gd name="connsiteX4" fmla="*/ 116525 w 248198"/>
              <a:gd name="connsiteY4" fmla="*/ 0 h 268007"/>
              <a:gd name="connsiteX5" fmla="*/ 248198 w 248198"/>
              <a:gd name="connsiteY5" fmla="*/ 131673 h 268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8007">
                <a:moveTo>
                  <a:pt x="114195" y="268007"/>
                </a:moveTo>
                <a:lnTo>
                  <a:pt x="0" y="268007"/>
                </a:lnTo>
                <a:lnTo>
                  <a:pt x="132838" y="135169"/>
                </a:lnTo>
                <a:lnTo>
                  <a:pt x="0" y="0"/>
                </a:lnTo>
                <a:lnTo>
                  <a:pt x="116525" y="0"/>
                </a:lnTo>
                <a:lnTo>
                  <a:pt x="248198" y="131673"/>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230" name="Freihandform: Form 229">
            <a:extLst>
              <a:ext uri="{FF2B5EF4-FFF2-40B4-BE49-F238E27FC236}">
                <a16:creationId xmlns:a16="http://schemas.microsoft.com/office/drawing/2014/main" id="{2DA9BDC8-FE60-419D-8CB1-F082C9AADAE3}"/>
              </a:ext>
            </a:extLst>
          </p:cNvPr>
          <p:cNvSpPr/>
          <p:nvPr userDrawn="1"/>
        </p:nvSpPr>
        <p:spPr>
          <a:xfrm>
            <a:off x="9761293" y="4104518"/>
            <a:ext cx="248198" cy="269172"/>
          </a:xfrm>
          <a:custGeom>
            <a:avLst/>
            <a:gdLst>
              <a:gd name="connsiteX0" fmla="*/ 114195 w 248198"/>
              <a:gd name="connsiteY0" fmla="*/ 269172 h 269172"/>
              <a:gd name="connsiteX1" fmla="*/ 0 w 248198"/>
              <a:gd name="connsiteY1" fmla="*/ 269172 h 269172"/>
              <a:gd name="connsiteX2" fmla="*/ 132838 w 248198"/>
              <a:gd name="connsiteY2" fmla="*/ 136334 h 269172"/>
              <a:gd name="connsiteX3" fmla="*/ 0 w 248198"/>
              <a:gd name="connsiteY3" fmla="*/ 0 h 269172"/>
              <a:gd name="connsiteX4" fmla="*/ 116525 w 248198"/>
              <a:gd name="connsiteY4" fmla="*/ 0 h 269172"/>
              <a:gd name="connsiteX5" fmla="*/ 248198 w 248198"/>
              <a:gd name="connsiteY5" fmla="*/ 132838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6334"/>
                </a:lnTo>
                <a:lnTo>
                  <a:pt x="0" y="0"/>
                </a:lnTo>
                <a:lnTo>
                  <a:pt x="116525" y="0"/>
                </a:lnTo>
                <a:lnTo>
                  <a:pt x="248198" y="132838"/>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231" name="Freihandform: Form 230">
            <a:extLst>
              <a:ext uri="{FF2B5EF4-FFF2-40B4-BE49-F238E27FC236}">
                <a16:creationId xmlns:a16="http://schemas.microsoft.com/office/drawing/2014/main" id="{806D866D-8424-49C8-9BE2-03C7A110A349}"/>
              </a:ext>
            </a:extLst>
          </p:cNvPr>
          <p:cNvSpPr/>
          <p:nvPr userDrawn="1"/>
        </p:nvSpPr>
        <p:spPr>
          <a:xfrm>
            <a:off x="9761293" y="4459918"/>
            <a:ext cx="248198" cy="268007"/>
          </a:xfrm>
          <a:custGeom>
            <a:avLst/>
            <a:gdLst>
              <a:gd name="connsiteX0" fmla="*/ 114195 w 248198"/>
              <a:gd name="connsiteY0" fmla="*/ 268007 h 268007"/>
              <a:gd name="connsiteX1" fmla="*/ 0 w 248198"/>
              <a:gd name="connsiteY1" fmla="*/ 268007 h 268007"/>
              <a:gd name="connsiteX2" fmla="*/ 132838 w 248198"/>
              <a:gd name="connsiteY2" fmla="*/ 135169 h 268007"/>
              <a:gd name="connsiteX3" fmla="*/ 0 w 248198"/>
              <a:gd name="connsiteY3" fmla="*/ 0 h 268007"/>
              <a:gd name="connsiteX4" fmla="*/ 116525 w 248198"/>
              <a:gd name="connsiteY4" fmla="*/ 0 h 268007"/>
              <a:gd name="connsiteX5" fmla="*/ 248198 w 248198"/>
              <a:gd name="connsiteY5" fmla="*/ 131673 h 268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8007">
                <a:moveTo>
                  <a:pt x="114195" y="268007"/>
                </a:moveTo>
                <a:lnTo>
                  <a:pt x="0" y="268007"/>
                </a:lnTo>
                <a:lnTo>
                  <a:pt x="132838" y="135169"/>
                </a:lnTo>
                <a:lnTo>
                  <a:pt x="0" y="0"/>
                </a:lnTo>
                <a:lnTo>
                  <a:pt x="116525" y="0"/>
                </a:lnTo>
                <a:lnTo>
                  <a:pt x="248198" y="131673"/>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232" name="Freihandform: Form 231">
            <a:extLst>
              <a:ext uri="{FF2B5EF4-FFF2-40B4-BE49-F238E27FC236}">
                <a16:creationId xmlns:a16="http://schemas.microsoft.com/office/drawing/2014/main" id="{28C125C8-14A7-47D1-8240-26B138F12D2B}"/>
              </a:ext>
            </a:extLst>
          </p:cNvPr>
          <p:cNvSpPr/>
          <p:nvPr userDrawn="1"/>
        </p:nvSpPr>
        <p:spPr>
          <a:xfrm>
            <a:off x="9761293" y="4814154"/>
            <a:ext cx="248198" cy="269172"/>
          </a:xfrm>
          <a:custGeom>
            <a:avLst/>
            <a:gdLst>
              <a:gd name="connsiteX0" fmla="*/ 114195 w 248198"/>
              <a:gd name="connsiteY0" fmla="*/ 269172 h 269172"/>
              <a:gd name="connsiteX1" fmla="*/ 0 w 248198"/>
              <a:gd name="connsiteY1" fmla="*/ 269172 h 269172"/>
              <a:gd name="connsiteX2" fmla="*/ 132838 w 248198"/>
              <a:gd name="connsiteY2" fmla="*/ 136334 h 269172"/>
              <a:gd name="connsiteX3" fmla="*/ 0 w 248198"/>
              <a:gd name="connsiteY3" fmla="*/ 0 h 269172"/>
              <a:gd name="connsiteX4" fmla="*/ 116525 w 248198"/>
              <a:gd name="connsiteY4" fmla="*/ 0 h 269172"/>
              <a:gd name="connsiteX5" fmla="*/ 248198 w 248198"/>
              <a:gd name="connsiteY5" fmla="*/ 132838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6334"/>
                </a:lnTo>
                <a:lnTo>
                  <a:pt x="0" y="0"/>
                </a:lnTo>
                <a:lnTo>
                  <a:pt x="116525" y="0"/>
                </a:lnTo>
                <a:lnTo>
                  <a:pt x="248198" y="132838"/>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233" name="Freihandform: Form 232">
            <a:extLst>
              <a:ext uri="{FF2B5EF4-FFF2-40B4-BE49-F238E27FC236}">
                <a16:creationId xmlns:a16="http://schemas.microsoft.com/office/drawing/2014/main" id="{A41817CA-266A-4928-B2AF-E1C8C6D88D87}"/>
              </a:ext>
            </a:extLst>
          </p:cNvPr>
          <p:cNvSpPr/>
          <p:nvPr userDrawn="1"/>
        </p:nvSpPr>
        <p:spPr>
          <a:xfrm>
            <a:off x="9761293" y="5169554"/>
            <a:ext cx="248198" cy="268007"/>
          </a:xfrm>
          <a:custGeom>
            <a:avLst/>
            <a:gdLst>
              <a:gd name="connsiteX0" fmla="*/ 114195 w 248198"/>
              <a:gd name="connsiteY0" fmla="*/ 268007 h 268007"/>
              <a:gd name="connsiteX1" fmla="*/ 0 w 248198"/>
              <a:gd name="connsiteY1" fmla="*/ 268007 h 268007"/>
              <a:gd name="connsiteX2" fmla="*/ 132838 w 248198"/>
              <a:gd name="connsiteY2" fmla="*/ 135169 h 268007"/>
              <a:gd name="connsiteX3" fmla="*/ 0 w 248198"/>
              <a:gd name="connsiteY3" fmla="*/ 0 h 268007"/>
              <a:gd name="connsiteX4" fmla="*/ 116525 w 248198"/>
              <a:gd name="connsiteY4" fmla="*/ 0 h 268007"/>
              <a:gd name="connsiteX5" fmla="*/ 248198 w 248198"/>
              <a:gd name="connsiteY5" fmla="*/ 131673 h 268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8007">
                <a:moveTo>
                  <a:pt x="114195" y="268007"/>
                </a:moveTo>
                <a:lnTo>
                  <a:pt x="0" y="268007"/>
                </a:lnTo>
                <a:lnTo>
                  <a:pt x="132838" y="135169"/>
                </a:lnTo>
                <a:lnTo>
                  <a:pt x="0" y="0"/>
                </a:lnTo>
                <a:lnTo>
                  <a:pt x="116525" y="0"/>
                </a:lnTo>
                <a:lnTo>
                  <a:pt x="248198" y="131673"/>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234" name="Freihandform: Form 233">
            <a:extLst>
              <a:ext uri="{FF2B5EF4-FFF2-40B4-BE49-F238E27FC236}">
                <a16:creationId xmlns:a16="http://schemas.microsoft.com/office/drawing/2014/main" id="{7DE4DADC-50B7-4C9F-A01A-511E8AF26178}"/>
              </a:ext>
            </a:extLst>
          </p:cNvPr>
          <p:cNvSpPr/>
          <p:nvPr userDrawn="1"/>
        </p:nvSpPr>
        <p:spPr>
          <a:xfrm>
            <a:off x="9761293" y="5523790"/>
            <a:ext cx="248198" cy="269172"/>
          </a:xfrm>
          <a:custGeom>
            <a:avLst/>
            <a:gdLst>
              <a:gd name="connsiteX0" fmla="*/ 114195 w 248198"/>
              <a:gd name="connsiteY0" fmla="*/ 269172 h 269172"/>
              <a:gd name="connsiteX1" fmla="*/ 0 w 248198"/>
              <a:gd name="connsiteY1" fmla="*/ 269172 h 269172"/>
              <a:gd name="connsiteX2" fmla="*/ 132838 w 248198"/>
              <a:gd name="connsiteY2" fmla="*/ 136334 h 269172"/>
              <a:gd name="connsiteX3" fmla="*/ 0 w 248198"/>
              <a:gd name="connsiteY3" fmla="*/ 0 h 269172"/>
              <a:gd name="connsiteX4" fmla="*/ 116525 w 248198"/>
              <a:gd name="connsiteY4" fmla="*/ 0 h 269172"/>
              <a:gd name="connsiteX5" fmla="*/ 248198 w 248198"/>
              <a:gd name="connsiteY5" fmla="*/ 132838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6334"/>
                </a:lnTo>
                <a:lnTo>
                  <a:pt x="0" y="0"/>
                </a:lnTo>
                <a:lnTo>
                  <a:pt x="116525" y="0"/>
                </a:lnTo>
                <a:lnTo>
                  <a:pt x="248198" y="132838"/>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235" name="Freihandform: Form 234">
            <a:extLst>
              <a:ext uri="{FF2B5EF4-FFF2-40B4-BE49-F238E27FC236}">
                <a16:creationId xmlns:a16="http://schemas.microsoft.com/office/drawing/2014/main" id="{1505C753-822F-44A6-8749-7A8B83396FAF}"/>
              </a:ext>
            </a:extLst>
          </p:cNvPr>
          <p:cNvSpPr/>
          <p:nvPr userDrawn="1"/>
        </p:nvSpPr>
        <p:spPr>
          <a:xfrm>
            <a:off x="9761293" y="5879190"/>
            <a:ext cx="248198" cy="269172"/>
          </a:xfrm>
          <a:custGeom>
            <a:avLst/>
            <a:gdLst>
              <a:gd name="connsiteX0" fmla="*/ 114195 w 248198"/>
              <a:gd name="connsiteY0" fmla="*/ 269172 h 269172"/>
              <a:gd name="connsiteX1" fmla="*/ 0 w 248198"/>
              <a:gd name="connsiteY1" fmla="*/ 269172 h 269172"/>
              <a:gd name="connsiteX2" fmla="*/ 132838 w 248198"/>
              <a:gd name="connsiteY2" fmla="*/ 135169 h 269172"/>
              <a:gd name="connsiteX3" fmla="*/ 0 w 248198"/>
              <a:gd name="connsiteY3" fmla="*/ 0 h 269172"/>
              <a:gd name="connsiteX4" fmla="*/ 116525 w 248198"/>
              <a:gd name="connsiteY4" fmla="*/ 0 h 269172"/>
              <a:gd name="connsiteX5" fmla="*/ 248198 w 248198"/>
              <a:gd name="connsiteY5" fmla="*/ 131673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5169"/>
                </a:lnTo>
                <a:lnTo>
                  <a:pt x="0" y="0"/>
                </a:lnTo>
                <a:lnTo>
                  <a:pt x="116525" y="0"/>
                </a:lnTo>
                <a:lnTo>
                  <a:pt x="248198" y="131673"/>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236" name="Freihandform: Form 235">
            <a:extLst>
              <a:ext uri="{FF2B5EF4-FFF2-40B4-BE49-F238E27FC236}">
                <a16:creationId xmlns:a16="http://schemas.microsoft.com/office/drawing/2014/main" id="{13F4F0C6-4107-4986-A2FF-D8B176A8A22A}"/>
              </a:ext>
            </a:extLst>
          </p:cNvPr>
          <p:cNvSpPr/>
          <p:nvPr userDrawn="1"/>
        </p:nvSpPr>
        <p:spPr>
          <a:xfrm>
            <a:off x="9761293" y="6233426"/>
            <a:ext cx="248198" cy="269172"/>
          </a:xfrm>
          <a:custGeom>
            <a:avLst/>
            <a:gdLst>
              <a:gd name="connsiteX0" fmla="*/ 114195 w 248198"/>
              <a:gd name="connsiteY0" fmla="*/ 269172 h 269172"/>
              <a:gd name="connsiteX1" fmla="*/ 0 w 248198"/>
              <a:gd name="connsiteY1" fmla="*/ 269172 h 269172"/>
              <a:gd name="connsiteX2" fmla="*/ 132838 w 248198"/>
              <a:gd name="connsiteY2" fmla="*/ 136334 h 269172"/>
              <a:gd name="connsiteX3" fmla="*/ 0 w 248198"/>
              <a:gd name="connsiteY3" fmla="*/ 0 h 269172"/>
              <a:gd name="connsiteX4" fmla="*/ 116525 w 248198"/>
              <a:gd name="connsiteY4" fmla="*/ 0 h 269172"/>
              <a:gd name="connsiteX5" fmla="*/ 248198 w 248198"/>
              <a:gd name="connsiteY5" fmla="*/ 132838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6334"/>
                </a:lnTo>
                <a:lnTo>
                  <a:pt x="0" y="0"/>
                </a:lnTo>
                <a:lnTo>
                  <a:pt x="116525" y="0"/>
                </a:lnTo>
                <a:lnTo>
                  <a:pt x="248198" y="132838"/>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237" name="Freihandform: Form 236">
            <a:extLst>
              <a:ext uri="{FF2B5EF4-FFF2-40B4-BE49-F238E27FC236}">
                <a16:creationId xmlns:a16="http://schemas.microsoft.com/office/drawing/2014/main" id="{59F86372-A52C-4C48-8D9D-B4ECAAC0B2F6}"/>
              </a:ext>
            </a:extLst>
          </p:cNvPr>
          <p:cNvSpPr/>
          <p:nvPr userDrawn="1"/>
        </p:nvSpPr>
        <p:spPr>
          <a:xfrm>
            <a:off x="9761293" y="6588826"/>
            <a:ext cx="248198" cy="269172"/>
          </a:xfrm>
          <a:custGeom>
            <a:avLst/>
            <a:gdLst>
              <a:gd name="connsiteX0" fmla="*/ 114195 w 248198"/>
              <a:gd name="connsiteY0" fmla="*/ 269172 h 269172"/>
              <a:gd name="connsiteX1" fmla="*/ 0 w 248198"/>
              <a:gd name="connsiteY1" fmla="*/ 269172 h 269172"/>
              <a:gd name="connsiteX2" fmla="*/ 132838 w 248198"/>
              <a:gd name="connsiteY2" fmla="*/ 135169 h 269172"/>
              <a:gd name="connsiteX3" fmla="*/ 0 w 248198"/>
              <a:gd name="connsiteY3" fmla="*/ 0 h 269172"/>
              <a:gd name="connsiteX4" fmla="*/ 116525 w 248198"/>
              <a:gd name="connsiteY4" fmla="*/ 0 h 269172"/>
              <a:gd name="connsiteX5" fmla="*/ 248198 w 248198"/>
              <a:gd name="connsiteY5" fmla="*/ 131673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5169"/>
                </a:lnTo>
                <a:lnTo>
                  <a:pt x="0" y="0"/>
                </a:lnTo>
                <a:lnTo>
                  <a:pt x="116525" y="0"/>
                </a:lnTo>
                <a:lnTo>
                  <a:pt x="248198" y="131673"/>
                </a:lnTo>
                <a:close/>
              </a:path>
            </a:pathLst>
          </a:custGeom>
          <a:solidFill>
            <a:schemeClr val="bg1">
              <a:alpha val="40000"/>
            </a:schemeClr>
          </a:solidFill>
          <a:ln w="11643" cap="flat">
            <a:noFill/>
            <a:prstDash val="solid"/>
            <a:miter/>
          </a:ln>
        </p:spPr>
        <p:txBody>
          <a:bodyPr rtlCol="0" anchor="ctr"/>
          <a:lstStyle/>
          <a:p>
            <a:pPr rtl="0"/>
            <a:endParaRPr lang="en-US"/>
          </a:p>
        </p:txBody>
      </p:sp>
      <p:sp>
        <p:nvSpPr>
          <p:cNvPr id="13" name="Textplatzhalter 9">
            <a:extLst>
              <a:ext uri="{FF2B5EF4-FFF2-40B4-BE49-F238E27FC236}">
                <a16:creationId xmlns:a16="http://schemas.microsoft.com/office/drawing/2014/main" id="{2A096F25-9AA8-41E7-B1CD-FAE0DB1A4951}"/>
              </a:ext>
            </a:extLst>
          </p:cNvPr>
          <p:cNvSpPr>
            <a:spLocks noGrp="1"/>
          </p:cNvSpPr>
          <p:nvPr>
            <p:ph type="body" sz="quarter" idx="12"/>
          </p:nvPr>
        </p:nvSpPr>
        <p:spPr>
          <a:xfrm>
            <a:off x="815952" y="3981001"/>
            <a:ext cx="11376047" cy="2334291"/>
          </a:xfrm>
          <a:noFill/>
        </p:spPr>
        <p:txBody>
          <a:bodyPr lIns="0" tIns="360000" rIns="864000" bIns="360000" anchor="t">
            <a:normAutofit/>
          </a:bodyPr>
          <a:lstStyle>
            <a:lvl1pPr marL="0" indent="0" rtl="0">
              <a:spcAft>
                <a:spcPct val="0"/>
              </a:spcAft>
              <a:buNone/>
              <a:defRPr sz="2800" baseline="0">
                <a:solidFill>
                  <a:schemeClr val="bg1"/>
                </a:solidFill>
                <a:latin typeface="+mj-lt"/>
              </a:defRPr>
            </a:lvl1pPr>
          </a:lstStyle>
          <a:p>
            <a:pPr lvl="0"/>
            <a:endParaRPr lang="en-US"/>
          </a:p>
        </p:txBody>
      </p:sp>
    </p:spTree>
    <p:extLst>
      <p:ext uri="{BB962C8B-B14F-4D97-AF65-F5344CB8AC3E}">
        <p14:creationId xmlns:p14="http://schemas.microsoft.com/office/powerpoint/2010/main" val="1476902351"/>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10" presetClass="entr" presetSubtype="0" dur="1000" fill="hold" grpId="0" nodeType="withEffect">
                                  <p:stCondLst>
                                    <p:cond delay="250"/>
                                  </p:stCondLst>
                                  <p:childTnLst>
                                    <p:set>
                                      <p:cBhvr>
                                        <p:cTn id="6" dur="1" fill="hold">
                                          <p:stCondLst>
                                            <p:cond delay="0"/>
                                          </p:stCondLst>
                                        </p:cTn>
                                        <p:tgtEl>
                                          <p:spTgt spid="13">
                                            <p:txEl>
                                              <p:pRg st="0" end="0"/>
                                            </p:txEl>
                                          </p:spTgt>
                                        </p:tgtEl>
                                        <p:attrNameLst>
                                          <p:attrName>style.visibility</p:attrName>
                                        </p:attrNameLst>
                                      </p:cBhvr>
                                      <p:to>
                                        <p:strVal val="visible"/>
                                      </p:to>
                                    </p:set>
                                    <p:animEffect transition="in" filter="fade">
                                      <p:cBhvr>
                                        <p:cTn id="7" dur="1000"/>
                                        <p:tgtEl>
                                          <p:spTgt spid="13">
                                            <p:txEl>
                                              <p:pRg st="0" end="0"/>
                                            </p:txEl>
                                          </p:spTgt>
                                        </p:tgtEl>
                                      </p:cBhvr>
                                    </p:animEffect>
                                  </p:childTnLst>
                                </p:cTn>
                              </p:par>
                              <p:par>
                                <p:cTn id="8" presetID="26" presetClass="emph" presetSubtype="0" dur="2000" repeatCount="indefinite" fill="hold" grpId="0" nodeType="withEffect">
                                  <p:stCondLst>
                                    <p:cond delay="0"/>
                                  </p:stCondLst>
                                  <p:childTnLst>
                                    <p:animEffect transition="out" filter="fade">
                                      <p:cBhvr>
                                        <p:cTn id="9" dur="2000" tmFilter="0, 0; .2, .5; .8, .5; 1, 0"/>
                                        <p:tgtEl>
                                          <p:spTgt spid="53"/>
                                        </p:tgtEl>
                                      </p:cBhvr>
                                    </p:animEffect>
                                    <p:animScale>
                                      <p:cBhvr>
                                        <p:cTn id="10" dur="1000" autoRev="1" fill="hold"/>
                                        <p:tgtEl>
                                          <p:spTgt spid="53"/>
                                        </p:tgtEl>
                                      </p:cBhvr>
                                      <p:by x="105000" y="105000"/>
                                    </p:animScale>
                                  </p:childTnLst>
                                </p:cTn>
                              </p:par>
                              <p:par>
                                <p:cTn id="11" presetID="26" presetClass="emph" presetSubtype="0" dur="2000" repeatCount="indefinite" fill="hold" grpId="0" nodeType="withEffect">
                                  <p:stCondLst>
                                    <p:cond delay="0"/>
                                  </p:stCondLst>
                                  <p:childTnLst>
                                    <p:animEffect transition="out" filter="fade">
                                      <p:cBhvr>
                                        <p:cTn id="12" dur="2000" tmFilter="0, 0; .2, .5; .8, .5; 1, 0"/>
                                        <p:tgtEl>
                                          <p:spTgt spid="54"/>
                                        </p:tgtEl>
                                      </p:cBhvr>
                                    </p:animEffect>
                                    <p:animScale>
                                      <p:cBhvr>
                                        <p:cTn id="13" dur="1000" autoRev="1" fill="hold"/>
                                        <p:tgtEl>
                                          <p:spTgt spid="54"/>
                                        </p:tgtEl>
                                      </p:cBhvr>
                                      <p:by x="105000" y="105000"/>
                                    </p:animScale>
                                  </p:childTnLst>
                                </p:cTn>
                              </p:par>
                              <p:par>
                                <p:cTn id="14" presetID="26" presetClass="emph" presetSubtype="0" dur="2000" repeatCount="indefinite" fill="hold" grpId="0" nodeType="withEffect">
                                  <p:stCondLst>
                                    <p:cond delay="0"/>
                                  </p:stCondLst>
                                  <p:childTnLst>
                                    <p:animEffect transition="out" filter="fade">
                                      <p:cBhvr>
                                        <p:cTn id="15" dur="2000" tmFilter="0, 0; .2, .5; .8, .5; 1, 0"/>
                                        <p:tgtEl>
                                          <p:spTgt spid="55"/>
                                        </p:tgtEl>
                                      </p:cBhvr>
                                    </p:animEffect>
                                    <p:animScale>
                                      <p:cBhvr>
                                        <p:cTn id="16" dur="1000" autoRev="1" fill="hold"/>
                                        <p:tgtEl>
                                          <p:spTgt spid="55"/>
                                        </p:tgtEl>
                                      </p:cBhvr>
                                      <p:by x="105000" y="105000"/>
                                    </p:animScale>
                                  </p:childTnLst>
                                </p:cTn>
                              </p:par>
                              <p:par>
                                <p:cTn id="17" presetID="26" presetClass="emph" presetSubtype="0" dur="2000" repeatCount="indefinite" fill="hold" grpId="0" nodeType="withEffect">
                                  <p:stCondLst>
                                    <p:cond delay="0"/>
                                  </p:stCondLst>
                                  <p:childTnLst>
                                    <p:animEffect transition="out" filter="fade">
                                      <p:cBhvr>
                                        <p:cTn id="18" dur="2000" tmFilter="0, 0; .2, .5; .8, .5; 1, 0"/>
                                        <p:tgtEl>
                                          <p:spTgt spid="56"/>
                                        </p:tgtEl>
                                      </p:cBhvr>
                                    </p:animEffect>
                                    <p:animScale>
                                      <p:cBhvr>
                                        <p:cTn id="19" dur="1000" autoRev="1" fill="hold"/>
                                        <p:tgtEl>
                                          <p:spTgt spid="56"/>
                                        </p:tgtEl>
                                      </p:cBhvr>
                                      <p:by x="105000" y="105000"/>
                                    </p:animScale>
                                  </p:childTnLst>
                                </p:cTn>
                              </p:par>
                              <p:par>
                                <p:cTn id="20" presetID="26" presetClass="emph" presetSubtype="0" dur="2000" repeatCount="indefinite" fill="hold" grpId="0" nodeType="withEffect">
                                  <p:stCondLst>
                                    <p:cond delay="0"/>
                                  </p:stCondLst>
                                  <p:childTnLst>
                                    <p:animEffect transition="out" filter="fade">
                                      <p:cBhvr>
                                        <p:cTn id="21" dur="2000" tmFilter="0, 0; .2, .5; .8, .5; 1, 0"/>
                                        <p:tgtEl>
                                          <p:spTgt spid="57"/>
                                        </p:tgtEl>
                                      </p:cBhvr>
                                    </p:animEffect>
                                    <p:animScale>
                                      <p:cBhvr>
                                        <p:cTn id="22" dur="1000" autoRev="1" fill="hold"/>
                                        <p:tgtEl>
                                          <p:spTgt spid="57"/>
                                        </p:tgtEl>
                                      </p:cBhvr>
                                      <p:by x="105000" y="105000"/>
                                    </p:animScale>
                                  </p:childTnLst>
                                </p:cTn>
                              </p:par>
                              <p:par>
                                <p:cTn id="23" presetID="26" presetClass="emph" presetSubtype="0" dur="2000" repeatCount="indefinite" fill="hold" grpId="0" nodeType="withEffect">
                                  <p:stCondLst>
                                    <p:cond delay="250"/>
                                  </p:stCondLst>
                                  <p:childTnLst>
                                    <p:animEffect transition="out" filter="fade">
                                      <p:cBhvr>
                                        <p:cTn id="24" dur="2000" tmFilter="0, 0; .2, .5; .8, .5; 1, 0"/>
                                        <p:tgtEl>
                                          <p:spTgt spid="58"/>
                                        </p:tgtEl>
                                      </p:cBhvr>
                                    </p:animEffect>
                                    <p:animScale>
                                      <p:cBhvr>
                                        <p:cTn id="25" dur="1000" autoRev="1" fill="hold"/>
                                        <p:tgtEl>
                                          <p:spTgt spid="58"/>
                                        </p:tgtEl>
                                      </p:cBhvr>
                                      <p:by x="105000" y="105000"/>
                                    </p:animScale>
                                  </p:childTnLst>
                                </p:cTn>
                              </p:par>
                              <p:par>
                                <p:cTn id="26" presetID="26" presetClass="emph" presetSubtype="0" dur="2000" repeatCount="indefinite" fill="hold" grpId="0" nodeType="withEffect">
                                  <p:stCondLst>
                                    <p:cond delay="250"/>
                                  </p:stCondLst>
                                  <p:childTnLst>
                                    <p:animEffect transition="out" filter="fade">
                                      <p:cBhvr>
                                        <p:cTn id="27" dur="2000" tmFilter="0, 0; .2, .5; .8, .5; 1, 0"/>
                                        <p:tgtEl>
                                          <p:spTgt spid="59"/>
                                        </p:tgtEl>
                                      </p:cBhvr>
                                    </p:animEffect>
                                    <p:animScale>
                                      <p:cBhvr>
                                        <p:cTn id="28" dur="1000" autoRev="1" fill="hold"/>
                                        <p:tgtEl>
                                          <p:spTgt spid="59"/>
                                        </p:tgtEl>
                                      </p:cBhvr>
                                      <p:by x="105000" y="105000"/>
                                    </p:animScale>
                                  </p:childTnLst>
                                </p:cTn>
                              </p:par>
                              <p:par>
                                <p:cTn id="29" presetID="26" presetClass="emph" presetSubtype="0" dur="2000" repeatCount="indefinite" fill="hold" grpId="0" nodeType="withEffect">
                                  <p:stCondLst>
                                    <p:cond delay="250"/>
                                  </p:stCondLst>
                                  <p:childTnLst>
                                    <p:animEffect transition="out" filter="fade">
                                      <p:cBhvr>
                                        <p:cTn id="30" dur="2000" tmFilter="0, 0; .2, .5; .8, .5; 1, 0"/>
                                        <p:tgtEl>
                                          <p:spTgt spid="60"/>
                                        </p:tgtEl>
                                      </p:cBhvr>
                                    </p:animEffect>
                                    <p:animScale>
                                      <p:cBhvr>
                                        <p:cTn id="31" dur="1000" autoRev="1" fill="hold"/>
                                        <p:tgtEl>
                                          <p:spTgt spid="60"/>
                                        </p:tgtEl>
                                      </p:cBhvr>
                                      <p:by x="105000" y="105000"/>
                                    </p:animScale>
                                  </p:childTnLst>
                                </p:cTn>
                              </p:par>
                              <p:par>
                                <p:cTn id="32" presetID="26" presetClass="emph" presetSubtype="0" dur="2000" repeatCount="indefinite" fill="hold" grpId="0" nodeType="withEffect">
                                  <p:stCondLst>
                                    <p:cond delay="250"/>
                                  </p:stCondLst>
                                  <p:childTnLst>
                                    <p:animEffect transition="out" filter="fade">
                                      <p:cBhvr>
                                        <p:cTn id="33" dur="2000" tmFilter="0, 0; .2, .5; .8, .5; 1, 0"/>
                                        <p:tgtEl>
                                          <p:spTgt spid="61"/>
                                        </p:tgtEl>
                                      </p:cBhvr>
                                    </p:animEffect>
                                    <p:animScale>
                                      <p:cBhvr>
                                        <p:cTn id="34" dur="1000" autoRev="1" fill="hold"/>
                                        <p:tgtEl>
                                          <p:spTgt spid="61"/>
                                        </p:tgtEl>
                                      </p:cBhvr>
                                      <p:by x="105000" y="105000"/>
                                    </p:animScale>
                                  </p:childTnLst>
                                </p:cTn>
                              </p:par>
                              <p:par>
                                <p:cTn id="35" presetID="26" presetClass="emph" presetSubtype="0" dur="2000" repeatCount="indefinite" fill="hold" grpId="0" nodeType="withEffect">
                                  <p:stCondLst>
                                    <p:cond delay="250"/>
                                  </p:stCondLst>
                                  <p:childTnLst>
                                    <p:animEffect transition="out" filter="fade">
                                      <p:cBhvr>
                                        <p:cTn id="36" dur="2000" tmFilter="0, 0; .2, .5; .8, .5; 1, 0"/>
                                        <p:tgtEl>
                                          <p:spTgt spid="62"/>
                                        </p:tgtEl>
                                      </p:cBhvr>
                                    </p:animEffect>
                                    <p:animScale>
                                      <p:cBhvr>
                                        <p:cTn id="37" dur="1000" autoRev="1" fill="hold"/>
                                        <p:tgtEl>
                                          <p:spTgt spid="62"/>
                                        </p:tgtEl>
                                      </p:cBhvr>
                                      <p:by x="105000" y="105000"/>
                                    </p:animScale>
                                  </p:childTnLst>
                                </p:cTn>
                              </p:par>
                              <p:par>
                                <p:cTn id="38" presetID="26" presetClass="emph" presetSubtype="0" dur="2000" repeatCount="indefinite" fill="hold" grpId="0" nodeType="withEffect">
                                  <p:stCondLst>
                                    <p:cond delay="250"/>
                                  </p:stCondLst>
                                  <p:childTnLst>
                                    <p:animEffect transition="out" filter="fade">
                                      <p:cBhvr>
                                        <p:cTn id="39" dur="2000" tmFilter="0, 0; .2, .5; .8, .5; 1, 0"/>
                                        <p:tgtEl>
                                          <p:spTgt spid="63"/>
                                        </p:tgtEl>
                                      </p:cBhvr>
                                    </p:animEffect>
                                    <p:animScale>
                                      <p:cBhvr>
                                        <p:cTn id="40" dur="1000" autoRev="1" fill="hold"/>
                                        <p:tgtEl>
                                          <p:spTgt spid="63"/>
                                        </p:tgtEl>
                                      </p:cBhvr>
                                      <p:by x="105000" y="105000"/>
                                    </p:animScale>
                                  </p:childTnLst>
                                </p:cTn>
                              </p:par>
                              <p:par>
                                <p:cTn id="41" presetID="26" presetClass="emph" presetSubtype="0" dur="2000" repeatCount="indefinite" fill="hold" grpId="0" nodeType="withEffect">
                                  <p:stCondLst>
                                    <p:cond delay="250"/>
                                  </p:stCondLst>
                                  <p:childTnLst>
                                    <p:animEffect transition="out" filter="fade">
                                      <p:cBhvr>
                                        <p:cTn id="42" dur="2000" tmFilter="0, 0; .2, .5; .8, .5; 1, 0"/>
                                        <p:tgtEl>
                                          <p:spTgt spid="64"/>
                                        </p:tgtEl>
                                      </p:cBhvr>
                                    </p:animEffect>
                                    <p:animScale>
                                      <p:cBhvr>
                                        <p:cTn id="43" dur="1000" autoRev="1" fill="hold"/>
                                        <p:tgtEl>
                                          <p:spTgt spid="64"/>
                                        </p:tgtEl>
                                      </p:cBhvr>
                                      <p:by x="105000" y="105000"/>
                                    </p:animScale>
                                  </p:childTnLst>
                                </p:cTn>
                              </p:par>
                              <p:par>
                                <p:cTn id="44" presetID="26" presetClass="emph" presetSubtype="0" dur="2000" repeatCount="indefinite" fill="hold" grpId="0" nodeType="withEffect">
                                  <p:stCondLst>
                                    <p:cond delay="500"/>
                                  </p:stCondLst>
                                  <p:childTnLst>
                                    <p:animEffect transition="out" filter="fade">
                                      <p:cBhvr>
                                        <p:cTn id="45" dur="2000" tmFilter="0, 0; .2, .5; .8, .5; 1, 0"/>
                                        <p:tgtEl>
                                          <p:spTgt spid="65"/>
                                        </p:tgtEl>
                                      </p:cBhvr>
                                    </p:animEffect>
                                    <p:animScale>
                                      <p:cBhvr>
                                        <p:cTn id="46" dur="1000" autoRev="1" fill="hold"/>
                                        <p:tgtEl>
                                          <p:spTgt spid="65"/>
                                        </p:tgtEl>
                                      </p:cBhvr>
                                      <p:by x="105000" y="105000"/>
                                    </p:animScale>
                                  </p:childTnLst>
                                </p:cTn>
                              </p:par>
                              <p:par>
                                <p:cTn id="47" presetID="26" presetClass="emph" presetSubtype="0" dur="2000" repeatCount="indefinite" fill="hold" grpId="0" nodeType="withEffect">
                                  <p:stCondLst>
                                    <p:cond delay="500"/>
                                  </p:stCondLst>
                                  <p:childTnLst>
                                    <p:animEffect transition="out" filter="fade">
                                      <p:cBhvr>
                                        <p:cTn id="48" dur="2000" tmFilter="0, 0; .2, .5; .8, .5; 1, 0"/>
                                        <p:tgtEl>
                                          <p:spTgt spid="66"/>
                                        </p:tgtEl>
                                      </p:cBhvr>
                                    </p:animEffect>
                                    <p:animScale>
                                      <p:cBhvr>
                                        <p:cTn id="49" dur="1000" autoRev="1" fill="hold"/>
                                        <p:tgtEl>
                                          <p:spTgt spid="66"/>
                                        </p:tgtEl>
                                      </p:cBhvr>
                                      <p:by x="105000" y="105000"/>
                                    </p:animScale>
                                  </p:childTnLst>
                                </p:cTn>
                              </p:par>
                              <p:par>
                                <p:cTn id="50" presetID="26" presetClass="emph" presetSubtype="0" dur="2000" repeatCount="indefinite" fill="hold" grpId="0" nodeType="withEffect">
                                  <p:stCondLst>
                                    <p:cond delay="500"/>
                                  </p:stCondLst>
                                  <p:childTnLst>
                                    <p:animEffect transition="out" filter="fade">
                                      <p:cBhvr>
                                        <p:cTn id="51" dur="2000" tmFilter="0, 0; .2, .5; .8, .5; 1, 0"/>
                                        <p:tgtEl>
                                          <p:spTgt spid="67"/>
                                        </p:tgtEl>
                                      </p:cBhvr>
                                    </p:animEffect>
                                    <p:animScale>
                                      <p:cBhvr>
                                        <p:cTn id="52" dur="1000" autoRev="1" fill="hold"/>
                                        <p:tgtEl>
                                          <p:spTgt spid="67"/>
                                        </p:tgtEl>
                                      </p:cBhvr>
                                      <p:by x="105000" y="105000"/>
                                    </p:animScale>
                                  </p:childTnLst>
                                </p:cTn>
                              </p:par>
                              <p:par>
                                <p:cTn id="53" presetID="26" presetClass="emph" presetSubtype="0" dur="2000" repeatCount="indefinite" fill="hold" grpId="0" nodeType="withEffect">
                                  <p:stCondLst>
                                    <p:cond delay="500"/>
                                  </p:stCondLst>
                                  <p:childTnLst>
                                    <p:animEffect transition="out" filter="fade">
                                      <p:cBhvr>
                                        <p:cTn id="54" dur="2000" tmFilter="0, 0; .2, .5; .8, .5; 1, 0"/>
                                        <p:tgtEl>
                                          <p:spTgt spid="68"/>
                                        </p:tgtEl>
                                      </p:cBhvr>
                                    </p:animEffect>
                                    <p:animScale>
                                      <p:cBhvr>
                                        <p:cTn id="55" dur="1000" autoRev="1" fill="hold"/>
                                        <p:tgtEl>
                                          <p:spTgt spid="68"/>
                                        </p:tgtEl>
                                      </p:cBhvr>
                                      <p:by x="105000" y="105000"/>
                                    </p:animScale>
                                  </p:childTnLst>
                                </p:cTn>
                              </p:par>
                              <p:par>
                                <p:cTn id="56" presetID="26" presetClass="emph" presetSubtype="0" dur="2000" repeatCount="indefinite" fill="hold" grpId="0" nodeType="withEffect">
                                  <p:stCondLst>
                                    <p:cond delay="500"/>
                                  </p:stCondLst>
                                  <p:childTnLst>
                                    <p:animEffect transition="out" filter="fade">
                                      <p:cBhvr>
                                        <p:cTn id="57" dur="2000" tmFilter="0, 0; .2, .5; .8, .5; 1, 0"/>
                                        <p:tgtEl>
                                          <p:spTgt spid="69"/>
                                        </p:tgtEl>
                                      </p:cBhvr>
                                    </p:animEffect>
                                    <p:animScale>
                                      <p:cBhvr>
                                        <p:cTn id="58" dur="1000" autoRev="1" fill="hold"/>
                                        <p:tgtEl>
                                          <p:spTgt spid="69"/>
                                        </p:tgtEl>
                                      </p:cBhvr>
                                      <p:by x="105000" y="105000"/>
                                    </p:animScale>
                                  </p:childTnLst>
                                </p:cTn>
                              </p:par>
                              <p:par>
                                <p:cTn id="59" presetID="26" presetClass="emph" presetSubtype="0" dur="2000" repeatCount="indefinite" fill="hold" grpId="0" nodeType="withEffect">
                                  <p:stCondLst>
                                    <p:cond delay="500"/>
                                  </p:stCondLst>
                                  <p:childTnLst>
                                    <p:animEffect transition="out" filter="fade">
                                      <p:cBhvr>
                                        <p:cTn id="60" dur="2000" tmFilter="0, 0; .2, .5; .8, .5; 1, 0"/>
                                        <p:tgtEl>
                                          <p:spTgt spid="70"/>
                                        </p:tgtEl>
                                      </p:cBhvr>
                                    </p:animEffect>
                                    <p:animScale>
                                      <p:cBhvr>
                                        <p:cTn id="61" dur="1000" autoRev="1" fill="hold"/>
                                        <p:tgtEl>
                                          <p:spTgt spid="70"/>
                                        </p:tgtEl>
                                      </p:cBhvr>
                                      <p:by x="105000" y="105000"/>
                                    </p:animScale>
                                  </p:childTnLst>
                                </p:cTn>
                              </p:par>
                              <p:par>
                                <p:cTn id="62" presetID="26" presetClass="emph" presetSubtype="0" dur="2000" repeatCount="indefinite" fill="hold" grpId="0" nodeType="withEffect">
                                  <p:stCondLst>
                                    <p:cond delay="500"/>
                                  </p:stCondLst>
                                  <p:childTnLst>
                                    <p:animEffect transition="out" filter="fade">
                                      <p:cBhvr>
                                        <p:cTn id="63" dur="2000" tmFilter="0, 0; .2, .5; .8, .5; 1, 0"/>
                                        <p:tgtEl>
                                          <p:spTgt spid="71"/>
                                        </p:tgtEl>
                                      </p:cBhvr>
                                    </p:animEffect>
                                    <p:animScale>
                                      <p:cBhvr>
                                        <p:cTn id="64" dur="1000" autoRev="1" fill="hold"/>
                                        <p:tgtEl>
                                          <p:spTgt spid="71"/>
                                        </p:tgtEl>
                                      </p:cBhvr>
                                      <p:by x="105000" y="105000"/>
                                    </p:animScale>
                                  </p:childTnLst>
                                </p:cTn>
                              </p:par>
                              <p:par>
                                <p:cTn id="65" presetID="26" presetClass="emph" presetSubtype="0" dur="2000" repeatCount="indefinite" fill="hold" grpId="0" nodeType="withEffect">
                                  <p:stCondLst>
                                    <p:cond delay="500"/>
                                  </p:stCondLst>
                                  <p:childTnLst>
                                    <p:animEffect transition="out" filter="fade">
                                      <p:cBhvr>
                                        <p:cTn id="66" dur="2000" tmFilter="0, 0; .2, .5; .8, .5; 1, 0"/>
                                        <p:tgtEl>
                                          <p:spTgt spid="72"/>
                                        </p:tgtEl>
                                      </p:cBhvr>
                                    </p:animEffect>
                                    <p:animScale>
                                      <p:cBhvr>
                                        <p:cTn id="67" dur="1000" autoRev="1" fill="hold"/>
                                        <p:tgtEl>
                                          <p:spTgt spid="72"/>
                                        </p:tgtEl>
                                      </p:cBhvr>
                                      <p:by x="105000" y="105000"/>
                                    </p:animScale>
                                  </p:childTnLst>
                                </p:cTn>
                              </p:par>
                              <p:par>
                                <p:cTn id="68" presetID="26" presetClass="emph" presetSubtype="0" dur="2000" repeatCount="indefinite" fill="hold" grpId="0" nodeType="withEffect">
                                  <p:stCondLst>
                                    <p:cond delay="500"/>
                                  </p:stCondLst>
                                  <p:childTnLst>
                                    <p:animEffect transition="out" filter="fade">
                                      <p:cBhvr>
                                        <p:cTn id="69" dur="2000" tmFilter="0, 0; .2, .5; .8, .5; 1, 0"/>
                                        <p:tgtEl>
                                          <p:spTgt spid="73"/>
                                        </p:tgtEl>
                                      </p:cBhvr>
                                    </p:animEffect>
                                    <p:animScale>
                                      <p:cBhvr>
                                        <p:cTn id="70" dur="1000" autoRev="1" fill="hold"/>
                                        <p:tgtEl>
                                          <p:spTgt spid="73"/>
                                        </p:tgtEl>
                                      </p:cBhvr>
                                      <p:by x="105000" y="105000"/>
                                    </p:animScale>
                                  </p:childTnLst>
                                </p:cTn>
                              </p:par>
                              <p:par>
                                <p:cTn id="71" presetID="26" presetClass="emph" presetSubtype="0" dur="2000" repeatCount="indefinite" fill="hold" grpId="0" nodeType="withEffect">
                                  <p:stCondLst>
                                    <p:cond delay="750"/>
                                  </p:stCondLst>
                                  <p:childTnLst>
                                    <p:animEffect transition="out" filter="fade">
                                      <p:cBhvr>
                                        <p:cTn id="72" dur="2000" tmFilter="0, 0; .2, .5; .8, .5; 1, 0"/>
                                        <p:tgtEl>
                                          <p:spTgt spid="74"/>
                                        </p:tgtEl>
                                      </p:cBhvr>
                                    </p:animEffect>
                                    <p:animScale>
                                      <p:cBhvr>
                                        <p:cTn id="73" dur="1000" autoRev="1" fill="hold"/>
                                        <p:tgtEl>
                                          <p:spTgt spid="74"/>
                                        </p:tgtEl>
                                      </p:cBhvr>
                                      <p:by x="105000" y="105000"/>
                                    </p:animScale>
                                  </p:childTnLst>
                                </p:cTn>
                              </p:par>
                              <p:par>
                                <p:cTn id="74" presetID="26" presetClass="emph" presetSubtype="0" dur="2000" repeatCount="indefinite" fill="hold" grpId="0" nodeType="withEffect">
                                  <p:stCondLst>
                                    <p:cond delay="750"/>
                                  </p:stCondLst>
                                  <p:childTnLst>
                                    <p:animEffect transition="out" filter="fade">
                                      <p:cBhvr>
                                        <p:cTn id="75" dur="2000" tmFilter="0, 0; .2, .5; .8, .5; 1, 0"/>
                                        <p:tgtEl>
                                          <p:spTgt spid="75"/>
                                        </p:tgtEl>
                                      </p:cBhvr>
                                    </p:animEffect>
                                    <p:animScale>
                                      <p:cBhvr>
                                        <p:cTn id="76" dur="1000" autoRev="1" fill="hold"/>
                                        <p:tgtEl>
                                          <p:spTgt spid="75"/>
                                        </p:tgtEl>
                                      </p:cBhvr>
                                      <p:by x="105000" y="105000"/>
                                    </p:animScale>
                                  </p:childTnLst>
                                </p:cTn>
                              </p:par>
                              <p:par>
                                <p:cTn id="77" presetID="26" presetClass="emph" presetSubtype="0" dur="2000" repeatCount="indefinite" fill="hold" grpId="0" nodeType="withEffect">
                                  <p:stCondLst>
                                    <p:cond delay="750"/>
                                  </p:stCondLst>
                                  <p:childTnLst>
                                    <p:animEffect transition="out" filter="fade">
                                      <p:cBhvr>
                                        <p:cTn id="78" dur="2000" tmFilter="0, 0; .2, .5; .8, .5; 1, 0"/>
                                        <p:tgtEl>
                                          <p:spTgt spid="76"/>
                                        </p:tgtEl>
                                      </p:cBhvr>
                                    </p:animEffect>
                                    <p:animScale>
                                      <p:cBhvr>
                                        <p:cTn id="79" dur="1000" autoRev="1" fill="hold"/>
                                        <p:tgtEl>
                                          <p:spTgt spid="76"/>
                                        </p:tgtEl>
                                      </p:cBhvr>
                                      <p:by x="105000" y="105000"/>
                                    </p:animScale>
                                  </p:childTnLst>
                                </p:cTn>
                              </p:par>
                              <p:par>
                                <p:cTn id="80" presetID="26" presetClass="emph" presetSubtype="0" dur="2000" repeatCount="indefinite" fill="hold" grpId="0" nodeType="withEffect">
                                  <p:stCondLst>
                                    <p:cond delay="750"/>
                                  </p:stCondLst>
                                  <p:childTnLst>
                                    <p:animEffect transition="out" filter="fade">
                                      <p:cBhvr>
                                        <p:cTn id="81" dur="2000" tmFilter="0, 0; .2, .5; .8, .5; 1, 0"/>
                                        <p:tgtEl>
                                          <p:spTgt spid="77"/>
                                        </p:tgtEl>
                                      </p:cBhvr>
                                    </p:animEffect>
                                    <p:animScale>
                                      <p:cBhvr>
                                        <p:cTn id="82" dur="1000" autoRev="1" fill="hold"/>
                                        <p:tgtEl>
                                          <p:spTgt spid="77"/>
                                        </p:tgtEl>
                                      </p:cBhvr>
                                      <p:by x="105000" y="105000"/>
                                    </p:animScale>
                                  </p:childTnLst>
                                </p:cTn>
                              </p:par>
                              <p:par>
                                <p:cTn id="83" presetID="26" presetClass="emph" presetSubtype="0" dur="2000" repeatCount="indefinite" fill="hold" grpId="0" nodeType="withEffect">
                                  <p:stCondLst>
                                    <p:cond delay="750"/>
                                  </p:stCondLst>
                                  <p:childTnLst>
                                    <p:animEffect transition="out" filter="fade">
                                      <p:cBhvr>
                                        <p:cTn id="84" dur="2000" tmFilter="0, 0; .2, .5; .8, .5; 1, 0"/>
                                        <p:tgtEl>
                                          <p:spTgt spid="78"/>
                                        </p:tgtEl>
                                      </p:cBhvr>
                                    </p:animEffect>
                                    <p:animScale>
                                      <p:cBhvr>
                                        <p:cTn id="85" dur="1000" autoRev="1" fill="hold"/>
                                        <p:tgtEl>
                                          <p:spTgt spid="78"/>
                                        </p:tgtEl>
                                      </p:cBhvr>
                                      <p:by x="105000" y="105000"/>
                                    </p:animScale>
                                  </p:childTnLst>
                                </p:cTn>
                              </p:par>
                              <p:par>
                                <p:cTn id="86" presetID="26" presetClass="emph" presetSubtype="0" dur="2000" repeatCount="indefinite" fill="hold" grpId="0" nodeType="withEffect">
                                  <p:stCondLst>
                                    <p:cond delay="750"/>
                                  </p:stCondLst>
                                  <p:childTnLst>
                                    <p:animEffect transition="out" filter="fade">
                                      <p:cBhvr>
                                        <p:cTn id="87" dur="2000" tmFilter="0, 0; .2, .5; .8, .5; 1, 0"/>
                                        <p:tgtEl>
                                          <p:spTgt spid="79"/>
                                        </p:tgtEl>
                                      </p:cBhvr>
                                    </p:animEffect>
                                    <p:animScale>
                                      <p:cBhvr>
                                        <p:cTn id="88" dur="1000" autoRev="1" fill="hold"/>
                                        <p:tgtEl>
                                          <p:spTgt spid="79"/>
                                        </p:tgtEl>
                                      </p:cBhvr>
                                      <p:by x="105000" y="105000"/>
                                    </p:animScale>
                                  </p:childTnLst>
                                </p:cTn>
                              </p:par>
                              <p:par>
                                <p:cTn id="89" presetID="26" presetClass="emph" presetSubtype="0" dur="2000" repeatCount="indefinite" fill="hold" grpId="0" nodeType="withEffect">
                                  <p:stCondLst>
                                    <p:cond delay="750"/>
                                  </p:stCondLst>
                                  <p:childTnLst>
                                    <p:animEffect transition="out" filter="fade">
                                      <p:cBhvr>
                                        <p:cTn id="90" dur="2000" tmFilter="0, 0; .2, .5; .8, .5; 1, 0"/>
                                        <p:tgtEl>
                                          <p:spTgt spid="80"/>
                                        </p:tgtEl>
                                      </p:cBhvr>
                                    </p:animEffect>
                                    <p:animScale>
                                      <p:cBhvr>
                                        <p:cTn id="91" dur="1000" autoRev="1" fill="hold"/>
                                        <p:tgtEl>
                                          <p:spTgt spid="80"/>
                                        </p:tgtEl>
                                      </p:cBhvr>
                                      <p:by x="105000" y="105000"/>
                                    </p:animScale>
                                  </p:childTnLst>
                                </p:cTn>
                              </p:par>
                              <p:par>
                                <p:cTn id="92" presetID="26" presetClass="emph" presetSubtype="0" dur="2000" repeatCount="indefinite" fill="hold" grpId="0" nodeType="withEffect">
                                  <p:stCondLst>
                                    <p:cond delay="750"/>
                                  </p:stCondLst>
                                  <p:childTnLst>
                                    <p:animEffect transition="out" filter="fade">
                                      <p:cBhvr>
                                        <p:cTn id="93" dur="2000" tmFilter="0, 0; .2, .5; .8, .5; 1, 0"/>
                                        <p:tgtEl>
                                          <p:spTgt spid="81"/>
                                        </p:tgtEl>
                                      </p:cBhvr>
                                    </p:animEffect>
                                    <p:animScale>
                                      <p:cBhvr>
                                        <p:cTn id="94" dur="1000" autoRev="1" fill="hold"/>
                                        <p:tgtEl>
                                          <p:spTgt spid="81"/>
                                        </p:tgtEl>
                                      </p:cBhvr>
                                      <p:by x="105000" y="105000"/>
                                    </p:animScale>
                                  </p:childTnLst>
                                </p:cTn>
                              </p:par>
                              <p:par>
                                <p:cTn id="95" presetID="26" presetClass="emph" presetSubtype="0" dur="2000" repeatCount="indefinite" fill="hold" grpId="0" nodeType="withEffect">
                                  <p:stCondLst>
                                    <p:cond delay="750"/>
                                  </p:stCondLst>
                                  <p:childTnLst>
                                    <p:animEffect transition="out" filter="fade">
                                      <p:cBhvr>
                                        <p:cTn id="96" dur="2000" tmFilter="0, 0; .2, .5; .8, .5; 1, 0"/>
                                        <p:tgtEl>
                                          <p:spTgt spid="82"/>
                                        </p:tgtEl>
                                      </p:cBhvr>
                                    </p:animEffect>
                                    <p:animScale>
                                      <p:cBhvr>
                                        <p:cTn id="97" dur="1000" autoRev="1" fill="hold"/>
                                        <p:tgtEl>
                                          <p:spTgt spid="82"/>
                                        </p:tgtEl>
                                      </p:cBhvr>
                                      <p:by x="105000" y="105000"/>
                                    </p:animScale>
                                  </p:childTnLst>
                                </p:cTn>
                              </p:par>
                              <p:par>
                                <p:cTn id="98" presetID="26" presetClass="emph" presetSubtype="0" dur="2000" repeatCount="indefinite" fill="hold" grpId="0" nodeType="withEffect">
                                  <p:stCondLst>
                                    <p:cond delay="750"/>
                                  </p:stCondLst>
                                  <p:childTnLst>
                                    <p:animEffect transition="out" filter="fade">
                                      <p:cBhvr>
                                        <p:cTn id="99" dur="2000" tmFilter="0, 0; .2, .5; .8, .5; 1, 0"/>
                                        <p:tgtEl>
                                          <p:spTgt spid="83"/>
                                        </p:tgtEl>
                                      </p:cBhvr>
                                    </p:animEffect>
                                    <p:animScale>
                                      <p:cBhvr>
                                        <p:cTn id="100" dur="1000" autoRev="1" fill="hold"/>
                                        <p:tgtEl>
                                          <p:spTgt spid="83"/>
                                        </p:tgtEl>
                                      </p:cBhvr>
                                      <p:by x="105000" y="105000"/>
                                    </p:animScale>
                                  </p:childTnLst>
                                </p:cTn>
                              </p:par>
                              <p:par>
                                <p:cTn id="101" presetID="26" presetClass="emph" presetSubtype="0" dur="2000" repeatCount="indefinite" fill="hold" grpId="0" nodeType="withEffect">
                                  <p:stCondLst>
                                    <p:cond delay="750"/>
                                  </p:stCondLst>
                                  <p:childTnLst>
                                    <p:animEffect transition="out" filter="fade">
                                      <p:cBhvr>
                                        <p:cTn id="102" dur="2000" tmFilter="0, 0; .2, .5; .8, .5; 1, 0"/>
                                        <p:tgtEl>
                                          <p:spTgt spid="84"/>
                                        </p:tgtEl>
                                      </p:cBhvr>
                                    </p:animEffect>
                                    <p:animScale>
                                      <p:cBhvr>
                                        <p:cTn id="103" dur="1000" autoRev="1" fill="hold"/>
                                        <p:tgtEl>
                                          <p:spTgt spid="84"/>
                                        </p:tgtEl>
                                      </p:cBhvr>
                                      <p:by x="105000" y="105000"/>
                                    </p:animScale>
                                  </p:childTnLst>
                                </p:cTn>
                              </p:par>
                              <p:par>
                                <p:cTn id="104" presetID="26" presetClass="emph" presetSubtype="0" dur="2000" repeatCount="indefinite" fill="hold" grpId="0" nodeType="withEffect">
                                  <p:stCondLst>
                                    <p:cond delay="1000"/>
                                  </p:stCondLst>
                                  <p:childTnLst>
                                    <p:animEffect transition="out" filter="fade">
                                      <p:cBhvr>
                                        <p:cTn id="105" dur="2000" tmFilter="0, 0; .2, .5; .8, .5; 1, 0"/>
                                        <p:tgtEl>
                                          <p:spTgt spid="85"/>
                                        </p:tgtEl>
                                      </p:cBhvr>
                                    </p:animEffect>
                                    <p:animScale>
                                      <p:cBhvr>
                                        <p:cTn id="106" dur="1000" autoRev="1" fill="hold"/>
                                        <p:tgtEl>
                                          <p:spTgt spid="85"/>
                                        </p:tgtEl>
                                      </p:cBhvr>
                                      <p:by x="105000" y="105000"/>
                                    </p:animScale>
                                  </p:childTnLst>
                                </p:cTn>
                              </p:par>
                              <p:par>
                                <p:cTn id="107" presetID="26" presetClass="emph" presetSubtype="0" dur="2000" repeatCount="indefinite" fill="hold" grpId="0" nodeType="withEffect">
                                  <p:stCondLst>
                                    <p:cond delay="1000"/>
                                  </p:stCondLst>
                                  <p:childTnLst>
                                    <p:animEffect transition="out" filter="fade">
                                      <p:cBhvr>
                                        <p:cTn id="108" dur="2000" tmFilter="0, 0; .2, .5; .8, .5; 1, 0"/>
                                        <p:tgtEl>
                                          <p:spTgt spid="86"/>
                                        </p:tgtEl>
                                      </p:cBhvr>
                                    </p:animEffect>
                                    <p:animScale>
                                      <p:cBhvr>
                                        <p:cTn id="109" dur="1000" autoRev="1" fill="hold"/>
                                        <p:tgtEl>
                                          <p:spTgt spid="86"/>
                                        </p:tgtEl>
                                      </p:cBhvr>
                                      <p:by x="105000" y="105000"/>
                                    </p:animScale>
                                  </p:childTnLst>
                                </p:cTn>
                              </p:par>
                              <p:par>
                                <p:cTn id="110" presetID="26" presetClass="emph" presetSubtype="0" dur="2000" repeatCount="indefinite" fill="hold" grpId="0" nodeType="withEffect">
                                  <p:stCondLst>
                                    <p:cond delay="1000"/>
                                  </p:stCondLst>
                                  <p:childTnLst>
                                    <p:animEffect transition="out" filter="fade">
                                      <p:cBhvr>
                                        <p:cTn id="111" dur="2000" tmFilter="0, 0; .2, .5; .8, .5; 1, 0"/>
                                        <p:tgtEl>
                                          <p:spTgt spid="87"/>
                                        </p:tgtEl>
                                      </p:cBhvr>
                                    </p:animEffect>
                                    <p:animScale>
                                      <p:cBhvr>
                                        <p:cTn id="112" dur="1000" autoRev="1" fill="hold"/>
                                        <p:tgtEl>
                                          <p:spTgt spid="87"/>
                                        </p:tgtEl>
                                      </p:cBhvr>
                                      <p:by x="105000" y="105000"/>
                                    </p:animScale>
                                  </p:childTnLst>
                                </p:cTn>
                              </p:par>
                              <p:par>
                                <p:cTn id="113" presetID="26" presetClass="emph" presetSubtype="0" dur="2000" repeatCount="indefinite" fill="hold" grpId="0" nodeType="withEffect">
                                  <p:stCondLst>
                                    <p:cond delay="1000"/>
                                  </p:stCondLst>
                                  <p:childTnLst>
                                    <p:animEffect transition="out" filter="fade">
                                      <p:cBhvr>
                                        <p:cTn id="114" dur="2000" tmFilter="0, 0; .2, .5; .8, .5; 1, 0"/>
                                        <p:tgtEl>
                                          <p:spTgt spid="88"/>
                                        </p:tgtEl>
                                      </p:cBhvr>
                                    </p:animEffect>
                                    <p:animScale>
                                      <p:cBhvr>
                                        <p:cTn id="115" dur="1000" autoRev="1" fill="hold"/>
                                        <p:tgtEl>
                                          <p:spTgt spid="88"/>
                                        </p:tgtEl>
                                      </p:cBhvr>
                                      <p:by x="105000" y="105000"/>
                                    </p:animScale>
                                  </p:childTnLst>
                                </p:cTn>
                              </p:par>
                              <p:par>
                                <p:cTn id="116" presetID="26" presetClass="emph" presetSubtype="0" dur="2000" repeatCount="indefinite" fill="hold" grpId="0" nodeType="withEffect">
                                  <p:stCondLst>
                                    <p:cond delay="1000"/>
                                  </p:stCondLst>
                                  <p:childTnLst>
                                    <p:animEffect transition="out" filter="fade">
                                      <p:cBhvr>
                                        <p:cTn id="117" dur="2000" tmFilter="0, 0; .2, .5; .8, .5; 1, 0"/>
                                        <p:tgtEl>
                                          <p:spTgt spid="89"/>
                                        </p:tgtEl>
                                      </p:cBhvr>
                                    </p:animEffect>
                                    <p:animScale>
                                      <p:cBhvr>
                                        <p:cTn id="118" dur="1000" autoRev="1" fill="hold"/>
                                        <p:tgtEl>
                                          <p:spTgt spid="89"/>
                                        </p:tgtEl>
                                      </p:cBhvr>
                                      <p:by x="105000" y="105000"/>
                                    </p:animScale>
                                  </p:childTnLst>
                                </p:cTn>
                              </p:par>
                              <p:par>
                                <p:cTn id="119" presetID="26" presetClass="emph" presetSubtype="0" dur="2000" repeatCount="indefinite" fill="hold" grpId="0" nodeType="withEffect">
                                  <p:stCondLst>
                                    <p:cond delay="1000"/>
                                  </p:stCondLst>
                                  <p:childTnLst>
                                    <p:animEffect transition="out" filter="fade">
                                      <p:cBhvr>
                                        <p:cTn id="120" dur="2000" tmFilter="0, 0; .2, .5; .8, .5; 1, 0"/>
                                        <p:tgtEl>
                                          <p:spTgt spid="90"/>
                                        </p:tgtEl>
                                      </p:cBhvr>
                                    </p:animEffect>
                                    <p:animScale>
                                      <p:cBhvr>
                                        <p:cTn id="121" dur="1000" autoRev="1" fill="hold"/>
                                        <p:tgtEl>
                                          <p:spTgt spid="90"/>
                                        </p:tgtEl>
                                      </p:cBhvr>
                                      <p:by x="105000" y="105000"/>
                                    </p:animScale>
                                  </p:childTnLst>
                                </p:cTn>
                              </p:par>
                              <p:par>
                                <p:cTn id="122" presetID="26" presetClass="emph" presetSubtype="0" dur="2000" repeatCount="indefinite" fill="hold" grpId="0" nodeType="withEffect">
                                  <p:stCondLst>
                                    <p:cond delay="1000"/>
                                  </p:stCondLst>
                                  <p:childTnLst>
                                    <p:animEffect transition="out" filter="fade">
                                      <p:cBhvr>
                                        <p:cTn id="123" dur="2000" tmFilter="0, 0; .2, .5; .8, .5; 1, 0"/>
                                        <p:tgtEl>
                                          <p:spTgt spid="91"/>
                                        </p:tgtEl>
                                      </p:cBhvr>
                                    </p:animEffect>
                                    <p:animScale>
                                      <p:cBhvr>
                                        <p:cTn id="124" dur="1000" autoRev="1" fill="hold"/>
                                        <p:tgtEl>
                                          <p:spTgt spid="91"/>
                                        </p:tgtEl>
                                      </p:cBhvr>
                                      <p:by x="105000" y="105000"/>
                                    </p:animScale>
                                  </p:childTnLst>
                                </p:cTn>
                              </p:par>
                              <p:par>
                                <p:cTn id="125" presetID="26" presetClass="emph" presetSubtype="0" dur="2000" repeatCount="indefinite" fill="hold" grpId="0" nodeType="withEffect">
                                  <p:stCondLst>
                                    <p:cond delay="1000"/>
                                  </p:stCondLst>
                                  <p:childTnLst>
                                    <p:animEffect transition="out" filter="fade">
                                      <p:cBhvr>
                                        <p:cTn id="126" dur="2000" tmFilter="0, 0; .2, .5; .8, .5; 1, 0"/>
                                        <p:tgtEl>
                                          <p:spTgt spid="92"/>
                                        </p:tgtEl>
                                      </p:cBhvr>
                                    </p:animEffect>
                                    <p:animScale>
                                      <p:cBhvr>
                                        <p:cTn id="127" dur="1000" autoRev="1" fill="hold"/>
                                        <p:tgtEl>
                                          <p:spTgt spid="92"/>
                                        </p:tgtEl>
                                      </p:cBhvr>
                                      <p:by x="105000" y="105000"/>
                                    </p:animScale>
                                  </p:childTnLst>
                                </p:cTn>
                              </p:par>
                              <p:par>
                                <p:cTn id="128" presetID="26" presetClass="emph" presetSubtype="0" dur="2000" repeatCount="indefinite" fill="hold" grpId="0" nodeType="withEffect">
                                  <p:stCondLst>
                                    <p:cond delay="1000"/>
                                  </p:stCondLst>
                                  <p:childTnLst>
                                    <p:animEffect transition="out" filter="fade">
                                      <p:cBhvr>
                                        <p:cTn id="129" dur="2000" tmFilter="0, 0; .2, .5; .8, .5; 1, 0"/>
                                        <p:tgtEl>
                                          <p:spTgt spid="93"/>
                                        </p:tgtEl>
                                      </p:cBhvr>
                                    </p:animEffect>
                                    <p:animScale>
                                      <p:cBhvr>
                                        <p:cTn id="130" dur="1000" autoRev="1" fill="hold"/>
                                        <p:tgtEl>
                                          <p:spTgt spid="93"/>
                                        </p:tgtEl>
                                      </p:cBhvr>
                                      <p:by x="105000" y="105000"/>
                                    </p:animScale>
                                  </p:childTnLst>
                                </p:cTn>
                              </p:par>
                              <p:par>
                                <p:cTn id="131" presetID="26" presetClass="emph" presetSubtype="0" dur="2000" repeatCount="indefinite" fill="hold" grpId="0" nodeType="withEffect">
                                  <p:stCondLst>
                                    <p:cond delay="1000"/>
                                  </p:stCondLst>
                                  <p:childTnLst>
                                    <p:animEffect transition="out" filter="fade">
                                      <p:cBhvr>
                                        <p:cTn id="132" dur="2000" tmFilter="0, 0; .2, .5; .8, .5; 1, 0"/>
                                        <p:tgtEl>
                                          <p:spTgt spid="94"/>
                                        </p:tgtEl>
                                      </p:cBhvr>
                                    </p:animEffect>
                                    <p:animScale>
                                      <p:cBhvr>
                                        <p:cTn id="133" dur="1000" autoRev="1" fill="hold"/>
                                        <p:tgtEl>
                                          <p:spTgt spid="94"/>
                                        </p:tgtEl>
                                      </p:cBhvr>
                                      <p:by x="105000" y="105000"/>
                                    </p:animScale>
                                  </p:childTnLst>
                                </p:cTn>
                              </p:par>
                              <p:par>
                                <p:cTn id="134" presetID="26" presetClass="emph" presetSubtype="0" dur="2000" repeatCount="indefinite" fill="hold" grpId="0" nodeType="withEffect">
                                  <p:stCondLst>
                                    <p:cond delay="1000"/>
                                  </p:stCondLst>
                                  <p:childTnLst>
                                    <p:animEffect transition="out" filter="fade">
                                      <p:cBhvr>
                                        <p:cTn id="135" dur="2000" tmFilter="0, 0; .2, .5; .8, .5; 1, 0"/>
                                        <p:tgtEl>
                                          <p:spTgt spid="95"/>
                                        </p:tgtEl>
                                      </p:cBhvr>
                                    </p:animEffect>
                                    <p:animScale>
                                      <p:cBhvr>
                                        <p:cTn id="136" dur="1000" autoRev="1" fill="hold"/>
                                        <p:tgtEl>
                                          <p:spTgt spid="95"/>
                                        </p:tgtEl>
                                      </p:cBhvr>
                                      <p:by x="105000" y="105000"/>
                                    </p:animScale>
                                  </p:childTnLst>
                                </p:cTn>
                              </p:par>
                              <p:par>
                                <p:cTn id="137" presetID="26" presetClass="emph" presetSubtype="0" dur="2000" repeatCount="indefinite" fill="hold" grpId="0" nodeType="withEffect">
                                  <p:stCondLst>
                                    <p:cond delay="1000"/>
                                  </p:stCondLst>
                                  <p:childTnLst>
                                    <p:animEffect transition="out" filter="fade">
                                      <p:cBhvr>
                                        <p:cTn id="138" dur="2000" tmFilter="0, 0; .2, .5; .8, .5; 1, 0"/>
                                        <p:tgtEl>
                                          <p:spTgt spid="96"/>
                                        </p:tgtEl>
                                      </p:cBhvr>
                                    </p:animEffect>
                                    <p:animScale>
                                      <p:cBhvr>
                                        <p:cTn id="139" dur="1000" autoRev="1" fill="hold"/>
                                        <p:tgtEl>
                                          <p:spTgt spid="96"/>
                                        </p:tgtEl>
                                      </p:cBhvr>
                                      <p:by x="105000" y="105000"/>
                                    </p:animScale>
                                  </p:childTnLst>
                                </p:cTn>
                              </p:par>
                              <p:par>
                                <p:cTn id="140" presetID="26" presetClass="emph" presetSubtype="0" dur="2000" repeatCount="indefinite" fill="hold" grpId="0" nodeType="withEffect">
                                  <p:stCondLst>
                                    <p:cond delay="1000"/>
                                  </p:stCondLst>
                                  <p:childTnLst>
                                    <p:animEffect transition="out" filter="fade">
                                      <p:cBhvr>
                                        <p:cTn id="141" dur="2000" tmFilter="0, 0; .2, .5; .8, .5; 1, 0"/>
                                        <p:tgtEl>
                                          <p:spTgt spid="97"/>
                                        </p:tgtEl>
                                      </p:cBhvr>
                                    </p:animEffect>
                                    <p:animScale>
                                      <p:cBhvr>
                                        <p:cTn id="142" dur="1000" autoRev="1" fill="hold"/>
                                        <p:tgtEl>
                                          <p:spTgt spid="97"/>
                                        </p:tgtEl>
                                      </p:cBhvr>
                                      <p:by x="105000" y="105000"/>
                                    </p:animScale>
                                  </p:childTnLst>
                                </p:cTn>
                              </p:par>
                              <p:par>
                                <p:cTn id="143" presetID="26" presetClass="emph" presetSubtype="0" dur="2000" repeatCount="indefinite" fill="hold" grpId="0" nodeType="withEffect">
                                  <p:stCondLst>
                                    <p:cond delay="1250"/>
                                  </p:stCondLst>
                                  <p:childTnLst>
                                    <p:animEffect transition="out" filter="fade">
                                      <p:cBhvr>
                                        <p:cTn id="144" dur="2000" tmFilter="0, 0; .2, .5; .8, .5; 1, 0"/>
                                        <p:tgtEl>
                                          <p:spTgt spid="98"/>
                                        </p:tgtEl>
                                      </p:cBhvr>
                                    </p:animEffect>
                                    <p:animScale>
                                      <p:cBhvr>
                                        <p:cTn id="145" dur="1000" autoRev="1" fill="hold"/>
                                        <p:tgtEl>
                                          <p:spTgt spid="98"/>
                                        </p:tgtEl>
                                      </p:cBhvr>
                                      <p:by x="105000" y="105000"/>
                                    </p:animScale>
                                  </p:childTnLst>
                                </p:cTn>
                              </p:par>
                              <p:par>
                                <p:cTn id="146" presetID="26" presetClass="emph" presetSubtype="0" dur="2000" repeatCount="indefinite" fill="hold" grpId="0" nodeType="withEffect">
                                  <p:stCondLst>
                                    <p:cond delay="1250"/>
                                  </p:stCondLst>
                                  <p:childTnLst>
                                    <p:animEffect transition="out" filter="fade">
                                      <p:cBhvr>
                                        <p:cTn id="147" dur="2000" tmFilter="0, 0; .2, .5; .8, .5; 1, 0"/>
                                        <p:tgtEl>
                                          <p:spTgt spid="99"/>
                                        </p:tgtEl>
                                      </p:cBhvr>
                                    </p:animEffect>
                                    <p:animScale>
                                      <p:cBhvr>
                                        <p:cTn id="148" dur="1000" autoRev="1" fill="hold"/>
                                        <p:tgtEl>
                                          <p:spTgt spid="99"/>
                                        </p:tgtEl>
                                      </p:cBhvr>
                                      <p:by x="105000" y="105000"/>
                                    </p:animScale>
                                  </p:childTnLst>
                                </p:cTn>
                              </p:par>
                              <p:par>
                                <p:cTn id="149" presetID="26" presetClass="emph" presetSubtype="0" dur="2000" repeatCount="indefinite" fill="hold" grpId="0" nodeType="withEffect">
                                  <p:stCondLst>
                                    <p:cond delay="1250"/>
                                  </p:stCondLst>
                                  <p:childTnLst>
                                    <p:animEffect transition="out" filter="fade">
                                      <p:cBhvr>
                                        <p:cTn id="150" dur="2000" tmFilter="0, 0; .2, .5; .8, .5; 1, 0"/>
                                        <p:tgtEl>
                                          <p:spTgt spid="100"/>
                                        </p:tgtEl>
                                      </p:cBhvr>
                                    </p:animEffect>
                                    <p:animScale>
                                      <p:cBhvr>
                                        <p:cTn id="151" dur="1000" autoRev="1" fill="hold"/>
                                        <p:tgtEl>
                                          <p:spTgt spid="100"/>
                                        </p:tgtEl>
                                      </p:cBhvr>
                                      <p:by x="105000" y="105000"/>
                                    </p:animScale>
                                  </p:childTnLst>
                                </p:cTn>
                              </p:par>
                              <p:par>
                                <p:cTn id="152" presetID="26" presetClass="emph" presetSubtype="0" dur="2000" repeatCount="indefinite" fill="hold" grpId="0" nodeType="withEffect">
                                  <p:stCondLst>
                                    <p:cond delay="1250"/>
                                  </p:stCondLst>
                                  <p:childTnLst>
                                    <p:animEffect transition="out" filter="fade">
                                      <p:cBhvr>
                                        <p:cTn id="153" dur="2000" tmFilter="0, 0; .2, .5; .8, .5; 1, 0"/>
                                        <p:tgtEl>
                                          <p:spTgt spid="101"/>
                                        </p:tgtEl>
                                      </p:cBhvr>
                                    </p:animEffect>
                                    <p:animScale>
                                      <p:cBhvr>
                                        <p:cTn id="154" dur="1000" autoRev="1" fill="hold"/>
                                        <p:tgtEl>
                                          <p:spTgt spid="101"/>
                                        </p:tgtEl>
                                      </p:cBhvr>
                                      <p:by x="105000" y="105000"/>
                                    </p:animScale>
                                  </p:childTnLst>
                                </p:cTn>
                              </p:par>
                              <p:par>
                                <p:cTn id="155" presetID="26" presetClass="emph" presetSubtype="0" dur="2000" repeatCount="indefinite" fill="hold" grpId="0" nodeType="withEffect">
                                  <p:stCondLst>
                                    <p:cond delay="1250"/>
                                  </p:stCondLst>
                                  <p:childTnLst>
                                    <p:animEffect transition="out" filter="fade">
                                      <p:cBhvr>
                                        <p:cTn id="156" dur="2000" tmFilter="0, 0; .2, .5; .8, .5; 1, 0"/>
                                        <p:tgtEl>
                                          <p:spTgt spid="102"/>
                                        </p:tgtEl>
                                      </p:cBhvr>
                                    </p:animEffect>
                                    <p:animScale>
                                      <p:cBhvr>
                                        <p:cTn id="157" dur="1000" autoRev="1" fill="hold"/>
                                        <p:tgtEl>
                                          <p:spTgt spid="102"/>
                                        </p:tgtEl>
                                      </p:cBhvr>
                                      <p:by x="105000" y="105000"/>
                                    </p:animScale>
                                  </p:childTnLst>
                                </p:cTn>
                              </p:par>
                              <p:par>
                                <p:cTn id="158" presetID="26" presetClass="emph" presetSubtype="0" dur="2000" repeatCount="indefinite" fill="hold" grpId="0" nodeType="withEffect">
                                  <p:stCondLst>
                                    <p:cond delay="1250"/>
                                  </p:stCondLst>
                                  <p:childTnLst>
                                    <p:animEffect transition="out" filter="fade">
                                      <p:cBhvr>
                                        <p:cTn id="159" dur="2000" tmFilter="0, 0; .2, .5; .8, .5; 1, 0"/>
                                        <p:tgtEl>
                                          <p:spTgt spid="103"/>
                                        </p:tgtEl>
                                      </p:cBhvr>
                                    </p:animEffect>
                                    <p:animScale>
                                      <p:cBhvr>
                                        <p:cTn id="160" dur="1000" autoRev="1" fill="hold"/>
                                        <p:tgtEl>
                                          <p:spTgt spid="103"/>
                                        </p:tgtEl>
                                      </p:cBhvr>
                                      <p:by x="105000" y="105000"/>
                                    </p:animScale>
                                  </p:childTnLst>
                                </p:cTn>
                              </p:par>
                              <p:par>
                                <p:cTn id="161" presetID="26" presetClass="emph" presetSubtype="0" dur="2000" repeatCount="indefinite" fill="hold" grpId="0" nodeType="withEffect">
                                  <p:stCondLst>
                                    <p:cond delay="1250"/>
                                  </p:stCondLst>
                                  <p:childTnLst>
                                    <p:animEffect transition="out" filter="fade">
                                      <p:cBhvr>
                                        <p:cTn id="162" dur="2000" tmFilter="0, 0; .2, .5; .8, .5; 1, 0"/>
                                        <p:tgtEl>
                                          <p:spTgt spid="104"/>
                                        </p:tgtEl>
                                      </p:cBhvr>
                                    </p:animEffect>
                                    <p:animScale>
                                      <p:cBhvr>
                                        <p:cTn id="163" dur="1000" autoRev="1" fill="hold"/>
                                        <p:tgtEl>
                                          <p:spTgt spid="104"/>
                                        </p:tgtEl>
                                      </p:cBhvr>
                                      <p:by x="105000" y="105000"/>
                                    </p:animScale>
                                  </p:childTnLst>
                                </p:cTn>
                              </p:par>
                              <p:par>
                                <p:cTn id="164" presetID="26" presetClass="emph" presetSubtype="0" dur="2000" repeatCount="indefinite" fill="hold" grpId="0" nodeType="withEffect">
                                  <p:stCondLst>
                                    <p:cond delay="1250"/>
                                  </p:stCondLst>
                                  <p:childTnLst>
                                    <p:animEffect transition="out" filter="fade">
                                      <p:cBhvr>
                                        <p:cTn id="165" dur="2000" tmFilter="0, 0; .2, .5; .8, .5; 1, 0"/>
                                        <p:tgtEl>
                                          <p:spTgt spid="105"/>
                                        </p:tgtEl>
                                      </p:cBhvr>
                                    </p:animEffect>
                                    <p:animScale>
                                      <p:cBhvr>
                                        <p:cTn id="166" dur="1000" autoRev="1" fill="hold"/>
                                        <p:tgtEl>
                                          <p:spTgt spid="105"/>
                                        </p:tgtEl>
                                      </p:cBhvr>
                                      <p:by x="105000" y="105000"/>
                                    </p:animScale>
                                  </p:childTnLst>
                                </p:cTn>
                              </p:par>
                              <p:par>
                                <p:cTn id="167" presetID="26" presetClass="emph" presetSubtype="0" dur="2000" repeatCount="indefinite" fill="hold" grpId="0" nodeType="withEffect">
                                  <p:stCondLst>
                                    <p:cond delay="1250"/>
                                  </p:stCondLst>
                                  <p:childTnLst>
                                    <p:animEffect transition="out" filter="fade">
                                      <p:cBhvr>
                                        <p:cTn id="168" dur="2000" tmFilter="0, 0; .2, .5; .8, .5; 1, 0"/>
                                        <p:tgtEl>
                                          <p:spTgt spid="106"/>
                                        </p:tgtEl>
                                      </p:cBhvr>
                                    </p:animEffect>
                                    <p:animScale>
                                      <p:cBhvr>
                                        <p:cTn id="169" dur="1000" autoRev="1" fill="hold"/>
                                        <p:tgtEl>
                                          <p:spTgt spid="106"/>
                                        </p:tgtEl>
                                      </p:cBhvr>
                                      <p:by x="105000" y="105000"/>
                                    </p:animScale>
                                  </p:childTnLst>
                                </p:cTn>
                              </p:par>
                              <p:par>
                                <p:cTn id="170" presetID="26" presetClass="emph" presetSubtype="0" dur="2000" repeatCount="indefinite" fill="hold" grpId="0" nodeType="withEffect">
                                  <p:stCondLst>
                                    <p:cond delay="1250"/>
                                  </p:stCondLst>
                                  <p:childTnLst>
                                    <p:animEffect transition="out" filter="fade">
                                      <p:cBhvr>
                                        <p:cTn id="171" dur="2000" tmFilter="0, 0; .2, .5; .8, .5; 1, 0"/>
                                        <p:tgtEl>
                                          <p:spTgt spid="107"/>
                                        </p:tgtEl>
                                      </p:cBhvr>
                                    </p:animEffect>
                                    <p:animScale>
                                      <p:cBhvr>
                                        <p:cTn id="172" dur="1000" autoRev="1" fill="hold"/>
                                        <p:tgtEl>
                                          <p:spTgt spid="107"/>
                                        </p:tgtEl>
                                      </p:cBhvr>
                                      <p:by x="105000" y="105000"/>
                                    </p:animScale>
                                  </p:childTnLst>
                                </p:cTn>
                              </p:par>
                              <p:par>
                                <p:cTn id="173" presetID="26" presetClass="emph" presetSubtype="0" dur="2000" repeatCount="indefinite" fill="hold" grpId="0" nodeType="withEffect">
                                  <p:stCondLst>
                                    <p:cond delay="1250"/>
                                  </p:stCondLst>
                                  <p:childTnLst>
                                    <p:animEffect transition="out" filter="fade">
                                      <p:cBhvr>
                                        <p:cTn id="174" dur="2000" tmFilter="0, 0; .2, .5; .8, .5; 1, 0"/>
                                        <p:tgtEl>
                                          <p:spTgt spid="108"/>
                                        </p:tgtEl>
                                      </p:cBhvr>
                                    </p:animEffect>
                                    <p:animScale>
                                      <p:cBhvr>
                                        <p:cTn id="175" dur="1000" autoRev="1" fill="hold"/>
                                        <p:tgtEl>
                                          <p:spTgt spid="108"/>
                                        </p:tgtEl>
                                      </p:cBhvr>
                                      <p:by x="105000" y="105000"/>
                                    </p:animScale>
                                  </p:childTnLst>
                                </p:cTn>
                              </p:par>
                              <p:par>
                                <p:cTn id="176" presetID="26" presetClass="emph" presetSubtype="0" dur="2000" repeatCount="indefinite" fill="hold" grpId="0" nodeType="withEffect">
                                  <p:stCondLst>
                                    <p:cond delay="1250"/>
                                  </p:stCondLst>
                                  <p:childTnLst>
                                    <p:animEffect transition="out" filter="fade">
                                      <p:cBhvr>
                                        <p:cTn id="177" dur="2000" tmFilter="0, 0; .2, .5; .8, .5; 1, 0"/>
                                        <p:tgtEl>
                                          <p:spTgt spid="109"/>
                                        </p:tgtEl>
                                      </p:cBhvr>
                                    </p:animEffect>
                                    <p:animScale>
                                      <p:cBhvr>
                                        <p:cTn id="178" dur="1000" autoRev="1" fill="hold"/>
                                        <p:tgtEl>
                                          <p:spTgt spid="109"/>
                                        </p:tgtEl>
                                      </p:cBhvr>
                                      <p:by x="105000" y="105000"/>
                                    </p:animScale>
                                  </p:childTnLst>
                                </p:cTn>
                              </p:par>
                              <p:par>
                                <p:cTn id="179" presetID="26" presetClass="emph" presetSubtype="0" dur="2000" repeatCount="indefinite" fill="hold" grpId="0" nodeType="withEffect">
                                  <p:stCondLst>
                                    <p:cond delay="1250"/>
                                  </p:stCondLst>
                                  <p:childTnLst>
                                    <p:animEffect transition="out" filter="fade">
                                      <p:cBhvr>
                                        <p:cTn id="180" dur="2000" tmFilter="0, 0; .2, .5; .8, .5; 1, 0"/>
                                        <p:tgtEl>
                                          <p:spTgt spid="110"/>
                                        </p:tgtEl>
                                      </p:cBhvr>
                                    </p:animEffect>
                                    <p:animScale>
                                      <p:cBhvr>
                                        <p:cTn id="181" dur="1000" autoRev="1" fill="hold"/>
                                        <p:tgtEl>
                                          <p:spTgt spid="110"/>
                                        </p:tgtEl>
                                      </p:cBhvr>
                                      <p:by x="105000" y="105000"/>
                                    </p:animScale>
                                  </p:childTnLst>
                                </p:cTn>
                              </p:par>
                              <p:par>
                                <p:cTn id="182" presetID="26" presetClass="emph" presetSubtype="0" dur="2000" repeatCount="indefinite" fill="hold" grpId="0" nodeType="withEffect">
                                  <p:stCondLst>
                                    <p:cond delay="1250"/>
                                  </p:stCondLst>
                                  <p:childTnLst>
                                    <p:animEffect transition="out" filter="fade">
                                      <p:cBhvr>
                                        <p:cTn id="183" dur="2000" tmFilter="0, 0; .2, .5; .8, .5; 1, 0"/>
                                        <p:tgtEl>
                                          <p:spTgt spid="111"/>
                                        </p:tgtEl>
                                      </p:cBhvr>
                                    </p:animEffect>
                                    <p:animScale>
                                      <p:cBhvr>
                                        <p:cTn id="184" dur="1000" autoRev="1" fill="hold"/>
                                        <p:tgtEl>
                                          <p:spTgt spid="111"/>
                                        </p:tgtEl>
                                      </p:cBhvr>
                                      <p:by x="105000" y="105000"/>
                                    </p:animScale>
                                  </p:childTnLst>
                                </p:cTn>
                              </p:par>
                              <p:par>
                                <p:cTn id="185" presetID="26" presetClass="emph" presetSubtype="0" dur="2000" repeatCount="indefinite" fill="hold" grpId="0" nodeType="withEffect">
                                  <p:stCondLst>
                                    <p:cond delay="1500"/>
                                  </p:stCondLst>
                                  <p:childTnLst>
                                    <p:animEffect transition="out" filter="fade">
                                      <p:cBhvr>
                                        <p:cTn id="186" dur="2000" tmFilter="0, 0; .2, .5; .8, .5; 1, 0"/>
                                        <p:tgtEl>
                                          <p:spTgt spid="112"/>
                                        </p:tgtEl>
                                      </p:cBhvr>
                                    </p:animEffect>
                                    <p:animScale>
                                      <p:cBhvr>
                                        <p:cTn id="187" dur="1000" autoRev="1" fill="hold"/>
                                        <p:tgtEl>
                                          <p:spTgt spid="112"/>
                                        </p:tgtEl>
                                      </p:cBhvr>
                                      <p:by x="105000" y="105000"/>
                                    </p:animScale>
                                  </p:childTnLst>
                                </p:cTn>
                              </p:par>
                              <p:par>
                                <p:cTn id="188" presetID="26" presetClass="emph" presetSubtype="0" dur="2000" repeatCount="indefinite" fill="hold" grpId="0" nodeType="withEffect">
                                  <p:stCondLst>
                                    <p:cond delay="1500"/>
                                  </p:stCondLst>
                                  <p:childTnLst>
                                    <p:animEffect transition="out" filter="fade">
                                      <p:cBhvr>
                                        <p:cTn id="189" dur="2000" tmFilter="0, 0; .2, .5; .8, .5; 1, 0"/>
                                        <p:tgtEl>
                                          <p:spTgt spid="113"/>
                                        </p:tgtEl>
                                      </p:cBhvr>
                                    </p:animEffect>
                                    <p:animScale>
                                      <p:cBhvr>
                                        <p:cTn id="190" dur="1000" autoRev="1" fill="hold"/>
                                        <p:tgtEl>
                                          <p:spTgt spid="113"/>
                                        </p:tgtEl>
                                      </p:cBhvr>
                                      <p:by x="105000" y="105000"/>
                                    </p:animScale>
                                  </p:childTnLst>
                                </p:cTn>
                              </p:par>
                              <p:par>
                                <p:cTn id="191" presetID="26" presetClass="emph" presetSubtype="0" dur="2000" repeatCount="indefinite" fill="hold" grpId="0" nodeType="withEffect">
                                  <p:stCondLst>
                                    <p:cond delay="1500"/>
                                  </p:stCondLst>
                                  <p:childTnLst>
                                    <p:animEffect transition="out" filter="fade">
                                      <p:cBhvr>
                                        <p:cTn id="192" dur="2000" tmFilter="0, 0; .2, .5; .8, .5; 1, 0"/>
                                        <p:tgtEl>
                                          <p:spTgt spid="114"/>
                                        </p:tgtEl>
                                      </p:cBhvr>
                                    </p:animEffect>
                                    <p:animScale>
                                      <p:cBhvr>
                                        <p:cTn id="193" dur="1000" autoRev="1" fill="hold"/>
                                        <p:tgtEl>
                                          <p:spTgt spid="114"/>
                                        </p:tgtEl>
                                      </p:cBhvr>
                                      <p:by x="105000" y="105000"/>
                                    </p:animScale>
                                  </p:childTnLst>
                                </p:cTn>
                              </p:par>
                              <p:par>
                                <p:cTn id="194" presetID="26" presetClass="emph" presetSubtype="0" dur="2000" repeatCount="indefinite" fill="hold" grpId="0" nodeType="withEffect">
                                  <p:stCondLst>
                                    <p:cond delay="1500"/>
                                  </p:stCondLst>
                                  <p:childTnLst>
                                    <p:animEffect transition="out" filter="fade">
                                      <p:cBhvr>
                                        <p:cTn id="195" dur="2000" tmFilter="0, 0; .2, .5; .8, .5; 1, 0"/>
                                        <p:tgtEl>
                                          <p:spTgt spid="115"/>
                                        </p:tgtEl>
                                      </p:cBhvr>
                                    </p:animEffect>
                                    <p:animScale>
                                      <p:cBhvr>
                                        <p:cTn id="196" dur="1000" autoRev="1" fill="hold"/>
                                        <p:tgtEl>
                                          <p:spTgt spid="115"/>
                                        </p:tgtEl>
                                      </p:cBhvr>
                                      <p:by x="105000" y="105000"/>
                                    </p:animScale>
                                  </p:childTnLst>
                                </p:cTn>
                              </p:par>
                              <p:par>
                                <p:cTn id="197" presetID="26" presetClass="emph" presetSubtype="0" dur="2000" repeatCount="indefinite" fill="hold" grpId="0" nodeType="withEffect">
                                  <p:stCondLst>
                                    <p:cond delay="1500"/>
                                  </p:stCondLst>
                                  <p:childTnLst>
                                    <p:animEffect transition="out" filter="fade">
                                      <p:cBhvr>
                                        <p:cTn id="198" dur="2000" tmFilter="0, 0; .2, .5; .8, .5; 1, 0"/>
                                        <p:tgtEl>
                                          <p:spTgt spid="116"/>
                                        </p:tgtEl>
                                      </p:cBhvr>
                                    </p:animEffect>
                                    <p:animScale>
                                      <p:cBhvr>
                                        <p:cTn id="199" dur="1000" autoRev="1" fill="hold"/>
                                        <p:tgtEl>
                                          <p:spTgt spid="116"/>
                                        </p:tgtEl>
                                      </p:cBhvr>
                                      <p:by x="105000" y="105000"/>
                                    </p:animScale>
                                  </p:childTnLst>
                                </p:cTn>
                              </p:par>
                              <p:par>
                                <p:cTn id="200" presetID="26" presetClass="emph" presetSubtype="0" dur="2000" repeatCount="indefinite" fill="hold" grpId="0" nodeType="withEffect">
                                  <p:stCondLst>
                                    <p:cond delay="1500"/>
                                  </p:stCondLst>
                                  <p:childTnLst>
                                    <p:animEffect transition="out" filter="fade">
                                      <p:cBhvr>
                                        <p:cTn id="201" dur="2000" tmFilter="0, 0; .2, .5; .8, .5; 1, 0"/>
                                        <p:tgtEl>
                                          <p:spTgt spid="117"/>
                                        </p:tgtEl>
                                      </p:cBhvr>
                                    </p:animEffect>
                                    <p:animScale>
                                      <p:cBhvr>
                                        <p:cTn id="202" dur="1000" autoRev="1" fill="hold"/>
                                        <p:tgtEl>
                                          <p:spTgt spid="117"/>
                                        </p:tgtEl>
                                      </p:cBhvr>
                                      <p:by x="105000" y="105000"/>
                                    </p:animScale>
                                  </p:childTnLst>
                                </p:cTn>
                              </p:par>
                              <p:par>
                                <p:cTn id="203" presetID="26" presetClass="emph" presetSubtype="0" dur="2000" repeatCount="indefinite" fill="hold" grpId="0" nodeType="withEffect">
                                  <p:stCondLst>
                                    <p:cond delay="1500"/>
                                  </p:stCondLst>
                                  <p:childTnLst>
                                    <p:animEffect transition="out" filter="fade">
                                      <p:cBhvr>
                                        <p:cTn id="204" dur="2000" tmFilter="0, 0; .2, .5; .8, .5; 1, 0"/>
                                        <p:tgtEl>
                                          <p:spTgt spid="118"/>
                                        </p:tgtEl>
                                      </p:cBhvr>
                                    </p:animEffect>
                                    <p:animScale>
                                      <p:cBhvr>
                                        <p:cTn id="205" dur="1000" autoRev="1" fill="hold"/>
                                        <p:tgtEl>
                                          <p:spTgt spid="118"/>
                                        </p:tgtEl>
                                      </p:cBhvr>
                                      <p:by x="105000" y="105000"/>
                                    </p:animScale>
                                  </p:childTnLst>
                                </p:cTn>
                              </p:par>
                              <p:par>
                                <p:cTn id="206" presetID="26" presetClass="emph" presetSubtype="0" dur="2000" repeatCount="indefinite" fill="hold" grpId="0" nodeType="withEffect">
                                  <p:stCondLst>
                                    <p:cond delay="1500"/>
                                  </p:stCondLst>
                                  <p:childTnLst>
                                    <p:animEffect transition="out" filter="fade">
                                      <p:cBhvr>
                                        <p:cTn id="207" dur="2000" tmFilter="0, 0; .2, .5; .8, .5; 1, 0"/>
                                        <p:tgtEl>
                                          <p:spTgt spid="119"/>
                                        </p:tgtEl>
                                      </p:cBhvr>
                                    </p:animEffect>
                                    <p:animScale>
                                      <p:cBhvr>
                                        <p:cTn id="208" dur="1000" autoRev="1" fill="hold"/>
                                        <p:tgtEl>
                                          <p:spTgt spid="119"/>
                                        </p:tgtEl>
                                      </p:cBhvr>
                                      <p:by x="105000" y="105000"/>
                                    </p:animScale>
                                  </p:childTnLst>
                                </p:cTn>
                              </p:par>
                              <p:par>
                                <p:cTn id="209" presetID="26" presetClass="emph" presetSubtype="0" dur="2000" repeatCount="indefinite" fill="hold" grpId="0" nodeType="withEffect">
                                  <p:stCondLst>
                                    <p:cond delay="1500"/>
                                  </p:stCondLst>
                                  <p:childTnLst>
                                    <p:animEffect transition="out" filter="fade">
                                      <p:cBhvr>
                                        <p:cTn id="210" dur="2000" tmFilter="0, 0; .2, .5; .8, .5; 1, 0"/>
                                        <p:tgtEl>
                                          <p:spTgt spid="120"/>
                                        </p:tgtEl>
                                      </p:cBhvr>
                                    </p:animEffect>
                                    <p:animScale>
                                      <p:cBhvr>
                                        <p:cTn id="211" dur="1000" autoRev="1" fill="hold"/>
                                        <p:tgtEl>
                                          <p:spTgt spid="120"/>
                                        </p:tgtEl>
                                      </p:cBhvr>
                                      <p:by x="105000" y="105000"/>
                                    </p:animScale>
                                  </p:childTnLst>
                                </p:cTn>
                              </p:par>
                              <p:par>
                                <p:cTn id="212" presetID="26" presetClass="emph" presetSubtype="0" dur="2000" repeatCount="indefinite" fill="hold" grpId="0" nodeType="withEffect">
                                  <p:stCondLst>
                                    <p:cond delay="1500"/>
                                  </p:stCondLst>
                                  <p:childTnLst>
                                    <p:animEffect transition="out" filter="fade">
                                      <p:cBhvr>
                                        <p:cTn id="213" dur="2000" tmFilter="0, 0; .2, .5; .8, .5; 1, 0"/>
                                        <p:tgtEl>
                                          <p:spTgt spid="121"/>
                                        </p:tgtEl>
                                      </p:cBhvr>
                                    </p:animEffect>
                                    <p:animScale>
                                      <p:cBhvr>
                                        <p:cTn id="214" dur="1000" autoRev="1" fill="hold"/>
                                        <p:tgtEl>
                                          <p:spTgt spid="121"/>
                                        </p:tgtEl>
                                      </p:cBhvr>
                                      <p:by x="105000" y="105000"/>
                                    </p:animScale>
                                  </p:childTnLst>
                                </p:cTn>
                              </p:par>
                              <p:par>
                                <p:cTn id="215" presetID="26" presetClass="emph" presetSubtype="0" dur="2000" repeatCount="indefinite" fill="hold" grpId="0" nodeType="withEffect">
                                  <p:stCondLst>
                                    <p:cond delay="1500"/>
                                  </p:stCondLst>
                                  <p:childTnLst>
                                    <p:animEffect transition="out" filter="fade">
                                      <p:cBhvr>
                                        <p:cTn id="216" dur="2000" tmFilter="0, 0; .2, .5; .8, .5; 1, 0"/>
                                        <p:tgtEl>
                                          <p:spTgt spid="122"/>
                                        </p:tgtEl>
                                      </p:cBhvr>
                                    </p:animEffect>
                                    <p:animScale>
                                      <p:cBhvr>
                                        <p:cTn id="217" dur="1000" autoRev="1" fill="hold"/>
                                        <p:tgtEl>
                                          <p:spTgt spid="122"/>
                                        </p:tgtEl>
                                      </p:cBhvr>
                                      <p:by x="105000" y="105000"/>
                                    </p:animScale>
                                  </p:childTnLst>
                                </p:cTn>
                              </p:par>
                              <p:par>
                                <p:cTn id="218" presetID="26" presetClass="emph" presetSubtype="0" dur="2000" repeatCount="indefinite" fill="hold" grpId="0" nodeType="withEffect">
                                  <p:stCondLst>
                                    <p:cond delay="1500"/>
                                  </p:stCondLst>
                                  <p:childTnLst>
                                    <p:animEffect transition="out" filter="fade">
                                      <p:cBhvr>
                                        <p:cTn id="219" dur="2000" tmFilter="0, 0; .2, .5; .8, .5; 1, 0"/>
                                        <p:tgtEl>
                                          <p:spTgt spid="123"/>
                                        </p:tgtEl>
                                      </p:cBhvr>
                                    </p:animEffect>
                                    <p:animScale>
                                      <p:cBhvr>
                                        <p:cTn id="220" dur="1000" autoRev="1" fill="hold"/>
                                        <p:tgtEl>
                                          <p:spTgt spid="123"/>
                                        </p:tgtEl>
                                      </p:cBhvr>
                                      <p:by x="105000" y="105000"/>
                                    </p:animScale>
                                  </p:childTnLst>
                                </p:cTn>
                              </p:par>
                              <p:par>
                                <p:cTn id="221" presetID="26" presetClass="emph" presetSubtype="0" dur="2000" repeatCount="indefinite" fill="hold" grpId="0" nodeType="withEffect">
                                  <p:stCondLst>
                                    <p:cond delay="1500"/>
                                  </p:stCondLst>
                                  <p:childTnLst>
                                    <p:animEffect transition="out" filter="fade">
                                      <p:cBhvr>
                                        <p:cTn id="222" dur="2000" tmFilter="0, 0; .2, .5; .8, .5; 1, 0"/>
                                        <p:tgtEl>
                                          <p:spTgt spid="124"/>
                                        </p:tgtEl>
                                      </p:cBhvr>
                                    </p:animEffect>
                                    <p:animScale>
                                      <p:cBhvr>
                                        <p:cTn id="223" dur="1000" autoRev="1" fill="hold"/>
                                        <p:tgtEl>
                                          <p:spTgt spid="124"/>
                                        </p:tgtEl>
                                      </p:cBhvr>
                                      <p:by x="105000" y="105000"/>
                                    </p:animScale>
                                  </p:childTnLst>
                                </p:cTn>
                              </p:par>
                              <p:par>
                                <p:cTn id="224" presetID="26" presetClass="emph" presetSubtype="0" dur="2000" repeatCount="indefinite" fill="hold" grpId="0" nodeType="withEffect">
                                  <p:stCondLst>
                                    <p:cond delay="1500"/>
                                  </p:stCondLst>
                                  <p:childTnLst>
                                    <p:animEffect transition="out" filter="fade">
                                      <p:cBhvr>
                                        <p:cTn id="225" dur="2000" tmFilter="0, 0; .2, .5; .8, .5; 1, 0"/>
                                        <p:tgtEl>
                                          <p:spTgt spid="125"/>
                                        </p:tgtEl>
                                      </p:cBhvr>
                                    </p:animEffect>
                                    <p:animScale>
                                      <p:cBhvr>
                                        <p:cTn id="226" dur="1000" autoRev="1" fill="hold"/>
                                        <p:tgtEl>
                                          <p:spTgt spid="125"/>
                                        </p:tgtEl>
                                      </p:cBhvr>
                                      <p:by x="105000" y="105000"/>
                                    </p:animScale>
                                  </p:childTnLst>
                                </p:cTn>
                              </p:par>
                              <p:par>
                                <p:cTn id="227" presetID="26" presetClass="emph" presetSubtype="0" dur="2000" repeatCount="indefinite" fill="hold" grpId="0" nodeType="withEffect">
                                  <p:stCondLst>
                                    <p:cond delay="1750"/>
                                  </p:stCondLst>
                                  <p:childTnLst>
                                    <p:animEffect transition="out" filter="fade">
                                      <p:cBhvr>
                                        <p:cTn id="228" dur="2000" tmFilter="0, 0; .2, .5; .8, .5; 1, 0"/>
                                        <p:tgtEl>
                                          <p:spTgt spid="126"/>
                                        </p:tgtEl>
                                      </p:cBhvr>
                                    </p:animEffect>
                                    <p:animScale>
                                      <p:cBhvr>
                                        <p:cTn id="229" dur="1000" autoRev="1" fill="hold"/>
                                        <p:tgtEl>
                                          <p:spTgt spid="126"/>
                                        </p:tgtEl>
                                      </p:cBhvr>
                                      <p:by x="105000" y="105000"/>
                                    </p:animScale>
                                  </p:childTnLst>
                                </p:cTn>
                              </p:par>
                              <p:par>
                                <p:cTn id="230" presetID="26" presetClass="emph" presetSubtype="0" dur="2000" repeatCount="indefinite" fill="hold" grpId="0" nodeType="withEffect">
                                  <p:stCondLst>
                                    <p:cond delay="1750"/>
                                  </p:stCondLst>
                                  <p:childTnLst>
                                    <p:animEffect transition="out" filter="fade">
                                      <p:cBhvr>
                                        <p:cTn id="231" dur="2000" tmFilter="0, 0; .2, .5; .8, .5; 1, 0"/>
                                        <p:tgtEl>
                                          <p:spTgt spid="127"/>
                                        </p:tgtEl>
                                      </p:cBhvr>
                                    </p:animEffect>
                                    <p:animScale>
                                      <p:cBhvr>
                                        <p:cTn id="232" dur="1000" autoRev="1" fill="hold"/>
                                        <p:tgtEl>
                                          <p:spTgt spid="127"/>
                                        </p:tgtEl>
                                      </p:cBhvr>
                                      <p:by x="105000" y="105000"/>
                                    </p:animScale>
                                  </p:childTnLst>
                                </p:cTn>
                              </p:par>
                              <p:par>
                                <p:cTn id="233" presetID="26" presetClass="emph" presetSubtype="0" dur="2000" repeatCount="indefinite" fill="hold" grpId="0" nodeType="withEffect">
                                  <p:stCondLst>
                                    <p:cond delay="1750"/>
                                  </p:stCondLst>
                                  <p:childTnLst>
                                    <p:animEffect transition="out" filter="fade">
                                      <p:cBhvr>
                                        <p:cTn id="234" dur="2000" tmFilter="0, 0; .2, .5; .8, .5; 1, 0"/>
                                        <p:tgtEl>
                                          <p:spTgt spid="128"/>
                                        </p:tgtEl>
                                      </p:cBhvr>
                                    </p:animEffect>
                                    <p:animScale>
                                      <p:cBhvr>
                                        <p:cTn id="235" dur="1000" autoRev="1" fill="hold"/>
                                        <p:tgtEl>
                                          <p:spTgt spid="128"/>
                                        </p:tgtEl>
                                      </p:cBhvr>
                                      <p:by x="105000" y="105000"/>
                                    </p:animScale>
                                  </p:childTnLst>
                                </p:cTn>
                              </p:par>
                              <p:par>
                                <p:cTn id="236" presetID="26" presetClass="emph" presetSubtype="0" dur="2000" repeatCount="indefinite" fill="hold" grpId="0" nodeType="withEffect">
                                  <p:stCondLst>
                                    <p:cond delay="1750"/>
                                  </p:stCondLst>
                                  <p:childTnLst>
                                    <p:animEffect transition="out" filter="fade">
                                      <p:cBhvr>
                                        <p:cTn id="237" dur="2000" tmFilter="0, 0; .2, .5; .8, .5; 1, 0"/>
                                        <p:tgtEl>
                                          <p:spTgt spid="129"/>
                                        </p:tgtEl>
                                      </p:cBhvr>
                                    </p:animEffect>
                                    <p:animScale>
                                      <p:cBhvr>
                                        <p:cTn id="238" dur="1000" autoRev="1" fill="hold"/>
                                        <p:tgtEl>
                                          <p:spTgt spid="129"/>
                                        </p:tgtEl>
                                      </p:cBhvr>
                                      <p:by x="105000" y="105000"/>
                                    </p:animScale>
                                  </p:childTnLst>
                                </p:cTn>
                              </p:par>
                              <p:par>
                                <p:cTn id="239" presetID="26" presetClass="emph" presetSubtype="0" dur="2000" repeatCount="indefinite" fill="hold" grpId="0" nodeType="withEffect">
                                  <p:stCondLst>
                                    <p:cond delay="1750"/>
                                  </p:stCondLst>
                                  <p:childTnLst>
                                    <p:animEffect transition="out" filter="fade">
                                      <p:cBhvr>
                                        <p:cTn id="240" dur="2000" tmFilter="0, 0; .2, .5; .8, .5; 1, 0"/>
                                        <p:tgtEl>
                                          <p:spTgt spid="130"/>
                                        </p:tgtEl>
                                      </p:cBhvr>
                                    </p:animEffect>
                                    <p:animScale>
                                      <p:cBhvr>
                                        <p:cTn id="241" dur="1000" autoRev="1" fill="hold"/>
                                        <p:tgtEl>
                                          <p:spTgt spid="130"/>
                                        </p:tgtEl>
                                      </p:cBhvr>
                                      <p:by x="105000" y="105000"/>
                                    </p:animScale>
                                  </p:childTnLst>
                                </p:cTn>
                              </p:par>
                              <p:par>
                                <p:cTn id="242" presetID="26" presetClass="emph" presetSubtype="0" dur="2000" repeatCount="indefinite" fill="hold" grpId="0" nodeType="withEffect">
                                  <p:stCondLst>
                                    <p:cond delay="1750"/>
                                  </p:stCondLst>
                                  <p:childTnLst>
                                    <p:animEffect transition="out" filter="fade">
                                      <p:cBhvr>
                                        <p:cTn id="243" dur="2000" tmFilter="0, 0; .2, .5; .8, .5; 1, 0"/>
                                        <p:tgtEl>
                                          <p:spTgt spid="131"/>
                                        </p:tgtEl>
                                      </p:cBhvr>
                                    </p:animEffect>
                                    <p:animScale>
                                      <p:cBhvr>
                                        <p:cTn id="244" dur="1000" autoRev="1" fill="hold"/>
                                        <p:tgtEl>
                                          <p:spTgt spid="131"/>
                                        </p:tgtEl>
                                      </p:cBhvr>
                                      <p:by x="105000" y="105000"/>
                                    </p:animScale>
                                  </p:childTnLst>
                                </p:cTn>
                              </p:par>
                              <p:par>
                                <p:cTn id="245" presetID="26" presetClass="emph" presetSubtype="0" dur="2000" repeatCount="indefinite" fill="hold" grpId="0" nodeType="withEffect">
                                  <p:stCondLst>
                                    <p:cond delay="1750"/>
                                  </p:stCondLst>
                                  <p:childTnLst>
                                    <p:animEffect transition="out" filter="fade">
                                      <p:cBhvr>
                                        <p:cTn id="246" dur="2000" tmFilter="0, 0; .2, .5; .8, .5; 1, 0"/>
                                        <p:tgtEl>
                                          <p:spTgt spid="132"/>
                                        </p:tgtEl>
                                      </p:cBhvr>
                                    </p:animEffect>
                                    <p:animScale>
                                      <p:cBhvr>
                                        <p:cTn id="247" dur="1000" autoRev="1" fill="hold"/>
                                        <p:tgtEl>
                                          <p:spTgt spid="132"/>
                                        </p:tgtEl>
                                      </p:cBhvr>
                                      <p:by x="105000" y="105000"/>
                                    </p:animScale>
                                  </p:childTnLst>
                                </p:cTn>
                              </p:par>
                              <p:par>
                                <p:cTn id="248" presetID="26" presetClass="emph" presetSubtype="0" dur="2000" repeatCount="indefinite" fill="hold" grpId="0" nodeType="withEffect">
                                  <p:stCondLst>
                                    <p:cond delay="1750"/>
                                  </p:stCondLst>
                                  <p:childTnLst>
                                    <p:animEffect transition="out" filter="fade">
                                      <p:cBhvr>
                                        <p:cTn id="249" dur="2000" tmFilter="0, 0; .2, .5; .8, .5; 1, 0"/>
                                        <p:tgtEl>
                                          <p:spTgt spid="133"/>
                                        </p:tgtEl>
                                      </p:cBhvr>
                                    </p:animEffect>
                                    <p:animScale>
                                      <p:cBhvr>
                                        <p:cTn id="250" dur="1000" autoRev="1" fill="hold"/>
                                        <p:tgtEl>
                                          <p:spTgt spid="133"/>
                                        </p:tgtEl>
                                      </p:cBhvr>
                                      <p:by x="105000" y="105000"/>
                                    </p:animScale>
                                  </p:childTnLst>
                                </p:cTn>
                              </p:par>
                              <p:par>
                                <p:cTn id="251" presetID="26" presetClass="emph" presetSubtype="0" dur="2000" repeatCount="indefinite" fill="hold" grpId="0" nodeType="withEffect">
                                  <p:stCondLst>
                                    <p:cond delay="1750"/>
                                  </p:stCondLst>
                                  <p:childTnLst>
                                    <p:animEffect transition="out" filter="fade">
                                      <p:cBhvr>
                                        <p:cTn id="252" dur="2000" tmFilter="0, 0; .2, .5; .8, .5; 1, 0"/>
                                        <p:tgtEl>
                                          <p:spTgt spid="134"/>
                                        </p:tgtEl>
                                      </p:cBhvr>
                                    </p:animEffect>
                                    <p:animScale>
                                      <p:cBhvr>
                                        <p:cTn id="253" dur="1000" autoRev="1" fill="hold"/>
                                        <p:tgtEl>
                                          <p:spTgt spid="134"/>
                                        </p:tgtEl>
                                      </p:cBhvr>
                                      <p:by x="105000" y="105000"/>
                                    </p:animScale>
                                  </p:childTnLst>
                                </p:cTn>
                              </p:par>
                              <p:par>
                                <p:cTn id="254" presetID="26" presetClass="emph" presetSubtype="0" dur="2000" repeatCount="indefinite" fill="hold" grpId="0" nodeType="withEffect">
                                  <p:stCondLst>
                                    <p:cond delay="1750"/>
                                  </p:stCondLst>
                                  <p:childTnLst>
                                    <p:animEffect transition="out" filter="fade">
                                      <p:cBhvr>
                                        <p:cTn id="255" dur="2000" tmFilter="0, 0; .2, .5; .8, .5; 1, 0"/>
                                        <p:tgtEl>
                                          <p:spTgt spid="135"/>
                                        </p:tgtEl>
                                      </p:cBhvr>
                                    </p:animEffect>
                                    <p:animScale>
                                      <p:cBhvr>
                                        <p:cTn id="256" dur="1000" autoRev="1" fill="hold"/>
                                        <p:tgtEl>
                                          <p:spTgt spid="135"/>
                                        </p:tgtEl>
                                      </p:cBhvr>
                                      <p:by x="105000" y="105000"/>
                                    </p:animScale>
                                  </p:childTnLst>
                                </p:cTn>
                              </p:par>
                              <p:par>
                                <p:cTn id="257" presetID="26" presetClass="emph" presetSubtype="0" dur="2000" repeatCount="indefinite" fill="hold" grpId="0" nodeType="withEffect">
                                  <p:stCondLst>
                                    <p:cond delay="1750"/>
                                  </p:stCondLst>
                                  <p:childTnLst>
                                    <p:animEffect transition="out" filter="fade">
                                      <p:cBhvr>
                                        <p:cTn id="258" dur="2000" tmFilter="0, 0; .2, .5; .8, .5; 1, 0"/>
                                        <p:tgtEl>
                                          <p:spTgt spid="136"/>
                                        </p:tgtEl>
                                      </p:cBhvr>
                                    </p:animEffect>
                                    <p:animScale>
                                      <p:cBhvr>
                                        <p:cTn id="259" dur="1000" autoRev="1" fill="hold"/>
                                        <p:tgtEl>
                                          <p:spTgt spid="136"/>
                                        </p:tgtEl>
                                      </p:cBhvr>
                                      <p:by x="105000" y="105000"/>
                                    </p:animScale>
                                  </p:childTnLst>
                                </p:cTn>
                              </p:par>
                              <p:par>
                                <p:cTn id="260" presetID="26" presetClass="emph" presetSubtype="0" dur="2000" repeatCount="indefinite" fill="hold" grpId="0" nodeType="withEffect">
                                  <p:stCondLst>
                                    <p:cond delay="1750"/>
                                  </p:stCondLst>
                                  <p:childTnLst>
                                    <p:animEffect transition="out" filter="fade">
                                      <p:cBhvr>
                                        <p:cTn id="261" dur="2000" tmFilter="0, 0; .2, .5; .8, .5; 1, 0"/>
                                        <p:tgtEl>
                                          <p:spTgt spid="137"/>
                                        </p:tgtEl>
                                      </p:cBhvr>
                                    </p:animEffect>
                                    <p:animScale>
                                      <p:cBhvr>
                                        <p:cTn id="262" dur="1000" autoRev="1" fill="hold"/>
                                        <p:tgtEl>
                                          <p:spTgt spid="137"/>
                                        </p:tgtEl>
                                      </p:cBhvr>
                                      <p:by x="105000" y="105000"/>
                                    </p:animScale>
                                  </p:childTnLst>
                                </p:cTn>
                              </p:par>
                              <p:par>
                                <p:cTn id="263" presetID="26" presetClass="emph" presetSubtype="0" dur="2000" repeatCount="indefinite" fill="hold" grpId="0" nodeType="withEffect">
                                  <p:stCondLst>
                                    <p:cond delay="1750"/>
                                  </p:stCondLst>
                                  <p:childTnLst>
                                    <p:animEffect transition="out" filter="fade">
                                      <p:cBhvr>
                                        <p:cTn id="264" dur="2000" tmFilter="0, 0; .2, .5; .8, .5; 1, 0"/>
                                        <p:tgtEl>
                                          <p:spTgt spid="138"/>
                                        </p:tgtEl>
                                      </p:cBhvr>
                                    </p:animEffect>
                                    <p:animScale>
                                      <p:cBhvr>
                                        <p:cTn id="265" dur="1000" autoRev="1" fill="hold"/>
                                        <p:tgtEl>
                                          <p:spTgt spid="138"/>
                                        </p:tgtEl>
                                      </p:cBhvr>
                                      <p:by x="105000" y="105000"/>
                                    </p:animScale>
                                  </p:childTnLst>
                                </p:cTn>
                              </p:par>
                              <p:par>
                                <p:cTn id="266" presetID="26" presetClass="emph" presetSubtype="0" dur="2000" repeatCount="indefinite" fill="hold" grpId="0" nodeType="withEffect">
                                  <p:stCondLst>
                                    <p:cond delay="1750"/>
                                  </p:stCondLst>
                                  <p:childTnLst>
                                    <p:animEffect transition="out" filter="fade">
                                      <p:cBhvr>
                                        <p:cTn id="267" dur="2000" tmFilter="0, 0; .2, .5; .8, .5; 1, 0"/>
                                        <p:tgtEl>
                                          <p:spTgt spid="139"/>
                                        </p:tgtEl>
                                      </p:cBhvr>
                                    </p:animEffect>
                                    <p:animScale>
                                      <p:cBhvr>
                                        <p:cTn id="268" dur="1000" autoRev="1" fill="hold"/>
                                        <p:tgtEl>
                                          <p:spTgt spid="139"/>
                                        </p:tgtEl>
                                      </p:cBhvr>
                                      <p:by x="105000" y="105000"/>
                                    </p:animScale>
                                  </p:childTnLst>
                                </p:cTn>
                              </p:par>
                              <p:par>
                                <p:cTn id="269" presetID="26" presetClass="emph" presetSubtype="0" dur="2000" repeatCount="indefinite" fill="hold" grpId="0" nodeType="withEffect">
                                  <p:stCondLst>
                                    <p:cond delay="2000"/>
                                  </p:stCondLst>
                                  <p:childTnLst>
                                    <p:animEffect transition="out" filter="fade">
                                      <p:cBhvr>
                                        <p:cTn id="270" dur="2000" tmFilter="0, 0; .2, .5; .8, .5; 1, 0"/>
                                        <p:tgtEl>
                                          <p:spTgt spid="140"/>
                                        </p:tgtEl>
                                      </p:cBhvr>
                                    </p:animEffect>
                                    <p:animScale>
                                      <p:cBhvr>
                                        <p:cTn id="271" dur="1000" autoRev="1" fill="hold"/>
                                        <p:tgtEl>
                                          <p:spTgt spid="140"/>
                                        </p:tgtEl>
                                      </p:cBhvr>
                                      <p:by x="105000" y="105000"/>
                                    </p:animScale>
                                  </p:childTnLst>
                                </p:cTn>
                              </p:par>
                              <p:par>
                                <p:cTn id="272" presetID="26" presetClass="emph" presetSubtype="0" dur="2000" repeatCount="indefinite" fill="hold" grpId="0" nodeType="withEffect">
                                  <p:stCondLst>
                                    <p:cond delay="2000"/>
                                  </p:stCondLst>
                                  <p:childTnLst>
                                    <p:animEffect transition="out" filter="fade">
                                      <p:cBhvr>
                                        <p:cTn id="273" dur="2000" tmFilter="0, 0; .2, .5; .8, .5; 1, 0"/>
                                        <p:tgtEl>
                                          <p:spTgt spid="141"/>
                                        </p:tgtEl>
                                      </p:cBhvr>
                                    </p:animEffect>
                                    <p:animScale>
                                      <p:cBhvr>
                                        <p:cTn id="274" dur="1000" autoRev="1" fill="hold"/>
                                        <p:tgtEl>
                                          <p:spTgt spid="141"/>
                                        </p:tgtEl>
                                      </p:cBhvr>
                                      <p:by x="105000" y="105000"/>
                                    </p:animScale>
                                  </p:childTnLst>
                                </p:cTn>
                              </p:par>
                              <p:par>
                                <p:cTn id="275" presetID="26" presetClass="emph" presetSubtype="0" dur="2000" repeatCount="indefinite" fill="hold" grpId="0" nodeType="withEffect">
                                  <p:stCondLst>
                                    <p:cond delay="2000"/>
                                  </p:stCondLst>
                                  <p:childTnLst>
                                    <p:animEffect transition="out" filter="fade">
                                      <p:cBhvr>
                                        <p:cTn id="276" dur="2000" tmFilter="0, 0; .2, .5; .8, .5; 1, 0"/>
                                        <p:tgtEl>
                                          <p:spTgt spid="142"/>
                                        </p:tgtEl>
                                      </p:cBhvr>
                                    </p:animEffect>
                                    <p:animScale>
                                      <p:cBhvr>
                                        <p:cTn id="277" dur="1000" autoRev="1" fill="hold"/>
                                        <p:tgtEl>
                                          <p:spTgt spid="142"/>
                                        </p:tgtEl>
                                      </p:cBhvr>
                                      <p:by x="105000" y="105000"/>
                                    </p:animScale>
                                  </p:childTnLst>
                                </p:cTn>
                              </p:par>
                              <p:par>
                                <p:cTn id="278" presetID="26" presetClass="emph" presetSubtype="0" dur="2000" repeatCount="indefinite" fill="hold" grpId="0" nodeType="withEffect">
                                  <p:stCondLst>
                                    <p:cond delay="2000"/>
                                  </p:stCondLst>
                                  <p:childTnLst>
                                    <p:animEffect transition="out" filter="fade">
                                      <p:cBhvr>
                                        <p:cTn id="279" dur="2000" tmFilter="0, 0; .2, .5; .8, .5; 1, 0"/>
                                        <p:tgtEl>
                                          <p:spTgt spid="143"/>
                                        </p:tgtEl>
                                      </p:cBhvr>
                                    </p:animEffect>
                                    <p:animScale>
                                      <p:cBhvr>
                                        <p:cTn id="280" dur="1000" autoRev="1" fill="hold"/>
                                        <p:tgtEl>
                                          <p:spTgt spid="143"/>
                                        </p:tgtEl>
                                      </p:cBhvr>
                                      <p:by x="105000" y="105000"/>
                                    </p:animScale>
                                  </p:childTnLst>
                                </p:cTn>
                              </p:par>
                              <p:par>
                                <p:cTn id="281" presetID="26" presetClass="emph" presetSubtype="0" dur="2000" repeatCount="indefinite" fill="hold" grpId="0" nodeType="withEffect">
                                  <p:stCondLst>
                                    <p:cond delay="2000"/>
                                  </p:stCondLst>
                                  <p:childTnLst>
                                    <p:animEffect transition="out" filter="fade">
                                      <p:cBhvr>
                                        <p:cTn id="282" dur="2000" tmFilter="0, 0; .2, .5; .8, .5; 1, 0"/>
                                        <p:tgtEl>
                                          <p:spTgt spid="144"/>
                                        </p:tgtEl>
                                      </p:cBhvr>
                                    </p:animEffect>
                                    <p:animScale>
                                      <p:cBhvr>
                                        <p:cTn id="283" dur="1000" autoRev="1" fill="hold"/>
                                        <p:tgtEl>
                                          <p:spTgt spid="144"/>
                                        </p:tgtEl>
                                      </p:cBhvr>
                                      <p:by x="105000" y="105000"/>
                                    </p:animScale>
                                  </p:childTnLst>
                                </p:cTn>
                              </p:par>
                              <p:par>
                                <p:cTn id="284" presetID="26" presetClass="emph" presetSubtype="0" dur="2000" repeatCount="indefinite" fill="hold" grpId="0" nodeType="withEffect">
                                  <p:stCondLst>
                                    <p:cond delay="2000"/>
                                  </p:stCondLst>
                                  <p:childTnLst>
                                    <p:animEffect transition="out" filter="fade">
                                      <p:cBhvr>
                                        <p:cTn id="285" dur="2000" tmFilter="0, 0; .2, .5; .8, .5; 1, 0"/>
                                        <p:tgtEl>
                                          <p:spTgt spid="145"/>
                                        </p:tgtEl>
                                      </p:cBhvr>
                                    </p:animEffect>
                                    <p:animScale>
                                      <p:cBhvr>
                                        <p:cTn id="286" dur="1000" autoRev="1" fill="hold"/>
                                        <p:tgtEl>
                                          <p:spTgt spid="145"/>
                                        </p:tgtEl>
                                      </p:cBhvr>
                                      <p:by x="105000" y="105000"/>
                                    </p:animScale>
                                  </p:childTnLst>
                                </p:cTn>
                              </p:par>
                              <p:par>
                                <p:cTn id="287" presetID="26" presetClass="emph" presetSubtype="0" dur="2000" repeatCount="indefinite" fill="hold" grpId="0" nodeType="withEffect">
                                  <p:stCondLst>
                                    <p:cond delay="2000"/>
                                  </p:stCondLst>
                                  <p:childTnLst>
                                    <p:animEffect transition="out" filter="fade">
                                      <p:cBhvr>
                                        <p:cTn id="288" dur="2000" tmFilter="0, 0; .2, .5; .8, .5; 1, 0"/>
                                        <p:tgtEl>
                                          <p:spTgt spid="146"/>
                                        </p:tgtEl>
                                      </p:cBhvr>
                                    </p:animEffect>
                                    <p:animScale>
                                      <p:cBhvr>
                                        <p:cTn id="289" dur="1000" autoRev="1" fill="hold"/>
                                        <p:tgtEl>
                                          <p:spTgt spid="146"/>
                                        </p:tgtEl>
                                      </p:cBhvr>
                                      <p:by x="105000" y="105000"/>
                                    </p:animScale>
                                  </p:childTnLst>
                                </p:cTn>
                              </p:par>
                              <p:par>
                                <p:cTn id="290" presetID="26" presetClass="emph" presetSubtype="0" dur="2000" repeatCount="indefinite" fill="hold" grpId="0" nodeType="withEffect">
                                  <p:stCondLst>
                                    <p:cond delay="2000"/>
                                  </p:stCondLst>
                                  <p:childTnLst>
                                    <p:animEffect transition="out" filter="fade">
                                      <p:cBhvr>
                                        <p:cTn id="291" dur="2000" tmFilter="0, 0; .2, .5; .8, .5; 1, 0"/>
                                        <p:tgtEl>
                                          <p:spTgt spid="147"/>
                                        </p:tgtEl>
                                      </p:cBhvr>
                                    </p:animEffect>
                                    <p:animScale>
                                      <p:cBhvr>
                                        <p:cTn id="292" dur="1000" autoRev="1" fill="hold"/>
                                        <p:tgtEl>
                                          <p:spTgt spid="147"/>
                                        </p:tgtEl>
                                      </p:cBhvr>
                                      <p:by x="105000" y="105000"/>
                                    </p:animScale>
                                  </p:childTnLst>
                                </p:cTn>
                              </p:par>
                              <p:par>
                                <p:cTn id="293" presetID="26" presetClass="emph" presetSubtype="0" dur="2000" repeatCount="indefinite" fill="hold" grpId="0" nodeType="withEffect">
                                  <p:stCondLst>
                                    <p:cond delay="2000"/>
                                  </p:stCondLst>
                                  <p:childTnLst>
                                    <p:animEffect transition="out" filter="fade">
                                      <p:cBhvr>
                                        <p:cTn id="294" dur="2000" tmFilter="0, 0; .2, .5; .8, .5; 1, 0"/>
                                        <p:tgtEl>
                                          <p:spTgt spid="148"/>
                                        </p:tgtEl>
                                      </p:cBhvr>
                                    </p:animEffect>
                                    <p:animScale>
                                      <p:cBhvr>
                                        <p:cTn id="295" dur="1000" autoRev="1" fill="hold"/>
                                        <p:tgtEl>
                                          <p:spTgt spid="148"/>
                                        </p:tgtEl>
                                      </p:cBhvr>
                                      <p:by x="105000" y="105000"/>
                                    </p:animScale>
                                  </p:childTnLst>
                                </p:cTn>
                              </p:par>
                              <p:par>
                                <p:cTn id="296" presetID="26" presetClass="emph" presetSubtype="0" dur="2000" repeatCount="indefinite" fill="hold" grpId="0" nodeType="withEffect">
                                  <p:stCondLst>
                                    <p:cond delay="2000"/>
                                  </p:stCondLst>
                                  <p:childTnLst>
                                    <p:animEffect transition="out" filter="fade">
                                      <p:cBhvr>
                                        <p:cTn id="297" dur="2000" tmFilter="0, 0; .2, .5; .8, .5; 1, 0"/>
                                        <p:tgtEl>
                                          <p:spTgt spid="149"/>
                                        </p:tgtEl>
                                      </p:cBhvr>
                                    </p:animEffect>
                                    <p:animScale>
                                      <p:cBhvr>
                                        <p:cTn id="298" dur="1000" autoRev="1" fill="hold"/>
                                        <p:tgtEl>
                                          <p:spTgt spid="149"/>
                                        </p:tgtEl>
                                      </p:cBhvr>
                                      <p:by x="105000" y="105000"/>
                                    </p:animScale>
                                  </p:childTnLst>
                                </p:cTn>
                              </p:par>
                              <p:par>
                                <p:cTn id="299" presetID="26" presetClass="emph" presetSubtype="0" dur="2000" repeatCount="indefinite" fill="hold" grpId="0" nodeType="withEffect">
                                  <p:stCondLst>
                                    <p:cond delay="2000"/>
                                  </p:stCondLst>
                                  <p:childTnLst>
                                    <p:animEffect transition="out" filter="fade">
                                      <p:cBhvr>
                                        <p:cTn id="300" dur="2000" tmFilter="0, 0; .2, .5; .8, .5; 1, 0"/>
                                        <p:tgtEl>
                                          <p:spTgt spid="150"/>
                                        </p:tgtEl>
                                      </p:cBhvr>
                                    </p:animEffect>
                                    <p:animScale>
                                      <p:cBhvr>
                                        <p:cTn id="301" dur="1000" autoRev="1" fill="hold"/>
                                        <p:tgtEl>
                                          <p:spTgt spid="150"/>
                                        </p:tgtEl>
                                      </p:cBhvr>
                                      <p:by x="105000" y="105000"/>
                                    </p:animScale>
                                  </p:childTnLst>
                                </p:cTn>
                              </p:par>
                              <p:par>
                                <p:cTn id="302" presetID="26" presetClass="emph" presetSubtype="0" dur="2000" repeatCount="indefinite" fill="hold" grpId="0" nodeType="withEffect">
                                  <p:stCondLst>
                                    <p:cond delay="2000"/>
                                  </p:stCondLst>
                                  <p:childTnLst>
                                    <p:animEffect transition="out" filter="fade">
                                      <p:cBhvr>
                                        <p:cTn id="303" dur="2000" tmFilter="0, 0; .2, .5; .8, .5; 1, 0"/>
                                        <p:tgtEl>
                                          <p:spTgt spid="151"/>
                                        </p:tgtEl>
                                      </p:cBhvr>
                                    </p:animEffect>
                                    <p:animScale>
                                      <p:cBhvr>
                                        <p:cTn id="304" dur="1000" autoRev="1" fill="hold"/>
                                        <p:tgtEl>
                                          <p:spTgt spid="151"/>
                                        </p:tgtEl>
                                      </p:cBhvr>
                                      <p:by x="105000" y="105000"/>
                                    </p:animScale>
                                  </p:childTnLst>
                                </p:cTn>
                              </p:par>
                              <p:par>
                                <p:cTn id="305" presetID="26" presetClass="emph" presetSubtype="0" dur="2000" repeatCount="indefinite" fill="hold" grpId="0" nodeType="withEffect">
                                  <p:stCondLst>
                                    <p:cond delay="2000"/>
                                  </p:stCondLst>
                                  <p:childTnLst>
                                    <p:animEffect transition="out" filter="fade">
                                      <p:cBhvr>
                                        <p:cTn id="306" dur="2000" tmFilter="0, 0; .2, .5; .8, .5; 1, 0"/>
                                        <p:tgtEl>
                                          <p:spTgt spid="152"/>
                                        </p:tgtEl>
                                      </p:cBhvr>
                                    </p:animEffect>
                                    <p:animScale>
                                      <p:cBhvr>
                                        <p:cTn id="307" dur="1000" autoRev="1" fill="hold"/>
                                        <p:tgtEl>
                                          <p:spTgt spid="152"/>
                                        </p:tgtEl>
                                      </p:cBhvr>
                                      <p:by x="105000" y="105000"/>
                                    </p:animScale>
                                  </p:childTnLst>
                                </p:cTn>
                              </p:par>
                              <p:par>
                                <p:cTn id="308" presetID="26" presetClass="emph" presetSubtype="0" dur="2000" repeatCount="indefinite" fill="hold" grpId="0" nodeType="withEffect">
                                  <p:stCondLst>
                                    <p:cond delay="2000"/>
                                  </p:stCondLst>
                                  <p:childTnLst>
                                    <p:animEffect transition="out" filter="fade">
                                      <p:cBhvr>
                                        <p:cTn id="309" dur="2000" tmFilter="0, 0; .2, .5; .8, .5; 1, 0"/>
                                        <p:tgtEl>
                                          <p:spTgt spid="153"/>
                                        </p:tgtEl>
                                      </p:cBhvr>
                                    </p:animEffect>
                                    <p:animScale>
                                      <p:cBhvr>
                                        <p:cTn id="310" dur="1000" autoRev="1" fill="hold"/>
                                        <p:tgtEl>
                                          <p:spTgt spid="153"/>
                                        </p:tgtEl>
                                      </p:cBhvr>
                                      <p:by x="105000" y="105000"/>
                                    </p:animScale>
                                  </p:childTnLst>
                                </p:cTn>
                              </p:par>
                              <p:par>
                                <p:cTn id="311" presetID="26" presetClass="emph" presetSubtype="0" dur="2000" repeatCount="indefinite" fill="hold" grpId="0" nodeType="withEffect">
                                  <p:stCondLst>
                                    <p:cond delay="2250"/>
                                  </p:stCondLst>
                                  <p:childTnLst>
                                    <p:animEffect transition="out" filter="fade">
                                      <p:cBhvr>
                                        <p:cTn id="312" dur="2000" tmFilter="0, 0; .2, .5; .8, .5; 1, 0"/>
                                        <p:tgtEl>
                                          <p:spTgt spid="154"/>
                                        </p:tgtEl>
                                      </p:cBhvr>
                                    </p:animEffect>
                                    <p:animScale>
                                      <p:cBhvr>
                                        <p:cTn id="313" dur="1000" autoRev="1" fill="hold"/>
                                        <p:tgtEl>
                                          <p:spTgt spid="154"/>
                                        </p:tgtEl>
                                      </p:cBhvr>
                                      <p:by x="105000" y="105000"/>
                                    </p:animScale>
                                  </p:childTnLst>
                                </p:cTn>
                              </p:par>
                              <p:par>
                                <p:cTn id="314" presetID="26" presetClass="emph" presetSubtype="0" dur="2000" repeatCount="indefinite" fill="hold" grpId="0" nodeType="withEffect">
                                  <p:stCondLst>
                                    <p:cond delay="2250"/>
                                  </p:stCondLst>
                                  <p:childTnLst>
                                    <p:animEffect transition="out" filter="fade">
                                      <p:cBhvr>
                                        <p:cTn id="315" dur="2000" tmFilter="0, 0; .2, .5; .8, .5; 1, 0"/>
                                        <p:tgtEl>
                                          <p:spTgt spid="155"/>
                                        </p:tgtEl>
                                      </p:cBhvr>
                                    </p:animEffect>
                                    <p:animScale>
                                      <p:cBhvr>
                                        <p:cTn id="316" dur="1000" autoRev="1" fill="hold"/>
                                        <p:tgtEl>
                                          <p:spTgt spid="155"/>
                                        </p:tgtEl>
                                      </p:cBhvr>
                                      <p:by x="105000" y="105000"/>
                                    </p:animScale>
                                  </p:childTnLst>
                                </p:cTn>
                              </p:par>
                              <p:par>
                                <p:cTn id="317" presetID="26" presetClass="emph" presetSubtype="0" dur="2000" repeatCount="indefinite" fill="hold" grpId="0" nodeType="withEffect">
                                  <p:stCondLst>
                                    <p:cond delay="2250"/>
                                  </p:stCondLst>
                                  <p:childTnLst>
                                    <p:animEffect transition="out" filter="fade">
                                      <p:cBhvr>
                                        <p:cTn id="318" dur="2000" tmFilter="0, 0; .2, .5; .8, .5; 1, 0"/>
                                        <p:tgtEl>
                                          <p:spTgt spid="156"/>
                                        </p:tgtEl>
                                      </p:cBhvr>
                                    </p:animEffect>
                                    <p:animScale>
                                      <p:cBhvr>
                                        <p:cTn id="319" dur="1000" autoRev="1" fill="hold"/>
                                        <p:tgtEl>
                                          <p:spTgt spid="156"/>
                                        </p:tgtEl>
                                      </p:cBhvr>
                                      <p:by x="105000" y="105000"/>
                                    </p:animScale>
                                  </p:childTnLst>
                                </p:cTn>
                              </p:par>
                              <p:par>
                                <p:cTn id="320" presetID="26" presetClass="emph" presetSubtype="0" dur="2000" repeatCount="indefinite" fill="hold" grpId="0" nodeType="withEffect">
                                  <p:stCondLst>
                                    <p:cond delay="2250"/>
                                  </p:stCondLst>
                                  <p:childTnLst>
                                    <p:animEffect transition="out" filter="fade">
                                      <p:cBhvr>
                                        <p:cTn id="321" dur="2000" tmFilter="0, 0; .2, .5; .8, .5; 1, 0"/>
                                        <p:tgtEl>
                                          <p:spTgt spid="157"/>
                                        </p:tgtEl>
                                      </p:cBhvr>
                                    </p:animEffect>
                                    <p:animScale>
                                      <p:cBhvr>
                                        <p:cTn id="322" dur="1000" autoRev="1" fill="hold"/>
                                        <p:tgtEl>
                                          <p:spTgt spid="157"/>
                                        </p:tgtEl>
                                      </p:cBhvr>
                                      <p:by x="105000" y="105000"/>
                                    </p:animScale>
                                  </p:childTnLst>
                                </p:cTn>
                              </p:par>
                              <p:par>
                                <p:cTn id="323" presetID="26" presetClass="emph" presetSubtype="0" dur="2000" repeatCount="indefinite" fill="hold" grpId="0" nodeType="withEffect">
                                  <p:stCondLst>
                                    <p:cond delay="2250"/>
                                  </p:stCondLst>
                                  <p:childTnLst>
                                    <p:animEffect transition="out" filter="fade">
                                      <p:cBhvr>
                                        <p:cTn id="324" dur="2000" tmFilter="0, 0; .2, .5; .8, .5; 1, 0"/>
                                        <p:tgtEl>
                                          <p:spTgt spid="158"/>
                                        </p:tgtEl>
                                      </p:cBhvr>
                                    </p:animEffect>
                                    <p:animScale>
                                      <p:cBhvr>
                                        <p:cTn id="325" dur="1000" autoRev="1" fill="hold"/>
                                        <p:tgtEl>
                                          <p:spTgt spid="158"/>
                                        </p:tgtEl>
                                      </p:cBhvr>
                                      <p:by x="105000" y="105000"/>
                                    </p:animScale>
                                  </p:childTnLst>
                                </p:cTn>
                              </p:par>
                              <p:par>
                                <p:cTn id="326" presetID="26" presetClass="emph" presetSubtype="0" dur="2000" repeatCount="indefinite" fill="hold" grpId="0" nodeType="withEffect">
                                  <p:stCondLst>
                                    <p:cond delay="2250"/>
                                  </p:stCondLst>
                                  <p:childTnLst>
                                    <p:animEffect transition="out" filter="fade">
                                      <p:cBhvr>
                                        <p:cTn id="327" dur="2000" tmFilter="0, 0; .2, .5; .8, .5; 1, 0"/>
                                        <p:tgtEl>
                                          <p:spTgt spid="159"/>
                                        </p:tgtEl>
                                      </p:cBhvr>
                                    </p:animEffect>
                                    <p:animScale>
                                      <p:cBhvr>
                                        <p:cTn id="328" dur="1000" autoRev="1" fill="hold"/>
                                        <p:tgtEl>
                                          <p:spTgt spid="159"/>
                                        </p:tgtEl>
                                      </p:cBhvr>
                                      <p:by x="105000" y="105000"/>
                                    </p:animScale>
                                  </p:childTnLst>
                                </p:cTn>
                              </p:par>
                              <p:par>
                                <p:cTn id="329" presetID="26" presetClass="emph" presetSubtype="0" dur="2000" repeatCount="indefinite" fill="hold" grpId="0" nodeType="withEffect">
                                  <p:stCondLst>
                                    <p:cond delay="2250"/>
                                  </p:stCondLst>
                                  <p:childTnLst>
                                    <p:animEffect transition="out" filter="fade">
                                      <p:cBhvr>
                                        <p:cTn id="330" dur="2000" tmFilter="0, 0; .2, .5; .8, .5; 1, 0"/>
                                        <p:tgtEl>
                                          <p:spTgt spid="160"/>
                                        </p:tgtEl>
                                      </p:cBhvr>
                                    </p:animEffect>
                                    <p:animScale>
                                      <p:cBhvr>
                                        <p:cTn id="331" dur="1000" autoRev="1" fill="hold"/>
                                        <p:tgtEl>
                                          <p:spTgt spid="160"/>
                                        </p:tgtEl>
                                      </p:cBhvr>
                                      <p:by x="105000" y="105000"/>
                                    </p:animScale>
                                  </p:childTnLst>
                                </p:cTn>
                              </p:par>
                              <p:par>
                                <p:cTn id="332" presetID="26" presetClass="emph" presetSubtype="0" dur="2000" repeatCount="indefinite" fill="hold" grpId="0" nodeType="withEffect">
                                  <p:stCondLst>
                                    <p:cond delay="2250"/>
                                  </p:stCondLst>
                                  <p:childTnLst>
                                    <p:animEffect transition="out" filter="fade">
                                      <p:cBhvr>
                                        <p:cTn id="333" dur="2000" tmFilter="0, 0; .2, .5; .8, .5; 1, 0"/>
                                        <p:tgtEl>
                                          <p:spTgt spid="161"/>
                                        </p:tgtEl>
                                      </p:cBhvr>
                                    </p:animEffect>
                                    <p:animScale>
                                      <p:cBhvr>
                                        <p:cTn id="334" dur="1000" autoRev="1" fill="hold"/>
                                        <p:tgtEl>
                                          <p:spTgt spid="161"/>
                                        </p:tgtEl>
                                      </p:cBhvr>
                                      <p:by x="105000" y="105000"/>
                                    </p:animScale>
                                  </p:childTnLst>
                                </p:cTn>
                              </p:par>
                              <p:par>
                                <p:cTn id="335" presetID="26" presetClass="emph" presetSubtype="0" dur="2000" repeatCount="indefinite" fill="hold" grpId="0" nodeType="withEffect">
                                  <p:stCondLst>
                                    <p:cond delay="2250"/>
                                  </p:stCondLst>
                                  <p:childTnLst>
                                    <p:animEffect transition="out" filter="fade">
                                      <p:cBhvr>
                                        <p:cTn id="336" dur="2000" tmFilter="0, 0; .2, .5; .8, .5; 1, 0"/>
                                        <p:tgtEl>
                                          <p:spTgt spid="162"/>
                                        </p:tgtEl>
                                      </p:cBhvr>
                                    </p:animEffect>
                                    <p:animScale>
                                      <p:cBhvr>
                                        <p:cTn id="337" dur="1000" autoRev="1" fill="hold"/>
                                        <p:tgtEl>
                                          <p:spTgt spid="162"/>
                                        </p:tgtEl>
                                      </p:cBhvr>
                                      <p:by x="105000" y="105000"/>
                                    </p:animScale>
                                  </p:childTnLst>
                                </p:cTn>
                              </p:par>
                              <p:par>
                                <p:cTn id="338" presetID="26" presetClass="emph" presetSubtype="0" dur="2000" repeatCount="indefinite" fill="hold" grpId="0" nodeType="withEffect">
                                  <p:stCondLst>
                                    <p:cond delay="2250"/>
                                  </p:stCondLst>
                                  <p:childTnLst>
                                    <p:animEffect transition="out" filter="fade">
                                      <p:cBhvr>
                                        <p:cTn id="339" dur="2000" tmFilter="0, 0; .2, .5; .8, .5; 1, 0"/>
                                        <p:tgtEl>
                                          <p:spTgt spid="163"/>
                                        </p:tgtEl>
                                      </p:cBhvr>
                                    </p:animEffect>
                                    <p:animScale>
                                      <p:cBhvr>
                                        <p:cTn id="340" dur="1000" autoRev="1" fill="hold"/>
                                        <p:tgtEl>
                                          <p:spTgt spid="163"/>
                                        </p:tgtEl>
                                      </p:cBhvr>
                                      <p:by x="105000" y="105000"/>
                                    </p:animScale>
                                  </p:childTnLst>
                                </p:cTn>
                              </p:par>
                              <p:par>
                                <p:cTn id="341" presetID="26" presetClass="emph" presetSubtype="0" dur="2000" repeatCount="indefinite" fill="hold" grpId="0" nodeType="withEffect">
                                  <p:stCondLst>
                                    <p:cond delay="2250"/>
                                  </p:stCondLst>
                                  <p:childTnLst>
                                    <p:animEffect transition="out" filter="fade">
                                      <p:cBhvr>
                                        <p:cTn id="342" dur="2000" tmFilter="0, 0; .2, .5; .8, .5; 1, 0"/>
                                        <p:tgtEl>
                                          <p:spTgt spid="164"/>
                                        </p:tgtEl>
                                      </p:cBhvr>
                                    </p:animEffect>
                                    <p:animScale>
                                      <p:cBhvr>
                                        <p:cTn id="343" dur="1000" autoRev="1" fill="hold"/>
                                        <p:tgtEl>
                                          <p:spTgt spid="164"/>
                                        </p:tgtEl>
                                      </p:cBhvr>
                                      <p:by x="105000" y="105000"/>
                                    </p:animScale>
                                  </p:childTnLst>
                                </p:cTn>
                              </p:par>
                              <p:par>
                                <p:cTn id="344" presetID="26" presetClass="emph" presetSubtype="0" dur="2000" repeatCount="indefinite" fill="hold" grpId="0" nodeType="withEffect">
                                  <p:stCondLst>
                                    <p:cond delay="2250"/>
                                  </p:stCondLst>
                                  <p:childTnLst>
                                    <p:animEffect transition="out" filter="fade">
                                      <p:cBhvr>
                                        <p:cTn id="345" dur="2000" tmFilter="0, 0; .2, .5; .8, .5; 1, 0"/>
                                        <p:tgtEl>
                                          <p:spTgt spid="165"/>
                                        </p:tgtEl>
                                      </p:cBhvr>
                                    </p:animEffect>
                                    <p:animScale>
                                      <p:cBhvr>
                                        <p:cTn id="346" dur="1000" autoRev="1" fill="hold"/>
                                        <p:tgtEl>
                                          <p:spTgt spid="165"/>
                                        </p:tgtEl>
                                      </p:cBhvr>
                                      <p:by x="105000" y="105000"/>
                                    </p:animScale>
                                  </p:childTnLst>
                                </p:cTn>
                              </p:par>
                              <p:par>
                                <p:cTn id="347" presetID="26" presetClass="emph" presetSubtype="0" dur="2000" repeatCount="indefinite" fill="hold" grpId="0" nodeType="withEffect">
                                  <p:stCondLst>
                                    <p:cond delay="2250"/>
                                  </p:stCondLst>
                                  <p:childTnLst>
                                    <p:animEffect transition="out" filter="fade">
                                      <p:cBhvr>
                                        <p:cTn id="348" dur="2000" tmFilter="0, 0; .2, .5; .8, .5; 1, 0"/>
                                        <p:tgtEl>
                                          <p:spTgt spid="166"/>
                                        </p:tgtEl>
                                      </p:cBhvr>
                                    </p:animEffect>
                                    <p:animScale>
                                      <p:cBhvr>
                                        <p:cTn id="349" dur="1000" autoRev="1" fill="hold"/>
                                        <p:tgtEl>
                                          <p:spTgt spid="166"/>
                                        </p:tgtEl>
                                      </p:cBhvr>
                                      <p:by x="105000" y="105000"/>
                                    </p:animScale>
                                  </p:childTnLst>
                                </p:cTn>
                              </p:par>
                              <p:par>
                                <p:cTn id="350" presetID="26" presetClass="emph" presetSubtype="0" dur="2000" repeatCount="indefinite" fill="hold" grpId="0" nodeType="withEffect">
                                  <p:stCondLst>
                                    <p:cond delay="2250"/>
                                  </p:stCondLst>
                                  <p:childTnLst>
                                    <p:animEffect transition="out" filter="fade">
                                      <p:cBhvr>
                                        <p:cTn id="351" dur="2000" tmFilter="0, 0; .2, .5; .8, .5; 1, 0"/>
                                        <p:tgtEl>
                                          <p:spTgt spid="167"/>
                                        </p:tgtEl>
                                      </p:cBhvr>
                                    </p:animEffect>
                                    <p:animScale>
                                      <p:cBhvr>
                                        <p:cTn id="352" dur="1000" autoRev="1" fill="hold"/>
                                        <p:tgtEl>
                                          <p:spTgt spid="167"/>
                                        </p:tgtEl>
                                      </p:cBhvr>
                                      <p:by x="105000" y="105000"/>
                                    </p:animScale>
                                  </p:childTnLst>
                                </p:cTn>
                              </p:par>
                              <p:par>
                                <p:cTn id="353" presetID="26" presetClass="emph" presetSubtype="0" dur="2000" repeatCount="indefinite" fill="hold" grpId="0" nodeType="withEffect">
                                  <p:stCondLst>
                                    <p:cond delay="2500"/>
                                  </p:stCondLst>
                                  <p:childTnLst>
                                    <p:animEffect transition="out" filter="fade">
                                      <p:cBhvr>
                                        <p:cTn id="354" dur="2000" tmFilter="0, 0; .2, .5; .8, .5; 1, 0"/>
                                        <p:tgtEl>
                                          <p:spTgt spid="168"/>
                                        </p:tgtEl>
                                      </p:cBhvr>
                                    </p:animEffect>
                                    <p:animScale>
                                      <p:cBhvr>
                                        <p:cTn id="355" dur="1000" autoRev="1" fill="hold"/>
                                        <p:tgtEl>
                                          <p:spTgt spid="168"/>
                                        </p:tgtEl>
                                      </p:cBhvr>
                                      <p:by x="105000" y="105000"/>
                                    </p:animScale>
                                  </p:childTnLst>
                                </p:cTn>
                              </p:par>
                              <p:par>
                                <p:cTn id="356" presetID="26" presetClass="emph" presetSubtype="0" dur="2000" repeatCount="indefinite" fill="hold" grpId="0" nodeType="withEffect">
                                  <p:stCondLst>
                                    <p:cond delay="2500"/>
                                  </p:stCondLst>
                                  <p:childTnLst>
                                    <p:animEffect transition="out" filter="fade">
                                      <p:cBhvr>
                                        <p:cTn id="357" dur="2000" tmFilter="0, 0; .2, .5; .8, .5; 1, 0"/>
                                        <p:tgtEl>
                                          <p:spTgt spid="169"/>
                                        </p:tgtEl>
                                      </p:cBhvr>
                                    </p:animEffect>
                                    <p:animScale>
                                      <p:cBhvr>
                                        <p:cTn id="358" dur="1000" autoRev="1" fill="hold"/>
                                        <p:tgtEl>
                                          <p:spTgt spid="169"/>
                                        </p:tgtEl>
                                      </p:cBhvr>
                                      <p:by x="105000" y="105000"/>
                                    </p:animScale>
                                  </p:childTnLst>
                                </p:cTn>
                              </p:par>
                              <p:par>
                                <p:cTn id="359" presetID="26" presetClass="emph" presetSubtype="0" dur="2000" repeatCount="indefinite" fill="hold" grpId="0" nodeType="withEffect">
                                  <p:stCondLst>
                                    <p:cond delay="2500"/>
                                  </p:stCondLst>
                                  <p:childTnLst>
                                    <p:animEffect transition="out" filter="fade">
                                      <p:cBhvr>
                                        <p:cTn id="360" dur="2000" tmFilter="0, 0; .2, .5; .8, .5; 1, 0"/>
                                        <p:tgtEl>
                                          <p:spTgt spid="170"/>
                                        </p:tgtEl>
                                      </p:cBhvr>
                                    </p:animEffect>
                                    <p:animScale>
                                      <p:cBhvr>
                                        <p:cTn id="361" dur="1000" autoRev="1" fill="hold"/>
                                        <p:tgtEl>
                                          <p:spTgt spid="170"/>
                                        </p:tgtEl>
                                      </p:cBhvr>
                                      <p:by x="105000" y="105000"/>
                                    </p:animScale>
                                  </p:childTnLst>
                                </p:cTn>
                              </p:par>
                              <p:par>
                                <p:cTn id="362" presetID="26" presetClass="emph" presetSubtype="0" dur="2000" repeatCount="indefinite" fill="hold" grpId="0" nodeType="withEffect">
                                  <p:stCondLst>
                                    <p:cond delay="2500"/>
                                  </p:stCondLst>
                                  <p:childTnLst>
                                    <p:animEffect transition="out" filter="fade">
                                      <p:cBhvr>
                                        <p:cTn id="363" dur="2000" tmFilter="0, 0; .2, .5; .8, .5; 1, 0"/>
                                        <p:tgtEl>
                                          <p:spTgt spid="171"/>
                                        </p:tgtEl>
                                      </p:cBhvr>
                                    </p:animEffect>
                                    <p:animScale>
                                      <p:cBhvr>
                                        <p:cTn id="364" dur="1000" autoRev="1" fill="hold"/>
                                        <p:tgtEl>
                                          <p:spTgt spid="171"/>
                                        </p:tgtEl>
                                      </p:cBhvr>
                                      <p:by x="105000" y="105000"/>
                                    </p:animScale>
                                  </p:childTnLst>
                                </p:cTn>
                              </p:par>
                              <p:par>
                                <p:cTn id="365" presetID="26" presetClass="emph" presetSubtype="0" dur="2000" repeatCount="indefinite" fill="hold" grpId="0" nodeType="withEffect">
                                  <p:stCondLst>
                                    <p:cond delay="2500"/>
                                  </p:stCondLst>
                                  <p:childTnLst>
                                    <p:animEffect transition="out" filter="fade">
                                      <p:cBhvr>
                                        <p:cTn id="366" dur="2000" tmFilter="0, 0; .2, .5; .8, .5; 1, 0"/>
                                        <p:tgtEl>
                                          <p:spTgt spid="172"/>
                                        </p:tgtEl>
                                      </p:cBhvr>
                                    </p:animEffect>
                                    <p:animScale>
                                      <p:cBhvr>
                                        <p:cTn id="367" dur="1000" autoRev="1" fill="hold"/>
                                        <p:tgtEl>
                                          <p:spTgt spid="172"/>
                                        </p:tgtEl>
                                      </p:cBhvr>
                                      <p:by x="105000" y="105000"/>
                                    </p:animScale>
                                  </p:childTnLst>
                                </p:cTn>
                              </p:par>
                              <p:par>
                                <p:cTn id="368" presetID="26" presetClass="emph" presetSubtype="0" dur="2000" repeatCount="indefinite" fill="hold" grpId="0" nodeType="withEffect">
                                  <p:stCondLst>
                                    <p:cond delay="2500"/>
                                  </p:stCondLst>
                                  <p:childTnLst>
                                    <p:animEffect transition="out" filter="fade">
                                      <p:cBhvr>
                                        <p:cTn id="369" dur="2000" tmFilter="0, 0; .2, .5; .8, .5; 1, 0"/>
                                        <p:tgtEl>
                                          <p:spTgt spid="173"/>
                                        </p:tgtEl>
                                      </p:cBhvr>
                                    </p:animEffect>
                                    <p:animScale>
                                      <p:cBhvr>
                                        <p:cTn id="370" dur="1000" autoRev="1" fill="hold"/>
                                        <p:tgtEl>
                                          <p:spTgt spid="173"/>
                                        </p:tgtEl>
                                      </p:cBhvr>
                                      <p:by x="105000" y="105000"/>
                                    </p:animScale>
                                  </p:childTnLst>
                                </p:cTn>
                              </p:par>
                              <p:par>
                                <p:cTn id="371" presetID="26" presetClass="emph" presetSubtype="0" dur="2000" repeatCount="indefinite" fill="hold" grpId="0" nodeType="withEffect">
                                  <p:stCondLst>
                                    <p:cond delay="2500"/>
                                  </p:stCondLst>
                                  <p:childTnLst>
                                    <p:animEffect transition="out" filter="fade">
                                      <p:cBhvr>
                                        <p:cTn id="372" dur="2000" tmFilter="0, 0; .2, .5; .8, .5; 1, 0"/>
                                        <p:tgtEl>
                                          <p:spTgt spid="174"/>
                                        </p:tgtEl>
                                      </p:cBhvr>
                                    </p:animEffect>
                                    <p:animScale>
                                      <p:cBhvr>
                                        <p:cTn id="373" dur="1000" autoRev="1" fill="hold"/>
                                        <p:tgtEl>
                                          <p:spTgt spid="174"/>
                                        </p:tgtEl>
                                      </p:cBhvr>
                                      <p:by x="105000" y="105000"/>
                                    </p:animScale>
                                  </p:childTnLst>
                                </p:cTn>
                              </p:par>
                              <p:par>
                                <p:cTn id="374" presetID="26" presetClass="emph" presetSubtype="0" dur="2000" repeatCount="indefinite" fill="hold" grpId="0" nodeType="withEffect">
                                  <p:stCondLst>
                                    <p:cond delay="2500"/>
                                  </p:stCondLst>
                                  <p:childTnLst>
                                    <p:animEffect transition="out" filter="fade">
                                      <p:cBhvr>
                                        <p:cTn id="375" dur="2000" tmFilter="0, 0; .2, .5; .8, .5; 1, 0"/>
                                        <p:tgtEl>
                                          <p:spTgt spid="175"/>
                                        </p:tgtEl>
                                      </p:cBhvr>
                                    </p:animEffect>
                                    <p:animScale>
                                      <p:cBhvr>
                                        <p:cTn id="376" dur="1000" autoRev="1" fill="hold"/>
                                        <p:tgtEl>
                                          <p:spTgt spid="175"/>
                                        </p:tgtEl>
                                      </p:cBhvr>
                                      <p:by x="105000" y="105000"/>
                                    </p:animScale>
                                  </p:childTnLst>
                                </p:cTn>
                              </p:par>
                              <p:par>
                                <p:cTn id="377" presetID="26" presetClass="emph" presetSubtype="0" dur="2000" repeatCount="indefinite" fill="hold" grpId="0" nodeType="withEffect">
                                  <p:stCondLst>
                                    <p:cond delay="2500"/>
                                  </p:stCondLst>
                                  <p:childTnLst>
                                    <p:animEffect transition="out" filter="fade">
                                      <p:cBhvr>
                                        <p:cTn id="378" dur="2000" tmFilter="0, 0; .2, .5; .8, .5; 1, 0"/>
                                        <p:tgtEl>
                                          <p:spTgt spid="176"/>
                                        </p:tgtEl>
                                      </p:cBhvr>
                                    </p:animEffect>
                                    <p:animScale>
                                      <p:cBhvr>
                                        <p:cTn id="379" dur="1000" autoRev="1" fill="hold"/>
                                        <p:tgtEl>
                                          <p:spTgt spid="176"/>
                                        </p:tgtEl>
                                      </p:cBhvr>
                                      <p:by x="105000" y="105000"/>
                                    </p:animScale>
                                  </p:childTnLst>
                                </p:cTn>
                              </p:par>
                              <p:par>
                                <p:cTn id="380" presetID="26" presetClass="emph" presetSubtype="0" dur="2000" repeatCount="indefinite" fill="hold" grpId="0" nodeType="withEffect">
                                  <p:stCondLst>
                                    <p:cond delay="2500"/>
                                  </p:stCondLst>
                                  <p:childTnLst>
                                    <p:animEffect transition="out" filter="fade">
                                      <p:cBhvr>
                                        <p:cTn id="381" dur="2000" tmFilter="0, 0; .2, .5; .8, .5; 1, 0"/>
                                        <p:tgtEl>
                                          <p:spTgt spid="177"/>
                                        </p:tgtEl>
                                      </p:cBhvr>
                                    </p:animEffect>
                                    <p:animScale>
                                      <p:cBhvr>
                                        <p:cTn id="382" dur="1000" autoRev="1" fill="hold"/>
                                        <p:tgtEl>
                                          <p:spTgt spid="177"/>
                                        </p:tgtEl>
                                      </p:cBhvr>
                                      <p:by x="105000" y="105000"/>
                                    </p:animScale>
                                  </p:childTnLst>
                                </p:cTn>
                              </p:par>
                              <p:par>
                                <p:cTn id="383" presetID="26" presetClass="emph" presetSubtype="0" dur="2000" repeatCount="indefinite" fill="hold" grpId="0" nodeType="withEffect">
                                  <p:stCondLst>
                                    <p:cond delay="2500"/>
                                  </p:stCondLst>
                                  <p:childTnLst>
                                    <p:animEffect transition="out" filter="fade">
                                      <p:cBhvr>
                                        <p:cTn id="384" dur="2000" tmFilter="0, 0; .2, .5; .8, .5; 1, 0"/>
                                        <p:tgtEl>
                                          <p:spTgt spid="178"/>
                                        </p:tgtEl>
                                      </p:cBhvr>
                                    </p:animEffect>
                                    <p:animScale>
                                      <p:cBhvr>
                                        <p:cTn id="385" dur="1000" autoRev="1" fill="hold"/>
                                        <p:tgtEl>
                                          <p:spTgt spid="178"/>
                                        </p:tgtEl>
                                      </p:cBhvr>
                                      <p:by x="105000" y="105000"/>
                                    </p:animScale>
                                  </p:childTnLst>
                                </p:cTn>
                              </p:par>
                              <p:par>
                                <p:cTn id="386" presetID="26" presetClass="emph" presetSubtype="0" dur="2000" repeatCount="indefinite" fill="hold" grpId="0" nodeType="withEffect">
                                  <p:stCondLst>
                                    <p:cond delay="2500"/>
                                  </p:stCondLst>
                                  <p:childTnLst>
                                    <p:animEffect transition="out" filter="fade">
                                      <p:cBhvr>
                                        <p:cTn id="387" dur="2000" tmFilter="0, 0; .2, .5; .8, .5; 1, 0"/>
                                        <p:tgtEl>
                                          <p:spTgt spid="179"/>
                                        </p:tgtEl>
                                      </p:cBhvr>
                                    </p:animEffect>
                                    <p:animScale>
                                      <p:cBhvr>
                                        <p:cTn id="388" dur="1000" autoRev="1" fill="hold"/>
                                        <p:tgtEl>
                                          <p:spTgt spid="179"/>
                                        </p:tgtEl>
                                      </p:cBhvr>
                                      <p:by x="105000" y="105000"/>
                                    </p:animScale>
                                  </p:childTnLst>
                                </p:cTn>
                              </p:par>
                              <p:par>
                                <p:cTn id="389" presetID="26" presetClass="emph" presetSubtype="0" dur="2000" repeatCount="indefinite" fill="hold" grpId="0" nodeType="withEffect">
                                  <p:stCondLst>
                                    <p:cond delay="2500"/>
                                  </p:stCondLst>
                                  <p:childTnLst>
                                    <p:animEffect transition="out" filter="fade">
                                      <p:cBhvr>
                                        <p:cTn id="390" dur="2000" tmFilter="0, 0; .2, .5; .8, .5; 1, 0"/>
                                        <p:tgtEl>
                                          <p:spTgt spid="180"/>
                                        </p:tgtEl>
                                      </p:cBhvr>
                                    </p:animEffect>
                                    <p:animScale>
                                      <p:cBhvr>
                                        <p:cTn id="391" dur="1000" autoRev="1" fill="hold"/>
                                        <p:tgtEl>
                                          <p:spTgt spid="180"/>
                                        </p:tgtEl>
                                      </p:cBhvr>
                                      <p:by x="105000" y="105000"/>
                                    </p:animScale>
                                  </p:childTnLst>
                                </p:cTn>
                              </p:par>
                              <p:par>
                                <p:cTn id="392" presetID="26" presetClass="emph" presetSubtype="0" dur="2000" repeatCount="indefinite" fill="hold" grpId="0" nodeType="withEffect">
                                  <p:stCondLst>
                                    <p:cond delay="2500"/>
                                  </p:stCondLst>
                                  <p:childTnLst>
                                    <p:animEffect transition="out" filter="fade">
                                      <p:cBhvr>
                                        <p:cTn id="393" dur="2000" tmFilter="0, 0; .2, .5; .8, .5; 1, 0"/>
                                        <p:tgtEl>
                                          <p:spTgt spid="181"/>
                                        </p:tgtEl>
                                      </p:cBhvr>
                                    </p:animEffect>
                                    <p:animScale>
                                      <p:cBhvr>
                                        <p:cTn id="394" dur="1000" autoRev="1" fill="hold"/>
                                        <p:tgtEl>
                                          <p:spTgt spid="181"/>
                                        </p:tgtEl>
                                      </p:cBhvr>
                                      <p:by x="105000" y="105000"/>
                                    </p:animScale>
                                  </p:childTnLst>
                                </p:cTn>
                              </p:par>
                              <p:par>
                                <p:cTn id="395" presetID="26" presetClass="emph" presetSubtype="0" dur="2000" repeatCount="indefinite" fill="hold" grpId="0" nodeType="withEffect">
                                  <p:stCondLst>
                                    <p:cond delay="2750"/>
                                  </p:stCondLst>
                                  <p:childTnLst>
                                    <p:animEffect transition="out" filter="fade">
                                      <p:cBhvr>
                                        <p:cTn id="396" dur="2000" tmFilter="0, 0; .2, .5; .8, .5; 1, 0"/>
                                        <p:tgtEl>
                                          <p:spTgt spid="182"/>
                                        </p:tgtEl>
                                      </p:cBhvr>
                                    </p:animEffect>
                                    <p:animScale>
                                      <p:cBhvr>
                                        <p:cTn id="397" dur="1000" autoRev="1" fill="hold"/>
                                        <p:tgtEl>
                                          <p:spTgt spid="182"/>
                                        </p:tgtEl>
                                      </p:cBhvr>
                                      <p:by x="105000" y="105000"/>
                                    </p:animScale>
                                  </p:childTnLst>
                                </p:cTn>
                              </p:par>
                              <p:par>
                                <p:cTn id="398" presetID="26" presetClass="emph" presetSubtype="0" dur="2000" repeatCount="indefinite" fill="hold" grpId="0" nodeType="withEffect">
                                  <p:stCondLst>
                                    <p:cond delay="2750"/>
                                  </p:stCondLst>
                                  <p:childTnLst>
                                    <p:animEffect transition="out" filter="fade">
                                      <p:cBhvr>
                                        <p:cTn id="399" dur="2000" tmFilter="0, 0; .2, .5; .8, .5; 1, 0"/>
                                        <p:tgtEl>
                                          <p:spTgt spid="183"/>
                                        </p:tgtEl>
                                      </p:cBhvr>
                                    </p:animEffect>
                                    <p:animScale>
                                      <p:cBhvr>
                                        <p:cTn id="400" dur="1000" autoRev="1" fill="hold"/>
                                        <p:tgtEl>
                                          <p:spTgt spid="183"/>
                                        </p:tgtEl>
                                      </p:cBhvr>
                                      <p:by x="105000" y="105000"/>
                                    </p:animScale>
                                  </p:childTnLst>
                                </p:cTn>
                              </p:par>
                              <p:par>
                                <p:cTn id="401" presetID="26" presetClass="emph" presetSubtype="0" dur="2000" repeatCount="indefinite" fill="hold" grpId="0" nodeType="withEffect">
                                  <p:stCondLst>
                                    <p:cond delay="2750"/>
                                  </p:stCondLst>
                                  <p:childTnLst>
                                    <p:animEffect transition="out" filter="fade">
                                      <p:cBhvr>
                                        <p:cTn id="402" dur="2000" tmFilter="0, 0; .2, .5; .8, .5; 1, 0"/>
                                        <p:tgtEl>
                                          <p:spTgt spid="184"/>
                                        </p:tgtEl>
                                      </p:cBhvr>
                                    </p:animEffect>
                                    <p:animScale>
                                      <p:cBhvr>
                                        <p:cTn id="403" dur="1000" autoRev="1" fill="hold"/>
                                        <p:tgtEl>
                                          <p:spTgt spid="184"/>
                                        </p:tgtEl>
                                      </p:cBhvr>
                                      <p:by x="105000" y="105000"/>
                                    </p:animScale>
                                  </p:childTnLst>
                                </p:cTn>
                              </p:par>
                              <p:par>
                                <p:cTn id="404" presetID="26" presetClass="emph" presetSubtype="0" dur="2000" repeatCount="indefinite" fill="hold" grpId="0" nodeType="withEffect">
                                  <p:stCondLst>
                                    <p:cond delay="2750"/>
                                  </p:stCondLst>
                                  <p:childTnLst>
                                    <p:animEffect transition="out" filter="fade">
                                      <p:cBhvr>
                                        <p:cTn id="405" dur="2000" tmFilter="0, 0; .2, .5; .8, .5; 1, 0"/>
                                        <p:tgtEl>
                                          <p:spTgt spid="185"/>
                                        </p:tgtEl>
                                      </p:cBhvr>
                                    </p:animEffect>
                                    <p:animScale>
                                      <p:cBhvr>
                                        <p:cTn id="406" dur="1000" autoRev="1" fill="hold"/>
                                        <p:tgtEl>
                                          <p:spTgt spid="185"/>
                                        </p:tgtEl>
                                      </p:cBhvr>
                                      <p:by x="105000" y="105000"/>
                                    </p:animScale>
                                  </p:childTnLst>
                                </p:cTn>
                              </p:par>
                              <p:par>
                                <p:cTn id="407" presetID="26" presetClass="emph" presetSubtype="0" dur="2000" repeatCount="indefinite" fill="hold" grpId="0" nodeType="withEffect">
                                  <p:stCondLst>
                                    <p:cond delay="2750"/>
                                  </p:stCondLst>
                                  <p:childTnLst>
                                    <p:animEffect transition="out" filter="fade">
                                      <p:cBhvr>
                                        <p:cTn id="408" dur="2000" tmFilter="0, 0; .2, .5; .8, .5; 1, 0"/>
                                        <p:tgtEl>
                                          <p:spTgt spid="186"/>
                                        </p:tgtEl>
                                      </p:cBhvr>
                                    </p:animEffect>
                                    <p:animScale>
                                      <p:cBhvr>
                                        <p:cTn id="409" dur="1000" autoRev="1" fill="hold"/>
                                        <p:tgtEl>
                                          <p:spTgt spid="186"/>
                                        </p:tgtEl>
                                      </p:cBhvr>
                                      <p:by x="105000" y="105000"/>
                                    </p:animScale>
                                  </p:childTnLst>
                                </p:cTn>
                              </p:par>
                              <p:par>
                                <p:cTn id="410" presetID="26" presetClass="emph" presetSubtype="0" dur="2000" repeatCount="indefinite" fill="hold" grpId="0" nodeType="withEffect">
                                  <p:stCondLst>
                                    <p:cond delay="2750"/>
                                  </p:stCondLst>
                                  <p:childTnLst>
                                    <p:animEffect transition="out" filter="fade">
                                      <p:cBhvr>
                                        <p:cTn id="411" dur="2000" tmFilter="0, 0; .2, .5; .8, .5; 1, 0"/>
                                        <p:tgtEl>
                                          <p:spTgt spid="187"/>
                                        </p:tgtEl>
                                      </p:cBhvr>
                                    </p:animEffect>
                                    <p:animScale>
                                      <p:cBhvr>
                                        <p:cTn id="412" dur="1000" autoRev="1" fill="hold"/>
                                        <p:tgtEl>
                                          <p:spTgt spid="187"/>
                                        </p:tgtEl>
                                      </p:cBhvr>
                                      <p:by x="105000" y="105000"/>
                                    </p:animScale>
                                  </p:childTnLst>
                                </p:cTn>
                              </p:par>
                              <p:par>
                                <p:cTn id="413" presetID="26" presetClass="emph" presetSubtype="0" dur="2000" repeatCount="indefinite" fill="hold" grpId="0" nodeType="withEffect">
                                  <p:stCondLst>
                                    <p:cond delay="2750"/>
                                  </p:stCondLst>
                                  <p:childTnLst>
                                    <p:animEffect transition="out" filter="fade">
                                      <p:cBhvr>
                                        <p:cTn id="414" dur="2000" tmFilter="0, 0; .2, .5; .8, .5; 1, 0"/>
                                        <p:tgtEl>
                                          <p:spTgt spid="188"/>
                                        </p:tgtEl>
                                      </p:cBhvr>
                                    </p:animEffect>
                                    <p:animScale>
                                      <p:cBhvr>
                                        <p:cTn id="415" dur="1000" autoRev="1" fill="hold"/>
                                        <p:tgtEl>
                                          <p:spTgt spid="188"/>
                                        </p:tgtEl>
                                      </p:cBhvr>
                                      <p:by x="105000" y="105000"/>
                                    </p:animScale>
                                  </p:childTnLst>
                                </p:cTn>
                              </p:par>
                              <p:par>
                                <p:cTn id="416" presetID="26" presetClass="emph" presetSubtype="0" dur="2000" repeatCount="indefinite" fill="hold" grpId="0" nodeType="withEffect">
                                  <p:stCondLst>
                                    <p:cond delay="2750"/>
                                  </p:stCondLst>
                                  <p:childTnLst>
                                    <p:animEffect transition="out" filter="fade">
                                      <p:cBhvr>
                                        <p:cTn id="417" dur="2000" tmFilter="0, 0; .2, .5; .8, .5; 1, 0"/>
                                        <p:tgtEl>
                                          <p:spTgt spid="189"/>
                                        </p:tgtEl>
                                      </p:cBhvr>
                                    </p:animEffect>
                                    <p:animScale>
                                      <p:cBhvr>
                                        <p:cTn id="418" dur="1000" autoRev="1" fill="hold"/>
                                        <p:tgtEl>
                                          <p:spTgt spid="189"/>
                                        </p:tgtEl>
                                      </p:cBhvr>
                                      <p:by x="105000" y="105000"/>
                                    </p:animScale>
                                  </p:childTnLst>
                                </p:cTn>
                              </p:par>
                              <p:par>
                                <p:cTn id="419" presetID="26" presetClass="emph" presetSubtype="0" dur="2000" repeatCount="indefinite" fill="hold" grpId="0" nodeType="withEffect">
                                  <p:stCondLst>
                                    <p:cond delay="2750"/>
                                  </p:stCondLst>
                                  <p:childTnLst>
                                    <p:animEffect transition="out" filter="fade">
                                      <p:cBhvr>
                                        <p:cTn id="420" dur="2000" tmFilter="0, 0; .2, .5; .8, .5; 1, 0"/>
                                        <p:tgtEl>
                                          <p:spTgt spid="190"/>
                                        </p:tgtEl>
                                      </p:cBhvr>
                                    </p:animEffect>
                                    <p:animScale>
                                      <p:cBhvr>
                                        <p:cTn id="421" dur="1000" autoRev="1" fill="hold"/>
                                        <p:tgtEl>
                                          <p:spTgt spid="190"/>
                                        </p:tgtEl>
                                      </p:cBhvr>
                                      <p:by x="105000" y="105000"/>
                                    </p:animScale>
                                  </p:childTnLst>
                                </p:cTn>
                              </p:par>
                              <p:par>
                                <p:cTn id="422" presetID="26" presetClass="emph" presetSubtype="0" dur="2000" repeatCount="indefinite" fill="hold" grpId="0" nodeType="withEffect">
                                  <p:stCondLst>
                                    <p:cond delay="2750"/>
                                  </p:stCondLst>
                                  <p:childTnLst>
                                    <p:animEffect transition="out" filter="fade">
                                      <p:cBhvr>
                                        <p:cTn id="423" dur="2000" tmFilter="0, 0; .2, .5; .8, .5; 1, 0"/>
                                        <p:tgtEl>
                                          <p:spTgt spid="191"/>
                                        </p:tgtEl>
                                      </p:cBhvr>
                                    </p:animEffect>
                                    <p:animScale>
                                      <p:cBhvr>
                                        <p:cTn id="424" dur="1000" autoRev="1" fill="hold"/>
                                        <p:tgtEl>
                                          <p:spTgt spid="191"/>
                                        </p:tgtEl>
                                      </p:cBhvr>
                                      <p:by x="105000" y="105000"/>
                                    </p:animScale>
                                  </p:childTnLst>
                                </p:cTn>
                              </p:par>
                              <p:par>
                                <p:cTn id="425" presetID="26" presetClass="emph" presetSubtype="0" dur="2000" repeatCount="indefinite" fill="hold" grpId="0" nodeType="withEffect">
                                  <p:stCondLst>
                                    <p:cond delay="2750"/>
                                  </p:stCondLst>
                                  <p:childTnLst>
                                    <p:animEffect transition="out" filter="fade">
                                      <p:cBhvr>
                                        <p:cTn id="426" dur="2000" tmFilter="0, 0; .2, .5; .8, .5; 1, 0"/>
                                        <p:tgtEl>
                                          <p:spTgt spid="192"/>
                                        </p:tgtEl>
                                      </p:cBhvr>
                                    </p:animEffect>
                                    <p:animScale>
                                      <p:cBhvr>
                                        <p:cTn id="427" dur="1000" autoRev="1" fill="hold"/>
                                        <p:tgtEl>
                                          <p:spTgt spid="192"/>
                                        </p:tgtEl>
                                      </p:cBhvr>
                                      <p:by x="105000" y="105000"/>
                                    </p:animScale>
                                  </p:childTnLst>
                                </p:cTn>
                              </p:par>
                              <p:par>
                                <p:cTn id="428" presetID="26" presetClass="emph" presetSubtype="0" dur="2000" repeatCount="indefinite" fill="hold" grpId="0" nodeType="withEffect">
                                  <p:stCondLst>
                                    <p:cond delay="2750"/>
                                  </p:stCondLst>
                                  <p:childTnLst>
                                    <p:animEffect transition="out" filter="fade">
                                      <p:cBhvr>
                                        <p:cTn id="429" dur="2000" tmFilter="0, 0; .2, .5; .8, .5; 1, 0"/>
                                        <p:tgtEl>
                                          <p:spTgt spid="193"/>
                                        </p:tgtEl>
                                      </p:cBhvr>
                                    </p:animEffect>
                                    <p:animScale>
                                      <p:cBhvr>
                                        <p:cTn id="430" dur="1000" autoRev="1" fill="hold"/>
                                        <p:tgtEl>
                                          <p:spTgt spid="193"/>
                                        </p:tgtEl>
                                      </p:cBhvr>
                                      <p:by x="105000" y="105000"/>
                                    </p:animScale>
                                  </p:childTnLst>
                                </p:cTn>
                              </p:par>
                              <p:par>
                                <p:cTn id="431" presetID="26" presetClass="emph" presetSubtype="0" dur="2000" repeatCount="indefinite" fill="hold" grpId="0" nodeType="withEffect">
                                  <p:stCondLst>
                                    <p:cond delay="2750"/>
                                  </p:stCondLst>
                                  <p:childTnLst>
                                    <p:animEffect transition="out" filter="fade">
                                      <p:cBhvr>
                                        <p:cTn id="432" dur="2000" tmFilter="0, 0; .2, .5; .8, .5; 1, 0"/>
                                        <p:tgtEl>
                                          <p:spTgt spid="194"/>
                                        </p:tgtEl>
                                      </p:cBhvr>
                                    </p:animEffect>
                                    <p:animScale>
                                      <p:cBhvr>
                                        <p:cTn id="433" dur="1000" autoRev="1" fill="hold"/>
                                        <p:tgtEl>
                                          <p:spTgt spid="194"/>
                                        </p:tgtEl>
                                      </p:cBhvr>
                                      <p:by x="105000" y="105000"/>
                                    </p:animScale>
                                  </p:childTnLst>
                                </p:cTn>
                              </p:par>
                              <p:par>
                                <p:cTn id="434" presetID="26" presetClass="emph" presetSubtype="0" dur="2000" repeatCount="indefinite" fill="hold" grpId="0" nodeType="withEffect">
                                  <p:stCondLst>
                                    <p:cond delay="2750"/>
                                  </p:stCondLst>
                                  <p:childTnLst>
                                    <p:animEffect transition="out" filter="fade">
                                      <p:cBhvr>
                                        <p:cTn id="435" dur="2000" tmFilter="0, 0; .2, .5; .8, .5; 1, 0"/>
                                        <p:tgtEl>
                                          <p:spTgt spid="195"/>
                                        </p:tgtEl>
                                      </p:cBhvr>
                                    </p:animEffect>
                                    <p:animScale>
                                      <p:cBhvr>
                                        <p:cTn id="436" dur="1000" autoRev="1" fill="hold"/>
                                        <p:tgtEl>
                                          <p:spTgt spid="195"/>
                                        </p:tgtEl>
                                      </p:cBhvr>
                                      <p:by x="105000" y="105000"/>
                                    </p:animScale>
                                  </p:childTnLst>
                                </p:cTn>
                              </p:par>
                              <p:par>
                                <p:cTn id="437" presetID="26" presetClass="emph" presetSubtype="0" dur="2000" repeatCount="indefinite" fill="hold" grpId="0" nodeType="withEffect">
                                  <p:stCondLst>
                                    <p:cond delay="3000"/>
                                  </p:stCondLst>
                                  <p:childTnLst>
                                    <p:animEffect transition="out" filter="fade">
                                      <p:cBhvr>
                                        <p:cTn id="438" dur="2000" tmFilter="0, 0; .2, .5; .8, .5; 1, 0"/>
                                        <p:tgtEl>
                                          <p:spTgt spid="196"/>
                                        </p:tgtEl>
                                      </p:cBhvr>
                                    </p:animEffect>
                                    <p:animScale>
                                      <p:cBhvr>
                                        <p:cTn id="439" dur="1000" autoRev="1" fill="hold"/>
                                        <p:tgtEl>
                                          <p:spTgt spid="196"/>
                                        </p:tgtEl>
                                      </p:cBhvr>
                                      <p:by x="105000" y="105000"/>
                                    </p:animScale>
                                  </p:childTnLst>
                                </p:cTn>
                              </p:par>
                              <p:par>
                                <p:cTn id="440" presetID="26" presetClass="emph" presetSubtype="0" dur="2000" repeatCount="indefinite" fill="hold" grpId="0" nodeType="withEffect">
                                  <p:stCondLst>
                                    <p:cond delay="3000"/>
                                  </p:stCondLst>
                                  <p:childTnLst>
                                    <p:animEffect transition="out" filter="fade">
                                      <p:cBhvr>
                                        <p:cTn id="441" dur="2000" tmFilter="0, 0; .2, .5; .8, .5; 1, 0"/>
                                        <p:tgtEl>
                                          <p:spTgt spid="197"/>
                                        </p:tgtEl>
                                      </p:cBhvr>
                                    </p:animEffect>
                                    <p:animScale>
                                      <p:cBhvr>
                                        <p:cTn id="442" dur="1000" autoRev="1" fill="hold"/>
                                        <p:tgtEl>
                                          <p:spTgt spid="197"/>
                                        </p:tgtEl>
                                      </p:cBhvr>
                                      <p:by x="105000" y="105000"/>
                                    </p:animScale>
                                  </p:childTnLst>
                                </p:cTn>
                              </p:par>
                              <p:par>
                                <p:cTn id="443" presetID="26" presetClass="emph" presetSubtype="0" dur="2000" repeatCount="indefinite" fill="hold" grpId="0" nodeType="withEffect">
                                  <p:stCondLst>
                                    <p:cond delay="3000"/>
                                  </p:stCondLst>
                                  <p:childTnLst>
                                    <p:animEffect transition="out" filter="fade">
                                      <p:cBhvr>
                                        <p:cTn id="444" dur="2000" tmFilter="0, 0; .2, .5; .8, .5; 1, 0"/>
                                        <p:tgtEl>
                                          <p:spTgt spid="198"/>
                                        </p:tgtEl>
                                      </p:cBhvr>
                                    </p:animEffect>
                                    <p:animScale>
                                      <p:cBhvr>
                                        <p:cTn id="445" dur="1000" autoRev="1" fill="hold"/>
                                        <p:tgtEl>
                                          <p:spTgt spid="198"/>
                                        </p:tgtEl>
                                      </p:cBhvr>
                                      <p:by x="105000" y="105000"/>
                                    </p:animScale>
                                  </p:childTnLst>
                                </p:cTn>
                              </p:par>
                              <p:par>
                                <p:cTn id="446" presetID="26" presetClass="emph" presetSubtype="0" dur="2000" repeatCount="indefinite" fill="hold" grpId="0" nodeType="withEffect">
                                  <p:stCondLst>
                                    <p:cond delay="3000"/>
                                  </p:stCondLst>
                                  <p:childTnLst>
                                    <p:animEffect transition="out" filter="fade">
                                      <p:cBhvr>
                                        <p:cTn id="447" dur="2000" tmFilter="0, 0; .2, .5; .8, .5; 1, 0"/>
                                        <p:tgtEl>
                                          <p:spTgt spid="199"/>
                                        </p:tgtEl>
                                      </p:cBhvr>
                                    </p:animEffect>
                                    <p:animScale>
                                      <p:cBhvr>
                                        <p:cTn id="448" dur="1000" autoRev="1" fill="hold"/>
                                        <p:tgtEl>
                                          <p:spTgt spid="199"/>
                                        </p:tgtEl>
                                      </p:cBhvr>
                                      <p:by x="105000" y="105000"/>
                                    </p:animScale>
                                  </p:childTnLst>
                                </p:cTn>
                              </p:par>
                              <p:par>
                                <p:cTn id="449" presetID="26" presetClass="emph" presetSubtype="0" dur="2000" repeatCount="indefinite" fill="hold" grpId="0" nodeType="withEffect">
                                  <p:stCondLst>
                                    <p:cond delay="3000"/>
                                  </p:stCondLst>
                                  <p:childTnLst>
                                    <p:animEffect transition="out" filter="fade">
                                      <p:cBhvr>
                                        <p:cTn id="450" dur="2000" tmFilter="0, 0; .2, .5; .8, .5; 1, 0"/>
                                        <p:tgtEl>
                                          <p:spTgt spid="200"/>
                                        </p:tgtEl>
                                      </p:cBhvr>
                                    </p:animEffect>
                                    <p:animScale>
                                      <p:cBhvr>
                                        <p:cTn id="451" dur="1000" autoRev="1" fill="hold"/>
                                        <p:tgtEl>
                                          <p:spTgt spid="200"/>
                                        </p:tgtEl>
                                      </p:cBhvr>
                                      <p:by x="105000" y="105000"/>
                                    </p:animScale>
                                  </p:childTnLst>
                                </p:cTn>
                              </p:par>
                              <p:par>
                                <p:cTn id="452" presetID="26" presetClass="emph" presetSubtype="0" dur="2000" repeatCount="indefinite" fill="hold" grpId="0" nodeType="withEffect">
                                  <p:stCondLst>
                                    <p:cond delay="3000"/>
                                  </p:stCondLst>
                                  <p:childTnLst>
                                    <p:animEffect transition="out" filter="fade">
                                      <p:cBhvr>
                                        <p:cTn id="453" dur="2000" tmFilter="0, 0; .2, .5; .8, .5; 1, 0"/>
                                        <p:tgtEl>
                                          <p:spTgt spid="201"/>
                                        </p:tgtEl>
                                      </p:cBhvr>
                                    </p:animEffect>
                                    <p:animScale>
                                      <p:cBhvr>
                                        <p:cTn id="454" dur="1000" autoRev="1" fill="hold"/>
                                        <p:tgtEl>
                                          <p:spTgt spid="201"/>
                                        </p:tgtEl>
                                      </p:cBhvr>
                                      <p:by x="105000" y="105000"/>
                                    </p:animScale>
                                  </p:childTnLst>
                                </p:cTn>
                              </p:par>
                              <p:par>
                                <p:cTn id="455" presetID="26" presetClass="emph" presetSubtype="0" dur="2000" repeatCount="indefinite" fill="hold" grpId="0" nodeType="withEffect">
                                  <p:stCondLst>
                                    <p:cond delay="3000"/>
                                  </p:stCondLst>
                                  <p:childTnLst>
                                    <p:animEffect transition="out" filter="fade">
                                      <p:cBhvr>
                                        <p:cTn id="456" dur="2000" tmFilter="0, 0; .2, .5; .8, .5; 1, 0"/>
                                        <p:tgtEl>
                                          <p:spTgt spid="202"/>
                                        </p:tgtEl>
                                      </p:cBhvr>
                                    </p:animEffect>
                                    <p:animScale>
                                      <p:cBhvr>
                                        <p:cTn id="457" dur="1000" autoRev="1" fill="hold"/>
                                        <p:tgtEl>
                                          <p:spTgt spid="202"/>
                                        </p:tgtEl>
                                      </p:cBhvr>
                                      <p:by x="105000" y="105000"/>
                                    </p:animScale>
                                  </p:childTnLst>
                                </p:cTn>
                              </p:par>
                              <p:par>
                                <p:cTn id="458" presetID="26" presetClass="emph" presetSubtype="0" dur="2000" repeatCount="indefinite" fill="hold" grpId="0" nodeType="withEffect">
                                  <p:stCondLst>
                                    <p:cond delay="3000"/>
                                  </p:stCondLst>
                                  <p:childTnLst>
                                    <p:animEffect transition="out" filter="fade">
                                      <p:cBhvr>
                                        <p:cTn id="459" dur="2000" tmFilter="0, 0; .2, .5; .8, .5; 1, 0"/>
                                        <p:tgtEl>
                                          <p:spTgt spid="203"/>
                                        </p:tgtEl>
                                      </p:cBhvr>
                                    </p:animEffect>
                                    <p:animScale>
                                      <p:cBhvr>
                                        <p:cTn id="460" dur="1000" autoRev="1" fill="hold"/>
                                        <p:tgtEl>
                                          <p:spTgt spid="203"/>
                                        </p:tgtEl>
                                      </p:cBhvr>
                                      <p:by x="105000" y="105000"/>
                                    </p:animScale>
                                  </p:childTnLst>
                                </p:cTn>
                              </p:par>
                              <p:par>
                                <p:cTn id="461" presetID="26" presetClass="emph" presetSubtype="0" dur="2000" repeatCount="indefinite" fill="hold" grpId="0" nodeType="withEffect">
                                  <p:stCondLst>
                                    <p:cond delay="3000"/>
                                  </p:stCondLst>
                                  <p:childTnLst>
                                    <p:animEffect transition="out" filter="fade">
                                      <p:cBhvr>
                                        <p:cTn id="462" dur="2000" tmFilter="0, 0; .2, .5; .8, .5; 1, 0"/>
                                        <p:tgtEl>
                                          <p:spTgt spid="204"/>
                                        </p:tgtEl>
                                      </p:cBhvr>
                                    </p:animEffect>
                                    <p:animScale>
                                      <p:cBhvr>
                                        <p:cTn id="463" dur="1000" autoRev="1" fill="hold"/>
                                        <p:tgtEl>
                                          <p:spTgt spid="204"/>
                                        </p:tgtEl>
                                      </p:cBhvr>
                                      <p:by x="105000" y="105000"/>
                                    </p:animScale>
                                  </p:childTnLst>
                                </p:cTn>
                              </p:par>
                              <p:par>
                                <p:cTn id="464" presetID="26" presetClass="emph" presetSubtype="0" dur="2000" repeatCount="indefinite" fill="hold" grpId="0" nodeType="withEffect">
                                  <p:stCondLst>
                                    <p:cond delay="3000"/>
                                  </p:stCondLst>
                                  <p:childTnLst>
                                    <p:animEffect transition="out" filter="fade">
                                      <p:cBhvr>
                                        <p:cTn id="465" dur="2000" tmFilter="0, 0; .2, .5; .8, .5; 1, 0"/>
                                        <p:tgtEl>
                                          <p:spTgt spid="205"/>
                                        </p:tgtEl>
                                      </p:cBhvr>
                                    </p:animEffect>
                                    <p:animScale>
                                      <p:cBhvr>
                                        <p:cTn id="466" dur="1000" autoRev="1" fill="hold"/>
                                        <p:tgtEl>
                                          <p:spTgt spid="205"/>
                                        </p:tgtEl>
                                      </p:cBhvr>
                                      <p:by x="105000" y="105000"/>
                                    </p:animScale>
                                  </p:childTnLst>
                                </p:cTn>
                              </p:par>
                              <p:par>
                                <p:cTn id="467" presetID="26" presetClass="emph" presetSubtype="0" dur="2000" repeatCount="indefinite" fill="hold" grpId="0" nodeType="withEffect">
                                  <p:stCondLst>
                                    <p:cond delay="3000"/>
                                  </p:stCondLst>
                                  <p:childTnLst>
                                    <p:animEffect transition="out" filter="fade">
                                      <p:cBhvr>
                                        <p:cTn id="468" dur="2000" tmFilter="0, 0; .2, .5; .8, .5; 1, 0"/>
                                        <p:tgtEl>
                                          <p:spTgt spid="206"/>
                                        </p:tgtEl>
                                      </p:cBhvr>
                                    </p:animEffect>
                                    <p:animScale>
                                      <p:cBhvr>
                                        <p:cTn id="469" dur="1000" autoRev="1" fill="hold"/>
                                        <p:tgtEl>
                                          <p:spTgt spid="206"/>
                                        </p:tgtEl>
                                      </p:cBhvr>
                                      <p:by x="105000" y="105000"/>
                                    </p:animScale>
                                  </p:childTnLst>
                                </p:cTn>
                              </p:par>
                              <p:par>
                                <p:cTn id="470" presetID="26" presetClass="emph" presetSubtype="0" dur="2000" repeatCount="indefinite" fill="hold" grpId="0" nodeType="withEffect">
                                  <p:stCondLst>
                                    <p:cond delay="3000"/>
                                  </p:stCondLst>
                                  <p:childTnLst>
                                    <p:animEffect transition="out" filter="fade">
                                      <p:cBhvr>
                                        <p:cTn id="471" dur="2000" tmFilter="0, 0; .2, .5; .8, .5; 1, 0"/>
                                        <p:tgtEl>
                                          <p:spTgt spid="207"/>
                                        </p:tgtEl>
                                      </p:cBhvr>
                                    </p:animEffect>
                                    <p:animScale>
                                      <p:cBhvr>
                                        <p:cTn id="472" dur="1000" autoRev="1" fill="hold"/>
                                        <p:tgtEl>
                                          <p:spTgt spid="207"/>
                                        </p:tgtEl>
                                      </p:cBhvr>
                                      <p:by x="105000" y="105000"/>
                                    </p:animScale>
                                  </p:childTnLst>
                                </p:cTn>
                              </p:par>
                              <p:par>
                                <p:cTn id="473" presetID="26" presetClass="emph" presetSubtype="0" dur="2000" repeatCount="indefinite" fill="hold" grpId="0" nodeType="withEffect">
                                  <p:stCondLst>
                                    <p:cond delay="3000"/>
                                  </p:stCondLst>
                                  <p:childTnLst>
                                    <p:animEffect transition="out" filter="fade">
                                      <p:cBhvr>
                                        <p:cTn id="474" dur="2000" tmFilter="0, 0; .2, .5; .8, .5; 1, 0"/>
                                        <p:tgtEl>
                                          <p:spTgt spid="208"/>
                                        </p:tgtEl>
                                      </p:cBhvr>
                                    </p:animEffect>
                                    <p:animScale>
                                      <p:cBhvr>
                                        <p:cTn id="475" dur="1000" autoRev="1" fill="hold"/>
                                        <p:tgtEl>
                                          <p:spTgt spid="208"/>
                                        </p:tgtEl>
                                      </p:cBhvr>
                                      <p:by x="105000" y="105000"/>
                                    </p:animScale>
                                  </p:childTnLst>
                                </p:cTn>
                              </p:par>
                              <p:par>
                                <p:cTn id="476" presetID="26" presetClass="emph" presetSubtype="0" dur="2000" repeatCount="indefinite" fill="hold" grpId="0" nodeType="withEffect">
                                  <p:stCondLst>
                                    <p:cond delay="3000"/>
                                  </p:stCondLst>
                                  <p:childTnLst>
                                    <p:animEffect transition="out" filter="fade">
                                      <p:cBhvr>
                                        <p:cTn id="477" dur="2000" tmFilter="0, 0; .2, .5; .8, .5; 1, 0"/>
                                        <p:tgtEl>
                                          <p:spTgt spid="209"/>
                                        </p:tgtEl>
                                      </p:cBhvr>
                                    </p:animEffect>
                                    <p:animScale>
                                      <p:cBhvr>
                                        <p:cTn id="478" dur="1000" autoRev="1" fill="hold"/>
                                        <p:tgtEl>
                                          <p:spTgt spid="209"/>
                                        </p:tgtEl>
                                      </p:cBhvr>
                                      <p:by x="105000" y="105000"/>
                                    </p:animScale>
                                  </p:childTnLst>
                                </p:cTn>
                              </p:par>
                              <p:par>
                                <p:cTn id="479" presetID="26" presetClass="emph" presetSubtype="0" dur="2000" repeatCount="indefinite" fill="hold" grpId="0" nodeType="withEffect">
                                  <p:stCondLst>
                                    <p:cond delay="3250"/>
                                  </p:stCondLst>
                                  <p:childTnLst>
                                    <p:animEffect transition="out" filter="fade">
                                      <p:cBhvr>
                                        <p:cTn id="480" dur="2000" tmFilter="0, 0; .2, .5; .8, .5; 1, 0"/>
                                        <p:tgtEl>
                                          <p:spTgt spid="210"/>
                                        </p:tgtEl>
                                      </p:cBhvr>
                                    </p:animEffect>
                                    <p:animScale>
                                      <p:cBhvr>
                                        <p:cTn id="481" dur="1000" autoRev="1" fill="hold"/>
                                        <p:tgtEl>
                                          <p:spTgt spid="210"/>
                                        </p:tgtEl>
                                      </p:cBhvr>
                                      <p:by x="105000" y="105000"/>
                                    </p:animScale>
                                  </p:childTnLst>
                                </p:cTn>
                              </p:par>
                              <p:par>
                                <p:cTn id="482" presetID="26" presetClass="emph" presetSubtype="0" dur="2000" repeatCount="indefinite" fill="hold" grpId="0" nodeType="withEffect">
                                  <p:stCondLst>
                                    <p:cond delay="3250"/>
                                  </p:stCondLst>
                                  <p:childTnLst>
                                    <p:animEffect transition="out" filter="fade">
                                      <p:cBhvr>
                                        <p:cTn id="483" dur="2000" tmFilter="0, 0; .2, .5; .8, .5; 1, 0"/>
                                        <p:tgtEl>
                                          <p:spTgt spid="211"/>
                                        </p:tgtEl>
                                      </p:cBhvr>
                                    </p:animEffect>
                                    <p:animScale>
                                      <p:cBhvr>
                                        <p:cTn id="484" dur="1000" autoRev="1" fill="hold"/>
                                        <p:tgtEl>
                                          <p:spTgt spid="211"/>
                                        </p:tgtEl>
                                      </p:cBhvr>
                                      <p:by x="105000" y="105000"/>
                                    </p:animScale>
                                  </p:childTnLst>
                                </p:cTn>
                              </p:par>
                              <p:par>
                                <p:cTn id="485" presetID="26" presetClass="emph" presetSubtype="0" dur="2000" repeatCount="indefinite" fill="hold" grpId="0" nodeType="withEffect">
                                  <p:stCondLst>
                                    <p:cond delay="3250"/>
                                  </p:stCondLst>
                                  <p:childTnLst>
                                    <p:animEffect transition="out" filter="fade">
                                      <p:cBhvr>
                                        <p:cTn id="486" dur="2000" tmFilter="0, 0; .2, .5; .8, .5; 1, 0"/>
                                        <p:tgtEl>
                                          <p:spTgt spid="212"/>
                                        </p:tgtEl>
                                      </p:cBhvr>
                                    </p:animEffect>
                                    <p:animScale>
                                      <p:cBhvr>
                                        <p:cTn id="487" dur="1000" autoRev="1" fill="hold"/>
                                        <p:tgtEl>
                                          <p:spTgt spid="212"/>
                                        </p:tgtEl>
                                      </p:cBhvr>
                                      <p:by x="105000" y="105000"/>
                                    </p:animScale>
                                  </p:childTnLst>
                                </p:cTn>
                              </p:par>
                              <p:par>
                                <p:cTn id="488" presetID="26" presetClass="emph" presetSubtype="0" dur="2000" repeatCount="indefinite" fill="hold" grpId="0" nodeType="withEffect">
                                  <p:stCondLst>
                                    <p:cond delay="3250"/>
                                  </p:stCondLst>
                                  <p:childTnLst>
                                    <p:animEffect transition="out" filter="fade">
                                      <p:cBhvr>
                                        <p:cTn id="489" dur="2000" tmFilter="0, 0; .2, .5; .8, .5; 1, 0"/>
                                        <p:tgtEl>
                                          <p:spTgt spid="213"/>
                                        </p:tgtEl>
                                      </p:cBhvr>
                                    </p:animEffect>
                                    <p:animScale>
                                      <p:cBhvr>
                                        <p:cTn id="490" dur="1000" autoRev="1" fill="hold"/>
                                        <p:tgtEl>
                                          <p:spTgt spid="213"/>
                                        </p:tgtEl>
                                      </p:cBhvr>
                                      <p:by x="105000" y="105000"/>
                                    </p:animScale>
                                  </p:childTnLst>
                                </p:cTn>
                              </p:par>
                              <p:par>
                                <p:cTn id="491" presetID="26" presetClass="emph" presetSubtype="0" dur="2000" repeatCount="indefinite" fill="hold" grpId="0" nodeType="withEffect">
                                  <p:stCondLst>
                                    <p:cond delay="3250"/>
                                  </p:stCondLst>
                                  <p:childTnLst>
                                    <p:animEffect transition="out" filter="fade">
                                      <p:cBhvr>
                                        <p:cTn id="492" dur="2000" tmFilter="0, 0; .2, .5; .8, .5; 1, 0"/>
                                        <p:tgtEl>
                                          <p:spTgt spid="214"/>
                                        </p:tgtEl>
                                      </p:cBhvr>
                                    </p:animEffect>
                                    <p:animScale>
                                      <p:cBhvr>
                                        <p:cTn id="493" dur="1000" autoRev="1" fill="hold"/>
                                        <p:tgtEl>
                                          <p:spTgt spid="214"/>
                                        </p:tgtEl>
                                      </p:cBhvr>
                                      <p:by x="105000" y="105000"/>
                                    </p:animScale>
                                  </p:childTnLst>
                                </p:cTn>
                              </p:par>
                              <p:par>
                                <p:cTn id="494" presetID="26" presetClass="emph" presetSubtype="0" dur="2000" repeatCount="indefinite" fill="hold" grpId="0" nodeType="withEffect">
                                  <p:stCondLst>
                                    <p:cond delay="3250"/>
                                  </p:stCondLst>
                                  <p:childTnLst>
                                    <p:animEffect transition="out" filter="fade">
                                      <p:cBhvr>
                                        <p:cTn id="495" dur="2000" tmFilter="0, 0; .2, .5; .8, .5; 1, 0"/>
                                        <p:tgtEl>
                                          <p:spTgt spid="215"/>
                                        </p:tgtEl>
                                      </p:cBhvr>
                                    </p:animEffect>
                                    <p:animScale>
                                      <p:cBhvr>
                                        <p:cTn id="496" dur="1000" autoRev="1" fill="hold"/>
                                        <p:tgtEl>
                                          <p:spTgt spid="215"/>
                                        </p:tgtEl>
                                      </p:cBhvr>
                                      <p:by x="105000" y="105000"/>
                                    </p:animScale>
                                  </p:childTnLst>
                                </p:cTn>
                              </p:par>
                              <p:par>
                                <p:cTn id="497" presetID="26" presetClass="emph" presetSubtype="0" dur="2000" repeatCount="indefinite" fill="hold" grpId="0" nodeType="withEffect">
                                  <p:stCondLst>
                                    <p:cond delay="3250"/>
                                  </p:stCondLst>
                                  <p:childTnLst>
                                    <p:animEffect transition="out" filter="fade">
                                      <p:cBhvr>
                                        <p:cTn id="498" dur="2000" tmFilter="0, 0; .2, .5; .8, .5; 1, 0"/>
                                        <p:tgtEl>
                                          <p:spTgt spid="216"/>
                                        </p:tgtEl>
                                      </p:cBhvr>
                                    </p:animEffect>
                                    <p:animScale>
                                      <p:cBhvr>
                                        <p:cTn id="499" dur="1000" autoRev="1" fill="hold"/>
                                        <p:tgtEl>
                                          <p:spTgt spid="216"/>
                                        </p:tgtEl>
                                      </p:cBhvr>
                                      <p:by x="105000" y="105000"/>
                                    </p:animScale>
                                  </p:childTnLst>
                                </p:cTn>
                              </p:par>
                              <p:par>
                                <p:cTn id="500" presetID="26" presetClass="emph" presetSubtype="0" dur="2000" repeatCount="indefinite" fill="hold" grpId="0" nodeType="withEffect">
                                  <p:stCondLst>
                                    <p:cond delay="3250"/>
                                  </p:stCondLst>
                                  <p:childTnLst>
                                    <p:animEffect transition="out" filter="fade">
                                      <p:cBhvr>
                                        <p:cTn id="501" dur="2000" tmFilter="0, 0; .2, .5; .8, .5; 1, 0"/>
                                        <p:tgtEl>
                                          <p:spTgt spid="217"/>
                                        </p:tgtEl>
                                      </p:cBhvr>
                                    </p:animEffect>
                                    <p:animScale>
                                      <p:cBhvr>
                                        <p:cTn id="502" dur="1000" autoRev="1" fill="hold"/>
                                        <p:tgtEl>
                                          <p:spTgt spid="217"/>
                                        </p:tgtEl>
                                      </p:cBhvr>
                                      <p:by x="105000" y="105000"/>
                                    </p:animScale>
                                  </p:childTnLst>
                                </p:cTn>
                              </p:par>
                              <p:par>
                                <p:cTn id="503" presetID="26" presetClass="emph" presetSubtype="0" dur="2000" repeatCount="indefinite" fill="hold" grpId="0" nodeType="withEffect">
                                  <p:stCondLst>
                                    <p:cond delay="3250"/>
                                  </p:stCondLst>
                                  <p:childTnLst>
                                    <p:animEffect transition="out" filter="fade">
                                      <p:cBhvr>
                                        <p:cTn id="504" dur="2000" tmFilter="0, 0; .2, .5; .8, .5; 1, 0"/>
                                        <p:tgtEl>
                                          <p:spTgt spid="218"/>
                                        </p:tgtEl>
                                      </p:cBhvr>
                                    </p:animEffect>
                                    <p:animScale>
                                      <p:cBhvr>
                                        <p:cTn id="505" dur="1000" autoRev="1" fill="hold"/>
                                        <p:tgtEl>
                                          <p:spTgt spid="218"/>
                                        </p:tgtEl>
                                      </p:cBhvr>
                                      <p:by x="105000" y="105000"/>
                                    </p:animScale>
                                  </p:childTnLst>
                                </p:cTn>
                              </p:par>
                              <p:par>
                                <p:cTn id="506" presetID="26" presetClass="emph" presetSubtype="0" dur="2000" repeatCount="indefinite" fill="hold" grpId="0" nodeType="withEffect">
                                  <p:stCondLst>
                                    <p:cond delay="3250"/>
                                  </p:stCondLst>
                                  <p:childTnLst>
                                    <p:animEffect transition="out" filter="fade">
                                      <p:cBhvr>
                                        <p:cTn id="507" dur="2000" tmFilter="0, 0; .2, .5; .8, .5; 1, 0"/>
                                        <p:tgtEl>
                                          <p:spTgt spid="219"/>
                                        </p:tgtEl>
                                      </p:cBhvr>
                                    </p:animEffect>
                                    <p:animScale>
                                      <p:cBhvr>
                                        <p:cTn id="508" dur="1000" autoRev="1" fill="hold"/>
                                        <p:tgtEl>
                                          <p:spTgt spid="219"/>
                                        </p:tgtEl>
                                      </p:cBhvr>
                                      <p:by x="105000" y="105000"/>
                                    </p:animScale>
                                  </p:childTnLst>
                                </p:cTn>
                              </p:par>
                              <p:par>
                                <p:cTn id="509" presetID="26" presetClass="emph" presetSubtype="0" dur="2000" repeatCount="indefinite" fill="hold" grpId="0" nodeType="withEffect">
                                  <p:stCondLst>
                                    <p:cond delay="3250"/>
                                  </p:stCondLst>
                                  <p:childTnLst>
                                    <p:animEffect transition="out" filter="fade">
                                      <p:cBhvr>
                                        <p:cTn id="510" dur="2000" tmFilter="0, 0; .2, .5; .8, .5; 1, 0"/>
                                        <p:tgtEl>
                                          <p:spTgt spid="220"/>
                                        </p:tgtEl>
                                      </p:cBhvr>
                                    </p:animEffect>
                                    <p:animScale>
                                      <p:cBhvr>
                                        <p:cTn id="511" dur="1000" autoRev="1" fill="hold"/>
                                        <p:tgtEl>
                                          <p:spTgt spid="220"/>
                                        </p:tgtEl>
                                      </p:cBhvr>
                                      <p:by x="105000" y="105000"/>
                                    </p:animScale>
                                  </p:childTnLst>
                                </p:cTn>
                              </p:par>
                              <p:par>
                                <p:cTn id="512" presetID="26" presetClass="emph" presetSubtype="0" dur="2000" repeatCount="indefinite" fill="hold" grpId="0" nodeType="withEffect">
                                  <p:stCondLst>
                                    <p:cond delay="3250"/>
                                  </p:stCondLst>
                                  <p:childTnLst>
                                    <p:animEffect transition="out" filter="fade">
                                      <p:cBhvr>
                                        <p:cTn id="513" dur="2000" tmFilter="0, 0; .2, .5; .8, .5; 1, 0"/>
                                        <p:tgtEl>
                                          <p:spTgt spid="221"/>
                                        </p:tgtEl>
                                      </p:cBhvr>
                                    </p:animEffect>
                                    <p:animScale>
                                      <p:cBhvr>
                                        <p:cTn id="514" dur="1000" autoRev="1" fill="hold"/>
                                        <p:tgtEl>
                                          <p:spTgt spid="221"/>
                                        </p:tgtEl>
                                      </p:cBhvr>
                                      <p:by x="105000" y="105000"/>
                                    </p:animScale>
                                  </p:childTnLst>
                                </p:cTn>
                              </p:par>
                              <p:par>
                                <p:cTn id="515" presetID="26" presetClass="emph" presetSubtype="0" dur="2000" repeatCount="indefinite" fill="hold" grpId="0" nodeType="withEffect">
                                  <p:stCondLst>
                                    <p:cond delay="3250"/>
                                  </p:stCondLst>
                                  <p:childTnLst>
                                    <p:animEffect transition="out" filter="fade">
                                      <p:cBhvr>
                                        <p:cTn id="516" dur="2000" tmFilter="0, 0; .2, .5; .8, .5; 1, 0"/>
                                        <p:tgtEl>
                                          <p:spTgt spid="222"/>
                                        </p:tgtEl>
                                      </p:cBhvr>
                                    </p:animEffect>
                                    <p:animScale>
                                      <p:cBhvr>
                                        <p:cTn id="517" dur="1000" autoRev="1" fill="hold"/>
                                        <p:tgtEl>
                                          <p:spTgt spid="222"/>
                                        </p:tgtEl>
                                      </p:cBhvr>
                                      <p:by x="105000" y="105000"/>
                                    </p:animScale>
                                  </p:childTnLst>
                                </p:cTn>
                              </p:par>
                              <p:par>
                                <p:cTn id="518" presetID="26" presetClass="emph" presetSubtype="0" dur="2000" repeatCount="indefinite" fill="hold" grpId="0" nodeType="withEffect">
                                  <p:stCondLst>
                                    <p:cond delay="3250"/>
                                  </p:stCondLst>
                                  <p:childTnLst>
                                    <p:animEffect transition="out" filter="fade">
                                      <p:cBhvr>
                                        <p:cTn id="519" dur="2000" tmFilter="0, 0; .2, .5; .8, .5; 1, 0"/>
                                        <p:tgtEl>
                                          <p:spTgt spid="223"/>
                                        </p:tgtEl>
                                      </p:cBhvr>
                                    </p:animEffect>
                                    <p:animScale>
                                      <p:cBhvr>
                                        <p:cTn id="520" dur="1000" autoRev="1" fill="hold"/>
                                        <p:tgtEl>
                                          <p:spTgt spid="223"/>
                                        </p:tgtEl>
                                      </p:cBhvr>
                                      <p:by x="105000" y="105000"/>
                                    </p:animScale>
                                  </p:childTnLst>
                                </p:cTn>
                              </p:par>
                              <p:par>
                                <p:cTn id="521" presetID="26" presetClass="emph" presetSubtype="0" dur="2000" repeatCount="indefinite" fill="hold" grpId="0" nodeType="withEffect">
                                  <p:stCondLst>
                                    <p:cond delay="3500"/>
                                  </p:stCondLst>
                                  <p:childTnLst>
                                    <p:animEffect transition="out" filter="fade">
                                      <p:cBhvr>
                                        <p:cTn id="522" dur="2000" tmFilter="0, 0; .2, .5; .8, .5; 1, 0"/>
                                        <p:tgtEl>
                                          <p:spTgt spid="224"/>
                                        </p:tgtEl>
                                      </p:cBhvr>
                                    </p:animEffect>
                                    <p:animScale>
                                      <p:cBhvr>
                                        <p:cTn id="523" dur="1000" autoRev="1" fill="hold"/>
                                        <p:tgtEl>
                                          <p:spTgt spid="224"/>
                                        </p:tgtEl>
                                      </p:cBhvr>
                                      <p:by x="105000" y="105000"/>
                                    </p:animScale>
                                  </p:childTnLst>
                                </p:cTn>
                              </p:par>
                              <p:par>
                                <p:cTn id="524" presetID="26" presetClass="emph" presetSubtype="0" dur="2000" repeatCount="indefinite" fill="hold" grpId="0" nodeType="withEffect">
                                  <p:stCondLst>
                                    <p:cond delay="3500"/>
                                  </p:stCondLst>
                                  <p:childTnLst>
                                    <p:animEffect transition="out" filter="fade">
                                      <p:cBhvr>
                                        <p:cTn id="525" dur="2000" tmFilter="0, 0; .2, .5; .8, .5; 1, 0"/>
                                        <p:tgtEl>
                                          <p:spTgt spid="225"/>
                                        </p:tgtEl>
                                      </p:cBhvr>
                                    </p:animEffect>
                                    <p:animScale>
                                      <p:cBhvr>
                                        <p:cTn id="526" dur="1000" autoRev="1" fill="hold"/>
                                        <p:tgtEl>
                                          <p:spTgt spid="225"/>
                                        </p:tgtEl>
                                      </p:cBhvr>
                                      <p:by x="105000" y="105000"/>
                                    </p:animScale>
                                  </p:childTnLst>
                                </p:cTn>
                              </p:par>
                              <p:par>
                                <p:cTn id="527" presetID="26" presetClass="emph" presetSubtype="0" dur="2000" repeatCount="indefinite" fill="hold" grpId="0" nodeType="withEffect">
                                  <p:stCondLst>
                                    <p:cond delay="3500"/>
                                  </p:stCondLst>
                                  <p:childTnLst>
                                    <p:animEffect transition="out" filter="fade">
                                      <p:cBhvr>
                                        <p:cTn id="528" dur="2000" tmFilter="0, 0; .2, .5; .8, .5; 1, 0"/>
                                        <p:tgtEl>
                                          <p:spTgt spid="226"/>
                                        </p:tgtEl>
                                      </p:cBhvr>
                                    </p:animEffect>
                                    <p:animScale>
                                      <p:cBhvr>
                                        <p:cTn id="529" dur="1000" autoRev="1" fill="hold"/>
                                        <p:tgtEl>
                                          <p:spTgt spid="226"/>
                                        </p:tgtEl>
                                      </p:cBhvr>
                                      <p:by x="105000" y="105000"/>
                                    </p:animScale>
                                  </p:childTnLst>
                                </p:cTn>
                              </p:par>
                              <p:par>
                                <p:cTn id="530" presetID="26" presetClass="emph" presetSubtype="0" dur="2000" repeatCount="indefinite" fill="hold" grpId="0" nodeType="withEffect">
                                  <p:stCondLst>
                                    <p:cond delay="3500"/>
                                  </p:stCondLst>
                                  <p:childTnLst>
                                    <p:animEffect transition="out" filter="fade">
                                      <p:cBhvr>
                                        <p:cTn id="531" dur="2000" tmFilter="0, 0; .2, .5; .8, .5; 1, 0"/>
                                        <p:tgtEl>
                                          <p:spTgt spid="227"/>
                                        </p:tgtEl>
                                      </p:cBhvr>
                                    </p:animEffect>
                                    <p:animScale>
                                      <p:cBhvr>
                                        <p:cTn id="532" dur="1000" autoRev="1" fill="hold"/>
                                        <p:tgtEl>
                                          <p:spTgt spid="227"/>
                                        </p:tgtEl>
                                      </p:cBhvr>
                                      <p:by x="105000" y="105000"/>
                                    </p:animScale>
                                  </p:childTnLst>
                                </p:cTn>
                              </p:par>
                              <p:par>
                                <p:cTn id="533" presetID="26" presetClass="emph" presetSubtype="0" dur="2000" repeatCount="indefinite" fill="hold" grpId="0" nodeType="withEffect">
                                  <p:stCondLst>
                                    <p:cond delay="3500"/>
                                  </p:stCondLst>
                                  <p:childTnLst>
                                    <p:animEffect transition="out" filter="fade">
                                      <p:cBhvr>
                                        <p:cTn id="534" dur="2000" tmFilter="0, 0; .2, .5; .8, .5; 1, 0"/>
                                        <p:tgtEl>
                                          <p:spTgt spid="228"/>
                                        </p:tgtEl>
                                      </p:cBhvr>
                                    </p:animEffect>
                                    <p:animScale>
                                      <p:cBhvr>
                                        <p:cTn id="535" dur="1000" autoRev="1" fill="hold"/>
                                        <p:tgtEl>
                                          <p:spTgt spid="228"/>
                                        </p:tgtEl>
                                      </p:cBhvr>
                                      <p:by x="105000" y="105000"/>
                                    </p:animScale>
                                  </p:childTnLst>
                                </p:cTn>
                              </p:par>
                              <p:par>
                                <p:cTn id="536" presetID="26" presetClass="emph" presetSubtype="0" dur="2000" repeatCount="indefinite" fill="hold" grpId="0" nodeType="withEffect">
                                  <p:stCondLst>
                                    <p:cond delay="3500"/>
                                  </p:stCondLst>
                                  <p:childTnLst>
                                    <p:animEffect transition="out" filter="fade">
                                      <p:cBhvr>
                                        <p:cTn id="537" dur="2000" tmFilter="0, 0; .2, .5; .8, .5; 1, 0"/>
                                        <p:tgtEl>
                                          <p:spTgt spid="229"/>
                                        </p:tgtEl>
                                      </p:cBhvr>
                                    </p:animEffect>
                                    <p:animScale>
                                      <p:cBhvr>
                                        <p:cTn id="538" dur="1000" autoRev="1" fill="hold"/>
                                        <p:tgtEl>
                                          <p:spTgt spid="229"/>
                                        </p:tgtEl>
                                      </p:cBhvr>
                                      <p:by x="105000" y="105000"/>
                                    </p:animScale>
                                  </p:childTnLst>
                                </p:cTn>
                              </p:par>
                              <p:par>
                                <p:cTn id="539" presetID="26" presetClass="emph" presetSubtype="0" dur="2000" repeatCount="indefinite" fill="hold" grpId="0" nodeType="withEffect">
                                  <p:stCondLst>
                                    <p:cond delay="3500"/>
                                  </p:stCondLst>
                                  <p:childTnLst>
                                    <p:animEffect transition="out" filter="fade">
                                      <p:cBhvr>
                                        <p:cTn id="540" dur="2000" tmFilter="0, 0; .2, .5; .8, .5; 1, 0"/>
                                        <p:tgtEl>
                                          <p:spTgt spid="230"/>
                                        </p:tgtEl>
                                      </p:cBhvr>
                                    </p:animEffect>
                                    <p:animScale>
                                      <p:cBhvr>
                                        <p:cTn id="541" dur="1000" autoRev="1" fill="hold"/>
                                        <p:tgtEl>
                                          <p:spTgt spid="230"/>
                                        </p:tgtEl>
                                      </p:cBhvr>
                                      <p:by x="105000" y="105000"/>
                                    </p:animScale>
                                  </p:childTnLst>
                                </p:cTn>
                              </p:par>
                              <p:par>
                                <p:cTn id="542" presetID="26" presetClass="emph" presetSubtype="0" dur="2000" repeatCount="indefinite" fill="hold" grpId="0" nodeType="withEffect">
                                  <p:stCondLst>
                                    <p:cond delay="3500"/>
                                  </p:stCondLst>
                                  <p:childTnLst>
                                    <p:animEffect transition="out" filter="fade">
                                      <p:cBhvr>
                                        <p:cTn id="543" dur="2000" tmFilter="0, 0; .2, .5; .8, .5; 1, 0"/>
                                        <p:tgtEl>
                                          <p:spTgt spid="231"/>
                                        </p:tgtEl>
                                      </p:cBhvr>
                                    </p:animEffect>
                                    <p:animScale>
                                      <p:cBhvr>
                                        <p:cTn id="544" dur="1000" autoRev="1" fill="hold"/>
                                        <p:tgtEl>
                                          <p:spTgt spid="231"/>
                                        </p:tgtEl>
                                      </p:cBhvr>
                                      <p:by x="105000" y="105000"/>
                                    </p:animScale>
                                  </p:childTnLst>
                                </p:cTn>
                              </p:par>
                              <p:par>
                                <p:cTn id="545" presetID="26" presetClass="emph" presetSubtype="0" dur="2000" repeatCount="indefinite" fill="hold" grpId="0" nodeType="withEffect">
                                  <p:stCondLst>
                                    <p:cond delay="3500"/>
                                  </p:stCondLst>
                                  <p:childTnLst>
                                    <p:animEffect transition="out" filter="fade">
                                      <p:cBhvr>
                                        <p:cTn id="546" dur="2000" tmFilter="0, 0; .2, .5; .8, .5; 1, 0"/>
                                        <p:tgtEl>
                                          <p:spTgt spid="232"/>
                                        </p:tgtEl>
                                      </p:cBhvr>
                                    </p:animEffect>
                                    <p:animScale>
                                      <p:cBhvr>
                                        <p:cTn id="547" dur="1000" autoRev="1" fill="hold"/>
                                        <p:tgtEl>
                                          <p:spTgt spid="232"/>
                                        </p:tgtEl>
                                      </p:cBhvr>
                                      <p:by x="105000" y="105000"/>
                                    </p:animScale>
                                  </p:childTnLst>
                                </p:cTn>
                              </p:par>
                              <p:par>
                                <p:cTn id="548" presetID="26" presetClass="emph" presetSubtype="0" dur="2000" repeatCount="indefinite" fill="hold" grpId="0" nodeType="withEffect">
                                  <p:stCondLst>
                                    <p:cond delay="3500"/>
                                  </p:stCondLst>
                                  <p:childTnLst>
                                    <p:animEffect transition="out" filter="fade">
                                      <p:cBhvr>
                                        <p:cTn id="549" dur="2000" tmFilter="0, 0; .2, .5; .8, .5; 1, 0"/>
                                        <p:tgtEl>
                                          <p:spTgt spid="233"/>
                                        </p:tgtEl>
                                      </p:cBhvr>
                                    </p:animEffect>
                                    <p:animScale>
                                      <p:cBhvr>
                                        <p:cTn id="550" dur="1000" autoRev="1" fill="hold"/>
                                        <p:tgtEl>
                                          <p:spTgt spid="233"/>
                                        </p:tgtEl>
                                      </p:cBhvr>
                                      <p:by x="105000" y="105000"/>
                                    </p:animScale>
                                  </p:childTnLst>
                                </p:cTn>
                              </p:par>
                              <p:par>
                                <p:cTn id="551" presetID="26" presetClass="emph" presetSubtype="0" dur="2000" repeatCount="indefinite" fill="hold" grpId="0" nodeType="withEffect">
                                  <p:stCondLst>
                                    <p:cond delay="3500"/>
                                  </p:stCondLst>
                                  <p:childTnLst>
                                    <p:animEffect transition="out" filter="fade">
                                      <p:cBhvr>
                                        <p:cTn id="552" dur="2000" tmFilter="0, 0; .2, .5; .8, .5; 1, 0"/>
                                        <p:tgtEl>
                                          <p:spTgt spid="234"/>
                                        </p:tgtEl>
                                      </p:cBhvr>
                                    </p:animEffect>
                                    <p:animScale>
                                      <p:cBhvr>
                                        <p:cTn id="553" dur="1000" autoRev="1" fill="hold"/>
                                        <p:tgtEl>
                                          <p:spTgt spid="234"/>
                                        </p:tgtEl>
                                      </p:cBhvr>
                                      <p:by x="105000" y="105000"/>
                                    </p:animScale>
                                  </p:childTnLst>
                                </p:cTn>
                              </p:par>
                              <p:par>
                                <p:cTn id="554" presetID="26" presetClass="emph" presetSubtype="0" dur="2000" repeatCount="indefinite" fill="hold" grpId="0" nodeType="withEffect">
                                  <p:stCondLst>
                                    <p:cond delay="3500"/>
                                  </p:stCondLst>
                                  <p:childTnLst>
                                    <p:animEffect transition="out" filter="fade">
                                      <p:cBhvr>
                                        <p:cTn id="555" dur="2000" tmFilter="0, 0; .2, .5; .8, .5; 1, 0"/>
                                        <p:tgtEl>
                                          <p:spTgt spid="235"/>
                                        </p:tgtEl>
                                      </p:cBhvr>
                                    </p:animEffect>
                                    <p:animScale>
                                      <p:cBhvr>
                                        <p:cTn id="556" dur="1000" autoRev="1" fill="hold"/>
                                        <p:tgtEl>
                                          <p:spTgt spid="235"/>
                                        </p:tgtEl>
                                      </p:cBhvr>
                                      <p:by x="105000" y="105000"/>
                                    </p:animScale>
                                  </p:childTnLst>
                                </p:cTn>
                              </p:par>
                              <p:par>
                                <p:cTn id="557" presetID="26" presetClass="emph" presetSubtype="0" dur="2000" repeatCount="indefinite" fill="hold" grpId="0" nodeType="withEffect">
                                  <p:stCondLst>
                                    <p:cond delay="3500"/>
                                  </p:stCondLst>
                                  <p:childTnLst>
                                    <p:animEffect transition="out" filter="fade">
                                      <p:cBhvr>
                                        <p:cTn id="558" dur="2000" tmFilter="0, 0; .2, .5; .8, .5; 1, 0"/>
                                        <p:tgtEl>
                                          <p:spTgt spid="236"/>
                                        </p:tgtEl>
                                      </p:cBhvr>
                                    </p:animEffect>
                                    <p:animScale>
                                      <p:cBhvr>
                                        <p:cTn id="559" dur="1000" autoRev="1" fill="hold"/>
                                        <p:tgtEl>
                                          <p:spTgt spid="236"/>
                                        </p:tgtEl>
                                      </p:cBhvr>
                                      <p:by x="105000" y="105000"/>
                                    </p:animScale>
                                  </p:childTnLst>
                                </p:cTn>
                              </p:par>
                              <p:par>
                                <p:cTn id="560" presetID="26" presetClass="emph" presetSubtype="0" dur="2000" repeatCount="indefinite" fill="hold" grpId="0" nodeType="withEffect">
                                  <p:stCondLst>
                                    <p:cond delay="3500"/>
                                  </p:stCondLst>
                                  <p:childTnLst>
                                    <p:animEffect transition="out" filter="fade">
                                      <p:cBhvr>
                                        <p:cTn id="561" dur="2000" tmFilter="0, 0; .2, .5; .8, .5; 1, 0"/>
                                        <p:tgtEl>
                                          <p:spTgt spid="237"/>
                                        </p:tgtEl>
                                      </p:cBhvr>
                                    </p:animEffect>
                                    <p:animScale>
                                      <p:cBhvr>
                                        <p:cTn id="562" dur="1000" autoRev="1" fill="hold"/>
                                        <p:tgtEl>
                                          <p:spTgt spid="237"/>
                                        </p:tgtEl>
                                      </p:cBhvr>
                                      <p:by x="105000" y="105000"/>
                                    </p:animScale>
                                  </p:childTnLst>
                                </p:cTn>
                              </p:par>
                              <p:par>
                                <p:cTn id="563" presetID="26" presetClass="emph" presetSubtype="0" dur="2000" repeatCount="indefinite" fill="hold" grpId="0" nodeType="withEffect">
                                  <p:stCondLst>
                                    <p:cond delay="3750"/>
                                  </p:stCondLst>
                                  <p:childTnLst>
                                    <p:animEffect transition="out" filter="fade">
                                      <p:cBhvr>
                                        <p:cTn id="564" dur="2000" tmFilter="0, 0; .2, .5; .8, .5; 1, 0"/>
                                        <p:tgtEl>
                                          <p:spTgt spid="41"/>
                                        </p:tgtEl>
                                      </p:cBhvr>
                                    </p:animEffect>
                                    <p:animScale>
                                      <p:cBhvr>
                                        <p:cTn id="565" dur="1000" autoRev="1" fill="hold"/>
                                        <p:tgtEl>
                                          <p:spTgt spid="41"/>
                                        </p:tgtEl>
                                      </p:cBhvr>
                                      <p:by x="105000" y="105000"/>
                                    </p:animScale>
                                  </p:childTnLst>
                                </p:cTn>
                              </p:par>
                              <p:par>
                                <p:cTn id="566" presetID="26" presetClass="emph" presetSubtype="0" dur="2000" repeatCount="indefinite" fill="hold" grpId="0" nodeType="withEffect">
                                  <p:stCondLst>
                                    <p:cond delay="3750"/>
                                  </p:stCondLst>
                                  <p:childTnLst>
                                    <p:animEffect transition="out" filter="fade">
                                      <p:cBhvr>
                                        <p:cTn id="567" dur="2000" tmFilter="0, 0; .2, .5; .8, .5; 1, 0"/>
                                        <p:tgtEl>
                                          <p:spTgt spid="42"/>
                                        </p:tgtEl>
                                      </p:cBhvr>
                                    </p:animEffect>
                                    <p:animScale>
                                      <p:cBhvr>
                                        <p:cTn id="568" dur="1000" autoRev="1" fill="hold"/>
                                        <p:tgtEl>
                                          <p:spTgt spid="42"/>
                                        </p:tgtEl>
                                      </p:cBhvr>
                                      <p:by x="105000" y="105000"/>
                                    </p:animScale>
                                  </p:childTnLst>
                                </p:cTn>
                              </p:par>
                              <p:par>
                                <p:cTn id="569" presetID="26" presetClass="emph" presetSubtype="0" dur="2000" repeatCount="indefinite" fill="hold" grpId="0" nodeType="withEffect">
                                  <p:stCondLst>
                                    <p:cond delay="3750"/>
                                  </p:stCondLst>
                                  <p:childTnLst>
                                    <p:animEffect transition="out" filter="fade">
                                      <p:cBhvr>
                                        <p:cTn id="570" dur="2000" tmFilter="0, 0; .2, .5; .8, .5; 1, 0"/>
                                        <p:tgtEl>
                                          <p:spTgt spid="43"/>
                                        </p:tgtEl>
                                      </p:cBhvr>
                                    </p:animEffect>
                                    <p:animScale>
                                      <p:cBhvr>
                                        <p:cTn id="571" dur="1000" autoRev="1" fill="hold"/>
                                        <p:tgtEl>
                                          <p:spTgt spid="43"/>
                                        </p:tgtEl>
                                      </p:cBhvr>
                                      <p:by x="105000" y="105000"/>
                                    </p:animScale>
                                  </p:childTnLst>
                                </p:cTn>
                              </p:par>
                              <p:par>
                                <p:cTn id="572" presetID="26" presetClass="emph" presetSubtype="0" dur="2000" repeatCount="indefinite" fill="hold" grpId="0" nodeType="withEffect">
                                  <p:stCondLst>
                                    <p:cond delay="3750"/>
                                  </p:stCondLst>
                                  <p:childTnLst>
                                    <p:animEffect transition="out" filter="fade">
                                      <p:cBhvr>
                                        <p:cTn id="573" dur="2000" tmFilter="0, 0; .2, .5; .8, .5; 1, 0"/>
                                        <p:tgtEl>
                                          <p:spTgt spid="44"/>
                                        </p:tgtEl>
                                      </p:cBhvr>
                                    </p:animEffect>
                                    <p:animScale>
                                      <p:cBhvr>
                                        <p:cTn id="574" dur="1000" autoRev="1" fill="hold"/>
                                        <p:tgtEl>
                                          <p:spTgt spid="44"/>
                                        </p:tgtEl>
                                      </p:cBhvr>
                                      <p:by x="105000" y="105000"/>
                                    </p:animScale>
                                  </p:childTnLst>
                                </p:cTn>
                              </p:par>
                              <p:par>
                                <p:cTn id="575" presetID="26" presetClass="emph" presetSubtype="0" dur="2000" repeatCount="indefinite" fill="hold" grpId="0" nodeType="withEffect">
                                  <p:stCondLst>
                                    <p:cond delay="3750"/>
                                  </p:stCondLst>
                                  <p:childTnLst>
                                    <p:animEffect transition="out" filter="fade">
                                      <p:cBhvr>
                                        <p:cTn id="576" dur="2000" tmFilter="0, 0; .2, .5; .8, .5; 1, 0"/>
                                        <p:tgtEl>
                                          <p:spTgt spid="45"/>
                                        </p:tgtEl>
                                      </p:cBhvr>
                                    </p:animEffect>
                                    <p:animScale>
                                      <p:cBhvr>
                                        <p:cTn id="577" dur="1000" autoRev="1" fill="hold"/>
                                        <p:tgtEl>
                                          <p:spTgt spid="45"/>
                                        </p:tgtEl>
                                      </p:cBhvr>
                                      <p:by x="105000" y="105000"/>
                                    </p:animScale>
                                  </p:childTnLst>
                                </p:cTn>
                              </p:par>
                              <p:par>
                                <p:cTn id="578" presetID="26" presetClass="emph" presetSubtype="0" dur="2000" repeatCount="indefinite" fill="hold" grpId="0" nodeType="withEffect">
                                  <p:stCondLst>
                                    <p:cond delay="3750"/>
                                  </p:stCondLst>
                                  <p:childTnLst>
                                    <p:animEffect transition="out" filter="fade">
                                      <p:cBhvr>
                                        <p:cTn id="579" dur="2000" tmFilter="0, 0; .2, .5; .8, .5; 1, 0"/>
                                        <p:tgtEl>
                                          <p:spTgt spid="46"/>
                                        </p:tgtEl>
                                      </p:cBhvr>
                                    </p:animEffect>
                                    <p:animScale>
                                      <p:cBhvr>
                                        <p:cTn id="580" dur="1000" autoRev="1" fill="hold"/>
                                        <p:tgtEl>
                                          <p:spTgt spid="46"/>
                                        </p:tgtEl>
                                      </p:cBhvr>
                                      <p:by x="105000" y="105000"/>
                                    </p:animScale>
                                  </p:childTnLst>
                                </p:cTn>
                              </p:par>
                              <p:par>
                                <p:cTn id="581" presetID="26" presetClass="emph" presetSubtype="0" dur="2000" repeatCount="indefinite" fill="hold" grpId="0" nodeType="withEffect">
                                  <p:stCondLst>
                                    <p:cond delay="3750"/>
                                  </p:stCondLst>
                                  <p:childTnLst>
                                    <p:animEffect transition="out" filter="fade">
                                      <p:cBhvr>
                                        <p:cTn id="582" dur="2000" tmFilter="0, 0; .2, .5; .8, .5; 1, 0"/>
                                        <p:tgtEl>
                                          <p:spTgt spid="47"/>
                                        </p:tgtEl>
                                      </p:cBhvr>
                                    </p:animEffect>
                                    <p:animScale>
                                      <p:cBhvr>
                                        <p:cTn id="583" dur="1000" autoRev="1" fill="hold"/>
                                        <p:tgtEl>
                                          <p:spTgt spid="47"/>
                                        </p:tgtEl>
                                      </p:cBhvr>
                                      <p:by x="105000" y="105000"/>
                                    </p:animScale>
                                  </p:childTnLst>
                                </p:cTn>
                              </p:par>
                              <p:par>
                                <p:cTn id="584" presetID="26" presetClass="emph" presetSubtype="0" dur="2000" repeatCount="indefinite" fill="hold" grpId="0" nodeType="withEffect">
                                  <p:stCondLst>
                                    <p:cond delay="3750"/>
                                  </p:stCondLst>
                                  <p:childTnLst>
                                    <p:animEffect transition="out" filter="fade">
                                      <p:cBhvr>
                                        <p:cTn id="585" dur="2000" tmFilter="0, 0; .2, .5; .8, .5; 1, 0"/>
                                        <p:tgtEl>
                                          <p:spTgt spid="48"/>
                                        </p:tgtEl>
                                      </p:cBhvr>
                                    </p:animEffect>
                                    <p:animScale>
                                      <p:cBhvr>
                                        <p:cTn id="586" dur="1000" autoRev="1" fill="hold"/>
                                        <p:tgtEl>
                                          <p:spTgt spid="48"/>
                                        </p:tgtEl>
                                      </p:cBhvr>
                                      <p:by x="105000" y="105000"/>
                                    </p:animScale>
                                  </p:childTnLst>
                                </p:cTn>
                              </p:par>
                              <p:par>
                                <p:cTn id="587" presetID="26" presetClass="emph" presetSubtype="0" dur="2000" repeatCount="indefinite" fill="hold" grpId="0" nodeType="withEffect">
                                  <p:stCondLst>
                                    <p:cond delay="3750"/>
                                  </p:stCondLst>
                                  <p:childTnLst>
                                    <p:animEffect transition="out" filter="fade">
                                      <p:cBhvr>
                                        <p:cTn id="588" dur="2000" tmFilter="0, 0; .2, .5; .8, .5; 1, 0"/>
                                        <p:tgtEl>
                                          <p:spTgt spid="49"/>
                                        </p:tgtEl>
                                      </p:cBhvr>
                                    </p:animEffect>
                                    <p:animScale>
                                      <p:cBhvr>
                                        <p:cTn id="589" dur="1000" autoRev="1" fill="hold"/>
                                        <p:tgtEl>
                                          <p:spTgt spid="49"/>
                                        </p:tgtEl>
                                      </p:cBhvr>
                                      <p:by x="105000" y="105000"/>
                                    </p:animScale>
                                  </p:childTnLst>
                                </p:cTn>
                              </p:par>
                              <p:par>
                                <p:cTn id="590" presetID="26" presetClass="emph" presetSubtype="0" dur="2000" repeatCount="indefinite" fill="hold" grpId="0" nodeType="withEffect">
                                  <p:stCondLst>
                                    <p:cond delay="3750"/>
                                  </p:stCondLst>
                                  <p:childTnLst>
                                    <p:animEffect transition="out" filter="fade">
                                      <p:cBhvr>
                                        <p:cTn id="591" dur="2000" tmFilter="0, 0; .2, .5; .8, .5; 1, 0"/>
                                        <p:tgtEl>
                                          <p:spTgt spid="50"/>
                                        </p:tgtEl>
                                      </p:cBhvr>
                                    </p:animEffect>
                                    <p:animScale>
                                      <p:cBhvr>
                                        <p:cTn id="592" dur="1000" autoRev="1" fill="hold"/>
                                        <p:tgtEl>
                                          <p:spTgt spid="50"/>
                                        </p:tgtEl>
                                      </p:cBhvr>
                                      <p:by x="105000" y="105000"/>
                                    </p:animScale>
                                  </p:childTnLst>
                                </p:cTn>
                              </p:par>
                              <p:par>
                                <p:cTn id="593" presetID="26" presetClass="emph" presetSubtype="0" dur="2000" repeatCount="indefinite" fill="hold" grpId="0" nodeType="withEffect">
                                  <p:stCondLst>
                                    <p:cond delay="3750"/>
                                  </p:stCondLst>
                                  <p:childTnLst>
                                    <p:animEffect transition="out" filter="fade">
                                      <p:cBhvr>
                                        <p:cTn id="594" dur="2000" tmFilter="0, 0; .2, .5; .8, .5; 1, 0"/>
                                        <p:tgtEl>
                                          <p:spTgt spid="51"/>
                                        </p:tgtEl>
                                      </p:cBhvr>
                                    </p:animEffect>
                                    <p:animScale>
                                      <p:cBhvr>
                                        <p:cTn id="595" dur="1000" autoRev="1" fill="hold"/>
                                        <p:tgtEl>
                                          <p:spTgt spid="51"/>
                                        </p:tgtEl>
                                      </p:cBhvr>
                                      <p:by x="105000" y="105000"/>
                                    </p:animScale>
                                  </p:childTnLst>
                                </p:cTn>
                              </p:par>
                              <p:par>
                                <p:cTn id="596" presetID="26" presetClass="emph" presetSubtype="0" dur="2000" repeatCount="indefinite" fill="hold" grpId="0" nodeType="withEffect">
                                  <p:stCondLst>
                                    <p:cond delay="3750"/>
                                  </p:stCondLst>
                                  <p:childTnLst>
                                    <p:animEffect transition="out" filter="fade">
                                      <p:cBhvr>
                                        <p:cTn id="597" dur="2000" tmFilter="0, 0; .2, .5; .8, .5; 1, 0"/>
                                        <p:tgtEl>
                                          <p:spTgt spid="52"/>
                                        </p:tgtEl>
                                      </p:cBhvr>
                                    </p:animEffect>
                                    <p:animScale>
                                      <p:cBhvr>
                                        <p:cTn id="598" dur="1000" autoRev="1" fill="hold"/>
                                        <p:tgtEl>
                                          <p:spTgt spid="52"/>
                                        </p:tgtEl>
                                      </p:cBhvr>
                                      <p:by x="105000" y="105000"/>
                                    </p:animScale>
                                  </p:childTnLst>
                                </p:cTn>
                              </p:par>
                              <p:par>
                                <p:cTn id="599" presetID="26" presetClass="emph" presetSubtype="0" dur="2000" repeatCount="indefinite" fill="hold" grpId="0" nodeType="withEffect">
                                  <p:stCondLst>
                                    <p:cond delay="4000"/>
                                  </p:stCondLst>
                                  <p:childTnLst>
                                    <p:animEffect transition="out" filter="fade">
                                      <p:cBhvr>
                                        <p:cTn id="600" dur="2000" tmFilter="0, 0; .2, .5; .8, .5; 1, 0"/>
                                        <p:tgtEl>
                                          <p:spTgt spid="31"/>
                                        </p:tgtEl>
                                      </p:cBhvr>
                                    </p:animEffect>
                                    <p:animScale>
                                      <p:cBhvr>
                                        <p:cTn id="601" dur="1000" autoRev="1" fill="hold"/>
                                        <p:tgtEl>
                                          <p:spTgt spid="31"/>
                                        </p:tgtEl>
                                      </p:cBhvr>
                                      <p:by x="105000" y="105000"/>
                                    </p:animScale>
                                  </p:childTnLst>
                                </p:cTn>
                              </p:par>
                              <p:par>
                                <p:cTn id="602" presetID="26" presetClass="emph" presetSubtype="0" dur="2000" repeatCount="indefinite" fill="hold" grpId="0" nodeType="withEffect">
                                  <p:stCondLst>
                                    <p:cond delay="4000"/>
                                  </p:stCondLst>
                                  <p:childTnLst>
                                    <p:animEffect transition="out" filter="fade">
                                      <p:cBhvr>
                                        <p:cTn id="603" dur="2000" tmFilter="0, 0; .2, .5; .8, .5; 1, 0"/>
                                        <p:tgtEl>
                                          <p:spTgt spid="32"/>
                                        </p:tgtEl>
                                      </p:cBhvr>
                                    </p:animEffect>
                                    <p:animScale>
                                      <p:cBhvr>
                                        <p:cTn id="604" dur="1000" autoRev="1" fill="hold"/>
                                        <p:tgtEl>
                                          <p:spTgt spid="32"/>
                                        </p:tgtEl>
                                      </p:cBhvr>
                                      <p:by x="105000" y="105000"/>
                                    </p:animScale>
                                  </p:childTnLst>
                                </p:cTn>
                              </p:par>
                              <p:par>
                                <p:cTn id="605" presetID="26" presetClass="emph" presetSubtype="0" dur="2000" repeatCount="indefinite" fill="hold" grpId="0" nodeType="withEffect">
                                  <p:stCondLst>
                                    <p:cond delay="4000"/>
                                  </p:stCondLst>
                                  <p:childTnLst>
                                    <p:animEffect transition="out" filter="fade">
                                      <p:cBhvr>
                                        <p:cTn id="606" dur="2000" tmFilter="0, 0; .2, .5; .8, .5; 1, 0"/>
                                        <p:tgtEl>
                                          <p:spTgt spid="33"/>
                                        </p:tgtEl>
                                      </p:cBhvr>
                                    </p:animEffect>
                                    <p:animScale>
                                      <p:cBhvr>
                                        <p:cTn id="607" dur="1000" autoRev="1" fill="hold"/>
                                        <p:tgtEl>
                                          <p:spTgt spid="33"/>
                                        </p:tgtEl>
                                      </p:cBhvr>
                                      <p:by x="105000" y="105000"/>
                                    </p:animScale>
                                  </p:childTnLst>
                                </p:cTn>
                              </p:par>
                              <p:par>
                                <p:cTn id="608" presetID="26" presetClass="emph" presetSubtype="0" dur="2000" repeatCount="indefinite" fill="hold" grpId="0" nodeType="withEffect">
                                  <p:stCondLst>
                                    <p:cond delay="4000"/>
                                  </p:stCondLst>
                                  <p:childTnLst>
                                    <p:animEffect transition="out" filter="fade">
                                      <p:cBhvr>
                                        <p:cTn id="609" dur="2000" tmFilter="0, 0; .2, .5; .8, .5; 1, 0"/>
                                        <p:tgtEl>
                                          <p:spTgt spid="34"/>
                                        </p:tgtEl>
                                      </p:cBhvr>
                                    </p:animEffect>
                                    <p:animScale>
                                      <p:cBhvr>
                                        <p:cTn id="610" dur="1000" autoRev="1" fill="hold"/>
                                        <p:tgtEl>
                                          <p:spTgt spid="34"/>
                                        </p:tgtEl>
                                      </p:cBhvr>
                                      <p:by x="105000" y="105000"/>
                                    </p:animScale>
                                  </p:childTnLst>
                                </p:cTn>
                              </p:par>
                              <p:par>
                                <p:cTn id="611" presetID="26" presetClass="emph" presetSubtype="0" dur="2000" repeatCount="indefinite" fill="hold" grpId="0" nodeType="withEffect">
                                  <p:stCondLst>
                                    <p:cond delay="4000"/>
                                  </p:stCondLst>
                                  <p:childTnLst>
                                    <p:animEffect transition="out" filter="fade">
                                      <p:cBhvr>
                                        <p:cTn id="612" dur="2000" tmFilter="0, 0; .2, .5; .8, .5; 1, 0"/>
                                        <p:tgtEl>
                                          <p:spTgt spid="35"/>
                                        </p:tgtEl>
                                      </p:cBhvr>
                                    </p:animEffect>
                                    <p:animScale>
                                      <p:cBhvr>
                                        <p:cTn id="613" dur="1000" autoRev="1" fill="hold"/>
                                        <p:tgtEl>
                                          <p:spTgt spid="35"/>
                                        </p:tgtEl>
                                      </p:cBhvr>
                                      <p:by x="105000" y="105000"/>
                                    </p:animScale>
                                  </p:childTnLst>
                                </p:cTn>
                              </p:par>
                              <p:par>
                                <p:cTn id="614" presetID="26" presetClass="emph" presetSubtype="0" dur="2000" repeatCount="indefinite" fill="hold" grpId="0" nodeType="withEffect">
                                  <p:stCondLst>
                                    <p:cond delay="4000"/>
                                  </p:stCondLst>
                                  <p:childTnLst>
                                    <p:animEffect transition="out" filter="fade">
                                      <p:cBhvr>
                                        <p:cTn id="615" dur="2000" tmFilter="0, 0; .2, .5; .8, .5; 1, 0"/>
                                        <p:tgtEl>
                                          <p:spTgt spid="36"/>
                                        </p:tgtEl>
                                      </p:cBhvr>
                                    </p:animEffect>
                                    <p:animScale>
                                      <p:cBhvr>
                                        <p:cTn id="616" dur="1000" autoRev="1" fill="hold"/>
                                        <p:tgtEl>
                                          <p:spTgt spid="36"/>
                                        </p:tgtEl>
                                      </p:cBhvr>
                                      <p:by x="105000" y="105000"/>
                                    </p:animScale>
                                  </p:childTnLst>
                                </p:cTn>
                              </p:par>
                              <p:par>
                                <p:cTn id="617" presetID="26" presetClass="emph" presetSubtype="0" dur="2000" repeatCount="indefinite" fill="hold" grpId="0" nodeType="withEffect">
                                  <p:stCondLst>
                                    <p:cond delay="4000"/>
                                  </p:stCondLst>
                                  <p:childTnLst>
                                    <p:animEffect transition="out" filter="fade">
                                      <p:cBhvr>
                                        <p:cTn id="618" dur="2000" tmFilter="0, 0; .2, .5; .8, .5; 1, 0"/>
                                        <p:tgtEl>
                                          <p:spTgt spid="37"/>
                                        </p:tgtEl>
                                      </p:cBhvr>
                                    </p:animEffect>
                                    <p:animScale>
                                      <p:cBhvr>
                                        <p:cTn id="619" dur="1000" autoRev="1" fill="hold"/>
                                        <p:tgtEl>
                                          <p:spTgt spid="37"/>
                                        </p:tgtEl>
                                      </p:cBhvr>
                                      <p:by x="105000" y="105000"/>
                                    </p:animScale>
                                  </p:childTnLst>
                                </p:cTn>
                              </p:par>
                              <p:par>
                                <p:cTn id="620" presetID="26" presetClass="emph" presetSubtype="0" dur="2000" repeatCount="indefinite" fill="hold" grpId="0" nodeType="withEffect">
                                  <p:stCondLst>
                                    <p:cond delay="4000"/>
                                  </p:stCondLst>
                                  <p:childTnLst>
                                    <p:animEffect transition="out" filter="fade">
                                      <p:cBhvr>
                                        <p:cTn id="621" dur="2000" tmFilter="0, 0; .2, .5; .8, .5; 1, 0"/>
                                        <p:tgtEl>
                                          <p:spTgt spid="38"/>
                                        </p:tgtEl>
                                      </p:cBhvr>
                                    </p:animEffect>
                                    <p:animScale>
                                      <p:cBhvr>
                                        <p:cTn id="622" dur="1000" autoRev="1" fill="hold"/>
                                        <p:tgtEl>
                                          <p:spTgt spid="38"/>
                                        </p:tgtEl>
                                      </p:cBhvr>
                                      <p:by x="105000" y="105000"/>
                                    </p:animScale>
                                  </p:childTnLst>
                                </p:cTn>
                              </p:par>
                              <p:par>
                                <p:cTn id="623" presetID="26" presetClass="emph" presetSubtype="0" dur="2000" repeatCount="indefinite" fill="hold" grpId="0" nodeType="withEffect">
                                  <p:stCondLst>
                                    <p:cond delay="4000"/>
                                  </p:stCondLst>
                                  <p:childTnLst>
                                    <p:animEffect transition="out" filter="fade">
                                      <p:cBhvr>
                                        <p:cTn id="624" dur="2000" tmFilter="0, 0; .2, .5; .8, .5; 1, 0"/>
                                        <p:tgtEl>
                                          <p:spTgt spid="39"/>
                                        </p:tgtEl>
                                      </p:cBhvr>
                                    </p:animEffect>
                                    <p:animScale>
                                      <p:cBhvr>
                                        <p:cTn id="625" dur="1000" autoRev="1" fill="hold"/>
                                        <p:tgtEl>
                                          <p:spTgt spid="39"/>
                                        </p:tgtEl>
                                      </p:cBhvr>
                                      <p:by x="105000" y="105000"/>
                                    </p:animScale>
                                  </p:childTnLst>
                                </p:cTn>
                              </p:par>
                              <p:par>
                                <p:cTn id="626" presetID="26" presetClass="emph" presetSubtype="0" dur="2000" repeatCount="indefinite" fill="hold" grpId="0" nodeType="withEffect">
                                  <p:stCondLst>
                                    <p:cond delay="4000"/>
                                  </p:stCondLst>
                                  <p:childTnLst>
                                    <p:animEffect transition="out" filter="fade">
                                      <p:cBhvr>
                                        <p:cTn id="627" dur="2000" tmFilter="0, 0; .2, .5; .8, .5; 1, 0"/>
                                        <p:tgtEl>
                                          <p:spTgt spid="40"/>
                                        </p:tgtEl>
                                      </p:cBhvr>
                                    </p:animEffect>
                                    <p:animScale>
                                      <p:cBhvr>
                                        <p:cTn id="628" dur="1000" autoRev="1" fill="hold"/>
                                        <p:tgtEl>
                                          <p:spTgt spid="40"/>
                                        </p:tgtEl>
                                      </p:cBhvr>
                                      <p:by x="105000" y="105000"/>
                                    </p:animScale>
                                  </p:childTnLst>
                                </p:cTn>
                              </p:par>
                              <p:par>
                                <p:cTn id="629" presetID="26" presetClass="emph" presetSubtype="0" dur="2000" repeatCount="indefinite" fill="hold" grpId="0" nodeType="withEffect">
                                  <p:stCondLst>
                                    <p:cond delay="4250"/>
                                  </p:stCondLst>
                                  <p:childTnLst>
                                    <p:animEffect transition="out" filter="fade">
                                      <p:cBhvr>
                                        <p:cTn id="630" dur="2000" tmFilter="0, 0; .2, .5; .8, .5; 1, 0"/>
                                        <p:tgtEl>
                                          <p:spTgt spid="23"/>
                                        </p:tgtEl>
                                      </p:cBhvr>
                                    </p:animEffect>
                                    <p:animScale>
                                      <p:cBhvr>
                                        <p:cTn id="631" dur="1000" autoRev="1" fill="hold"/>
                                        <p:tgtEl>
                                          <p:spTgt spid="23"/>
                                        </p:tgtEl>
                                      </p:cBhvr>
                                      <p:by x="105000" y="105000"/>
                                    </p:animScale>
                                  </p:childTnLst>
                                </p:cTn>
                              </p:par>
                              <p:par>
                                <p:cTn id="632" presetID="26" presetClass="emph" presetSubtype="0" dur="2000" repeatCount="indefinite" fill="hold" grpId="0" nodeType="withEffect">
                                  <p:stCondLst>
                                    <p:cond delay="4250"/>
                                  </p:stCondLst>
                                  <p:childTnLst>
                                    <p:animEffect transition="out" filter="fade">
                                      <p:cBhvr>
                                        <p:cTn id="633" dur="2000" tmFilter="0, 0; .2, .5; .8, .5; 1, 0"/>
                                        <p:tgtEl>
                                          <p:spTgt spid="24"/>
                                        </p:tgtEl>
                                      </p:cBhvr>
                                    </p:animEffect>
                                    <p:animScale>
                                      <p:cBhvr>
                                        <p:cTn id="634" dur="1000" autoRev="1" fill="hold"/>
                                        <p:tgtEl>
                                          <p:spTgt spid="24"/>
                                        </p:tgtEl>
                                      </p:cBhvr>
                                      <p:by x="105000" y="105000"/>
                                    </p:animScale>
                                  </p:childTnLst>
                                </p:cTn>
                              </p:par>
                              <p:par>
                                <p:cTn id="635" presetID="26" presetClass="emph" presetSubtype="0" dur="2000" repeatCount="indefinite" fill="hold" grpId="0" nodeType="withEffect">
                                  <p:stCondLst>
                                    <p:cond delay="4250"/>
                                  </p:stCondLst>
                                  <p:childTnLst>
                                    <p:animEffect transition="out" filter="fade">
                                      <p:cBhvr>
                                        <p:cTn id="636" dur="2000" tmFilter="0, 0; .2, .5; .8, .5; 1, 0"/>
                                        <p:tgtEl>
                                          <p:spTgt spid="25"/>
                                        </p:tgtEl>
                                      </p:cBhvr>
                                    </p:animEffect>
                                    <p:animScale>
                                      <p:cBhvr>
                                        <p:cTn id="637" dur="1000" autoRev="1" fill="hold"/>
                                        <p:tgtEl>
                                          <p:spTgt spid="25"/>
                                        </p:tgtEl>
                                      </p:cBhvr>
                                      <p:by x="105000" y="105000"/>
                                    </p:animScale>
                                  </p:childTnLst>
                                </p:cTn>
                              </p:par>
                              <p:par>
                                <p:cTn id="638" presetID="26" presetClass="emph" presetSubtype="0" dur="2000" repeatCount="indefinite" fill="hold" grpId="0" nodeType="withEffect">
                                  <p:stCondLst>
                                    <p:cond delay="4250"/>
                                  </p:stCondLst>
                                  <p:childTnLst>
                                    <p:animEffect transition="out" filter="fade">
                                      <p:cBhvr>
                                        <p:cTn id="639" dur="2000" tmFilter="0, 0; .2, .5; .8, .5; 1, 0"/>
                                        <p:tgtEl>
                                          <p:spTgt spid="26"/>
                                        </p:tgtEl>
                                      </p:cBhvr>
                                    </p:animEffect>
                                    <p:animScale>
                                      <p:cBhvr>
                                        <p:cTn id="640" dur="1000" autoRev="1" fill="hold"/>
                                        <p:tgtEl>
                                          <p:spTgt spid="26"/>
                                        </p:tgtEl>
                                      </p:cBhvr>
                                      <p:by x="105000" y="105000"/>
                                    </p:animScale>
                                  </p:childTnLst>
                                </p:cTn>
                              </p:par>
                              <p:par>
                                <p:cTn id="641" presetID="26" presetClass="emph" presetSubtype="0" dur="2000" repeatCount="indefinite" fill="hold" grpId="0" nodeType="withEffect">
                                  <p:stCondLst>
                                    <p:cond delay="4250"/>
                                  </p:stCondLst>
                                  <p:childTnLst>
                                    <p:animEffect transition="out" filter="fade">
                                      <p:cBhvr>
                                        <p:cTn id="642" dur="2000" tmFilter="0, 0; .2, .5; .8, .5; 1, 0"/>
                                        <p:tgtEl>
                                          <p:spTgt spid="27"/>
                                        </p:tgtEl>
                                      </p:cBhvr>
                                    </p:animEffect>
                                    <p:animScale>
                                      <p:cBhvr>
                                        <p:cTn id="643" dur="1000" autoRev="1" fill="hold"/>
                                        <p:tgtEl>
                                          <p:spTgt spid="27"/>
                                        </p:tgtEl>
                                      </p:cBhvr>
                                      <p:by x="105000" y="105000"/>
                                    </p:animScale>
                                  </p:childTnLst>
                                </p:cTn>
                              </p:par>
                              <p:par>
                                <p:cTn id="644" presetID="26" presetClass="emph" presetSubtype="0" dur="2000" repeatCount="indefinite" fill="hold" grpId="0" nodeType="withEffect">
                                  <p:stCondLst>
                                    <p:cond delay="4250"/>
                                  </p:stCondLst>
                                  <p:childTnLst>
                                    <p:animEffect transition="out" filter="fade">
                                      <p:cBhvr>
                                        <p:cTn id="645" dur="2000" tmFilter="0, 0; .2, .5; .8, .5; 1, 0"/>
                                        <p:tgtEl>
                                          <p:spTgt spid="28"/>
                                        </p:tgtEl>
                                      </p:cBhvr>
                                    </p:animEffect>
                                    <p:animScale>
                                      <p:cBhvr>
                                        <p:cTn id="646" dur="1000" autoRev="1" fill="hold"/>
                                        <p:tgtEl>
                                          <p:spTgt spid="28"/>
                                        </p:tgtEl>
                                      </p:cBhvr>
                                      <p:by x="105000" y="105000"/>
                                    </p:animScale>
                                  </p:childTnLst>
                                </p:cTn>
                              </p:par>
                              <p:par>
                                <p:cTn id="647" presetID="26" presetClass="emph" presetSubtype="0" dur="2000" repeatCount="indefinite" fill="hold" grpId="0" nodeType="withEffect">
                                  <p:stCondLst>
                                    <p:cond delay="4250"/>
                                  </p:stCondLst>
                                  <p:childTnLst>
                                    <p:animEffect transition="out" filter="fade">
                                      <p:cBhvr>
                                        <p:cTn id="648" dur="2000" tmFilter="0, 0; .2, .5; .8, .5; 1, 0"/>
                                        <p:tgtEl>
                                          <p:spTgt spid="29"/>
                                        </p:tgtEl>
                                      </p:cBhvr>
                                    </p:animEffect>
                                    <p:animScale>
                                      <p:cBhvr>
                                        <p:cTn id="649" dur="1000" autoRev="1" fill="hold"/>
                                        <p:tgtEl>
                                          <p:spTgt spid="29"/>
                                        </p:tgtEl>
                                      </p:cBhvr>
                                      <p:by x="105000" y="105000"/>
                                    </p:animScale>
                                  </p:childTnLst>
                                </p:cTn>
                              </p:par>
                              <p:par>
                                <p:cTn id="650" presetID="26" presetClass="emph" presetSubtype="0" dur="2000" repeatCount="indefinite" fill="hold" grpId="0" nodeType="withEffect">
                                  <p:stCondLst>
                                    <p:cond delay="4250"/>
                                  </p:stCondLst>
                                  <p:childTnLst>
                                    <p:animEffect transition="out" filter="fade">
                                      <p:cBhvr>
                                        <p:cTn id="651" dur="2000" tmFilter="0, 0; .2, .5; .8, .5; 1, 0"/>
                                        <p:tgtEl>
                                          <p:spTgt spid="30"/>
                                        </p:tgtEl>
                                      </p:cBhvr>
                                    </p:animEffect>
                                    <p:animScale>
                                      <p:cBhvr>
                                        <p:cTn id="652" dur="1000" autoRev="1" fill="hold"/>
                                        <p:tgtEl>
                                          <p:spTgt spid="30"/>
                                        </p:tgtEl>
                                      </p:cBhvr>
                                      <p:by x="105000" y="105000"/>
                                    </p:animScale>
                                  </p:childTnLst>
                                </p:cTn>
                              </p:par>
                              <p:par>
                                <p:cTn id="653" presetID="26" presetClass="emph" presetSubtype="0" dur="2000" repeatCount="indefinite" fill="hold" grpId="0" nodeType="withEffect">
                                  <p:stCondLst>
                                    <p:cond delay="4500"/>
                                  </p:stCondLst>
                                  <p:childTnLst>
                                    <p:animEffect transition="out" filter="fade">
                                      <p:cBhvr>
                                        <p:cTn id="654" dur="2000" tmFilter="0, 0; .2, .5; .8, .5; 1, 0"/>
                                        <p:tgtEl>
                                          <p:spTgt spid="17"/>
                                        </p:tgtEl>
                                      </p:cBhvr>
                                    </p:animEffect>
                                    <p:animScale>
                                      <p:cBhvr>
                                        <p:cTn id="655" dur="1000" autoRev="1" fill="hold"/>
                                        <p:tgtEl>
                                          <p:spTgt spid="17"/>
                                        </p:tgtEl>
                                      </p:cBhvr>
                                      <p:by x="105000" y="105000"/>
                                    </p:animScale>
                                  </p:childTnLst>
                                </p:cTn>
                              </p:par>
                              <p:par>
                                <p:cTn id="656" presetID="26" presetClass="emph" presetSubtype="0" dur="2000" repeatCount="indefinite" fill="hold" grpId="0" nodeType="withEffect">
                                  <p:stCondLst>
                                    <p:cond delay="4500"/>
                                  </p:stCondLst>
                                  <p:childTnLst>
                                    <p:animEffect transition="out" filter="fade">
                                      <p:cBhvr>
                                        <p:cTn id="657" dur="2000" tmFilter="0, 0; .2, .5; .8, .5; 1, 0"/>
                                        <p:tgtEl>
                                          <p:spTgt spid="18"/>
                                        </p:tgtEl>
                                      </p:cBhvr>
                                    </p:animEffect>
                                    <p:animScale>
                                      <p:cBhvr>
                                        <p:cTn id="658" dur="1000" autoRev="1" fill="hold"/>
                                        <p:tgtEl>
                                          <p:spTgt spid="18"/>
                                        </p:tgtEl>
                                      </p:cBhvr>
                                      <p:by x="105000" y="105000"/>
                                    </p:animScale>
                                  </p:childTnLst>
                                </p:cTn>
                              </p:par>
                              <p:par>
                                <p:cTn id="659" presetID="26" presetClass="emph" presetSubtype="0" dur="2000" repeatCount="indefinite" fill="hold" grpId="0" nodeType="withEffect">
                                  <p:stCondLst>
                                    <p:cond delay="4500"/>
                                  </p:stCondLst>
                                  <p:childTnLst>
                                    <p:animEffect transition="out" filter="fade">
                                      <p:cBhvr>
                                        <p:cTn id="660" dur="2000" tmFilter="0, 0; .2, .5; .8, .5; 1, 0"/>
                                        <p:tgtEl>
                                          <p:spTgt spid="19"/>
                                        </p:tgtEl>
                                      </p:cBhvr>
                                    </p:animEffect>
                                    <p:animScale>
                                      <p:cBhvr>
                                        <p:cTn id="661" dur="1000" autoRev="1" fill="hold"/>
                                        <p:tgtEl>
                                          <p:spTgt spid="19"/>
                                        </p:tgtEl>
                                      </p:cBhvr>
                                      <p:by x="105000" y="105000"/>
                                    </p:animScale>
                                  </p:childTnLst>
                                </p:cTn>
                              </p:par>
                              <p:par>
                                <p:cTn id="662" presetID="26" presetClass="emph" presetSubtype="0" dur="2000" repeatCount="indefinite" fill="hold" grpId="0" nodeType="withEffect">
                                  <p:stCondLst>
                                    <p:cond delay="4500"/>
                                  </p:stCondLst>
                                  <p:childTnLst>
                                    <p:animEffect transition="out" filter="fade">
                                      <p:cBhvr>
                                        <p:cTn id="663" dur="2000" tmFilter="0, 0; .2, .5; .8, .5; 1, 0"/>
                                        <p:tgtEl>
                                          <p:spTgt spid="20"/>
                                        </p:tgtEl>
                                      </p:cBhvr>
                                    </p:animEffect>
                                    <p:animScale>
                                      <p:cBhvr>
                                        <p:cTn id="664" dur="1000" autoRev="1" fill="hold"/>
                                        <p:tgtEl>
                                          <p:spTgt spid="20"/>
                                        </p:tgtEl>
                                      </p:cBhvr>
                                      <p:by x="105000" y="105000"/>
                                    </p:animScale>
                                  </p:childTnLst>
                                </p:cTn>
                              </p:par>
                              <p:par>
                                <p:cTn id="665" presetID="26" presetClass="emph" presetSubtype="0" dur="2000" repeatCount="indefinite" fill="hold" grpId="0" nodeType="withEffect">
                                  <p:stCondLst>
                                    <p:cond delay="4500"/>
                                  </p:stCondLst>
                                  <p:childTnLst>
                                    <p:animEffect transition="out" filter="fade">
                                      <p:cBhvr>
                                        <p:cTn id="666" dur="2000" tmFilter="0, 0; .2, .5; .8, .5; 1, 0"/>
                                        <p:tgtEl>
                                          <p:spTgt spid="21"/>
                                        </p:tgtEl>
                                      </p:cBhvr>
                                    </p:animEffect>
                                    <p:animScale>
                                      <p:cBhvr>
                                        <p:cTn id="667" dur="1000" autoRev="1" fill="hold"/>
                                        <p:tgtEl>
                                          <p:spTgt spid="21"/>
                                        </p:tgtEl>
                                      </p:cBhvr>
                                      <p:by x="105000" y="105000"/>
                                    </p:animScale>
                                  </p:childTnLst>
                                </p:cTn>
                              </p:par>
                              <p:par>
                                <p:cTn id="668" presetID="26" presetClass="emph" presetSubtype="0" dur="2000" repeatCount="indefinite" fill="hold" grpId="0" nodeType="withEffect">
                                  <p:stCondLst>
                                    <p:cond delay="4500"/>
                                  </p:stCondLst>
                                  <p:childTnLst>
                                    <p:animEffect transition="out" filter="fade">
                                      <p:cBhvr>
                                        <p:cTn id="669" dur="2000" tmFilter="0, 0; .2, .5; .8, .5; 1, 0"/>
                                        <p:tgtEl>
                                          <p:spTgt spid="22"/>
                                        </p:tgtEl>
                                      </p:cBhvr>
                                    </p:animEffect>
                                    <p:animScale>
                                      <p:cBhvr>
                                        <p:cTn id="670" dur="1000" autoRev="1" fill="hold"/>
                                        <p:tgtEl>
                                          <p:spTgt spid="22"/>
                                        </p:tgtEl>
                                      </p:cBhvr>
                                      <p:by x="105000" y="105000"/>
                                    </p:animScale>
                                  </p:childTnLst>
                                </p:cTn>
                              </p:par>
                              <p:par>
                                <p:cTn id="671" presetID="26" presetClass="emph" presetSubtype="0" dur="2000" repeatCount="indefinite" fill="hold" grpId="0" nodeType="withEffect">
                                  <p:stCondLst>
                                    <p:cond delay="4750"/>
                                  </p:stCondLst>
                                  <p:childTnLst>
                                    <p:animEffect transition="out" filter="fade">
                                      <p:cBhvr>
                                        <p:cTn id="672" dur="2000" tmFilter="0, 0; .2, .5; .8, .5; 1, 0"/>
                                        <p:tgtEl>
                                          <p:spTgt spid="12"/>
                                        </p:tgtEl>
                                      </p:cBhvr>
                                    </p:animEffect>
                                    <p:animScale>
                                      <p:cBhvr>
                                        <p:cTn id="673" dur="1000" autoRev="1" fill="hold"/>
                                        <p:tgtEl>
                                          <p:spTgt spid="12"/>
                                        </p:tgtEl>
                                      </p:cBhvr>
                                      <p:by x="105000" y="105000"/>
                                    </p:animScale>
                                  </p:childTnLst>
                                </p:cTn>
                              </p:par>
                              <p:par>
                                <p:cTn id="674" presetID="26" presetClass="emph" presetSubtype="0" dur="2000" repeatCount="indefinite" fill="hold" grpId="0" nodeType="withEffect">
                                  <p:stCondLst>
                                    <p:cond delay="4750"/>
                                  </p:stCondLst>
                                  <p:childTnLst>
                                    <p:animEffect transition="out" filter="fade">
                                      <p:cBhvr>
                                        <p:cTn id="675" dur="2000" tmFilter="0, 0; .2, .5; .8, .5; 1, 0"/>
                                        <p:tgtEl>
                                          <p:spTgt spid="14"/>
                                        </p:tgtEl>
                                      </p:cBhvr>
                                    </p:animEffect>
                                    <p:animScale>
                                      <p:cBhvr>
                                        <p:cTn id="676" dur="1000" autoRev="1" fill="hold"/>
                                        <p:tgtEl>
                                          <p:spTgt spid="14"/>
                                        </p:tgtEl>
                                      </p:cBhvr>
                                      <p:by x="105000" y="105000"/>
                                    </p:animScale>
                                  </p:childTnLst>
                                </p:cTn>
                              </p:par>
                              <p:par>
                                <p:cTn id="677" presetID="26" presetClass="emph" presetSubtype="0" dur="2000" repeatCount="indefinite" fill="hold" grpId="0" nodeType="withEffect">
                                  <p:stCondLst>
                                    <p:cond delay="4750"/>
                                  </p:stCondLst>
                                  <p:childTnLst>
                                    <p:animEffect transition="out" filter="fade">
                                      <p:cBhvr>
                                        <p:cTn id="678" dur="2000" tmFilter="0, 0; .2, .5; .8, .5; 1, 0"/>
                                        <p:tgtEl>
                                          <p:spTgt spid="15"/>
                                        </p:tgtEl>
                                      </p:cBhvr>
                                    </p:animEffect>
                                    <p:animScale>
                                      <p:cBhvr>
                                        <p:cTn id="679" dur="1000" autoRev="1" fill="hold"/>
                                        <p:tgtEl>
                                          <p:spTgt spid="15"/>
                                        </p:tgtEl>
                                      </p:cBhvr>
                                      <p:by x="105000" y="105000"/>
                                    </p:animScale>
                                  </p:childTnLst>
                                </p:cTn>
                              </p:par>
                              <p:par>
                                <p:cTn id="680" presetID="26" presetClass="emph" presetSubtype="0" dur="2000" repeatCount="indefinite" fill="hold" grpId="0" nodeType="withEffect">
                                  <p:stCondLst>
                                    <p:cond delay="4750"/>
                                  </p:stCondLst>
                                  <p:childTnLst>
                                    <p:animEffect transition="out" filter="fade">
                                      <p:cBhvr>
                                        <p:cTn id="681" dur="2000" tmFilter="0, 0; .2, .5; .8, .5; 1, 0"/>
                                        <p:tgtEl>
                                          <p:spTgt spid="16"/>
                                        </p:tgtEl>
                                      </p:cBhvr>
                                    </p:animEffect>
                                    <p:animScale>
                                      <p:cBhvr>
                                        <p:cTn id="682" dur="1000" autoRev="1" fill="hold"/>
                                        <p:tgtEl>
                                          <p:spTgt spid="16"/>
                                        </p:tgtEl>
                                      </p:cBhvr>
                                      <p:by x="105000" y="105000"/>
                                    </p:animScale>
                                  </p:childTnLst>
                                </p:cTn>
                              </p:par>
                              <p:par>
                                <p:cTn id="683" presetID="26" presetClass="emph" presetSubtype="0" dur="2000" repeatCount="indefinite" fill="hold" grpId="0" nodeType="withEffect">
                                  <p:stCondLst>
                                    <p:cond delay="5000"/>
                                  </p:stCondLst>
                                  <p:childTnLst>
                                    <p:animEffect transition="out" filter="fade">
                                      <p:cBhvr>
                                        <p:cTn id="684" dur="2000" tmFilter="0, 0; .2, .5; .8, .5; 1, 0"/>
                                        <p:tgtEl>
                                          <p:spTgt spid="9"/>
                                        </p:tgtEl>
                                      </p:cBhvr>
                                    </p:animEffect>
                                    <p:animScale>
                                      <p:cBhvr>
                                        <p:cTn id="685" dur="1000" autoRev="1" fill="hold"/>
                                        <p:tgtEl>
                                          <p:spTgt spid="9"/>
                                        </p:tgtEl>
                                      </p:cBhvr>
                                      <p:by x="105000" y="105000"/>
                                    </p:animScale>
                                  </p:childTnLst>
                                </p:cTn>
                              </p:par>
                              <p:par>
                                <p:cTn id="686" presetID="26" presetClass="emph" presetSubtype="0" dur="2000" repeatCount="indefinite" fill="hold" grpId="0" nodeType="withEffect">
                                  <p:stCondLst>
                                    <p:cond delay="5000"/>
                                  </p:stCondLst>
                                  <p:childTnLst>
                                    <p:animEffect transition="out" filter="fade">
                                      <p:cBhvr>
                                        <p:cTn id="687" dur="2000" tmFilter="0, 0; .2, .5; .8, .5; 1, 0"/>
                                        <p:tgtEl>
                                          <p:spTgt spid="11"/>
                                        </p:tgtEl>
                                      </p:cBhvr>
                                    </p:animEffect>
                                    <p:animScale>
                                      <p:cBhvr>
                                        <p:cTn id="688" dur="1000" autoRev="1" fill="hold"/>
                                        <p:tgtEl>
                                          <p:spTgt spid="11"/>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1" grpId="0" animBg="1"/>
      <p:bldP spid="12"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26" grpId="0" animBg="1"/>
      <p:bldP spid="27" grpId="0" animBg="1"/>
      <p:bldP spid="28" grpId="0" animBg="1"/>
      <p:bldP spid="29" grpId="0" animBg="1"/>
      <p:bldP spid="30" grpId="0" animBg="1"/>
      <p:bldP spid="31" grpId="0" animBg="1"/>
      <p:bldP spid="32" grpId="0" animBg="1"/>
      <p:bldP spid="33" grpId="0" animBg="1"/>
      <p:bldP spid="34" grpId="0" animBg="1"/>
      <p:bldP spid="35" grpId="0" animBg="1"/>
      <p:bldP spid="36" grpId="0" animBg="1"/>
      <p:bldP spid="37" grpId="0" animBg="1"/>
      <p:bldP spid="38" grpId="0" animBg="1"/>
      <p:bldP spid="39" grpId="0" animBg="1"/>
      <p:bldP spid="40" grpId="0" animBg="1"/>
      <p:bldP spid="41" grpId="0" animBg="1"/>
      <p:bldP spid="42" grpId="0" animBg="1"/>
      <p:bldP spid="43" grpId="0" animBg="1"/>
      <p:bldP spid="44" grpId="0" animBg="1"/>
      <p:bldP spid="45" grpId="0" animBg="1"/>
      <p:bldP spid="46" grpId="0" animBg="1"/>
      <p:bldP spid="47" grpId="0" animBg="1"/>
      <p:bldP spid="48" grpId="0" animBg="1"/>
      <p:bldP spid="49" grpId="0" animBg="1"/>
      <p:bldP spid="50" grpId="0" animBg="1"/>
      <p:bldP spid="51" grpId="0" animBg="1"/>
      <p:bldP spid="52" grpId="0" animBg="1"/>
      <p:bldP spid="53" grpId="0" animBg="1"/>
      <p:bldP spid="54" grpId="0" animBg="1"/>
      <p:bldP spid="55" grpId="0" animBg="1"/>
      <p:bldP spid="56" grpId="0" animBg="1"/>
      <p:bldP spid="57" grpId="0" animBg="1"/>
      <p:bldP spid="58" grpId="0" animBg="1"/>
      <p:bldP spid="59" grpId="0" animBg="1"/>
      <p:bldP spid="60" grpId="0" animBg="1"/>
      <p:bldP spid="61" grpId="0" animBg="1"/>
      <p:bldP spid="62" grpId="0" animBg="1"/>
      <p:bldP spid="63" grpId="0" animBg="1"/>
      <p:bldP spid="64" grpId="0" animBg="1"/>
      <p:bldP spid="65" grpId="0" animBg="1"/>
      <p:bldP spid="66" grpId="0" animBg="1"/>
      <p:bldP spid="67" grpId="0" animBg="1"/>
      <p:bldP spid="68" grpId="0" animBg="1"/>
      <p:bldP spid="69" grpId="0" animBg="1"/>
      <p:bldP spid="70" grpId="0" animBg="1"/>
      <p:bldP spid="71" grpId="0" animBg="1"/>
      <p:bldP spid="72" grpId="0" animBg="1"/>
      <p:bldP spid="73" grpId="0" animBg="1"/>
      <p:bldP spid="74" grpId="0" animBg="1"/>
      <p:bldP spid="75" grpId="0" animBg="1"/>
      <p:bldP spid="76" grpId="0" animBg="1"/>
      <p:bldP spid="77" grpId="0" animBg="1"/>
      <p:bldP spid="78" grpId="0" animBg="1"/>
      <p:bldP spid="79" grpId="0" animBg="1"/>
      <p:bldP spid="80" grpId="0" animBg="1"/>
      <p:bldP spid="81" grpId="0" animBg="1"/>
      <p:bldP spid="82" grpId="0" animBg="1"/>
      <p:bldP spid="83" grpId="0" animBg="1"/>
      <p:bldP spid="84" grpId="0" animBg="1"/>
      <p:bldP spid="85" grpId="0" animBg="1"/>
      <p:bldP spid="86" grpId="0" animBg="1"/>
      <p:bldP spid="87" grpId="0" animBg="1"/>
      <p:bldP spid="88" grpId="0" animBg="1"/>
      <p:bldP spid="89" grpId="0" animBg="1"/>
      <p:bldP spid="90" grpId="0" animBg="1"/>
      <p:bldP spid="91" grpId="0" animBg="1"/>
      <p:bldP spid="92" grpId="0" animBg="1"/>
      <p:bldP spid="93" grpId="0" animBg="1"/>
      <p:bldP spid="94" grpId="0" animBg="1"/>
      <p:bldP spid="95" grpId="0" animBg="1"/>
      <p:bldP spid="96" grpId="0" animBg="1"/>
      <p:bldP spid="97" grpId="0" animBg="1"/>
      <p:bldP spid="98" grpId="0" animBg="1"/>
      <p:bldP spid="99" grpId="0" animBg="1"/>
      <p:bldP spid="100" grpId="0" animBg="1"/>
      <p:bldP spid="101" grpId="0" animBg="1"/>
      <p:bldP spid="102" grpId="0" animBg="1"/>
      <p:bldP spid="103" grpId="0" animBg="1"/>
      <p:bldP spid="104" grpId="0" animBg="1"/>
      <p:bldP spid="105" grpId="0" animBg="1"/>
      <p:bldP spid="106" grpId="0" animBg="1"/>
      <p:bldP spid="107" grpId="0" animBg="1"/>
      <p:bldP spid="108" grpId="0" animBg="1"/>
      <p:bldP spid="109" grpId="0" animBg="1"/>
      <p:bldP spid="110" grpId="0" animBg="1"/>
      <p:bldP spid="111" grpId="0" animBg="1"/>
      <p:bldP spid="112" grpId="0" animBg="1"/>
      <p:bldP spid="113" grpId="0" animBg="1"/>
      <p:bldP spid="114" grpId="0" animBg="1"/>
      <p:bldP spid="115" grpId="0" animBg="1"/>
      <p:bldP spid="116" grpId="0" animBg="1"/>
      <p:bldP spid="117" grpId="0" animBg="1"/>
      <p:bldP spid="118" grpId="0" animBg="1"/>
      <p:bldP spid="119" grpId="0" animBg="1"/>
      <p:bldP spid="120" grpId="0" animBg="1"/>
      <p:bldP spid="121" grpId="0" animBg="1"/>
      <p:bldP spid="122" grpId="0" animBg="1"/>
      <p:bldP spid="123" grpId="0" animBg="1"/>
      <p:bldP spid="124" grpId="0" animBg="1"/>
      <p:bldP spid="125" grpId="0" animBg="1"/>
      <p:bldP spid="126" grpId="0" animBg="1"/>
      <p:bldP spid="127" grpId="0" animBg="1"/>
      <p:bldP spid="128" grpId="0" animBg="1"/>
      <p:bldP spid="129" grpId="0" animBg="1"/>
      <p:bldP spid="130" grpId="0" animBg="1"/>
      <p:bldP spid="131" grpId="0" animBg="1"/>
      <p:bldP spid="132" grpId="0" animBg="1"/>
      <p:bldP spid="133" grpId="0" animBg="1"/>
      <p:bldP spid="134" grpId="0" animBg="1"/>
      <p:bldP spid="135" grpId="0" animBg="1"/>
      <p:bldP spid="136" grpId="0" animBg="1"/>
      <p:bldP spid="137" grpId="0" animBg="1"/>
      <p:bldP spid="138" grpId="0" animBg="1"/>
      <p:bldP spid="139" grpId="0" animBg="1"/>
      <p:bldP spid="140" grpId="0" animBg="1"/>
      <p:bldP spid="141" grpId="0" animBg="1"/>
      <p:bldP spid="142" grpId="0" animBg="1"/>
      <p:bldP spid="143" grpId="0" animBg="1"/>
      <p:bldP spid="144" grpId="0" animBg="1"/>
      <p:bldP spid="145" grpId="0" animBg="1"/>
      <p:bldP spid="146" grpId="0" animBg="1"/>
      <p:bldP spid="147" grpId="0" animBg="1"/>
      <p:bldP spid="148" grpId="0" animBg="1"/>
      <p:bldP spid="149" grpId="0" animBg="1"/>
      <p:bldP spid="150" grpId="0" animBg="1"/>
      <p:bldP spid="151" grpId="0" animBg="1"/>
      <p:bldP spid="152" grpId="0" animBg="1"/>
      <p:bldP spid="153" grpId="0" animBg="1"/>
      <p:bldP spid="154" grpId="0" animBg="1"/>
      <p:bldP spid="155" grpId="0" animBg="1"/>
      <p:bldP spid="156" grpId="0" animBg="1"/>
      <p:bldP spid="157" grpId="0" animBg="1"/>
      <p:bldP spid="158" grpId="0" animBg="1"/>
      <p:bldP spid="159" grpId="0" animBg="1"/>
      <p:bldP spid="160" grpId="0" animBg="1"/>
      <p:bldP spid="161" grpId="0" animBg="1"/>
      <p:bldP spid="162" grpId="0" animBg="1"/>
      <p:bldP spid="163" grpId="0" animBg="1"/>
      <p:bldP spid="164" grpId="0" animBg="1"/>
      <p:bldP spid="165" grpId="0" animBg="1"/>
      <p:bldP spid="166" grpId="0" animBg="1"/>
      <p:bldP spid="167" grpId="0" animBg="1"/>
      <p:bldP spid="168" grpId="0" animBg="1"/>
      <p:bldP spid="169" grpId="0" animBg="1"/>
      <p:bldP spid="170" grpId="0" animBg="1"/>
      <p:bldP spid="171" grpId="0" animBg="1"/>
      <p:bldP spid="172" grpId="0" animBg="1"/>
      <p:bldP spid="173" grpId="0" animBg="1"/>
      <p:bldP spid="174" grpId="0" animBg="1"/>
      <p:bldP spid="175" grpId="0" animBg="1"/>
      <p:bldP spid="176" grpId="0" animBg="1"/>
      <p:bldP spid="177" grpId="0" animBg="1"/>
      <p:bldP spid="178" grpId="0" animBg="1"/>
      <p:bldP spid="179" grpId="0" animBg="1"/>
      <p:bldP spid="180" grpId="0" animBg="1"/>
      <p:bldP spid="181" grpId="0" animBg="1"/>
      <p:bldP spid="182" grpId="0" animBg="1"/>
      <p:bldP spid="183" grpId="0" animBg="1"/>
      <p:bldP spid="184" grpId="0" animBg="1"/>
      <p:bldP spid="185" grpId="0" animBg="1"/>
      <p:bldP spid="186" grpId="0" animBg="1"/>
      <p:bldP spid="187" grpId="0" animBg="1"/>
      <p:bldP spid="188" grpId="0" animBg="1"/>
      <p:bldP spid="189" grpId="0" animBg="1"/>
      <p:bldP spid="190" grpId="0" animBg="1"/>
      <p:bldP spid="191" grpId="0" animBg="1"/>
      <p:bldP spid="192" grpId="0" animBg="1"/>
      <p:bldP spid="193" grpId="0" animBg="1"/>
      <p:bldP spid="194" grpId="0" animBg="1"/>
      <p:bldP spid="195" grpId="0" animBg="1"/>
      <p:bldP spid="196" grpId="0" animBg="1"/>
      <p:bldP spid="197" grpId="0" animBg="1"/>
      <p:bldP spid="198" grpId="0" animBg="1"/>
      <p:bldP spid="199" grpId="0" animBg="1"/>
      <p:bldP spid="200" grpId="0" animBg="1"/>
      <p:bldP spid="201" grpId="0" animBg="1"/>
      <p:bldP spid="202" grpId="0" animBg="1"/>
      <p:bldP spid="203" grpId="0" animBg="1"/>
      <p:bldP spid="204" grpId="0" animBg="1"/>
      <p:bldP spid="205" grpId="0" animBg="1"/>
      <p:bldP spid="206" grpId="0" animBg="1"/>
      <p:bldP spid="207" grpId="0" animBg="1"/>
      <p:bldP spid="208" grpId="0" animBg="1"/>
      <p:bldP spid="209" grpId="0" animBg="1"/>
      <p:bldP spid="210" grpId="0" animBg="1"/>
      <p:bldP spid="211" grpId="0" animBg="1"/>
      <p:bldP spid="212" grpId="0" animBg="1"/>
      <p:bldP spid="213" grpId="0" animBg="1"/>
      <p:bldP spid="214" grpId="0" animBg="1"/>
      <p:bldP spid="215" grpId="0" animBg="1"/>
      <p:bldP spid="216" grpId="0" animBg="1"/>
      <p:bldP spid="217" grpId="0" animBg="1"/>
      <p:bldP spid="218" grpId="0" animBg="1"/>
      <p:bldP spid="219" grpId="0" animBg="1"/>
      <p:bldP spid="220" grpId="0" animBg="1"/>
      <p:bldP spid="221" grpId="0" animBg="1"/>
      <p:bldP spid="222" grpId="0" animBg="1"/>
      <p:bldP spid="223" grpId="0" animBg="1"/>
      <p:bldP spid="224" grpId="0" animBg="1"/>
      <p:bldP spid="225" grpId="0" animBg="1"/>
      <p:bldP spid="226" grpId="0" animBg="1"/>
      <p:bldP spid="227" grpId="0" animBg="1"/>
      <p:bldP spid="228" grpId="0" animBg="1"/>
      <p:bldP spid="229" grpId="0" animBg="1"/>
      <p:bldP spid="230" grpId="0" animBg="1"/>
      <p:bldP spid="231" grpId="0" animBg="1"/>
      <p:bldP spid="232" grpId="0" animBg="1"/>
      <p:bldP spid="233" grpId="0" animBg="1"/>
      <p:bldP spid="234" grpId="0" animBg="1"/>
      <p:bldP spid="235" grpId="0" animBg="1"/>
      <p:bldP spid="236" grpId="0" animBg="1"/>
      <p:bldP spid="237" grpId="0" animBg="1"/>
      <p:bldP spid="13" grpId="0" uiExpand="1" build="p">
        <p:tmplLst>
          <p:tmpl>
            <p:tnLst>
              <p:par>
                <p:cTn presetID="10" presetClass="entr" presetSubtype="0" fill="hold" nodeType="afterEffect">
                  <p:stCondLst>
                    <p:cond delay="250"/>
                  </p:stCondLst>
                  <p:childTnLst>
                    <p:set>
                      <p:cBhvr>
                        <p:cTn dur="1" fill="hold">
                          <p:stCondLst>
                            <p:cond delay="0"/>
                          </p:stCondLst>
                        </p:cTn>
                        <p:tgtEl>
                          <p:spTgt spid="13"/>
                        </p:tgtEl>
                        <p:attrNameLst>
                          <p:attrName>style.visibility</p:attrName>
                        </p:attrNameLst>
                      </p:cBhvr>
                      <p:to>
                        <p:strVal val="visible"/>
                      </p:to>
                    </p:set>
                    <p:animEffect transition="in" filter="fade">
                      <p:cBhvr>
                        <p:cTn dur="1000"/>
                        <p:tgtEl>
                          <p:spTgt spid="13"/>
                        </p:tgtEl>
                      </p:cBhvr>
                    </p:animEffect>
                  </p:childTnLst>
                </p:cTn>
              </p:par>
            </p:tnLst>
          </p:tmpl>
          <p:tmpl lvl="1">
            <p:tnLst>
              <p:par>
                <p:cTn presetID="10" presetClass="entr" presetSubtype="0" fill="hold" nodeType="withEffect" nodePh="1">
                  <p:stCondLst>
                    <p:cond delay="250"/>
                  </p:stCondLst>
                  <p:endCondLst>
                    <p:cond delay="0"/>
                  </p:endCondLst>
                  <p:childTnLst>
                    <p:set>
                      <p:cBhvr>
                        <p:cTn dur="1" fill="hold">
                          <p:stCondLst>
                            <p:cond delay="0"/>
                          </p:stCondLst>
                        </p:cTn>
                        <p:tgtEl>
                          <p:spTgt spid="13"/>
                        </p:tgtEl>
                        <p:attrNameLst>
                          <p:attrName>style.visibility</p:attrName>
                        </p:attrNameLst>
                      </p:cBhvr>
                      <p:to>
                        <p:strVal val="visible"/>
                      </p:to>
                    </p:set>
                    <p:animEffect transition="in" filter="fade">
                      <p:cBhvr>
                        <p:cTn dur="1000"/>
                        <p:tgtEl>
                          <p:spTgt spid="13"/>
                        </p:tgtEl>
                      </p:cBhvr>
                    </p:animEffect>
                  </p:childTnLst>
                </p:cTn>
              </p:par>
            </p:tnLst>
          </p:tmpl>
        </p:tmplLst>
      </p:bldP>
    </p:bldLst>
  </p:timing>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23_Benutzerdefiniertes Layout">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8FF8E9DB-A983-495B-A8E8-630F416C11BF}"/>
              </a:ext>
            </a:extLst>
          </p:cNvPr>
          <p:cNvGraphicFramePr>
            <a:graphicFrameLocks noChangeAspect="1"/>
          </p:cNvGraphicFramePr>
          <p:nvPr userDrawn="1">
            <p:custDataLst>
              <p:tags r:id="rId1"/>
            </p:custDataLst>
            <p:extLst>
              <p:ext uri="{D42A27DB-BD31-4B8C-83A1-F6EECF244321}">
                <p14:modId xmlns:p14="http://schemas.microsoft.com/office/powerpoint/2010/main" val="1560425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2" name="Objekt 1" hidden="1">
                        <a:extLst>
                          <a:ext uri="{FF2B5EF4-FFF2-40B4-BE49-F238E27FC236}">
                            <a16:creationId xmlns:a16="http://schemas.microsoft.com/office/drawing/2014/main" id="{8FF8E9DB-A983-495B-A8E8-630F416C11B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3" name="Rechteck 32">
            <a:extLst>
              <a:ext uri="{FF2B5EF4-FFF2-40B4-BE49-F238E27FC236}">
                <a16:creationId xmlns:a16="http://schemas.microsoft.com/office/drawing/2014/main" id="{95791B20-6611-4BC3-9643-F8853AFBD8B7}"/>
              </a:ext>
            </a:extLst>
          </p:cNvPr>
          <p:cNvSpPr/>
          <p:nvPr userDrawn="1"/>
        </p:nvSpPr>
        <p:spPr>
          <a:xfrm>
            <a:off x="0" y="0"/>
            <a:ext cx="5772243" cy="990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64" name="Bildplatzhalter 63">
            <a:extLst>
              <a:ext uri="{FF2B5EF4-FFF2-40B4-BE49-F238E27FC236}">
                <a16:creationId xmlns:a16="http://schemas.microsoft.com/office/drawing/2014/main" id="{27D8A489-906F-4514-8E3F-C8B31E0E5A05}"/>
              </a:ext>
            </a:extLst>
          </p:cNvPr>
          <p:cNvSpPr>
            <a:spLocks noGrp="1"/>
          </p:cNvSpPr>
          <p:nvPr>
            <p:ph type="pic" sz="quarter" idx="10"/>
          </p:nvPr>
        </p:nvSpPr>
        <p:spPr>
          <a:xfrm>
            <a:off x="0" y="0"/>
            <a:ext cx="12191999" cy="6858000"/>
          </a:xfrm>
          <a:custGeom>
            <a:avLst/>
            <a:gdLst>
              <a:gd name="connsiteX0" fmla="*/ 5788920 w 12191999"/>
              <a:gd name="connsiteY0" fmla="*/ 3246099 h 6858000"/>
              <a:gd name="connsiteX1" fmla="*/ 5801118 w 12191999"/>
              <a:gd name="connsiteY1" fmla="*/ 3246099 h 6858000"/>
              <a:gd name="connsiteX2" fmla="*/ 5820770 w 12191999"/>
              <a:gd name="connsiteY2" fmla="*/ 3254231 h 6858000"/>
              <a:gd name="connsiteX3" fmla="*/ 5827546 w 12191999"/>
              <a:gd name="connsiteY3" fmla="*/ 3277949 h 6858000"/>
              <a:gd name="connsiteX4" fmla="*/ 5827546 w 12191999"/>
              <a:gd name="connsiteY4" fmla="*/ 3283370 h 6858000"/>
              <a:gd name="connsiteX5" fmla="*/ 5820092 w 12191999"/>
              <a:gd name="connsiteY5" fmla="*/ 3307089 h 6858000"/>
              <a:gd name="connsiteX6" fmla="*/ 5799762 w 12191999"/>
              <a:gd name="connsiteY6" fmla="*/ 3315220 h 6858000"/>
              <a:gd name="connsiteX7" fmla="*/ 5788920 w 12191999"/>
              <a:gd name="connsiteY7" fmla="*/ 3315220 h 6858000"/>
              <a:gd name="connsiteX8" fmla="*/ 5303038 w 12191999"/>
              <a:gd name="connsiteY8" fmla="*/ 3246099 h 6858000"/>
              <a:gd name="connsiteX9" fmla="*/ 5315236 w 12191999"/>
              <a:gd name="connsiteY9" fmla="*/ 3246099 h 6858000"/>
              <a:gd name="connsiteX10" fmla="*/ 5334888 w 12191999"/>
              <a:gd name="connsiteY10" fmla="*/ 3254231 h 6858000"/>
              <a:gd name="connsiteX11" fmla="*/ 5341664 w 12191999"/>
              <a:gd name="connsiteY11" fmla="*/ 3277949 h 6858000"/>
              <a:gd name="connsiteX12" fmla="*/ 5341664 w 12191999"/>
              <a:gd name="connsiteY12" fmla="*/ 3283370 h 6858000"/>
              <a:gd name="connsiteX13" fmla="*/ 5334210 w 12191999"/>
              <a:gd name="connsiteY13" fmla="*/ 3307089 h 6858000"/>
              <a:gd name="connsiteX14" fmla="*/ 5313880 w 12191999"/>
              <a:gd name="connsiteY14" fmla="*/ 3315220 h 6858000"/>
              <a:gd name="connsiteX15" fmla="*/ 5303038 w 12191999"/>
              <a:gd name="connsiteY15" fmla="*/ 3315220 h 6858000"/>
              <a:gd name="connsiteX16" fmla="*/ 4985215 w 12191999"/>
              <a:gd name="connsiteY16" fmla="*/ 3246099 h 6858000"/>
              <a:gd name="connsiteX17" fmla="*/ 5002835 w 12191999"/>
              <a:gd name="connsiteY17" fmla="*/ 3246099 h 6858000"/>
              <a:gd name="connsiteX18" fmla="*/ 5015710 w 12191999"/>
              <a:gd name="connsiteY18" fmla="*/ 3250165 h 6858000"/>
              <a:gd name="connsiteX19" fmla="*/ 5019776 w 12191999"/>
              <a:gd name="connsiteY19" fmla="*/ 3262363 h 6858000"/>
              <a:gd name="connsiteX20" fmla="*/ 5015033 w 12191999"/>
              <a:gd name="connsiteY20" fmla="*/ 3273883 h 6858000"/>
              <a:gd name="connsiteX21" fmla="*/ 5002157 w 12191999"/>
              <a:gd name="connsiteY21" fmla="*/ 3277949 h 6858000"/>
              <a:gd name="connsiteX22" fmla="*/ 4985215 w 12191999"/>
              <a:gd name="connsiteY22" fmla="*/ 3277949 h 6858000"/>
              <a:gd name="connsiteX23" fmla="*/ 6397458 w 12191999"/>
              <a:gd name="connsiteY23" fmla="*/ 3245421 h 6858000"/>
              <a:gd name="connsiteX24" fmla="*/ 6414400 w 12191999"/>
              <a:gd name="connsiteY24" fmla="*/ 3253553 h 6858000"/>
              <a:gd name="connsiteX25" fmla="*/ 6420499 w 12191999"/>
              <a:gd name="connsiteY25" fmla="*/ 3277949 h 6858000"/>
              <a:gd name="connsiteX26" fmla="*/ 6420499 w 12191999"/>
              <a:gd name="connsiteY26" fmla="*/ 3283370 h 6858000"/>
              <a:gd name="connsiteX27" fmla="*/ 6414400 w 12191999"/>
              <a:gd name="connsiteY27" fmla="*/ 3307766 h 6858000"/>
              <a:gd name="connsiteX28" fmla="*/ 6397458 w 12191999"/>
              <a:gd name="connsiteY28" fmla="*/ 3315898 h 6858000"/>
              <a:gd name="connsiteX29" fmla="*/ 6380517 w 12191999"/>
              <a:gd name="connsiteY29" fmla="*/ 3307088 h 6858000"/>
              <a:gd name="connsiteX30" fmla="*/ 6374418 w 12191999"/>
              <a:gd name="connsiteY30" fmla="*/ 3282692 h 6858000"/>
              <a:gd name="connsiteX31" fmla="*/ 6374418 w 12191999"/>
              <a:gd name="connsiteY31" fmla="*/ 3277271 h 6858000"/>
              <a:gd name="connsiteX32" fmla="*/ 6380517 w 12191999"/>
              <a:gd name="connsiteY32" fmla="*/ 3253553 h 6858000"/>
              <a:gd name="connsiteX33" fmla="*/ 6397458 w 12191999"/>
              <a:gd name="connsiteY33" fmla="*/ 3245421 h 6858000"/>
              <a:gd name="connsiteX34" fmla="*/ 4831387 w 12191999"/>
              <a:gd name="connsiteY34" fmla="*/ 3245421 h 6858000"/>
              <a:gd name="connsiteX35" fmla="*/ 4848329 w 12191999"/>
              <a:gd name="connsiteY35" fmla="*/ 3253553 h 6858000"/>
              <a:gd name="connsiteX36" fmla="*/ 4854428 w 12191999"/>
              <a:gd name="connsiteY36" fmla="*/ 3277949 h 6858000"/>
              <a:gd name="connsiteX37" fmla="*/ 4854428 w 12191999"/>
              <a:gd name="connsiteY37" fmla="*/ 3283370 h 6858000"/>
              <a:gd name="connsiteX38" fmla="*/ 4848329 w 12191999"/>
              <a:gd name="connsiteY38" fmla="*/ 3307766 h 6858000"/>
              <a:gd name="connsiteX39" fmla="*/ 4831387 w 12191999"/>
              <a:gd name="connsiteY39" fmla="*/ 3315898 h 6858000"/>
              <a:gd name="connsiteX40" fmla="*/ 4814446 w 12191999"/>
              <a:gd name="connsiteY40" fmla="*/ 3307088 h 6858000"/>
              <a:gd name="connsiteX41" fmla="*/ 4808347 w 12191999"/>
              <a:gd name="connsiteY41" fmla="*/ 3282692 h 6858000"/>
              <a:gd name="connsiteX42" fmla="*/ 4808347 w 12191999"/>
              <a:gd name="connsiteY42" fmla="*/ 3277271 h 6858000"/>
              <a:gd name="connsiteX43" fmla="*/ 4814446 w 12191999"/>
              <a:gd name="connsiteY43" fmla="*/ 3253553 h 6858000"/>
              <a:gd name="connsiteX44" fmla="*/ 4831387 w 12191999"/>
              <a:gd name="connsiteY44" fmla="*/ 3245421 h 6858000"/>
              <a:gd name="connsiteX45" fmla="*/ 6211780 w 12191999"/>
              <a:gd name="connsiteY45" fmla="*/ 3233223 h 6858000"/>
              <a:gd name="connsiteX46" fmla="*/ 6211780 w 12191999"/>
              <a:gd name="connsiteY46" fmla="*/ 3328773 h 6858000"/>
              <a:gd name="connsiteX47" fmla="*/ 6272092 w 12191999"/>
              <a:gd name="connsiteY47" fmla="*/ 3328773 h 6858000"/>
              <a:gd name="connsiteX48" fmla="*/ 6272092 w 12191999"/>
              <a:gd name="connsiteY48" fmla="*/ 3315220 h 6858000"/>
              <a:gd name="connsiteX49" fmla="*/ 6228721 w 12191999"/>
              <a:gd name="connsiteY49" fmla="*/ 3315220 h 6858000"/>
              <a:gd name="connsiteX50" fmla="*/ 6228721 w 12191999"/>
              <a:gd name="connsiteY50" fmla="*/ 3233223 h 6858000"/>
              <a:gd name="connsiteX51" fmla="*/ 5132947 w 12191999"/>
              <a:gd name="connsiteY51" fmla="*/ 3233223 h 6858000"/>
              <a:gd name="connsiteX52" fmla="*/ 5132947 w 12191999"/>
              <a:gd name="connsiteY52" fmla="*/ 3328773 h 6858000"/>
              <a:gd name="connsiteX53" fmla="*/ 5193258 w 12191999"/>
              <a:gd name="connsiteY53" fmla="*/ 3328773 h 6858000"/>
              <a:gd name="connsiteX54" fmla="*/ 5193258 w 12191999"/>
              <a:gd name="connsiteY54" fmla="*/ 3315220 h 6858000"/>
              <a:gd name="connsiteX55" fmla="*/ 5149888 w 12191999"/>
              <a:gd name="connsiteY55" fmla="*/ 3315220 h 6858000"/>
              <a:gd name="connsiteX56" fmla="*/ 5149888 w 12191999"/>
              <a:gd name="connsiteY56" fmla="*/ 3233223 h 6858000"/>
              <a:gd name="connsiteX57" fmla="*/ 7150338 w 12191999"/>
              <a:gd name="connsiteY57" fmla="*/ 3232546 h 6858000"/>
              <a:gd name="connsiteX58" fmla="*/ 7150338 w 12191999"/>
              <a:gd name="connsiteY58" fmla="*/ 3328096 h 6858000"/>
              <a:gd name="connsiteX59" fmla="*/ 7166602 w 12191999"/>
              <a:gd name="connsiteY59" fmla="*/ 3328096 h 6858000"/>
              <a:gd name="connsiteX60" fmla="*/ 7166602 w 12191999"/>
              <a:gd name="connsiteY60" fmla="*/ 3232546 h 6858000"/>
              <a:gd name="connsiteX61" fmla="*/ 6980246 w 12191999"/>
              <a:gd name="connsiteY61" fmla="*/ 3232546 h 6858000"/>
              <a:gd name="connsiteX62" fmla="*/ 6980246 w 12191999"/>
              <a:gd name="connsiteY62" fmla="*/ 3246099 h 6858000"/>
              <a:gd name="connsiteX63" fmla="*/ 7010063 w 12191999"/>
              <a:gd name="connsiteY63" fmla="*/ 3246099 h 6858000"/>
              <a:gd name="connsiteX64" fmla="*/ 7010063 w 12191999"/>
              <a:gd name="connsiteY64" fmla="*/ 3328096 h 6858000"/>
              <a:gd name="connsiteX65" fmla="*/ 7026327 w 12191999"/>
              <a:gd name="connsiteY65" fmla="*/ 3328096 h 6858000"/>
              <a:gd name="connsiteX66" fmla="*/ 7026327 w 12191999"/>
              <a:gd name="connsiteY66" fmla="*/ 3246099 h 6858000"/>
              <a:gd name="connsiteX67" fmla="*/ 7056144 w 12191999"/>
              <a:gd name="connsiteY67" fmla="*/ 3246099 h 6858000"/>
              <a:gd name="connsiteX68" fmla="*/ 7056144 w 12191999"/>
              <a:gd name="connsiteY68" fmla="*/ 3232546 h 6858000"/>
              <a:gd name="connsiteX69" fmla="*/ 6707827 w 12191999"/>
              <a:gd name="connsiteY69" fmla="*/ 3232546 h 6858000"/>
              <a:gd name="connsiteX70" fmla="*/ 6707827 w 12191999"/>
              <a:gd name="connsiteY70" fmla="*/ 3328096 h 6858000"/>
              <a:gd name="connsiteX71" fmla="*/ 6724091 w 12191999"/>
              <a:gd name="connsiteY71" fmla="*/ 3328096 h 6858000"/>
              <a:gd name="connsiteX72" fmla="*/ 6724091 w 12191999"/>
              <a:gd name="connsiteY72" fmla="*/ 3232546 h 6858000"/>
              <a:gd name="connsiteX73" fmla="*/ 5941394 w 12191999"/>
              <a:gd name="connsiteY73" fmla="*/ 3232546 h 6858000"/>
              <a:gd name="connsiteX74" fmla="*/ 5941394 w 12191999"/>
              <a:gd name="connsiteY74" fmla="*/ 3328096 h 6858000"/>
              <a:gd name="connsiteX75" fmla="*/ 6003739 w 12191999"/>
              <a:gd name="connsiteY75" fmla="*/ 3328096 h 6858000"/>
              <a:gd name="connsiteX76" fmla="*/ 6003739 w 12191999"/>
              <a:gd name="connsiteY76" fmla="*/ 3314543 h 6858000"/>
              <a:gd name="connsiteX77" fmla="*/ 5957658 w 12191999"/>
              <a:gd name="connsiteY77" fmla="*/ 3314543 h 6858000"/>
              <a:gd name="connsiteX78" fmla="*/ 5957658 w 12191999"/>
              <a:gd name="connsiteY78" fmla="*/ 3285403 h 6858000"/>
              <a:gd name="connsiteX79" fmla="*/ 5996962 w 12191999"/>
              <a:gd name="connsiteY79" fmla="*/ 3285403 h 6858000"/>
              <a:gd name="connsiteX80" fmla="*/ 5997640 w 12191999"/>
              <a:gd name="connsiteY80" fmla="*/ 3285403 h 6858000"/>
              <a:gd name="connsiteX81" fmla="*/ 5997640 w 12191999"/>
              <a:gd name="connsiteY81" fmla="*/ 3272528 h 6858000"/>
              <a:gd name="connsiteX82" fmla="*/ 5958335 w 12191999"/>
              <a:gd name="connsiteY82" fmla="*/ 3272528 h 6858000"/>
              <a:gd name="connsiteX83" fmla="*/ 5958335 w 12191999"/>
              <a:gd name="connsiteY83" fmla="*/ 3246099 h 6858000"/>
              <a:gd name="connsiteX84" fmla="*/ 6003739 w 12191999"/>
              <a:gd name="connsiteY84" fmla="*/ 3246099 h 6858000"/>
              <a:gd name="connsiteX85" fmla="*/ 6003739 w 12191999"/>
              <a:gd name="connsiteY85" fmla="*/ 3232546 h 6858000"/>
              <a:gd name="connsiteX86" fmla="*/ 5772657 w 12191999"/>
              <a:gd name="connsiteY86" fmla="*/ 3232546 h 6858000"/>
              <a:gd name="connsiteX87" fmla="*/ 5772657 w 12191999"/>
              <a:gd name="connsiteY87" fmla="*/ 3327418 h 6858000"/>
              <a:gd name="connsiteX88" fmla="*/ 5799762 w 12191999"/>
              <a:gd name="connsiteY88" fmla="*/ 3327418 h 6858000"/>
              <a:gd name="connsiteX89" fmla="*/ 5822804 w 12191999"/>
              <a:gd name="connsiteY89" fmla="*/ 3321997 h 6858000"/>
              <a:gd name="connsiteX90" fmla="*/ 5838389 w 12191999"/>
              <a:gd name="connsiteY90" fmla="*/ 3306411 h 6858000"/>
              <a:gd name="connsiteX91" fmla="*/ 5843810 w 12191999"/>
              <a:gd name="connsiteY91" fmla="*/ 3282693 h 6858000"/>
              <a:gd name="connsiteX92" fmla="*/ 5843810 w 12191999"/>
              <a:gd name="connsiteY92" fmla="*/ 3277949 h 6858000"/>
              <a:gd name="connsiteX93" fmla="*/ 5838389 w 12191999"/>
              <a:gd name="connsiteY93" fmla="*/ 3254231 h 6858000"/>
              <a:gd name="connsiteX94" fmla="*/ 5823480 w 12191999"/>
              <a:gd name="connsiteY94" fmla="*/ 3237967 h 6858000"/>
              <a:gd name="connsiteX95" fmla="*/ 5801118 w 12191999"/>
              <a:gd name="connsiteY95" fmla="*/ 3232546 h 6858000"/>
              <a:gd name="connsiteX96" fmla="*/ 5655421 w 12191999"/>
              <a:gd name="connsiteY96" fmla="*/ 3232546 h 6858000"/>
              <a:gd name="connsiteX97" fmla="*/ 5655421 w 12191999"/>
              <a:gd name="connsiteY97" fmla="*/ 3328096 h 6858000"/>
              <a:gd name="connsiteX98" fmla="*/ 5671685 w 12191999"/>
              <a:gd name="connsiteY98" fmla="*/ 3328096 h 6858000"/>
              <a:gd name="connsiteX99" fmla="*/ 5671685 w 12191999"/>
              <a:gd name="connsiteY99" fmla="*/ 3232546 h 6858000"/>
              <a:gd name="connsiteX100" fmla="*/ 5448058 w 12191999"/>
              <a:gd name="connsiteY100" fmla="*/ 3232546 h 6858000"/>
              <a:gd name="connsiteX101" fmla="*/ 5470420 w 12191999"/>
              <a:gd name="connsiteY101" fmla="*/ 3328096 h 6858000"/>
              <a:gd name="connsiteX102" fmla="*/ 5486685 w 12191999"/>
              <a:gd name="connsiteY102" fmla="*/ 3328096 h 6858000"/>
              <a:gd name="connsiteX103" fmla="*/ 5504980 w 12191999"/>
              <a:gd name="connsiteY103" fmla="*/ 3258297 h 6858000"/>
              <a:gd name="connsiteX104" fmla="*/ 5523277 w 12191999"/>
              <a:gd name="connsiteY104" fmla="*/ 3328096 h 6858000"/>
              <a:gd name="connsiteX105" fmla="*/ 5538863 w 12191999"/>
              <a:gd name="connsiteY105" fmla="*/ 3328096 h 6858000"/>
              <a:gd name="connsiteX106" fmla="*/ 5561226 w 12191999"/>
              <a:gd name="connsiteY106" fmla="*/ 3232546 h 6858000"/>
              <a:gd name="connsiteX107" fmla="*/ 5544962 w 12191999"/>
              <a:gd name="connsiteY107" fmla="*/ 3232546 h 6858000"/>
              <a:gd name="connsiteX108" fmla="*/ 5530055 w 12191999"/>
              <a:gd name="connsiteY108" fmla="*/ 3304378 h 6858000"/>
              <a:gd name="connsiteX109" fmla="*/ 5511757 w 12191999"/>
              <a:gd name="connsiteY109" fmla="*/ 3232546 h 6858000"/>
              <a:gd name="connsiteX110" fmla="*/ 5497527 w 12191999"/>
              <a:gd name="connsiteY110" fmla="*/ 3232546 h 6858000"/>
              <a:gd name="connsiteX111" fmla="*/ 5479229 w 12191999"/>
              <a:gd name="connsiteY111" fmla="*/ 3304378 h 6858000"/>
              <a:gd name="connsiteX112" fmla="*/ 5464321 w 12191999"/>
              <a:gd name="connsiteY112" fmla="*/ 3232546 h 6858000"/>
              <a:gd name="connsiteX113" fmla="*/ 5286775 w 12191999"/>
              <a:gd name="connsiteY113" fmla="*/ 3232546 h 6858000"/>
              <a:gd name="connsiteX114" fmla="*/ 5286775 w 12191999"/>
              <a:gd name="connsiteY114" fmla="*/ 3327418 h 6858000"/>
              <a:gd name="connsiteX115" fmla="*/ 5313880 w 12191999"/>
              <a:gd name="connsiteY115" fmla="*/ 3327418 h 6858000"/>
              <a:gd name="connsiteX116" fmla="*/ 5336922 w 12191999"/>
              <a:gd name="connsiteY116" fmla="*/ 3321997 h 6858000"/>
              <a:gd name="connsiteX117" fmla="*/ 5352507 w 12191999"/>
              <a:gd name="connsiteY117" fmla="*/ 3306411 h 6858000"/>
              <a:gd name="connsiteX118" fmla="*/ 5357928 w 12191999"/>
              <a:gd name="connsiteY118" fmla="*/ 3282693 h 6858000"/>
              <a:gd name="connsiteX119" fmla="*/ 5357928 w 12191999"/>
              <a:gd name="connsiteY119" fmla="*/ 3277949 h 6858000"/>
              <a:gd name="connsiteX120" fmla="*/ 5352507 w 12191999"/>
              <a:gd name="connsiteY120" fmla="*/ 3254231 h 6858000"/>
              <a:gd name="connsiteX121" fmla="*/ 5337598 w 12191999"/>
              <a:gd name="connsiteY121" fmla="*/ 3237967 h 6858000"/>
              <a:gd name="connsiteX122" fmla="*/ 5315236 w 12191999"/>
              <a:gd name="connsiteY122" fmla="*/ 3232546 h 6858000"/>
              <a:gd name="connsiteX123" fmla="*/ 4968274 w 12191999"/>
              <a:gd name="connsiteY123" fmla="*/ 3232546 h 6858000"/>
              <a:gd name="connsiteX124" fmla="*/ 4968274 w 12191999"/>
              <a:gd name="connsiteY124" fmla="*/ 3328096 h 6858000"/>
              <a:gd name="connsiteX125" fmla="*/ 4985215 w 12191999"/>
              <a:gd name="connsiteY125" fmla="*/ 3328096 h 6858000"/>
              <a:gd name="connsiteX126" fmla="*/ 4985215 w 12191999"/>
              <a:gd name="connsiteY126" fmla="*/ 3291502 h 6858000"/>
              <a:gd name="connsiteX127" fmla="*/ 5003512 w 12191999"/>
              <a:gd name="connsiteY127" fmla="*/ 3291502 h 6858000"/>
              <a:gd name="connsiteX128" fmla="*/ 5023164 w 12191999"/>
              <a:gd name="connsiteY128" fmla="*/ 3328774 h 6858000"/>
              <a:gd name="connsiteX129" fmla="*/ 5040784 w 12191999"/>
              <a:gd name="connsiteY129" fmla="*/ 3328774 h 6858000"/>
              <a:gd name="connsiteX130" fmla="*/ 5040784 w 12191999"/>
              <a:gd name="connsiteY130" fmla="*/ 3328096 h 6858000"/>
              <a:gd name="connsiteX131" fmla="*/ 5019098 w 12191999"/>
              <a:gd name="connsiteY131" fmla="*/ 3288114 h 6858000"/>
              <a:gd name="connsiteX132" fmla="*/ 5031974 w 12191999"/>
              <a:gd name="connsiteY132" fmla="*/ 3277949 h 6858000"/>
              <a:gd name="connsiteX133" fmla="*/ 5036718 w 12191999"/>
              <a:gd name="connsiteY133" fmla="*/ 3261685 h 6858000"/>
              <a:gd name="connsiteX134" fmla="*/ 5027908 w 12191999"/>
              <a:gd name="connsiteY134" fmla="*/ 3240000 h 6858000"/>
              <a:gd name="connsiteX135" fmla="*/ 5002157 w 12191999"/>
              <a:gd name="connsiteY135" fmla="*/ 3232546 h 6858000"/>
              <a:gd name="connsiteX136" fmla="*/ 4589463 w 12191999"/>
              <a:gd name="connsiteY136" fmla="*/ 3232546 h 6858000"/>
              <a:gd name="connsiteX137" fmla="*/ 4611826 w 12191999"/>
              <a:gd name="connsiteY137" fmla="*/ 3328096 h 6858000"/>
              <a:gd name="connsiteX138" fmla="*/ 4627412 w 12191999"/>
              <a:gd name="connsiteY138" fmla="*/ 3328096 h 6858000"/>
              <a:gd name="connsiteX139" fmla="*/ 4645709 w 12191999"/>
              <a:gd name="connsiteY139" fmla="*/ 3258297 h 6858000"/>
              <a:gd name="connsiteX140" fmla="*/ 4664006 w 12191999"/>
              <a:gd name="connsiteY140" fmla="*/ 3328096 h 6858000"/>
              <a:gd name="connsiteX141" fmla="*/ 4679592 w 12191999"/>
              <a:gd name="connsiteY141" fmla="*/ 3328096 h 6858000"/>
              <a:gd name="connsiteX142" fmla="*/ 4701955 w 12191999"/>
              <a:gd name="connsiteY142" fmla="*/ 3232546 h 6858000"/>
              <a:gd name="connsiteX143" fmla="*/ 4685692 w 12191999"/>
              <a:gd name="connsiteY143" fmla="*/ 3232546 h 6858000"/>
              <a:gd name="connsiteX144" fmla="*/ 4670782 w 12191999"/>
              <a:gd name="connsiteY144" fmla="*/ 3304378 h 6858000"/>
              <a:gd name="connsiteX145" fmla="*/ 4653164 w 12191999"/>
              <a:gd name="connsiteY145" fmla="*/ 3232546 h 6858000"/>
              <a:gd name="connsiteX146" fmla="*/ 4638932 w 12191999"/>
              <a:gd name="connsiteY146" fmla="*/ 3232546 h 6858000"/>
              <a:gd name="connsiteX147" fmla="*/ 4620635 w 12191999"/>
              <a:gd name="connsiteY147" fmla="*/ 3304378 h 6858000"/>
              <a:gd name="connsiteX148" fmla="*/ 4605727 w 12191999"/>
              <a:gd name="connsiteY148" fmla="*/ 3232546 h 6858000"/>
              <a:gd name="connsiteX149" fmla="*/ 7468161 w 12191999"/>
              <a:gd name="connsiteY149" fmla="*/ 3231868 h 6858000"/>
              <a:gd name="connsiteX150" fmla="*/ 7443766 w 12191999"/>
              <a:gd name="connsiteY150" fmla="*/ 3239322 h 6858000"/>
              <a:gd name="connsiteX151" fmla="*/ 7434278 w 12191999"/>
              <a:gd name="connsiteY151" fmla="*/ 3258297 h 6858000"/>
              <a:gd name="connsiteX152" fmla="*/ 7447154 w 12191999"/>
              <a:gd name="connsiteY152" fmla="*/ 3279982 h 6858000"/>
              <a:gd name="connsiteX153" fmla="*/ 7465451 w 12191999"/>
              <a:gd name="connsiteY153" fmla="*/ 3287436 h 6858000"/>
              <a:gd name="connsiteX154" fmla="*/ 7481714 w 12191999"/>
              <a:gd name="connsiteY154" fmla="*/ 3294213 h 6858000"/>
              <a:gd name="connsiteX155" fmla="*/ 7486458 w 12191999"/>
              <a:gd name="connsiteY155" fmla="*/ 3303700 h 6858000"/>
              <a:gd name="connsiteX156" fmla="*/ 7481714 w 12191999"/>
              <a:gd name="connsiteY156" fmla="*/ 3312509 h 6858000"/>
              <a:gd name="connsiteX157" fmla="*/ 7468839 w 12191999"/>
              <a:gd name="connsiteY157" fmla="*/ 3315898 h 6858000"/>
              <a:gd name="connsiteX158" fmla="*/ 7453253 w 12191999"/>
              <a:gd name="connsiteY158" fmla="*/ 3311154 h 6858000"/>
              <a:gd name="connsiteX159" fmla="*/ 7447831 w 12191999"/>
              <a:gd name="connsiteY159" fmla="*/ 3298279 h 6858000"/>
              <a:gd name="connsiteX160" fmla="*/ 7430890 w 12191999"/>
              <a:gd name="connsiteY160" fmla="*/ 3298279 h 6858000"/>
              <a:gd name="connsiteX161" fmla="*/ 7435634 w 12191999"/>
              <a:gd name="connsiteY161" fmla="*/ 3313865 h 6858000"/>
              <a:gd name="connsiteX162" fmla="*/ 7449187 w 12191999"/>
              <a:gd name="connsiteY162" fmla="*/ 3324707 h 6858000"/>
              <a:gd name="connsiteX163" fmla="*/ 7468161 w 12191999"/>
              <a:gd name="connsiteY163" fmla="*/ 3328773 h 6858000"/>
              <a:gd name="connsiteX164" fmla="*/ 7493235 w 12191999"/>
              <a:gd name="connsiteY164" fmla="*/ 3321997 h 6858000"/>
              <a:gd name="connsiteX165" fmla="*/ 7502722 w 12191999"/>
              <a:gd name="connsiteY165" fmla="*/ 3303022 h 6858000"/>
              <a:gd name="connsiteX166" fmla="*/ 7499334 w 12191999"/>
              <a:gd name="connsiteY166" fmla="*/ 3290147 h 6858000"/>
              <a:gd name="connsiteX167" fmla="*/ 7489169 w 12191999"/>
              <a:gd name="connsiteY167" fmla="*/ 3280659 h 6858000"/>
              <a:gd name="connsiteX168" fmla="*/ 7471550 w 12191999"/>
              <a:gd name="connsiteY168" fmla="*/ 3273205 h 6858000"/>
              <a:gd name="connsiteX169" fmla="*/ 7455286 w 12191999"/>
              <a:gd name="connsiteY169" fmla="*/ 3266429 h 6858000"/>
              <a:gd name="connsiteX170" fmla="*/ 7450542 w 12191999"/>
              <a:gd name="connsiteY170" fmla="*/ 3257619 h 6858000"/>
              <a:gd name="connsiteX171" fmla="*/ 7455286 w 12191999"/>
              <a:gd name="connsiteY171" fmla="*/ 3248132 h 6858000"/>
              <a:gd name="connsiteX172" fmla="*/ 7468161 w 12191999"/>
              <a:gd name="connsiteY172" fmla="*/ 3244744 h 6858000"/>
              <a:gd name="connsiteX173" fmla="*/ 7481714 w 12191999"/>
              <a:gd name="connsiteY173" fmla="*/ 3248809 h 6858000"/>
              <a:gd name="connsiteX174" fmla="*/ 7486458 w 12191999"/>
              <a:gd name="connsiteY174" fmla="*/ 3260330 h 6858000"/>
              <a:gd name="connsiteX175" fmla="*/ 7502722 w 12191999"/>
              <a:gd name="connsiteY175" fmla="*/ 3260330 h 6858000"/>
              <a:gd name="connsiteX176" fmla="*/ 7497978 w 12191999"/>
              <a:gd name="connsiteY176" fmla="*/ 3245421 h 6858000"/>
              <a:gd name="connsiteX177" fmla="*/ 7485780 w 12191999"/>
              <a:gd name="connsiteY177" fmla="*/ 3235256 h 6858000"/>
              <a:gd name="connsiteX178" fmla="*/ 7468161 w 12191999"/>
              <a:gd name="connsiteY178" fmla="*/ 3231868 h 6858000"/>
              <a:gd name="connsiteX179" fmla="*/ 7303489 w 12191999"/>
              <a:gd name="connsiteY179" fmla="*/ 3231868 h 6858000"/>
              <a:gd name="connsiteX180" fmla="*/ 7282482 w 12191999"/>
              <a:gd name="connsiteY180" fmla="*/ 3237289 h 6858000"/>
              <a:gd name="connsiteX181" fmla="*/ 7268928 w 12191999"/>
              <a:gd name="connsiteY181" fmla="*/ 3252875 h 6858000"/>
              <a:gd name="connsiteX182" fmla="*/ 7264185 w 12191999"/>
              <a:gd name="connsiteY182" fmla="*/ 3276594 h 6858000"/>
              <a:gd name="connsiteX183" fmla="*/ 7264185 w 12191999"/>
              <a:gd name="connsiteY183" fmla="*/ 3285403 h 6858000"/>
              <a:gd name="connsiteX184" fmla="*/ 7268928 w 12191999"/>
              <a:gd name="connsiteY184" fmla="*/ 3308444 h 6858000"/>
              <a:gd name="connsiteX185" fmla="*/ 7282482 w 12191999"/>
              <a:gd name="connsiteY185" fmla="*/ 3324030 h 6858000"/>
              <a:gd name="connsiteX186" fmla="*/ 7302811 w 12191999"/>
              <a:gd name="connsiteY186" fmla="*/ 3329451 h 6858000"/>
              <a:gd name="connsiteX187" fmla="*/ 7329240 w 12191999"/>
              <a:gd name="connsiteY187" fmla="*/ 3320641 h 6858000"/>
              <a:gd name="connsiteX188" fmla="*/ 7340102 w 12191999"/>
              <a:gd name="connsiteY188" fmla="*/ 3298279 h 6858000"/>
              <a:gd name="connsiteX189" fmla="*/ 7340760 w 12191999"/>
              <a:gd name="connsiteY189" fmla="*/ 3298279 h 6858000"/>
              <a:gd name="connsiteX190" fmla="*/ 7340760 w 12191999"/>
              <a:gd name="connsiteY190" fmla="*/ 3296923 h 6858000"/>
              <a:gd name="connsiteX191" fmla="*/ 7340102 w 12191999"/>
              <a:gd name="connsiteY191" fmla="*/ 3298279 h 6858000"/>
              <a:gd name="connsiteX192" fmla="*/ 7323819 w 12191999"/>
              <a:gd name="connsiteY192" fmla="*/ 3298279 h 6858000"/>
              <a:gd name="connsiteX193" fmla="*/ 7317720 w 12191999"/>
              <a:gd name="connsiteY193" fmla="*/ 3313187 h 6858000"/>
              <a:gd name="connsiteX194" fmla="*/ 7302811 w 12191999"/>
              <a:gd name="connsiteY194" fmla="*/ 3317253 h 6858000"/>
              <a:gd name="connsiteX195" fmla="*/ 7286548 w 12191999"/>
              <a:gd name="connsiteY195" fmla="*/ 3309121 h 6858000"/>
              <a:gd name="connsiteX196" fmla="*/ 7281126 w 12191999"/>
              <a:gd name="connsiteY196" fmla="*/ 3285403 h 6858000"/>
              <a:gd name="connsiteX197" fmla="*/ 7281126 w 12191999"/>
              <a:gd name="connsiteY197" fmla="*/ 3276594 h 6858000"/>
              <a:gd name="connsiteX198" fmla="*/ 7287225 w 12191999"/>
              <a:gd name="connsiteY198" fmla="*/ 3253553 h 6858000"/>
              <a:gd name="connsiteX199" fmla="*/ 7304167 w 12191999"/>
              <a:gd name="connsiteY199" fmla="*/ 3245421 h 6858000"/>
              <a:gd name="connsiteX200" fmla="*/ 7318398 w 12191999"/>
              <a:gd name="connsiteY200" fmla="*/ 3250165 h 6858000"/>
              <a:gd name="connsiteX201" fmla="*/ 7324497 w 12191999"/>
              <a:gd name="connsiteY201" fmla="*/ 3265073 h 6858000"/>
              <a:gd name="connsiteX202" fmla="*/ 7340760 w 12191999"/>
              <a:gd name="connsiteY202" fmla="*/ 3265073 h 6858000"/>
              <a:gd name="connsiteX203" fmla="*/ 7329240 w 12191999"/>
              <a:gd name="connsiteY203" fmla="*/ 3240678 h 6858000"/>
              <a:gd name="connsiteX204" fmla="*/ 7303489 w 12191999"/>
              <a:gd name="connsiteY204" fmla="*/ 3231868 h 6858000"/>
              <a:gd name="connsiteX205" fmla="*/ 6856912 w 12191999"/>
              <a:gd name="connsiteY205" fmla="*/ 3231868 h 6858000"/>
              <a:gd name="connsiteX206" fmla="*/ 6832516 w 12191999"/>
              <a:gd name="connsiteY206" fmla="*/ 3239322 h 6858000"/>
              <a:gd name="connsiteX207" fmla="*/ 6823029 w 12191999"/>
              <a:gd name="connsiteY207" fmla="*/ 3258297 h 6858000"/>
              <a:gd name="connsiteX208" fmla="*/ 6835905 w 12191999"/>
              <a:gd name="connsiteY208" fmla="*/ 3279982 h 6858000"/>
              <a:gd name="connsiteX209" fmla="*/ 6854202 w 12191999"/>
              <a:gd name="connsiteY209" fmla="*/ 3287436 h 6858000"/>
              <a:gd name="connsiteX210" fmla="*/ 6870465 w 12191999"/>
              <a:gd name="connsiteY210" fmla="*/ 3294213 h 6858000"/>
              <a:gd name="connsiteX211" fmla="*/ 6875209 w 12191999"/>
              <a:gd name="connsiteY211" fmla="*/ 3303700 h 6858000"/>
              <a:gd name="connsiteX212" fmla="*/ 6870465 w 12191999"/>
              <a:gd name="connsiteY212" fmla="*/ 3312509 h 6858000"/>
              <a:gd name="connsiteX213" fmla="*/ 6857590 w 12191999"/>
              <a:gd name="connsiteY213" fmla="*/ 3315898 h 6858000"/>
              <a:gd name="connsiteX214" fmla="*/ 6842004 w 12191999"/>
              <a:gd name="connsiteY214" fmla="*/ 3311154 h 6858000"/>
              <a:gd name="connsiteX215" fmla="*/ 6836582 w 12191999"/>
              <a:gd name="connsiteY215" fmla="*/ 3298279 h 6858000"/>
              <a:gd name="connsiteX216" fmla="*/ 6819641 w 12191999"/>
              <a:gd name="connsiteY216" fmla="*/ 3298279 h 6858000"/>
              <a:gd name="connsiteX217" fmla="*/ 6824384 w 12191999"/>
              <a:gd name="connsiteY217" fmla="*/ 3313865 h 6858000"/>
              <a:gd name="connsiteX218" fmla="*/ 6837938 w 12191999"/>
              <a:gd name="connsiteY218" fmla="*/ 3324707 h 6858000"/>
              <a:gd name="connsiteX219" fmla="*/ 6856912 w 12191999"/>
              <a:gd name="connsiteY219" fmla="*/ 3328773 h 6858000"/>
              <a:gd name="connsiteX220" fmla="*/ 6881986 w 12191999"/>
              <a:gd name="connsiteY220" fmla="*/ 3321997 h 6858000"/>
              <a:gd name="connsiteX221" fmla="*/ 6891473 w 12191999"/>
              <a:gd name="connsiteY221" fmla="*/ 3303022 h 6858000"/>
              <a:gd name="connsiteX222" fmla="*/ 6888085 w 12191999"/>
              <a:gd name="connsiteY222" fmla="*/ 3290147 h 6858000"/>
              <a:gd name="connsiteX223" fmla="*/ 6877920 w 12191999"/>
              <a:gd name="connsiteY223" fmla="*/ 3280659 h 6858000"/>
              <a:gd name="connsiteX224" fmla="*/ 6860301 w 12191999"/>
              <a:gd name="connsiteY224" fmla="*/ 3273205 h 6858000"/>
              <a:gd name="connsiteX225" fmla="*/ 6844037 w 12191999"/>
              <a:gd name="connsiteY225" fmla="*/ 3266429 h 6858000"/>
              <a:gd name="connsiteX226" fmla="*/ 6839293 w 12191999"/>
              <a:gd name="connsiteY226" fmla="*/ 3257619 h 6858000"/>
              <a:gd name="connsiteX227" fmla="*/ 6844037 w 12191999"/>
              <a:gd name="connsiteY227" fmla="*/ 3248132 h 6858000"/>
              <a:gd name="connsiteX228" fmla="*/ 6856912 w 12191999"/>
              <a:gd name="connsiteY228" fmla="*/ 3244744 h 6858000"/>
              <a:gd name="connsiteX229" fmla="*/ 6870465 w 12191999"/>
              <a:gd name="connsiteY229" fmla="*/ 3248809 h 6858000"/>
              <a:gd name="connsiteX230" fmla="*/ 6875209 w 12191999"/>
              <a:gd name="connsiteY230" fmla="*/ 3260330 h 6858000"/>
              <a:gd name="connsiteX231" fmla="*/ 6891473 w 12191999"/>
              <a:gd name="connsiteY231" fmla="*/ 3260330 h 6858000"/>
              <a:gd name="connsiteX232" fmla="*/ 6886729 w 12191999"/>
              <a:gd name="connsiteY232" fmla="*/ 3245421 h 6858000"/>
              <a:gd name="connsiteX233" fmla="*/ 6874531 w 12191999"/>
              <a:gd name="connsiteY233" fmla="*/ 3235256 h 6858000"/>
              <a:gd name="connsiteX234" fmla="*/ 6856912 w 12191999"/>
              <a:gd name="connsiteY234" fmla="*/ 3231868 h 6858000"/>
              <a:gd name="connsiteX235" fmla="*/ 6398136 w 12191999"/>
              <a:gd name="connsiteY235" fmla="*/ 3231868 h 6858000"/>
              <a:gd name="connsiteX236" fmla="*/ 6377128 w 12191999"/>
              <a:gd name="connsiteY236" fmla="*/ 3237289 h 6858000"/>
              <a:gd name="connsiteX237" fmla="*/ 6362898 w 12191999"/>
              <a:gd name="connsiteY237" fmla="*/ 3253553 h 6858000"/>
              <a:gd name="connsiteX238" fmla="*/ 6358154 w 12191999"/>
              <a:gd name="connsiteY238" fmla="*/ 3277949 h 6858000"/>
              <a:gd name="connsiteX239" fmla="*/ 6358154 w 12191999"/>
              <a:gd name="connsiteY239" fmla="*/ 3283370 h 6858000"/>
              <a:gd name="connsiteX240" fmla="*/ 6362898 w 12191999"/>
              <a:gd name="connsiteY240" fmla="*/ 3307766 h 6858000"/>
              <a:gd name="connsiteX241" fmla="*/ 6377128 w 12191999"/>
              <a:gd name="connsiteY241" fmla="*/ 3324030 h 6858000"/>
              <a:gd name="connsiteX242" fmla="*/ 6398136 w 12191999"/>
              <a:gd name="connsiteY242" fmla="*/ 3329451 h 6858000"/>
              <a:gd name="connsiteX243" fmla="*/ 6419143 w 12191999"/>
              <a:gd name="connsiteY243" fmla="*/ 3324030 h 6858000"/>
              <a:gd name="connsiteX244" fmla="*/ 6432697 w 12191999"/>
              <a:gd name="connsiteY244" fmla="*/ 3307766 h 6858000"/>
              <a:gd name="connsiteX245" fmla="*/ 6437440 w 12191999"/>
              <a:gd name="connsiteY245" fmla="*/ 3283370 h 6858000"/>
              <a:gd name="connsiteX246" fmla="*/ 6438118 w 12191999"/>
              <a:gd name="connsiteY246" fmla="*/ 3283370 h 6858000"/>
              <a:gd name="connsiteX247" fmla="*/ 6438118 w 12191999"/>
              <a:gd name="connsiteY247" fmla="*/ 3277949 h 6858000"/>
              <a:gd name="connsiteX248" fmla="*/ 6433374 w 12191999"/>
              <a:gd name="connsiteY248" fmla="*/ 3253553 h 6858000"/>
              <a:gd name="connsiteX249" fmla="*/ 6419143 w 12191999"/>
              <a:gd name="connsiteY249" fmla="*/ 3237289 h 6858000"/>
              <a:gd name="connsiteX250" fmla="*/ 6398136 w 12191999"/>
              <a:gd name="connsiteY250" fmla="*/ 3231868 h 6858000"/>
              <a:gd name="connsiteX251" fmla="*/ 4832065 w 12191999"/>
              <a:gd name="connsiteY251" fmla="*/ 3231868 h 6858000"/>
              <a:gd name="connsiteX252" fmla="*/ 4811057 w 12191999"/>
              <a:gd name="connsiteY252" fmla="*/ 3237289 h 6858000"/>
              <a:gd name="connsiteX253" fmla="*/ 4796828 w 12191999"/>
              <a:gd name="connsiteY253" fmla="*/ 3253553 h 6858000"/>
              <a:gd name="connsiteX254" fmla="*/ 4792083 w 12191999"/>
              <a:gd name="connsiteY254" fmla="*/ 3277949 h 6858000"/>
              <a:gd name="connsiteX255" fmla="*/ 4792083 w 12191999"/>
              <a:gd name="connsiteY255" fmla="*/ 3283370 h 6858000"/>
              <a:gd name="connsiteX256" fmla="*/ 4796828 w 12191999"/>
              <a:gd name="connsiteY256" fmla="*/ 3307766 h 6858000"/>
              <a:gd name="connsiteX257" fmla="*/ 4811057 w 12191999"/>
              <a:gd name="connsiteY257" fmla="*/ 3324030 h 6858000"/>
              <a:gd name="connsiteX258" fmla="*/ 4832065 w 12191999"/>
              <a:gd name="connsiteY258" fmla="*/ 3329451 h 6858000"/>
              <a:gd name="connsiteX259" fmla="*/ 4853072 w 12191999"/>
              <a:gd name="connsiteY259" fmla="*/ 3324030 h 6858000"/>
              <a:gd name="connsiteX260" fmla="*/ 4866626 w 12191999"/>
              <a:gd name="connsiteY260" fmla="*/ 3307766 h 6858000"/>
              <a:gd name="connsiteX261" fmla="*/ 4871369 w 12191999"/>
              <a:gd name="connsiteY261" fmla="*/ 3283370 h 6858000"/>
              <a:gd name="connsiteX262" fmla="*/ 4872047 w 12191999"/>
              <a:gd name="connsiteY262" fmla="*/ 3283370 h 6858000"/>
              <a:gd name="connsiteX263" fmla="*/ 4872047 w 12191999"/>
              <a:gd name="connsiteY263" fmla="*/ 3277949 h 6858000"/>
              <a:gd name="connsiteX264" fmla="*/ 4867303 w 12191999"/>
              <a:gd name="connsiteY264" fmla="*/ 3253553 h 6858000"/>
              <a:gd name="connsiteX265" fmla="*/ 4853072 w 12191999"/>
              <a:gd name="connsiteY265" fmla="*/ 3237289 h 6858000"/>
              <a:gd name="connsiteX266" fmla="*/ 4832065 w 12191999"/>
              <a:gd name="connsiteY266" fmla="*/ 3231868 h 6858000"/>
              <a:gd name="connsiteX267" fmla="*/ 6570939 w 12191999"/>
              <a:gd name="connsiteY267" fmla="*/ 3231190 h 6858000"/>
              <a:gd name="connsiteX268" fmla="*/ 6541800 w 12191999"/>
              <a:gd name="connsiteY268" fmla="*/ 3243388 h 6858000"/>
              <a:gd name="connsiteX269" fmla="*/ 6531635 w 12191999"/>
              <a:gd name="connsiteY269" fmla="*/ 3277271 h 6858000"/>
              <a:gd name="connsiteX270" fmla="*/ 6531635 w 12191999"/>
              <a:gd name="connsiteY270" fmla="*/ 3284725 h 6858000"/>
              <a:gd name="connsiteX271" fmla="*/ 6537056 w 12191999"/>
              <a:gd name="connsiteY271" fmla="*/ 3308443 h 6858000"/>
              <a:gd name="connsiteX272" fmla="*/ 6551287 w 12191999"/>
              <a:gd name="connsiteY272" fmla="*/ 3324029 h 6858000"/>
              <a:gd name="connsiteX273" fmla="*/ 6572295 w 12191999"/>
              <a:gd name="connsiteY273" fmla="*/ 3329451 h 6858000"/>
              <a:gd name="connsiteX274" fmla="*/ 6593302 w 12191999"/>
              <a:gd name="connsiteY274" fmla="*/ 3326062 h 6858000"/>
              <a:gd name="connsiteX275" fmla="*/ 6607533 w 12191999"/>
              <a:gd name="connsiteY275" fmla="*/ 3315897 h 6858000"/>
              <a:gd name="connsiteX276" fmla="*/ 6607533 w 12191999"/>
              <a:gd name="connsiteY276" fmla="*/ 3279304 h 6858000"/>
              <a:gd name="connsiteX277" fmla="*/ 6571617 w 12191999"/>
              <a:gd name="connsiteY277" fmla="*/ 3279304 h 6858000"/>
              <a:gd name="connsiteX278" fmla="*/ 6571617 w 12191999"/>
              <a:gd name="connsiteY278" fmla="*/ 3292179 h 6858000"/>
              <a:gd name="connsiteX279" fmla="*/ 6591269 w 12191999"/>
              <a:gd name="connsiteY279" fmla="*/ 3292179 h 6858000"/>
              <a:gd name="connsiteX280" fmla="*/ 6591269 w 12191999"/>
              <a:gd name="connsiteY280" fmla="*/ 3311154 h 6858000"/>
              <a:gd name="connsiteX281" fmla="*/ 6572972 w 12191999"/>
              <a:gd name="connsiteY281" fmla="*/ 3317253 h 6858000"/>
              <a:gd name="connsiteX282" fmla="*/ 6554675 w 12191999"/>
              <a:gd name="connsiteY282" fmla="*/ 3308443 h 6858000"/>
              <a:gd name="connsiteX283" fmla="*/ 6547899 w 12191999"/>
              <a:gd name="connsiteY283" fmla="*/ 3284725 h 6858000"/>
              <a:gd name="connsiteX284" fmla="*/ 6547899 w 12191999"/>
              <a:gd name="connsiteY284" fmla="*/ 3277271 h 6858000"/>
              <a:gd name="connsiteX285" fmla="*/ 6553998 w 12191999"/>
              <a:gd name="connsiteY285" fmla="*/ 3253553 h 6858000"/>
              <a:gd name="connsiteX286" fmla="*/ 6570939 w 12191999"/>
              <a:gd name="connsiteY286" fmla="*/ 3245421 h 6858000"/>
              <a:gd name="connsiteX287" fmla="*/ 6591269 w 12191999"/>
              <a:gd name="connsiteY287" fmla="*/ 3262362 h 6858000"/>
              <a:gd name="connsiteX288" fmla="*/ 6607533 w 12191999"/>
              <a:gd name="connsiteY288" fmla="*/ 3262362 h 6858000"/>
              <a:gd name="connsiteX289" fmla="*/ 6596013 w 12191999"/>
              <a:gd name="connsiteY289" fmla="*/ 3239322 h 6858000"/>
              <a:gd name="connsiteX290" fmla="*/ 6570939 w 12191999"/>
              <a:gd name="connsiteY290" fmla="*/ 3231190 h 6858000"/>
              <a:gd name="connsiteX291" fmla="*/ 6488943 w 12191999"/>
              <a:gd name="connsiteY291" fmla="*/ 3019083 h 6858000"/>
              <a:gd name="connsiteX292" fmla="*/ 6550610 w 12191999"/>
              <a:gd name="connsiteY292" fmla="*/ 3019083 h 6858000"/>
              <a:gd name="connsiteX293" fmla="*/ 6550610 w 12191999"/>
              <a:gd name="connsiteY293" fmla="*/ 3076006 h 6858000"/>
              <a:gd name="connsiteX294" fmla="*/ 6488943 w 12191999"/>
              <a:gd name="connsiteY294" fmla="*/ 3076006 h 6858000"/>
              <a:gd name="connsiteX295" fmla="*/ 6476745 w 12191999"/>
              <a:gd name="connsiteY295" fmla="*/ 3063808 h 6858000"/>
              <a:gd name="connsiteX296" fmla="*/ 6476745 w 12191999"/>
              <a:gd name="connsiteY296" fmla="*/ 3031281 h 6858000"/>
              <a:gd name="connsiteX297" fmla="*/ 6488943 w 12191999"/>
              <a:gd name="connsiteY297" fmla="*/ 3019083 h 6858000"/>
              <a:gd name="connsiteX298" fmla="*/ 5127526 w 12191999"/>
              <a:gd name="connsiteY298" fmla="*/ 2880163 h 6858000"/>
              <a:gd name="connsiteX299" fmla="*/ 5176316 w 12191999"/>
              <a:gd name="connsiteY299" fmla="*/ 2880163 h 6858000"/>
              <a:gd name="connsiteX300" fmla="*/ 5188515 w 12191999"/>
              <a:gd name="connsiteY300" fmla="*/ 2892361 h 6858000"/>
              <a:gd name="connsiteX301" fmla="*/ 5188515 w 12191999"/>
              <a:gd name="connsiteY301" fmla="*/ 2937764 h 6858000"/>
              <a:gd name="connsiteX302" fmla="*/ 5115327 w 12191999"/>
              <a:gd name="connsiteY302" fmla="*/ 2937764 h 6858000"/>
              <a:gd name="connsiteX303" fmla="*/ 5115327 w 12191999"/>
              <a:gd name="connsiteY303" fmla="*/ 2892361 h 6858000"/>
              <a:gd name="connsiteX304" fmla="*/ 5127526 w 12191999"/>
              <a:gd name="connsiteY304" fmla="*/ 2880163 h 6858000"/>
              <a:gd name="connsiteX305" fmla="*/ 7131364 w 12191999"/>
              <a:gd name="connsiteY305" fmla="*/ 2798166 h 6858000"/>
              <a:gd name="connsiteX306" fmla="*/ 7131364 w 12191999"/>
              <a:gd name="connsiteY306" fmla="*/ 3158003 h 6858000"/>
              <a:gd name="connsiteX307" fmla="*/ 7262152 w 12191999"/>
              <a:gd name="connsiteY307" fmla="*/ 3158003 h 6858000"/>
              <a:gd name="connsiteX308" fmla="*/ 7262830 w 12191999"/>
              <a:gd name="connsiteY308" fmla="*/ 2879485 h 6858000"/>
              <a:gd name="connsiteX309" fmla="*/ 7291292 w 12191999"/>
              <a:gd name="connsiteY309" fmla="*/ 2879485 h 6858000"/>
              <a:gd name="connsiteX310" fmla="*/ 7310944 w 12191999"/>
              <a:gd name="connsiteY310" fmla="*/ 2904558 h 6858000"/>
              <a:gd name="connsiteX311" fmla="*/ 7369223 w 12191999"/>
              <a:gd name="connsiteY311" fmla="*/ 3158003 h 6858000"/>
              <a:gd name="connsiteX312" fmla="*/ 7503399 w 12191999"/>
              <a:gd name="connsiteY312" fmla="*/ 3158003 h 6858000"/>
              <a:gd name="connsiteX313" fmla="*/ 7429534 w 12191999"/>
              <a:gd name="connsiteY313" fmla="*/ 2838826 h 6858000"/>
              <a:gd name="connsiteX314" fmla="*/ 7377354 w 12191999"/>
              <a:gd name="connsiteY314" fmla="*/ 2798166 h 6858000"/>
              <a:gd name="connsiteX315" fmla="*/ 7131364 w 12191999"/>
              <a:gd name="connsiteY315" fmla="*/ 2798166 h 6858000"/>
              <a:gd name="connsiteX316" fmla="*/ 6736966 w 12191999"/>
              <a:gd name="connsiteY316" fmla="*/ 2798166 h 6858000"/>
              <a:gd name="connsiteX317" fmla="*/ 6736966 w 12191999"/>
              <a:gd name="connsiteY317" fmla="*/ 3158003 h 6858000"/>
              <a:gd name="connsiteX318" fmla="*/ 6867754 w 12191999"/>
              <a:gd name="connsiteY318" fmla="*/ 3158003 h 6858000"/>
              <a:gd name="connsiteX319" fmla="*/ 6868432 w 12191999"/>
              <a:gd name="connsiteY319" fmla="*/ 3158003 h 6858000"/>
              <a:gd name="connsiteX320" fmla="*/ 6868432 w 12191999"/>
              <a:gd name="connsiteY320" fmla="*/ 2879485 h 6858000"/>
              <a:gd name="connsiteX321" fmla="*/ 6896894 w 12191999"/>
              <a:gd name="connsiteY321" fmla="*/ 2879485 h 6858000"/>
              <a:gd name="connsiteX322" fmla="*/ 6916546 w 12191999"/>
              <a:gd name="connsiteY322" fmla="*/ 2904558 h 6858000"/>
              <a:gd name="connsiteX323" fmla="*/ 6974825 w 12191999"/>
              <a:gd name="connsiteY323" fmla="*/ 3158003 h 6858000"/>
              <a:gd name="connsiteX324" fmla="*/ 7109001 w 12191999"/>
              <a:gd name="connsiteY324" fmla="*/ 3158003 h 6858000"/>
              <a:gd name="connsiteX325" fmla="*/ 7035136 w 12191999"/>
              <a:gd name="connsiteY325" fmla="*/ 2838826 h 6858000"/>
              <a:gd name="connsiteX326" fmla="*/ 6982957 w 12191999"/>
              <a:gd name="connsiteY326" fmla="*/ 2798166 h 6858000"/>
              <a:gd name="connsiteX327" fmla="*/ 6736966 w 12191999"/>
              <a:gd name="connsiteY327" fmla="*/ 2798166 h 6858000"/>
              <a:gd name="connsiteX328" fmla="*/ 6387294 w 12191999"/>
              <a:gd name="connsiteY328" fmla="*/ 2798166 h 6858000"/>
              <a:gd name="connsiteX329" fmla="*/ 6346634 w 12191999"/>
              <a:gd name="connsiteY329" fmla="*/ 2838826 h 6858000"/>
              <a:gd name="connsiteX330" fmla="*/ 6346634 w 12191999"/>
              <a:gd name="connsiteY330" fmla="*/ 2880840 h 6858000"/>
              <a:gd name="connsiteX331" fmla="*/ 6539090 w 12191999"/>
              <a:gd name="connsiteY331" fmla="*/ 2880840 h 6858000"/>
              <a:gd name="connsiteX332" fmla="*/ 6551287 w 12191999"/>
              <a:gd name="connsiteY332" fmla="*/ 2893038 h 6858000"/>
              <a:gd name="connsiteX333" fmla="*/ 6551287 w 12191999"/>
              <a:gd name="connsiteY333" fmla="*/ 2937764 h 6858000"/>
              <a:gd name="connsiteX334" fmla="*/ 6387294 w 12191999"/>
              <a:gd name="connsiteY334" fmla="*/ 2937764 h 6858000"/>
              <a:gd name="connsiteX335" fmla="*/ 6346634 w 12191999"/>
              <a:gd name="connsiteY335" fmla="*/ 2978423 h 6858000"/>
              <a:gd name="connsiteX336" fmla="*/ 6346634 w 12191999"/>
              <a:gd name="connsiteY336" fmla="*/ 3117343 h 6858000"/>
              <a:gd name="connsiteX337" fmla="*/ 6387294 w 12191999"/>
              <a:gd name="connsiteY337" fmla="*/ 3158003 h 6858000"/>
              <a:gd name="connsiteX338" fmla="*/ 6681398 w 12191999"/>
              <a:gd name="connsiteY338" fmla="*/ 3158003 h 6858000"/>
              <a:gd name="connsiteX339" fmla="*/ 6681398 w 12191999"/>
              <a:gd name="connsiteY339" fmla="*/ 2838826 h 6858000"/>
              <a:gd name="connsiteX340" fmla="*/ 6640738 w 12191999"/>
              <a:gd name="connsiteY340" fmla="*/ 2798166 h 6858000"/>
              <a:gd name="connsiteX341" fmla="*/ 5746228 w 12191999"/>
              <a:gd name="connsiteY341" fmla="*/ 2798166 h 6858000"/>
              <a:gd name="connsiteX342" fmla="*/ 5746228 w 12191999"/>
              <a:gd name="connsiteY342" fmla="*/ 3158003 h 6858000"/>
              <a:gd name="connsiteX343" fmla="*/ 5877016 w 12191999"/>
              <a:gd name="connsiteY343" fmla="*/ 3158003 h 6858000"/>
              <a:gd name="connsiteX344" fmla="*/ 5877016 w 12191999"/>
              <a:gd name="connsiteY344" fmla="*/ 2880163 h 6858000"/>
              <a:gd name="connsiteX345" fmla="*/ 5950881 w 12191999"/>
              <a:gd name="connsiteY345" fmla="*/ 2880163 h 6858000"/>
              <a:gd name="connsiteX346" fmla="*/ 5951559 w 12191999"/>
              <a:gd name="connsiteY346" fmla="*/ 3158003 h 6858000"/>
              <a:gd name="connsiteX347" fmla="*/ 6082347 w 12191999"/>
              <a:gd name="connsiteY347" fmla="*/ 3158003 h 6858000"/>
              <a:gd name="connsiteX348" fmla="*/ 6082347 w 12191999"/>
              <a:gd name="connsiteY348" fmla="*/ 2880163 h 6858000"/>
              <a:gd name="connsiteX349" fmla="*/ 6110809 w 12191999"/>
              <a:gd name="connsiteY349" fmla="*/ 2880163 h 6858000"/>
              <a:gd name="connsiteX350" fmla="*/ 6130461 w 12191999"/>
              <a:gd name="connsiteY350" fmla="*/ 2905236 h 6858000"/>
              <a:gd name="connsiteX351" fmla="*/ 6188062 w 12191999"/>
              <a:gd name="connsiteY351" fmla="*/ 3158003 h 6858000"/>
              <a:gd name="connsiteX352" fmla="*/ 6322239 w 12191999"/>
              <a:gd name="connsiteY352" fmla="*/ 3158003 h 6858000"/>
              <a:gd name="connsiteX353" fmla="*/ 6248374 w 12191999"/>
              <a:gd name="connsiteY353" fmla="*/ 2838826 h 6858000"/>
              <a:gd name="connsiteX354" fmla="*/ 6196194 w 12191999"/>
              <a:gd name="connsiteY354" fmla="*/ 2798166 h 6858000"/>
              <a:gd name="connsiteX355" fmla="*/ 5746228 w 12191999"/>
              <a:gd name="connsiteY355" fmla="*/ 2798166 h 6858000"/>
              <a:gd name="connsiteX356" fmla="*/ 5025876 w 12191999"/>
              <a:gd name="connsiteY356" fmla="*/ 2798166 h 6858000"/>
              <a:gd name="connsiteX357" fmla="*/ 4985216 w 12191999"/>
              <a:gd name="connsiteY357" fmla="*/ 2838826 h 6858000"/>
              <a:gd name="connsiteX358" fmla="*/ 4985216 w 12191999"/>
              <a:gd name="connsiteY358" fmla="*/ 3117343 h 6858000"/>
              <a:gd name="connsiteX359" fmla="*/ 5025876 w 12191999"/>
              <a:gd name="connsiteY359" fmla="*/ 3158003 h 6858000"/>
              <a:gd name="connsiteX360" fmla="*/ 5279320 w 12191999"/>
              <a:gd name="connsiteY360" fmla="*/ 3158003 h 6858000"/>
              <a:gd name="connsiteX361" fmla="*/ 5319981 w 12191999"/>
              <a:gd name="connsiteY361" fmla="*/ 3117343 h 6858000"/>
              <a:gd name="connsiteX362" fmla="*/ 5319981 w 12191999"/>
              <a:gd name="connsiteY362" fmla="*/ 3076684 h 6858000"/>
              <a:gd name="connsiteX363" fmla="*/ 5127526 w 12191999"/>
              <a:gd name="connsiteY363" fmla="*/ 3076684 h 6858000"/>
              <a:gd name="connsiteX364" fmla="*/ 5115327 w 12191999"/>
              <a:gd name="connsiteY364" fmla="*/ 3064486 h 6858000"/>
              <a:gd name="connsiteX365" fmla="*/ 5115327 w 12191999"/>
              <a:gd name="connsiteY365" fmla="*/ 3019761 h 6858000"/>
              <a:gd name="connsiteX366" fmla="*/ 5319981 w 12191999"/>
              <a:gd name="connsiteY366" fmla="*/ 3019761 h 6858000"/>
              <a:gd name="connsiteX367" fmla="*/ 5319981 w 12191999"/>
              <a:gd name="connsiteY367" fmla="*/ 2838826 h 6858000"/>
              <a:gd name="connsiteX368" fmla="*/ 5279320 w 12191999"/>
              <a:gd name="connsiteY368" fmla="*/ 2798166 h 6858000"/>
              <a:gd name="connsiteX369" fmla="*/ 5561227 w 12191999"/>
              <a:gd name="connsiteY369" fmla="*/ 2651114 h 6858000"/>
              <a:gd name="connsiteX370" fmla="*/ 5560549 w 12191999"/>
              <a:gd name="connsiteY370" fmla="*/ 3158003 h 6858000"/>
              <a:gd name="connsiteX371" fmla="*/ 5692015 w 12191999"/>
              <a:gd name="connsiteY371" fmla="*/ 3158003 h 6858000"/>
              <a:gd name="connsiteX372" fmla="*/ 5692015 w 12191999"/>
              <a:gd name="connsiteY372" fmla="*/ 2651114 h 6858000"/>
              <a:gd name="connsiteX373" fmla="*/ 5374870 w 12191999"/>
              <a:gd name="connsiteY373" fmla="*/ 2651114 h 6858000"/>
              <a:gd name="connsiteX374" fmla="*/ 5374870 w 12191999"/>
              <a:gd name="connsiteY374" fmla="*/ 3158003 h 6858000"/>
              <a:gd name="connsiteX375" fmla="*/ 5505658 w 12191999"/>
              <a:gd name="connsiteY375" fmla="*/ 3158003 h 6858000"/>
              <a:gd name="connsiteX376" fmla="*/ 5505658 w 12191999"/>
              <a:gd name="connsiteY376" fmla="*/ 2651114 h 6858000"/>
              <a:gd name="connsiteX377" fmla="*/ 4589463 w 12191999"/>
              <a:gd name="connsiteY377" fmla="*/ 2650436 h 6858000"/>
              <a:gd name="connsiteX378" fmla="*/ 4589463 w 12191999"/>
              <a:gd name="connsiteY378" fmla="*/ 3158003 h 6858000"/>
              <a:gd name="connsiteX379" fmla="*/ 4720251 w 12191999"/>
              <a:gd name="connsiteY379" fmla="*/ 3158003 h 6858000"/>
              <a:gd name="connsiteX380" fmla="*/ 4720929 w 12191999"/>
              <a:gd name="connsiteY380" fmla="*/ 2878807 h 6858000"/>
              <a:gd name="connsiteX381" fmla="*/ 4749391 w 12191999"/>
              <a:gd name="connsiteY381" fmla="*/ 2878807 h 6858000"/>
              <a:gd name="connsiteX382" fmla="*/ 4769043 w 12191999"/>
              <a:gd name="connsiteY382" fmla="*/ 2903881 h 6858000"/>
              <a:gd name="connsiteX383" fmla="*/ 4827322 w 12191999"/>
              <a:gd name="connsiteY383" fmla="*/ 3157325 h 6858000"/>
              <a:gd name="connsiteX384" fmla="*/ 4961498 w 12191999"/>
              <a:gd name="connsiteY384" fmla="*/ 3157325 h 6858000"/>
              <a:gd name="connsiteX385" fmla="*/ 4887633 w 12191999"/>
              <a:gd name="connsiteY385" fmla="*/ 2838148 h 6858000"/>
              <a:gd name="connsiteX386" fmla="*/ 4835453 w 12191999"/>
              <a:gd name="connsiteY386" fmla="*/ 2797488 h 6858000"/>
              <a:gd name="connsiteX387" fmla="*/ 4720929 w 12191999"/>
              <a:gd name="connsiteY387" fmla="*/ 2797488 h 6858000"/>
              <a:gd name="connsiteX388" fmla="*/ 4720251 w 12191999"/>
              <a:gd name="connsiteY388" fmla="*/ 2650436 h 6858000"/>
              <a:gd name="connsiteX389" fmla="*/ 7537283 w 12191999"/>
              <a:gd name="connsiteY389" fmla="*/ 2567085 h 6858000"/>
              <a:gd name="connsiteX390" fmla="*/ 7647741 w 12191999"/>
              <a:gd name="connsiteY390" fmla="*/ 2678221 h 6858000"/>
              <a:gd name="connsiteX391" fmla="*/ 7535927 w 12191999"/>
              <a:gd name="connsiteY391" fmla="*/ 2790712 h 6858000"/>
              <a:gd name="connsiteX392" fmla="*/ 7480359 w 12191999"/>
              <a:gd name="connsiteY392" fmla="*/ 2775804 h 6858000"/>
              <a:gd name="connsiteX393" fmla="*/ 7502722 w 12191999"/>
              <a:gd name="connsiteY393" fmla="*/ 2773093 h 6858000"/>
              <a:gd name="connsiteX394" fmla="*/ 7524407 w 12191999"/>
              <a:gd name="connsiteY394" fmla="*/ 2765639 h 6858000"/>
              <a:gd name="connsiteX395" fmla="*/ 7550836 w 12191999"/>
              <a:gd name="connsiteY395" fmla="*/ 2748020 h 6858000"/>
              <a:gd name="connsiteX396" fmla="*/ 7569810 w 12191999"/>
              <a:gd name="connsiteY396" fmla="*/ 2731078 h 6858000"/>
              <a:gd name="connsiteX397" fmla="*/ 7592851 w 12191999"/>
              <a:gd name="connsiteY397" fmla="*/ 2718203 h 6858000"/>
              <a:gd name="connsiteX398" fmla="*/ 7601660 w 12191999"/>
              <a:gd name="connsiteY398" fmla="*/ 2716170 h 6858000"/>
              <a:gd name="connsiteX399" fmla="*/ 7617924 w 12191999"/>
              <a:gd name="connsiteY399" fmla="*/ 2712104 h 6858000"/>
              <a:gd name="connsiteX400" fmla="*/ 7630122 w 12191999"/>
              <a:gd name="connsiteY400" fmla="*/ 2708716 h 6858000"/>
              <a:gd name="connsiteX401" fmla="*/ 7631477 w 12191999"/>
              <a:gd name="connsiteY401" fmla="*/ 2707360 h 6858000"/>
              <a:gd name="connsiteX402" fmla="*/ 7629444 w 12191999"/>
              <a:gd name="connsiteY402" fmla="*/ 2706005 h 6858000"/>
              <a:gd name="connsiteX403" fmla="*/ 7613858 w 12191999"/>
              <a:gd name="connsiteY403" fmla="*/ 2700584 h 6858000"/>
              <a:gd name="connsiteX404" fmla="*/ 7603693 w 12191999"/>
              <a:gd name="connsiteY404" fmla="*/ 2700584 h 6858000"/>
              <a:gd name="connsiteX405" fmla="*/ 7590140 w 12191999"/>
              <a:gd name="connsiteY405" fmla="*/ 2708038 h 6858000"/>
              <a:gd name="connsiteX406" fmla="*/ 7568455 w 12191999"/>
              <a:gd name="connsiteY406" fmla="*/ 2720913 h 6858000"/>
              <a:gd name="connsiteX407" fmla="*/ 7550836 w 12191999"/>
              <a:gd name="connsiteY407" fmla="*/ 2725657 h 6858000"/>
              <a:gd name="connsiteX408" fmla="*/ 7546092 w 12191999"/>
              <a:gd name="connsiteY408" fmla="*/ 2725657 h 6858000"/>
              <a:gd name="connsiteX409" fmla="*/ 7560323 w 12191999"/>
              <a:gd name="connsiteY409" fmla="*/ 2714137 h 6858000"/>
              <a:gd name="connsiteX410" fmla="*/ 7569810 w 12191999"/>
              <a:gd name="connsiteY410" fmla="*/ 2702617 h 6858000"/>
              <a:gd name="connsiteX411" fmla="*/ 7586752 w 12191999"/>
              <a:gd name="connsiteY411" fmla="*/ 2690419 h 6858000"/>
              <a:gd name="connsiteX412" fmla="*/ 7600983 w 12191999"/>
              <a:gd name="connsiteY412" fmla="*/ 2682287 h 6858000"/>
              <a:gd name="connsiteX413" fmla="*/ 7609792 w 12191999"/>
              <a:gd name="connsiteY413" fmla="*/ 2678899 h 6858000"/>
              <a:gd name="connsiteX414" fmla="*/ 7615891 w 12191999"/>
              <a:gd name="connsiteY414" fmla="*/ 2678221 h 6858000"/>
              <a:gd name="connsiteX415" fmla="*/ 7632833 w 12191999"/>
              <a:gd name="connsiteY415" fmla="*/ 2672122 h 6858000"/>
              <a:gd name="connsiteX416" fmla="*/ 7640287 w 12191999"/>
              <a:gd name="connsiteY416" fmla="*/ 2670089 h 6858000"/>
              <a:gd name="connsiteX417" fmla="*/ 7640964 w 12191999"/>
              <a:gd name="connsiteY417" fmla="*/ 2668734 h 6858000"/>
              <a:gd name="connsiteX418" fmla="*/ 7640287 w 12191999"/>
              <a:gd name="connsiteY418" fmla="*/ 2668056 h 6858000"/>
              <a:gd name="connsiteX419" fmla="*/ 7621312 w 12191999"/>
              <a:gd name="connsiteY419" fmla="*/ 2663312 h 6858000"/>
              <a:gd name="connsiteX420" fmla="*/ 7605726 w 12191999"/>
              <a:gd name="connsiteY420" fmla="*/ 2665345 h 6858000"/>
              <a:gd name="connsiteX421" fmla="*/ 7592173 w 12191999"/>
              <a:gd name="connsiteY421" fmla="*/ 2675510 h 6858000"/>
              <a:gd name="connsiteX422" fmla="*/ 7588107 w 12191999"/>
              <a:gd name="connsiteY422" fmla="*/ 2678221 h 6858000"/>
              <a:gd name="connsiteX423" fmla="*/ 7570488 w 12191999"/>
              <a:gd name="connsiteY423" fmla="*/ 2687031 h 6858000"/>
              <a:gd name="connsiteX424" fmla="*/ 7552191 w 12191999"/>
              <a:gd name="connsiteY424" fmla="*/ 2689741 h 6858000"/>
              <a:gd name="connsiteX425" fmla="*/ 7546770 w 12191999"/>
              <a:gd name="connsiteY425" fmla="*/ 2686353 h 6858000"/>
              <a:gd name="connsiteX426" fmla="*/ 7544737 w 12191999"/>
              <a:gd name="connsiteY426" fmla="*/ 2678221 h 6858000"/>
              <a:gd name="connsiteX427" fmla="*/ 7544059 w 12191999"/>
              <a:gd name="connsiteY427" fmla="*/ 2672800 h 6858000"/>
              <a:gd name="connsiteX428" fmla="*/ 7544737 w 12191999"/>
              <a:gd name="connsiteY428" fmla="*/ 2657214 h 6858000"/>
              <a:gd name="connsiteX429" fmla="*/ 7546092 w 12191999"/>
              <a:gd name="connsiteY429" fmla="*/ 2642983 h 6858000"/>
              <a:gd name="connsiteX430" fmla="*/ 7526440 w 12191999"/>
              <a:gd name="connsiteY430" fmla="*/ 2623331 h 6858000"/>
              <a:gd name="connsiteX431" fmla="*/ 7493235 w 12191999"/>
              <a:gd name="connsiteY431" fmla="*/ 2584704 h 6858000"/>
              <a:gd name="connsiteX432" fmla="*/ 7491202 w 12191999"/>
              <a:gd name="connsiteY432" fmla="*/ 2581316 h 6858000"/>
              <a:gd name="connsiteX433" fmla="*/ 7489169 w 12191999"/>
              <a:gd name="connsiteY433" fmla="*/ 2582671 h 6858000"/>
              <a:gd name="connsiteX434" fmla="*/ 7483070 w 12191999"/>
              <a:gd name="connsiteY434" fmla="*/ 2608422 h 6858000"/>
              <a:gd name="connsiteX435" fmla="*/ 7495945 w 12191999"/>
              <a:gd name="connsiteY435" fmla="*/ 2633495 h 6858000"/>
              <a:gd name="connsiteX436" fmla="*/ 7505433 w 12191999"/>
              <a:gd name="connsiteY436" fmla="*/ 2647049 h 6858000"/>
              <a:gd name="connsiteX437" fmla="*/ 7507466 w 12191999"/>
              <a:gd name="connsiteY437" fmla="*/ 2659924 h 6858000"/>
              <a:gd name="connsiteX438" fmla="*/ 7497301 w 12191999"/>
              <a:gd name="connsiteY438" fmla="*/ 2652470 h 6858000"/>
              <a:gd name="connsiteX439" fmla="*/ 7487136 w 12191999"/>
              <a:gd name="connsiteY439" fmla="*/ 2645016 h 6858000"/>
              <a:gd name="connsiteX440" fmla="*/ 7466128 w 12191999"/>
              <a:gd name="connsiteY440" fmla="*/ 2626719 h 6858000"/>
              <a:gd name="connsiteX441" fmla="*/ 7464773 w 12191999"/>
              <a:gd name="connsiteY441" fmla="*/ 2626719 h 6858000"/>
              <a:gd name="connsiteX442" fmla="*/ 7463418 w 12191999"/>
              <a:gd name="connsiteY442" fmla="*/ 2629429 h 6858000"/>
              <a:gd name="connsiteX443" fmla="*/ 7467484 w 12191999"/>
              <a:gd name="connsiteY443" fmla="*/ 2661957 h 6858000"/>
              <a:gd name="connsiteX444" fmla="*/ 7480359 w 12191999"/>
              <a:gd name="connsiteY444" fmla="*/ 2676866 h 6858000"/>
              <a:gd name="connsiteX445" fmla="*/ 7489846 w 12191999"/>
              <a:gd name="connsiteY445" fmla="*/ 2685675 h 6858000"/>
              <a:gd name="connsiteX446" fmla="*/ 7496623 w 12191999"/>
              <a:gd name="connsiteY446" fmla="*/ 2695840 h 6858000"/>
              <a:gd name="connsiteX447" fmla="*/ 7493912 w 12191999"/>
              <a:gd name="connsiteY447" fmla="*/ 2708716 h 6858000"/>
              <a:gd name="connsiteX448" fmla="*/ 7487814 w 12191999"/>
              <a:gd name="connsiteY448" fmla="*/ 2717525 h 6858000"/>
              <a:gd name="connsiteX449" fmla="*/ 7472905 w 12191999"/>
              <a:gd name="connsiteY449" fmla="*/ 2718880 h 6858000"/>
              <a:gd name="connsiteX450" fmla="*/ 7466128 w 12191999"/>
              <a:gd name="connsiteY450" fmla="*/ 2724979 h 6858000"/>
              <a:gd name="connsiteX451" fmla="*/ 7462740 w 12191999"/>
              <a:gd name="connsiteY451" fmla="*/ 2735822 h 6858000"/>
              <a:gd name="connsiteX452" fmla="*/ 7466806 w 12191999"/>
              <a:gd name="connsiteY452" fmla="*/ 2746665 h 6858000"/>
              <a:gd name="connsiteX453" fmla="*/ 7469517 w 12191999"/>
              <a:gd name="connsiteY453" fmla="*/ 2748697 h 6858000"/>
              <a:gd name="connsiteX454" fmla="*/ 7475616 w 12191999"/>
              <a:gd name="connsiteY454" fmla="*/ 2745987 h 6858000"/>
              <a:gd name="connsiteX455" fmla="*/ 7499334 w 12191999"/>
              <a:gd name="connsiteY455" fmla="*/ 2732434 h 6858000"/>
              <a:gd name="connsiteX456" fmla="*/ 7487136 w 12191999"/>
              <a:gd name="connsiteY456" fmla="*/ 2743954 h 6858000"/>
              <a:gd name="connsiteX457" fmla="*/ 7460029 w 12191999"/>
              <a:gd name="connsiteY457" fmla="*/ 2755474 h 6858000"/>
              <a:gd name="connsiteX458" fmla="*/ 7455963 w 12191999"/>
              <a:gd name="connsiteY458" fmla="*/ 2754119 h 6858000"/>
              <a:gd name="connsiteX459" fmla="*/ 7426146 w 12191999"/>
              <a:gd name="connsiteY459" fmla="*/ 2678221 h 6858000"/>
              <a:gd name="connsiteX460" fmla="*/ 7537283 w 12191999"/>
              <a:gd name="connsiteY460" fmla="*/ 2567085 h 6858000"/>
              <a:gd name="connsiteX461" fmla="*/ 7535927 w 12191999"/>
              <a:gd name="connsiteY461" fmla="*/ 2552854 h 6858000"/>
              <a:gd name="connsiteX462" fmla="*/ 7409205 w 12191999"/>
              <a:gd name="connsiteY462" fmla="*/ 2679576 h 6858000"/>
              <a:gd name="connsiteX463" fmla="*/ 7535927 w 12191999"/>
              <a:gd name="connsiteY463" fmla="*/ 2806299 h 6858000"/>
              <a:gd name="connsiteX464" fmla="*/ 7662650 w 12191999"/>
              <a:gd name="connsiteY464" fmla="*/ 2679576 h 6858000"/>
              <a:gd name="connsiteX465" fmla="*/ 7535927 w 12191999"/>
              <a:gd name="connsiteY465" fmla="*/ 2552854 h 6858000"/>
              <a:gd name="connsiteX466" fmla="*/ 0 w 12191999"/>
              <a:gd name="connsiteY466" fmla="*/ 0 h 6858000"/>
              <a:gd name="connsiteX467" fmla="*/ 12191999 w 12191999"/>
              <a:gd name="connsiteY467" fmla="*/ 0 h 6858000"/>
              <a:gd name="connsiteX468" fmla="*/ 12191999 w 12191999"/>
              <a:gd name="connsiteY468" fmla="*/ 6858000 h 6858000"/>
              <a:gd name="connsiteX469" fmla="*/ 0 w 12191999"/>
              <a:gd name="connsiteY46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Lst>
            <a:rect l="l" t="t" r="r" b="b"/>
            <a:pathLst>
              <a:path w="12191999" h="6858000">
                <a:moveTo>
                  <a:pt x="5788920" y="3246099"/>
                </a:moveTo>
                <a:lnTo>
                  <a:pt x="5801118" y="3246099"/>
                </a:lnTo>
                <a:cubicBezTo>
                  <a:pt x="5809927" y="3246099"/>
                  <a:pt x="5816026" y="3248810"/>
                  <a:pt x="5820770" y="3254231"/>
                </a:cubicBezTo>
                <a:cubicBezTo>
                  <a:pt x="5825513" y="3259652"/>
                  <a:pt x="5827546" y="3267784"/>
                  <a:pt x="5827546" y="3277949"/>
                </a:cubicBezTo>
                <a:lnTo>
                  <a:pt x="5827546" y="3283370"/>
                </a:lnTo>
                <a:cubicBezTo>
                  <a:pt x="5826869" y="3293535"/>
                  <a:pt x="5824836" y="3301667"/>
                  <a:pt x="5820092" y="3307089"/>
                </a:cubicBezTo>
                <a:cubicBezTo>
                  <a:pt x="5815348" y="3312510"/>
                  <a:pt x="5808572" y="3315220"/>
                  <a:pt x="5799762" y="3315220"/>
                </a:cubicBezTo>
                <a:lnTo>
                  <a:pt x="5788920" y="3315220"/>
                </a:lnTo>
                <a:close/>
                <a:moveTo>
                  <a:pt x="5303038" y="3246099"/>
                </a:moveTo>
                <a:lnTo>
                  <a:pt x="5315236" y="3246099"/>
                </a:lnTo>
                <a:cubicBezTo>
                  <a:pt x="5324045" y="3246099"/>
                  <a:pt x="5330144" y="3248810"/>
                  <a:pt x="5334888" y="3254231"/>
                </a:cubicBezTo>
                <a:cubicBezTo>
                  <a:pt x="5339631" y="3259652"/>
                  <a:pt x="5341664" y="3267784"/>
                  <a:pt x="5341664" y="3277949"/>
                </a:cubicBezTo>
                <a:lnTo>
                  <a:pt x="5341664" y="3283370"/>
                </a:lnTo>
                <a:cubicBezTo>
                  <a:pt x="5340987" y="3293535"/>
                  <a:pt x="5338954" y="3301667"/>
                  <a:pt x="5334210" y="3307089"/>
                </a:cubicBezTo>
                <a:cubicBezTo>
                  <a:pt x="5329467" y="3312510"/>
                  <a:pt x="5322690" y="3315220"/>
                  <a:pt x="5313880" y="3315220"/>
                </a:cubicBezTo>
                <a:lnTo>
                  <a:pt x="5303038" y="3315220"/>
                </a:lnTo>
                <a:close/>
                <a:moveTo>
                  <a:pt x="4985215" y="3246099"/>
                </a:moveTo>
                <a:lnTo>
                  <a:pt x="5002835" y="3246099"/>
                </a:lnTo>
                <a:cubicBezTo>
                  <a:pt x="5008256" y="3246099"/>
                  <a:pt x="5013000" y="3246777"/>
                  <a:pt x="5015710" y="3250165"/>
                </a:cubicBezTo>
                <a:cubicBezTo>
                  <a:pt x="5018421" y="3253553"/>
                  <a:pt x="5019776" y="3256942"/>
                  <a:pt x="5019776" y="3262363"/>
                </a:cubicBezTo>
                <a:cubicBezTo>
                  <a:pt x="5019776" y="3267107"/>
                  <a:pt x="5018421" y="3271173"/>
                  <a:pt x="5015033" y="3273883"/>
                </a:cubicBezTo>
                <a:cubicBezTo>
                  <a:pt x="5012322" y="3276594"/>
                  <a:pt x="5007578" y="3277949"/>
                  <a:pt x="5002157" y="3277949"/>
                </a:cubicBezTo>
                <a:lnTo>
                  <a:pt x="4985215" y="3277949"/>
                </a:lnTo>
                <a:close/>
                <a:moveTo>
                  <a:pt x="6397458" y="3245421"/>
                </a:moveTo>
                <a:cubicBezTo>
                  <a:pt x="6404912" y="3245421"/>
                  <a:pt x="6410334" y="3248132"/>
                  <a:pt x="6414400" y="3253553"/>
                </a:cubicBezTo>
                <a:cubicBezTo>
                  <a:pt x="6418466" y="3258974"/>
                  <a:pt x="6420499" y="3267106"/>
                  <a:pt x="6420499" y="3277949"/>
                </a:cubicBezTo>
                <a:lnTo>
                  <a:pt x="6420499" y="3283370"/>
                </a:lnTo>
                <a:cubicBezTo>
                  <a:pt x="6420499" y="3294213"/>
                  <a:pt x="6418466" y="3302345"/>
                  <a:pt x="6414400" y="3307766"/>
                </a:cubicBezTo>
                <a:cubicBezTo>
                  <a:pt x="6410334" y="3313187"/>
                  <a:pt x="6404912" y="3315898"/>
                  <a:pt x="6397458" y="3315898"/>
                </a:cubicBezTo>
                <a:cubicBezTo>
                  <a:pt x="6390004" y="3315898"/>
                  <a:pt x="6384583" y="3312509"/>
                  <a:pt x="6380517" y="3307088"/>
                </a:cubicBezTo>
                <a:cubicBezTo>
                  <a:pt x="6376451" y="3300989"/>
                  <a:pt x="6374418" y="3293535"/>
                  <a:pt x="6374418" y="3282692"/>
                </a:cubicBezTo>
                <a:lnTo>
                  <a:pt x="6374418" y="3277271"/>
                </a:lnTo>
                <a:cubicBezTo>
                  <a:pt x="6374418" y="3267106"/>
                  <a:pt x="6376451" y="3258974"/>
                  <a:pt x="6380517" y="3253553"/>
                </a:cubicBezTo>
                <a:cubicBezTo>
                  <a:pt x="6384583" y="3248132"/>
                  <a:pt x="6390004" y="3245421"/>
                  <a:pt x="6397458" y="3245421"/>
                </a:cubicBezTo>
                <a:close/>
                <a:moveTo>
                  <a:pt x="4831387" y="3245421"/>
                </a:moveTo>
                <a:cubicBezTo>
                  <a:pt x="4838842" y="3245421"/>
                  <a:pt x="4844263" y="3248132"/>
                  <a:pt x="4848329" y="3253553"/>
                </a:cubicBezTo>
                <a:cubicBezTo>
                  <a:pt x="4852395" y="3258974"/>
                  <a:pt x="4854428" y="3267106"/>
                  <a:pt x="4854428" y="3277949"/>
                </a:cubicBezTo>
                <a:lnTo>
                  <a:pt x="4854428" y="3283370"/>
                </a:lnTo>
                <a:cubicBezTo>
                  <a:pt x="4854428" y="3294213"/>
                  <a:pt x="4852395" y="3302345"/>
                  <a:pt x="4848329" y="3307766"/>
                </a:cubicBezTo>
                <a:cubicBezTo>
                  <a:pt x="4844263" y="3313187"/>
                  <a:pt x="4838842" y="3315898"/>
                  <a:pt x="4831387" y="3315898"/>
                </a:cubicBezTo>
                <a:cubicBezTo>
                  <a:pt x="4823933" y="3315898"/>
                  <a:pt x="4818512" y="3312509"/>
                  <a:pt x="4814446" y="3307088"/>
                </a:cubicBezTo>
                <a:cubicBezTo>
                  <a:pt x="4810380" y="3300989"/>
                  <a:pt x="4808347" y="3293535"/>
                  <a:pt x="4808347" y="3282692"/>
                </a:cubicBezTo>
                <a:lnTo>
                  <a:pt x="4808347" y="3277271"/>
                </a:lnTo>
                <a:cubicBezTo>
                  <a:pt x="4808347" y="3267106"/>
                  <a:pt x="4810380" y="3258974"/>
                  <a:pt x="4814446" y="3253553"/>
                </a:cubicBezTo>
                <a:cubicBezTo>
                  <a:pt x="4818512" y="3248132"/>
                  <a:pt x="4823933" y="3245421"/>
                  <a:pt x="4831387" y="3245421"/>
                </a:cubicBezTo>
                <a:close/>
                <a:moveTo>
                  <a:pt x="6211780" y="3233223"/>
                </a:moveTo>
                <a:lnTo>
                  <a:pt x="6211780" y="3328773"/>
                </a:lnTo>
                <a:lnTo>
                  <a:pt x="6272092" y="3328773"/>
                </a:lnTo>
                <a:lnTo>
                  <a:pt x="6272092" y="3315220"/>
                </a:lnTo>
                <a:lnTo>
                  <a:pt x="6228721" y="3315220"/>
                </a:lnTo>
                <a:lnTo>
                  <a:pt x="6228721" y="3233223"/>
                </a:lnTo>
                <a:close/>
                <a:moveTo>
                  <a:pt x="5132947" y="3233223"/>
                </a:moveTo>
                <a:lnTo>
                  <a:pt x="5132947" y="3328773"/>
                </a:lnTo>
                <a:lnTo>
                  <a:pt x="5193258" y="3328773"/>
                </a:lnTo>
                <a:lnTo>
                  <a:pt x="5193258" y="3315220"/>
                </a:lnTo>
                <a:lnTo>
                  <a:pt x="5149888" y="3315220"/>
                </a:lnTo>
                <a:lnTo>
                  <a:pt x="5149888" y="3233223"/>
                </a:lnTo>
                <a:close/>
                <a:moveTo>
                  <a:pt x="7150338" y="3232546"/>
                </a:moveTo>
                <a:lnTo>
                  <a:pt x="7150338" y="3328096"/>
                </a:lnTo>
                <a:lnTo>
                  <a:pt x="7166602" y="3328096"/>
                </a:lnTo>
                <a:lnTo>
                  <a:pt x="7166602" y="3232546"/>
                </a:lnTo>
                <a:close/>
                <a:moveTo>
                  <a:pt x="6980246" y="3232546"/>
                </a:moveTo>
                <a:lnTo>
                  <a:pt x="6980246" y="3246099"/>
                </a:lnTo>
                <a:lnTo>
                  <a:pt x="7010063" y="3246099"/>
                </a:lnTo>
                <a:lnTo>
                  <a:pt x="7010063" y="3328096"/>
                </a:lnTo>
                <a:lnTo>
                  <a:pt x="7026327" y="3328096"/>
                </a:lnTo>
                <a:lnTo>
                  <a:pt x="7026327" y="3246099"/>
                </a:lnTo>
                <a:lnTo>
                  <a:pt x="7056144" y="3246099"/>
                </a:lnTo>
                <a:lnTo>
                  <a:pt x="7056144" y="3232546"/>
                </a:lnTo>
                <a:close/>
                <a:moveTo>
                  <a:pt x="6707827" y="3232546"/>
                </a:moveTo>
                <a:lnTo>
                  <a:pt x="6707827" y="3328096"/>
                </a:lnTo>
                <a:lnTo>
                  <a:pt x="6724091" y="3328096"/>
                </a:lnTo>
                <a:lnTo>
                  <a:pt x="6724091" y="3232546"/>
                </a:lnTo>
                <a:close/>
                <a:moveTo>
                  <a:pt x="5941394" y="3232546"/>
                </a:moveTo>
                <a:lnTo>
                  <a:pt x="5941394" y="3328096"/>
                </a:lnTo>
                <a:lnTo>
                  <a:pt x="6003739" y="3328096"/>
                </a:lnTo>
                <a:lnTo>
                  <a:pt x="6003739" y="3314543"/>
                </a:lnTo>
                <a:lnTo>
                  <a:pt x="5957658" y="3314543"/>
                </a:lnTo>
                <a:lnTo>
                  <a:pt x="5957658" y="3285403"/>
                </a:lnTo>
                <a:lnTo>
                  <a:pt x="5996962" y="3285403"/>
                </a:lnTo>
                <a:lnTo>
                  <a:pt x="5997640" y="3285403"/>
                </a:lnTo>
                <a:lnTo>
                  <a:pt x="5997640" y="3272528"/>
                </a:lnTo>
                <a:lnTo>
                  <a:pt x="5958335" y="3272528"/>
                </a:lnTo>
                <a:lnTo>
                  <a:pt x="5958335" y="3246099"/>
                </a:lnTo>
                <a:lnTo>
                  <a:pt x="6003739" y="3246099"/>
                </a:lnTo>
                <a:lnTo>
                  <a:pt x="6003739" y="3232546"/>
                </a:lnTo>
                <a:close/>
                <a:moveTo>
                  <a:pt x="5772657" y="3232546"/>
                </a:moveTo>
                <a:lnTo>
                  <a:pt x="5772657" y="3327418"/>
                </a:lnTo>
                <a:lnTo>
                  <a:pt x="5799762" y="3327418"/>
                </a:lnTo>
                <a:cubicBezTo>
                  <a:pt x="5808572" y="3327418"/>
                  <a:pt x="5816026" y="3325385"/>
                  <a:pt x="5822804" y="3321997"/>
                </a:cubicBezTo>
                <a:cubicBezTo>
                  <a:pt x="5829579" y="3318609"/>
                  <a:pt x="5835001" y="3313187"/>
                  <a:pt x="5838389" y="3306411"/>
                </a:cubicBezTo>
                <a:cubicBezTo>
                  <a:pt x="5841777" y="3299634"/>
                  <a:pt x="5843810" y="3291502"/>
                  <a:pt x="5843810" y="3282693"/>
                </a:cubicBezTo>
                <a:lnTo>
                  <a:pt x="5843810" y="3277949"/>
                </a:lnTo>
                <a:cubicBezTo>
                  <a:pt x="5843810" y="3269140"/>
                  <a:pt x="5841777" y="3261008"/>
                  <a:pt x="5838389" y="3254231"/>
                </a:cubicBezTo>
                <a:cubicBezTo>
                  <a:pt x="5835001" y="3246777"/>
                  <a:pt x="5830257" y="3242033"/>
                  <a:pt x="5823480" y="3237967"/>
                </a:cubicBezTo>
                <a:cubicBezTo>
                  <a:pt x="5817381" y="3234579"/>
                  <a:pt x="5809250" y="3232546"/>
                  <a:pt x="5801118" y="3232546"/>
                </a:cubicBezTo>
                <a:close/>
                <a:moveTo>
                  <a:pt x="5655421" y="3232546"/>
                </a:moveTo>
                <a:lnTo>
                  <a:pt x="5655421" y="3328096"/>
                </a:lnTo>
                <a:lnTo>
                  <a:pt x="5671685" y="3328096"/>
                </a:lnTo>
                <a:lnTo>
                  <a:pt x="5671685" y="3232546"/>
                </a:lnTo>
                <a:close/>
                <a:moveTo>
                  <a:pt x="5448058" y="3232546"/>
                </a:moveTo>
                <a:lnTo>
                  <a:pt x="5470420" y="3328096"/>
                </a:lnTo>
                <a:lnTo>
                  <a:pt x="5486685" y="3328096"/>
                </a:lnTo>
                <a:lnTo>
                  <a:pt x="5504980" y="3258297"/>
                </a:lnTo>
                <a:lnTo>
                  <a:pt x="5523277" y="3328096"/>
                </a:lnTo>
                <a:lnTo>
                  <a:pt x="5538863" y="3328096"/>
                </a:lnTo>
                <a:lnTo>
                  <a:pt x="5561226" y="3232546"/>
                </a:lnTo>
                <a:lnTo>
                  <a:pt x="5544962" y="3232546"/>
                </a:lnTo>
                <a:lnTo>
                  <a:pt x="5530055" y="3304378"/>
                </a:lnTo>
                <a:lnTo>
                  <a:pt x="5511757" y="3232546"/>
                </a:lnTo>
                <a:lnTo>
                  <a:pt x="5497527" y="3232546"/>
                </a:lnTo>
                <a:lnTo>
                  <a:pt x="5479229" y="3304378"/>
                </a:lnTo>
                <a:lnTo>
                  <a:pt x="5464321" y="3232546"/>
                </a:lnTo>
                <a:close/>
                <a:moveTo>
                  <a:pt x="5286775" y="3232546"/>
                </a:moveTo>
                <a:lnTo>
                  <a:pt x="5286775" y="3327418"/>
                </a:lnTo>
                <a:lnTo>
                  <a:pt x="5313880" y="3327418"/>
                </a:lnTo>
                <a:cubicBezTo>
                  <a:pt x="5322690" y="3327418"/>
                  <a:pt x="5330144" y="3325385"/>
                  <a:pt x="5336922" y="3321997"/>
                </a:cubicBezTo>
                <a:cubicBezTo>
                  <a:pt x="5343697" y="3318609"/>
                  <a:pt x="5349119" y="3313187"/>
                  <a:pt x="5352507" y="3306411"/>
                </a:cubicBezTo>
                <a:cubicBezTo>
                  <a:pt x="5355895" y="3299634"/>
                  <a:pt x="5357928" y="3291502"/>
                  <a:pt x="5357928" y="3282693"/>
                </a:cubicBezTo>
                <a:lnTo>
                  <a:pt x="5357928" y="3277949"/>
                </a:lnTo>
                <a:cubicBezTo>
                  <a:pt x="5357928" y="3269140"/>
                  <a:pt x="5355895" y="3261008"/>
                  <a:pt x="5352507" y="3254231"/>
                </a:cubicBezTo>
                <a:cubicBezTo>
                  <a:pt x="5349119" y="3246777"/>
                  <a:pt x="5344375" y="3242033"/>
                  <a:pt x="5337598" y="3237967"/>
                </a:cubicBezTo>
                <a:cubicBezTo>
                  <a:pt x="5331501" y="3234579"/>
                  <a:pt x="5323368" y="3232546"/>
                  <a:pt x="5315236" y="3232546"/>
                </a:cubicBezTo>
                <a:close/>
                <a:moveTo>
                  <a:pt x="4968274" y="3232546"/>
                </a:moveTo>
                <a:lnTo>
                  <a:pt x="4968274" y="3328096"/>
                </a:lnTo>
                <a:lnTo>
                  <a:pt x="4985215" y="3328096"/>
                </a:lnTo>
                <a:lnTo>
                  <a:pt x="4985215" y="3291502"/>
                </a:lnTo>
                <a:lnTo>
                  <a:pt x="5003512" y="3291502"/>
                </a:lnTo>
                <a:lnTo>
                  <a:pt x="5023164" y="3328774"/>
                </a:lnTo>
                <a:lnTo>
                  <a:pt x="5040784" y="3328774"/>
                </a:lnTo>
                <a:lnTo>
                  <a:pt x="5040784" y="3328096"/>
                </a:lnTo>
                <a:lnTo>
                  <a:pt x="5019098" y="3288114"/>
                </a:lnTo>
                <a:cubicBezTo>
                  <a:pt x="5024520" y="3285403"/>
                  <a:pt x="5028586" y="3282015"/>
                  <a:pt x="5031974" y="3277949"/>
                </a:cubicBezTo>
                <a:cubicBezTo>
                  <a:pt x="5035362" y="3273206"/>
                  <a:pt x="5036718" y="3267784"/>
                  <a:pt x="5036718" y="3261685"/>
                </a:cubicBezTo>
                <a:cubicBezTo>
                  <a:pt x="5036718" y="3252198"/>
                  <a:pt x="5034007" y="3244744"/>
                  <a:pt x="5027908" y="3240000"/>
                </a:cubicBezTo>
                <a:cubicBezTo>
                  <a:pt x="5021809" y="3235257"/>
                  <a:pt x="5013000" y="3232546"/>
                  <a:pt x="5002157" y="3232546"/>
                </a:cubicBezTo>
                <a:close/>
                <a:moveTo>
                  <a:pt x="4589463" y="3232546"/>
                </a:moveTo>
                <a:lnTo>
                  <a:pt x="4611826" y="3328096"/>
                </a:lnTo>
                <a:lnTo>
                  <a:pt x="4627412" y="3328096"/>
                </a:lnTo>
                <a:lnTo>
                  <a:pt x="4645709" y="3258297"/>
                </a:lnTo>
                <a:lnTo>
                  <a:pt x="4664006" y="3328096"/>
                </a:lnTo>
                <a:lnTo>
                  <a:pt x="4679592" y="3328096"/>
                </a:lnTo>
                <a:lnTo>
                  <a:pt x="4701955" y="3232546"/>
                </a:lnTo>
                <a:lnTo>
                  <a:pt x="4685692" y="3232546"/>
                </a:lnTo>
                <a:lnTo>
                  <a:pt x="4670782" y="3304378"/>
                </a:lnTo>
                <a:lnTo>
                  <a:pt x="4653164" y="3232546"/>
                </a:lnTo>
                <a:lnTo>
                  <a:pt x="4638932" y="3232546"/>
                </a:lnTo>
                <a:lnTo>
                  <a:pt x="4620635" y="3304378"/>
                </a:lnTo>
                <a:lnTo>
                  <a:pt x="4605727" y="3232546"/>
                </a:lnTo>
                <a:close/>
                <a:moveTo>
                  <a:pt x="7468161" y="3231868"/>
                </a:moveTo>
                <a:cubicBezTo>
                  <a:pt x="7457996" y="3231868"/>
                  <a:pt x="7449865" y="3234579"/>
                  <a:pt x="7443766" y="3239322"/>
                </a:cubicBezTo>
                <a:cubicBezTo>
                  <a:pt x="7437667" y="3244066"/>
                  <a:pt x="7434278" y="3250842"/>
                  <a:pt x="7434278" y="3258297"/>
                </a:cubicBezTo>
                <a:cubicBezTo>
                  <a:pt x="7434278" y="3267106"/>
                  <a:pt x="7438344" y="3274561"/>
                  <a:pt x="7447154" y="3279982"/>
                </a:cubicBezTo>
                <a:cubicBezTo>
                  <a:pt x="7451897" y="3282692"/>
                  <a:pt x="7457996" y="3285403"/>
                  <a:pt x="7465451" y="3287436"/>
                </a:cubicBezTo>
                <a:cubicBezTo>
                  <a:pt x="7473583" y="3289469"/>
                  <a:pt x="7479004" y="3292180"/>
                  <a:pt x="7481714" y="3294213"/>
                </a:cubicBezTo>
                <a:cubicBezTo>
                  <a:pt x="7485103" y="3296246"/>
                  <a:pt x="7486458" y="3299634"/>
                  <a:pt x="7486458" y="3303700"/>
                </a:cubicBezTo>
                <a:cubicBezTo>
                  <a:pt x="7486458" y="3307766"/>
                  <a:pt x="7485103" y="3310477"/>
                  <a:pt x="7481714" y="3312509"/>
                </a:cubicBezTo>
                <a:cubicBezTo>
                  <a:pt x="7479004" y="3314542"/>
                  <a:pt x="7474938" y="3315898"/>
                  <a:pt x="7468839" y="3315898"/>
                </a:cubicBezTo>
                <a:cubicBezTo>
                  <a:pt x="7462062" y="3315898"/>
                  <a:pt x="7456641" y="3313865"/>
                  <a:pt x="7453253" y="3311154"/>
                </a:cubicBezTo>
                <a:cubicBezTo>
                  <a:pt x="7449865" y="3307766"/>
                  <a:pt x="7447831" y="3303700"/>
                  <a:pt x="7447831" y="3298279"/>
                </a:cubicBezTo>
                <a:lnTo>
                  <a:pt x="7430890" y="3298279"/>
                </a:lnTo>
                <a:cubicBezTo>
                  <a:pt x="7430890" y="3304378"/>
                  <a:pt x="7432245" y="3309121"/>
                  <a:pt x="7435634" y="3313865"/>
                </a:cubicBezTo>
                <a:cubicBezTo>
                  <a:pt x="7439022" y="3318608"/>
                  <a:pt x="7443766" y="3321997"/>
                  <a:pt x="7449187" y="3324707"/>
                </a:cubicBezTo>
                <a:cubicBezTo>
                  <a:pt x="7454608" y="3327418"/>
                  <a:pt x="7461385" y="3328773"/>
                  <a:pt x="7468161" y="3328773"/>
                </a:cubicBezTo>
                <a:cubicBezTo>
                  <a:pt x="7479004" y="3328773"/>
                  <a:pt x="7487136" y="3326740"/>
                  <a:pt x="7493235" y="3321997"/>
                </a:cubicBezTo>
                <a:cubicBezTo>
                  <a:pt x="7500011" y="3317253"/>
                  <a:pt x="7502722" y="3311154"/>
                  <a:pt x="7502722" y="3303022"/>
                </a:cubicBezTo>
                <a:cubicBezTo>
                  <a:pt x="7502722" y="3298279"/>
                  <a:pt x="7501367" y="3293535"/>
                  <a:pt x="7499334" y="3290147"/>
                </a:cubicBezTo>
                <a:cubicBezTo>
                  <a:pt x="7497301" y="3286758"/>
                  <a:pt x="7493912" y="3283370"/>
                  <a:pt x="7489169" y="3280659"/>
                </a:cubicBezTo>
                <a:cubicBezTo>
                  <a:pt x="7485103" y="3277949"/>
                  <a:pt x="7479004" y="3275238"/>
                  <a:pt x="7471550" y="3273205"/>
                </a:cubicBezTo>
                <a:cubicBezTo>
                  <a:pt x="7464095" y="3271172"/>
                  <a:pt x="7458674" y="3268462"/>
                  <a:pt x="7455286" y="3266429"/>
                </a:cubicBezTo>
                <a:cubicBezTo>
                  <a:pt x="7451897" y="3263718"/>
                  <a:pt x="7450542" y="3261007"/>
                  <a:pt x="7450542" y="3257619"/>
                </a:cubicBezTo>
                <a:cubicBezTo>
                  <a:pt x="7450542" y="3253553"/>
                  <a:pt x="7452575" y="3250165"/>
                  <a:pt x="7455286" y="3248132"/>
                </a:cubicBezTo>
                <a:cubicBezTo>
                  <a:pt x="7458674" y="3246099"/>
                  <a:pt x="7462740" y="3244744"/>
                  <a:pt x="7468161" y="3244744"/>
                </a:cubicBezTo>
                <a:cubicBezTo>
                  <a:pt x="7474260" y="3244744"/>
                  <a:pt x="7478326" y="3246099"/>
                  <a:pt x="7481714" y="3248809"/>
                </a:cubicBezTo>
                <a:cubicBezTo>
                  <a:pt x="7485103" y="3251520"/>
                  <a:pt x="7486458" y="3255586"/>
                  <a:pt x="7486458" y="3260330"/>
                </a:cubicBezTo>
                <a:lnTo>
                  <a:pt x="7502722" y="3260330"/>
                </a:lnTo>
                <a:cubicBezTo>
                  <a:pt x="7502722" y="3254908"/>
                  <a:pt x="7500689" y="3250165"/>
                  <a:pt x="7497978" y="3245421"/>
                </a:cubicBezTo>
                <a:cubicBezTo>
                  <a:pt x="7495268" y="3241355"/>
                  <a:pt x="7491202" y="3237967"/>
                  <a:pt x="7485780" y="3235256"/>
                </a:cubicBezTo>
                <a:cubicBezTo>
                  <a:pt x="7481037" y="3233223"/>
                  <a:pt x="7474938" y="3231868"/>
                  <a:pt x="7468161" y="3231868"/>
                </a:cubicBezTo>
                <a:close/>
                <a:moveTo>
                  <a:pt x="7303489" y="3231868"/>
                </a:moveTo>
                <a:cubicBezTo>
                  <a:pt x="7295357" y="3231868"/>
                  <a:pt x="7288581" y="3233901"/>
                  <a:pt x="7282482" y="3237289"/>
                </a:cubicBezTo>
                <a:cubicBezTo>
                  <a:pt x="7276383" y="3240678"/>
                  <a:pt x="7272317" y="3246099"/>
                  <a:pt x="7268928" y="3252875"/>
                </a:cubicBezTo>
                <a:cubicBezTo>
                  <a:pt x="7265540" y="3259652"/>
                  <a:pt x="7264185" y="3267784"/>
                  <a:pt x="7264185" y="3276594"/>
                </a:cubicBezTo>
                <a:lnTo>
                  <a:pt x="7264185" y="3285403"/>
                </a:lnTo>
                <a:cubicBezTo>
                  <a:pt x="7264185" y="3294213"/>
                  <a:pt x="7265540" y="3301667"/>
                  <a:pt x="7268928" y="3308444"/>
                </a:cubicBezTo>
                <a:cubicBezTo>
                  <a:pt x="7272317" y="3315220"/>
                  <a:pt x="7276383" y="3320641"/>
                  <a:pt x="7282482" y="3324030"/>
                </a:cubicBezTo>
                <a:cubicBezTo>
                  <a:pt x="7288581" y="3327418"/>
                  <a:pt x="7295357" y="3329451"/>
                  <a:pt x="7302811" y="3329451"/>
                </a:cubicBezTo>
                <a:cubicBezTo>
                  <a:pt x="7313654" y="3329451"/>
                  <a:pt x="7322464" y="3326063"/>
                  <a:pt x="7329240" y="3320641"/>
                </a:cubicBezTo>
                <a:lnTo>
                  <a:pt x="7340102" y="3298279"/>
                </a:lnTo>
                <a:lnTo>
                  <a:pt x="7340760" y="3298279"/>
                </a:lnTo>
                <a:lnTo>
                  <a:pt x="7340760" y="3296923"/>
                </a:lnTo>
                <a:lnTo>
                  <a:pt x="7340102" y="3298279"/>
                </a:lnTo>
                <a:lnTo>
                  <a:pt x="7323819" y="3298279"/>
                </a:lnTo>
                <a:cubicBezTo>
                  <a:pt x="7323141" y="3305055"/>
                  <a:pt x="7321108" y="3310477"/>
                  <a:pt x="7317720" y="3313187"/>
                </a:cubicBezTo>
                <a:cubicBezTo>
                  <a:pt x="7314332" y="3315898"/>
                  <a:pt x="7309588" y="3317253"/>
                  <a:pt x="7302811" y="3317253"/>
                </a:cubicBezTo>
                <a:cubicBezTo>
                  <a:pt x="7295357" y="3317253"/>
                  <a:pt x="7289936" y="3314542"/>
                  <a:pt x="7286548" y="3309121"/>
                </a:cubicBezTo>
                <a:cubicBezTo>
                  <a:pt x="7283159" y="3303700"/>
                  <a:pt x="7281126" y="3295568"/>
                  <a:pt x="7281126" y="3285403"/>
                </a:cubicBezTo>
                <a:lnTo>
                  <a:pt x="7281126" y="3276594"/>
                </a:lnTo>
                <a:cubicBezTo>
                  <a:pt x="7281126" y="3266429"/>
                  <a:pt x="7283159" y="3258974"/>
                  <a:pt x="7287225" y="3253553"/>
                </a:cubicBezTo>
                <a:cubicBezTo>
                  <a:pt x="7291291" y="3248132"/>
                  <a:pt x="7296713" y="3245421"/>
                  <a:pt x="7304167" y="3245421"/>
                </a:cubicBezTo>
                <a:cubicBezTo>
                  <a:pt x="7310266" y="3245421"/>
                  <a:pt x="7315009" y="3247454"/>
                  <a:pt x="7318398" y="3250165"/>
                </a:cubicBezTo>
                <a:cubicBezTo>
                  <a:pt x="7321786" y="3253553"/>
                  <a:pt x="7323819" y="3258297"/>
                  <a:pt x="7324497" y="3265073"/>
                </a:cubicBezTo>
                <a:lnTo>
                  <a:pt x="7340760" y="3265073"/>
                </a:lnTo>
                <a:cubicBezTo>
                  <a:pt x="7339405" y="3254231"/>
                  <a:pt x="7335339" y="3246099"/>
                  <a:pt x="7329240" y="3240678"/>
                </a:cubicBezTo>
                <a:cubicBezTo>
                  <a:pt x="7322464" y="3234579"/>
                  <a:pt x="7314332" y="3231868"/>
                  <a:pt x="7303489" y="3231868"/>
                </a:cubicBezTo>
                <a:close/>
                <a:moveTo>
                  <a:pt x="6856912" y="3231868"/>
                </a:moveTo>
                <a:cubicBezTo>
                  <a:pt x="6846747" y="3231868"/>
                  <a:pt x="6838615" y="3234579"/>
                  <a:pt x="6832516" y="3239322"/>
                </a:cubicBezTo>
                <a:cubicBezTo>
                  <a:pt x="6826418" y="3244066"/>
                  <a:pt x="6823029" y="3250842"/>
                  <a:pt x="6823029" y="3258297"/>
                </a:cubicBezTo>
                <a:cubicBezTo>
                  <a:pt x="6823029" y="3267106"/>
                  <a:pt x="6827095" y="3274561"/>
                  <a:pt x="6835905" y="3279982"/>
                </a:cubicBezTo>
                <a:cubicBezTo>
                  <a:pt x="6840648" y="3282692"/>
                  <a:pt x="6846747" y="3285403"/>
                  <a:pt x="6854202" y="3287436"/>
                </a:cubicBezTo>
                <a:cubicBezTo>
                  <a:pt x="6862333" y="3289469"/>
                  <a:pt x="6867755" y="3292180"/>
                  <a:pt x="6870465" y="3294213"/>
                </a:cubicBezTo>
                <a:cubicBezTo>
                  <a:pt x="6873854" y="3296246"/>
                  <a:pt x="6875209" y="3299634"/>
                  <a:pt x="6875209" y="3303700"/>
                </a:cubicBezTo>
                <a:cubicBezTo>
                  <a:pt x="6875209" y="3307766"/>
                  <a:pt x="6873854" y="3310477"/>
                  <a:pt x="6870465" y="3312509"/>
                </a:cubicBezTo>
                <a:cubicBezTo>
                  <a:pt x="6867755" y="3314542"/>
                  <a:pt x="6863689" y="3315898"/>
                  <a:pt x="6857590" y="3315898"/>
                </a:cubicBezTo>
                <a:cubicBezTo>
                  <a:pt x="6850813" y="3315898"/>
                  <a:pt x="6845392" y="3313865"/>
                  <a:pt x="6842004" y="3311154"/>
                </a:cubicBezTo>
                <a:cubicBezTo>
                  <a:pt x="6838615" y="3307766"/>
                  <a:pt x="6836582" y="3303700"/>
                  <a:pt x="6836582" y="3298279"/>
                </a:cubicBezTo>
                <a:lnTo>
                  <a:pt x="6819641" y="3298279"/>
                </a:lnTo>
                <a:cubicBezTo>
                  <a:pt x="6819641" y="3304378"/>
                  <a:pt x="6820996" y="3309121"/>
                  <a:pt x="6824384" y="3313865"/>
                </a:cubicBezTo>
                <a:cubicBezTo>
                  <a:pt x="6827773" y="3318608"/>
                  <a:pt x="6832516" y="3321997"/>
                  <a:pt x="6837938" y="3324707"/>
                </a:cubicBezTo>
                <a:cubicBezTo>
                  <a:pt x="6843359" y="3327418"/>
                  <a:pt x="6850136" y="3328773"/>
                  <a:pt x="6856912" y="3328773"/>
                </a:cubicBezTo>
                <a:cubicBezTo>
                  <a:pt x="6867755" y="3328773"/>
                  <a:pt x="6875887" y="3326740"/>
                  <a:pt x="6881986" y="3321997"/>
                </a:cubicBezTo>
                <a:cubicBezTo>
                  <a:pt x="6888762" y="3317253"/>
                  <a:pt x="6891473" y="3311154"/>
                  <a:pt x="6891473" y="3303022"/>
                </a:cubicBezTo>
                <a:cubicBezTo>
                  <a:pt x="6891473" y="3298279"/>
                  <a:pt x="6890118" y="3293535"/>
                  <a:pt x="6888085" y="3290147"/>
                </a:cubicBezTo>
                <a:cubicBezTo>
                  <a:pt x="6886052" y="3286758"/>
                  <a:pt x="6882663" y="3283370"/>
                  <a:pt x="6877920" y="3280659"/>
                </a:cubicBezTo>
                <a:cubicBezTo>
                  <a:pt x="6873854" y="3277949"/>
                  <a:pt x="6867755" y="3275238"/>
                  <a:pt x="6860301" y="3273205"/>
                </a:cubicBezTo>
                <a:cubicBezTo>
                  <a:pt x="6852846" y="3271172"/>
                  <a:pt x="6847425" y="3268462"/>
                  <a:pt x="6844037" y="3266429"/>
                </a:cubicBezTo>
                <a:cubicBezTo>
                  <a:pt x="6840648" y="3263718"/>
                  <a:pt x="6839293" y="3261007"/>
                  <a:pt x="6839293" y="3257619"/>
                </a:cubicBezTo>
                <a:cubicBezTo>
                  <a:pt x="6839293" y="3253553"/>
                  <a:pt x="6841326" y="3250165"/>
                  <a:pt x="6844037" y="3248132"/>
                </a:cubicBezTo>
                <a:cubicBezTo>
                  <a:pt x="6847425" y="3246099"/>
                  <a:pt x="6851491" y="3244744"/>
                  <a:pt x="6856912" y="3244744"/>
                </a:cubicBezTo>
                <a:cubicBezTo>
                  <a:pt x="6863011" y="3244744"/>
                  <a:pt x="6867077" y="3246099"/>
                  <a:pt x="6870465" y="3248809"/>
                </a:cubicBezTo>
                <a:cubicBezTo>
                  <a:pt x="6873854" y="3251520"/>
                  <a:pt x="6875209" y="3255586"/>
                  <a:pt x="6875209" y="3260330"/>
                </a:cubicBezTo>
                <a:lnTo>
                  <a:pt x="6891473" y="3260330"/>
                </a:lnTo>
                <a:cubicBezTo>
                  <a:pt x="6891473" y="3254908"/>
                  <a:pt x="6889440" y="3250165"/>
                  <a:pt x="6886729" y="3245421"/>
                </a:cubicBezTo>
                <a:cubicBezTo>
                  <a:pt x="6884019" y="3241355"/>
                  <a:pt x="6879953" y="3237967"/>
                  <a:pt x="6874531" y="3235256"/>
                </a:cubicBezTo>
                <a:cubicBezTo>
                  <a:pt x="6869788" y="3233223"/>
                  <a:pt x="6863689" y="3231868"/>
                  <a:pt x="6856912" y="3231868"/>
                </a:cubicBezTo>
                <a:close/>
                <a:moveTo>
                  <a:pt x="6398136" y="3231868"/>
                </a:moveTo>
                <a:cubicBezTo>
                  <a:pt x="6390004" y="3231868"/>
                  <a:pt x="6383227" y="3233223"/>
                  <a:pt x="6377128" y="3237289"/>
                </a:cubicBezTo>
                <a:cubicBezTo>
                  <a:pt x="6371029" y="3240678"/>
                  <a:pt x="6366286" y="3246099"/>
                  <a:pt x="6362898" y="3253553"/>
                </a:cubicBezTo>
                <a:cubicBezTo>
                  <a:pt x="6359509" y="3260330"/>
                  <a:pt x="6358154" y="3268462"/>
                  <a:pt x="6358154" y="3277949"/>
                </a:cubicBezTo>
                <a:lnTo>
                  <a:pt x="6358154" y="3283370"/>
                </a:lnTo>
                <a:cubicBezTo>
                  <a:pt x="6358154" y="3292857"/>
                  <a:pt x="6359509" y="3300989"/>
                  <a:pt x="6362898" y="3307766"/>
                </a:cubicBezTo>
                <a:cubicBezTo>
                  <a:pt x="6366286" y="3314542"/>
                  <a:pt x="6371029" y="3319964"/>
                  <a:pt x="6377128" y="3324030"/>
                </a:cubicBezTo>
                <a:cubicBezTo>
                  <a:pt x="6383227" y="3327418"/>
                  <a:pt x="6390682" y="3329451"/>
                  <a:pt x="6398136" y="3329451"/>
                </a:cubicBezTo>
                <a:cubicBezTo>
                  <a:pt x="6406268" y="3329451"/>
                  <a:pt x="6413044" y="3328096"/>
                  <a:pt x="6419143" y="3324030"/>
                </a:cubicBezTo>
                <a:cubicBezTo>
                  <a:pt x="6424565" y="3319964"/>
                  <a:pt x="6429308" y="3314542"/>
                  <a:pt x="6432697" y="3307766"/>
                </a:cubicBezTo>
                <a:cubicBezTo>
                  <a:pt x="6436085" y="3300989"/>
                  <a:pt x="6437440" y="3292857"/>
                  <a:pt x="6437440" y="3283370"/>
                </a:cubicBezTo>
                <a:lnTo>
                  <a:pt x="6438118" y="3283370"/>
                </a:lnTo>
                <a:lnTo>
                  <a:pt x="6438118" y="3277949"/>
                </a:lnTo>
                <a:cubicBezTo>
                  <a:pt x="6438118" y="3268462"/>
                  <a:pt x="6436763" y="3260330"/>
                  <a:pt x="6433374" y="3253553"/>
                </a:cubicBezTo>
                <a:cubicBezTo>
                  <a:pt x="6429986" y="3246099"/>
                  <a:pt x="6425242" y="3241355"/>
                  <a:pt x="6419143" y="3237289"/>
                </a:cubicBezTo>
                <a:cubicBezTo>
                  <a:pt x="6413044" y="3233901"/>
                  <a:pt x="6405590" y="3231868"/>
                  <a:pt x="6398136" y="3231868"/>
                </a:cubicBezTo>
                <a:close/>
                <a:moveTo>
                  <a:pt x="4832065" y="3231868"/>
                </a:moveTo>
                <a:cubicBezTo>
                  <a:pt x="4823933" y="3231868"/>
                  <a:pt x="4817156" y="3233223"/>
                  <a:pt x="4811057" y="3237289"/>
                </a:cubicBezTo>
                <a:cubicBezTo>
                  <a:pt x="4804959" y="3240678"/>
                  <a:pt x="4800215" y="3246099"/>
                  <a:pt x="4796828" y="3253553"/>
                </a:cubicBezTo>
                <a:cubicBezTo>
                  <a:pt x="4793438" y="3260330"/>
                  <a:pt x="4792083" y="3268462"/>
                  <a:pt x="4792083" y="3277949"/>
                </a:cubicBezTo>
                <a:lnTo>
                  <a:pt x="4792083" y="3283370"/>
                </a:lnTo>
                <a:cubicBezTo>
                  <a:pt x="4792083" y="3292857"/>
                  <a:pt x="4793438" y="3300989"/>
                  <a:pt x="4796828" y="3307766"/>
                </a:cubicBezTo>
                <a:cubicBezTo>
                  <a:pt x="4800215" y="3314542"/>
                  <a:pt x="4804959" y="3319964"/>
                  <a:pt x="4811057" y="3324030"/>
                </a:cubicBezTo>
                <a:cubicBezTo>
                  <a:pt x="4817156" y="3327418"/>
                  <a:pt x="4824611" y="3329451"/>
                  <a:pt x="4832065" y="3329451"/>
                </a:cubicBezTo>
                <a:cubicBezTo>
                  <a:pt x="4840198" y="3329451"/>
                  <a:pt x="4846973" y="3328096"/>
                  <a:pt x="4853072" y="3324030"/>
                </a:cubicBezTo>
                <a:cubicBezTo>
                  <a:pt x="4858494" y="3319964"/>
                  <a:pt x="4863237" y="3314542"/>
                  <a:pt x="4866626" y="3307766"/>
                </a:cubicBezTo>
                <a:cubicBezTo>
                  <a:pt x="4870014" y="3300989"/>
                  <a:pt x="4871369" y="3292857"/>
                  <a:pt x="4871369" y="3283370"/>
                </a:cubicBezTo>
                <a:lnTo>
                  <a:pt x="4872047" y="3283370"/>
                </a:lnTo>
                <a:lnTo>
                  <a:pt x="4872047" y="3277949"/>
                </a:lnTo>
                <a:cubicBezTo>
                  <a:pt x="4872047" y="3268462"/>
                  <a:pt x="4870692" y="3260330"/>
                  <a:pt x="4867303" y="3253553"/>
                </a:cubicBezTo>
                <a:cubicBezTo>
                  <a:pt x="4863915" y="3246099"/>
                  <a:pt x="4859171" y="3241355"/>
                  <a:pt x="4853072" y="3237289"/>
                </a:cubicBezTo>
                <a:cubicBezTo>
                  <a:pt x="4846973" y="3233901"/>
                  <a:pt x="4839519" y="3231868"/>
                  <a:pt x="4832065" y="3231868"/>
                </a:cubicBezTo>
                <a:close/>
                <a:moveTo>
                  <a:pt x="6570939" y="3231190"/>
                </a:moveTo>
                <a:cubicBezTo>
                  <a:pt x="6558064" y="3231190"/>
                  <a:pt x="6548576" y="3235256"/>
                  <a:pt x="6541800" y="3243388"/>
                </a:cubicBezTo>
                <a:cubicBezTo>
                  <a:pt x="6535023" y="3251520"/>
                  <a:pt x="6531635" y="3263040"/>
                  <a:pt x="6531635" y="3277271"/>
                </a:cubicBezTo>
                <a:lnTo>
                  <a:pt x="6531635" y="3284725"/>
                </a:lnTo>
                <a:cubicBezTo>
                  <a:pt x="6531635" y="3293535"/>
                  <a:pt x="6533668" y="3301667"/>
                  <a:pt x="6537056" y="3308443"/>
                </a:cubicBezTo>
                <a:cubicBezTo>
                  <a:pt x="6540444" y="3315220"/>
                  <a:pt x="6545188" y="3320641"/>
                  <a:pt x="6551287" y="3324029"/>
                </a:cubicBezTo>
                <a:cubicBezTo>
                  <a:pt x="6557386" y="3327418"/>
                  <a:pt x="6564163" y="3329451"/>
                  <a:pt x="6572295" y="3329451"/>
                </a:cubicBezTo>
                <a:cubicBezTo>
                  <a:pt x="6580426" y="3329451"/>
                  <a:pt x="6587203" y="3328095"/>
                  <a:pt x="6593302" y="3326062"/>
                </a:cubicBezTo>
                <a:cubicBezTo>
                  <a:pt x="6599401" y="3324029"/>
                  <a:pt x="6604144" y="3320641"/>
                  <a:pt x="6607533" y="3315897"/>
                </a:cubicBezTo>
                <a:lnTo>
                  <a:pt x="6607533" y="3279304"/>
                </a:lnTo>
                <a:lnTo>
                  <a:pt x="6571617" y="3279304"/>
                </a:lnTo>
                <a:lnTo>
                  <a:pt x="6571617" y="3292179"/>
                </a:lnTo>
                <a:lnTo>
                  <a:pt x="6591269" y="3292179"/>
                </a:lnTo>
                <a:lnTo>
                  <a:pt x="6591269" y="3311154"/>
                </a:lnTo>
                <a:cubicBezTo>
                  <a:pt x="6587203" y="3315220"/>
                  <a:pt x="6581782" y="3317253"/>
                  <a:pt x="6572972" y="3317253"/>
                </a:cubicBezTo>
                <a:cubicBezTo>
                  <a:pt x="6564840" y="3317253"/>
                  <a:pt x="6558741" y="3313864"/>
                  <a:pt x="6554675" y="3308443"/>
                </a:cubicBezTo>
                <a:cubicBezTo>
                  <a:pt x="6549932" y="3303022"/>
                  <a:pt x="6547899" y="3294890"/>
                  <a:pt x="6547899" y="3284725"/>
                </a:cubicBezTo>
                <a:lnTo>
                  <a:pt x="6547899" y="3277271"/>
                </a:lnTo>
                <a:cubicBezTo>
                  <a:pt x="6547899" y="3267106"/>
                  <a:pt x="6549932" y="3258974"/>
                  <a:pt x="6553998" y="3253553"/>
                </a:cubicBezTo>
                <a:cubicBezTo>
                  <a:pt x="6558064" y="3248131"/>
                  <a:pt x="6563485" y="3245421"/>
                  <a:pt x="6570939" y="3245421"/>
                </a:cubicBezTo>
                <a:cubicBezTo>
                  <a:pt x="6582459" y="3245421"/>
                  <a:pt x="6589236" y="3250842"/>
                  <a:pt x="6591269" y="3262362"/>
                </a:cubicBezTo>
                <a:lnTo>
                  <a:pt x="6607533" y="3262362"/>
                </a:lnTo>
                <a:cubicBezTo>
                  <a:pt x="6606178" y="3252197"/>
                  <a:pt x="6602112" y="3244743"/>
                  <a:pt x="6596013" y="3239322"/>
                </a:cubicBezTo>
                <a:cubicBezTo>
                  <a:pt x="6589914" y="3233901"/>
                  <a:pt x="6581782" y="3231190"/>
                  <a:pt x="6570939" y="3231190"/>
                </a:cubicBezTo>
                <a:close/>
                <a:moveTo>
                  <a:pt x="6488943" y="3019083"/>
                </a:moveTo>
                <a:lnTo>
                  <a:pt x="6550610" y="3019083"/>
                </a:lnTo>
                <a:lnTo>
                  <a:pt x="6550610" y="3076006"/>
                </a:lnTo>
                <a:lnTo>
                  <a:pt x="6488943" y="3076006"/>
                </a:lnTo>
                <a:cubicBezTo>
                  <a:pt x="6482166" y="3076006"/>
                  <a:pt x="6476745" y="3070585"/>
                  <a:pt x="6476745" y="3063808"/>
                </a:cubicBezTo>
                <a:lnTo>
                  <a:pt x="6476745" y="3031281"/>
                </a:lnTo>
                <a:cubicBezTo>
                  <a:pt x="6476745" y="3024504"/>
                  <a:pt x="6482166" y="3019083"/>
                  <a:pt x="6488943" y="3019083"/>
                </a:cubicBezTo>
                <a:close/>
                <a:moveTo>
                  <a:pt x="5127526" y="2880163"/>
                </a:moveTo>
                <a:lnTo>
                  <a:pt x="5176316" y="2880163"/>
                </a:lnTo>
                <a:cubicBezTo>
                  <a:pt x="5183094" y="2880163"/>
                  <a:pt x="5188515" y="2885584"/>
                  <a:pt x="5188515" y="2892361"/>
                </a:cubicBezTo>
                <a:lnTo>
                  <a:pt x="5188515" y="2937764"/>
                </a:lnTo>
                <a:lnTo>
                  <a:pt x="5115327" y="2937764"/>
                </a:lnTo>
                <a:lnTo>
                  <a:pt x="5115327" y="2892361"/>
                </a:lnTo>
                <a:cubicBezTo>
                  <a:pt x="5115327" y="2885584"/>
                  <a:pt x="5120748" y="2880163"/>
                  <a:pt x="5127526" y="2880163"/>
                </a:cubicBezTo>
                <a:close/>
                <a:moveTo>
                  <a:pt x="7131364" y="2798166"/>
                </a:moveTo>
                <a:lnTo>
                  <a:pt x="7131364" y="3158003"/>
                </a:lnTo>
                <a:lnTo>
                  <a:pt x="7262152" y="3158003"/>
                </a:lnTo>
                <a:lnTo>
                  <a:pt x="7262830" y="2879485"/>
                </a:lnTo>
                <a:cubicBezTo>
                  <a:pt x="7262830" y="2879485"/>
                  <a:pt x="7291292" y="2879485"/>
                  <a:pt x="7291292" y="2879485"/>
                </a:cubicBezTo>
                <a:cubicBezTo>
                  <a:pt x="7302134" y="2879485"/>
                  <a:pt x="7305522" y="2881518"/>
                  <a:pt x="7310944" y="2904558"/>
                </a:cubicBezTo>
                <a:lnTo>
                  <a:pt x="7369223" y="3158003"/>
                </a:lnTo>
                <a:lnTo>
                  <a:pt x="7503399" y="3158003"/>
                </a:lnTo>
                <a:cubicBezTo>
                  <a:pt x="7503399" y="3158003"/>
                  <a:pt x="7435633" y="2867287"/>
                  <a:pt x="7429534" y="2838826"/>
                </a:cubicBezTo>
                <a:cubicBezTo>
                  <a:pt x="7423435" y="2811042"/>
                  <a:pt x="7399717" y="2798166"/>
                  <a:pt x="7377354" y="2798166"/>
                </a:cubicBezTo>
                <a:cubicBezTo>
                  <a:pt x="7360413" y="2798166"/>
                  <a:pt x="7131364" y="2798166"/>
                  <a:pt x="7131364" y="2798166"/>
                </a:cubicBezTo>
                <a:close/>
                <a:moveTo>
                  <a:pt x="6736966" y="2798166"/>
                </a:moveTo>
                <a:lnTo>
                  <a:pt x="6736966" y="3158003"/>
                </a:lnTo>
                <a:lnTo>
                  <a:pt x="6867754" y="3158003"/>
                </a:lnTo>
                <a:lnTo>
                  <a:pt x="6868432" y="3158003"/>
                </a:lnTo>
                <a:lnTo>
                  <a:pt x="6868432" y="2879485"/>
                </a:lnTo>
                <a:cubicBezTo>
                  <a:pt x="6868432" y="2879485"/>
                  <a:pt x="6896894" y="2879485"/>
                  <a:pt x="6896894" y="2879485"/>
                </a:cubicBezTo>
                <a:cubicBezTo>
                  <a:pt x="6907736" y="2879485"/>
                  <a:pt x="6911125" y="2881518"/>
                  <a:pt x="6916546" y="2904558"/>
                </a:cubicBezTo>
                <a:lnTo>
                  <a:pt x="6974825" y="3158003"/>
                </a:lnTo>
                <a:lnTo>
                  <a:pt x="7109001" y="3158003"/>
                </a:lnTo>
                <a:cubicBezTo>
                  <a:pt x="7109001" y="3158003"/>
                  <a:pt x="7041235" y="2867287"/>
                  <a:pt x="7035136" y="2838826"/>
                </a:cubicBezTo>
                <a:cubicBezTo>
                  <a:pt x="7029037" y="2811042"/>
                  <a:pt x="7005319" y="2798166"/>
                  <a:pt x="6982957" y="2798166"/>
                </a:cubicBezTo>
                <a:cubicBezTo>
                  <a:pt x="6966015" y="2798166"/>
                  <a:pt x="6736966" y="2798166"/>
                  <a:pt x="6736966" y="2798166"/>
                </a:cubicBezTo>
                <a:close/>
                <a:moveTo>
                  <a:pt x="6387294" y="2798166"/>
                </a:moveTo>
                <a:cubicBezTo>
                  <a:pt x="6364931" y="2798166"/>
                  <a:pt x="6346634" y="2816463"/>
                  <a:pt x="6346634" y="2838826"/>
                </a:cubicBezTo>
                <a:lnTo>
                  <a:pt x="6346634" y="2880840"/>
                </a:lnTo>
                <a:lnTo>
                  <a:pt x="6539090" y="2880840"/>
                </a:lnTo>
                <a:cubicBezTo>
                  <a:pt x="6545866" y="2880840"/>
                  <a:pt x="6551287" y="2886262"/>
                  <a:pt x="6551287" y="2893038"/>
                </a:cubicBezTo>
                <a:lnTo>
                  <a:pt x="6551287" y="2937764"/>
                </a:lnTo>
                <a:lnTo>
                  <a:pt x="6387294" y="2937764"/>
                </a:lnTo>
                <a:cubicBezTo>
                  <a:pt x="6364931" y="2937764"/>
                  <a:pt x="6346634" y="2956061"/>
                  <a:pt x="6346634" y="2978423"/>
                </a:cubicBezTo>
                <a:lnTo>
                  <a:pt x="6346634" y="3117343"/>
                </a:lnTo>
                <a:cubicBezTo>
                  <a:pt x="6346634" y="3139706"/>
                  <a:pt x="6364931" y="3158003"/>
                  <a:pt x="6387294" y="3158003"/>
                </a:cubicBezTo>
                <a:lnTo>
                  <a:pt x="6681398" y="3158003"/>
                </a:lnTo>
                <a:lnTo>
                  <a:pt x="6681398" y="2838826"/>
                </a:lnTo>
                <a:cubicBezTo>
                  <a:pt x="6681398" y="2816463"/>
                  <a:pt x="6663101" y="2798166"/>
                  <a:pt x="6640738" y="2798166"/>
                </a:cubicBezTo>
                <a:close/>
                <a:moveTo>
                  <a:pt x="5746228" y="2798166"/>
                </a:moveTo>
                <a:lnTo>
                  <a:pt x="5746228" y="3158003"/>
                </a:lnTo>
                <a:lnTo>
                  <a:pt x="5877016" y="3158003"/>
                </a:lnTo>
                <a:lnTo>
                  <a:pt x="5877016" y="2880163"/>
                </a:lnTo>
                <a:lnTo>
                  <a:pt x="5950881" y="2880163"/>
                </a:lnTo>
                <a:lnTo>
                  <a:pt x="5951559" y="3158003"/>
                </a:lnTo>
                <a:lnTo>
                  <a:pt x="6082347" y="3158003"/>
                </a:lnTo>
                <a:lnTo>
                  <a:pt x="6082347" y="2880163"/>
                </a:lnTo>
                <a:cubicBezTo>
                  <a:pt x="6082347" y="2880163"/>
                  <a:pt x="6110809" y="2880163"/>
                  <a:pt x="6110809" y="2880163"/>
                </a:cubicBezTo>
                <a:cubicBezTo>
                  <a:pt x="6121652" y="2880163"/>
                  <a:pt x="6125040" y="2882196"/>
                  <a:pt x="6130461" y="2905236"/>
                </a:cubicBezTo>
                <a:lnTo>
                  <a:pt x="6188062" y="3158003"/>
                </a:lnTo>
                <a:lnTo>
                  <a:pt x="6322239" y="3158003"/>
                </a:lnTo>
                <a:cubicBezTo>
                  <a:pt x="6322239" y="3158003"/>
                  <a:pt x="6254473" y="2867287"/>
                  <a:pt x="6248374" y="2838826"/>
                </a:cubicBezTo>
                <a:cubicBezTo>
                  <a:pt x="6242275" y="2811042"/>
                  <a:pt x="6218557" y="2798166"/>
                  <a:pt x="6196194" y="2798166"/>
                </a:cubicBezTo>
                <a:cubicBezTo>
                  <a:pt x="6179253" y="2798166"/>
                  <a:pt x="5746228" y="2798166"/>
                  <a:pt x="5746228" y="2798166"/>
                </a:cubicBezTo>
                <a:close/>
                <a:moveTo>
                  <a:pt x="5025876" y="2798166"/>
                </a:moveTo>
                <a:cubicBezTo>
                  <a:pt x="5003513" y="2798166"/>
                  <a:pt x="4985216" y="2816463"/>
                  <a:pt x="4985216" y="2838826"/>
                </a:cubicBezTo>
                <a:lnTo>
                  <a:pt x="4985216" y="3117343"/>
                </a:lnTo>
                <a:cubicBezTo>
                  <a:pt x="4985216" y="3139706"/>
                  <a:pt x="5003513" y="3158003"/>
                  <a:pt x="5025876" y="3158003"/>
                </a:cubicBezTo>
                <a:lnTo>
                  <a:pt x="5279320" y="3158003"/>
                </a:lnTo>
                <a:cubicBezTo>
                  <a:pt x="5301683" y="3158003"/>
                  <a:pt x="5319981" y="3139706"/>
                  <a:pt x="5319981" y="3117343"/>
                </a:cubicBezTo>
                <a:lnTo>
                  <a:pt x="5319981" y="3076684"/>
                </a:lnTo>
                <a:lnTo>
                  <a:pt x="5127526" y="3076684"/>
                </a:lnTo>
                <a:cubicBezTo>
                  <a:pt x="5120748" y="3076684"/>
                  <a:pt x="5115327" y="3071263"/>
                  <a:pt x="5115327" y="3064486"/>
                </a:cubicBezTo>
                <a:lnTo>
                  <a:pt x="5115327" y="3019761"/>
                </a:lnTo>
                <a:lnTo>
                  <a:pt x="5319981" y="3019761"/>
                </a:lnTo>
                <a:lnTo>
                  <a:pt x="5319981" y="2838826"/>
                </a:lnTo>
                <a:cubicBezTo>
                  <a:pt x="5319981" y="2816463"/>
                  <a:pt x="5301683" y="2798166"/>
                  <a:pt x="5279320" y="2798166"/>
                </a:cubicBezTo>
                <a:close/>
                <a:moveTo>
                  <a:pt x="5561227" y="2651114"/>
                </a:moveTo>
                <a:lnTo>
                  <a:pt x="5560549" y="3158003"/>
                </a:lnTo>
                <a:lnTo>
                  <a:pt x="5692015" y="3158003"/>
                </a:lnTo>
                <a:lnTo>
                  <a:pt x="5692015" y="2651114"/>
                </a:lnTo>
                <a:close/>
                <a:moveTo>
                  <a:pt x="5374870" y="2651114"/>
                </a:moveTo>
                <a:lnTo>
                  <a:pt x="5374870" y="3158003"/>
                </a:lnTo>
                <a:lnTo>
                  <a:pt x="5505658" y="3158003"/>
                </a:lnTo>
                <a:lnTo>
                  <a:pt x="5505658" y="2651114"/>
                </a:lnTo>
                <a:close/>
                <a:moveTo>
                  <a:pt x="4589463" y="2650436"/>
                </a:moveTo>
                <a:lnTo>
                  <a:pt x="4589463" y="3158003"/>
                </a:lnTo>
                <a:lnTo>
                  <a:pt x="4720251" y="3158003"/>
                </a:lnTo>
                <a:lnTo>
                  <a:pt x="4720929" y="2878807"/>
                </a:lnTo>
                <a:cubicBezTo>
                  <a:pt x="4720929" y="2878807"/>
                  <a:pt x="4749391" y="2878807"/>
                  <a:pt x="4749391" y="2878807"/>
                </a:cubicBezTo>
                <a:cubicBezTo>
                  <a:pt x="4760233" y="2878807"/>
                  <a:pt x="4763622" y="2880840"/>
                  <a:pt x="4769043" y="2903881"/>
                </a:cubicBezTo>
                <a:lnTo>
                  <a:pt x="4827322" y="3157325"/>
                </a:lnTo>
                <a:lnTo>
                  <a:pt x="4961498" y="3157325"/>
                </a:lnTo>
                <a:cubicBezTo>
                  <a:pt x="4961498" y="3157325"/>
                  <a:pt x="4893732" y="2866609"/>
                  <a:pt x="4887633" y="2838148"/>
                </a:cubicBezTo>
                <a:cubicBezTo>
                  <a:pt x="4881534" y="2810364"/>
                  <a:pt x="4857816" y="2797488"/>
                  <a:pt x="4835453" y="2797488"/>
                </a:cubicBezTo>
                <a:cubicBezTo>
                  <a:pt x="4831388" y="2797488"/>
                  <a:pt x="4720929" y="2797488"/>
                  <a:pt x="4720929" y="2797488"/>
                </a:cubicBezTo>
                <a:lnTo>
                  <a:pt x="4720251" y="2650436"/>
                </a:lnTo>
                <a:close/>
                <a:moveTo>
                  <a:pt x="7537283" y="2567085"/>
                </a:moveTo>
                <a:cubicBezTo>
                  <a:pt x="7598272" y="2567085"/>
                  <a:pt x="7647741" y="2616554"/>
                  <a:pt x="7647741" y="2678221"/>
                </a:cubicBezTo>
                <a:cubicBezTo>
                  <a:pt x="7646386" y="2739210"/>
                  <a:pt x="7596239" y="2790712"/>
                  <a:pt x="7535927" y="2790712"/>
                </a:cubicBezTo>
                <a:cubicBezTo>
                  <a:pt x="7515597" y="2790712"/>
                  <a:pt x="7496623" y="2785291"/>
                  <a:pt x="7480359" y="2775804"/>
                </a:cubicBezTo>
                <a:cubicBezTo>
                  <a:pt x="7487136" y="2775804"/>
                  <a:pt x="7495945" y="2774449"/>
                  <a:pt x="7502722" y="2773093"/>
                </a:cubicBezTo>
                <a:cubicBezTo>
                  <a:pt x="7510176" y="2771738"/>
                  <a:pt x="7517631" y="2769027"/>
                  <a:pt x="7524407" y="2765639"/>
                </a:cubicBezTo>
                <a:cubicBezTo>
                  <a:pt x="7533894" y="2761573"/>
                  <a:pt x="7543382" y="2756829"/>
                  <a:pt x="7550836" y="2748020"/>
                </a:cubicBezTo>
                <a:cubicBezTo>
                  <a:pt x="7556257" y="2741921"/>
                  <a:pt x="7563034" y="2735144"/>
                  <a:pt x="7569810" y="2731078"/>
                </a:cubicBezTo>
                <a:cubicBezTo>
                  <a:pt x="7577265" y="2726335"/>
                  <a:pt x="7584719" y="2721591"/>
                  <a:pt x="7592851" y="2718203"/>
                </a:cubicBezTo>
                <a:cubicBezTo>
                  <a:pt x="7595561" y="2716848"/>
                  <a:pt x="7598950" y="2716170"/>
                  <a:pt x="7601660" y="2716170"/>
                </a:cubicBezTo>
                <a:cubicBezTo>
                  <a:pt x="7607082" y="2716170"/>
                  <a:pt x="7612503" y="2714137"/>
                  <a:pt x="7617924" y="2712104"/>
                </a:cubicBezTo>
                <a:cubicBezTo>
                  <a:pt x="7621990" y="2710749"/>
                  <a:pt x="7626056" y="2709393"/>
                  <a:pt x="7630122" y="2708716"/>
                </a:cubicBezTo>
                <a:cubicBezTo>
                  <a:pt x="7630800" y="2708716"/>
                  <a:pt x="7631477" y="2708716"/>
                  <a:pt x="7631477" y="2707360"/>
                </a:cubicBezTo>
                <a:cubicBezTo>
                  <a:pt x="7631477" y="2706005"/>
                  <a:pt x="7630122" y="2706683"/>
                  <a:pt x="7629444" y="2706005"/>
                </a:cubicBezTo>
                <a:cubicBezTo>
                  <a:pt x="7624023" y="2704650"/>
                  <a:pt x="7618602" y="2702617"/>
                  <a:pt x="7613858" y="2700584"/>
                </a:cubicBezTo>
                <a:cubicBezTo>
                  <a:pt x="7610470" y="2699906"/>
                  <a:pt x="7607082" y="2699228"/>
                  <a:pt x="7603693" y="2700584"/>
                </a:cubicBezTo>
                <a:cubicBezTo>
                  <a:pt x="7598272" y="2701939"/>
                  <a:pt x="7594206" y="2704650"/>
                  <a:pt x="7590140" y="2708038"/>
                </a:cubicBezTo>
                <a:cubicBezTo>
                  <a:pt x="7583363" y="2713459"/>
                  <a:pt x="7575909" y="2718203"/>
                  <a:pt x="7568455" y="2720913"/>
                </a:cubicBezTo>
                <a:cubicBezTo>
                  <a:pt x="7563034" y="2723624"/>
                  <a:pt x="7556935" y="2724979"/>
                  <a:pt x="7550836" y="2725657"/>
                </a:cubicBezTo>
                <a:cubicBezTo>
                  <a:pt x="7549480" y="2725657"/>
                  <a:pt x="7547448" y="2726335"/>
                  <a:pt x="7546092" y="2725657"/>
                </a:cubicBezTo>
                <a:cubicBezTo>
                  <a:pt x="7550836" y="2722269"/>
                  <a:pt x="7556257" y="2719558"/>
                  <a:pt x="7560323" y="2714137"/>
                </a:cubicBezTo>
                <a:cubicBezTo>
                  <a:pt x="7563711" y="2710071"/>
                  <a:pt x="7566422" y="2706005"/>
                  <a:pt x="7569810" y="2702617"/>
                </a:cubicBezTo>
                <a:cubicBezTo>
                  <a:pt x="7575232" y="2697873"/>
                  <a:pt x="7580653" y="2693807"/>
                  <a:pt x="7586752" y="2690419"/>
                </a:cubicBezTo>
                <a:lnTo>
                  <a:pt x="7600983" y="2682287"/>
                </a:lnTo>
                <a:cubicBezTo>
                  <a:pt x="7603693" y="2680932"/>
                  <a:pt x="7607082" y="2679576"/>
                  <a:pt x="7609792" y="2678899"/>
                </a:cubicBezTo>
                <a:cubicBezTo>
                  <a:pt x="7611825" y="2678221"/>
                  <a:pt x="7613858" y="2678221"/>
                  <a:pt x="7615891" y="2678221"/>
                </a:cubicBezTo>
                <a:cubicBezTo>
                  <a:pt x="7621312" y="2678221"/>
                  <a:pt x="7627411" y="2674155"/>
                  <a:pt x="7632833" y="2672122"/>
                </a:cubicBezTo>
                <a:cubicBezTo>
                  <a:pt x="7635543" y="2671444"/>
                  <a:pt x="7638254" y="2671444"/>
                  <a:pt x="7640287" y="2670089"/>
                </a:cubicBezTo>
                <a:cubicBezTo>
                  <a:pt x="7640964" y="2670089"/>
                  <a:pt x="7640964" y="2669411"/>
                  <a:pt x="7640964" y="2668734"/>
                </a:cubicBezTo>
                <a:lnTo>
                  <a:pt x="7640287" y="2668056"/>
                </a:lnTo>
                <a:cubicBezTo>
                  <a:pt x="7633510" y="2667378"/>
                  <a:pt x="7628089" y="2665345"/>
                  <a:pt x="7621312" y="2663312"/>
                </a:cubicBezTo>
                <a:cubicBezTo>
                  <a:pt x="7615891" y="2662635"/>
                  <a:pt x="7610470" y="2662635"/>
                  <a:pt x="7605726" y="2665345"/>
                </a:cubicBezTo>
                <a:cubicBezTo>
                  <a:pt x="7600983" y="2668734"/>
                  <a:pt x="7596917" y="2672122"/>
                  <a:pt x="7592173" y="2675510"/>
                </a:cubicBezTo>
                <a:cubicBezTo>
                  <a:pt x="7590818" y="2676188"/>
                  <a:pt x="7589463" y="2677543"/>
                  <a:pt x="7588107" y="2678221"/>
                </a:cubicBezTo>
                <a:cubicBezTo>
                  <a:pt x="7582686" y="2681609"/>
                  <a:pt x="7576587" y="2684998"/>
                  <a:pt x="7570488" y="2687031"/>
                </a:cubicBezTo>
                <a:cubicBezTo>
                  <a:pt x="7564389" y="2689063"/>
                  <a:pt x="7558290" y="2689741"/>
                  <a:pt x="7552191" y="2689741"/>
                </a:cubicBezTo>
                <a:cubicBezTo>
                  <a:pt x="7550158" y="2689741"/>
                  <a:pt x="7548125" y="2688386"/>
                  <a:pt x="7546770" y="2686353"/>
                </a:cubicBezTo>
                <a:cubicBezTo>
                  <a:pt x="7545415" y="2683642"/>
                  <a:pt x="7544737" y="2680932"/>
                  <a:pt x="7544737" y="2678221"/>
                </a:cubicBezTo>
                <a:cubicBezTo>
                  <a:pt x="7544737" y="2676188"/>
                  <a:pt x="7544737" y="2674833"/>
                  <a:pt x="7544059" y="2672800"/>
                </a:cubicBezTo>
                <a:cubicBezTo>
                  <a:pt x="7544059" y="2668056"/>
                  <a:pt x="7543382" y="2661957"/>
                  <a:pt x="7544737" y="2657214"/>
                </a:cubicBezTo>
                <a:cubicBezTo>
                  <a:pt x="7545415" y="2652470"/>
                  <a:pt x="7546770" y="2647726"/>
                  <a:pt x="7546092" y="2642983"/>
                </a:cubicBezTo>
                <a:cubicBezTo>
                  <a:pt x="7544737" y="2638917"/>
                  <a:pt x="7539316" y="2634173"/>
                  <a:pt x="7526440" y="2623331"/>
                </a:cubicBezTo>
                <a:cubicBezTo>
                  <a:pt x="7513565" y="2611810"/>
                  <a:pt x="7500011" y="2596902"/>
                  <a:pt x="7493235" y="2584704"/>
                </a:cubicBezTo>
                <a:cubicBezTo>
                  <a:pt x="7492557" y="2583349"/>
                  <a:pt x="7491879" y="2581993"/>
                  <a:pt x="7491202" y="2581316"/>
                </a:cubicBezTo>
                <a:cubicBezTo>
                  <a:pt x="7489846" y="2581316"/>
                  <a:pt x="7489846" y="2581993"/>
                  <a:pt x="7489169" y="2582671"/>
                </a:cubicBezTo>
                <a:cubicBezTo>
                  <a:pt x="7483748" y="2590125"/>
                  <a:pt x="7481714" y="2598935"/>
                  <a:pt x="7483070" y="2608422"/>
                </a:cubicBezTo>
                <a:cubicBezTo>
                  <a:pt x="7485103" y="2617909"/>
                  <a:pt x="7489169" y="2626041"/>
                  <a:pt x="7495945" y="2633495"/>
                </a:cubicBezTo>
                <a:cubicBezTo>
                  <a:pt x="7499334" y="2637561"/>
                  <a:pt x="7503400" y="2642983"/>
                  <a:pt x="7505433" y="2647049"/>
                </a:cubicBezTo>
                <a:cubicBezTo>
                  <a:pt x="7507466" y="2651115"/>
                  <a:pt x="7508143" y="2655181"/>
                  <a:pt x="7507466" y="2659924"/>
                </a:cubicBezTo>
                <a:lnTo>
                  <a:pt x="7497301" y="2652470"/>
                </a:lnTo>
                <a:cubicBezTo>
                  <a:pt x="7497301" y="2652470"/>
                  <a:pt x="7493235" y="2649759"/>
                  <a:pt x="7487136" y="2645016"/>
                </a:cubicBezTo>
                <a:cubicBezTo>
                  <a:pt x="7481714" y="2640950"/>
                  <a:pt x="7475616" y="2637561"/>
                  <a:pt x="7466128" y="2626719"/>
                </a:cubicBezTo>
                <a:cubicBezTo>
                  <a:pt x="7466128" y="2626041"/>
                  <a:pt x="7465451" y="2626041"/>
                  <a:pt x="7464773" y="2626719"/>
                </a:cubicBezTo>
                <a:cubicBezTo>
                  <a:pt x="7464095" y="2627397"/>
                  <a:pt x="7464095" y="2628074"/>
                  <a:pt x="7463418" y="2629429"/>
                </a:cubicBezTo>
                <a:cubicBezTo>
                  <a:pt x="7462062" y="2640272"/>
                  <a:pt x="7461385" y="2653148"/>
                  <a:pt x="7467484" y="2661957"/>
                </a:cubicBezTo>
                <a:cubicBezTo>
                  <a:pt x="7470872" y="2667378"/>
                  <a:pt x="7475616" y="2672122"/>
                  <a:pt x="7480359" y="2676866"/>
                </a:cubicBezTo>
                <a:cubicBezTo>
                  <a:pt x="7483748" y="2679576"/>
                  <a:pt x="7486458" y="2682965"/>
                  <a:pt x="7489846" y="2685675"/>
                </a:cubicBezTo>
                <a:cubicBezTo>
                  <a:pt x="7493235" y="2688386"/>
                  <a:pt x="7496623" y="2691774"/>
                  <a:pt x="7496623" y="2695840"/>
                </a:cubicBezTo>
                <a:cubicBezTo>
                  <a:pt x="7497301" y="2700584"/>
                  <a:pt x="7495268" y="2704650"/>
                  <a:pt x="7493912" y="2708716"/>
                </a:cubicBezTo>
                <a:cubicBezTo>
                  <a:pt x="7491879" y="2712104"/>
                  <a:pt x="7490524" y="2715492"/>
                  <a:pt x="7487814" y="2717525"/>
                </a:cubicBezTo>
                <a:cubicBezTo>
                  <a:pt x="7483748" y="2720236"/>
                  <a:pt x="7477649" y="2718203"/>
                  <a:pt x="7472905" y="2718880"/>
                </a:cubicBezTo>
                <a:cubicBezTo>
                  <a:pt x="7469517" y="2718880"/>
                  <a:pt x="7467484" y="2722269"/>
                  <a:pt x="7466128" y="2724979"/>
                </a:cubicBezTo>
                <a:cubicBezTo>
                  <a:pt x="7464095" y="2728368"/>
                  <a:pt x="7462062" y="2731756"/>
                  <a:pt x="7462740" y="2735822"/>
                </a:cubicBezTo>
                <a:cubicBezTo>
                  <a:pt x="7463418" y="2740566"/>
                  <a:pt x="7465451" y="2744632"/>
                  <a:pt x="7466806" y="2746665"/>
                </a:cubicBezTo>
                <a:cubicBezTo>
                  <a:pt x="7467484" y="2747342"/>
                  <a:pt x="7468161" y="2748697"/>
                  <a:pt x="7469517" y="2748697"/>
                </a:cubicBezTo>
                <a:cubicBezTo>
                  <a:pt x="7471550" y="2748020"/>
                  <a:pt x="7473583" y="2747342"/>
                  <a:pt x="7475616" y="2745987"/>
                </a:cubicBezTo>
                <a:cubicBezTo>
                  <a:pt x="7485103" y="2737855"/>
                  <a:pt x="7489169" y="2735144"/>
                  <a:pt x="7499334" y="2732434"/>
                </a:cubicBezTo>
                <a:cubicBezTo>
                  <a:pt x="7493235" y="2735144"/>
                  <a:pt x="7488491" y="2741921"/>
                  <a:pt x="7487136" y="2743954"/>
                </a:cubicBezTo>
                <a:cubicBezTo>
                  <a:pt x="7479004" y="2753441"/>
                  <a:pt x="7471550" y="2757507"/>
                  <a:pt x="7460029" y="2755474"/>
                </a:cubicBezTo>
                <a:cubicBezTo>
                  <a:pt x="7457319" y="2754796"/>
                  <a:pt x="7455963" y="2754119"/>
                  <a:pt x="7455963" y="2754119"/>
                </a:cubicBezTo>
                <a:cubicBezTo>
                  <a:pt x="7445121" y="2742599"/>
                  <a:pt x="7426146" y="2716170"/>
                  <a:pt x="7426146" y="2678221"/>
                </a:cubicBezTo>
                <a:cubicBezTo>
                  <a:pt x="7426146" y="2617232"/>
                  <a:pt x="7475616" y="2567085"/>
                  <a:pt x="7537283" y="2567085"/>
                </a:cubicBezTo>
                <a:close/>
                <a:moveTo>
                  <a:pt x="7535927" y="2552854"/>
                </a:moveTo>
                <a:cubicBezTo>
                  <a:pt x="7466128" y="2552854"/>
                  <a:pt x="7409205" y="2609777"/>
                  <a:pt x="7409205" y="2679576"/>
                </a:cubicBezTo>
                <a:cubicBezTo>
                  <a:pt x="7409205" y="2749375"/>
                  <a:pt x="7466128" y="2806299"/>
                  <a:pt x="7535927" y="2806299"/>
                </a:cubicBezTo>
                <a:cubicBezTo>
                  <a:pt x="7605726" y="2806299"/>
                  <a:pt x="7662650" y="2749375"/>
                  <a:pt x="7662650" y="2679576"/>
                </a:cubicBezTo>
                <a:cubicBezTo>
                  <a:pt x="7662650" y="2609777"/>
                  <a:pt x="7605726" y="2552854"/>
                  <a:pt x="7535927" y="2552854"/>
                </a:cubicBezTo>
                <a:close/>
                <a:moveTo>
                  <a:pt x="0" y="0"/>
                </a:moveTo>
                <a:lnTo>
                  <a:pt x="12191999" y="0"/>
                </a:lnTo>
                <a:lnTo>
                  <a:pt x="12191999" y="6858000"/>
                </a:lnTo>
                <a:lnTo>
                  <a:pt x="0" y="6858000"/>
                </a:lnTo>
                <a:close/>
              </a:path>
            </a:pathLst>
          </a:custGeom>
          <a:blipFill>
            <a:blip r:embed="rId5"/>
            <a:stretch>
              <a:fillRect/>
            </a:stretch>
          </a:blipFill>
        </p:spPr>
        <p:txBody>
          <a:bodyPr wrap="square">
            <a:noAutofit/>
          </a:bodyPr>
          <a:lstStyle>
            <a:lvl1pPr marL="285750" indent="-285750" algn="ctr" rtl="0">
              <a:buFontTx/>
              <a:buBlip>
                <a:blip r:embed="rId6"/>
              </a:buBlip>
              <a:defRPr>
                <a:solidFill>
                  <a:schemeClr val="bg1"/>
                </a:solidFill>
              </a:defRPr>
            </a:lvl1pPr>
          </a:lstStyle>
          <a:p>
            <a:endParaRPr lang="en-US"/>
          </a:p>
          <a:p>
            <a:endParaRPr lang="en-US"/>
          </a:p>
          <a:p>
            <a:r>
              <a:rPr lang="en-US"/>
              <a:t>Fill image placeholder and make the image 30% darker!</a:t>
            </a:r>
          </a:p>
        </p:txBody>
      </p:sp>
      <p:sp>
        <p:nvSpPr>
          <p:cNvPr id="65" name="Titel 1">
            <a:extLst>
              <a:ext uri="{FF2B5EF4-FFF2-40B4-BE49-F238E27FC236}">
                <a16:creationId xmlns:a16="http://schemas.microsoft.com/office/drawing/2014/main" id="{E49B6C10-9696-4A20-A390-BBF8A02CA45E}"/>
              </a:ext>
            </a:extLst>
          </p:cNvPr>
          <p:cNvSpPr>
            <a:spLocks noGrp="1"/>
          </p:cNvSpPr>
          <p:nvPr>
            <p:ph type="title" hasCustomPrompt="1"/>
          </p:nvPr>
        </p:nvSpPr>
        <p:spPr>
          <a:xfrm>
            <a:off x="815952" y="3728788"/>
            <a:ext cx="10560096" cy="1148012"/>
          </a:xfrm>
        </p:spPr>
        <p:txBody>
          <a:bodyPr vert="horz" anchor="t">
            <a:normAutofit/>
          </a:bodyPr>
          <a:lstStyle>
            <a:lvl1pPr algn="ctr" rtl="0">
              <a:lnSpc>
                <a:spcPct val="100000"/>
              </a:lnSpc>
              <a:defRPr sz="3600">
                <a:solidFill>
                  <a:schemeClr val="bg1"/>
                </a:solidFill>
              </a:defRPr>
            </a:lvl1pPr>
          </a:lstStyle>
          <a:p>
            <a:r>
              <a:rPr lang="en-US"/>
              <a:t>Headline</a:t>
            </a:r>
          </a:p>
        </p:txBody>
      </p:sp>
      <p:grpSp>
        <p:nvGrpSpPr>
          <p:cNvPr id="3" name="Grafik 1">
            <a:extLst>
              <a:ext uri="{FF2B5EF4-FFF2-40B4-BE49-F238E27FC236}">
                <a16:creationId xmlns:a16="http://schemas.microsoft.com/office/drawing/2014/main" id="{E72B9C0B-F869-48CB-84AA-6132E62EFC1D}"/>
              </a:ext>
            </a:extLst>
          </p:cNvPr>
          <p:cNvGrpSpPr/>
          <p:nvPr/>
        </p:nvGrpSpPr>
        <p:grpSpPr>
          <a:xfrm>
            <a:off x="4588770" y="2552700"/>
            <a:ext cx="3077435" cy="777671"/>
            <a:chOff x="4591049" y="2550319"/>
            <a:chExt cx="3068013" cy="775290"/>
          </a:xfrm>
          <a:solidFill>
            <a:schemeClr val="accent1"/>
          </a:solidFill>
        </p:grpSpPr>
        <p:grpSp>
          <p:nvGrpSpPr>
            <p:cNvPr id="4" name="Grafik 1">
              <a:extLst>
                <a:ext uri="{FF2B5EF4-FFF2-40B4-BE49-F238E27FC236}">
                  <a16:creationId xmlns:a16="http://schemas.microsoft.com/office/drawing/2014/main" id="{E72B9C0B-F869-48CB-84AA-6132E62EFC1D}"/>
                </a:ext>
              </a:extLst>
            </p:cNvPr>
            <p:cNvGrpSpPr/>
            <p:nvPr/>
          </p:nvGrpSpPr>
          <p:grpSpPr>
            <a:xfrm>
              <a:off x="4591049" y="2647737"/>
              <a:ext cx="2909031" cy="506712"/>
              <a:chOff x="4591049" y="2647737"/>
              <a:chExt cx="2909031" cy="506712"/>
            </a:xfrm>
            <a:solidFill>
              <a:srgbClr val="E42313"/>
            </a:solidFill>
          </p:grpSpPr>
          <p:sp>
            <p:nvSpPr>
              <p:cNvPr id="5" name="Freihandform: Form 4">
                <a:extLst>
                  <a:ext uri="{FF2B5EF4-FFF2-40B4-BE49-F238E27FC236}">
                    <a16:creationId xmlns:a16="http://schemas.microsoft.com/office/drawing/2014/main" id="{58083A5F-77D4-479C-8508-64182CD83B35}"/>
                  </a:ext>
                </a:extLst>
              </p:cNvPr>
              <p:cNvSpPr/>
              <p:nvPr/>
            </p:nvSpPr>
            <p:spPr>
              <a:xfrm>
                <a:off x="4591049" y="2647737"/>
                <a:ext cx="371408" cy="506712"/>
              </a:xfrm>
              <a:custGeom>
                <a:avLst/>
                <a:gdLst>
                  <a:gd name="connsiteX0" fmla="*/ 130568 w 371408"/>
                  <a:gd name="connsiteY0" fmla="*/ 506713 h 506712"/>
                  <a:gd name="connsiteX1" fmla="*/ 0 w 371408"/>
                  <a:gd name="connsiteY1" fmla="*/ 506713 h 506712"/>
                  <a:gd name="connsiteX2" fmla="*/ 0 w 371408"/>
                  <a:gd name="connsiteY2" fmla="*/ 0 h 506712"/>
                  <a:gd name="connsiteX3" fmla="*/ 130568 w 371408"/>
                  <a:gd name="connsiteY3" fmla="*/ 0 h 506712"/>
                  <a:gd name="connsiteX4" fmla="*/ 131245 w 371408"/>
                  <a:gd name="connsiteY4" fmla="*/ 146805 h 506712"/>
                  <a:gd name="connsiteX5" fmla="*/ 245576 w 371408"/>
                  <a:gd name="connsiteY5" fmla="*/ 146805 h 506712"/>
                  <a:gd name="connsiteX6" fmla="*/ 297668 w 371408"/>
                  <a:gd name="connsiteY6" fmla="*/ 187396 h 506712"/>
                  <a:gd name="connsiteX7" fmla="*/ 371409 w 371408"/>
                  <a:gd name="connsiteY7" fmla="*/ 506036 h 506712"/>
                  <a:gd name="connsiteX8" fmla="*/ 237458 w 371408"/>
                  <a:gd name="connsiteY8" fmla="*/ 506036 h 506712"/>
                  <a:gd name="connsiteX9" fmla="*/ 179278 w 371408"/>
                  <a:gd name="connsiteY9" fmla="*/ 253018 h 506712"/>
                  <a:gd name="connsiteX10" fmla="*/ 159658 w 371408"/>
                  <a:gd name="connsiteY10" fmla="*/ 227987 h 506712"/>
                  <a:gd name="connsiteX11" fmla="*/ 131245 w 371408"/>
                  <a:gd name="connsiteY11" fmla="*/ 227987 h 506712"/>
                  <a:gd name="connsiteX12" fmla="*/ 130568 w 371408"/>
                  <a:gd name="connsiteY12" fmla="*/ 506713 h 506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1408" h="506712">
                    <a:moveTo>
                      <a:pt x="130568" y="506713"/>
                    </a:moveTo>
                    <a:lnTo>
                      <a:pt x="0" y="506713"/>
                    </a:lnTo>
                    <a:lnTo>
                      <a:pt x="0" y="0"/>
                    </a:lnTo>
                    <a:lnTo>
                      <a:pt x="130568" y="0"/>
                    </a:lnTo>
                    <a:lnTo>
                      <a:pt x="131245" y="146805"/>
                    </a:lnTo>
                    <a:cubicBezTo>
                      <a:pt x="131245" y="146805"/>
                      <a:pt x="241517" y="146805"/>
                      <a:pt x="245576" y="146805"/>
                    </a:cubicBezTo>
                    <a:cubicBezTo>
                      <a:pt x="267902" y="146805"/>
                      <a:pt x="291580" y="159659"/>
                      <a:pt x="297668" y="187396"/>
                    </a:cubicBezTo>
                    <a:cubicBezTo>
                      <a:pt x="303757" y="215810"/>
                      <a:pt x="371409" y="506036"/>
                      <a:pt x="371409" y="506036"/>
                    </a:cubicBezTo>
                    <a:lnTo>
                      <a:pt x="237458" y="506036"/>
                    </a:lnTo>
                    <a:lnTo>
                      <a:pt x="179278" y="253018"/>
                    </a:lnTo>
                    <a:cubicBezTo>
                      <a:pt x="173865" y="230017"/>
                      <a:pt x="170483" y="227987"/>
                      <a:pt x="159658" y="227987"/>
                    </a:cubicBezTo>
                    <a:cubicBezTo>
                      <a:pt x="159658" y="227987"/>
                      <a:pt x="131245" y="227987"/>
                      <a:pt x="131245" y="227987"/>
                    </a:cubicBezTo>
                    <a:lnTo>
                      <a:pt x="130568" y="506713"/>
                    </a:lnTo>
                    <a:close/>
                  </a:path>
                </a:pathLst>
              </a:custGeom>
              <a:solidFill>
                <a:srgbClr val="E42313"/>
              </a:solidFill>
              <a:ln w="6756" cap="flat">
                <a:noFill/>
                <a:prstDash val="solid"/>
                <a:miter/>
              </a:ln>
            </p:spPr>
            <p:txBody>
              <a:bodyPr rtlCol="0" anchor="ctr"/>
              <a:lstStyle/>
              <a:p>
                <a:pPr rtl="0"/>
                <a:endParaRPr lang="en-US"/>
              </a:p>
            </p:txBody>
          </p:sp>
          <p:sp>
            <p:nvSpPr>
              <p:cNvPr id="6" name="Freihandform: Form 5">
                <a:extLst>
                  <a:ext uri="{FF2B5EF4-FFF2-40B4-BE49-F238E27FC236}">
                    <a16:creationId xmlns:a16="http://schemas.microsoft.com/office/drawing/2014/main" id="{579284D4-7742-420B-AEF0-593FD613EBDC}"/>
                  </a:ext>
                </a:extLst>
              </p:cNvPr>
              <p:cNvSpPr/>
              <p:nvPr/>
            </p:nvSpPr>
            <p:spPr>
              <a:xfrm>
                <a:off x="4986136" y="2795218"/>
                <a:ext cx="334200" cy="359231"/>
              </a:xfrm>
              <a:custGeom>
                <a:avLst/>
                <a:gdLst>
                  <a:gd name="connsiteX0" fmla="*/ 129892 w 334200"/>
                  <a:gd name="connsiteY0" fmla="*/ 139363 h 359231"/>
                  <a:gd name="connsiteX1" fmla="*/ 129892 w 334200"/>
                  <a:gd name="connsiteY1" fmla="*/ 94036 h 359231"/>
                  <a:gd name="connsiteX2" fmla="*/ 142069 w 334200"/>
                  <a:gd name="connsiteY2" fmla="*/ 81859 h 359231"/>
                  <a:gd name="connsiteX3" fmla="*/ 190778 w 334200"/>
                  <a:gd name="connsiteY3" fmla="*/ 81859 h 359231"/>
                  <a:gd name="connsiteX4" fmla="*/ 202956 w 334200"/>
                  <a:gd name="connsiteY4" fmla="*/ 94036 h 359231"/>
                  <a:gd name="connsiteX5" fmla="*/ 202956 w 334200"/>
                  <a:gd name="connsiteY5" fmla="*/ 139363 h 359231"/>
                  <a:gd name="connsiteX6" fmla="*/ 129892 w 334200"/>
                  <a:gd name="connsiteY6" fmla="*/ 139363 h 359231"/>
                  <a:gd name="connsiteX7" fmla="*/ 334200 w 334200"/>
                  <a:gd name="connsiteY7" fmla="*/ 40591 h 359231"/>
                  <a:gd name="connsiteX8" fmla="*/ 293609 w 334200"/>
                  <a:gd name="connsiteY8" fmla="*/ 0 h 359231"/>
                  <a:gd name="connsiteX9" fmla="*/ 40591 w 334200"/>
                  <a:gd name="connsiteY9" fmla="*/ 0 h 359231"/>
                  <a:gd name="connsiteX10" fmla="*/ 0 w 334200"/>
                  <a:gd name="connsiteY10" fmla="*/ 40591 h 359231"/>
                  <a:gd name="connsiteX11" fmla="*/ 0 w 334200"/>
                  <a:gd name="connsiteY11" fmla="*/ 318641 h 359231"/>
                  <a:gd name="connsiteX12" fmla="*/ 40591 w 334200"/>
                  <a:gd name="connsiteY12" fmla="*/ 359232 h 359231"/>
                  <a:gd name="connsiteX13" fmla="*/ 293609 w 334200"/>
                  <a:gd name="connsiteY13" fmla="*/ 359232 h 359231"/>
                  <a:gd name="connsiteX14" fmla="*/ 334200 w 334200"/>
                  <a:gd name="connsiteY14" fmla="*/ 318641 h 359231"/>
                  <a:gd name="connsiteX15" fmla="*/ 334200 w 334200"/>
                  <a:gd name="connsiteY15" fmla="*/ 278049 h 359231"/>
                  <a:gd name="connsiteX16" fmla="*/ 142069 w 334200"/>
                  <a:gd name="connsiteY16" fmla="*/ 278049 h 359231"/>
                  <a:gd name="connsiteX17" fmla="*/ 129892 w 334200"/>
                  <a:gd name="connsiteY17" fmla="*/ 265872 h 359231"/>
                  <a:gd name="connsiteX18" fmla="*/ 129892 w 334200"/>
                  <a:gd name="connsiteY18" fmla="*/ 221222 h 359231"/>
                  <a:gd name="connsiteX19" fmla="*/ 334200 w 334200"/>
                  <a:gd name="connsiteY19" fmla="*/ 221222 h 359231"/>
                  <a:gd name="connsiteX20" fmla="*/ 334200 w 334200"/>
                  <a:gd name="connsiteY20" fmla="*/ 40591 h 3592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34200" h="359231">
                    <a:moveTo>
                      <a:pt x="129892" y="139363"/>
                    </a:moveTo>
                    <a:lnTo>
                      <a:pt x="129892" y="94036"/>
                    </a:lnTo>
                    <a:cubicBezTo>
                      <a:pt x="129892" y="87271"/>
                      <a:pt x="135304" y="81859"/>
                      <a:pt x="142069" y="81859"/>
                    </a:cubicBezTo>
                    <a:lnTo>
                      <a:pt x="190778" y="81859"/>
                    </a:lnTo>
                    <a:cubicBezTo>
                      <a:pt x="197544" y="81859"/>
                      <a:pt x="202956" y="87271"/>
                      <a:pt x="202956" y="94036"/>
                    </a:cubicBezTo>
                    <a:lnTo>
                      <a:pt x="202956" y="139363"/>
                    </a:lnTo>
                    <a:lnTo>
                      <a:pt x="129892" y="139363"/>
                    </a:lnTo>
                    <a:close/>
                    <a:moveTo>
                      <a:pt x="334200" y="40591"/>
                    </a:moveTo>
                    <a:cubicBezTo>
                      <a:pt x="334200" y="18266"/>
                      <a:pt x="315934" y="0"/>
                      <a:pt x="293609" y="0"/>
                    </a:cubicBezTo>
                    <a:lnTo>
                      <a:pt x="40591" y="0"/>
                    </a:lnTo>
                    <a:cubicBezTo>
                      <a:pt x="18266" y="0"/>
                      <a:pt x="0" y="18266"/>
                      <a:pt x="0" y="40591"/>
                    </a:cubicBezTo>
                    <a:lnTo>
                      <a:pt x="0" y="318641"/>
                    </a:lnTo>
                    <a:cubicBezTo>
                      <a:pt x="0" y="340966"/>
                      <a:pt x="18266" y="359232"/>
                      <a:pt x="40591" y="359232"/>
                    </a:cubicBezTo>
                    <a:lnTo>
                      <a:pt x="293609" y="359232"/>
                    </a:lnTo>
                    <a:cubicBezTo>
                      <a:pt x="315934" y="359232"/>
                      <a:pt x="334200" y="340966"/>
                      <a:pt x="334200" y="318641"/>
                    </a:cubicBezTo>
                    <a:lnTo>
                      <a:pt x="334200" y="278049"/>
                    </a:lnTo>
                    <a:lnTo>
                      <a:pt x="142069" y="278049"/>
                    </a:lnTo>
                    <a:cubicBezTo>
                      <a:pt x="135304" y="278049"/>
                      <a:pt x="129892" y="272637"/>
                      <a:pt x="129892" y="265872"/>
                    </a:cubicBezTo>
                    <a:lnTo>
                      <a:pt x="129892" y="221222"/>
                    </a:lnTo>
                    <a:lnTo>
                      <a:pt x="334200" y="221222"/>
                    </a:lnTo>
                    <a:lnTo>
                      <a:pt x="334200" y="40591"/>
                    </a:lnTo>
                    <a:close/>
                  </a:path>
                </a:pathLst>
              </a:custGeom>
              <a:solidFill>
                <a:srgbClr val="E42313"/>
              </a:solidFill>
              <a:ln w="6756" cap="flat">
                <a:noFill/>
                <a:prstDash val="solid"/>
                <a:miter/>
              </a:ln>
            </p:spPr>
            <p:txBody>
              <a:bodyPr rtlCol="0" anchor="ctr"/>
              <a:lstStyle/>
              <a:p>
                <a:pPr rtl="0"/>
                <a:endParaRPr lang="en-US"/>
              </a:p>
            </p:txBody>
          </p:sp>
          <p:sp>
            <p:nvSpPr>
              <p:cNvPr id="7" name="Freihandform: Form 6">
                <a:extLst>
                  <a:ext uri="{FF2B5EF4-FFF2-40B4-BE49-F238E27FC236}">
                    <a16:creationId xmlns:a16="http://schemas.microsoft.com/office/drawing/2014/main" id="{2C1D9E28-FAB9-4CC4-89E4-6856ADF02602}"/>
                  </a:ext>
                </a:extLst>
              </p:cNvPr>
              <p:cNvSpPr/>
              <p:nvPr/>
            </p:nvSpPr>
            <p:spPr>
              <a:xfrm>
                <a:off x="5375134" y="2648414"/>
                <a:ext cx="130568" cy="506036"/>
              </a:xfrm>
              <a:custGeom>
                <a:avLst/>
                <a:gdLst>
                  <a:gd name="connsiteX0" fmla="*/ 130568 w 130568"/>
                  <a:gd name="connsiteY0" fmla="*/ 506036 h 506036"/>
                  <a:gd name="connsiteX1" fmla="*/ 0 w 130568"/>
                  <a:gd name="connsiteY1" fmla="*/ 506036 h 506036"/>
                  <a:gd name="connsiteX2" fmla="*/ 0 w 130568"/>
                  <a:gd name="connsiteY2" fmla="*/ 0 h 506036"/>
                  <a:gd name="connsiteX3" fmla="*/ 130568 w 130568"/>
                  <a:gd name="connsiteY3" fmla="*/ 0 h 506036"/>
                </a:gdLst>
                <a:ahLst/>
                <a:cxnLst>
                  <a:cxn ang="0">
                    <a:pos x="connsiteX0" y="connsiteY0"/>
                  </a:cxn>
                  <a:cxn ang="0">
                    <a:pos x="connsiteX1" y="connsiteY1"/>
                  </a:cxn>
                  <a:cxn ang="0">
                    <a:pos x="connsiteX2" y="connsiteY2"/>
                  </a:cxn>
                  <a:cxn ang="0">
                    <a:pos x="connsiteX3" y="connsiteY3"/>
                  </a:cxn>
                </a:cxnLst>
                <a:rect l="l" t="t" r="r" b="b"/>
                <a:pathLst>
                  <a:path w="130568" h="506035">
                    <a:moveTo>
                      <a:pt x="130568" y="506036"/>
                    </a:moveTo>
                    <a:lnTo>
                      <a:pt x="0" y="506036"/>
                    </a:lnTo>
                    <a:lnTo>
                      <a:pt x="0" y="0"/>
                    </a:lnTo>
                    <a:lnTo>
                      <a:pt x="130568" y="0"/>
                    </a:lnTo>
                    <a:close/>
                  </a:path>
                </a:pathLst>
              </a:custGeom>
              <a:solidFill>
                <a:srgbClr val="E42313"/>
              </a:solidFill>
              <a:ln w="6756" cap="flat">
                <a:noFill/>
                <a:prstDash val="solid"/>
                <a:miter/>
              </a:ln>
            </p:spPr>
            <p:txBody>
              <a:bodyPr rtlCol="0" anchor="ctr"/>
              <a:lstStyle/>
              <a:p>
                <a:pPr rtl="0"/>
                <a:endParaRPr lang="en-US"/>
              </a:p>
            </p:txBody>
          </p:sp>
          <p:sp>
            <p:nvSpPr>
              <p:cNvPr id="8" name="Freihandform: Form 7">
                <a:extLst>
                  <a:ext uri="{FF2B5EF4-FFF2-40B4-BE49-F238E27FC236}">
                    <a16:creationId xmlns:a16="http://schemas.microsoft.com/office/drawing/2014/main" id="{B1111EF9-F8B0-41DB-A38B-C294A1CD9955}"/>
                  </a:ext>
                </a:extLst>
              </p:cNvPr>
              <p:cNvSpPr/>
              <p:nvPr/>
            </p:nvSpPr>
            <p:spPr>
              <a:xfrm>
                <a:off x="5560500" y="2648414"/>
                <a:ext cx="131244" cy="506036"/>
              </a:xfrm>
              <a:custGeom>
                <a:avLst/>
                <a:gdLst>
                  <a:gd name="connsiteX0" fmla="*/ 131245 w 131244"/>
                  <a:gd name="connsiteY0" fmla="*/ 506036 h 506036"/>
                  <a:gd name="connsiteX1" fmla="*/ 0 w 131244"/>
                  <a:gd name="connsiteY1" fmla="*/ 506036 h 506036"/>
                  <a:gd name="connsiteX2" fmla="*/ 676 w 131244"/>
                  <a:gd name="connsiteY2" fmla="*/ 0 h 506036"/>
                  <a:gd name="connsiteX3" fmla="*/ 131245 w 131244"/>
                  <a:gd name="connsiteY3" fmla="*/ 0 h 506036"/>
                </a:gdLst>
                <a:ahLst/>
                <a:cxnLst>
                  <a:cxn ang="0">
                    <a:pos x="connsiteX0" y="connsiteY0"/>
                  </a:cxn>
                  <a:cxn ang="0">
                    <a:pos x="connsiteX1" y="connsiteY1"/>
                  </a:cxn>
                  <a:cxn ang="0">
                    <a:pos x="connsiteX2" y="connsiteY2"/>
                  </a:cxn>
                  <a:cxn ang="0">
                    <a:pos x="connsiteX3" y="connsiteY3"/>
                  </a:cxn>
                </a:cxnLst>
                <a:rect l="l" t="t" r="r" b="b"/>
                <a:pathLst>
                  <a:path w="131244" h="506035">
                    <a:moveTo>
                      <a:pt x="131245" y="506036"/>
                    </a:moveTo>
                    <a:lnTo>
                      <a:pt x="0" y="506036"/>
                    </a:lnTo>
                    <a:lnTo>
                      <a:pt x="676" y="0"/>
                    </a:lnTo>
                    <a:lnTo>
                      <a:pt x="131245" y="0"/>
                    </a:lnTo>
                    <a:close/>
                  </a:path>
                </a:pathLst>
              </a:custGeom>
              <a:solidFill>
                <a:srgbClr val="E42313"/>
              </a:solidFill>
              <a:ln w="6756" cap="flat">
                <a:noFill/>
                <a:prstDash val="solid"/>
                <a:miter/>
              </a:ln>
            </p:spPr>
            <p:txBody>
              <a:bodyPr rtlCol="0" anchor="ctr"/>
              <a:lstStyle/>
              <a:p>
                <a:pPr rtl="0"/>
                <a:endParaRPr lang="en-US"/>
              </a:p>
            </p:txBody>
          </p:sp>
          <p:sp>
            <p:nvSpPr>
              <p:cNvPr id="9" name="Freihandform: Form 8">
                <a:extLst>
                  <a:ext uri="{FF2B5EF4-FFF2-40B4-BE49-F238E27FC236}">
                    <a16:creationId xmlns:a16="http://schemas.microsoft.com/office/drawing/2014/main" id="{026DEAB6-643A-4744-AA87-D92715142968}"/>
                  </a:ext>
                </a:extLst>
              </p:cNvPr>
              <p:cNvSpPr/>
              <p:nvPr/>
            </p:nvSpPr>
            <p:spPr>
              <a:xfrm>
                <a:off x="5745866" y="2795218"/>
                <a:ext cx="575041" cy="359231"/>
              </a:xfrm>
              <a:custGeom>
                <a:avLst/>
                <a:gdLst>
                  <a:gd name="connsiteX0" fmla="*/ 335553 w 575041"/>
                  <a:gd name="connsiteY0" fmla="*/ 359232 h 359231"/>
                  <a:gd name="connsiteX1" fmla="*/ 204985 w 575041"/>
                  <a:gd name="connsiteY1" fmla="*/ 359232 h 359231"/>
                  <a:gd name="connsiteX2" fmla="*/ 204309 w 575041"/>
                  <a:gd name="connsiteY2" fmla="*/ 81859 h 359231"/>
                  <a:gd name="connsiteX3" fmla="*/ 130568 w 575041"/>
                  <a:gd name="connsiteY3" fmla="*/ 81859 h 359231"/>
                  <a:gd name="connsiteX4" fmla="*/ 130568 w 575041"/>
                  <a:gd name="connsiteY4" fmla="*/ 359232 h 359231"/>
                  <a:gd name="connsiteX5" fmla="*/ 0 w 575041"/>
                  <a:gd name="connsiteY5" fmla="*/ 359232 h 359231"/>
                  <a:gd name="connsiteX6" fmla="*/ 0 w 575041"/>
                  <a:gd name="connsiteY6" fmla="*/ 0 h 359231"/>
                  <a:gd name="connsiteX7" fmla="*/ 449209 w 575041"/>
                  <a:gd name="connsiteY7" fmla="*/ 0 h 359231"/>
                  <a:gd name="connsiteX8" fmla="*/ 501301 w 575041"/>
                  <a:gd name="connsiteY8" fmla="*/ 40591 h 359231"/>
                  <a:gd name="connsiteX9" fmla="*/ 575041 w 575041"/>
                  <a:gd name="connsiteY9" fmla="*/ 359232 h 359231"/>
                  <a:gd name="connsiteX10" fmla="*/ 441090 w 575041"/>
                  <a:gd name="connsiteY10" fmla="*/ 359232 h 359231"/>
                  <a:gd name="connsiteX11" fmla="*/ 383586 w 575041"/>
                  <a:gd name="connsiteY11" fmla="*/ 106890 h 359231"/>
                  <a:gd name="connsiteX12" fmla="*/ 363967 w 575041"/>
                  <a:gd name="connsiteY12" fmla="*/ 81859 h 359231"/>
                  <a:gd name="connsiteX13" fmla="*/ 335553 w 575041"/>
                  <a:gd name="connsiteY13" fmla="*/ 81859 h 359231"/>
                  <a:gd name="connsiteX14" fmla="*/ 335553 w 575041"/>
                  <a:gd name="connsiteY14" fmla="*/ 359232 h 3592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5041" h="359231">
                    <a:moveTo>
                      <a:pt x="335553" y="359232"/>
                    </a:moveTo>
                    <a:lnTo>
                      <a:pt x="204985" y="359232"/>
                    </a:lnTo>
                    <a:lnTo>
                      <a:pt x="204309" y="81859"/>
                    </a:lnTo>
                    <a:lnTo>
                      <a:pt x="130568" y="81859"/>
                    </a:lnTo>
                    <a:lnTo>
                      <a:pt x="130568" y="359232"/>
                    </a:lnTo>
                    <a:lnTo>
                      <a:pt x="0" y="359232"/>
                    </a:lnTo>
                    <a:lnTo>
                      <a:pt x="0" y="0"/>
                    </a:lnTo>
                    <a:cubicBezTo>
                      <a:pt x="0" y="0"/>
                      <a:pt x="432296" y="0"/>
                      <a:pt x="449209" y="0"/>
                    </a:cubicBezTo>
                    <a:cubicBezTo>
                      <a:pt x="471534" y="0"/>
                      <a:pt x="495212" y="12854"/>
                      <a:pt x="501301" y="40591"/>
                    </a:cubicBezTo>
                    <a:cubicBezTo>
                      <a:pt x="507389" y="69005"/>
                      <a:pt x="575041" y="359232"/>
                      <a:pt x="575041" y="359232"/>
                    </a:cubicBezTo>
                    <a:lnTo>
                      <a:pt x="441090" y="359232"/>
                    </a:lnTo>
                    <a:lnTo>
                      <a:pt x="383586" y="106890"/>
                    </a:lnTo>
                    <a:cubicBezTo>
                      <a:pt x="378174" y="83888"/>
                      <a:pt x="374792" y="81859"/>
                      <a:pt x="363967" y="81859"/>
                    </a:cubicBezTo>
                    <a:cubicBezTo>
                      <a:pt x="363967" y="81859"/>
                      <a:pt x="335553" y="81859"/>
                      <a:pt x="335553" y="81859"/>
                    </a:cubicBezTo>
                    <a:lnTo>
                      <a:pt x="335553" y="359232"/>
                    </a:lnTo>
                    <a:close/>
                  </a:path>
                </a:pathLst>
              </a:custGeom>
              <a:solidFill>
                <a:srgbClr val="E42313"/>
              </a:solidFill>
              <a:ln w="6756" cap="flat">
                <a:noFill/>
                <a:prstDash val="solid"/>
                <a:miter/>
              </a:ln>
            </p:spPr>
            <p:txBody>
              <a:bodyPr rtlCol="0" anchor="ctr"/>
              <a:lstStyle/>
              <a:p>
                <a:pPr rtl="0"/>
                <a:endParaRPr lang="en-US"/>
              </a:p>
            </p:txBody>
          </p:sp>
          <p:sp>
            <p:nvSpPr>
              <p:cNvPr id="10" name="Freihandform: Form 9">
                <a:extLst>
                  <a:ext uri="{FF2B5EF4-FFF2-40B4-BE49-F238E27FC236}">
                    <a16:creationId xmlns:a16="http://schemas.microsoft.com/office/drawing/2014/main" id="{137E4C79-C1AE-4EB2-900E-ABAED0229BFA}"/>
                  </a:ext>
                </a:extLst>
              </p:cNvPr>
              <p:cNvSpPr/>
              <p:nvPr/>
            </p:nvSpPr>
            <p:spPr>
              <a:xfrm>
                <a:off x="6345262" y="2795218"/>
                <a:ext cx="334200" cy="359231"/>
              </a:xfrm>
              <a:custGeom>
                <a:avLst/>
                <a:gdLst>
                  <a:gd name="connsiteX0" fmla="*/ 0 w 334200"/>
                  <a:gd name="connsiteY0" fmla="*/ 40591 h 359231"/>
                  <a:gd name="connsiteX1" fmla="*/ 40591 w 334200"/>
                  <a:gd name="connsiteY1" fmla="*/ 0 h 359231"/>
                  <a:gd name="connsiteX2" fmla="*/ 293609 w 334200"/>
                  <a:gd name="connsiteY2" fmla="*/ 0 h 359231"/>
                  <a:gd name="connsiteX3" fmla="*/ 334201 w 334200"/>
                  <a:gd name="connsiteY3" fmla="*/ 40591 h 359231"/>
                  <a:gd name="connsiteX4" fmla="*/ 334201 w 334200"/>
                  <a:gd name="connsiteY4" fmla="*/ 359232 h 359231"/>
                  <a:gd name="connsiteX5" fmla="*/ 40591 w 334200"/>
                  <a:gd name="connsiteY5" fmla="*/ 359232 h 359231"/>
                  <a:gd name="connsiteX6" fmla="*/ 0 w 334200"/>
                  <a:gd name="connsiteY6" fmla="*/ 318641 h 359231"/>
                  <a:gd name="connsiteX7" fmla="*/ 0 w 334200"/>
                  <a:gd name="connsiteY7" fmla="*/ 179954 h 359231"/>
                  <a:gd name="connsiteX8" fmla="*/ 40591 w 334200"/>
                  <a:gd name="connsiteY8" fmla="*/ 139363 h 359231"/>
                  <a:gd name="connsiteX9" fmla="*/ 204309 w 334200"/>
                  <a:gd name="connsiteY9" fmla="*/ 139363 h 359231"/>
                  <a:gd name="connsiteX10" fmla="*/ 204309 w 334200"/>
                  <a:gd name="connsiteY10" fmla="*/ 94713 h 359231"/>
                  <a:gd name="connsiteX11" fmla="*/ 192132 w 334200"/>
                  <a:gd name="connsiteY11" fmla="*/ 82535 h 359231"/>
                  <a:gd name="connsiteX12" fmla="*/ 0 w 334200"/>
                  <a:gd name="connsiteY12" fmla="*/ 82535 h 359231"/>
                  <a:gd name="connsiteX13" fmla="*/ 0 w 334200"/>
                  <a:gd name="connsiteY13" fmla="*/ 40591 h 359231"/>
                  <a:gd name="connsiteX14" fmla="*/ 203632 w 334200"/>
                  <a:gd name="connsiteY14" fmla="*/ 220545 h 359231"/>
                  <a:gd name="connsiteX15" fmla="*/ 142069 w 334200"/>
                  <a:gd name="connsiteY15" fmla="*/ 220545 h 359231"/>
                  <a:gd name="connsiteX16" fmla="*/ 129892 w 334200"/>
                  <a:gd name="connsiteY16" fmla="*/ 232723 h 359231"/>
                  <a:gd name="connsiteX17" fmla="*/ 129892 w 334200"/>
                  <a:gd name="connsiteY17" fmla="*/ 265196 h 359231"/>
                  <a:gd name="connsiteX18" fmla="*/ 142069 w 334200"/>
                  <a:gd name="connsiteY18" fmla="*/ 277373 h 359231"/>
                  <a:gd name="connsiteX19" fmla="*/ 203632 w 334200"/>
                  <a:gd name="connsiteY19" fmla="*/ 277373 h 359231"/>
                  <a:gd name="connsiteX20" fmla="*/ 203632 w 334200"/>
                  <a:gd name="connsiteY20" fmla="*/ 220545 h 3592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34200" h="359231">
                    <a:moveTo>
                      <a:pt x="0" y="40591"/>
                    </a:moveTo>
                    <a:cubicBezTo>
                      <a:pt x="0" y="18266"/>
                      <a:pt x="18266" y="0"/>
                      <a:pt x="40591" y="0"/>
                    </a:cubicBezTo>
                    <a:lnTo>
                      <a:pt x="293609" y="0"/>
                    </a:lnTo>
                    <a:cubicBezTo>
                      <a:pt x="315934" y="0"/>
                      <a:pt x="334201" y="18266"/>
                      <a:pt x="334201" y="40591"/>
                    </a:cubicBezTo>
                    <a:lnTo>
                      <a:pt x="334201" y="359232"/>
                    </a:lnTo>
                    <a:lnTo>
                      <a:pt x="40591" y="359232"/>
                    </a:lnTo>
                    <a:cubicBezTo>
                      <a:pt x="18266" y="359232"/>
                      <a:pt x="0" y="340966"/>
                      <a:pt x="0" y="318641"/>
                    </a:cubicBezTo>
                    <a:lnTo>
                      <a:pt x="0" y="179954"/>
                    </a:lnTo>
                    <a:cubicBezTo>
                      <a:pt x="0" y="157629"/>
                      <a:pt x="18266" y="139363"/>
                      <a:pt x="40591" y="139363"/>
                    </a:cubicBezTo>
                    <a:lnTo>
                      <a:pt x="204309" y="139363"/>
                    </a:lnTo>
                    <a:lnTo>
                      <a:pt x="204309" y="94713"/>
                    </a:lnTo>
                    <a:cubicBezTo>
                      <a:pt x="204309" y="87947"/>
                      <a:pt x="198897" y="82535"/>
                      <a:pt x="192132" y="82535"/>
                    </a:cubicBezTo>
                    <a:lnTo>
                      <a:pt x="0" y="82535"/>
                    </a:lnTo>
                    <a:lnTo>
                      <a:pt x="0" y="40591"/>
                    </a:lnTo>
                    <a:close/>
                    <a:moveTo>
                      <a:pt x="203632" y="220545"/>
                    </a:moveTo>
                    <a:lnTo>
                      <a:pt x="142069" y="220545"/>
                    </a:lnTo>
                    <a:cubicBezTo>
                      <a:pt x="135304" y="220545"/>
                      <a:pt x="129892" y="225957"/>
                      <a:pt x="129892" y="232723"/>
                    </a:cubicBezTo>
                    <a:lnTo>
                      <a:pt x="129892" y="265196"/>
                    </a:lnTo>
                    <a:cubicBezTo>
                      <a:pt x="129892" y="271961"/>
                      <a:pt x="135304" y="277373"/>
                      <a:pt x="142069" y="277373"/>
                    </a:cubicBezTo>
                    <a:lnTo>
                      <a:pt x="203632" y="277373"/>
                    </a:lnTo>
                    <a:lnTo>
                      <a:pt x="203632" y="220545"/>
                    </a:lnTo>
                    <a:close/>
                  </a:path>
                </a:pathLst>
              </a:custGeom>
              <a:solidFill>
                <a:srgbClr val="E42313"/>
              </a:solidFill>
              <a:ln w="6756" cap="flat">
                <a:noFill/>
                <a:prstDash val="solid"/>
                <a:miter/>
              </a:ln>
            </p:spPr>
            <p:txBody>
              <a:bodyPr rtlCol="0" anchor="ctr"/>
              <a:lstStyle/>
              <a:p>
                <a:pPr rtl="0"/>
                <a:endParaRPr lang="en-US"/>
              </a:p>
            </p:txBody>
          </p:sp>
          <p:sp>
            <p:nvSpPr>
              <p:cNvPr id="11" name="Freihandform: Form 10">
                <a:extLst>
                  <a:ext uri="{FF2B5EF4-FFF2-40B4-BE49-F238E27FC236}">
                    <a16:creationId xmlns:a16="http://schemas.microsoft.com/office/drawing/2014/main" id="{553C28DD-4771-494C-8B79-F72570976330}"/>
                  </a:ext>
                </a:extLst>
              </p:cNvPr>
              <p:cNvSpPr/>
              <p:nvPr/>
            </p:nvSpPr>
            <p:spPr>
              <a:xfrm>
                <a:off x="6734937" y="2795218"/>
                <a:ext cx="371408" cy="359231"/>
              </a:xfrm>
              <a:custGeom>
                <a:avLst/>
                <a:gdLst>
                  <a:gd name="connsiteX0" fmla="*/ 130568 w 371408"/>
                  <a:gd name="connsiteY0" fmla="*/ 359232 h 359231"/>
                  <a:gd name="connsiteX1" fmla="*/ 0 w 371408"/>
                  <a:gd name="connsiteY1" fmla="*/ 359232 h 359231"/>
                  <a:gd name="connsiteX2" fmla="*/ 0 w 371408"/>
                  <a:gd name="connsiteY2" fmla="*/ 0 h 359231"/>
                  <a:gd name="connsiteX3" fmla="*/ 245577 w 371408"/>
                  <a:gd name="connsiteY3" fmla="*/ 0 h 359231"/>
                  <a:gd name="connsiteX4" fmla="*/ 297668 w 371408"/>
                  <a:gd name="connsiteY4" fmla="*/ 40591 h 359231"/>
                  <a:gd name="connsiteX5" fmla="*/ 371409 w 371408"/>
                  <a:gd name="connsiteY5" fmla="*/ 359232 h 359231"/>
                  <a:gd name="connsiteX6" fmla="*/ 237458 w 371408"/>
                  <a:gd name="connsiteY6" fmla="*/ 359232 h 359231"/>
                  <a:gd name="connsiteX7" fmla="*/ 179278 w 371408"/>
                  <a:gd name="connsiteY7" fmla="*/ 106214 h 359231"/>
                  <a:gd name="connsiteX8" fmla="*/ 159659 w 371408"/>
                  <a:gd name="connsiteY8" fmla="*/ 81182 h 359231"/>
                  <a:gd name="connsiteX9" fmla="*/ 131245 w 371408"/>
                  <a:gd name="connsiteY9" fmla="*/ 81182 h 359231"/>
                  <a:gd name="connsiteX10" fmla="*/ 131245 w 371408"/>
                  <a:gd name="connsiteY10" fmla="*/ 359232 h 3592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71408" h="359231">
                    <a:moveTo>
                      <a:pt x="130568" y="359232"/>
                    </a:moveTo>
                    <a:lnTo>
                      <a:pt x="0" y="359232"/>
                    </a:lnTo>
                    <a:lnTo>
                      <a:pt x="0" y="0"/>
                    </a:lnTo>
                    <a:cubicBezTo>
                      <a:pt x="0" y="0"/>
                      <a:pt x="228664" y="0"/>
                      <a:pt x="245577" y="0"/>
                    </a:cubicBezTo>
                    <a:cubicBezTo>
                      <a:pt x="267902" y="0"/>
                      <a:pt x="291580" y="12854"/>
                      <a:pt x="297668" y="40591"/>
                    </a:cubicBezTo>
                    <a:cubicBezTo>
                      <a:pt x="303757" y="69005"/>
                      <a:pt x="371409" y="359232"/>
                      <a:pt x="371409" y="359232"/>
                    </a:cubicBezTo>
                    <a:lnTo>
                      <a:pt x="237458" y="359232"/>
                    </a:lnTo>
                    <a:lnTo>
                      <a:pt x="179278" y="106214"/>
                    </a:lnTo>
                    <a:cubicBezTo>
                      <a:pt x="173865" y="83212"/>
                      <a:pt x="170483" y="81182"/>
                      <a:pt x="159659" y="81182"/>
                    </a:cubicBezTo>
                    <a:cubicBezTo>
                      <a:pt x="159659" y="81182"/>
                      <a:pt x="131245" y="81182"/>
                      <a:pt x="131245" y="81182"/>
                    </a:cubicBezTo>
                    <a:lnTo>
                      <a:pt x="131245" y="359232"/>
                    </a:lnTo>
                    <a:close/>
                  </a:path>
                </a:pathLst>
              </a:custGeom>
              <a:solidFill>
                <a:srgbClr val="E42313"/>
              </a:solidFill>
              <a:ln w="6756" cap="flat">
                <a:noFill/>
                <a:prstDash val="solid"/>
                <a:miter/>
              </a:ln>
            </p:spPr>
            <p:txBody>
              <a:bodyPr rtlCol="0" anchor="ctr"/>
              <a:lstStyle/>
              <a:p>
                <a:pPr rtl="0"/>
                <a:endParaRPr lang="en-US"/>
              </a:p>
            </p:txBody>
          </p:sp>
          <p:sp>
            <p:nvSpPr>
              <p:cNvPr id="12" name="Freihandform: Form 11">
                <a:extLst>
                  <a:ext uri="{FF2B5EF4-FFF2-40B4-BE49-F238E27FC236}">
                    <a16:creationId xmlns:a16="http://schemas.microsoft.com/office/drawing/2014/main" id="{F0A37EDF-F005-4EAF-A322-521F22B924A6}"/>
                  </a:ext>
                </a:extLst>
              </p:cNvPr>
              <p:cNvSpPr/>
              <p:nvPr/>
            </p:nvSpPr>
            <p:spPr>
              <a:xfrm>
                <a:off x="7128671" y="2795218"/>
                <a:ext cx="371408" cy="359231"/>
              </a:xfrm>
              <a:custGeom>
                <a:avLst/>
                <a:gdLst>
                  <a:gd name="connsiteX0" fmla="*/ 130568 w 371408"/>
                  <a:gd name="connsiteY0" fmla="*/ 359232 h 359231"/>
                  <a:gd name="connsiteX1" fmla="*/ 0 w 371408"/>
                  <a:gd name="connsiteY1" fmla="*/ 359232 h 359231"/>
                  <a:gd name="connsiteX2" fmla="*/ 0 w 371408"/>
                  <a:gd name="connsiteY2" fmla="*/ 0 h 359231"/>
                  <a:gd name="connsiteX3" fmla="*/ 245576 w 371408"/>
                  <a:gd name="connsiteY3" fmla="*/ 0 h 359231"/>
                  <a:gd name="connsiteX4" fmla="*/ 297668 w 371408"/>
                  <a:gd name="connsiteY4" fmla="*/ 40591 h 359231"/>
                  <a:gd name="connsiteX5" fmla="*/ 371409 w 371408"/>
                  <a:gd name="connsiteY5" fmla="*/ 359232 h 359231"/>
                  <a:gd name="connsiteX6" fmla="*/ 237458 w 371408"/>
                  <a:gd name="connsiteY6" fmla="*/ 359232 h 359231"/>
                  <a:gd name="connsiteX7" fmla="*/ 179278 w 371408"/>
                  <a:gd name="connsiteY7" fmla="*/ 106214 h 359231"/>
                  <a:gd name="connsiteX8" fmla="*/ 159659 w 371408"/>
                  <a:gd name="connsiteY8" fmla="*/ 81182 h 359231"/>
                  <a:gd name="connsiteX9" fmla="*/ 131245 w 371408"/>
                  <a:gd name="connsiteY9" fmla="*/ 81182 h 359231"/>
                  <a:gd name="connsiteX10" fmla="*/ 130568 w 371408"/>
                  <a:gd name="connsiteY10" fmla="*/ 359232 h 3592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71408" h="359231">
                    <a:moveTo>
                      <a:pt x="130568" y="359232"/>
                    </a:moveTo>
                    <a:lnTo>
                      <a:pt x="0" y="359232"/>
                    </a:lnTo>
                    <a:lnTo>
                      <a:pt x="0" y="0"/>
                    </a:lnTo>
                    <a:cubicBezTo>
                      <a:pt x="0" y="0"/>
                      <a:pt x="228663" y="0"/>
                      <a:pt x="245576" y="0"/>
                    </a:cubicBezTo>
                    <a:cubicBezTo>
                      <a:pt x="267902" y="0"/>
                      <a:pt x="291580" y="12854"/>
                      <a:pt x="297668" y="40591"/>
                    </a:cubicBezTo>
                    <a:cubicBezTo>
                      <a:pt x="303757" y="69005"/>
                      <a:pt x="371409" y="359232"/>
                      <a:pt x="371409" y="359232"/>
                    </a:cubicBezTo>
                    <a:lnTo>
                      <a:pt x="237458" y="359232"/>
                    </a:lnTo>
                    <a:lnTo>
                      <a:pt x="179278" y="106214"/>
                    </a:lnTo>
                    <a:cubicBezTo>
                      <a:pt x="173865" y="83212"/>
                      <a:pt x="170483" y="81182"/>
                      <a:pt x="159659" y="81182"/>
                    </a:cubicBezTo>
                    <a:cubicBezTo>
                      <a:pt x="159659" y="81182"/>
                      <a:pt x="131245" y="81182"/>
                      <a:pt x="131245" y="81182"/>
                    </a:cubicBezTo>
                    <a:lnTo>
                      <a:pt x="130568" y="359232"/>
                    </a:lnTo>
                    <a:close/>
                  </a:path>
                </a:pathLst>
              </a:custGeom>
              <a:solidFill>
                <a:srgbClr val="E42313"/>
              </a:solidFill>
              <a:ln w="6756" cap="flat">
                <a:noFill/>
                <a:prstDash val="solid"/>
                <a:miter/>
              </a:ln>
            </p:spPr>
            <p:txBody>
              <a:bodyPr rtlCol="0" anchor="ctr"/>
              <a:lstStyle/>
              <a:p>
                <a:pPr rtl="0"/>
                <a:endParaRPr lang="en-US"/>
              </a:p>
            </p:txBody>
          </p:sp>
        </p:grpSp>
        <p:grpSp>
          <p:nvGrpSpPr>
            <p:cNvPr id="13" name="Grafik 1">
              <a:extLst>
                <a:ext uri="{FF2B5EF4-FFF2-40B4-BE49-F238E27FC236}">
                  <a16:creationId xmlns:a16="http://schemas.microsoft.com/office/drawing/2014/main" id="{E72B9C0B-F869-48CB-84AA-6132E62EFC1D}"/>
                </a:ext>
              </a:extLst>
            </p:cNvPr>
            <p:cNvGrpSpPr/>
            <p:nvPr/>
          </p:nvGrpSpPr>
          <p:grpSpPr>
            <a:xfrm>
              <a:off x="4591049" y="3227514"/>
              <a:ext cx="2908354" cy="98095"/>
              <a:chOff x="4591049" y="3227514"/>
              <a:chExt cx="2908354" cy="98095"/>
            </a:xfrm>
            <a:solidFill>
              <a:srgbClr val="004A99"/>
            </a:solidFill>
          </p:grpSpPr>
          <p:sp>
            <p:nvSpPr>
              <p:cNvPr id="14" name="Freihandform: Form 13">
                <a:extLst>
                  <a:ext uri="{FF2B5EF4-FFF2-40B4-BE49-F238E27FC236}">
                    <a16:creationId xmlns:a16="http://schemas.microsoft.com/office/drawing/2014/main" id="{343F8408-BC72-40CC-A7BC-F2E8825533AD}"/>
                  </a:ext>
                </a:extLst>
              </p:cNvPr>
              <p:cNvSpPr/>
              <p:nvPr/>
            </p:nvSpPr>
            <p:spPr>
              <a:xfrm>
                <a:off x="4591049" y="3228867"/>
                <a:ext cx="112302" cy="95389"/>
              </a:xfrm>
              <a:custGeom>
                <a:avLst/>
                <a:gdLst>
                  <a:gd name="connsiteX0" fmla="*/ 81182 w 112302"/>
                  <a:gd name="connsiteY0" fmla="*/ 71711 h 95389"/>
                  <a:gd name="connsiteX1" fmla="*/ 96066 w 112302"/>
                  <a:gd name="connsiteY1" fmla="*/ 0 h 95389"/>
                  <a:gd name="connsiteX2" fmla="*/ 112302 w 112302"/>
                  <a:gd name="connsiteY2" fmla="*/ 0 h 95389"/>
                  <a:gd name="connsiteX3" fmla="*/ 89977 w 112302"/>
                  <a:gd name="connsiteY3" fmla="*/ 95389 h 95389"/>
                  <a:gd name="connsiteX4" fmla="*/ 74417 w 112302"/>
                  <a:gd name="connsiteY4" fmla="*/ 95389 h 95389"/>
                  <a:gd name="connsiteX5" fmla="*/ 56151 w 112302"/>
                  <a:gd name="connsiteY5" fmla="*/ 25708 h 95389"/>
                  <a:gd name="connsiteX6" fmla="*/ 37885 w 112302"/>
                  <a:gd name="connsiteY6" fmla="*/ 95389 h 95389"/>
                  <a:gd name="connsiteX7" fmla="*/ 22325 w 112302"/>
                  <a:gd name="connsiteY7" fmla="*/ 95389 h 95389"/>
                  <a:gd name="connsiteX8" fmla="*/ 0 w 112302"/>
                  <a:gd name="connsiteY8" fmla="*/ 0 h 95389"/>
                  <a:gd name="connsiteX9" fmla="*/ 16236 w 112302"/>
                  <a:gd name="connsiteY9" fmla="*/ 0 h 95389"/>
                  <a:gd name="connsiteX10" fmla="*/ 31120 w 112302"/>
                  <a:gd name="connsiteY10" fmla="*/ 71711 h 95389"/>
                  <a:gd name="connsiteX11" fmla="*/ 49386 w 112302"/>
                  <a:gd name="connsiteY11" fmla="*/ 0 h 95389"/>
                  <a:gd name="connsiteX12" fmla="*/ 63593 w 112302"/>
                  <a:gd name="connsiteY12" fmla="*/ 0 h 95389"/>
                  <a:gd name="connsiteX13" fmla="*/ 81182 w 112302"/>
                  <a:gd name="connsiteY13" fmla="*/ 71711 h 95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2302" h="95389">
                    <a:moveTo>
                      <a:pt x="81182" y="71711"/>
                    </a:moveTo>
                    <a:lnTo>
                      <a:pt x="96066" y="0"/>
                    </a:lnTo>
                    <a:lnTo>
                      <a:pt x="112302" y="0"/>
                    </a:lnTo>
                    <a:lnTo>
                      <a:pt x="89977" y="95389"/>
                    </a:lnTo>
                    <a:lnTo>
                      <a:pt x="74417" y="95389"/>
                    </a:lnTo>
                    <a:lnTo>
                      <a:pt x="56151" y="25708"/>
                    </a:lnTo>
                    <a:lnTo>
                      <a:pt x="37885" y="95389"/>
                    </a:lnTo>
                    <a:lnTo>
                      <a:pt x="22325" y="95389"/>
                    </a:lnTo>
                    <a:lnTo>
                      <a:pt x="0" y="0"/>
                    </a:lnTo>
                    <a:lnTo>
                      <a:pt x="16236" y="0"/>
                    </a:lnTo>
                    <a:lnTo>
                      <a:pt x="31120" y="71711"/>
                    </a:lnTo>
                    <a:lnTo>
                      <a:pt x="49386" y="0"/>
                    </a:lnTo>
                    <a:lnTo>
                      <a:pt x="63593" y="0"/>
                    </a:lnTo>
                    <a:lnTo>
                      <a:pt x="81182" y="71711"/>
                    </a:lnTo>
                    <a:close/>
                  </a:path>
                </a:pathLst>
              </a:custGeom>
              <a:solidFill>
                <a:srgbClr val="004A99"/>
              </a:solidFill>
              <a:ln w="6756" cap="flat">
                <a:noFill/>
                <a:prstDash val="solid"/>
                <a:miter/>
              </a:ln>
            </p:spPr>
            <p:txBody>
              <a:bodyPr rtlCol="0" anchor="ctr"/>
              <a:lstStyle/>
              <a:p>
                <a:pPr rtl="0"/>
                <a:endParaRPr lang="en-US"/>
              </a:p>
            </p:txBody>
          </p:sp>
          <p:sp>
            <p:nvSpPr>
              <p:cNvPr id="15" name="Freihandform: Form 14">
                <a:extLst>
                  <a:ext uri="{FF2B5EF4-FFF2-40B4-BE49-F238E27FC236}">
                    <a16:creationId xmlns:a16="http://schemas.microsoft.com/office/drawing/2014/main" id="{7A388A9B-D78F-4A1B-8E62-90E301794707}"/>
                  </a:ext>
                </a:extLst>
              </p:cNvPr>
              <p:cNvSpPr/>
              <p:nvPr/>
            </p:nvSpPr>
            <p:spPr>
              <a:xfrm>
                <a:off x="4793328" y="3228191"/>
                <a:ext cx="79829" cy="97418"/>
              </a:xfrm>
              <a:custGeom>
                <a:avLst/>
                <a:gdLst>
                  <a:gd name="connsiteX0" fmla="*/ 79153 w 79829"/>
                  <a:gd name="connsiteY0" fmla="*/ 51415 h 97418"/>
                  <a:gd name="connsiteX1" fmla="*/ 74417 w 79829"/>
                  <a:gd name="connsiteY1" fmla="*/ 75770 h 97418"/>
                  <a:gd name="connsiteX2" fmla="*/ 60887 w 79829"/>
                  <a:gd name="connsiteY2" fmla="*/ 92007 h 97418"/>
                  <a:gd name="connsiteX3" fmla="*/ 39915 w 79829"/>
                  <a:gd name="connsiteY3" fmla="*/ 97419 h 97418"/>
                  <a:gd name="connsiteX4" fmla="*/ 18943 w 79829"/>
                  <a:gd name="connsiteY4" fmla="*/ 92007 h 97418"/>
                  <a:gd name="connsiteX5" fmla="*/ 4736 w 79829"/>
                  <a:gd name="connsiteY5" fmla="*/ 75770 h 97418"/>
                  <a:gd name="connsiteX6" fmla="*/ 0 w 79829"/>
                  <a:gd name="connsiteY6" fmla="*/ 51415 h 97418"/>
                  <a:gd name="connsiteX7" fmla="*/ 0 w 79829"/>
                  <a:gd name="connsiteY7" fmla="*/ 46003 h 97418"/>
                  <a:gd name="connsiteX8" fmla="*/ 4736 w 79829"/>
                  <a:gd name="connsiteY8" fmla="*/ 21649 h 97418"/>
                  <a:gd name="connsiteX9" fmla="*/ 18943 w 79829"/>
                  <a:gd name="connsiteY9" fmla="*/ 5412 h 97418"/>
                  <a:gd name="connsiteX10" fmla="*/ 39915 w 79829"/>
                  <a:gd name="connsiteY10" fmla="*/ 0 h 97418"/>
                  <a:gd name="connsiteX11" fmla="*/ 60887 w 79829"/>
                  <a:gd name="connsiteY11" fmla="*/ 5412 h 97418"/>
                  <a:gd name="connsiteX12" fmla="*/ 75094 w 79829"/>
                  <a:gd name="connsiteY12" fmla="*/ 21649 h 97418"/>
                  <a:gd name="connsiteX13" fmla="*/ 79829 w 79829"/>
                  <a:gd name="connsiteY13" fmla="*/ 46003 h 97418"/>
                  <a:gd name="connsiteX14" fmla="*/ 79829 w 79829"/>
                  <a:gd name="connsiteY14" fmla="*/ 51415 h 97418"/>
                  <a:gd name="connsiteX15" fmla="*/ 62240 w 79829"/>
                  <a:gd name="connsiteY15" fmla="*/ 46003 h 97418"/>
                  <a:gd name="connsiteX16" fmla="*/ 56151 w 79829"/>
                  <a:gd name="connsiteY16" fmla="*/ 21649 h 97418"/>
                  <a:gd name="connsiteX17" fmla="*/ 39238 w 79829"/>
                  <a:gd name="connsiteY17" fmla="*/ 13530 h 97418"/>
                  <a:gd name="connsiteX18" fmla="*/ 22325 w 79829"/>
                  <a:gd name="connsiteY18" fmla="*/ 21649 h 97418"/>
                  <a:gd name="connsiteX19" fmla="*/ 16236 w 79829"/>
                  <a:gd name="connsiteY19" fmla="*/ 45327 h 97418"/>
                  <a:gd name="connsiteX20" fmla="*/ 16236 w 79829"/>
                  <a:gd name="connsiteY20" fmla="*/ 50739 h 97418"/>
                  <a:gd name="connsiteX21" fmla="*/ 22325 w 79829"/>
                  <a:gd name="connsiteY21" fmla="*/ 75094 h 97418"/>
                  <a:gd name="connsiteX22" fmla="*/ 39238 w 79829"/>
                  <a:gd name="connsiteY22" fmla="*/ 83888 h 97418"/>
                  <a:gd name="connsiteX23" fmla="*/ 56151 w 79829"/>
                  <a:gd name="connsiteY23" fmla="*/ 75770 h 97418"/>
                  <a:gd name="connsiteX24" fmla="*/ 62240 w 79829"/>
                  <a:gd name="connsiteY24" fmla="*/ 51415 h 97418"/>
                  <a:gd name="connsiteX25" fmla="*/ 62240 w 79829"/>
                  <a:gd name="connsiteY25" fmla="*/ 46003 h 97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79829" h="97418">
                    <a:moveTo>
                      <a:pt x="79153" y="51415"/>
                    </a:moveTo>
                    <a:cubicBezTo>
                      <a:pt x="79153" y="60887"/>
                      <a:pt x="77800" y="69005"/>
                      <a:pt x="74417" y="75770"/>
                    </a:cubicBezTo>
                    <a:cubicBezTo>
                      <a:pt x="71035" y="82535"/>
                      <a:pt x="66299" y="87947"/>
                      <a:pt x="60887" y="92007"/>
                    </a:cubicBezTo>
                    <a:cubicBezTo>
                      <a:pt x="54798" y="96066"/>
                      <a:pt x="48033" y="97419"/>
                      <a:pt x="39915" y="97419"/>
                    </a:cubicBezTo>
                    <a:cubicBezTo>
                      <a:pt x="32473" y="97419"/>
                      <a:pt x="25031" y="95389"/>
                      <a:pt x="18943" y="92007"/>
                    </a:cubicBezTo>
                    <a:cubicBezTo>
                      <a:pt x="12854" y="87947"/>
                      <a:pt x="8118" y="82535"/>
                      <a:pt x="4736" y="75770"/>
                    </a:cubicBezTo>
                    <a:cubicBezTo>
                      <a:pt x="1353" y="69005"/>
                      <a:pt x="0" y="60887"/>
                      <a:pt x="0" y="51415"/>
                    </a:cubicBezTo>
                    <a:lnTo>
                      <a:pt x="0" y="46003"/>
                    </a:lnTo>
                    <a:cubicBezTo>
                      <a:pt x="0" y="36532"/>
                      <a:pt x="1353" y="28414"/>
                      <a:pt x="4736" y="21649"/>
                    </a:cubicBezTo>
                    <a:cubicBezTo>
                      <a:pt x="8118" y="14207"/>
                      <a:pt x="12854" y="8795"/>
                      <a:pt x="18943" y="5412"/>
                    </a:cubicBezTo>
                    <a:cubicBezTo>
                      <a:pt x="25031" y="1353"/>
                      <a:pt x="31796" y="0"/>
                      <a:pt x="39915" y="0"/>
                    </a:cubicBezTo>
                    <a:cubicBezTo>
                      <a:pt x="47356" y="0"/>
                      <a:pt x="54798" y="2030"/>
                      <a:pt x="60887" y="5412"/>
                    </a:cubicBezTo>
                    <a:cubicBezTo>
                      <a:pt x="66975" y="9471"/>
                      <a:pt x="71711" y="14207"/>
                      <a:pt x="75094" y="21649"/>
                    </a:cubicBezTo>
                    <a:cubicBezTo>
                      <a:pt x="78476" y="28414"/>
                      <a:pt x="79829" y="36532"/>
                      <a:pt x="79829" y="46003"/>
                    </a:cubicBezTo>
                    <a:lnTo>
                      <a:pt x="79829" y="51415"/>
                    </a:lnTo>
                    <a:close/>
                    <a:moveTo>
                      <a:pt x="62240" y="46003"/>
                    </a:moveTo>
                    <a:cubicBezTo>
                      <a:pt x="62240" y="35179"/>
                      <a:pt x="60210" y="27061"/>
                      <a:pt x="56151" y="21649"/>
                    </a:cubicBezTo>
                    <a:cubicBezTo>
                      <a:pt x="52092" y="16236"/>
                      <a:pt x="46680" y="13530"/>
                      <a:pt x="39238" y="13530"/>
                    </a:cubicBezTo>
                    <a:cubicBezTo>
                      <a:pt x="31796" y="13530"/>
                      <a:pt x="26384" y="16236"/>
                      <a:pt x="22325" y="21649"/>
                    </a:cubicBezTo>
                    <a:cubicBezTo>
                      <a:pt x="18266" y="27061"/>
                      <a:pt x="16236" y="35179"/>
                      <a:pt x="16236" y="45327"/>
                    </a:cubicBezTo>
                    <a:lnTo>
                      <a:pt x="16236" y="50739"/>
                    </a:lnTo>
                    <a:cubicBezTo>
                      <a:pt x="16236" y="61563"/>
                      <a:pt x="18266" y="69005"/>
                      <a:pt x="22325" y="75094"/>
                    </a:cubicBezTo>
                    <a:cubicBezTo>
                      <a:pt x="26384" y="80506"/>
                      <a:pt x="31796" y="83888"/>
                      <a:pt x="39238" y="83888"/>
                    </a:cubicBezTo>
                    <a:cubicBezTo>
                      <a:pt x="46680" y="83888"/>
                      <a:pt x="52092" y="81182"/>
                      <a:pt x="56151" y="75770"/>
                    </a:cubicBezTo>
                    <a:cubicBezTo>
                      <a:pt x="60210" y="70358"/>
                      <a:pt x="62240" y="62240"/>
                      <a:pt x="62240" y="51415"/>
                    </a:cubicBezTo>
                    <a:lnTo>
                      <a:pt x="62240" y="46003"/>
                    </a:lnTo>
                    <a:close/>
                  </a:path>
                </a:pathLst>
              </a:custGeom>
              <a:solidFill>
                <a:srgbClr val="004A99"/>
              </a:solidFill>
              <a:ln w="6756" cap="flat">
                <a:noFill/>
                <a:prstDash val="solid"/>
                <a:miter/>
              </a:ln>
            </p:spPr>
            <p:txBody>
              <a:bodyPr rtlCol="0" anchor="ctr"/>
              <a:lstStyle/>
              <a:p>
                <a:pPr rtl="0"/>
                <a:endParaRPr lang="en-US"/>
              </a:p>
            </p:txBody>
          </p:sp>
          <p:sp>
            <p:nvSpPr>
              <p:cNvPr id="16" name="Freihandform: Form 15">
                <a:extLst>
                  <a:ext uri="{FF2B5EF4-FFF2-40B4-BE49-F238E27FC236}">
                    <a16:creationId xmlns:a16="http://schemas.microsoft.com/office/drawing/2014/main" id="{509569AE-9E67-46F9-883D-90CB7FD78A9A}"/>
                  </a:ext>
                </a:extLst>
              </p:cNvPr>
              <p:cNvSpPr/>
              <p:nvPr/>
            </p:nvSpPr>
            <p:spPr>
              <a:xfrm>
                <a:off x="4969223" y="3228867"/>
                <a:ext cx="72387" cy="96065"/>
              </a:xfrm>
              <a:custGeom>
                <a:avLst/>
                <a:gdLst>
                  <a:gd name="connsiteX0" fmla="*/ 35179 w 72387"/>
                  <a:gd name="connsiteY0" fmla="*/ 58857 h 96065"/>
                  <a:gd name="connsiteX1" fmla="*/ 16913 w 72387"/>
                  <a:gd name="connsiteY1" fmla="*/ 58857 h 96065"/>
                  <a:gd name="connsiteX2" fmla="*/ 16913 w 72387"/>
                  <a:gd name="connsiteY2" fmla="*/ 95389 h 96065"/>
                  <a:gd name="connsiteX3" fmla="*/ 0 w 72387"/>
                  <a:gd name="connsiteY3" fmla="*/ 95389 h 96065"/>
                  <a:gd name="connsiteX4" fmla="*/ 0 w 72387"/>
                  <a:gd name="connsiteY4" fmla="*/ 0 h 96065"/>
                  <a:gd name="connsiteX5" fmla="*/ 33826 w 72387"/>
                  <a:gd name="connsiteY5" fmla="*/ 0 h 96065"/>
                  <a:gd name="connsiteX6" fmla="*/ 59534 w 72387"/>
                  <a:gd name="connsiteY6" fmla="*/ 7442 h 96065"/>
                  <a:gd name="connsiteX7" fmla="*/ 68328 w 72387"/>
                  <a:gd name="connsiteY7" fmla="*/ 29090 h 96065"/>
                  <a:gd name="connsiteX8" fmla="*/ 63593 w 72387"/>
                  <a:gd name="connsiteY8" fmla="*/ 45327 h 96065"/>
                  <a:gd name="connsiteX9" fmla="*/ 50739 w 72387"/>
                  <a:gd name="connsiteY9" fmla="*/ 55475 h 96065"/>
                  <a:gd name="connsiteX10" fmla="*/ 72388 w 72387"/>
                  <a:gd name="connsiteY10" fmla="*/ 95389 h 96065"/>
                  <a:gd name="connsiteX11" fmla="*/ 72388 w 72387"/>
                  <a:gd name="connsiteY11" fmla="*/ 96066 h 96065"/>
                  <a:gd name="connsiteX12" fmla="*/ 54798 w 72387"/>
                  <a:gd name="connsiteY12" fmla="*/ 96066 h 96065"/>
                  <a:gd name="connsiteX13" fmla="*/ 35179 w 72387"/>
                  <a:gd name="connsiteY13" fmla="*/ 58857 h 96065"/>
                  <a:gd name="connsiteX14" fmla="*/ 16913 w 72387"/>
                  <a:gd name="connsiteY14" fmla="*/ 45327 h 96065"/>
                  <a:gd name="connsiteX15" fmla="*/ 33826 w 72387"/>
                  <a:gd name="connsiteY15" fmla="*/ 45327 h 96065"/>
                  <a:gd name="connsiteX16" fmla="*/ 46680 w 72387"/>
                  <a:gd name="connsiteY16" fmla="*/ 41268 h 96065"/>
                  <a:gd name="connsiteX17" fmla="*/ 51415 w 72387"/>
                  <a:gd name="connsiteY17" fmla="*/ 29767 h 96065"/>
                  <a:gd name="connsiteX18" fmla="*/ 47356 w 72387"/>
                  <a:gd name="connsiteY18" fmla="*/ 17589 h 96065"/>
                  <a:gd name="connsiteX19" fmla="*/ 34502 w 72387"/>
                  <a:gd name="connsiteY19" fmla="*/ 13530 h 96065"/>
                  <a:gd name="connsiteX20" fmla="*/ 16913 w 72387"/>
                  <a:gd name="connsiteY20" fmla="*/ 13530 h 96065"/>
                  <a:gd name="connsiteX21" fmla="*/ 16913 w 72387"/>
                  <a:gd name="connsiteY21" fmla="*/ 45327 h 96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2387" h="96065">
                    <a:moveTo>
                      <a:pt x="35179" y="58857"/>
                    </a:moveTo>
                    <a:lnTo>
                      <a:pt x="16913" y="58857"/>
                    </a:lnTo>
                    <a:lnTo>
                      <a:pt x="16913" y="95389"/>
                    </a:lnTo>
                    <a:lnTo>
                      <a:pt x="0" y="95389"/>
                    </a:lnTo>
                    <a:lnTo>
                      <a:pt x="0" y="0"/>
                    </a:lnTo>
                    <a:lnTo>
                      <a:pt x="33826" y="0"/>
                    </a:lnTo>
                    <a:cubicBezTo>
                      <a:pt x="44650" y="0"/>
                      <a:pt x="53445" y="2706"/>
                      <a:pt x="59534" y="7442"/>
                    </a:cubicBezTo>
                    <a:cubicBezTo>
                      <a:pt x="65622" y="12177"/>
                      <a:pt x="68328" y="19619"/>
                      <a:pt x="68328" y="29090"/>
                    </a:cubicBezTo>
                    <a:cubicBezTo>
                      <a:pt x="68328" y="35179"/>
                      <a:pt x="66975" y="40591"/>
                      <a:pt x="63593" y="45327"/>
                    </a:cubicBezTo>
                    <a:cubicBezTo>
                      <a:pt x="60210" y="49386"/>
                      <a:pt x="56151" y="52768"/>
                      <a:pt x="50739" y="55475"/>
                    </a:cubicBezTo>
                    <a:lnTo>
                      <a:pt x="72388" y="95389"/>
                    </a:lnTo>
                    <a:lnTo>
                      <a:pt x="72388" y="96066"/>
                    </a:lnTo>
                    <a:lnTo>
                      <a:pt x="54798" y="96066"/>
                    </a:lnTo>
                    <a:lnTo>
                      <a:pt x="35179" y="58857"/>
                    </a:lnTo>
                    <a:close/>
                    <a:moveTo>
                      <a:pt x="16913" y="45327"/>
                    </a:moveTo>
                    <a:lnTo>
                      <a:pt x="33826" y="45327"/>
                    </a:lnTo>
                    <a:cubicBezTo>
                      <a:pt x="39238" y="45327"/>
                      <a:pt x="43974" y="43974"/>
                      <a:pt x="46680" y="41268"/>
                    </a:cubicBezTo>
                    <a:cubicBezTo>
                      <a:pt x="50062" y="38562"/>
                      <a:pt x="51415" y="34502"/>
                      <a:pt x="51415" y="29767"/>
                    </a:cubicBezTo>
                    <a:cubicBezTo>
                      <a:pt x="51415" y="24355"/>
                      <a:pt x="50062" y="20972"/>
                      <a:pt x="47356" y="17589"/>
                    </a:cubicBezTo>
                    <a:cubicBezTo>
                      <a:pt x="44650" y="14207"/>
                      <a:pt x="39915" y="13530"/>
                      <a:pt x="34502" y="13530"/>
                    </a:cubicBezTo>
                    <a:lnTo>
                      <a:pt x="16913" y="13530"/>
                    </a:lnTo>
                    <a:lnTo>
                      <a:pt x="16913" y="45327"/>
                    </a:lnTo>
                    <a:close/>
                  </a:path>
                </a:pathLst>
              </a:custGeom>
              <a:solidFill>
                <a:srgbClr val="004A99"/>
              </a:solidFill>
              <a:ln w="6756" cap="flat">
                <a:noFill/>
                <a:prstDash val="solid"/>
                <a:miter/>
              </a:ln>
            </p:spPr>
            <p:txBody>
              <a:bodyPr rtlCol="0" anchor="ctr"/>
              <a:lstStyle/>
              <a:p>
                <a:pPr rtl="0"/>
                <a:endParaRPr lang="en-US"/>
              </a:p>
            </p:txBody>
          </p:sp>
          <p:sp>
            <p:nvSpPr>
              <p:cNvPr id="17" name="Freihandform: Form 16">
                <a:extLst>
                  <a:ext uri="{FF2B5EF4-FFF2-40B4-BE49-F238E27FC236}">
                    <a16:creationId xmlns:a16="http://schemas.microsoft.com/office/drawing/2014/main" id="{44E13A90-B692-434D-980B-6C31734AFFDB}"/>
                  </a:ext>
                </a:extLst>
              </p:cNvPr>
              <p:cNvSpPr/>
              <p:nvPr/>
            </p:nvSpPr>
            <p:spPr>
              <a:xfrm>
                <a:off x="5133617" y="3229544"/>
                <a:ext cx="60210" cy="95389"/>
              </a:xfrm>
              <a:custGeom>
                <a:avLst/>
                <a:gdLst>
                  <a:gd name="connsiteX0" fmla="*/ 16913 w 60210"/>
                  <a:gd name="connsiteY0" fmla="*/ 81859 h 95389"/>
                  <a:gd name="connsiteX1" fmla="*/ 60210 w 60210"/>
                  <a:gd name="connsiteY1" fmla="*/ 81859 h 95389"/>
                  <a:gd name="connsiteX2" fmla="*/ 60210 w 60210"/>
                  <a:gd name="connsiteY2" fmla="*/ 95389 h 95389"/>
                  <a:gd name="connsiteX3" fmla="*/ 0 w 60210"/>
                  <a:gd name="connsiteY3" fmla="*/ 95389 h 95389"/>
                  <a:gd name="connsiteX4" fmla="*/ 0 w 60210"/>
                  <a:gd name="connsiteY4" fmla="*/ 0 h 95389"/>
                  <a:gd name="connsiteX5" fmla="*/ 16913 w 60210"/>
                  <a:gd name="connsiteY5" fmla="*/ 0 h 95389"/>
                  <a:gd name="connsiteX6" fmla="*/ 16913 w 60210"/>
                  <a:gd name="connsiteY6" fmla="*/ 81859 h 95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210" h="95389">
                    <a:moveTo>
                      <a:pt x="16913" y="81859"/>
                    </a:moveTo>
                    <a:lnTo>
                      <a:pt x="60210" y="81859"/>
                    </a:lnTo>
                    <a:lnTo>
                      <a:pt x="60210" y="95389"/>
                    </a:lnTo>
                    <a:lnTo>
                      <a:pt x="0" y="95389"/>
                    </a:lnTo>
                    <a:lnTo>
                      <a:pt x="0" y="0"/>
                    </a:lnTo>
                    <a:lnTo>
                      <a:pt x="16913" y="0"/>
                    </a:lnTo>
                    <a:lnTo>
                      <a:pt x="16913" y="81859"/>
                    </a:lnTo>
                    <a:close/>
                  </a:path>
                </a:pathLst>
              </a:custGeom>
              <a:solidFill>
                <a:srgbClr val="004A99"/>
              </a:solidFill>
              <a:ln w="6756" cap="flat">
                <a:noFill/>
                <a:prstDash val="solid"/>
                <a:miter/>
              </a:ln>
            </p:spPr>
            <p:txBody>
              <a:bodyPr rtlCol="0" anchor="ctr"/>
              <a:lstStyle/>
              <a:p>
                <a:pPr rtl="0"/>
                <a:endParaRPr lang="en-US"/>
              </a:p>
            </p:txBody>
          </p:sp>
          <p:sp>
            <p:nvSpPr>
              <p:cNvPr id="18" name="Freihandform: Form 17">
                <a:extLst>
                  <a:ext uri="{FF2B5EF4-FFF2-40B4-BE49-F238E27FC236}">
                    <a16:creationId xmlns:a16="http://schemas.microsoft.com/office/drawing/2014/main" id="{6E57E184-3ED3-4E2B-809C-62EEA18CB7A6}"/>
                  </a:ext>
                </a:extLst>
              </p:cNvPr>
              <p:cNvSpPr/>
              <p:nvPr/>
            </p:nvSpPr>
            <p:spPr>
              <a:xfrm>
                <a:off x="5287187" y="3228867"/>
                <a:ext cx="71034" cy="95389"/>
              </a:xfrm>
              <a:custGeom>
                <a:avLst/>
                <a:gdLst>
                  <a:gd name="connsiteX0" fmla="*/ 0 w 71034"/>
                  <a:gd name="connsiteY0" fmla="*/ 95389 h 95389"/>
                  <a:gd name="connsiteX1" fmla="*/ 0 w 71034"/>
                  <a:gd name="connsiteY1" fmla="*/ 0 h 95389"/>
                  <a:gd name="connsiteX2" fmla="*/ 28414 w 71034"/>
                  <a:gd name="connsiteY2" fmla="*/ 0 h 95389"/>
                  <a:gd name="connsiteX3" fmla="*/ 50739 w 71034"/>
                  <a:gd name="connsiteY3" fmla="*/ 5412 h 95389"/>
                  <a:gd name="connsiteX4" fmla="*/ 65622 w 71034"/>
                  <a:gd name="connsiteY4" fmla="*/ 21649 h 95389"/>
                  <a:gd name="connsiteX5" fmla="*/ 71034 w 71034"/>
                  <a:gd name="connsiteY5" fmla="*/ 45327 h 95389"/>
                  <a:gd name="connsiteX6" fmla="*/ 71034 w 71034"/>
                  <a:gd name="connsiteY6" fmla="*/ 50062 h 95389"/>
                  <a:gd name="connsiteX7" fmla="*/ 65622 w 71034"/>
                  <a:gd name="connsiteY7" fmla="*/ 73741 h 95389"/>
                  <a:gd name="connsiteX8" fmla="*/ 50062 w 71034"/>
                  <a:gd name="connsiteY8" fmla="*/ 89301 h 95389"/>
                  <a:gd name="connsiteX9" fmla="*/ 27061 w 71034"/>
                  <a:gd name="connsiteY9" fmla="*/ 94713 h 95389"/>
                  <a:gd name="connsiteX10" fmla="*/ 0 w 71034"/>
                  <a:gd name="connsiteY10" fmla="*/ 94713 h 95389"/>
                  <a:gd name="connsiteX11" fmla="*/ 16236 w 71034"/>
                  <a:gd name="connsiteY11" fmla="*/ 13530 h 95389"/>
                  <a:gd name="connsiteX12" fmla="*/ 16236 w 71034"/>
                  <a:gd name="connsiteY12" fmla="*/ 82535 h 95389"/>
                  <a:gd name="connsiteX13" fmla="*/ 27061 w 71034"/>
                  <a:gd name="connsiteY13" fmla="*/ 82535 h 95389"/>
                  <a:gd name="connsiteX14" fmla="*/ 47356 w 71034"/>
                  <a:gd name="connsiteY14" fmla="*/ 74417 h 95389"/>
                  <a:gd name="connsiteX15" fmla="*/ 54798 w 71034"/>
                  <a:gd name="connsiteY15" fmla="*/ 50739 h 95389"/>
                  <a:gd name="connsiteX16" fmla="*/ 54798 w 71034"/>
                  <a:gd name="connsiteY16" fmla="*/ 45327 h 95389"/>
                  <a:gd name="connsiteX17" fmla="*/ 48033 w 71034"/>
                  <a:gd name="connsiteY17" fmla="*/ 21649 h 95389"/>
                  <a:gd name="connsiteX18" fmla="*/ 28414 w 71034"/>
                  <a:gd name="connsiteY18" fmla="*/ 13530 h 95389"/>
                  <a:gd name="connsiteX19" fmla="*/ 16236 w 71034"/>
                  <a:gd name="connsiteY19" fmla="*/ 13530 h 95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1034" h="95389">
                    <a:moveTo>
                      <a:pt x="0" y="95389"/>
                    </a:moveTo>
                    <a:lnTo>
                      <a:pt x="0" y="0"/>
                    </a:lnTo>
                    <a:lnTo>
                      <a:pt x="28414" y="0"/>
                    </a:lnTo>
                    <a:cubicBezTo>
                      <a:pt x="36532" y="0"/>
                      <a:pt x="44650" y="2030"/>
                      <a:pt x="50739" y="5412"/>
                    </a:cubicBezTo>
                    <a:cubicBezTo>
                      <a:pt x="57504" y="9471"/>
                      <a:pt x="62240" y="14207"/>
                      <a:pt x="65622" y="21649"/>
                    </a:cubicBezTo>
                    <a:cubicBezTo>
                      <a:pt x="69005" y="28414"/>
                      <a:pt x="71034" y="36532"/>
                      <a:pt x="71034" y="45327"/>
                    </a:cubicBezTo>
                    <a:lnTo>
                      <a:pt x="71034" y="50062"/>
                    </a:lnTo>
                    <a:cubicBezTo>
                      <a:pt x="71034" y="58857"/>
                      <a:pt x="69005" y="66975"/>
                      <a:pt x="65622" y="73741"/>
                    </a:cubicBezTo>
                    <a:cubicBezTo>
                      <a:pt x="62240" y="80506"/>
                      <a:pt x="56828" y="85918"/>
                      <a:pt x="50062" y="89301"/>
                    </a:cubicBezTo>
                    <a:cubicBezTo>
                      <a:pt x="43297" y="92683"/>
                      <a:pt x="35855" y="94713"/>
                      <a:pt x="27061" y="94713"/>
                    </a:cubicBezTo>
                    <a:lnTo>
                      <a:pt x="0" y="94713"/>
                    </a:lnTo>
                    <a:close/>
                    <a:moveTo>
                      <a:pt x="16236" y="13530"/>
                    </a:moveTo>
                    <a:lnTo>
                      <a:pt x="16236" y="82535"/>
                    </a:lnTo>
                    <a:lnTo>
                      <a:pt x="27061" y="82535"/>
                    </a:lnTo>
                    <a:cubicBezTo>
                      <a:pt x="35855" y="82535"/>
                      <a:pt x="42621" y="79829"/>
                      <a:pt x="47356" y="74417"/>
                    </a:cubicBezTo>
                    <a:cubicBezTo>
                      <a:pt x="52092" y="69005"/>
                      <a:pt x="54122" y="60887"/>
                      <a:pt x="54798" y="50739"/>
                    </a:cubicBezTo>
                    <a:lnTo>
                      <a:pt x="54798" y="45327"/>
                    </a:lnTo>
                    <a:cubicBezTo>
                      <a:pt x="54798" y="35179"/>
                      <a:pt x="52768" y="27061"/>
                      <a:pt x="48033" y="21649"/>
                    </a:cubicBezTo>
                    <a:cubicBezTo>
                      <a:pt x="43297" y="16236"/>
                      <a:pt x="37209" y="13530"/>
                      <a:pt x="28414" y="13530"/>
                    </a:cubicBezTo>
                    <a:lnTo>
                      <a:pt x="16236" y="13530"/>
                    </a:lnTo>
                    <a:close/>
                  </a:path>
                </a:pathLst>
              </a:custGeom>
              <a:solidFill>
                <a:srgbClr val="004A99"/>
              </a:solidFill>
              <a:ln w="6756" cap="flat">
                <a:noFill/>
                <a:prstDash val="solid"/>
                <a:miter/>
              </a:ln>
            </p:spPr>
            <p:txBody>
              <a:bodyPr rtlCol="0" anchor="ctr"/>
              <a:lstStyle/>
              <a:p>
                <a:pPr rtl="0"/>
                <a:endParaRPr lang="en-US"/>
              </a:p>
            </p:txBody>
          </p:sp>
          <p:sp>
            <p:nvSpPr>
              <p:cNvPr id="19" name="Freihandform: Form 18">
                <a:extLst>
                  <a:ext uri="{FF2B5EF4-FFF2-40B4-BE49-F238E27FC236}">
                    <a16:creationId xmlns:a16="http://schemas.microsoft.com/office/drawing/2014/main" id="{37F12070-7049-454F-B3DF-8F630B280409}"/>
                  </a:ext>
                </a:extLst>
              </p:cNvPr>
              <p:cNvSpPr/>
              <p:nvPr/>
            </p:nvSpPr>
            <p:spPr>
              <a:xfrm>
                <a:off x="5448198" y="3228867"/>
                <a:ext cx="112978" cy="95389"/>
              </a:xfrm>
              <a:custGeom>
                <a:avLst/>
                <a:gdLst>
                  <a:gd name="connsiteX0" fmla="*/ 81859 w 112978"/>
                  <a:gd name="connsiteY0" fmla="*/ 71711 h 95389"/>
                  <a:gd name="connsiteX1" fmla="*/ 96742 w 112978"/>
                  <a:gd name="connsiteY1" fmla="*/ 0 h 95389"/>
                  <a:gd name="connsiteX2" fmla="*/ 112979 w 112978"/>
                  <a:gd name="connsiteY2" fmla="*/ 0 h 95389"/>
                  <a:gd name="connsiteX3" fmla="*/ 90654 w 112978"/>
                  <a:gd name="connsiteY3" fmla="*/ 95389 h 95389"/>
                  <a:gd name="connsiteX4" fmla="*/ 75094 w 112978"/>
                  <a:gd name="connsiteY4" fmla="*/ 95389 h 95389"/>
                  <a:gd name="connsiteX5" fmla="*/ 56828 w 112978"/>
                  <a:gd name="connsiteY5" fmla="*/ 25708 h 95389"/>
                  <a:gd name="connsiteX6" fmla="*/ 38562 w 112978"/>
                  <a:gd name="connsiteY6" fmla="*/ 95389 h 95389"/>
                  <a:gd name="connsiteX7" fmla="*/ 22325 w 112978"/>
                  <a:gd name="connsiteY7" fmla="*/ 95389 h 95389"/>
                  <a:gd name="connsiteX8" fmla="*/ 0 w 112978"/>
                  <a:gd name="connsiteY8" fmla="*/ 0 h 95389"/>
                  <a:gd name="connsiteX9" fmla="*/ 16237 w 112978"/>
                  <a:gd name="connsiteY9" fmla="*/ 0 h 95389"/>
                  <a:gd name="connsiteX10" fmla="*/ 31120 w 112978"/>
                  <a:gd name="connsiteY10" fmla="*/ 71711 h 95389"/>
                  <a:gd name="connsiteX11" fmla="*/ 49386 w 112978"/>
                  <a:gd name="connsiteY11" fmla="*/ 0 h 95389"/>
                  <a:gd name="connsiteX12" fmla="*/ 63593 w 112978"/>
                  <a:gd name="connsiteY12" fmla="*/ 0 h 95389"/>
                  <a:gd name="connsiteX13" fmla="*/ 81859 w 112978"/>
                  <a:gd name="connsiteY13" fmla="*/ 71711 h 95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2977" h="95389">
                    <a:moveTo>
                      <a:pt x="81859" y="71711"/>
                    </a:moveTo>
                    <a:lnTo>
                      <a:pt x="96742" y="0"/>
                    </a:lnTo>
                    <a:lnTo>
                      <a:pt x="112979" y="0"/>
                    </a:lnTo>
                    <a:lnTo>
                      <a:pt x="90654" y="95389"/>
                    </a:lnTo>
                    <a:lnTo>
                      <a:pt x="75094" y="95389"/>
                    </a:lnTo>
                    <a:lnTo>
                      <a:pt x="56828" y="25708"/>
                    </a:lnTo>
                    <a:lnTo>
                      <a:pt x="38562" y="95389"/>
                    </a:lnTo>
                    <a:lnTo>
                      <a:pt x="22325" y="95389"/>
                    </a:lnTo>
                    <a:lnTo>
                      <a:pt x="0" y="0"/>
                    </a:lnTo>
                    <a:lnTo>
                      <a:pt x="16237" y="0"/>
                    </a:lnTo>
                    <a:lnTo>
                      <a:pt x="31120" y="71711"/>
                    </a:lnTo>
                    <a:lnTo>
                      <a:pt x="49386" y="0"/>
                    </a:lnTo>
                    <a:lnTo>
                      <a:pt x="63593" y="0"/>
                    </a:lnTo>
                    <a:lnTo>
                      <a:pt x="81859" y="71711"/>
                    </a:lnTo>
                    <a:close/>
                  </a:path>
                </a:pathLst>
              </a:custGeom>
              <a:solidFill>
                <a:srgbClr val="004A99"/>
              </a:solidFill>
              <a:ln w="6756" cap="flat">
                <a:noFill/>
                <a:prstDash val="solid"/>
                <a:miter/>
              </a:ln>
            </p:spPr>
            <p:txBody>
              <a:bodyPr rtlCol="0" anchor="ctr"/>
              <a:lstStyle/>
              <a:p>
                <a:pPr rtl="0"/>
                <a:endParaRPr lang="en-US"/>
              </a:p>
            </p:txBody>
          </p:sp>
          <p:sp>
            <p:nvSpPr>
              <p:cNvPr id="20" name="Freihandform: Form 19">
                <a:extLst>
                  <a:ext uri="{FF2B5EF4-FFF2-40B4-BE49-F238E27FC236}">
                    <a16:creationId xmlns:a16="http://schemas.microsoft.com/office/drawing/2014/main" id="{2338123D-D495-423F-8F95-A09D0183CFAF}"/>
                  </a:ext>
                </a:extLst>
              </p:cNvPr>
              <p:cNvSpPr/>
              <p:nvPr/>
            </p:nvSpPr>
            <p:spPr>
              <a:xfrm>
                <a:off x="5655213" y="3228867"/>
                <a:ext cx="16236" cy="95389"/>
              </a:xfrm>
              <a:custGeom>
                <a:avLst/>
                <a:gdLst>
                  <a:gd name="connsiteX0" fmla="*/ 16236 w 16236"/>
                  <a:gd name="connsiteY0" fmla="*/ 95389 h 95389"/>
                  <a:gd name="connsiteX1" fmla="*/ 0 w 16236"/>
                  <a:gd name="connsiteY1" fmla="*/ 95389 h 95389"/>
                  <a:gd name="connsiteX2" fmla="*/ 0 w 16236"/>
                  <a:gd name="connsiteY2" fmla="*/ 0 h 95389"/>
                  <a:gd name="connsiteX3" fmla="*/ 16236 w 16236"/>
                  <a:gd name="connsiteY3" fmla="*/ 0 h 95389"/>
                  <a:gd name="connsiteX4" fmla="*/ 16236 w 16236"/>
                  <a:gd name="connsiteY4" fmla="*/ 95389 h 953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36" h="95389">
                    <a:moveTo>
                      <a:pt x="16236" y="95389"/>
                    </a:moveTo>
                    <a:lnTo>
                      <a:pt x="0" y="95389"/>
                    </a:lnTo>
                    <a:lnTo>
                      <a:pt x="0" y="0"/>
                    </a:lnTo>
                    <a:lnTo>
                      <a:pt x="16236" y="0"/>
                    </a:lnTo>
                    <a:lnTo>
                      <a:pt x="16236" y="95389"/>
                    </a:lnTo>
                    <a:close/>
                  </a:path>
                </a:pathLst>
              </a:custGeom>
              <a:solidFill>
                <a:srgbClr val="004A99"/>
              </a:solidFill>
              <a:ln w="6756" cap="flat">
                <a:noFill/>
                <a:prstDash val="solid"/>
                <a:miter/>
              </a:ln>
            </p:spPr>
            <p:txBody>
              <a:bodyPr rtlCol="0" anchor="ctr"/>
              <a:lstStyle/>
              <a:p>
                <a:pPr rtl="0"/>
                <a:endParaRPr lang="en-US"/>
              </a:p>
            </p:txBody>
          </p:sp>
          <p:sp>
            <p:nvSpPr>
              <p:cNvPr id="21" name="Freihandform: Form 20">
                <a:extLst>
                  <a:ext uri="{FF2B5EF4-FFF2-40B4-BE49-F238E27FC236}">
                    <a16:creationId xmlns:a16="http://schemas.microsoft.com/office/drawing/2014/main" id="{2D35AB38-CA29-427B-B916-02403D33A6E5}"/>
                  </a:ext>
                </a:extLst>
              </p:cNvPr>
              <p:cNvSpPr/>
              <p:nvPr/>
            </p:nvSpPr>
            <p:spPr>
              <a:xfrm>
                <a:off x="5772251" y="3228867"/>
                <a:ext cx="71034" cy="95389"/>
              </a:xfrm>
              <a:custGeom>
                <a:avLst/>
                <a:gdLst>
                  <a:gd name="connsiteX0" fmla="*/ 0 w 71034"/>
                  <a:gd name="connsiteY0" fmla="*/ 95389 h 95389"/>
                  <a:gd name="connsiteX1" fmla="*/ 0 w 71034"/>
                  <a:gd name="connsiteY1" fmla="*/ 0 h 95389"/>
                  <a:gd name="connsiteX2" fmla="*/ 28414 w 71034"/>
                  <a:gd name="connsiteY2" fmla="*/ 0 h 95389"/>
                  <a:gd name="connsiteX3" fmla="*/ 50739 w 71034"/>
                  <a:gd name="connsiteY3" fmla="*/ 5412 h 95389"/>
                  <a:gd name="connsiteX4" fmla="*/ 65622 w 71034"/>
                  <a:gd name="connsiteY4" fmla="*/ 21649 h 95389"/>
                  <a:gd name="connsiteX5" fmla="*/ 71034 w 71034"/>
                  <a:gd name="connsiteY5" fmla="*/ 45327 h 95389"/>
                  <a:gd name="connsiteX6" fmla="*/ 71034 w 71034"/>
                  <a:gd name="connsiteY6" fmla="*/ 50062 h 95389"/>
                  <a:gd name="connsiteX7" fmla="*/ 65622 w 71034"/>
                  <a:gd name="connsiteY7" fmla="*/ 73741 h 95389"/>
                  <a:gd name="connsiteX8" fmla="*/ 50062 w 71034"/>
                  <a:gd name="connsiteY8" fmla="*/ 89301 h 95389"/>
                  <a:gd name="connsiteX9" fmla="*/ 27061 w 71034"/>
                  <a:gd name="connsiteY9" fmla="*/ 94713 h 95389"/>
                  <a:gd name="connsiteX10" fmla="*/ 0 w 71034"/>
                  <a:gd name="connsiteY10" fmla="*/ 94713 h 95389"/>
                  <a:gd name="connsiteX11" fmla="*/ 16236 w 71034"/>
                  <a:gd name="connsiteY11" fmla="*/ 13530 h 95389"/>
                  <a:gd name="connsiteX12" fmla="*/ 16236 w 71034"/>
                  <a:gd name="connsiteY12" fmla="*/ 82535 h 95389"/>
                  <a:gd name="connsiteX13" fmla="*/ 27061 w 71034"/>
                  <a:gd name="connsiteY13" fmla="*/ 82535 h 95389"/>
                  <a:gd name="connsiteX14" fmla="*/ 47356 w 71034"/>
                  <a:gd name="connsiteY14" fmla="*/ 74417 h 95389"/>
                  <a:gd name="connsiteX15" fmla="*/ 54798 w 71034"/>
                  <a:gd name="connsiteY15" fmla="*/ 50739 h 95389"/>
                  <a:gd name="connsiteX16" fmla="*/ 54798 w 71034"/>
                  <a:gd name="connsiteY16" fmla="*/ 45327 h 95389"/>
                  <a:gd name="connsiteX17" fmla="*/ 48033 w 71034"/>
                  <a:gd name="connsiteY17" fmla="*/ 21649 h 95389"/>
                  <a:gd name="connsiteX18" fmla="*/ 28414 w 71034"/>
                  <a:gd name="connsiteY18" fmla="*/ 13530 h 95389"/>
                  <a:gd name="connsiteX19" fmla="*/ 16236 w 71034"/>
                  <a:gd name="connsiteY19" fmla="*/ 13530 h 95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1034" h="95389">
                    <a:moveTo>
                      <a:pt x="0" y="95389"/>
                    </a:moveTo>
                    <a:lnTo>
                      <a:pt x="0" y="0"/>
                    </a:lnTo>
                    <a:lnTo>
                      <a:pt x="28414" y="0"/>
                    </a:lnTo>
                    <a:cubicBezTo>
                      <a:pt x="36532" y="0"/>
                      <a:pt x="44650" y="2030"/>
                      <a:pt x="50739" y="5412"/>
                    </a:cubicBezTo>
                    <a:cubicBezTo>
                      <a:pt x="57504" y="9471"/>
                      <a:pt x="62240" y="14207"/>
                      <a:pt x="65622" y="21649"/>
                    </a:cubicBezTo>
                    <a:cubicBezTo>
                      <a:pt x="69005" y="28414"/>
                      <a:pt x="71034" y="36532"/>
                      <a:pt x="71034" y="45327"/>
                    </a:cubicBezTo>
                    <a:lnTo>
                      <a:pt x="71034" y="50062"/>
                    </a:lnTo>
                    <a:cubicBezTo>
                      <a:pt x="71034" y="58857"/>
                      <a:pt x="69005" y="66975"/>
                      <a:pt x="65622" y="73741"/>
                    </a:cubicBezTo>
                    <a:cubicBezTo>
                      <a:pt x="62240" y="80506"/>
                      <a:pt x="56828" y="85918"/>
                      <a:pt x="50062" y="89301"/>
                    </a:cubicBezTo>
                    <a:cubicBezTo>
                      <a:pt x="43297" y="92683"/>
                      <a:pt x="35855" y="94713"/>
                      <a:pt x="27061" y="94713"/>
                    </a:cubicBezTo>
                    <a:lnTo>
                      <a:pt x="0" y="94713"/>
                    </a:lnTo>
                    <a:close/>
                    <a:moveTo>
                      <a:pt x="16236" y="13530"/>
                    </a:moveTo>
                    <a:lnTo>
                      <a:pt x="16236" y="82535"/>
                    </a:lnTo>
                    <a:lnTo>
                      <a:pt x="27061" y="82535"/>
                    </a:lnTo>
                    <a:cubicBezTo>
                      <a:pt x="35855" y="82535"/>
                      <a:pt x="42621" y="79829"/>
                      <a:pt x="47356" y="74417"/>
                    </a:cubicBezTo>
                    <a:cubicBezTo>
                      <a:pt x="52092" y="69005"/>
                      <a:pt x="54122" y="60887"/>
                      <a:pt x="54798" y="50739"/>
                    </a:cubicBezTo>
                    <a:lnTo>
                      <a:pt x="54798" y="45327"/>
                    </a:lnTo>
                    <a:cubicBezTo>
                      <a:pt x="54798" y="35179"/>
                      <a:pt x="52768" y="27061"/>
                      <a:pt x="48033" y="21649"/>
                    </a:cubicBezTo>
                    <a:cubicBezTo>
                      <a:pt x="43297" y="16236"/>
                      <a:pt x="37209" y="13530"/>
                      <a:pt x="28414" y="13530"/>
                    </a:cubicBezTo>
                    <a:lnTo>
                      <a:pt x="16236" y="13530"/>
                    </a:lnTo>
                    <a:close/>
                  </a:path>
                </a:pathLst>
              </a:custGeom>
              <a:solidFill>
                <a:srgbClr val="004A99"/>
              </a:solidFill>
              <a:ln w="6756" cap="flat">
                <a:noFill/>
                <a:prstDash val="solid"/>
                <a:miter/>
              </a:ln>
            </p:spPr>
            <p:txBody>
              <a:bodyPr rtlCol="0" anchor="ctr"/>
              <a:lstStyle/>
              <a:p>
                <a:pPr rtl="0"/>
                <a:endParaRPr lang="en-US"/>
              </a:p>
            </p:txBody>
          </p:sp>
          <p:sp>
            <p:nvSpPr>
              <p:cNvPr id="22" name="Freihandform: Form 21">
                <a:extLst>
                  <a:ext uri="{FF2B5EF4-FFF2-40B4-BE49-F238E27FC236}">
                    <a16:creationId xmlns:a16="http://schemas.microsoft.com/office/drawing/2014/main" id="{0B93FAB7-9A61-4F3B-96F3-91C389ED4B16}"/>
                  </a:ext>
                </a:extLst>
              </p:cNvPr>
              <p:cNvSpPr/>
              <p:nvPr/>
            </p:nvSpPr>
            <p:spPr>
              <a:xfrm>
                <a:off x="5940704" y="3228867"/>
                <a:ext cx="62239" cy="95389"/>
              </a:xfrm>
              <a:custGeom>
                <a:avLst/>
                <a:gdLst>
                  <a:gd name="connsiteX0" fmla="*/ 55475 w 62239"/>
                  <a:gd name="connsiteY0" fmla="*/ 52768 h 95389"/>
                  <a:gd name="connsiteX1" fmla="*/ 16236 w 62239"/>
                  <a:gd name="connsiteY1" fmla="*/ 52768 h 95389"/>
                  <a:gd name="connsiteX2" fmla="*/ 16236 w 62239"/>
                  <a:gd name="connsiteY2" fmla="*/ 81859 h 95389"/>
                  <a:gd name="connsiteX3" fmla="*/ 62240 w 62239"/>
                  <a:gd name="connsiteY3" fmla="*/ 81859 h 95389"/>
                  <a:gd name="connsiteX4" fmla="*/ 62240 w 62239"/>
                  <a:gd name="connsiteY4" fmla="*/ 95389 h 95389"/>
                  <a:gd name="connsiteX5" fmla="*/ 0 w 62239"/>
                  <a:gd name="connsiteY5" fmla="*/ 95389 h 95389"/>
                  <a:gd name="connsiteX6" fmla="*/ 0 w 62239"/>
                  <a:gd name="connsiteY6" fmla="*/ 0 h 95389"/>
                  <a:gd name="connsiteX7" fmla="*/ 62240 w 62239"/>
                  <a:gd name="connsiteY7" fmla="*/ 0 h 95389"/>
                  <a:gd name="connsiteX8" fmla="*/ 62240 w 62239"/>
                  <a:gd name="connsiteY8" fmla="*/ 13530 h 95389"/>
                  <a:gd name="connsiteX9" fmla="*/ 16913 w 62239"/>
                  <a:gd name="connsiteY9" fmla="*/ 13530 h 95389"/>
                  <a:gd name="connsiteX10" fmla="*/ 16913 w 62239"/>
                  <a:gd name="connsiteY10" fmla="*/ 39915 h 95389"/>
                  <a:gd name="connsiteX11" fmla="*/ 56151 w 62239"/>
                  <a:gd name="connsiteY11" fmla="*/ 39915 h 95389"/>
                  <a:gd name="connsiteX12" fmla="*/ 56151 w 62239"/>
                  <a:gd name="connsiteY12" fmla="*/ 52768 h 95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2237" h="95389">
                    <a:moveTo>
                      <a:pt x="55475" y="52768"/>
                    </a:moveTo>
                    <a:lnTo>
                      <a:pt x="16236" y="52768"/>
                    </a:lnTo>
                    <a:lnTo>
                      <a:pt x="16236" y="81859"/>
                    </a:lnTo>
                    <a:lnTo>
                      <a:pt x="62240" y="81859"/>
                    </a:lnTo>
                    <a:lnTo>
                      <a:pt x="62240" y="95389"/>
                    </a:lnTo>
                    <a:lnTo>
                      <a:pt x="0" y="95389"/>
                    </a:lnTo>
                    <a:lnTo>
                      <a:pt x="0" y="0"/>
                    </a:lnTo>
                    <a:lnTo>
                      <a:pt x="62240" y="0"/>
                    </a:lnTo>
                    <a:lnTo>
                      <a:pt x="62240" y="13530"/>
                    </a:lnTo>
                    <a:lnTo>
                      <a:pt x="16913" y="13530"/>
                    </a:lnTo>
                    <a:lnTo>
                      <a:pt x="16913" y="39915"/>
                    </a:lnTo>
                    <a:lnTo>
                      <a:pt x="56151" y="39915"/>
                    </a:lnTo>
                    <a:lnTo>
                      <a:pt x="56151" y="52768"/>
                    </a:lnTo>
                    <a:close/>
                  </a:path>
                </a:pathLst>
              </a:custGeom>
              <a:solidFill>
                <a:srgbClr val="004A99"/>
              </a:solidFill>
              <a:ln w="6756" cap="flat">
                <a:noFill/>
                <a:prstDash val="solid"/>
                <a:miter/>
              </a:ln>
            </p:spPr>
            <p:txBody>
              <a:bodyPr rtlCol="0" anchor="ctr"/>
              <a:lstStyle/>
              <a:p>
                <a:pPr rtl="0"/>
                <a:endParaRPr lang="en-US"/>
              </a:p>
            </p:txBody>
          </p:sp>
          <p:sp>
            <p:nvSpPr>
              <p:cNvPr id="23" name="Freihandform: Form 22">
                <a:extLst>
                  <a:ext uri="{FF2B5EF4-FFF2-40B4-BE49-F238E27FC236}">
                    <a16:creationId xmlns:a16="http://schemas.microsoft.com/office/drawing/2014/main" id="{C3F59078-7F42-461C-9332-17B2B5F1ACD7}"/>
                  </a:ext>
                </a:extLst>
              </p:cNvPr>
              <p:cNvSpPr/>
              <p:nvPr/>
            </p:nvSpPr>
            <p:spPr>
              <a:xfrm>
                <a:off x="6210635" y="3229544"/>
                <a:ext cx="60210" cy="95389"/>
              </a:xfrm>
              <a:custGeom>
                <a:avLst/>
                <a:gdLst>
                  <a:gd name="connsiteX0" fmla="*/ 16913 w 60210"/>
                  <a:gd name="connsiteY0" fmla="*/ 81859 h 95389"/>
                  <a:gd name="connsiteX1" fmla="*/ 60210 w 60210"/>
                  <a:gd name="connsiteY1" fmla="*/ 81859 h 95389"/>
                  <a:gd name="connsiteX2" fmla="*/ 60210 w 60210"/>
                  <a:gd name="connsiteY2" fmla="*/ 95389 h 95389"/>
                  <a:gd name="connsiteX3" fmla="*/ 0 w 60210"/>
                  <a:gd name="connsiteY3" fmla="*/ 95389 h 95389"/>
                  <a:gd name="connsiteX4" fmla="*/ 0 w 60210"/>
                  <a:gd name="connsiteY4" fmla="*/ 0 h 95389"/>
                  <a:gd name="connsiteX5" fmla="*/ 16913 w 60210"/>
                  <a:gd name="connsiteY5" fmla="*/ 0 h 95389"/>
                  <a:gd name="connsiteX6" fmla="*/ 16913 w 60210"/>
                  <a:gd name="connsiteY6" fmla="*/ 81859 h 95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210" h="95389">
                    <a:moveTo>
                      <a:pt x="16913" y="81859"/>
                    </a:moveTo>
                    <a:lnTo>
                      <a:pt x="60210" y="81859"/>
                    </a:lnTo>
                    <a:lnTo>
                      <a:pt x="60210" y="95389"/>
                    </a:lnTo>
                    <a:lnTo>
                      <a:pt x="0" y="95389"/>
                    </a:lnTo>
                    <a:lnTo>
                      <a:pt x="0" y="0"/>
                    </a:lnTo>
                    <a:lnTo>
                      <a:pt x="16913" y="0"/>
                    </a:lnTo>
                    <a:lnTo>
                      <a:pt x="16913" y="81859"/>
                    </a:lnTo>
                    <a:close/>
                  </a:path>
                </a:pathLst>
              </a:custGeom>
              <a:solidFill>
                <a:srgbClr val="004A99"/>
              </a:solidFill>
              <a:ln w="6756" cap="flat">
                <a:noFill/>
                <a:prstDash val="solid"/>
                <a:miter/>
              </a:ln>
            </p:spPr>
            <p:txBody>
              <a:bodyPr rtlCol="0" anchor="ctr"/>
              <a:lstStyle/>
              <a:p>
                <a:pPr rtl="0"/>
                <a:endParaRPr lang="en-US"/>
              </a:p>
            </p:txBody>
          </p:sp>
          <p:sp>
            <p:nvSpPr>
              <p:cNvPr id="24" name="Freihandform: Form 23">
                <a:extLst>
                  <a:ext uri="{FF2B5EF4-FFF2-40B4-BE49-F238E27FC236}">
                    <a16:creationId xmlns:a16="http://schemas.microsoft.com/office/drawing/2014/main" id="{8EB320AE-D1BC-45DD-B518-090EC46EA751}"/>
                  </a:ext>
                </a:extLst>
              </p:cNvPr>
              <p:cNvSpPr/>
              <p:nvPr/>
            </p:nvSpPr>
            <p:spPr>
              <a:xfrm>
                <a:off x="6356763" y="3228191"/>
                <a:ext cx="79829" cy="97418"/>
              </a:xfrm>
              <a:custGeom>
                <a:avLst/>
                <a:gdLst>
                  <a:gd name="connsiteX0" fmla="*/ 79153 w 79829"/>
                  <a:gd name="connsiteY0" fmla="*/ 51415 h 97418"/>
                  <a:gd name="connsiteX1" fmla="*/ 74417 w 79829"/>
                  <a:gd name="connsiteY1" fmla="*/ 75770 h 97418"/>
                  <a:gd name="connsiteX2" fmla="*/ 60887 w 79829"/>
                  <a:gd name="connsiteY2" fmla="*/ 92007 h 97418"/>
                  <a:gd name="connsiteX3" fmla="*/ 39915 w 79829"/>
                  <a:gd name="connsiteY3" fmla="*/ 97419 h 97418"/>
                  <a:gd name="connsiteX4" fmla="*/ 18942 w 79829"/>
                  <a:gd name="connsiteY4" fmla="*/ 92007 h 97418"/>
                  <a:gd name="connsiteX5" fmla="*/ 4736 w 79829"/>
                  <a:gd name="connsiteY5" fmla="*/ 75770 h 97418"/>
                  <a:gd name="connsiteX6" fmla="*/ 0 w 79829"/>
                  <a:gd name="connsiteY6" fmla="*/ 51415 h 97418"/>
                  <a:gd name="connsiteX7" fmla="*/ 0 w 79829"/>
                  <a:gd name="connsiteY7" fmla="*/ 46003 h 97418"/>
                  <a:gd name="connsiteX8" fmla="*/ 4736 w 79829"/>
                  <a:gd name="connsiteY8" fmla="*/ 21649 h 97418"/>
                  <a:gd name="connsiteX9" fmla="*/ 18942 w 79829"/>
                  <a:gd name="connsiteY9" fmla="*/ 5412 h 97418"/>
                  <a:gd name="connsiteX10" fmla="*/ 39915 w 79829"/>
                  <a:gd name="connsiteY10" fmla="*/ 0 h 97418"/>
                  <a:gd name="connsiteX11" fmla="*/ 60887 w 79829"/>
                  <a:gd name="connsiteY11" fmla="*/ 5412 h 97418"/>
                  <a:gd name="connsiteX12" fmla="*/ 75094 w 79829"/>
                  <a:gd name="connsiteY12" fmla="*/ 21649 h 97418"/>
                  <a:gd name="connsiteX13" fmla="*/ 79829 w 79829"/>
                  <a:gd name="connsiteY13" fmla="*/ 46003 h 97418"/>
                  <a:gd name="connsiteX14" fmla="*/ 79829 w 79829"/>
                  <a:gd name="connsiteY14" fmla="*/ 51415 h 97418"/>
                  <a:gd name="connsiteX15" fmla="*/ 62240 w 79829"/>
                  <a:gd name="connsiteY15" fmla="*/ 46003 h 97418"/>
                  <a:gd name="connsiteX16" fmla="*/ 56151 w 79829"/>
                  <a:gd name="connsiteY16" fmla="*/ 21649 h 97418"/>
                  <a:gd name="connsiteX17" fmla="*/ 39238 w 79829"/>
                  <a:gd name="connsiteY17" fmla="*/ 13530 h 97418"/>
                  <a:gd name="connsiteX18" fmla="*/ 22325 w 79829"/>
                  <a:gd name="connsiteY18" fmla="*/ 21649 h 97418"/>
                  <a:gd name="connsiteX19" fmla="*/ 16236 w 79829"/>
                  <a:gd name="connsiteY19" fmla="*/ 45327 h 97418"/>
                  <a:gd name="connsiteX20" fmla="*/ 16236 w 79829"/>
                  <a:gd name="connsiteY20" fmla="*/ 50739 h 97418"/>
                  <a:gd name="connsiteX21" fmla="*/ 22325 w 79829"/>
                  <a:gd name="connsiteY21" fmla="*/ 75094 h 97418"/>
                  <a:gd name="connsiteX22" fmla="*/ 39238 w 79829"/>
                  <a:gd name="connsiteY22" fmla="*/ 83888 h 97418"/>
                  <a:gd name="connsiteX23" fmla="*/ 56151 w 79829"/>
                  <a:gd name="connsiteY23" fmla="*/ 75770 h 97418"/>
                  <a:gd name="connsiteX24" fmla="*/ 62240 w 79829"/>
                  <a:gd name="connsiteY24" fmla="*/ 51415 h 97418"/>
                  <a:gd name="connsiteX25" fmla="*/ 62240 w 79829"/>
                  <a:gd name="connsiteY25" fmla="*/ 46003 h 97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79829" h="97418">
                    <a:moveTo>
                      <a:pt x="79153" y="51415"/>
                    </a:moveTo>
                    <a:cubicBezTo>
                      <a:pt x="79153" y="60887"/>
                      <a:pt x="77800" y="69005"/>
                      <a:pt x="74417" y="75770"/>
                    </a:cubicBezTo>
                    <a:cubicBezTo>
                      <a:pt x="71034" y="82535"/>
                      <a:pt x="66299" y="87947"/>
                      <a:pt x="60887" y="92007"/>
                    </a:cubicBezTo>
                    <a:cubicBezTo>
                      <a:pt x="54798" y="96066"/>
                      <a:pt x="48033" y="97419"/>
                      <a:pt x="39915" y="97419"/>
                    </a:cubicBezTo>
                    <a:cubicBezTo>
                      <a:pt x="32473" y="97419"/>
                      <a:pt x="25031" y="95389"/>
                      <a:pt x="18942" y="92007"/>
                    </a:cubicBezTo>
                    <a:cubicBezTo>
                      <a:pt x="12854" y="87947"/>
                      <a:pt x="8118" y="82535"/>
                      <a:pt x="4736" y="75770"/>
                    </a:cubicBezTo>
                    <a:cubicBezTo>
                      <a:pt x="1353" y="69005"/>
                      <a:pt x="0" y="60887"/>
                      <a:pt x="0" y="51415"/>
                    </a:cubicBezTo>
                    <a:lnTo>
                      <a:pt x="0" y="46003"/>
                    </a:lnTo>
                    <a:cubicBezTo>
                      <a:pt x="0" y="36532"/>
                      <a:pt x="1353" y="28414"/>
                      <a:pt x="4736" y="21649"/>
                    </a:cubicBezTo>
                    <a:cubicBezTo>
                      <a:pt x="8118" y="14207"/>
                      <a:pt x="12854" y="8795"/>
                      <a:pt x="18942" y="5412"/>
                    </a:cubicBezTo>
                    <a:cubicBezTo>
                      <a:pt x="25031" y="1353"/>
                      <a:pt x="31796" y="0"/>
                      <a:pt x="39915" y="0"/>
                    </a:cubicBezTo>
                    <a:cubicBezTo>
                      <a:pt x="47356" y="0"/>
                      <a:pt x="54798" y="2030"/>
                      <a:pt x="60887" y="5412"/>
                    </a:cubicBezTo>
                    <a:cubicBezTo>
                      <a:pt x="66975" y="9471"/>
                      <a:pt x="71711" y="14207"/>
                      <a:pt x="75094" y="21649"/>
                    </a:cubicBezTo>
                    <a:cubicBezTo>
                      <a:pt x="78476" y="28414"/>
                      <a:pt x="79829" y="36532"/>
                      <a:pt x="79829" y="46003"/>
                    </a:cubicBezTo>
                    <a:lnTo>
                      <a:pt x="79829" y="51415"/>
                    </a:lnTo>
                    <a:close/>
                    <a:moveTo>
                      <a:pt x="62240" y="46003"/>
                    </a:moveTo>
                    <a:cubicBezTo>
                      <a:pt x="62240" y="35179"/>
                      <a:pt x="60210" y="27061"/>
                      <a:pt x="56151" y="21649"/>
                    </a:cubicBezTo>
                    <a:cubicBezTo>
                      <a:pt x="52092" y="16236"/>
                      <a:pt x="46680" y="13530"/>
                      <a:pt x="39238" y="13530"/>
                    </a:cubicBezTo>
                    <a:cubicBezTo>
                      <a:pt x="31796" y="13530"/>
                      <a:pt x="26384" y="16236"/>
                      <a:pt x="22325" y="21649"/>
                    </a:cubicBezTo>
                    <a:cubicBezTo>
                      <a:pt x="18266" y="27061"/>
                      <a:pt x="16236" y="35179"/>
                      <a:pt x="16236" y="45327"/>
                    </a:cubicBezTo>
                    <a:lnTo>
                      <a:pt x="16236" y="50739"/>
                    </a:lnTo>
                    <a:cubicBezTo>
                      <a:pt x="16236" y="61563"/>
                      <a:pt x="18266" y="69005"/>
                      <a:pt x="22325" y="75094"/>
                    </a:cubicBezTo>
                    <a:cubicBezTo>
                      <a:pt x="26384" y="80506"/>
                      <a:pt x="31796" y="83888"/>
                      <a:pt x="39238" y="83888"/>
                    </a:cubicBezTo>
                    <a:cubicBezTo>
                      <a:pt x="46680" y="83888"/>
                      <a:pt x="52092" y="81182"/>
                      <a:pt x="56151" y="75770"/>
                    </a:cubicBezTo>
                    <a:cubicBezTo>
                      <a:pt x="60210" y="70358"/>
                      <a:pt x="62240" y="62240"/>
                      <a:pt x="62240" y="51415"/>
                    </a:cubicBezTo>
                    <a:lnTo>
                      <a:pt x="62240" y="46003"/>
                    </a:lnTo>
                    <a:close/>
                  </a:path>
                </a:pathLst>
              </a:custGeom>
              <a:solidFill>
                <a:srgbClr val="004A99"/>
              </a:solidFill>
              <a:ln w="6756" cap="flat">
                <a:noFill/>
                <a:prstDash val="solid"/>
                <a:miter/>
              </a:ln>
            </p:spPr>
            <p:txBody>
              <a:bodyPr rtlCol="0" anchor="ctr"/>
              <a:lstStyle/>
              <a:p>
                <a:pPr rtl="0"/>
                <a:endParaRPr lang="en-US"/>
              </a:p>
            </p:txBody>
          </p:sp>
          <p:sp>
            <p:nvSpPr>
              <p:cNvPr id="25" name="Freihandform: Form 24">
                <a:extLst>
                  <a:ext uri="{FF2B5EF4-FFF2-40B4-BE49-F238E27FC236}">
                    <a16:creationId xmlns:a16="http://schemas.microsoft.com/office/drawing/2014/main" id="{A0FBCC5B-BA7C-47F3-96C4-EAB9A5269DE9}"/>
                  </a:ext>
                </a:extLst>
              </p:cNvPr>
              <p:cNvSpPr/>
              <p:nvPr/>
            </p:nvSpPr>
            <p:spPr>
              <a:xfrm>
                <a:off x="6529952" y="3227514"/>
                <a:ext cx="75769" cy="98095"/>
              </a:xfrm>
              <a:custGeom>
                <a:avLst/>
                <a:gdLst>
                  <a:gd name="connsiteX0" fmla="*/ 75770 w 75769"/>
                  <a:gd name="connsiteY0" fmla="*/ 84565 h 98095"/>
                  <a:gd name="connsiteX1" fmla="*/ 61563 w 75769"/>
                  <a:gd name="connsiteY1" fmla="*/ 94713 h 98095"/>
                  <a:gd name="connsiteX2" fmla="*/ 40591 w 75769"/>
                  <a:gd name="connsiteY2" fmla="*/ 98095 h 98095"/>
                  <a:gd name="connsiteX3" fmla="*/ 19619 w 75769"/>
                  <a:gd name="connsiteY3" fmla="*/ 92683 h 98095"/>
                  <a:gd name="connsiteX4" fmla="*/ 5412 w 75769"/>
                  <a:gd name="connsiteY4" fmla="*/ 77123 h 98095"/>
                  <a:gd name="connsiteX5" fmla="*/ 0 w 75769"/>
                  <a:gd name="connsiteY5" fmla="*/ 53445 h 98095"/>
                  <a:gd name="connsiteX6" fmla="*/ 0 w 75769"/>
                  <a:gd name="connsiteY6" fmla="*/ 46003 h 98095"/>
                  <a:gd name="connsiteX7" fmla="*/ 10148 w 75769"/>
                  <a:gd name="connsiteY7" fmla="*/ 12177 h 98095"/>
                  <a:gd name="connsiteX8" fmla="*/ 39238 w 75769"/>
                  <a:gd name="connsiteY8" fmla="*/ 0 h 98095"/>
                  <a:gd name="connsiteX9" fmla="*/ 64269 w 75769"/>
                  <a:gd name="connsiteY9" fmla="*/ 8118 h 98095"/>
                  <a:gd name="connsiteX10" fmla="*/ 75770 w 75769"/>
                  <a:gd name="connsiteY10" fmla="*/ 31120 h 98095"/>
                  <a:gd name="connsiteX11" fmla="*/ 59534 w 75769"/>
                  <a:gd name="connsiteY11" fmla="*/ 31120 h 98095"/>
                  <a:gd name="connsiteX12" fmla="*/ 39238 w 75769"/>
                  <a:gd name="connsiteY12" fmla="*/ 14207 h 98095"/>
                  <a:gd name="connsiteX13" fmla="*/ 22325 w 75769"/>
                  <a:gd name="connsiteY13" fmla="*/ 22325 h 98095"/>
                  <a:gd name="connsiteX14" fmla="*/ 16236 w 75769"/>
                  <a:gd name="connsiteY14" fmla="*/ 46003 h 98095"/>
                  <a:gd name="connsiteX15" fmla="*/ 16236 w 75769"/>
                  <a:gd name="connsiteY15" fmla="*/ 53445 h 98095"/>
                  <a:gd name="connsiteX16" fmla="*/ 23002 w 75769"/>
                  <a:gd name="connsiteY16" fmla="*/ 77123 h 98095"/>
                  <a:gd name="connsiteX17" fmla="*/ 41268 w 75769"/>
                  <a:gd name="connsiteY17" fmla="*/ 85918 h 98095"/>
                  <a:gd name="connsiteX18" fmla="*/ 59534 w 75769"/>
                  <a:gd name="connsiteY18" fmla="*/ 79829 h 98095"/>
                  <a:gd name="connsiteX19" fmla="*/ 59534 w 75769"/>
                  <a:gd name="connsiteY19" fmla="*/ 60887 h 98095"/>
                  <a:gd name="connsiteX20" fmla="*/ 39915 w 75769"/>
                  <a:gd name="connsiteY20" fmla="*/ 60887 h 98095"/>
                  <a:gd name="connsiteX21" fmla="*/ 39915 w 75769"/>
                  <a:gd name="connsiteY21" fmla="*/ 48033 h 98095"/>
                  <a:gd name="connsiteX22" fmla="*/ 75770 w 75769"/>
                  <a:gd name="connsiteY22" fmla="*/ 48033 h 98095"/>
                  <a:gd name="connsiteX23" fmla="*/ 75770 w 75769"/>
                  <a:gd name="connsiteY23" fmla="*/ 84565 h 98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5769" h="98095">
                    <a:moveTo>
                      <a:pt x="75770" y="84565"/>
                    </a:moveTo>
                    <a:cubicBezTo>
                      <a:pt x="72387" y="89301"/>
                      <a:pt x="67652" y="92683"/>
                      <a:pt x="61563" y="94713"/>
                    </a:cubicBezTo>
                    <a:cubicBezTo>
                      <a:pt x="55474" y="96742"/>
                      <a:pt x="48709" y="98095"/>
                      <a:pt x="40591" y="98095"/>
                    </a:cubicBezTo>
                    <a:cubicBezTo>
                      <a:pt x="32473" y="98095"/>
                      <a:pt x="25708" y="96066"/>
                      <a:pt x="19619" y="92683"/>
                    </a:cubicBezTo>
                    <a:cubicBezTo>
                      <a:pt x="13530" y="89301"/>
                      <a:pt x="8795" y="83888"/>
                      <a:pt x="5412" y="77123"/>
                    </a:cubicBezTo>
                    <a:cubicBezTo>
                      <a:pt x="2029" y="70358"/>
                      <a:pt x="0" y="62240"/>
                      <a:pt x="0" y="53445"/>
                    </a:cubicBezTo>
                    <a:lnTo>
                      <a:pt x="0" y="46003"/>
                    </a:lnTo>
                    <a:cubicBezTo>
                      <a:pt x="0" y="31796"/>
                      <a:pt x="3383" y="20296"/>
                      <a:pt x="10148" y="12177"/>
                    </a:cubicBezTo>
                    <a:cubicBezTo>
                      <a:pt x="16913" y="4059"/>
                      <a:pt x="26384" y="0"/>
                      <a:pt x="39238" y="0"/>
                    </a:cubicBezTo>
                    <a:cubicBezTo>
                      <a:pt x="50062" y="0"/>
                      <a:pt x="58181" y="2706"/>
                      <a:pt x="64269" y="8118"/>
                    </a:cubicBezTo>
                    <a:cubicBezTo>
                      <a:pt x="70358" y="13530"/>
                      <a:pt x="74417" y="20972"/>
                      <a:pt x="75770" y="31120"/>
                    </a:cubicBezTo>
                    <a:lnTo>
                      <a:pt x="59534" y="31120"/>
                    </a:lnTo>
                    <a:cubicBezTo>
                      <a:pt x="57504" y="19619"/>
                      <a:pt x="50739" y="14207"/>
                      <a:pt x="39238" y="14207"/>
                    </a:cubicBezTo>
                    <a:cubicBezTo>
                      <a:pt x="31796" y="14207"/>
                      <a:pt x="26384" y="16913"/>
                      <a:pt x="22325" y="22325"/>
                    </a:cubicBezTo>
                    <a:cubicBezTo>
                      <a:pt x="18266" y="27737"/>
                      <a:pt x="16236" y="35856"/>
                      <a:pt x="16236" y="46003"/>
                    </a:cubicBezTo>
                    <a:lnTo>
                      <a:pt x="16236" y="53445"/>
                    </a:lnTo>
                    <a:cubicBezTo>
                      <a:pt x="16236" y="63593"/>
                      <a:pt x="18266" y="71711"/>
                      <a:pt x="23002" y="77123"/>
                    </a:cubicBezTo>
                    <a:cubicBezTo>
                      <a:pt x="27061" y="82535"/>
                      <a:pt x="33149" y="85918"/>
                      <a:pt x="41268" y="85918"/>
                    </a:cubicBezTo>
                    <a:cubicBezTo>
                      <a:pt x="50062" y="85918"/>
                      <a:pt x="55474" y="83888"/>
                      <a:pt x="59534" y="79829"/>
                    </a:cubicBezTo>
                    <a:lnTo>
                      <a:pt x="59534" y="60887"/>
                    </a:lnTo>
                    <a:lnTo>
                      <a:pt x="39915" y="60887"/>
                    </a:lnTo>
                    <a:lnTo>
                      <a:pt x="39915" y="48033"/>
                    </a:lnTo>
                    <a:lnTo>
                      <a:pt x="75770" y="48033"/>
                    </a:lnTo>
                    <a:lnTo>
                      <a:pt x="75770" y="84565"/>
                    </a:lnTo>
                    <a:close/>
                  </a:path>
                </a:pathLst>
              </a:custGeom>
              <a:solidFill>
                <a:srgbClr val="004A99"/>
              </a:solidFill>
              <a:ln w="6756" cap="flat">
                <a:noFill/>
                <a:prstDash val="solid"/>
                <a:miter/>
              </a:ln>
            </p:spPr>
            <p:txBody>
              <a:bodyPr rtlCol="0" anchor="ctr"/>
              <a:lstStyle/>
              <a:p>
                <a:pPr rtl="0"/>
                <a:endParaRPr lang="en-US"/>
              </a:p>
            </p:txBody>
          </p:sp>
          <p:sp>
            <p:nvSpPr>
              <p:cNvPr id="26" name="Freihandform: Form 25">
                <a:extLst>
                  <a:ext uri="{FF2B5EF4-FFF2-40B4-BE49-F238E27FC236}">
                    <a16:creationId xmlns:a16="http://schemas.microsoft.com/office/drawing/2014/main" id="{06DD5BB8-27C8-431D-89D4-34D0451FEAA1}"/>
                  </a:ext>
                </a:extLst>
              </p:cNvPr>
              <p:cNvSpPr/>
              <p:nvPr/>
            </p:nvSpPr>
            <p:spPr>
              <a:xfrm>
                <a:off x="6705847" y="3228867"/>
                <a:ext cx="16236" cy="95389"/>
              </a:xfrm>
              <a:custGeom>
                <a:avLst/>
                <a:gdLst>
                  <a:gd name="connsiteX0" fmla="*/ 16236 w 16236"/>
                  <a:gd name="connsiteY0" fmla="*/ 95389 h 95389"/>
                  <a:gd name="connsiteX1" fmla="*/ 0 w 16236"/>
                  <a:gd name="connsiteY1" fmla="*/ 95389 h 95389"/>
                  <a:gd name="connsiteX2" fmla="*/ 0 w 16236"/>
                  <a:gd name="connsiteY2" fmla="*/ 0 h 95389"/>
                  <a:gd name="connsiteX3" fmla="*/ 16236 w 16236"/>
                  <a:gd name="connsiteY3" fmla="*/ 0 h 95389"/>
                  <a:gd name="connsiteX4" fmla="*/ 16236 w 16236"/>
                  <a:gd name="connsiteY4" fmla="*/ 95389 h 953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36" h="95389">
                    <a:moveTo>
                      <a:pt x="16236" y="95389"/>
                    </a:moveTo>
                    <a:lnTo>
                      <a:pt x="0" y="95389"/>
                    </a:lnTo>
                    <a:lnTo>
                      <a:pt x="0" y="0"/>
                    </a:lnTo>
                    <a:lnTo>
                      <a:pt x="16236" y="0"/>
                    </a:lnTo>
                    <a:lnTo>
                      <a:pt x="16236" y="95389"/>
                    </a:lnTo>
                    <a:close/>
                  </a:path>
                </a:pathLst>
              </a:custGeom>
              <a:solidFill>
                <a:srgbClr val="004A99"/>
              </a:solidFill>
              <a:ln w="6756" cap="flat">
                <a:noFill/>
                <a:prstDash val="solid"/>
                <a:miter/>
              </a:ln>
            </p:spPr>
            <p:txBody>
              <a:bodyPr rtlCol="0" anchor="ctr"/>
              <a:lstStyle/>
              <a:p>
                <a:pPr rtl="0"/>
                <a:endParaRPr lang="en-US"/>
              </a:p>
            </p:txBody>
          </p:sp>
          <p:sp>
            <p:nvSpPr>
              <p:cNvPr id="27" name="Freihandform: Form 26">
                <a:extLst>
                  <a:ext uri="{FF2B5EF4-FFF2-40B4-BE49-F238E27FC236}">
                    <a16:creationId xmlns:a16="http://schemas.microsoft.com/office/drawing/2014/main" id="{53D7A65E-6CBB-4998-87DD-7F285993709B}"/>
                  </a:ext>
                </a:extLst>
              </p:cNvPr>
              <p:cNvSpPr/>
              <p:nvPr/>
            </p:nvSpPr>
            <p:spPr>
              <a:xfrm>
                <a:off x="6817472" y="3228191"/>
                <a:ext cx="71711" cy="96742"/>
              </a:xfrm>
              <a:custGeom>
                <a:avLst/>
                <a:gdLst>
                  <a:gd name="connsiteX0" fmla="*/ 55474 w 71711"/>
                  <a:gd name="connsiteY0" fmla="*/ 71711 h 96742"/>
                  <a:gd name="connsiteX1" fmla="*/ 50739 w 71711"/>
                  <a:gd name="connsiteY1" fmla="*/ 62240 h 96742"/>
                  <a:gd name="connsiteX2" fmla="*/ 34503 w 71711"/>
                  <a:gd name="connsiteY2" fmla="*/ 55475 h 96742"/>
                  <a:gd name="connsiteX3" fmla="*/ 16236 w 71711"/>
                  <a:gd name="connsiteY3" fmla="*/ 48033 h 96742"/>
                  <a:gd name="connsiteX4" fmla="*/ 3383 w 71711"/>
                  <a:gd name="connsiteY4" fmla="*/ 26384 h 96742"/>
                  <a:gd name="connsiteX5" fmla="*/ 12854 w 71711"/>
                  <a:gd name="connsiteY5" fmla="*/ 7442 h 96742"/>
                  <a:gd name="connsiteX6" fmla="*/ 37209 w 71711"/>
                  <a:gd name="connsiteY6" fmla="*/ 0 h 96742"/>
                  <a:gd name="connsiteX7" fmla="*/ 54798 w 71711"/>
                  <a:gd name="connsiteY7" fmla="*/ 3383 h 96742"/>
                  <a:gd name="connsiteX8" fmla="*/ 66975 w 71711"/>
                  <a:gd name="connsiteY8" fmla="*/ 13530 h 96742"/>
                  <a:gd name="connsiteX9" fmla="*/ 71711 w 71711"/>
                  <a:gd name="connsiteY9" fmla="*/ 28414 h 96742"/>
                  <a:gd name="connsiteX10" fmla="*/ 55474 w 71711"/>
                  <a:gd name="connsiteY10" fmla="*/ 28414 h 96742"/>
                  <a:gd name="connsiteX11" fmla="*/ 50739 w 71711"/>
                  <a:gd name="connsiteY11" fmla="*/ 16913 h 96742"/>
                  <a:gd name="connsiteX12" fmla="*/ 37209 w 71711"/>
                  <a:gd name="connsiteY12" fmla="*/ 12854 h 96742"/>
                  <a:gd name="connsiteX13" fmla="*/ 24355 w 71711"/>
                  <a:gd name="connsiteY13" fmla="*/ 16236 h 96742"/>
                  <a:gd name="connsiteX14" fmla="*/ 19619 w 71711"/>
                  <a:gd name="connsiteY14" fmla="*/ 25708 h 96742"/>
                  <a:gd name="connsiteX15" fmla="*/ 24355 w 71711"/>
                  <a:gd name="connsiteY15" fmla="*/ 34503 h 96742"/>
                  <a:gd name="connsiteX16" fmla="*/ 40591 w 71711"/>
                  <a:gd name="connsiteY16" fmla="*/ 41268 h 96742"/>
                  <a:gd name="connsiteX17" fmla="*/ 58181 w 71711"/>
                  <a:gd name="connsiteY17" fmla="*/ 48709 h 96742"/>
                  <a:gd name="connsiteX18" fmla="*/ 68328 w 71711"/>
                  <a:gd name="connsiteY18" fmla="*/ 58181 h 96742"/>
                  <a:gd name="connsiteX19" fmla="*/ 71711 w 71711"/>
                  <a:gd name="connsiteY19" fmla="*/ 71035 h 96742"/>
                  <a:gd name="connsiteX20" fmla="*/ 62240 w 71711"/>
                  <a:gd name="connsiteY20" fmla="*/ 89977 h 96742"/>
                  <a:gd name="connsiteX21" fmla="*/ 37209 w 71711"/>
                  <a:gd name="connsiteY21" fmla="*/ 96742 h 96742"/>
                  <a:gd name="connsiteX22" fmla="*/ 18266 w 71711"/>
                  <a:gd name="connsiteY22" fmla="*/ 92683 h 96742"/>
                  <a:gd name="connsiteX23" fmla="*/ 4736 w 71711"/>
                  <a:gd name="connsiteY23" fmla="*/ 81859 h 96742"/>
                  <a:gd name="connsiteX24" fmla="*/ 0 w 71711"/>
                  <a:gd name="connsiteY24" fmla="*/ 66299 h 96742"/>
                  <a:gd name="connsiteX25" fmla="*/ 16913 w 71711"/>
                  <a:gd name="connsiteY25" fmla="*/ 66299 h 96742"/>
                  <a:gd name="connsiteX26" fmla="*/ 22325 w 71711"/>
                  <a:gd name="connsiteY26" fmla="*/ 79153 h 96742"/>
                  <a:gd name="connsiteX27" fmla="*/ 37885 w 71711"/>
                  <a:gd name="connsiteY27" fmla="*/ 83888 h 96742"/>
                  <a:gd name="connsiteX28" fmla="*/ 50739 w 71711"/>
                  <a:gd name="connsiteY28" fmla="*/ 80506 h 96742"/>
                  <a:gd name="connsiteX29" fmla="*/ 55474 w 71711"/>
                  <a:gd name="connsiteY29" fmla="*/ 71711 h 96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1711" h="96742">
                    <a:moveTo>
                      <a:pt x="55474" y="71711"/>
                    </a:moveTo>
                    <a:cubicBezTo>
                      <a:pt x="55474" y="67652"/>
                      <a:pt x="54122" y="64269"/>
                      <a:pt x="50739" y="62240"/>
                    </a:cubicBezTo>
                    <a:cubicBezTo>
                      <a:pt x="48033" y="60210"/>
                      <a:pt x="42621" y="57504"/>
                      <a:pt x="34503" y="55475"/>
                    </a:cubicBezTo>
                    <a:cubicBezTo>
                      <a:pt x="27061" y="53445"/>
                      <a:pt x="20972" y="50739"/>
                      <a:pt x="16236" y="48033"/>
                    </a:cubicBezTo>
                    <a:cubicBezTo>
                      <a:pt x="7442" y="42621"/>
                      <a:pt x="3383" y="35179"/>
                      <a:pt x="3383" y="26384"/>
                    </a:cubicBezTo>
                    <a:cubicBezTo>
                      <a:pt x="3383" y="18943"/>
                      <a:pt x="6765" y="12177"/>
                      <a:pt x="12854" y="7442"/>
                    </a:cubicBezTo>
                    <a:cubicBezTo>
                      <a:pt x="18942" y="2706"/>
                      <a:pt x="27061" y="0"/>
                      <a:pt x="37209" y="0"/>
                    </a:cubicBezTo>
                    <a:cubicBezTo>
                      <a:pt x="43974" y="0"/>
                      <a:pt x="50062" y="1353"/>
                      <a:pt x="54798" y="3383"/>
                    </a:cubicBezTo>
                    <a:cubicBezTo>
                      <a:pt x="60210" y="6089"/>
                      <a:pt x="64269" y="9471"/>
                      <a:pt x="66975" y="13530"/>
                    </a:cubicBezTo>
                    <a:cubicBezTo>
                      <a:pt x="69681" y="18266"/>
                      <a:pt x="71711" y="23002"/>
                      <a:pt x="71711" y="28414"/>
                    </a:cubicBezTo>
                    <a:lnTo>
                      <a:pt x="55474" y="28414"/>
                    </a:lnTo>
                    <a:cubicBezTo>
                      <a:pt x="55474" y="23678"/>
                      <a:pt x="54122" y="19619"/>
                      <a:pt x="50739" y="16913"/>
                    </a:cubicBezTo>
                    <a:cubicBezTo>
                      <a:pt x="47356" y="14207"/>
                      <a:pt x="43297" y="12854"/>
                      <a:pt x="37209" y="12854"/>
                    </a:cubicBezTo>
                    <a:cubicBezTo>
                      <a:pt x="31796" y="12854"/>
                      <a:pt x="27737" y="14207"/>
                      <a:pt x="24355" y="16236"/>
                    </a:cubicBezTo>
                    <a:cubicBezTo>
                      <a:pt x="21648" y="18266"/>
                      <a:pt x="19619" y="21649"/>
                      <a:pt x="19619" y="25708"/>
                    </a:cubicBezTo>
                    <a:cubicBezTo>
                      <a:pt x="19619" y="29090"/>
                      <a:pt x="20972" y="31796"/>
                      <a:pt x="24355" y="34503"/>
                    </a:cubicBezTo>
                    <a:cubicBezTo>
                      <a:pt x="27737" y="36532"/>
                      <a:pt x="33149" y="39238"/>
                      <a:pt x="40591" y="41268"/>
                    </a:cubicBezTo>
                    <a:cubicBezTo>
                      <a:pt x="48033" y="43297"/>
                      <a:pt x="54122" y="46003"/>
                      <a:pt x="58181" y="48709"/>
                    </a:cubicBezTo>
                    <a:cubicBezTo>
                      <a:pt x="62916" y="51415"/>
                      <a:pt x="66299" y="54798"/>
                      <a:pt x="68328" y="58181"/>
                    </a:cubicBezTo>
                    <a:cubicBezTo>
                      <a:pt x="70358" y="61563"/>
                      <a:pt x="71711" y="66299"/>
                      <a:pt x="71711" y="71035"/>
                    </a:cubicBezTo>
                    <a:cubicBezTo>
                      <a:pt x="71711" y="79153"/>
                      <a:pt x="69005" y="85241"/>
                      <a:pt x="62240" y="89977"/>
                    </a:cubicBezTo>
                    <a:cubicBezTo>
                      <a:pt x="56151" y="94713"/>
                      <a:pt x="48033" y="96742"/>
                      <a:pt x="37209" y="96742"/>
                    </a:cubicBezTo>
                    <a:cubicBezTo>
                      <a:pt x="30443" y="96742"/>
                      <a:pt x="23678" y="95389"/>
                      <a:pt x="18266" y="92683"/>
                    </a:cubicBezTo>
                    <a:cubicBezTo>
                      <a:pt x="12854" y="89977"/>
                      <a:pt x="8118" y="86594"/>
                      <a:pt x="4736" y="81859"/>
                    </a:cubicBezTo>
                    <a:cubicBezTo>
                      <a:pt x="1353" y="77123"/>
                      <a:pt x="0" y="72388"/>
                      <a:pt x="0" y="66299"/>
                    </a:cubicBezTo>
                    <a:lnTo>
                      <a:pt x="16913" y="66299"/>
                    </a:lnTo>
                    <a:cubicBezTo>
                      <a:pt x="16913" y="71711"/>
                      <a:pt x="18942" y="75770"/>
                      <a:pt x="22325" y="79153"/>
                    </a:cubicBezTo>
                    <a:cubicBezTo>
                      <a:pt x="25708" y="81859"/>
                      <a:pt x="31120" y="83888"/>
                      <a:pt x="37885" y="83888"/>
                    </a:cubicBezTo>
                    <a:cubicBezTo>
                      <a:pt x="43974" y="83888"/>
                      <a:pt x="48033" y="82535"/>
                      <a:pt x="50739" y="80506"/>
                    </a:cubicBezTo>
                    <a:cubicBezTo>
                      <a:pt x="54122" y="78476"/>
                      <a:pt x="55474" y="75770"/>
                      <a:pt x="55474" y="71711"/>
                    </a:cubicBezTo>
                    <a:close/>
                  </a:path>
                </a:pathLst>
              </a:custGeom>
              <a:solidFill>
                <a:srgbClr val="004A99"/>
              </a:solidFill>
              <a:ln w="6756" cap="flat">
                <a:noFill/>
                <a:prstDash val="solid"/>
                <a:miter/>
              </a:ln>
            </p:spPr>
            <p:txBody>
              <a:bodyPr rtlCol="0" anchor="ctr"/>
              <a:lstStyle/>
              <a:p>
                <a:pPr rtl="0"/>
                <a:endParaRPr lang="en-US"/>
              </a:p>
            </p:txBody>
          </p:sp>
          <p:sp>
            <p:nvSpPr>
              <p:cNvPr id="28" name="Freihandform: Form 27">
                <a:extLst>
                  <a:ext uri="{FF2B5EF4-FFF2-40B4-BE49-F238E27FC236}">
                    <a16:creationId xmlns:a16="http://schemas.microsoft.com/office/drawing/2014/main" id="{57F4C5C4-093E-44EF-9042-2DFC9868FA2E}"/>
                  </a:ext>
                </a:extLst>
              </p:cNvPr>
              <p:cNvSpPr/>
              <p:nvPr/>
            </p:nvSpPr>
            <p:spPr>
              <a:xfrm>
                <a:off x="6977807" y="3228867"/>
                <a:ext cx="75770" cy="95389"/>
              </a:xfrm>
              <a:custGeom>
                <a:avLst/>
                <a:gdLst>
                  <a:gd name="connsiteX0" fmla="*/ 75770 w 75770"/>
                  <a:gd name="connsiteY0" fmla="*/ 13530 h 95389"/>
                  <a:gd name="connsiteX1" fmla="*/ 46003 w 75770"/>
                  <a:gd name="connsiteY1" fmla="*/ 13530 h 95389"/>
                  <a:gd name="connsiteX2" fmla="*/ 46003 w 75770"/>
                  <a:gd name="connsiteY2" fmla="*/ 95389 h 95389"/>
                  <a:gd name="connsiteX3" fmla="*/ 29767 w 75770"/>
                  <a:gd name="connsiteY3" fmla="*/ 95389 h 95389"/>
                  <a:gd name="connsiteX4" fmla="*/ 29767 w 75770"/>
                  <a:gd name="connsiteY4" fmla="*/ 13530 h 95389"/>
                  <a:gd name="connsiteX5" fmla="*/ 0 w 75770"/>
                  <a:gd name="connsiteY5" fmla="*/ 13530 h 95389"/>
                  <a:gd name="connsiteX6" fmla="*/ 0 w 75770"/>
                  <a:gd name="connsiteY6" fmla="*/ 0 h 95389"/>
                  <a:gd name="connsiteX7" fmla="*/ 75770 w 75770"/>
                  <a:gd name="connsiteY7" fmla="*/ 0 h 95389"/>
                  <a:gd name="connsiteX8" fmla="*/ 75770 w 75770"/>
                  <a:gd name="connsiteY8" fmla="*/ 13530 h 95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770" h="95389">
                    <a:moveTo>
                      <a:pt x="75770" y="13530"/>
                    </a:moveTo>
                    <a:lnTo>
                      <a:pt x="46003" y="13530"/>
                    </a:lnTo>
                    <a:lnTo>
                      <a:pt x="46003" y="95389"/>
                    </a:lnTo>
                    <a:lnTo>
                      <a:pt x="29767" y="95389"/>
                    </a:lnTo>
                    <a:lnTo>
                      <a:pt x="29767" y="13530"/>
                    </a:lnTo>
                    <a:lnTo>
                      <a:pt x="0" y="13530"/>
                    </a:lnTo>
                    <a:lnTo>
                      <a:pt x="0" y="0"/>
                    </a:lnTo>
                    <a:lnTo>
                      <a:pt x="75770" y="0"/>
                    </a:lnTo>
                    <a:lnTo>
                      <a:pt x="75770" y="13530"/>
                    </a:lnTo>
                    <a:close/>
                  </a:path>
                </a:pathLst>
              </a:custGeom>
              <a:solidFill>
                <a:srgbClr val="004A99"/>
              </a:solidFill>
              <a:ln w="6756" cap="flat">
                <a:noFill/>
                <a:prstDash val="solid"/>
                <a:miter/>
              </a:ln>
            </p:spPr>
            <p:txBody>
              <a:bodyPr rtlCol="0" anchor="ctr"/>
              <a:lstStyle/>
              <a:p>
                <a:pPr rtl="0"/>
                <a:endParaRPr lang="en-US"/>
              </a:p>
            </p:txBody>
          </p:sp>
          <p:sp>
            <p:nvSpPr>
              <p:cNvPr id="29" name="Freihandform: Form 28">
                <a:extLst>
                  <a:ext uri="{FF2B5EF4-FFF2-40B4-BE49-F238E27FC236}">
                    <a16:creationId xmlns:a16="http://schemas.microsoft.com/office/drawing/2014/main" id="{3AF4947B-CC88-4605-8C34-08AB1307A907}"/>
                  </a:ext>
                </a:extLst>
              </p:cNvPr>
              <p:cNvSpPr/>
              <p:nvPr/>
            </p:nvSpPr>
            <p:spPr>
              <a:xfrm>
                <a:off x="7147614" y="3228867"/>
                <a:ext cx="16236" cy="95389"/>
              </a:xfrm>
              <a:custGeom>
                <a:avLst/>
                <a:gdLst>
                  <a:gd name="connsiteX0" fmla="*/ 16236 w 16236"/>
                  <a:gd name="connsiteY0" fmla="*/ 95389 h 95389"/>
                  <a:gd name="connsiteX1" fmla="*/ 0 w 16236"/>
                  <a:gd name="connsiteY1" fmla="*/ 95389 h 95389"/>
                  <a:gd name="connsiteX2" fmla="*/ 0 w 16236"/>
                  <a:gd name="connsiteY2" fmla="*/ 0 h 95389"/>
                  <a:gd name="connsiteX3" fmla="*/ 16236 w 16236"/>
                  <a:gd name="connsiteY3" fmla="*/ 0 h 95389"/>
                  <a:gd name="connsiteX4" fmla="*/ 16236 w 16236"/>
                  <a:gd name="connsiteY4" fmla="*/ 95389 h 953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36" h="95389">
                    <a:moveTo>
                      <a:pt x="16236" y="95389"/>
                    </a:moveTo>
                    <a:lnTo>
                      <a:pt x="0" y="95389"/>
                    </a:lnTo>
                    <a:lnTo>
                      <a:pt x="0" y="0"/>
                    </a:lnTo>
                    <a:lnTo>
                      <a:pt x="16236" y="0"/>
                    </a:lnTo>
                    <a:lnTo>
                      <a:pt x="16236" y="95389"/>
                    </a:lnTo>
                    <a:close/>
                  </a:path>
                </a:pathLst>
              </a:custGeom>
              <a:solidFill>
                <a:srgbClr val="004A99"/>
              </a:solidFill>
              <a:ln w="6756" cap="flat">
                <a:noFill/>
                <a:prstDash val="solid"/>
                <a:miter/>
              </a:ln>
            </p:spPr>
            <p:txBody>
              <a:bodyPr rtlCol="0" anchor="ctr"/>
              <a:lstStyle/>
              <a:p>
                <a:pPr rtl="0"/>
                <a:endParaRPr lang="en-US"/>
              </a:p>
            </p:txBody>
          </p:sp>
          <p:sp>
            <p:nvSpPr>
              <p:cNvPr id="30" name="Freihandform: Form 29">
                <a:extLst>
                  <a:ext uri="{FF2B5EF4-FFF2-40B4-BE49-F238E27FC236}">
                    <a16:creationId xmlns:a16="http://schemas.microsoft.com/office/drawing/2014/main" id="{4CDD3972-8235-4199-A92B-882076855A26}"/>
                  </a:ext>
                </a:extLst>
              </p:cNvPr>
              <p:cNvSpPr/>
              <p:nvPr/>
            </p:nvSpPr>
            <p:spPr>
              <a:xfrm>
                <a:off x="7261269" y="3228191"/>
                <a:ext cx="76446" cy="97418"/>
              </a:xfrm>
              <a:custGeom>
                <a:avLst/>
                <a:gdLst>
                  <a:gd name="connsiteX0" fmla="*/ 76447 w 76446"/>
                  <a:gd name="connsiteY0" fmla="*/ 64946 h 97418"/>
                  <a:gd name="connsiteX1" fmla="*/ 64946 w 76446"/>
                  <a:gd name="connsiteY1" fmla="*/ 88624 h 97418"/>
                  <a:gd name="connsiteX2" fmla="*/ 38561 w 76446"/>
                  <a:gd name="connsiteY2" fmla="*/ 97419 h 97418"/>
                  <a:gd name="connsiteX3" fmla="*/ 18266 w 76446"/>
                  <a:gd name="connsiteY3" fmla="*/ 92007 h 97418"/>
                  <a:gd name="connsiteX4" fmla="*/ 4736 w 76446"/>
                  <a:gd name="connsiteY4" fmla="*/ 76447 h 97418"/>
                  <a:gd name="connsiteX5" fmla="*/ 0 w 76446"/>
                  <a:gd name="connsiteY5" fmla="*/ 53445 h 97418"/>
                  <a:gd name="connsiteX6" fmla="*/ 0 w 76446"/>
                  <a:gd name="connsiteY6" fmla="*/ 44650 h 97418"/>
                  <a:gd name="connsiteX7" fmla="*/ 4736 w 76446"/>
                  <a:gd name="connsiteY7" fmla="*/ 20972 h 97418"/>
                  <a:gd name="connsiteX8" fmla="*/ 18266 w 76446"/>
                  <a:gd name="connsiteY8" fmla="*/ 5412 h 97418"/>
                  <a:gd name="connsiteX9" fmla="*/ 39238 w 76446"/>
                  <a:gd name="connsiteY9" fmla="*/ 0 h 97418"/>
                  <a:gd name="connsiteX10" fmla="*/ 64946 w 76446"/>
                  <a:gd name="connsiteY10" fmla="*/ 8795 h 97418"/>
                  <a:gd name="connsiteX11" fmla="*/ 76447 w 76446"/>
                  <a:gd name="connsiteY11" fmla="*/ 33149 h 97418"/>
                  <a:gd name="connsiteX12" fmla="*/ 60210 w 76446"/>
                  <a:gd name="connsiteY12" fmla="*/ 33149 h 97418"/>
                  <a:gd name="connsiteX13" fmla="*/ 54122 w 76446"/>
                  <a:gd name="connsiteY13" fmla="*/ 18266 h 97418"/>
                  <a:gd name="connsiteX14" fmla="*/ 39915 w 76446"/>
                  <a:gd name="connsiteY14" fmla="*/ 13530 h 97418"/>
                  <a:gd name="connsiteX15" fmla="*/ 23002 w 76446"/>
                  <a:gd name="connsiteY15" fmla="*/ 21649 h 97418"/>
                  <a:gd name="connsiteX16" fmla="*/ 16913 w 76446"/>
                  <a:gd name="connsiteY16" fmla="*/ 44650 h 97418"/>
                  <a:gd name="connsiteX17" fmla="*/ 16913 w 76446"/>
                  <a:gd name="connsiteY17" fmla="*/ 53445 h 97418"/>
                  <a:gd name="connsiteX18" fmla="*/ 22325 w 76446"/>
                  <a:gd name="connsiteY18" fmla="*/ 77123 h 97418"/>
                  <a:gd name="connsiteX19" fmla="*/ 38561 w 76446"/>
                  <a:gd name="connsiteY19" fmla="*/ 85241 h 97418"/>
                  <a:gd name="connsiteX20" fmla="*/ 53445 w 76446"/>
                  <a:gd name="connsiteY20" fmla="*/ 81182 h 97418"/>
                  <a:gd name="connsiteX21" fmla="*/ 59534 w 76446"/>
                  <a:gd name="connsiteY21" fmla="*/ 66299 h 97418"/>
                  <a:gd name="connsiteX22" fmla="*/ 76447 w 76446"/>
                  <a:gd name="connsiteY22" fmla="*/ 66299 h 97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6446" h="97418">
                    <a:moveTo>
                      <a:pt x="76447" y="64946"/>
                    </a:moveTo>
                    <a:cubicBezTo>
                      <a:pt x="75770" y="75094"/>
                      <a:pt x="71711" y="83212"/>
                      <a:pt x="64946" y="88624"/>
                    </a:cubicBezTo>
                    <a:cubicBezTo>
                      <a:pt x="58180" y="94036"/>
                      <a:pt x="49386" y="97419"/>
                      <a:pt x="38561" y="97419"/>
                    </a:cubicBezTo>
                    <a:cubicBezTo>
                      <a:pt x="31120" y="97419"/>
                      <a:pt x="24355" y="95389"/>
                      <a:pt x="18266" y="92007"/>
                    </a:cubicBezTo>
                    <a:cubicBezTo>
                      <a:pt x="12177" y="88624"/>
                      <a:pt x="8118" y="83212"/>
                      <a:pt x="4736" y="76447"/>
                    </a:cubicBezTo>
                    <a:cubicBezTo>
                      <a:pt x="1353" y="69681"/>
                      <a:pt x="0" y="62240"/>
                      <a:pt x="0" y="53445"/>
                    </a:cubicBezTo>
                    <a:lnTo>
                      <a:pt x="0" y="44650"/>
                    </a:lnTo>
                    <a:cubicBezTo>
                      <a:pt x="0" y="35856"/>
                      <a:pt x="1353" y="27737"/>
                      <a:pt x="4736" y="20972"/>
                    </a:cubicBezTo>
                    <a:cubicBezTo>
                      <a:pt x="8118" y="14207"/>
                      <a:pt x="12177" y="8795"/>
                      <a:pt x="18266" y="5412"/>
                    </a:cubicBezTo>
                    <a:cubicBezTo>
                      <a:pt x="24355" y="2030"/>
                      <a:pt x="31120" y="0"/>
                      <a:pt x="39238" y="0"/>
                    </a:cubicBezTo>
                    <a:cubicBezTo>
                      <a:pt x="50062" y="0"/>
                      <a:pt x="58180" y="2706"/>
                      <a:pt x="64946" y="8795"/>
                    </a:cubicBezTo>
                    <a:cubicBezTo>
                      <a:pt x="71034" y="14207"/>
                      <a:pt x="75093" y="22325"/>
                      <a:pt x="76447" y="33149"/>
                    </a:cubicBezTo>
                    <a:lnTo>
                      <a:pt x="60210" y="33149"/>
                    </a:lnTo>
                    <a:cubicBezTo>
                      <a:pt x="59534" y="26384"/>
                      <a:pt x="57504" y="21649"/>
                      <a:pt x="54122" y="18266"/>
                    </a:cubicBezTo>
                    <a:cubicBezTo>
                      <a:pt x="50739" y="15560"/>
                      <a:pt x="46003" y="13530"/>
                      <a:pt x="39915" y="13530"/>
                    </a:cubicBezTo>
                    <a:cubicBezTo>
                      <a:pt x="32473" y="13530"/>
                      <a:pt x="27061" y="16236"/>
                      <a:pt x="23002" y="21649"/>
                    </a:cubicBezTo>
                    <a:cubicBezTo>
                      <a:pt x="18942" y="27061"/>
                      <a:pt x="16913" y="34503"/>
                      <a:pt x="16913" y="44650"/>
                    </a:cubicBezTo>
                    <a:lnTo>
                      <a:pt x="16913" y="53445"/>
                    </a:lnTo>
                    <a:cubicBezTo>
                      <a:pt x="16913" y="63593"/>
                      <a:pt x="18942" y="71711"/>
                      <a:pt x="22325" y="77123"/>
                    </a:cubicBezTo>
                    <a:cubicBezTo>
                      <a:pt x="25708" y="82535"/>
                      <a:pt x="31120" y="85241"/>
                      <a:pt x="38561" y="85241"/>
                    </a:cubicBezTo>
                    <a:cubicBezTo>
                      <a:pt x="45327" y="85241"/>
                      <a:pt x="50062" y="83888"/>
                      <a:pt x="53445" y="81182"/>
                    </a:cubicBezTo>
                    <a:cubicBezTo>
                      <a:pt x="56828" y="78476"/>
                      <a:pt x="58857" y="73064"/>
                      <a:pt x="59534" y="66299"/>
                    </a:cubicBezTo>
                    <a:lnTo>
                      <a:pt x="76447" y="66299"/>
                    </a:lnTo>
                    <a:close/>
                  </a:path>
                </a:pathLst>
              </a:custGeom>
              <a:solidFill>
                <a:srgbClr val="004A99"/>
              </a:solidFill>
              <a:ln w="6756" cap="flat">
                <a:noFill/>
                <a:prstDash val="solid"/>
                <a:miter/>
              </a:ln>
            </p:spPr>
            <p:txBody>
              <a:bodyPr rtlCol="0" anchor="ctr"/>
              <a:lstStyle/>
              <a:p>
                <a:pPr rtl="0"/>
                <a:endParaRPr lang="en-US"/>
              </a:p>
            </p:txBody>
          </p:sp>
          <p:sp>
            <p:nvSpPr>
              <p:cNvPr id="31" name="Freihandform: Form 30">
                <a:extLst>
                  <a:ext uri="{FF2B5EF4-FFF2-40B4-BE49-F238E27FC236}">
                    <a16:creationId xmlns:a16="http://schemas.microsoft.com/office/drawing/2014/main" id="{3C708605-FEAB-4084-9334-AD8BAB1B2ECE}"/>
                  </a:ext>
                </a:extLst>
              </p:cNvPr>
              <p:cNvSpPr/>
              <p:nvPr/>
            </p:nvSpPr>
            <p:spPr>
              <a:xfrm>
                <a:off x="7427692" y="3228191"/>
                <a:ext cx="71711" cy="96742"/>
              </a:xfrm>
              <a:custGeom>
                <a:avLst/>
                <a:gdLst>
                  <a:gd name="connsiteX0" fmla="*/ 55475 w 71711"/>
                  <a:gd name="connsiteY0" fmla="*/ 71711 h 96742"/>
                  <a:gd name="connsiteX1" fmla="*/ 50739 w 71711"/>
                  <a:gd name="connsiteY1" fmla="*/ 62240 h 96742"/>
                  <a:gd name="connsiteX2" fmla="*/ 34503 w 71711"/>
                  <a:gd name="connsiteY2" fmla="*/ 55475 h 96742"/>
                  <a:gd name="connsiteX3" fmla="*/ 16237 w 71711"/>
                  <a:gd name="connsiteY3" fmla="*/ 48033 h 96742"/>
                  <a:gd name="connsiteX4" fmla="*/ 3383 w 71711"/>
                  <a:gd name="connsiteY4" fmla="*/ 26384 h 96742"/>
                  <a:gd name="connsiteX5" fmla="*/ 12854 w 71711"/>
                  <a:gd name="connsiteY5" fmla="*/ 7442 h 96742"/>
                  <a:gd name="connsiteX6" fmla="*/ 37209 w 71711"/>
                  <a:gd name="connsiteY6" fmla="*/ 0 h 96742"/>
                  <a:gd name="connsiteX7" fmla="*/ 54798 w 71711"/>
                  <a:gd name="connsiteY7" fmla="*/ 3383 h 96742"/>
                  <a:gd name="connsiteX8" fmla="*/ 66976 w 71711"/>
                  <a:gd name="connsiteY8" fmla="*/ 13530 h 96742"/>
                  <a:gd name="connsiteX9" fmla="*/ 71711 w 71711"/>
                  <a:gd name="connsiteY9" fmla="*/ 28414 h 96742"/>
                  <a:gd name="connsiteX10" fmla="*/ 55475 w 71711"/>
                  <a:gd name="connsiteY10" fmla="*/ 28414 h 96742"/>
                  <a:gd name="connsiteX11" fmla="*/ 50739 w 71711"/>
                  <a:gd name="connsiteY11" fmla="*/ 16913 h 96742"/>
                  <a:gd name="connsiteX12" fmla="*/ 37209 w 71711"/>
                  <a:gd name="connsiteY12" fmla="*/ 12854 h 96742"/>
                  <a:gd name="connsiteX13" fmla="*/ 24355 w 71711"/>
                  <a:gd name="connsiteY13" fmla="*/ 16236 h 96742"/>
                  <a:gd name="connsiteX14" fmla="*/ 19619 w 71711"/>
                  <a:gd name="connsiteY14" fmla="*/ 25708 h 96742"/>
                  <a:gd name="connsiteX15" fmla="*/ 24355 w 71711"/>
                  <a:gd name="connsiteY15" fmla="*/ 34503 h 96742"/>
                  <a:gd name="connsiteX16" fmla="*/ 40591 w 71711"/>
                  <a:gd name="connsiteY16" fmla="*/ 41268 h 96742"/>
                  <a:gd name="connsiteX17" fmla="*/ 58181 w 71711"/>
                  <a:gd name="connsiteY17" fmla="*/ 48709 h 96742"/>
                  <a:gd name="connsiteX18" fmla="*/ 68328 w 71711"/>
                  <a:gd name="connsiteY18" fmla="*/ 58181 h 96742"/>
                  <a:gd name="connsiteX19" fmla="*/ 71711 w 71711"/>
                  <a:gd name="connsiteY19" fmla="*/ 71035 h 96742"/>
                  <a:gd name="connsiteX20" fmla="*/ 62240 w 71711"/>
                  <a:gd name="connsiteY20" fmla="*/ 89977 h 96742"/>
                  <a:gd name="connsiteX21" fmla="*/ 37209 w 71711"/>
                  <a:gd name="connsiteY21" fmla="*/ 96742 h 96742"/>
                  <a:gd name="connsiteX22" fmla="*/ 18266 w 71711"/>
                  <a:gd name="connsiteY22" fmla="*/ 92683 h 96742"/>
                  <a:gd name="connsiteX23" fmla="*/ 4736 w 71711"/>
                  <a:gd name="connsiteY23" fmla="*/ 81859 h 96742"/>
                  <a:gd name="connsiteX24" fmla="*/ 0 w 71711"/>
                  <a:gd name="connsiteY24" fmla="*/ 66299 h 96742"/>
                  <a:gd name="connsiteX25" fmla="*/ 16913 w 71711"/>
                  <a:gd name="connsiteY25" fmla="*/ 66299 h 96742"/>
                  <a:gd name="connsiteX26" fmla="*/ 22325 w 71711"/>
                  <a:gd name="connsiteY26" fmla="*/ 79153 h 96742"/>
                  <a:gd name="connsiteX27" fmla="*/ 37885 w 71711"/>
                  <a:gd name="connsiteY27" fmla="*/ 83888 h 96742"/>
                  <a:gd name="connsiteX28" fmla="*/ 50739 w 71711"/>
                  <a:gd name="connsiteY28" fmla="*/ 80506 h 96742"/>
                  <a:gd name="connsiteX29" fmla="*/ 55475 w 71711"/>
                  <a:gd name="connsiteY29" fmla="*/ 71711 h 96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1711" h="96742">
                    <a:moveTo>
                      <a:pt x="55475" y="71711"/>
                    </a:moveTo>
                    <a:cubicBezTo>
                      <a:pt x="55475" y="67652"/>
                      <a:pt x="54122" y="64269"/>
                      <a:pt x="50739" y="62240"/>
                    </a:cubicBezTo>
                    <a:cubicBezTo>
                      <a:pt x="48033" y="60210"/>
                      <a:pt x="42621" y="57504"/>
                      <a:pt x="34503" y="55475"/>
                    </a:cubicBezTo>
                    <a:cubicBezTo>
                      <a:pt x="27061" y="53445"/>
                      <a:pt x="20972" y="50739"/>
                      <a:pt x="16237" y="48033"/>
                    </a:cubicBezTo>
                    <a:cubicBezTo>
                      <a:pt x="7442" y="42621"/>
                      <a:pt x="3383" y="35179"/>
                      <a:pt x="3383" y="26384"/>
                    </a:cubicBezTo>
                    <a:cubicBezTo>
                      <a:pt x="3383" y="18943"/>
                      <a:pt x="6765" y="12177"/>
                      <a:pt x="12854" y="7442"/>
                    </a:cubicBezTo>
                    <a:cubicBezTo>
                      <a:pt x="18943" y="2706"/>
                      <a:pt x="27061" y="0"/>
                      <a:pt x="37209" y="0"/>
                    </a:cubicBezTo>
                    <a:cubicBezTo>
                      <a:pt x="43974" y="0"/>
                      <a:pt x="50063" y="1353"/>
                      <a:pt x="54798" y="3383"/>
                    </a:cubicBezTo>
                    <a:cubicBezTo>
                      <a:pt x="60210" y="6089"/>
                      <a:pt x="64269" y="9471"/>
                      <a:pt x="66976" y="13530"/>
                    </a:cubicBezTo>
                    <a:cubicBezTo>
                      <a:pt x="69682" y="18266"/>
                      <a:pt x="71711" y="23002"/>
                      <a:pt x="71711" y="28414"/>
                    </a:cubicBezTo>
                    <a:lnTo>
                      <a:pt x="55475" y="28414"/>
                    </a:lnTo>
                    <a:cubicBezTo>
                      <a:pt x="55475" y="23678"/>
                      <a:pt x="54122" y="19619"/>
                      <a:pt x="50739" y="16913"/>
                    </a:cubicBezTo>
                    <a:cubicBezTo>
                      <a:pt x="47356" y="14207"/>
                      <a:pt x="43297" y="12854"/>
                      <a:pt x="37209" y="12854"/>
                    </a:cubicBezTo>
                    <a:cubicBezTo>
                      <a:pt x="31796" y="12854"/>
                      <a:pt x="27737" y="14207"/>
                      <a:pt x="24355" y="16236"/>
                    </a:cubicBezTo>
                    <a:cubicBezTo>
                      <a:pt x="21649" y="18266"/>
                      <a:pt x="19619" y="21649"/>
                      <a:pt x="19619" y="25708"/>
                    </a:cubicBezTo>
                    <a:cubicBezTo>
                      <a:pt x="19619" y="29090"/>
                      <a:pt x="20972" y="31796"/>
                      <a:pt x="24355" y="34503"/>
                    </a:cubicBezTo>
                    <a:cubicBezTo>
                      <a:pt x="27737" y="36532"/>
                      <a:pt x="33150" y="39238"/>
                      <a:pt x="40591" y="41268"/>
                    </a:cubicBezTo>
                    <a:cubicBezTo>
                      <a:pt x="48033" y="43297"/>
                      <a:pt x="54122" y="46003"/>
                      <a:pt x="58181" y="48709"/>
                    </a:cubicBezTo>
                    <a:cubicBezTo>
                      <a:pt x="62916" y="51415"/>
                      <a:pt x="66299" y="54798"/>
                      <a:pt x="68328" y="58181"/>
                    </a:cubicBezTo>
                    <a:cubicBezTo>
                      <a:pt x="70358" y="61563"/>
                      <a:pt x="71711" y="66299"/>
                      <a:pt x="71711" y="71035"/>
                    </a:cubicBezTo>
                    <a:cubicBezTo>
                      <a:pt x="71711" y="79153"/>
                      <a:pt x="69005" y="85241"/>
                      <a:pt x="62240" y="89977"/>
                    </a:cubicBezTo>
                    <a:cubicBezTo>
                      <a:pt x="56151" y="94713"/>
                      <a:pt x="48033" y="96742"/>
                      <a:pt x="37209" y="96742"/>
                    </a:cubicBezTo>
                    <a:cubicBezTo>
                      <a:pt x="30443" y="96742"/>
                      <a:pt x="23678" y="95389"/>
                      <a:pt x="18266" y="92683"/>
                    </a:cubicBezTo>
                    <a:cubicBezTo>
                      <a:pt x="12854" y="89977"/>
                      <a:pt x="8118" y="86594"/>
                      <a:pt x="4736" y="81859"/>
                    </a:cubicBezTo>
                    <a:cubicBezTo>
                      <a:pt x="1353" y="77123"/>
                      <a:pt x="0" y="72388"/>
                      <a:pt x="0" y="66299"/>
                    </a:cubicBezTo>
                    <a:lnTo>
                      <a:pt x="16913" y="66299"/>
                    </a:lnTo>
                    <a:cubicBezTo>
                      <a:pt x="16913" y="71711"/>
                      <a:pt x="18943" y="75770"/>
                      <a:pt x="22325" y="79153"/>
                    </a:cubicBezTo>
                    <a:cubicBezTo>
                      <a:pt x="25708" y="81859"/>
                      <a:pt x="31120" y="83888"/>
                      <a:pt x="37885" y="83888"/>
                    </a:cubicBezTo>
                    <a:cubicBezTo>
                      <a:pt x="43974" y="83888"/>
                      <a:pt x="48033" y="82535"/>
                      <a:pt x="50739" y="80506"/>
                    </a:cubicBezTo>
                    <a:cubicBezTo>
                      <a:pt x="54122" y="78476"/>
                      <a:pt x="55475" y="75770"/>
                      <a:pt x="55475" y="71711"/>
                    </a:cubicBezTo>
                    <a:close/>
                  </a:path>
                </a:pathLst>
              </a:custGeom>
              <a:solidFill>
                <a:srgbClr val="004A99"/>
              </a:solidFill>
              <a:ln w="6756" cap="flat">
                <a:noFill/>
                <a:prstDash val="solid"/>
                <a:miter/>
              </a:ln>
            </p:spPr>
            <p:txBody>
              <a:bodyPr rtlCol="0" anchor="ctr"/>
              <a:lstStyle/>
              <a:p>
                <a:pPr rtl="0"/>
                <a:endParaRPr lang="en-US"/>
              </a:p>
            </p:txBody>
          </p:sp>
        </p:grpSp>
        <p:sp>
          <p:nvSpPr>
            <p:cNvPr id="32" name="Freihandform: Form 31">
              <a:extLst>
                <a:ext uri="{FF2B5EF4-FFF2-40B4-BE49-F238E27FC236}">
                  <a16:creationId xmlns:a16="http://schemas.microsoft.com/office/drawing/2014/main" id="{E23EDC2F-FF0E-4BB9-B227-857CBF2307F9}"/>
                </a:ext>
              </a:extLst>
            </p:cNvPr>
            <p:cNvSpPr/>
            <p:nvPr/>
          </p:nvSpPr>
          <p:spPr>
            <a:xfrm>
              <a:off x="7406044" y="2550319"/>
              <a:ext cx="253018" cy="253018"/>
            </a:xfrm>
            <a:custGeom>
              <a:avLst/>
              <a:gdLst>
                <a:gd name="connsiteX0" fmla="*/ 126509 w 253018"/>
                <a:gd name="connsiteY0" fmla="*/ 0 h 253018"/>
                <a:gd name="connsiteX1" fmla="*/ 0 w 253018"/>
                <a:gd name="connsiteY1" fmla="*/ 126509 h 253018"/>
                <a:gd name="connsiteX2" fmla="*/ 126509 w 253018"/>
                <a:gd name="connsiteY2" fmla="*/ 253018 h 253018"/>
                <a:gd name="connsiteX3" fmla="*/ 253018 w 253018"/>
                <a:gd name="connsiteY3" fmla="*/ 126509 h 253018"/>
                <a:gd name="connsiteX4" fmla="*/ 126509 w 253018"/>
                <a:gd name="connsiteY4" fmla="*/ 0 h 253018"/>
                <a:gd name="connsiteX5" fmla="*/ 126509 w 253018"/>
                <a:gd name="connsiteY5" fmla="*/ 237458 h 253018"/>
                <a:gd name="connsiteX6" fmla="*/ 71034 w 253018"/>
                <a:gd name="connsiteY6" fmla="*/ 222575 h 253018"/>
                <a:gd name="connsiteX7" fmla="*/ 93360 w 253018"/>
                <a:gd name="connsiteY7" fmla="*/ 219869 h 253018"/>
                <a:gd name="connsiteX8" fmla="*/ 115008 w 253018"/>
                <a:gd name="connsiteY8" fmla="*/ 212427 h 253018"/>
                <a:gd name="connsiteX9" fmla="*/ 141392 w 253018"/>
                <a:gd name="connsiteY9" fmla="*/ 194838 h 253018"/>
                <a:gd name="connsiteX10" fmla="*/ 160335 w 253018"/>
                <a:gd name="connsiteY10" fmla="*/ 177925 h 253018"/>
                <a:gd name="connsiteX11" fmla="*/ 183337 w 253018"/>
                <a:gd name="connsiteY11" fmla="*/ 165071 h 253018"/>
                <a:gd name="connsiteX12" fmla="*/ 192131 w 253018"/>
                <a:gd name="connsiteY12" fmla="*/ 163041 h 253018"/>
                <a:gd name="connsiteX13" fmla="*/ 208368 w 253018"/>
                <a:gd name="connsiteY13" fmla="*/ 158982 h 253018"/>
                <a:gd name="connsiteX14" fmla="*/ 220545 w 253018"/>
                <a:gd name="connsiteY14" fmla="*/ 155599 h 253018"/>
                <a:gd name="connsiteX15" fmla="*/ 221898 w 253018"/>
                <a:gd name="connsiteY15" fmla="*/ 154246 h 253018"/>
                <a:gd name="connsiteX16" fmla="*/ 219869 w 253018"/>
                <a:gd name="connsiteY16" fmla="*/ 152893 h 253018"/>
                <a:gd name="connsiteX17" fmla="*/ 204309 w 253018"/>
                <a:gd name="connsiteY17" fmla="*/ 147481 h 253018"/>
                <a:gd name="connsiteX18" fmla="*/ 194161 w 253018"/>
                <a:gd name="connsiteY18" fmla="*/ 147481 h 253018"/>
                <a:gd name="connsiteX19" fmla="*/ 180630 w 253018"/>
                <a:gd name="connsiteY19" fmla="*/ 154923 h 253018"/>
                <a:gd name="connsiteX20" fmla="*/ 158982 w 253018"/>
                <a:gd name="connsiteY20" fmla="*/ 167777 h 253018"/>
                <a:gd name="connsiteX21" fmla="*/ 141392 w 253018"/>
                <a:gd name="connsiteY21" fmla="*/ 172512 h 253018"/>
                <a:gd name="connsiteX22" fmla="*/ 136657 w 253018"/>
                <a:gd name="connsiteY22" fmla="*/ 172512 h 253018"/>
                <a:gd name="connsiteX23" fmla="*/ 150864 w 253018"/>
                <a:gd name="connsiteY23" fmla="*/ 161012 h 253018"/>
                <a:gd name="connsiteX24" fmla="*/ 160335 w 253018"/>
                <a:gd name="connsiteY24" fmla="*/ 149511 h 253018"/>
                <a:gd name="connsiteX25" fmla="*/ 177248 w 253018"/>
                <a:gd name="connsiteY25" fmla="*/ 137333 h 253018"/>
                <a:gd name="connsiteX26" fmla="*/ 191455 w 253018"/>
                <a:gd name="connsiteY26" fmla="*/ 129215 h 253018"/>
                <a:gd name="connsiteX27" fmla="*/ 200250 w 253018"/>
                <a:gd name="connsiteY27" fmla="*/ 125833 h 253018"/>
                <a:gd name="connsiteX28" fmla="*/ 206338 w 253018"/>
                <a:gd name="connsiteY28" fmla="*/ 125156 h 253018"/>
                <a:gd name="connsiteX29" fmla="*/ 223251 w 253018"/>
                <a:gd name="connsiteY29" fmla="*/ 119067 h 253018"/>
                <a:gd name="connsiteX30" fmla="*/ 230693 w 253018"/>
                <a:gd name="connsiteY30" fmla="*/ 117038 h 253018"/>
                <a:gd name="connsiteX31" fmla="*/ 231369 w 253018"/>
                <a:gd name="connsiteY31" fmla="*/ 115685 h 253018"/>
                <a:gd name="connsiteX32" fmla="*/ 230693 w 253018"/>
                <a:gd name="connsiteY32" fmla="*/ 115008 h 253018"/>
                <a:gd name="connsiteX33" fmla="*/ 211750 w 253018"/>
                <a:gd name="connsiteY33" fmla="*/ 110273 h 253018"/>
                <a:gd name="connsiteX34" fmla="*/ 196191 w 253018"/>
                <a:gd name="connsiteY34" fmla="*/ 112302 h 253018"/>
                <a:gd name="connsiteX35" fmla="*/ 182660 w 253018"/>
                <a:gd name="connsiteY35" fmla="*/ 122450 h 253018"/>
                <a:gd name="connsiteX36" fmla="*/ 178601 w 253018"/>
                <a:gd name="connsiteY36" fmla="*/ 125156 h 253018"/>
                <a:gd name="connsiteX37" fmla="*/ 161011 w 253018"/>
                <a:gd name="connsiteY37" fmla="*/ 133951 h 253018"/>
                <a:gd name="connsiteX38" fmla="*/ 142746 w 253018"/>
                <a:gd name="connsiteY38" fmla="*/ 136657 h 253018"/>
                <a:gd name="connsiteX39" fmla="*/ 137333 w 253018"/>
                <a:gd name="connsiteY39" fmla="*/ 133274 h 253018"/>
                <a:gd name="connsiteX40" fmla="*/ 135304 w 253018"/>
                <a:gd name="connsiteY40" fmla="*/ 125156 h 253018"/>
                <a:gd name="connsiteX41" fmla="*/ 134627 w 253018"/>
                <a:gd name="connsiteY41" fmla="*/ 119744 h 253018"/>
                <a:gd name="connsiteX42" fmla="*/ 135304 w 253018"/>
                <a:gd name="connsiteY42" fmla="*/ 104184 h 253018"/>
                <a:gd name="connsiteX43" fmla="*/ 136657 w 253018"/>
                <a:gd name="connsiteY43" fmla="*/ 89977 h 253018"/>
                <a:gd name="connsiteX44" fmla="*/ 117038 w 253018"/>
                <a:gd name="connsiteY44" fmla="*/ 70358 h 253018"/>
                <a:gd name="connsiteX45" fmla="*/ 83888 w 253018"/>
                <a:gd name="connsiteY45" fmla="*/ 31796 h 253018"/>
                <a:gd name="connsiteX46" fmla="*/ 81859 w 253018"/>
                <a:gd name="connsiteY46" fmla="*/ 28414 h 253018"/>
                <a:gd name="connsiteX47" fmla="*/ 79829 w 253018"/>
                <a:gd name="connsiteY47" fmla="*/ 29767 h 253018"/>
                <a:gd name="connsiteX48" fmla="*/ 73741 w 253018"/>
                <a:gd name="connsiteY48" fmla="*/ 55475 h 253018"/>
                <a:gd name="connsiteX49" fmla="*/ 86594 w 253018"/>
                <a:gd name="connsiteY49" fmla="*/ 80506 h 253018"/>
                <a:gd name="connsiteX50" fmla="*/ 96066 w 253018"/>
                <a:gd name="connsiteY50" fmla="*/ 94036 h 253018"/>
                <a:gd name="connsiteX51" fmla="*/ 98095 w 253018"/>
                <a:gd name="connsiteY51" fmla="*/ 106890 h 253018"/>
                <a:gd name="connsiteX52" fmla="*/ 87947 w 253018"/>
                <a:gd name="connsiteY52" fmla="*/ 99448 h 253018"/>
                <a:gd name="connsiteX53" fmla="*/ 77800 w 253018"/>
                <a:gd name="connsiteY53" fmla="*/ 92007 h 253018"/>
                <a:gd name="connsiteX54" fmla="*/ 56828 w 253018"/>
                <a:gd name="connsiteY54" fmla="*/ 73741 h 253018"/>
                <a:gd name="connsiteX55" fmla="*/ 55474 w 253018"/>
                <a:gd name="connsiteY55" fmla="*/ 73741 h 253018"/>
                <a:gd name="connsiteX56" fmla="*/ 54122 w 253018"/>
                <a:gd name="connsiteY56" fmla="*/ 76447 h 253018"/>
                <a:gd name="connsiteX57" fmla="*/ 58181 w 253018"/>
                <a:gd name="connsiteY57" fmla="*/ 108920 h 253018"/>
                <a:gd name="connsiteX58" fmla="*/ 71034 w 253018"/>
                <a:gd name="connsiteY58" fmla="*/ 123803 h 253018"/>
                <a:gd name="connsiteX59" fmla="*/ 80506 w 253018"/>
                <a:gd name="connsiteY59" fmla="*/ 132598 h 253018"/>
                <a:gd name="connsiteX60" fmla="*/ 87271 w 253018"/>
                <a:gd name="connsiteY60" fmla="*/ 142746 h 253018"/>
                <a:gd name="connsiteX61" fmla="*/ 84565 w 253018"/>
                <a:gd name="connsiteY61" fmla="*/ 155599 h 253018"/>
                <a:gd name="connsiteX62" fmla="*/ 78476 w 253018"/>
                <a:gd name="connsiteY62" fmla="*/ 164394 h 253018"/>
                <a:gd name="connsiteX63" fmla="*/ 63593 w 253018"/>
                <a:gd name="connsiteY63" fmla="*/ 165747 h 253018"/>
                <a:gd name="connsiteX64" fmla="*/ 56828 w 253018"/>
                <a:gd name="connsiteY64" fmla="*/ 171836 h 253018"/>
                <a:gd name="connsiteX65" fmla="*/ 53445 w 253018"/>
                <a:gd name="connsiteY65" fmla="*/ 182660 h 253018"/>
                <a:gd name="connsiteX66" fmla="*/ 57504 w 253018"/>
                <a:gd name="connsiteY66" fmla="*/ 193484 h 253018"/>
                <a:gd name="connsiteX67" fmla="*/ 60210 w 253018"/>
                <a:gd name="connsiteY67" fmla="*/ 195514 h 253018"/>
                <a:gd name="connsiteX68" fmla="*/ 66299 w 253018"/>
                <a:gd name="connsiteY68" fmla="*/ 192808 h 253018"/>
                <a:gd name="connsiteX69" fmla="*/ 89977 w 253018"/>
                <a:gd name="connsiteY69" fmla="*/ 179278 h 253018"/>
                <a:gd name="connsiteX70" fmla="*/ 77800 w 253018"/>
                <a:gd name="connsiteY70" fmla="*/ 190778 h 253018"/>
                <a:gd name="connsiteX71" fmla="*/ 50739 w 253018"/>
                <a:gd name="connsiteY71" fmla="*/ 202279 h 253018"/>
                <a:gd name="connsiteX72" fmla="*/ 46680 w 253018"/>
                <a:gd name="connsiteY72" fmla="*/ 200926 h 253018"/>
                <a:gd name="connsiteX73" fmla="*/ 16913 w 253018"/>
                <a:gd name="connsiteY73" fmla="*/ 125156 h 253018"/>
                <a:gd name="connsiteX74" fmla="*/ 127862 w 253018"/>
                <a:gd name="connsiteY74" fmla="*/ 14207 h 253018"/>
                <a:gd name="connsiteX75" fmla="*/ 238135 w 253018"/>
                <a:gd name="connsiteY75" fmla="*/ 125156 h 253018"/>
                <a:gd name="connsiteX76" fmla="*/ 126509 w 253018"/>
                <a:gd name="connsiteY76" fmla="*/ 237458 h 25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253016" h="253016">
                  <a:moveTo>
                    <a:pt x="126509" y="0"/>
                  </a:moveTo>
                  <a:cubicBezTo>
                    <a:pt x="56828" y="0"/>
                    <a:pt x="0" y="56828"/>
                    <a:pt x="0" y="126509"/>
                  </a:cubicBezTo>
                  <a:cubicBezTo>
                    <a:pt x="0" y="196191"/>
                    <a:pt x="56828" y="253018"/>
                    <a:pt x="126509" y="253018"/>
                  </a:cubicBezTo>
                  <a:cubicBezTo>
                    <a:pt x="196191" y="253018"/>
                    <a:pt x="253018" y="196191"/>
                    <a:pt x="253018" y="126509"/>
                  </a:cubicBezTo>
                  <a:cubicBezTo>
                    <a:pt x="253018" y="56828"/>
                    <a:pt x="196191" y="0"/>
                    <a:pt x="126509" y="0"/>
                  </a:cubicBezTo>
                  <a:close/>
                  <a:moveTo>
                    <a:pt x="126509" y="237458"/>
                  </a:moveTo>
                  <a:cubicBezTo>
                    <a:pt x="106213" y="237458"/>
                    <a:pt x="87271" y="232046"/>
                    <a:pt x="71034" y="222575"/>
                  </a:cubicBezTo>
                  <a:cubicBezTo>
                    <a:pt x="77800" y="222575"/>
                    <a:pt x="86594" y="221222"/>
                    <a:pt x="93360" y="219869"/>
                  </a:cubicBezTo>
                  <a:cubicBezTo>
                    <a:pt x="100801" y="218516"/>
                    <a:pt x="108243" y="215810"/>
                    <a:pt x="115008" y="212427"/>
                  </a:cubicBezTo>
                  <a:cubicBezTo>
                    <a:pt x="124479" y="208368"/>
                    <a:pt x="133951" y="203632"/>
                    <a:pt x="141392" y="194838"/>
                  </a:cubicBezTo>
                  <a:cubicBezTo>
                    <a:pt x="146804" y="188749"/>
                    <a:pt x="153570" y="181984"/>
                    <a:pt x="160335" y="177925"/>
                  </a:cubicBezTo>
                  <a:cubicBezTo>
                    <a:pt x="167777" y="173189"/>
                    <a:pt x="175218" y="168453"/>
                    <a:pt x="183337" y="165071"/>
                  </a:cubicBezTo>
                  <a:cubicBezTo>
                    <a:pt x="186043" y="163718"/>
                    <a:pt x="189425" y="163041"/>
                    <a:pt x="192131" y="163041"/>
                  </a:cubicBezTo>
                  <a:cubicBezTo>
                    <a:pt x="197543" y="163041"/>
                    <a:pt x="202956" y="161012"/>
                    <a:pt x="208368" y="158982"/>
                  </a:cubicBezTo>
                  <a:cubicBezTo>
                    <a:pt x="212427" y="157629"/>
                    <a:pt x="216486" y="156276"/>
                    <a:pt x="220545" y="155599"/>
                  </a:cubicBezTo>
                  <a:cubicBezTo>
                    <a:pt x="221222" y="155599"/>
                    <a:pt x="221898" y="155599"/>
                    <a:pt x="221898" y="154246"/>
                  </a:cubicBezTo>
                  <a:cubicBezTo>
                    <a:pt x="221898" y="152893"/>
                    <a:pt x="220545" y="153570"/>
                    <a:pt x="219869" y="152893"/>
                  </a:cubicBezTo>
                  <a:cubicBezTo>
                    <a:pt x="214456" y="151540"/>
                    <a:pt x="209044" y="149511"/>
                    <a:pt x="204309" y="147481"/>
                  </a:cubicBezTo>
                  <a:cubicBezTo>
                    <a:pt x="200926" y="146805"/>
                    <a:pt x="197543" y="146128"/>
                    <a:pt x="194161" y="147481"/>
                  </a:cubicBezTo>
                  <a:cubicBezTo>
                    <a:pt x="188749" y="148834"/>
                    <a:pt x="184690" y="151540"/>
                    <a:pt x="180630" y="154923"/>
                  </a:cubicBezTo>
                  <a:cubicBezTo>
                    <a:pt x="173865" y="160335"/>
                    <a:pt x="166424" y="165071"/>
                    <a:pt x="158982" y="167777"/>
                  </a:cubicBezTo>
                  <a:cubicBezTo>
                    <a:pt x="153570" y="170483"/>
                    <a:pt x="147481" y="171836"/>
                    <a:pt x="141392" y="172512"/>
                  </a:cubicBezTo>
                  <a:cubicBezTo>
                    <a:pt x="140039" y="172512"/>
                    <a:pt x="138010" y="173189"/>
                    <a:pt x="136657" y="172512"/>
                  </a:cubicBezTo>
                  <a:cubicBezTo>
                    <a:pt x="141392" y="169130"/>
                    <a:pt x="146804" y="166424"/>
                    <a:pt x="150864" y="161012"/>
                  </a:cubicBezTo>
                  <a:cubicBezTo>
                    <a:pt x="154246" y="156952"/>
                    <a:pt x="156952" y="152893"/>
                    <a:pt x="160335" y="149511"/>
                  </a:cubicBezTo>
                  <a:cubicBezTo>
                    <a:pt x="165747" y="144775"/>
                    <a:pt x="171159" y="140716"/>
                    <a:pt x="177248" y="137333"/>
                  </a:cubicBezTo>
                  <a:lnTo>
                    <a:pt x="191455" y="129215"/>
                  </a:lnTo>
                  <a:cubicBezTo>
                    <a:pt x="194161" y="127862"/>
                    <a:pt x="197543" y="126509"/>
                    <a:pt x="200250" y="125833"/>
                  </a:cubicBezTo>
                  <a:cubicBezTo>
                    <a:pt x="202279" y="125156"/>
                    <a:pt x="204309" y="125156"/>
                    <a:pt x="206338" y="125156"/>
                  </a:cubicBezTo>
                  <a:cubicBezTo>
                    <a:pt x="211750" y="125156"/>
                    <a:pt x="217839" y="121097"/>
                    <a:pt x="223251" y="119067"/>
                  </a:cubicBezTo>
                  <a:cubicBezTo>
                    <a:pt x="225957" y="118391"/>
                    <a:pt x="228663" y="118391"/>
                    <a:pt x="230693" y="117038"/>
                  </a:cubicBezTo>
                  <a:cubicBezTo>
                    <a:pt x="231369" y="117038"/>
                    <a:pt x="231369" y="116361"/>
                    <a:pt x="231369" y="115685"/>
                  </a:cubicBezTo>
                  <a:lnTo>
                    <a:pt x="230693" y="115008"/>
                  </a:lnTo>
                  <a:cubicBezTo>
                    <a:pt x="223928" y="114332"/>
                    <a:pt x="218516" y="112302"/>
                    <a:pt x="211750" y="110273"/>
                  </a:cubicBezTo>
                  <a:cubicBezTo>
                    <a:pt x="206338" y="109596"/>
                    <a:pt x="200926" y="109596"/>
                    <a:pt x="196191" y="112302"/>
                  </a:cubicBezTo>
                  <a:cubicBezTo>
                    <a:pt x="191455" y="115685"/>
                    <a:pt x="187396" y="119067"/>
                    <a:pt x="182660" y="122450"/>
                  </a:cubicBezTo>
                  <a:cubicBezTo>
                    <a:pt x="181307" y="123126"/>
                    <a:pt x="179954" y="124480"/>
                    <a:pt x="178601" y="125156"/>
                  </a:cubicBezTo>
                  <a:cubicBezTo>
                    <a:pt x="173189" y="128539"/>
                    <a:pt x="167100" y="131921"/>
                    <a:pt x="161011" y="133951"/>
                  </a:cubicBezTo>
                  <a:cubicBezTo>
                    <a:pt x="154923" y="135980"/>
                    <a:pt x="148834" y="136657"/>
                    <a:pt x="142746" y="136657"/>
                  </a:cubicBezTo>
                  <a:cubicBezTo>
                    <a:pt x="140716" y="136657"/>
                    <a:pt x="138686" y="135304"/>
                    <a:pt x="137333" y="133274"/>
                  </a:cubicBezTo>
                  <a:cubicBezTo>
                    <a:pt x="135980" y="130568"/>
                    <a:pt x="135304" y="127862"/>
                    <a:pt x="135304" y="125156"/>
                  </a:cubicBezTo>
                  <a:cubicBezTo>
                    <a:pt x="135304" y="123126"/>
                    <a:pt x="135304" y="121773"/>
                    <a:pt x="134627" y="119744"/>
                  </a:cubicBezTo>
                  <a:cubicBezTo>
                    <a:pt x="134627" y="115008"/>
                    <a:pt x="133951" y="108920"/>
                    <a:pt x="135304" y="104184"/>
                  </a:cubicBezTo>
                  <a:cubicBezTo>
                    <a:pt x="135980" y="99448"/>
                    <a:pt x="137333" y="94713"/>
                    <a:pt x="136657" y="89977"/>
                  </a:cubicBezTo>
                  <a:cubicBezTo>
                    <a:pt x="135304" y="85918"/>
                    <a:pt x="129892" y="81182"/>
                    <a:pt x="117038" y="70358"/>
                  </a:cubicBezTo>
                  <a:cubicBezTo>
                    <a:pt x="104184" y="58857"/>
                    <a:pt x="90654" y="43974"/>
                    <a:pt x="83888" y="31796"/>
                  </a:cubicBezTo>
                  <a:cubicBezTo>
                    <a:pt x="83212" y="30443"/>
                    <a:pt x="82535" y="29090"/>
                    <a:pt x="81859" y="28414"/>
                  </a:cubicBezTo>
                  <a:cubicBezTo>
                    <a:pt x="80506" y="28414"/>
                    <a:pt x="80506" y="29090"/>
                    <a:pt x="79829" y="29767"/>
                  </a:cubicBezTo>
                  <a:cubicBezTo>
                    <a:pt x="74417" y="37209"/>
                    <a:pt x="72387" y="46003"/>
                    <a:pt x="73741" y="55475"/>
                  </a:cubicBezTo>
                  <a:cubicBezTo>
                    <a:pt x="75770" y="64946"/>
                    <a:pt x="79829" y="73064"/>
                    <a:pt x="86594" y="80506"/>
                  </a:cubicBezTo>
                  <a:cubicBezTo>
                    <a:pt x="89977" y="84565"/>
                    <a:pt x="94036" y="89977"/>
                    <a:pt x="96066" y="94036"/>
                  </a:cubicBezTo>
                  <a:cubicBezTo>
                    <a:pt x="98095" y="98095"/>
                    <a:pt x="98772" y="102154"/>
                    <a:pt x="98095" y="106890"/>
                  </a:cubicBezTo>
                  <a:lnTo>
                    <a:pt x="87947" y="99448"/>
                  </a:lnTo>
                  <a:cubicBezTo>
                    <a:pt x="87947" y="99448"/>
                    <a:pt x="83888" y="96742"/>
                    <a:pt x="77800" y="92007"/>
                  </a:cubicBezTo>
                  <a:cubicBezTo>
                    <a:pt x="72387" y="87947"/>
                    <a:pt x="66299" y="84565"/>
                    <a:pt x="56828" y="73741"/>
                  </a:cubicBezTo>
                  <a:cubicBezTo>
                    <a:pt x="56828" y="73064"/>
                    <a:pt x="56151" y="73064"/>
                    <a:pt x="55474" y="73741"/>
                  </a:cubicBezTo>
                  <a:cubicBezTo>
                    <a:pt x="54798" y="74417"/>
                    <a:pt x="54798" y="75094"/>
                    <a:pt x="54122" y="76447"/>
                  </a:cubicBezTo>
                  <a:cubicBezTo>
                    <a:pt x="52768" y="87271"/>
                    <a:pt x="52092" y="100125"/>
                    <a:pt x="58181" y="108920"/>
                  </a:cubicBezTo>
                  <a:cubicBezTo>
                    <a:pt x="61563" y="114332"/>
                    <a:pt x="66299" y="119067"/>
                    <a:pt x="71034" y="123803"/>
                  </a:cubicBezTo>
                  <a:cubicBezTo>
                    <a:pt x="74417" y="126509"/>
                    <a:pt x="77123" y="129892"/>
                    <a:pt x="80506" y="132598"/>
                  </a:cubicBezTo>
                  <a:cubicBezTo>
                    <a:pt x="83888" y="135304"/>
                    <a:pt x="87271" y="138686"/>
                    <a:pt x="87271" y="142746"/>
                  </a:cubicBezTo>
                  <a:cubicBezTo>
                    <a:pt x="87947" y="147481"/>
                    <a:pt x="85918" y="151540"/>
                    <a:pt x="84565" y="155599"/>
                  </a:cubicBezTo>
                  <a:cubicBezTo>
                    <a:pt x="82535" y="158982"/>
                    <a:pt x="81182" y="162365"/>
                    <a:pt x="78476" y="164394"/>
                  </a:cubicBezTo>
                  <a:cubicBezTo>
                    <a:pt x="74417" y="167100"/>
                    <a:pt x="68328" y="165071"/>
                    <a:pt x="63593" y="165747"/>
                  </a:cubicBezTo>
                  <a:cubicBezTo>
                    <a:pt x="60210" y="165747"/>
                    <a:pt x="58181" y="169130"/>
                    <a:pt x="56828" y="171836"/>
                  </a:cubicBezTo>
                  <a:cubicBezTo>
                    <a:pt x="54798" y="175218"/>
                    <a:pt x="52768" y="178601"/>
                    <a:pt x="53445" y="182660"/>
                  </a:cubicBezTo>
                  <a:cubicBezTo>
                    <a:pt x="54122" y="187396"/>
                    <a:pt x="56151" y="191455"/>
                    <a:pt x="57504" y="193484"/>
                  </a:cubicBezTo>
                  <a:cubicBezTo>
                    <a:pt x="58181" y="194161"/>
                    <a:pt x="58857" y="195514"/>
                    <a:pt x="60210" y="195514"/>
                  </a:cubicBezTo>
                  <a:cubicBezTo>
                    <a:pt x="62240" y="194838"/>
                    <a:pt x="64269" y="194161"/>
                    <a:pt x="66299" y="192808"/>
                  </a:cubicBezTo>
                  <a:cubicBezTo>
                    <a:pt x="75770" y="184690"/>
                    <a:pt x="79829" y="181984"/>
                    <a:pt x="89977" y="179278"/>
                  </a:cubicBezTo>
                  <a:cubicBezTo>
                    <a:pt x="83888" y="181984"/>
                    <a:pt x="79153" y="188749"/>
                    <a:pt x="77800" y="190778"/>
                  </a:cubicBezTo>
                  <a:cubicBezTo>
                    <a:pt x="69681" y="200250"/>
                    <a:pt x="62240" y="204309"/>
                    <a:pt x="50739" y="202279"/>
                  </a:cubicBezTo>
                  <a:cubicBezTo>
                    <a:pt x="48033" y="201603"/>
                    <a:pt x="46680" y="200926"/>
                    <a:pt x="46680" y="200926"/>
                  </a:cubicBezTo>
                  <a:cubicBezTo>
                    <a:pt x="35855" y="189425"/>
                    <a:pt x="16913" y="163041"/>
                    <a:pt x="16913" y="125156"/>
                  </a:cubicBezTo>
                  <a:cubicBezTo>
                    <a:pt x="16913" y="64269"/>
                    <a:pt x="66299" y="14207"/>
                    <a:pt x="127862" y="14207"/>
                  </a:cubicBezTo>
                  <a:cubicBezTo>
                    <a:pt x="188749" y="14207"/>
                    <a:pt x="238135" y="63593"/>
                    <a:pt x="238135" y="125156"/>
                  </a:cubicBezTo>
                  <a:cubicBezTo>
                    <a:pt x="236782" y="186043"/>
                    <a:pt x="186719" y="237458"/>
                    <a:pt x="126509" y="237458"/>
                  </a:cubicBezTo>
                  <a:close/>
                </a:path>
              </a:pathLst>
            </a:custGeom>
            <a:solidFill>
              <a:srgbClr val="004A99"/>
            </a:solidFill>
            <a:ln w="6756" cap="flat">
              <a:noFill/>
              <a:prstDash val="solid"/>
              <a:miter/>
            </a:ln>
          </p:spPr>
          <p:txBody>
            <a:bodyPr rtlCol="0" anchor="ctr"/>
            <a:lstStyle/>
            <a:p>
              <a:pPr rtl="0"/>
              <a:endParaRPr lang="en-US"/>
            </a:p>
          </p:txBody>
        </p:sp>
      </p:grpSp>
    </p:spTree>
    <p:extLst>
      <p:ext uri="{BB962C8B-B14F-4D97-AF65-F5344CB8AC3E}">
        <p14:creationId xmlns:p14="http://schemas.microsoft.com/office/powerpoint/2010/main" val="4107235644"/>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afterGroup">
                            <p:stCondLst>
                              <p:cond delay="0"/>
                            </p:stCondLst>
                            <p:childTnLst>
                              <p:par>
                                <p:cTn id="5" presetID="10" presetClass="exit" presetSubtype="0" dur="1000" fill="hold" nodeType="clickEffect">
                                  <p:stCondLst>
                                    <p:cond delay="0"/>
                                  </p:stCondLst>
                                  <p:childTnLst>
                                    <p:animEffect transition="out" filter="fade">
                                      <p:cBhvr>
                                        <p:cTn id="6" dur="1000"/>
                                        <p:tgtEl>
                                          <p:spTgt spid="3"/>
                                        </p:tgtEl>
                                      </p:cBhvr>
                                    </p:animEffect>
                                    <p:set>
                                      <p:cBhvr>
                                        <p:cTn id="7" dur="1" fill="hold">
                                          <p:stCondLst>
                                            <p:cond delay="999"/>
                                          </p:stCondLst>
                                        </p:cTn>
                                        <p:tgtEl>
                                          <p:spTgt spid="3"/>
                                        </p:tgtEl>
                                        <p:attrNameLst>
                                          <p:attrName>style.visibility</p:attrName>
                                        </p:attrNameLst>
                                      </p:cBhvr>
                                      <p:to>
                                        <p:strVal val="hidden"/>
                                      </p:to>
                                    </p:set>
                                  </p:childTnLst>
                                </p:cTn>
                              </p:par>
                            </p:childTnLst>
                          </p:cTn>
                        </p:par>
                        <p:par>
                          <p:cTn id="8" fill="hold" nodeType="afterGroup">
                            <p:stCondLst>
                              <p:cond delay="1000"/>
                            </p:stCondLst>
                            <p:childTnLst>
                              <p:par>
                                <p:cTn id="9" presetID="10" presetClass="entr" presetSubtype="0" dur="1000" fill="hold" grpId="0" nodeType="afterEffect">
                                  <p:stCondLst>
                                    <p:cond delay="0"/>
                                  </p:stCondLst>
                                  <p:childTnLst>
                                    <p:set>
                                      <p:cBhvr>
                                        <p:cTn id="10" dur="1" fill="hold">
                                          <p:stCondLst>
                                            <p:cond delay="0"/>
                                          </p:stCondLst>
                                        </p:cTn>
                                        <p:tgtEl>
                                          <p:spTgt spid="64"/>
                                        </p:tgtEl>
                                        <p:attrNameLst>
                                          <p:attrName>style.visibility</p:attrName>
                                        </p:attrNameLst>
                                      </p:cBhvr>
                                      <p:to>
                                        <p:strVal val="visible"/>
                                      </p:to>
                                    </p:set>
                                    <p:animEffect transition="in" filter="fade">
                                      <p:cBhvr>
                                        <p:cTn id="11" dur="1000"/>
                                        <p:tgtEl>
                                          <p:spTgt spid="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animBg="1"/>
    </p:bldLst>
  </p:timing>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B4B4809C-E50B-407D-8E75-04DD099A75C9}"/>
              </a:ext>
            </a:extLst>
          </p:cNvPr>
          <p:cNvGraphicFramePr>
            <a:graphicFrameLocks noChangeAspect="1"/>
          </p:cNvGraphicFramePr>
          <p:nvPr userDrawn="1">
            <p:custDataLst>
              <p:tags r:id="rId1"/>
            </p:custDataLst>
            <p:extLst>
              <p:ext uri="{D42A27DB-BD31-4B8C-83A1-F6EECF244321}">
                <p14:modId xmlns:p14="http://schemas.microsoft.com/office/powerpoint/2010/main" val="1470282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2" name="Objekt 1" hidden="1">
                        <a:extLst>
                          <a:ext uri="{FF2B5EF4-FFF2-40B4-BE49-F238E27FC236}">
                            <a16:creationId xmlns:a16="http://schemas.microsoft.com/office/drawing/2014/main" id="{B4B4809C-E50B-407D-8E75-04DD099A75C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Foliennummernplatzhalter 2">
            <a:extLst>
              <a:ext uri="{FF2B5EF4-FFF2-40B4-BE49-F238E27FC236}">
                <a16:creationId xmlns:a16="http://schemas.microsoft.com/office/drawing/2014/main" id="{5B327254-466C-4606-8589-BCC72CBDADDF}"/>
              </a:ext>
            </a:extLst>
          </p:cNvPr>
          <p:cNvSpPr>
            <a:spLocks noGrp="1"/>
          </p:cNvSpPr>
          <p:nvPr>
            <p:ph type="sldNum" sz="quarter" idx="10"/>
          </p:nvPr>
        </p:nvSpPr>
        <p:spPr/>
        <p:txBody>
          <a:bodyPr/>
          <a:lstStyle>
            <a:lvl1pPr rtl="0">
              <a:defRPr/>
            </a:lvl1pPr>
          </a:lstStyle>
          <a:p>
            <a:fld id="{A04BEB4F-8CE1-4F18-986F-6CE0A0BE9470}" type="slidenum">
              <a:rPr lang="en-US" smtClean="0"/>
              <a:t>‹#›</a:t>
            </a:fld>
            <a:endParaRPr lang="en-US"/>
          </a:p>
        </p:txBody>
      </p:sp>
      <p:sp>
        <p:nvSpPr>
          <p:cNvPr id="122" name="Freihandform: Form 121">
            <a:extLst>
              <a:ext uri="{FF2B5EF4-FFF2-40B4-BE49-F238E27FC236}">
                <a16:creationId xmlns:a16="http://schemas.microsoft.com/office/drawing/2014/main" id="{BC43029A-5265-4954-A3A5-CD3CB5C7478D}"/>
              </a:ext>
            </a:extLst>
          </p:cNvPr>
          <p:cNvSpPr/>
          <p:nvPr/>
        </p:nvSpPr>
        <p:spPr>
          <a:xfrm>
            <a:off x="11841261" y="4050916"/>
            <a:ext cx="347243" cy="376374"/>
          </a:xfrm>
          <a:custGeom>
            <a:avLst/>
            <a:gdLst>
              <a:gd name="connsiteX0" fmla="*/ 158473 w 347243"/>
              <a:gd name="connsiteY0" fmla="*/ 376375 h 376374"/>
              <a:gd name="connsiteX1" fmla="*/ 0 w 347243"/>
              <a:gd name="connsiteY1" fmla="*/ 376375 h 376374"/>
              <a:gd name="connsiteX2" fmla="*/ 185274 w 347243"/>
              <a:gd name="connsiteY2" fmla="*/ 189935 h 376374"/>
              <a:gd name="connsiteX3" fmla="*/ 0 w 347243"/>
              <a:gd name="connsiteY3" fmla="*/ 0 h 376374"/>
              <a:gd name="connsiteX4" fmla="*/ 161969 w 347243"/>
              <a:gd name="connsiteY4" fmla="*/ 0 h 376374"/>
              <a:gd name="connsiteX5" fmla="*/ 347244 w 347243"/>
              <a:gd name="connsiteY5" fmla="*/ 185274 h 376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7243" h="376374">
                <a:moveTo>
                  <a:pt x="158473" y="376375"/>
                </a:moveTo>
                <a:lnTo>
                  <a:pt x="0" y="376375"/>
                </a:lnTo>
                <a:lnTo>
                  <a:pt x="185274" y="189935"/>
                </a:lnTo>
                <a:lnTo>
                  <a:pt x="0" y="0"/>
                </a:lnTo>
                <a:lnTo>
                  <a:pt x="161969" y="0"/>
                </a:lnTo>
                <a:lnTo>
                  <a:pt x="347244" y="185274"/>
                </a:lnTo>
                <a:close/>
              </a:path>
            </a:pathLst>
          </a:custGeom>
          <a:solidFill>
            <a:srgbClr val="EEF2F5"/>
          </a:solidFill>
          <a:ln w="11643" cap="flat">
            <a:noFill/>
            <a:prstDash val="solid"/>
            <a:miter/>
          </a:ln>
        </p:spPr>
        <p:txBody>
          <a:bodyPr rtlCol="0" anchor="ctr"/>
          <a:lstStyle/>
          <a:p>
            <a:pPr rtl="0"/>
            <a:endParaRPr lang="en-US"/>
          </a:p>
        </p:txBody>
      </p:sp>
      <p:sp>
        <p:nvSpPr>
          <p:cNvPr id="138" name="Freihandform: Form 137">
            <a:extLst>
              <a:ext uri="{FF2B5EF4-FFF2-40B4-BE49-F238E27FC236}">
                <a16:creationId xmlns:a16="http://schemas.microsoft.com/office/drawing/2014/main" id="{5B458F82-191F-4A0B-9761-26D447FE3BDA}"/>
              </a:ext>
            </a:extLst>
          </p:cNvPr>
          <p:cNvSpPr/>
          <p:nvPr/>
        </p:nvSpPr>
        <p:spPr>
          <a:xfrm>
            <a:off x="11841261" y="4405152"/>
            <a:ext cx="347243" cy="377540"/>
          </a:xfrm>
          <a:custGeom>
            <a:avLst/>
            <a:gdLst>
              <a:gd name="connsiteX0" fmla="*/ 158473 w 347243"/>
              <a:gd name="connsiteY0" fmla="*/ 377540 h 377540"/>
              <a:gd name="connsiteX1" fmla="*/ 0 w 347243"/>
              <a:gd name="connsiteY1" fmla="*/ 377540 h 377540"/>
              <a:gd name="connsiteX2" fmla="*/ 185274 w 347243"/>
              <a:gd name="connsiteY2" fmla="*/ 189935 h 377540"/>
              <a:gd name="connsiteX3" fmla="*/ 0 w 347243"/>
              <a:gd name="connsiteY3" fmla="*/ 0 h 377540"/>
              <a:gd name="connsiteX4" fmla="*/ 161969 w 347243"/>
              <a:gd name="connsiteY4" fmla="*/ 0 h 377540"/>
              <a:gd name="connsiteX5" fmla="*/ 347244 w 347243"/>
              <a:gd name="connsiteY5" fmla="*/ 185274 h 377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7243" h="377540">
                <a:moveTo>
                  <a:pt x="158473" y="377540"/>
                </a:moveTo>
                <a:lnTo>
                  <a:pt x="0" y="377540"/>
                </a:lnTo>
                <a:lnTo>
                  <a:pt x="185274" y="189935"/>
                </a:lnTo>
                <a:lnTo>
                  <a:pt x="0" y="0"/>
                </a:lnTo>
                <a:lnTo>
                  <a:pt x="161969" y="0"/>
                </a:lnTo>
                <a:lnTo>
                  <a:pt x="347244" y="185274"/>
                </a:lnTo>
                <a:close/>
              </a:path>
            </a:pathLst>
          </a:custGeom>
          <a:solidFill>
            <a:srgbClr val="EEF2F5"/>
          </a:solidFill>
          <a:ln w="11643" cap="flat">
            <a:noFill/>
            <a:prstDash val="solid"/>
            <a:miter/>
          </a:ln>
        </p:spPr>
        <p:txBody>
          <a:bodyPr rtlCol="0" anchor="ctr"/>
          <a:lstStyle/>
          <a:p>
            <a:pPr rtl="0"/>
            <a:endParaRPr lang="en-US"/>
          </a:p>
        </p:txBody>
      </p:sp>
      <p:sp>
        <p:nvSpPr>
          <p:cNvPr id="105" name="Freihandform: Form 104">
            <a:extLst>
              <a:ext uri="{FF2B5EF4-FFF2-40B4-BE49-F238E27FC236}">
                <a16:creationId xmlns:a16="http://schemas.microsoft.com/office/drawing/2014/main" id="{5C4533A5-54AE-4D76-A4AF-E6486B2E759F}"/>
              </a:ext>
            </a:extLst>
          </p:cNvPr>
          <p:cNvSpPr/>
          <p:nvPr/>
        </p:nvSpPr>
        <p:spPr>
          <a:xfrm>
            <a:off x="11494017" y="3704837"/>
            <a:ext cx="330930" cy="358896"/>
          </a:xfrm>
          <a:custGeom>
            <a:avLst/>
            <a:gdLst>
              <a:gd name="connsiteX0" fmla="*/ 151482 w 330930"/>
              <a:gd name="connsiteY0" fmla="*/ 358896 h 358896"/>
              <a:gd name="connsiteX1" fmla="*/ 0 w 330930"/>
              <a:gd name="connsiteY1" fmla="*/ 358896 h 358896"/>
              <a:gd name="connsiteX2" fmla="*/ 177118 w 330930"/>
              <a:gd name="connsiteY2" fmla="*/ 180613 h 358896"/>
              <a:gd name="connsiteX3" fmla="*/ 0 w 330930"/>
              <a:gd name="connsiteY3" fmla="*/ 0 h 358896"/>
              <a:gd name="connsiteX4" fmla="*/ 154979 w 330930"/>
              <a:gd name="connsiteY4" fmla="*/ 0 h 358896"/>
              <a:gd name="connsiteX5" fmla="*/ 330931 w 330930"/>
              <a:gd name="connsiteY5" fmla="*/ 175953 h 358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930" h="358896">
                <a:moveTo>
                  <a:pt x="151482" y="358896"/>
                </a:moveTo>
                <a:lnTo>
                  <a:pt x="0" y="358896"/>
                </a:lnTo>
                <a:lnTo>
                  <a:pt x="177118" y="180613"/>
                </a:lnTo>
                <a:lnTo>
                  <a:pt x="0" y="0"/>
                </a:lnTo>
                <a:lnTo>
                  <a:pt x="154979" y="0"/>
                </a:lnTo>
                <a:lnTo>
                  <a:pt x="330931" y="175953"/>
                </a:lnTo>
                <a:close/>
              </a:path>
            </a:pathLst>
          </a:custGeom>
          <a:solidFill>
            <a:srgbClr val="EEF2F5"/>
          </a:solidFill>
          <a:ln w="11643" cap="flat">
            <a:noFill/>
            <a:prstDash val="solid"/>
            <a:miter/>
          </a:ln>
        </p:spPr>
        <p:txBody>
          <a:bodyPr rtlCol="0" anchor="ctr"/>
          <a:lstStyle/>
          <a:p>
            <a:pPr rtl="0"/>
            <a:endParaRPr lang="en-US"/>
          </a:p>
        </p:txBody>
      </p:sp>
      <p:sp>
        <p:nvSpPr>
          <p:cNvPr id="121" name="Freihandform: Form 120">
            <a:extLst>
              <a:ext uri="{FF2B5EF4-FFF2-40B4-BE49-F238E27FC236}">
                <a16:creationId xmlns:a16="http://schemas.microsoft.com/office/drawing/2014/main" id="{2C765BDB-0971-4930-98E2-992157EFF29E}"/>
              </a:ext>
            </a:extLst>
          </p:cNvPr>
          <p:cNvSpPr/>
          <p:nvPr/>
        </p:nvSpPr>
        <p:spPr>
          <a:xfrm>
            <a:off x="11494017" y="4059073"/>
            <a:ext cx="330930" cy="360061"/>
          </a:xfrm>
          <a:custGeom>
            <a:avLst/>
            <a:gdLst>
              <a:gd name="connsiteX0" fmla="*/ 151482 w 330930"/>
              <a:gd name="connsiteY0" fmla="*/ 360062 h 360061"/>
              <a:gd name="connsiteX1" fmla="*/ 0 w 330930"/>
              <a:gd name="connsiteY1" fmla="*/ 360062 h 360061"/>
              <a:gd name="connsiteX2" fmla="*/ 177118 w 330930"/>
              <a:gd name="connsiteY2" fmla="*/ 181779 h 360061"/>
              <a:gd name="connsiteX3" fmla="*/ 0 w 330930"/>
              <a:gd name="connsiteY3" fmla="*/ 0 h 360061"/>
              <a:gd name="connsiteX4" fmla="*/ 154979 w 330930"/>
              <a:gd name="connsiteY4" fmla="*/ 0 h 360061"/>
              <a:gd name="connsiteX5" fmla="*/ 330931 w 330930"/>
              <a:gd name="connsiteY5" fmla="*/ 177118 h 360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930" h="360061">
                <a:moveTo>
                  <a:pt x="151482" y="360062"/>
                </a:moveTo>
                <a:lnTo>
                  <a:pt x="0" y="360062"/>
                </a:lnTo>
                <a:lnTo>
                  <a:pt x="177118" y="181779"/>
                </a:lnTo>
                <a:lnTo>
                  <a:pt x="0" y="0"/>
                </a:lnTo>
                <a:lnTo>
                  <a:pt x="154979" y="0"/>
                </a:lnTo>
                <a:lnTo>
                  <a:pt x="330931" y="177118"/>
                </a:lnTo>
                <a:close/>
              </a:path>
            </a:pathLst>
          </a:custGeom>
          <a:solidFill>
            <a:srgbClr val="EEF2F5"/>
          </a:solidFill>
          <a:ln w="11643" cap="flat">
            <a:noFill/>
            <a:prstDash val="solid"/>
            <a:miter/>
          </a:ln>
        </p:spPr>
        <p:txBody>
          <a:bodyPr rtlCol="0" anchor="ctr"/>
          <a:lstStyle/>
          <a:p>
            <a:pPr rtl="0"/>
            <a:endParaRPr lang="en-US"/>
          </a:p>
        </p:txBody>
      </p:sp>
      <p:sp>
        <p:nvSpPr>
          <p:cNvPr id="137" name="Freihandform: Form 136">
            <a:extLst>
              <a:ext uri="{FF2B5EF4-FFF2-40B4-BE49-F238E27FC236}">
                <a16:creationId xmlns:a16="http://schemas.microsoft.com/office/drawing/2014/main" id="{FFF7FEBD-DC05-4243-8288-65567FB9B1FC}"/>
              </a:ext>
            </a:extLst>
          </p:cNvPr>
          <p:cNvSpPr/>
          <p:nvPr/>
        </p:nvSpPr>
        <p:spPr>
          <a:xfrm>
            <a:off x="11494017" y="4414474"/>
            <a:ext cx="330930" cy="358896"/>
          </a:xfrm>
          <a:custGeom>
            <a:avLst/>
            <a:gdLst>
              <a:gd name="connsiteX0" fmla="*/ 151482 w 330930"/>
              <a:gd name="connsiteY0" fmla="*/ 358896 h 358896"/>
              <a:gd name="connsiteX1" fmla="*/ 0 w 330930"/>
              <a:gd name="connsiteY1" fmla="*/ 358896 h 358896"/>
              <a:gd name="connsiteX2" fmla="*/ 177118 w 330930"/>
              <a:gd name="connsiteY2" fmla="*/ 180613 h 358896"/>
              <a:gd name="connsiteX3" fmla="*/ 0 w 330930"/>
              <a:gd name="connsiteY3" fmla="*/ 0 h 358896"/>
              <a:gd name="connsiteX4" fmla="*/ 154979 w 330930"/>
              <a:gd name="connsiteY4" fmla="*/ 0 h 358896"/>
              <a:gd name="connsiteX5" fmla="*/ 330931 w 330930"/>
              <a:gd name="connsiteY5" fmla="*/ 175952 h 358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930" h="358896">
                <a:moveTo>
                  <a:pt x="151482" y="358896"/>
                </a:moveTo>
                <a:lnTo>
                  <a:pt x="0" y="358896"/>
                </a:lnTo>
                <a:lnTo>
                  <a:pt x="177118" y="180613"/>
                </a:lnTo>
                <a:lnTo>
                  <a:pt x="0" y="0"/>
                </a:lnTo>
                <a:lnTo>
                  <a:pt x="154979" y="0"/>
                </a:lnTo>
                <a:lnTo>
                  <a:pt x="330931" y="175952"/>
                </a:lnTo>
                <a:close/>
              </a:path>
            </a:pathLst>
          </a:custGeom>
          <a:solidFill>
            <a:srgbClr val="EEF2F5"/>
          </a:solidFill>
          <a:ln w="11643" cap="flat">
            <a:noFill/>
            <a:prstDash val="solid"/>
            <a:miter/>
          </a:ln>
        </p:spPr>
        <p:txBody>
          <a:bodyPr rtlCol="0" anchor="ctr"/>
          <a:lstStyle/>
          <a:p>
            <a:pPr rtl="0"/>
            <a:endParaRPr lang="en-US"/>
          </a:p>
        </p:txBody>
      </p:sp>
      <p:sp>
        <p:nvSpPr>
          <p:cNvPr id="154" name="Freihandform: Form 153">
            <a:extLst>
              <a:ext uri="{FF2B5EF4-FFF2-40B4-BE49-F238E27FC236}">
                <a16:creationId xmlns:a16="http://schemas.microsoft.com/office/drawing/2014/main" id="{46119847-314D-4401-B853-7CDAC232D928}"/>
              </a:ext>
            </a:extLst>
          </p:cNvPr>
          <p:cNvSpPr/>
          <p:nvPr/>
        </p:nvSpPr>
        <p:spPr>
          <a:xfrm>
            <a:off x="11494017" y="4768709"/>
            <a:ext cx="330930" cy="360061"/>
          </a:xfrm>
          <a:custGeom>
            <a:avLst/>
            <a:gdLst>
              <a:gd name="connsiteX0" fmla="*/ 151482 w 330930"/>
              <a:gd name="connsiteY0" fmla="*/ 360062 h 360061"/>
              <a:gd name="connsiteX1" fmla="*/ 0 w 330930"/>
              <a:gd name="connsiteY1" fmla="*/ 360062 h 360061"/>
              <a:gd name="connsiteX2" fmla="*/ 177118 w 330930"/>
              <a:gd name="connsiteY2" fmla="*/ 181779 h 360061"/>
              <a:gd name="connsiteX3" fmla="*/ 0 w 330930"/>
              <a:gd name="connsiteY3" fmla="*/ 0 h 360061"/>
              <a:gd name="connsiteX4" fmla="*/ 154979 w 330930"/>
              <a:gd name="connsiteY4" fmla="*/ 0 h 360061"/>
              <a:gd name="connsiteX5" fmla="*/ 330931 w 330930"/>
              <a:gd name="connsiteY5" fmla="*/ 177118 h 360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930" h="360061">
                <a:moveTo>
                  <a:pt x="151482" y="360062"/>
                </a:moveTo>
                <a:lnTo>
                  <a:pt x="0" y="360062"/>
                </a:lnTo>
                <a:lnTo>
                  <a:pt x="177118" y="181779"/>
                </a:lnTo>
                <a:lnTo>
                  <a:pt x="0" y="0"/>
                </a:lnTo>
                <a:lnTo>
                  <a:pt x="154979" y="0"/>
                </a:lnTo>
                <a:lnTo>
                  <a:pt x="330931" y="177118"/>
                </a:lnTo>
                <a:close/>
              </a:path>
            </a:pathLst>
          </a:custGeom>
          <a:solidFill>
            <a:srgbClr val="EEF2F5"/>
          </a:solidFill>
          <a:ln w="11643" cap="flat">
            <a:noFill/>
            <a:prstDash val="solid"/>
            <a:miter/>
          </a:ln>
        </p:spPr>
        <p:txBody>
          <a:bodyPr rtlCol="0" anchor="ctr"/>
          <a:lstStyle/>
          <a:p>
            <a:pPr rtl="0"/>
            <a:endParaRPr lang="en-US"/>
          </a:p>
        </p:txBody>
      </p:sp>
      <p:sp>
        <p:nvSpPr>
          <p:cNvPr id="88" name="Freihandform: Form 87">
            <a:extLst>
              <a:ext uri="{FF2B5EF4-FFF2-40B4-BE49-F238E27FC236}">
                <a16:creationId xmlns:a16="http://schemas.microsoft.com/office/drawing/2014/main" id="{021EABD8-89C7-4331-9946-CAAC34E3DC2D}"/>
              </a:ext>
            </a:extLst>
          </p:cNvPr>
          <p:cNvSpPr/>
          <p:nvPr/>
        </p:nvSpPr>
        <p:spPr>
          <a:xfrm>
            <a:off x="11147939" y="3358759"/>
            <a:ext cx="314616" cy="341417"/>
          </a:xfrm>
          <a:custGeom>
            <a:avLst/>
            <a:gdLst>
              <a:gd name="connsiteX0" fmla="*/ 143325 w 314616"/>
              <a:gd name="connsiteY0" fmla="*/ 341418 h 341417"/>
              <a:gd name="connsiteX1" fmla="*/ 0 w 314616"/>
              <a:gd name="connsiteY1" fmla="*/ 341418 h 341417"/>
              <a:gd name="connsiteX2" fmla="*/ 167795 w 314616"/>
              <a:gd name="connsiteY2" fmla="*/ 172457 h 341417"/>
              <a:gd name="connsiteX3" fmla="*/ 0 w 314616"/>
              <a:gd name="connsiteY3" fmla="*/ 0 h 341417"/>
              <a:gd name="connsiteX4" fmla="*/ 146821 w 314616"/>
              <a:gd name="connsiteY4" fmla="*/ 0 h 341417"/>
              <a:gd name="connsiteX5" fmla="*/ 314617 w 314616"/>
              <a:gd name="connsiteY5" fmla="*/ 167796 h 341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4616" h="341417">
                <a:moveTo>
                  <a:pt x="143325" y="341418"/>
                </a:moveTo>
                <a:lnTo>
                  <a:pt x="0" y="341418"/>
                </a:lnTo>
                <a:lnTo>
                  <a:pt x="167795" y="172457"/>
                </a:lnTo>
                <a:lnTo>
                  <a:pt x="0" y="0"/>
                </a:lnTo>
                <a:lnTo>
                  <a:pt x="146821" y="0"/>
                </a:lnTo>
                <a:lnTo>
                  <a:pt x="314617" y="167796"/>
                </a:lnTo>
                <a:close/>
              </a:path>
            </a:pathLst>
          </a:custGeom>
          <a:solidFill>
            <a:srgbClr val="EEF2F5"/>
          </a:solidFill>
          <a:ln w="11643" cap="flat">
            <a:noFill/>
            <a:prstDash val="solid"/>
            <a:miter/>
          </a:ln>
        </p:spPr>
        <p:txBody>
          <a:bodyPr rtlCol="0" anchor="ctr"/>
          <a:lstStyle/>
          <a:p>
            <a:pPr rtl="0"/>
            <a:endParaRPr lang="en-US"/>
          </a:p>
        </p:txBody>
      </p:sp>
      <p:sp>
        <p:nvSpPr>
          <p:cNvPr id="104" name="Freihandform: Form 103">
            <a:extLst>
              <a:ext uri="{FF2B5EF4-FFF2-40B4-BE49-F238E27FC236}">
                <a16:creationId xmlns:a16="http://schemas.microsoft.com/office/drawing/2014/main" id="{2DAD8994-DFB7-4D8A-B3A1-95AEBE830246}"/>
              </a:ext>
            </a:extLst>
          </p:cNvPr>
          <p:cNvSpPr/>
          <p:nvPr/>
        </p:nvSpPr>
        <p:spPr>
          <a:xfrm>
            <a:off x="11147939" y="3714159"/>
            <a:ext cx="314616" cy="340252"/>
          </a:xfrm>
          <a:custGeom>
            <a:avLst/>
            <a:gdLst>
              <a:gd name="connsiteX0" fmla="*/ 143325 w 314616"/>
              <a:gd name="connsiteY0" fmla="*/ 340252 h 340252"/>
              <a:gd name="connsiteX1" fmla="*/ 0 w 314616"/>
              <a:gd name="connsiteY1" fmla="*/ 340252 h 340252"/>
              <a:gd name="connsiteX2" fmla="*/ 167795 w 314616"/>
              <a:gd name="connsiteY2" fmla="*/ 171291 h 340252"/>
              <a:gd name="connsiteX3" fmla="*/ 0 w 314616"/>
              <a:gd name="connsiteY3" fmla="*/ 0 h 340252"/>
              <a:gd name="connsiteX4" fmla="*/ 146821 w 314616"/>
              <a:gd name="connsiteY4" fmla="*/ 0 h 340252"/>
              <a:gd name="connsiteX5" fmla="*/ 314617 w 314616"/>
              <a:gd name="connsiteY5" fmla="*/ 166631 h 340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4616" h="340252">
                <a:moveTo>
                  <a:pt x="143325" y="340252"/>
                </a:moveTo>
                <a:lnTo>
                  <a:pt x="0" y="340252"/>
                </a:lnTo>
                <a:lnTo>
                  <a:pt x="167795" y="171291"/>
                </a:lnTo>
                <a:lnTo>
                  <a:pt x="0" y="0"/>
                </a:lnTo>
                <a:lnTo>
                  <a:pt x="146821" y="0"/>
                </a:lnTo>
                <a:lnTo>
                  <a:pt x="314617" y="166631"/>
                </a:lnTo>
                <a:close/>
              </a:path>
            </a:pathLst>
          </a:custGeom>
          <a:solidFill>
            <a:srgbClr val="EEF2F5"/>
          </a:solidFill>
          <a:ln w="11643" cap="flat">
            <a:noFill/>
            <a:prstDash val="solid"/>
            <a:miter/>
          </a:ln>
        </p:spPr>
        <p:txBody>
          <a:bodyPr rtlCol="0" anchor="ctr"/>
          <a:lstStyle/>
          <a:p>
            <a:pPr rtl="0"/>
            <a:endParaRPr lang="en-US"/>
          </a:p>
        </p:txBody>
      </p:sp>
      <p:sp>
        <p:nvSpPr>
          <p:cNvPr id="120" name="Freihandform: Form 119">
            <a:extLst>
              <a:ext uri="{FF2B5EF4-FFF2-40B4-BE49-F238E27FC236}">
                <a16:creationId xmlns:a16="http://schemas.microsoft.com/office/drawing/2014/main" id="{9CAC8A30-61AB-4046-B8E4-22F4EC6F7681}"/>
              </a:ext>
            </a:extLst>
          </p:cNvPr>
          <p:cNvSpPr/>
          <p:nvPr/>
        </p:nvSpPr>
        <p:spPr>
          <a:xfrm>
            <a:off x="11147939" y="4068395"/>
            <a:ext cx="314616" cy="341417"/>
          </a:xfrm>
          <a:custGeom>
            <a:avLst/>
            <a:gdLst>
              <a:gd name="connsiteX0" fmla="*/ 143325 w 314616"/>
              <a:gd name="connsiteY0" fmla="*/ 341418 h 341417"/>
              <a:gd name="connsiteX1" fmla="*/ 0 w 314616"/>
              <a:gd name="connsiteY1" fmla="*/ 341418 h 341417"/>
              <a:gd name="connsiteX2" fmla="*/ 167795 w 314616"/>
              <a:gd name="connsiteY2" fmla="*/ 172457 h 341417"/>
              <a:gd name="connsiteX3" fmla="*/ 0 w 314616"/>
              <a:gd name="connsiteY3" fmla="*/ 0 h 341417"/>
              <a:gd name="connsiteX4" fmla="*/ 146821 w 314616"/>
              <a:gd name="connsiteY4" fmla="*/ 0 h 341417"/>
              <a:gd name="connsiteX5" fmla="*/ 314617 w 314616"/>
              <a:gd name="connsiteY5" fmla="*/ 167796 h 341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4616" h="341417">
                <a:moveTo>
                  <a:pt x="143325" y="341418"/>
                </a:moveTo>
                <a:lnTo>
                  <a:pt x="0" y="341418"/>
                </a:lnTo>
                <a:lnTo>
                  <a:pt x="167795" y="172457"/>
                </a:lnTo>
                <a:lnTo>
                  <a:pt x="0" y="0"/>
                </a:lnTo>
                <a:lnTo>
                  <a:pt x="146821" y="0"/>
                </a:lnTo>
                <a:lnTo>
                  <a:pt x="314617" y="167796"/>
                </a:lnTo>
                <a:close/>
              </a:path>
            </a:pathLst>
          </a:custGeom>
          <a:solidFill>
            <a:srgbClr val="EEF2F5"/>
          </a:solidFill>
          <a:ln w="11643" cap="flat">
            <a:noFill/>
            <a:prstDash val="solid"/>
            <a:miter/>
          </a:ln>
        </p:spPr>
        <p:txBody>
          <a:bodyPr rtlCol="0" anchor="ctr"/>
          <a:lstStyle/>
          <a:p>
            <a:pPr rtl="0"/>
            <a:endParaRPr lang="en-US"/>
          </a:p>
        </p:txBody>
      </p:sp>
      <p:sp>
        <p:nvSpPr>
          <p:cNvPr id="136" name="Freihandform: Form 135">
            <a:extLst>
              <a:ext uri="{FF2B5EF4-FFF2-40B4-BE49-F238E27FC236}">
                <a16:creationId xmlns:a16="http://schemas.microsoft.com/office/drawing/2014/main" id="{514370C7-4CF6-451C-90DF-3B79CA5A0A59}"/>
              </a:ext>
            </a:extLst>
          </p:cNvPr>
          <p:cNvSpPr/>
          <p:nvPr/>
        </p:nvSpPr>
        <p:spPr>
          <a:xfrm>
            <a:off x="11147939" y="4423796"/>
            <a:ext cx="314616" cy="340252"/>
          </a:xfrm>
          <a:custGeom>
            <a:avLst/>
            <a:gdLst>
              <a:gd name="connsiteX0" fmla="*/ 143325 w 314616"/>
              <a:gd name="connsiteY0" fmla="*/ 340252 h 340252"/>
              <a:gd name="connsiteX1" fmla="*/ 0 w 314616"/>
              <a:gd name="connsiteY1" fmla="*/ 340252 h 340252"/>
              <a:gd name="connsiteX2" fmla="*/ 167795 w 314616"/>
              <a:gd name="connsiteY2" fmla="*/ 171291 h 340252"/>
              <a:gd name="connsiteX3" fmla="*/ 0 w 314616"/>
              <a:gd name="connsiteY3" fmla="*/ 0 h 340252"/>
              <a:gd name="connsiteX4" fmla="*/ 146821 w 314616"/>
              <a:gd name="connsiteY4" fmla="*/ 0 h 340252"/>
              <a:gd name="connsiteX5" fmla="*/ 314617 w 314616"/>
              <a:gd name="connsiteY5" fmla="*/ 167796 h 340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4616" h="340252">
                <a:moveTo>
                  <a:pt x="143325" y="340252"/>
                </a:moveTo>
                <a:lnTo>
                  <a:pt x="0" y="340252"/>
                </a:lnTo>
                <a:lnTo>
                  <a:pt x="167795" y="171291"/>
                </a:lnTo>
                <a:lnTo>
                  <a:pt x="0" y="0"/>
                </a:lnTo>
                <a:lnTo>
                  <a:pt x="146821" y="0"/>
                </a:lnTo>
                <a:lnTo>
                  <a:pt x="314617" y="167796"/>
                </a:lnTo>
                <a:close/>
              </a:path>
            </a:pathLst>
          </a:custGeom>
          <a:solidFill>
            <a:srgbClr val="EEF2F5"/>
          </a:solidFill>
          <a:ln w="11643" cap="flat">
            <a:noFill/>
            <a:prstDash val="solid"/>
            <a:miter/>
          </a:ln>
        </p:spPr>
        <p:txBody>
          <a:bodyPr rtlCol="0" anchor="ctr"/>
          <a:lstStyle/>
          <a:p>
            <a:pPr rtl="0"/>
            <a:endParaRPr lang="en-US"/>
          </a:p>
        </p:txBody>
      </p:sp>
      <p:sp>
        <p:nvSpPr>
          <p:cNvPr id="153" name="Freihandform: Form 152">
            <a:extLst>
              <a:ext uri="{FF2B5EF4-FFF2-40B4-BE49-F238E27FC236}">
                <a16:creationId xmlns:a16="http://schemas.microsoft.com/office/drawing/2014/main" id="{6D62BA37-26ED-4588-AD4A-3F0CC1E972FD}"/>
              </a:ext>
            </a:extLst>
          </p:cNvPr>
          <p:cNvSpPr/>
          <p:nvPr/>
        </p:nvSpPr>
        <p:spPr>
          <a:xfrm>
            <a:off x="11147939" y="4778031"/>
            <a:ext cx="314616" cy="341417"/>
          </a:xfrm>
          <a:custGeom>
            <a:avLst/>
            <a:gdLst>
              <a:gd name="connsiteX0" fmla="*/ 143325 w 314616"/>
              <a:gd name="connsiteY0" fmla="*/ 341418 h 341417"/>
              <a:gd name="connsiteX1" fmla="*/ 0 w 314616"/>
              <a:gd name="connsiteY1" fmla="*/ 341418 h 341417"/>
              <a:gd name="connsiteX2" fmla="*/ 167795 w 314616"/>
              <a:gd name="connsiteY2" fmla="*/ 172457 h 341417"/>
              <a:gd name="connsiteX3" fmla="*/ 0 w 314616"/>
              <a:gd name="connsiteY3" fmla="*/ 0 h 341417"/>
              <a:gd name="connsiteX4" fmla="*/ 146821 w 314616"/>
              <a:gd name="connsiteY4" fmla="*/ 0 h 341417"/>
              <a:gd name="connsiteX5" fmla="*/ 314617 w 314616"/>
              <a:gd name="connsiteY5" fmla="*/ 167796 h 341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4616" h="341417">
                <a:moveTo>
                  <a:pt x="143325" y="341418"/>
                </a:moveTo>
                <a:lnTo>
                  <a:pt x="0" y="341418"/>
                </a:lnTo>
                <a:lnTo>
                  <a:pt x="167795" y="172457"/>
                </a:lnTo>
                <a:lnTo>
                  <a:pt x="0" y="0"/>
                </a:lnTo>
                <a:lnTo>
                  <a:pt x="146821" y="0"/>
                </a:lnTo>
                <a:lnTo>
                  <a:pt x="314617" y="167796"/>
                </a:lnTo>
                <a:close/>
              </a:path>
            </a:pathLst>
          </a:custGeom>
          <a:solidFill>
            <a:srgbClr val="EEF2F5"/>
          </a:solidFill>
          <a:ln w="11643" cap="flat">
            <a:noFill/>
            <a:prstDash val="solid"/>
            <a:miter/>
          </a:ln>
        </p:spPr>
        <p:txBody>
          <a:bodyPr rtlCol="0" anchor="ctr"/>
          <a:lstStyle/>
          <a:p>
            <a:pPr rtl="0"/>
            <a:endParaRPr lang="en-US"/>
          </a:p>
        </p:txBody>
      </p:sp>
      <p:sp>
        <p:nvSpPr>
          <p:cNvPr id="170" name="Freihandform: Form 169">
            <a:extLst>
              <a:ext uri="{FF2B5EF4-FFF2-40B4-BE49-F238E27FC236}">
                <a16:creationId xmlns:a16="http://schemas.microsoft.com/office/drawing/2014/main" id="{6E70AB4A-6E36-4A08-8730-471DDB749A6F}"/>
              </a:ext>
            </a:extLst>
          </p:cNvPr>
          <p:cNvSpPr/>
          <p:nvPr/>
        </p:nvSpPr>
        <p:spPr>
          <a:xfrm>
            <a:off x="11147939" y="5133432"/>
            <a:ext cx="314616" cy="341417"/>
          </a:xfrm>
          <a:custGeom>
            <a:avLst/>
            <a:gdLst>
              <a:gd name="connsiteX0" fmla="*/ 143325 w 314616"/>
              <a:gd name="connsiteY0" fmla="*/ 341418 h 341417"/>
              <a:gd name="connsiteX1" fmla="*/ 0 w 314616"/>
              <a:gd name="connsiteY1" fmla="*/ 341418 h 341417"/>
              <a:gd name="connsiteX2" fmla="*/ 167795 w 314616"/>
              <a:gd name="connsiteY2" fmla="*/ 171292 h 341417"/>
              <a:gd name="connsiteX3" fmla="*/ 0 w 314616"/>
              <a:gd name="connsiteY3" fmla="*/ 0 h 341417"/>
              <a:gd name="connsiteX4" fmla="*/ 146821 w 314616"/>
              <a:gd name="connsiteY4" fmla="*/ 0 h 341417"/>
              <a:gd name="connsiteX5" fmla="*/ 314617 w 314616"/>
              <a:gd name="connsiteY5" fmla="*/ 167796 h 341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4616" h="341417">
                <a:moveTo>
                  <a:pt x="143325" y="341418"/>
                </a:moveTo>
                <a:lnTo>
                  <a:pt x="0" y="341418"/>
                </a:lnTo>
                <a:lnTo>
                  <a:pt x="167795" y="171292"/>
                </a:lnTo>
                <a:lnTo>
                  <a:pt x="0" y="0"/>
                </a:lnTo>
                <a:lnTo>
                  <a:pt x="146821" y="0"/>
                </a:lnTo>
                <a:lnTo>
                  <a:pt x="314617" y="167796"/>
                </a:lnTo>
                <a:close/>
              </a:path>
            </a:pathLst>
          </a:custGeom>
          <a:solidFill>
            <a:srgbClr val="EEF2F5"/>
          </a:solidFill>
          <a:ln w="11643" cap="flat">
            <a:noFill/>
            <a:prstDash val="solid"/>
            <a:miter/>
          </a:ln>
        </p:spPr>
        <p:txBody>
          <a:bodyPr rtlCol="0" anchor="ctr"/>
          <a:lstStyle/>
          <a:p>
            <a:pPr rtl="0"/>
            <a:endParaRPr lang="en-US"/>
          </a:p>
        </p:txBody>
      </p:sp>
      <p:sp>
        <p:nvSpPr>
          <p:cNvPr id="71" name="Freihandform: Form 70">
            <a:extLst>
              <a:ext uri="{FF2B5EF4-FFF2-40B4-BE49-F238E27FC236}">
                <a16:creationId xmlns:a16="http://schemas.microsoft.com/office/drawing/2014/main" id="{EC37F69B-71A5-4B22-89E2-2B86538897C6}"/>
              </a:ext>
            </a:extLst>
          </p:cNvPr>
          <p:cNvSpPr/>
          <p:nvPr/>
        </p:nvSpPr>
        <p:spPr>
          <a:xfrm>
            <a:off x="10801860" y="3012680"/>
            <a:ext cx="297138" cy="323938"/>
          </a:xfrm>
          <a:custGeom>
            <a:avLst/>
            <a:gdLst>
              <a:gd name="connsiteX0" fmla="*/ 135168 w 297138"/>
              <a:gd name="connsiteY0" fmla="*/ 323939 h 323938"/>
              <a:gd name="connsiteX1" fmla="*/ 0 w 297138"/>
              <a:gd name="connsiteY1" fmla="*/ 323939 h 323938"/>
              <a:gd name="connsiteX2" fmla="*/ 158473 w 297138"/>
              <a:gd name="connsiteY2" fmla="*/ 163135 h 323938"/>
              <a:gd name="connsiteX3" fmla="*/ 0 w 297138"/>
              <a:gd name="connsiteY3" fmla="*/ 0 h 323938"/>
              <a:gd name="connsiteX4" fmla="*/ 138664 w 297138"/>
              <a:gd name="connsiteY4" fmla="*/ 0 h 323938"/>
              <a:gd name="connsiteX5" fmla="*/ 297138 w 297138"/>
              <a:gd name="connsiteY5" fmla="*/ 159639 h 323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3938">
                <a:moveTo>
                  <a:pt x="135168" y="323939"/>
                </a:moveTo>
                <a:lnTo>
                  <a:pt x="0" y="323939"/>
                </a:lnTo>
                <a:lnTo>
                  <a:pt x="158473" y="163135"/>
                </a:lnTo>
                <a:lnTo>
                  <a:pt x="0" y="0"/>
                </a:lnTo>
                <a:lnTo>
                  <a:pt x="138664" y="0"/>
                </a:lnTo>
                <a:lnTo>
                  <a:pt x="297138" y="159639"/>
                </a:lnTo>
                <a:close/>
              </a:path>
            </a:pathLst>
          </a:custGeom>
          <a:solidFill>
            <a:srgbClr val="EEF2F5"/>
          </a:solidFill>
          <a:ln w="11643" cap="flat">
            <a:noFill/>
            <a:prstDash val="solid"/>
            <a:miter/>
          </a:ln>
        </p:spPr>
        <p:txBody>
          <a:bodyPr rtlCol="0" anchor="ctr"/>
          <a:lstStyle/>
          <a:p>
            <a:pPr rtl="0"/>
            <a:endParaRPr lang="en-US"/>
          </a:p>
        </p:txBody>
      </p:sp>
      <p:sp>
        <p:nvSpPr>
          <p:cNvPr id="87" name="Freihandform: Form 86">
            <a:extLst>
              <a:ext uri="{FF2B5EF4-FFF2-40B4-BE49-F238E27FC236}">
                <a16:creationId xmlns:a16="http://schemas.microsoft.com/office/drawing/2014/main" id="{6027B9E1-4632-4B82-9FA3-1E60661DE0B8}"/>
              </a:ext>
            </a:extLst>
          </p:cNvPr>
          <p:cNvSpPr/>
          <p:nvPr/>
        </p:nvSpPr>
        <p:spPr>
          <a:xfrm>
            <a:off x="10801860" y="3368081"/>
            <a:ext cx="297138" cy="322773"/>
          </a:xfrm>
          <a:custGeom>
            <a:avLst/>
            <a:gdLst>
              <a:gd name="connsiteX0" fmla="*/ 135168 w 297138"/>
              <a:gd name="connsiteY0" fmla="*/ 322774 h 322773"/>
              <a:gd name="connsiteX1" fmla="*/ 0 w 297138"/>
              <a:gd name="connsiteY1" fmla="*/ 322774 h 322773"/>
              <a:gd name="connsiteX2" fmla="*/ 158473 w 297138"/>
              <a:gd name="connsiteY2" fmla="*/ 163135 h 322773"/>
              <a:gd name="connsiteX3" fmla="*/ 0 w 297138"/>
              <a:gd name="connsiteY3" fmla="*/ 0 h 322773"/>
              <a:gd name="connsiteX4" fmla="*/ 138664 w 297138"/>
              <a:gd name="connsiteY4" fmla="*/ 0 h 322773"/>
              <a:gd name="connsiteX5" fmla="*/ 297138 w 297138"/>
              <a:gd name="connsiteY5" fmla="*/ 158474 h 322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2773">
                <a:moveTo>
                  <a:pt x="135168" y="322774"/>
                </a:moveTo>
                <a:lnTo>
                  <a:pt x="0" y="322774"/>
                </a:lnTo>
                <a:lnTo>
                  <a:pt x="158473" y="163135"/>
                </a:lnTo>
                <a:lnTo>
                  <a:pt x="0" y="0"/>
                </a:lnTo>
                <a:lnTo>
                  <a:pt x="138664" y="0"/>
                </a:lnTo>
                <a:lnTo>
                  <a:pt x="297138" y="158474"/>
                </a:lnTo>
                <a:close/>
              </a:path>
            </a:pathLst>
          </a:custGeom>
          <a:solidFill>
            <a:srgbClr val="EEF2F5"/>
          </a:solidFill>
          <a:ln w="11643" cap="flat">
            <a:noFill/>
            <a:prstDash val="solid"/>
            <a:miter/>
          </a:ln>
        </p:spPr>
        <p:txBody>
          <a:bodyPr rtlCol="0" anchor="ctr"/>
          <a:lstStyle/>
          <a:p>
            <a:pPr rtl="0"/>
            <a:endParaRPr lang="en-US"/>
          </a:p>
        </p:txBody>
      </p:sp>
      <p:sp>
        <p:nvSpPr>
          <p:cNvPr id="103" name="Freihandform: Form 102">
            <a:extLst>
              <a:ext uri="{FF2B5EF4-FFF2-40B4-BE49-F238E27FC236}">
                <a16:creationId xmlns:a16="http://schemas.microsoft.com/office/drawing/2014/main" id="{A133033E-1247-4F36-9A54-C51B13CBD1CE}"/>
              </a:ext>
            </a:extLst>
          </p:cNvPr>
          <p:cNvSpPr/>
          <p:nvPr/>
        </p:nvSpPr>
        <p:spPr>
          <a:xfrm>
            <a:off x="10801860" y="3722316"/>
            <a:ext cx="297138" cy="323938"/>
          </a:xfrm>
          <a:custGeom>
            <a:avLst/>
            <a:gdLst>
              <a:gd name="connsiteX0" fmla="*/ 135168 w 297138"/>
              <a:gd name="connsiteY0" fmla="*/ 323939 h 323938"/>
              <a:gd name="connsiteX1" fmla="*/ 0 w 297138"/>
              <a:gd name="connsiteY1" fmla="*/ 323939 h 323938"/>
              <a:gd name="connsiteX2" fmla="*/ 158473 w 297138"/>
              <a:gd name="connsiteY2" fmla="*/ 163135 h 323938"/>
              <a:gd name="connsiteX3" fmla="*/ 0 w 297138"/>
              <a:gd name="connsiteY3" fmla="*/ 0 h 323938"/>
              <a:gd name="connsiteX4" fmla="*/ 138664 w 297138"/>
              <a:gd name="connsiteY4" fmla="*/ 0 h 323938"/>
              <a:gd name="connsiteX5" fmla="*/ 297138 w 297138"/>
              <a:gd name="connsiteY5" fmla="*/ 159639 h 323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3938">
                <a:moveTo>
                  <a:pt x="135168" y="323939"/>
                </a:moveTo>
                <a:lnTo>
                  <a:pt x="0" y="323939"/>
                </a:lnTo>
                <a:lnTo>
                  <a:pt x="158473" y="163135"/>
                </a:lnTo>
                <a:lnTo>
                  <a:pt x="0" y="0"/>
                </a:lnTo>
                <a:lnTo>
                  <a:pt x="138664" y="0"/>
                </a:lnTo>
                <a:lnTo>
                  <a:pt x="297138" y="159639"/>
                </a:lnTo>
                <a:close/>
              </a:path>
            </a:pathLst>
          </a:custGeom>
          <a:solidFill>
            <a:srgbClr val="EEF2F5"/>
          </a:solidFill>
          <a:ln w="11643" cap="flat">
            <a:noFill/>
            <a:prstDash val="solid"/>
            <a:miter/>
          </a:ln>
        </p:spPr>
        <p:txBody>
          <a:bodyPr rtlCol="0" anchor="ctr"/>
          <a:lstStyle/>
          <a:p>
            <a:pPr rtl="0"/>
            <a:endParaRPr lang="en-US"/>
          </a:p>
        </p:txBody>
      </p:sp>
      <p:sp>
        <p:nvSpPr>
          <p:cNvPr id="119" name="Freihandform: Form 118">
            <a:extLst>
              <a:ext uri="{FF2B5EF4-FFF2-40B4-BE49-F238E27FC236}">
                <a16:creationId xmlns:a16="http://schemas.microsoft.com/office/drawing/2014/main" id="{48E055C3-701A-4F5A-8DFA-C4FA735748CE}"/>
              </a:ext>
            </a:extLst>
          </p:cNvPr>
          <p:cNvSpPr/>
          <p:nvPr/>
        </p:nvSpPr>
        <p:spPr>
          <a:xfrm>
            <a:off x="10801860" y="4077717"/>
            <a:ext cx="297138" cy="322773"/>
          </a:xfrm>
          <a:custGeom>
            <a:avLst/>
            <a:gdLst>
              <a:gd name="connsiteX0" fmla="*/ 135168 w 297138"/>
              <a:gd name="connsiteY0" fmla="*/ 322774 h 322773"/>
              <a:gd name="connsiteX1" fmla="*/ 0 w 297138"/>
              <a:gd name="connsiteY1" fmla="*/ 322774 h 322773"/>
              <a:gd name="connsiteX2" fmla="*/ 158473 w 297138"/>
              <a:gd name="connsiteY2" fmla="*/ 163135 h 322773"/>
              <a:gd name="connsiteX3" fmla="*/ 0 w 297138"/>
              <a:gd name="connsiteY3" fmla="*/ 0 h 322773"/>
              <a:gd name="connsiteX4" fmla="*/ 138664 w 297138"/>
              <a:gd name="connsiteY4" fmla="*/ 0 h 322773"/>
              <a:gd name="connsiteX5" fmla="*/ 297138 w 297138"/>
              <a:gd name="connsiteY5" fmla="*/ 158474 h 322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2773">
                <a:moveTo>
                  <a:pt x="135168" y="322774"/>
                </a:moveTo>
                <a:lnTo>
                  <a:pt x="0" y="322774"/>
                </a:lnTo>
                <a:lnTo>
                  <a:pt x="158473" y="163135"/>
                </a:lnTo>
                <a:lnTo>
                  <a:pt x="0" y="0"/>
                </a:lnTo>
                <a:lnTo>
                  <a:pt x="138664" y="0"/>
                </a:lnTo>
                <a:lnTo>
                  <a:pt x="297138" y="158474"/>
                </a:lnTo>
                <a:close/>
              </a:path>
            </a:pathLst>
          </a:custGeom>
          <a:solidFill>
            <a:srgbClr val="EEF2F5"/>
          </a:solidFill>
          <a:ln w="11643" cap="flat">
            <a:noFill/>
            <a:prstDash val="solid"/>
            <a:miter/>
          </a:ln>
        </p:spPr>
        <p:txBody>
          <a:bodyPr rtlCol="0" anchor="ctr"/>
          <a:lstStyle/>
          <a:p>
            <a:pPr rtl="0"/>
            <a:endParaRPr lang="en-US"/>
          </a:p>
        </p:txBody>
      </p:sp>
      <p:sp>
        <p:nvSpPr>
          <p:cNvPr id="135" name="Freihandform: Form 134">
            <a:extLst>
              <a:ext uri="{FF2B5EF4-FFF2-40B4-BE49-F238E27FC236}">
                <a16:creationId xmlns:a16="http://schemas.microsoft.com/office/drawing/2014/main" id="{BCADBC01-33BC-4B7C-9DB7-FA73F490E349}"/>
              </a:ext>
            </a:extLst>
          </p:cNvPr>
          <p:cNvSpPr/>
          <p:nvPr/>
        </p:nvSpPr>
        <p:spPr>
          <a:xfrm>
            <a:off x="10801860" y="4431952"/>
            <a:ext cx="297138" cy="323938"/>
          </a:xfrm>
          <a:custGeom>
            <a:avLst/>
            <a:gdLst>
              <a:gd name="connsiteX0" fmla="*/ 135168 w 297138"/>
              <a:gd name="connsiteY0" fmla="*/ 323939 h 323938"/>
              <a:gd name="connsiteX1" fmla="*/ 0 w 297138"/>
              <a:gd name="connsiteY1" fmla="*/ 323939 h 323938"/>
              <a:gd name="connsiteX2" fmla="*/ 158473 w 297138"/>
              <a:gd name="connsiteY2" fmla="*/ 163135 h 323938"/>
              <a:gd name="connsiteX3" fmla="*/ 0 w 297138"/>
              <a:gd name="connsiteY3" fmla="*/ 0 h 323938"/>
              <a:gd name="connsiteX4" fmla="*/ 138664 w 297138"/>
              <a:gd name="connsiteY4" fmla="*/ 0 h 323938"/>
              <a:gd name="connsiteX5" fmla="*/ 297138 w 297138"/>
              <a:gd name="connsiteY5" fmla="*/ 159639 h 323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3938">
                <a:moveTo>
                  <a:pt x="135168" y="323939"/>
                </a:moveTo>
                <a:lnTo>
                  <a:pt x="0" y="323939"/>
                </a:lnTo>
                <a:lnTo>
                  <a:pt x="158473" y="163135"/>
                </a:lnTo>
                <a:lnTo>
                  <a:pt x="0" y="0"/>
                </a:lnTo>
                <a:lnTo>
                  <a:pt x="138664" y="0"/>
                </a:lnTo>
                <a:lnTo>
                  <a:pt x="297138" y="159639"/>
                </a:lnTo>
                <a:close/>
              </a:path>
            </a:pathLst>
          </a:custGeom>
          <a:solidFill>
            <a:srgbClr val="EEF2F5"/>
          </a:solidFill>
          <a:ln w="11643" cap="flat">
            <a:noFill/>
            <a:prstDash val="solid"/>
            <a:miter/>
          </a:ln>
        </p:spPr>
        <p:txBody>
          <a:bodyPr rtlCol="0" anchor="ctr"/>
          <a:lstStyle/>
          <a:p>
            <a:pPr rtl="0"/>
            <a:endParaRPr lang="en-US"/>
          </a:p>
        </p:txBody>
      </p:sp>
      <p:sp>
        <p:nvSpPr>
          <p:cNvPr id="152" name="Freihandform: Form 151">
            <a:extLst>
              <a:ext uri="{FF2B5EF4-FFF2-40B4-BE49-F238E27FC236}">
                <a16:creationId xmlns:a16="http://schemas.microsoft.com/office/drawing/2014/main" id="{5F12261A-EADD-41CA-AC37-DF4EAA94F5DA}"/>
              </a:ext>
            </a:extLst>
          </p:cNvPr>
          <p:cNvSpPr/>
          <p:nvPr/>
        </p:nvSpPr>
        <p:spPr>
          <a:xfrm>
            <a:off x="10801860" y="4787353"/>
            <a:ext cx="297138" cy="322773"/>
          </a:xfrm>
          <a:custGeom>
            <a:avLst/>
            <a:gdLst>
              <a:gd name="connsiteX0" fmla="*/ 135168 w 297138"/>
              <a:gd name="connsiteY0" fmla="*/ 322774 h 322773"/>
              <a:gd name="connsiteX1" fmla="*/ 0 w 297138"/>
              <a:gd name="connsiteY1" fmla="*/ 322774 h 322773"/>
              <a:gd name="connsiteX2" fmla="*/ 158473 w 297138"/>
              <a:gd name="connsiteY2" fmla="*/ 163135 h 322773"/>
              <a:gd name="connsiteX3" fmla="*/ 0 w 297138"/>
              <a:gd name="connsiteY3" fmla="*/ 0 h 322773"/>
              <a:gd name="connsiteX4" fmla="*/ 138664 w 297138"/>
              <a:gd name="connsiteY4" fmla="*/ 0 h 322773"/>
              <a:gd name="connsiteX5" fmla="*/ 297138 w 297138"/>
              <a:gd name="connsiteY5" fmla="*/ 158474 h 322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2773">
                <a:moveTo>
                  <a:pt x="135168" y="322774"/>
                </a:moveTo>
                <a:lnTo>
                  <a:pt x="0" y="322774"/>
                </a:lnTo>
                <a:lnTo>
                  <a:pt x="158473" y="163135"/>
                </a:lnTo>
                <a:lnTo>
                  <a:pt x="0" y="0"/>
                </a:lnTo>
                <a:lnTo>
                  <a:pt x="138664" y="0"/>
                </a:lnTo>
                <a:lnTo>
                  <a:pt x="297138" y="158474"/>
                </a:lnTo>
                <a:close/>
              </a:path>
            </a:pathLst>
          </a:custGeom>
          <a:solidFill>
            <a:srgbClr val="EEF2F5"/>
          </a:solidFill>
          <a:ln w="11643" cap="flat">
            <a:noFill/>
            <a:prstDash val="solid"/>
            <a:miter/>
          </a:ln>
        </p:spPr>
        <p:txBody>
          <a:bodyPr rtlCol="0" anchor="ctr"/>
          <a:lstStyle/>
          <a:p>
            <a:pPr rtl="0"/>
            <a:endParaRPr lang="en-US"/>
          </a:p>
        </p:txBody>
      </p:sp>
      <p:sp>
        <p:nvSpPr>
          <p:cNvPr id="169" name="Freihandform: Form 168">
            <a:extLst>
              <a:ext uri="{FF2B5EF4-FFF2-40B4-BE49-F238E27FC236}">
                <a16:creationId xmlns:a16="http://schemas.microsoft.com/office/drawing/2014/main" id="{2684278A-133A-44B1-BD42-3154900841C6}"/>
              </a:ext>
            </a:extLst>
          </p:cNvPr>
          <p:cNvSpPr/>
          <p:nvPr/>
        </p:nvSpPr>
        <p:spPr>
          <a:xfrm>
            <a:off x="10801860" y="5141588"/>
            <a:ext cx="297138" cy="323938"/>
          </a:xfrm>
          <a:custGeom>
            <a:avLst/>
            <a:gdLst>
              <a:gd name="connsiteX0" fmla="*/ 135168 w 297138"/>
              <a:gd name="connsiteY0" fmla="*/ 323939 h 323938"/>
              <a:gd name="connsiteX1" fmla="*/ 0 w 297138"/>
              <a:gd name="connsiteY1" fmla="*/ 323939 h 323938"/>
              <a:gd name="connsiteX2" fmla="*/ 158473 w 297138"/>
              <a:gd name="connsiteY2" fmla="*/ 163135 h 323938"/>
              <a:gd name="connsiteX3" fmla="*/ 0 w 297138"/>
              <a:gd name="connsiteY3" fmla="*/ 0 h 323938"/>
              <a:gd name="connsiteX4" fmla="*/ 138664 w 297138"/>
              <a:gd name="connsiteY4" fmla="*/ 0 h 323938"/>
              <a:gd name="connsiteX5" fmla="*/ 297138 w 297138"/>
              <a:gd name="connsiteY5" fmla="*/ 159639 h 323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3938">
                <a:moveTo>
                  <a:pt x="135168" y="323939"/>
                </a:moveTo>
                <a:lnTo>
                  <a:pt x="0" y="323939"/>
                </a:lnTo>
                <a:lnTo>
                  <a:pt x="158473" y="163135"/>
                </a:lnTo>
                <a:lnTo>
                  <a:pt x="0" y="0"/>
                </a:lnTo>
                <a:lnTo>
                  <a:pt x="138664" y="0"/>
                </a:lnTo>
                <a:lnTo>
                  <a:pt x="297138" y="159639"/>
                </a:lnTo>
                <a:close/>
              </a:path>
            </a:pathLst>
          </a:custGeom>
          <a:solidFill>
            <a:srgbClr val="EEF2F5"/>
          </a:solidFill>
          <a:ln w="11643" cap="flat">
            <a:noFill/>
            <a:prstDash val="solid"/>
            <a:miter/>
          </a:ln>
        </p:spPr>
        <p:txBody>
          <a:bodyPr rtlCol="0" anchor="ctr"/>
          <a:lstStyle/>
          <a:p>
            <a:pPr rtl="0"/>
            <a:endParaRPr lang="en-US"/>
          </a:p>
        </p:txBody>
      </p:sp>
      <p:sp>
        <p:nvSpPr>
          <p:cNvPr id="186" name="Freihandform: Form 185">
            <a:extLst>
              <a:ext uri="{FF2B5EF4-FFF2-40B4-BE49-F238E27FC236}">
                <a16:creationId xmlns:a16="http://schemas.microsoft.com/office/drawing/2014/main" id="{51341657-6CDA-48E4-A038-7E086040DA70}"/>
              </a:ext>
            </a:extLst>
          </p:cNvPr>
          <p:cNvSpPr/>
          <p:nvPr/>
        </p:nvSpPr>
        <p:spPr>
          <a:xfrm>
            <a:off x="10801860" y="5496989"/>
            <a:ext cx="297138" cy="322773"/>
          </a:xfrm>
          <a:custGeom>
            <a:avLst/>
            <a:gdLst>
              <a:gd name="connsiteX0" fmla="*/ 135168 w 297138"/>
              <a:gd name="connsiteY0" fmla="*/ 322773 h 322773"/>
              <a:gd name="connsiteX1" fmla="*/ 0 w 297138"/>
              <a:gd name="connsiteY1" fmla="*/ 322773 h 322773"/>
              <a:gd name="connsiteX2" fmla="*/ 158473 w 297138"/>
              <a:gd name="connsiteY2" fmla="*/ 163135 h 322773"/>
              <a:gd name="connsiteX3" fmla="*/ 0 w 297138"/>
              <a:gd name="connsiteY3" fmla="*/ 0 h 322773"/>
              <a:gd name="connsiteX4" fmla="*/ 138664 w 297138"/>
              <a:gd name="connsiteY4" fmla="*/ 0 h 322773"/>
              <a:gd name="connsiteX5" fmla="*/ 297138 w 297138"/>
              <a:gd name="connsiteY5" fmla="*/ 158473 h 322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2773">
                <a:moveTo>
                  <a:pt x="135168" y="322773"/>
                </a:moveTo>
                <a:lnTo>
                  <a:pt x="0" y="322773"/>
                </a:lnTo>
                <a:lnTo>
                  <a:pt x="158473" y="163135"/>
                </a:lnTo>
                <a:lnTo>
                  <a:pt x="0" y="0"/>
                </a:lnTo>
                <a:lnTo>
                  <a:pt x="138664" y="0"/>
                </a:lnTo>
                <a:lnTo>
                  <a:pt x="297138" y="158473"/>
                </a:lnTo>
                <a:close/>
              </a:path>
            </a:pathLst>
          </a:custGeom>
          <a:solidFill>
            <a:srgbClr val="EEF2F5"/>
          </a:solidFill>
          <a:ln w="11643" cap="flat">
            <a:noFill/>
            <a:prstDash val="solid"/>
            <a:miter/>
          </a:ln>
        </p:spPr>
        <p:txBody>
          <a:bodyPr rtlCol="0" anchor="ctr"/>
          <a:lstStyle/>
          <a:p>
            <a:pPr rtl="0"/>
            <a:endParaRPr lang="en-US"/>
          </a:p>
        </p:txBody>
      </p:sp>
      <p:sp>
        <p:nvSpPr>
          <p:cNvPr id="54" name="Freihandform: Form 53">
            <a:extLst>
              <a:ext uri="{FF2B5EF4-FFF2-40B4-BE49-F238E27FC236}">
                <a16:creationId xmlns:a16="http://schemas.microsoft.com/office/drawing/2014/main" id="{7C58B8B7-C0D0-45C0-A524-368D9D8EC1A1}"/>
              </a:ext>
            </a:extLst>
          </p:cNvPr>
          <p:cNvSpPr/>
          <p:nvPr/>
        </p:nvSpPr>
        <p:spPr>
          <a:xfrm>
            <a:off x="10454616" y="2667767"/>
            <a:ext cx="280824" cy="304129"/>
          </a:xfrm>
          <a:custGeom>
            <a:avLst/>
            <a:gdLst>
              <a:gd name="connsiteX0" fmla="*/ 129343 w 280824"/>
              <a:gd name="connsiteY0" fmla="*/ 304130 h 304129"/>
              <a:gd name="connsiteX1" fmla="*/ 0 w 280824"/>
              <a:gd name="connsiteY1" fmla="*/ 304130 h 304129"/>
              <a:gd name="connsiteX2" fmla="*/ 150317 w 280824"/>
              <a:gd name="connsiteY2" fmla="*/ 153813 h 304129"/>
              <a:gd name="connsiteX3" fmla="*/ 0 w 280824"/>
              <a:gd name="connsiteY3" fmla="*/ 0 h 304129"/>
              <a:gd name="connsiteX4" fmla="*/ 131673 w 280824"/>
              <a:gd name="connsiteY4" fmla="*/ 0 h 304129"/>
              <a:gd name="connsiteX5" fmla="*/ 280825 w 280824"/>
              <a:gd name="connsiteY5" fmla="*/ 149152 h 304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4129">
                <a:moveTo>
                  <a:pt x="129343" y="304130"/>
                </a:moveTo>
                <a:lnTo>
                  <a:pt x="0" y="304130"/>
                </a:lnTo>
                <a:lnTo>
                  <a:pt x="150317" y="153813"/>
                </a:lnTo>
                <a:lnTo>
                  <a:pt x="0" y="0"/>
                </a:lnTo>
                <a:lnTo>
                  <a:pt x="131673" y="0"/>
                </a:lnTo>
                <a:lnTo>
                  <a:pt x="280825" y="149152"/>
                </a:lnTo>
                <a:close/>
              </a:path>
            </a:pathLst>
          </a:custGeom>
          <a:solidFill>
            <a:srgbClr val="EEF2F5"/>
          </a:solidFill>
          <a:ln w="11643" cap="flat">
            <a:noFill/>
            <a:prstDash val="solid"/>
            <a:miter/>
          </a:ln>
        </p:spPr>
        <p:txBody>
          <a:bodyPr rtlCol="0" anchor="ctr"/>
          <a:lstStyle/>
          <a:p>
            <a:pPr rtl="0"/>
            <a:endParaRPr lang="en-US"/>
          </a:p>
        </p:txBody>
      </p:sp>
      <p:sp>
        <p:nvSpPr>
          <p:cNvPr id="70" name="Freihandform: Form 69">
            <a:extLst>
              <a:ext uri="{FF2B5EF4-FFF2-40B4-BE49-F238E27FC236}">
                <a16:creationId xmlns:a16="http://schemas.microsoft.com/office/drawing/2014/main" id="{B108D00B-F584-45AE-88D7-637B206C908C}"/>
              </a:ext>
            </a:extLst>
          </p:cNvPr>
          <p:cNvSpPr/>
          <p:nvPr/>
        </p:nvSpPr>
        <p:spPr>
          <a:xfrm>
            <a:off x="10454616" y="3022002"/>
            <a:ext cx="280824" cy="305294"/>
          </a:xfrm>
          <a:custGeom>
            <a:avLst/>
            <a:gdLst>
              <a:gd name="connsiteX0" fmla="*/ 129343 w 280824"/>
              <a:gd name="connsiteY0" fmla="*/ 305295 h 305294"/>
              <a:gd name="connsiteX1" fmla="*/ 0 w 280824"/>
              <a:gd name="connsiteY1" fmla="*/ 305295 h 305294"/>
              <a:gd name="connsiteX2" fmla="*/ 150317 w 280824"/>
              <a:gd name="connsiteY2" fmla="*/ 153813 h 305294"/>
              <a:gd name="connsiteX3" fmla="*/ 0 w 280824"/>
              <a:gd name="connsiteY3" fmla="*/ 0 h 305294"/>
              <a:gd name="connsiteX4" fmla="*/ 131673 w 280824"/>
              <a:gd name="connsiteY4" fmla="*/ 0 h 305294"/>
              <a:gd name="connsiteX5" fmla="*/ 280825 w 280824"/>
              <a:gd name="connsiteY5" fmla="*/ 150317 h 305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5294">
                <a:moveTo>
                  <a:pt x="129343" y="305295"/>
                </a:moveTo>
                <a:lnTo>
                  <a:pt x="0" y="305295"/>
                </a:lnTo>
                <a:lnTo>
                  <a:pt x="150317" y="153813"/>
                </a:lnTo>
                <a:lnTo>
                  <a:pt x="0" y="0"/>
                </a:lnTo>
                <a:lnTo>
                  <a:pt x="131673" y="0"/>
                </a:lnTo>
                <a:lnTo>
                  <a:pt x="280825" y="150317"/>
                </a:lnTo>
                <a:close/>
              </a:path>
            </a:pathLst>
          </a:custGeom>
          <a:solidFill>
            <a:srgbClr val="EEF2F5"/>
          </a:solidFill>
          <a:ln w="11643" cap="flat">
            <a:noFill/>
            <a:prstDash val="solid"/>
            <a:miter/>
          </a:ln>
        </p:spPr>
        <p:txBody>
          <a:bodyPr rtlCol="0" anchor="ctr"/>
          <a:lstStyle/>
          <a:p>
            <a:pPr rtl="0"/>
            <a:endParaRPr lang="en-US"/>
          </a:p>
        </p:txBody>
      </p:sp>
      <p:sp>
        <p:nvSpPr>
          <p:cNvPr id="86" name="Freihandform: Form 85">
            <a:extLst>
              <a:ext uri="{FF2B5EF4-FFF2-40B4-BE49-F238E27FC236}">
                <a16:creationId xmlns:a16="http://schemas.microsoft.com/office/drawing/2014/main" id="{63D6ECD9-E964-4D15-AC74-F1865C75FC49}"/>
              </a:ext>
            </a:extLst>
          </p:cNvPr>
          <p:cNvSpPr/>
          <p:nvPr/>
        </p:nvSpPr>
        <p:spPr>
          <a:xfrm>
            <a:off x="10454616" y="3377403"/>
            <a:ext cx="280824" cy="304129"/>
          </a:xfrm>
          <a:custGeom>
            <a:avLst/>
            <a:gdLst>
              <a:gd name="connsiteX0" fmla="*/ 129343 w 280824"/>
              <a:gd name="connsiteY0" fmla="*/ 304130 h 304129"/>
              <a:gd name="connsiteX1" fmla="*/ 0 w 280824"/>
              <a:gd name="connsiteY1" fmla="*/ 304130 h 304129"/>
              <a:gd name="connsiteX2" fmla="*/ 150317 w 280824"/>
              <a:gd name="connsiteY2" fmla="*/ 153813 h 304129"/>
              <a:gd name="connsiteX3" fmla="*/ 0 w 280824"/>
              <a:gd name="connsiteY3" fmla="*/ 0 h 304129"/>
              <a:gd name="connsiteX4" fmla="*/ 131673 w 280824"/>
              <a:gd name="connsiteY4" fmla="*/ 0 h 304129"/>
              <a:gd name="connsiteX5" fmla="*/ 280825 w 280824"/>
              <a:gd name="connsiteY5" fmla="*/ 149152 h 304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4129">
                <a:moveTo>
                  <a:pt x="129343" y="304130"/>
                </a:moveTo>
                <a:lnTo>
                  <a:pt x="0" y="304130"/>
                </a:lnTo>
                <a:lnTo>
                  <a:pt x="150317" y="153813"/>
                </a:lnTo>
                <a:lnTo>
                  <a:pt x="0" y="0"/>
                </a:lnTo>
                <a:lnTo>
                  <a:pt x="131673" y="0"/>
                </a:lnTo>
                <a:lnTo>
                  <a:pt x="280825" y="149152"/>
                </a:lnTo>
                <a:close/>
              </a:path>
            </a:pathLst>
          </a:custGeom>
          <a:solidFill>
            <a:srgbClr val="EEF2F5"/>
          </a:solidFill>
          <a:ln w="11643" cap="flat">
            <a:noFill/>
            <a:prstDash val="solid"/>
            <a:miter/>
          </a:ln>
        </p:spPr>
        <p:txBody>
          <a:bodyPr rtlCol="0" anchor="ctr"/>
          <a:lstStyle/>
          <a:p>
            <a:pPr rtl="0"/>
            <a:endParaRPr lang="en-US"/>
          </a:p>
        </p:txBody>
      </p:sp>
      <p:sp>
        <p:nvSpPr>
          <p:cNvPr id="102" name="Freihandform: Form 101">
            <a:extLst>
              <a:ext uri="{FF2B5EF4-FFF2-40B4-BE49-F238E27FC236}">
                <a16:creationId xmlns:a16="http://schemas.microsoft.com/office/drawing/2014/main" id="{1A517635-BE85-4E6F-8720-FFD3AE9C8A9E}"/>
              </a:ext>
            </a:extLst>
          </p:cNvPr>
          <p:cNvSpPr/>
          <p:nvPr/>
        </p:nvSpPr>
        <p:spPr>
          <a:xfrm>
            <a:off x="10454616" y="3731638"/>
            <a:ext cx="280824" cy="305294"/>
          </a:xfrm>
          <a:custGeom>
            <a:avLst/>
            <a:gdLst>
              <a:gd name="connsiteX0" fmla="*/ 129343 w 280824"/>
              <a:gd name="connsiteY0" fmla="*/ 305295 h 305294"/>
              <a:gd name="connsiteX1" fmla="*/ 0 w 280824"/>
              <a:gd name="connsiteY1" fmla="*/ 305295 h 305294"/>
              <a:gd name="connsiteX2" fmla="*/ 150317 w 280824"/>
              <a:gd name="connsiteY2" fmla="*/ 153813 h 305294"/>
              <a:gd name="connsiteX3" fmla="*/ 0 w 280824"/>
              <a:gd name="connsiteY3" fmla="*/ 0 h 305294"/>
              <a:gd name="connsiteX4" fmla="*/ 131673 w 280824"/>
              <a:gd name="connsiteY4" fmla="*/ 0 h 305294"/>
              <a:gd name="connsiteX5" fmla="*/ 280825 w 280824"/>
              <a:gd name="connsiteY5" fmla="*/ 150317 h 305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5294">
                <a:moveTo>
                  <a:pt x="129343" y="305295"/>
                </a:moveTo>
                <a:lnTo>
                  <a:pt x="0" y="305295"/>
                </a:lnTo>
                <a:lnTo>
                  <a:pt x="150317" y="153813"/>
                </a:lnTo>
                <a:lnTo>
                  <a:pt x="0" y="0"/>
                </a:lnTo>
                <a:lnTo>
                  <a:pt x="131673" y="0"/>
                </a:lnTo>
                <a:lnTo>
                  <a:pt x="280825" y="150317"/>
                </a:lnTo>
                <a:close/>
              </a:path>
            </a:pathLst>
          </a:custGeom>
          <a:solidFill>
            <a:srgbClr val="EEF2F5"/>
          </a:solidFill>
          <a:ln w="11643" cap="flat">
            <a:noFill/>
            <a:prstDash val="solid"/>
            <a:miter/>
          </a:ln>
        </p:spPr>
        <p:txBody>
          <a:bodyPr rtlCol="0" anchor="ctr"/>
          <a:lstStyle/>
          <a:p>
            <a:pPr rtl="0"/>
            <a:endParaRPr lang="en-US"/>
          </a:p>
        </p:txBody>
      </p:sp>
      <p:sp>
        <p:nvSpPr>
          <p:cNvPr id="118" name="Freihandform: Form 117">
            <a:extLst>
              <a:ext uri="{FF2B5EF4-FFF2-40B4-BE49-F238E27FC236}">
                <a16:creationId xmlns:a16="http://schemas.microsoft.com/office/drawing/2014/main" id="{107FD09D-7EF2-4E43-8333-1BB41EE81E8C}"/>
              </a:ext>
            </a:extLst>
          </p:cNvPr>
          <p:cNvSpPr/>
          <p:nvPr/>
        </p:nvSpPr>
        <p:spPr>
          <a:xfrm>
            <a:off x="10454616" y="4087039"/>
            <a:ext cx="280824" cy="304129"/>
          </a:xfrm>
          <a:custGeom>
            <a:avLst/>
            <a:gdLst>
              <a:gd name="connsiteX0" fmla="*/ 129343 w 280824"/>
              <a:gd name="connsiteY0" fmla="*/ 304130 h 304129"/>
              <a:gd name="connsiteX1" fmla="*/ 0 w 280824"/>
              <a:gd name="connsiteY1" fmla="*/ 304130 h 304129"/>
              <a:gd name="connsiteX2" fmla="*/ 150317 w 280824"/>
              <a:gd name="connsiteY2" fmla="*/ 153813 h 304129"/>
              <a:gd name="connsiteX3" fmla="*/ 0 w 280824"/>
              <a:gd name="connsiteY3" fmla="*/ 0 h 304129"/>
              <a:gd name="connsiteX4" fmla="*/ 131673 w 280824"/>
              <a:gd name="connsiteY4" fmla="*/ 0 h 304129"/>
              <a:gd name="connsiteX5" fmla="*/ 280825 w 280824"/>
              <a:gd name="connsiteY5" fmla="*/ 149152 h 304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4129">
                <a:moveTo>
                  <a:pt x="129343" y="304130"/>
                </a:moveTo>
                <a:lnTo>
                  <a:pt x="0" y="304130"/>
                </a:lnTo>
                <a:lnTo>
                  <a:pt x="150317" y="153813"/>
                </a:lnTo>
                <a:lnTo>
                  <a:pt x="0" y="0"/>
                </a:lnTo>
                <a:lnTo>
                  <a:pt x="131673" y="0"/>
                </a:lnTo>
                <a:lnTo>
                  <a:pt x="280825" y="149152"/>
                </a:lnTo>
                <a:close/>
              </a:path>
            </a:pathLst>
          </a:custGeom>
          <a:solidFill>
            <a:srgbClr val="EEF2F5"/>
          </a:solidFill>
          <a:ln w="11643" cap="flat">
            <a:noFill/>
            <a:prstDash val="solid"/>
            <a:miter/>
          </a:ln>
        </p:spPr>
        <p:txBody>
          <a:bodyPr rtlCol="0" anchor="ctr"/>
          <a:lstStyle/>
          <a:p>
            <a:pPr rtl="0"/>
            <a:endParaRPr lang="en-US"/>
          </a:p>
        </p:txBody>
      </p:sp>
      <p:sp>
        <p:nvSpPr>
          <p:cNvPr id="134" name="Freihandform: Form 133">
            <a:extLst>
              <a:ext uri="{FF2B5EF4-FFF2-40B4-BE49-F238E27FC236}">
                <a16:creationId xmlns:a16="http://schemas.microsoft.com/office/drawing/2014/main" id="{D630C772-EA61-4CD9-88F3-B5A40C068A2C}"/>
              </a:ext>
            </a:extLst>
          </p:cNvPr>
          <p:cNvSpPr/>
          <p:nvPr/>
        </p:nvSpPr>
        <p:spPr>
          <a:xfrm>
            <a:off x="10454616" y="4441274"/>
            <a:ext cx="280824" cy="305294"/>
          </a:xfrm>
          <a:custGeom>
            <a:avLst/>
            <a:gdLst>
              <a:gd name="connsiteX0" fmla="*/ 129343 w 280824"/>
              <a:gd name="connsiteY0" fmla="*/ 305295 h 305294"/>
              <a:gd name="connsiteX1" fmla="*/ 0 w 280824"/>
              <a:gd name="connsiteY1" fmla="*/ 305295 h 305294"/>
              <a:gd name="connsiteX2" fmla="*/ 150317 w 280824"/>
              <a:gd name="connsiteY2" fmla="*/ 153813 h 305294"/>
              <a:gd name="connsiteX3" fmla="*/ 0 w 280824"/>
              <a:gd name="connsiteY3" fmla="*/ 0 h 305294"/>
              <a:gd name="connsiteX4" fmla="*/ 131673 w 280824"/>
              <a:gd name="connsiteY4" fmla="*/ 0 h 305294"/>
              <a:gd name="connsiteX5" fmla="*/ 280825 w 280824"/>
              <a:gd name="connsiteY5" fmla="*/ 150317 h 305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5294">
                <a:moveTo>
                  <a:pt x="129343" y="305295"/>
                </a:moveTo>
                <a:lnTo>
                  <a:pt x="0" y="305295"/>
                </a:lnTo>
                <a:lnTo>
                  <a:pt x="150317" y="153813"/>
                </a:lnTo>
                <a:lnTo>
                  <a:pt x="0" y="0"/>
                </a:lnTo>
                <a:lnTo>
                  <a:pt x="131673" y="0"/>
                </a:lnTo>
                <a:lnTo>
                  <a:pt x="280825" y="150317"/>
                </a:lnTo>
                <a:close/>
              </a:path>
            </a:pathLst>
          </a:custGeom>
          <a:solidFill>
            <a:srgbClr val="EEF2F5"/>
          </a:solidFill>
          <a:ln w="11643" cap="flat">
            <a:noFill/>
            <a:prstDash val="solid"/>
            <a:miter/>
          </a:ln>
        </p:spPr>
        <p:txBody>
          <a:bodyPr rtlCol="0" anchor="ctr"/>
          <a:lstStyle/>
          <a:p>
            <a:pPr rtl="0"/>
            <a:endParaRPr lang="en-US"/>
          </a:p>
        </p:txBody>
      </p:sp>
      <p:sp>
        <p:nvSpPr>
          <p:cNvPr id="151" name="Freihandform: Form 150">
            <a:extLst>
              <a:ext uri="{FF2B5EF4-FFF2-40B4-BE49-F238E27FC236}">
                <a16:creationId xmlns:a16="http://schemas.microsoft.com/office/drawing/2014/main" id="{B58FDE5A-4CC1-4494-B722-D4785E2E9E92}"/>
              </a:ext>
            </a:extLst>
          </p:cNvPr>
          <p:cNvSpPr/>
          <p:nvPr/>
        </p:nvSpPr>
        <p:spPr>
          <a:xfrm>
            <a:off x="10454616" y="4796675"/>
            <a:ext cx="280824" cy="304129"/>
          </a:xfrm>
          <a:custGeom>
            <a:avLst/>
            <a:gdLst>
              <a:gd name="connsiteX0" fmla="*/ 129343 w 280824"/>
              <a:gd name="connsiteY0" fmla="*/ 304130 h 304129"/>
              <a:gd name="connsiteX1" fmla="*/ 0 w 280824"/>
              <a:gd name="connsiteY1" fmla="*/ 304130 h 304129"/>
              <a:gd name="connsiteX2" fmla="*/ 150317 w 280824"/>
              <a:gd name="connsiteY2" fmla="*/ 153813 h 304129"/>
              <a:gd name="connsiteX3" fmla="*/ 0 w 280824"/>
              <a:gd name="connsiteY3" fmla="*/ 0 h 304129"/>
              <a:gd name="connsiteX4" fmla="*/ 131673 w 280824"/>
              <a:gd name="connsiteY4" fmla="*/ 0 h 304129"/>
              <a:gd name="connsiteX5" fmla="*/ 280825 w 280824"/>
              <a:gd name="connsiteY5" fmla="*/ 149152 h 304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4129">
                <a:moveTo>
                  <a:pt x="129343" y="304130"/>
                </a:moveTo>
                <a:lnTo>
                  <a:pt x="0" y="304130"/>
                </a:lnTo>
                <a:lnTo>
                  <a:pt x="150317" y="153813"/>
                </a:lnTo>
                <a:lnTo>
                  <a:pt x="0" y="0"/>
                </a:lnTo>
                <a:lnTo>
                  <a:pt x="131673" y="0"/>
                </a:lnTo>
                <a:lnTo>
                  <a:pt x="280825" y="149152"/>
                </a:lnTo>
                <a:close/>
              </a:path>
            </a:pathLst>
          </a:custGeom>
          <a:solidFill>
            <a:srgbClr val="EEF2F5"/>
          </a:solidFill>
          <a:ln w="11643" cap="flat">
            <a:noFill/>
            <a:prstDash val="solid"/>
            <a:miter/>
          </a:ln>
        </p:spPr>
        <p:txBody>
          <a:bodyPr rtlCol="0" anchor="ctr"/>
          <a:lstStyle/>
          <a:p>
            <a:pPr rtl="0"/>
            <a:endParaRPr lang="en-US"/>
          </a:p>
        </p:txBody>
      </p:sp>
      <p:sp>
        <p:nvSpPr>
          <p:cNvPr id="168" name="Freihandform: Form 167">
            <a:extLst>
              <a:ext uri="{FF2B5EF4-FFF2-40B4-BE49-F238E27FC236}">
                <a16:creationId xmlns:a16="http://schemas.microsoft.com/office/drawing/2014/main" id="{0AC8C872-76B8-4053-8B0A-1A7AAE0AA7A1}"/>
              </a:ext>
            </a:extLst>
          </p:cNvPr>
          <p:cNvSpPr/>
          <p:nvPr/>
        </p:nvSpPr>
        <p:spPr>
          <a:xfrm>
            <a:off x="10454616" y="5150910"/>
            <a:ext cx="280824" cy="305295"/>
          </a:xfrm>
          <a:custGeom>
            <a:avLst/>
            <a:gdLst>
              <a:gd name="connsiteX0" fmla="*/ 129343 w 280824"/>
              <a:gd name="connsiteY0" fmla="*/ 305295 h 305295"/>
              <a:gd name="connsiteX1" fmla="*/ 0 w 280824"/>
              <a:gd name="connsiteY1" fmla="*/ 305295 h 305295"/>
              <a:gd name="connsiteX2" fmla="*/ 150317 w 280824"/>
              <a:gd name="connsiteY2" fmla="*/ 153813 h 305295"/>
              <a:gd name="connsiteX3" fmla="*/ 0 w 280824"/>
              <a:gd name="connsiteY3" fmla="*/ 0 h 305295"/>
              <a:gd name="connsiteX4" fmla="*/ 131673 w 280824"/>
              <a:gd name="connsiteY4" fmla="*/ 0 h 305295"/>
              <a:gd name="connsiteX5" fmla="*/ 280825 w 280824"/>
              <a:gd name="connsiteY5" fmla="*/ 150317 h 305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5295">
                <a:moveTo>
                  <a:pt x="129343" y="305295"/>
                </a:moveTo>
                <a:lnTo>
                  <a:pt x="0" y="305295"/>
                </a:lnTo>
                <a:lnTo>
                  <a:pt x="150317" y="153813"/>
                </a:lnTo>
                <a:lnTo>
                  <a:pt x="0" y="0"/>
                </a:lnTo>
                <a:lnTo>
                  <a:pt x="131673" y="0"/>
                </a:lnTo>
                <a:lnTo>
                  <a:pt x="280825" y="150317"/>
                </a:lnTo>
                <a:close/>
              </a:path>
            </a:pathLst>
          </a:custGeom>
          <a:solidFill>
            <a:srgbClr val="EEF2F5"/>
          </a:solidFill>
          <a:ln w="11643" cap="flat">
            <a:noFill/>
            <a:prstDash val="solid"/>
            <a:miter/>
          </a:ln>
        </p:spPr>
        <p:txBody>
          <a:bodyPr rtlCol="0" anchor="ctr"/>
          <a:lstStyle/>
          <a:p>
            <a:pPr rtl="0"/>
            <a:endParaRPr lang="en-US"/>
          </a:p>
        </p:txBody>
      </p:sp>
      <p:sp>
        <p:nvSpPr>
          <p:cNvPr id="185" name="Freihandform: Form 184">
            <a:extLst>
              <a:ext uri="{FF2B5EF4-FFF2-40B4-BE49-F238E27FC236}">
                <a16:creationId xmlns:a16="http://schemas.microsoft.com/office/drawing/2014/main" id="{0A1E16EF-F3A1-4575-8F8F-D7FE734A79FD}"/>
              </a:ext>
            </a:extLst>
          </p:cNvPr>
          <p:cNvSpPr/>
          <p:nvPr/>
        </p:nvSpPr>
        <p:spPr>
          <a:xfrm>
            <a:off x="10454616" y="5506311"/>
            <a:ext cx="280824" cy="305295"/>
          </a:xfrm>
          <a:custGeom>
            <a:avLst/>
            <a:gdLst>
              <a:gd name="connsiteX0" fmla="*/ 129343 w 280824"/>
              <a:gd name="connsiteY0" fmla="*/ 305295 h 305295"/>
              <a:gd name="connsiteX1" fmla="*/ 0 w 280824"/>
              <a:gd name="connsiteY1" fmla="*/ 305295 h 305295"/>
              <a:gd name="connsiteX2" fmla="*/ 150317 w 280824"/>
              <a:gd name="connsiteY2" fmla="*/ 153813 h 305295"/>
              <a:gd name="connsiteX3" fmla="*/ 0 w 280824"/>
              <a:gd name="connsiteY3" fmla="*/ 0 h 305295"/>
              <a:gd name="connsiteX4" fmla="*/ 131673 w 280824"/>
              <a:gd name="connsiteY4" fmla="*/ 0 h 305295"/>
              <a:gd name="connsiteX5" fmla="*/ 280825 w 280824"/>
              <a:gd name="connsiteY5" fmla="*/ 149152 h 305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5295">
                <a:moveTo>
                  <a:pt x="129343" y="305295"/>
                </a:moveTo>
                <a:lnTo>
                  <a:pt x="0" y="305295"/>
                </a:lnTo>
                <a:lnTo>
                  <a:pt x="150317" y="153813"/>
                </a:lnTo>
                <a:lnTo>
                  <a:pt x="0" y="0"/>
                </a:lnTo>
                <a:lnTo>
                  <a:pt x="131673" y="0"/>
                </a:lnTo>
                <a:lnTo>
                  <a:pt x="280825" y="149152"/>
                </a:lnTo>
                <a:close/>
              </a:path>
            </a:pathLst>
          </a:custGeom>
          <a:solidFill>
            <a:srgbClr val="EEF2F5"/>
          </a:solidFill>
          <a:ln w="11643" cap="flat">
            <a:noFill/>
            <a:prstDash val="solid"/>
            <a:miter/>
          </a:ln>
        </p:spPr>
        <p:txBody>
          <a:bodyPr rtlCol="0" anchor="ctr"/>
          <a:lstStyle/>
          <a:p>
            <a:pPr rtl="0"/>
            <a:endParaRPr lang="en-US"/>
          </a:p>
        </p:txBody>
      </p:sp>
      <p:sp>
        <p:nvSpPr>
          <p:cNvPr id="202" name="Freihandform: Form 201">
            <a:extLst>
              <a:ext uri="{FF2B5EF4-FFF2-40B4-BE49-F238E27FC236}">
                <a16:creationId xmlns:a16="http://schemas.microsoft.com/office/drawing/2014/main" id="{C2091647-BDE3-4497-8513-4EEAA0FFCE88}"/>
              </a:ext>
            </a:extLst>
          </p:cNvPr>
          <p:cNvSpPr/>
          <p:nvPr/>
        </p:nvSpPr>
        <p:spPr>
          <a:xfrm>
            <a:off x="10454616" y="5860546"/>
            <a:ext cx="280824" cy="305295"/>
          </a:xfrm>
          <a:custGeom>
            <a:avLst/>
            <a:gdLst>
              <a:gd name="connsiteX0" fmla="*/ 129343 w 280824"/>
              <a:gd name="connsiteY0" fmla="*/ 305295 h 305295"/>
              <a:gd name="connsiteX1" fmla="*/ 0 w 280824"/>
              <a:gd name="connsiteY1" fmla="*/ 305295 h 305295"/>
              <a:gd name="connsiteX2" fmla="*/ 150317 w 280824"/>
              <a:gd name="connsiteY2" fmla="*/ 153813 h 305295"/>
              <a:gd name="connsiteX3" fmla="*/ 0 w 280824"/>
              <a:gd name="connsiteY3" fmla="*/ 0 h 305295"/>
              <a:gd name="connsiteX4" fmla="*/ 131673 w 280824"/>
              <a:gd name="connsiteY4" fmla="*/ 0 h 305295"/>
              <a:gd name="connsiteX5" fmla="*/ 280825 w 280824"/>
              <a:gd name="connsiteY5" fmla="*/ 150317 h 305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5295">
                <a:moveTo>
                  <a:pt x="129343" y="305295"/>
                </a:moveTo>
                <a:lnTo>
                  <a:pt x="0" y="305295"/>
                </a:lnTo>
                <a:lnTo>
                  <a:pt x="150317" y="153813"/>
                </a:lnTo>
                <a:lnTo>
                  <a:pt x="0" y="0"/>
                </a:lnTo>
                <a:lnTo>
                  <a:pt x="131673" y="0"/>
                </a:lnTo>
                <a:lnTo>
                  <a:pt x="280825" y="150317"/>
                </a:lnTo>
                <a:close/>
              </a:path>
            </a:pathLst>
          </a:custGeom>
          <a:solidFill>
            <a:srgbClr val="EEF2F5"/>
          </a:solidFill>
          <a:ln w="11643" cap="flat">
            <a:noFill/>
            <a:prstDash val="solid"/>
            <a:miter/>
          </a:ln>
        </p:spPr>
        <p:txBody>
          <a:bodyPr rtlCol="0" anchor="ctr"/>
          <a:lstStyle/>
          <a:p>
            <a:pPr rtl="0"/>
            <a:endParaRPr lang="en-US"/>
          </a:p>
        </p:txBody>
      </p:sp>
      <p:sp>
        <p:nvSpPr>
          <p:cNvPr id="37" name="Freihandform: Form 36">
            <a:extLst>
              <a:ext uri="{FF2B5EF4-FFF2-40B4-BE49-F238E27FC236}">
                <a16:creationId xmlns:a16="http://schemas.microsoft.com/office/drawing/2014/main" id="{0197700D-5496-490A-8DC7-CB8C17414912}"/>
              </a:ext>
            </a:extLst>
          </p:cNvPr>
          <p:cNvSpPr/>
          <p:nvPr/>
        </p:nvSpPr>
        <p:spPr>
          <a:xfrm>
            <a:off x="10108537" y="2321688"/>
            <a:ext cx="264511" cy="286650"/>
          </a:xfrm>
          <a:custGeom>
            <a:avLst/>
            <a:gdLst>
              <a:gd name="connsiteX0" fmla="*/ 121186 w 264511"/>
              <a:gd name="connsiteY0" fmla="*/ 286651 h 286650"/>
              <a:gd name="connsiteX1" fmla="*/ 0 w 264511"/>
              <a:gd name="connsiteY1" fmla="*/ 286651 h 286650"/>
              <a:gd name="connsiteX2" fmla="*/ 140995 w 264511"/>
              <a:gd name="connsiteY2" fmla="*/ 144491 h 286650"/>
              <a:gd name="connsiteX3" fmla="*/ 0 w 264511"/>
              <a:gd name="connsiteY3" fmla="*/ 0 h 286650"/>
              <a:gd name="connsiteX4" fmla="*/ 123516 w 264511"/>
              <a:gd name="connsiteY4" fmla="*/ 0 h 286650"/>
              <a:gd name="connsiteX5" fmla="*/ 264511 w 264511"/>
              <a:gd name="connsiteY5" fmla="*/ 140995 h 28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0">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pPr rtl="0"/>
            <a:endParaRPr lang="en-US"/>
          </a:p>
        </p:txBody>
      </p:sp>
      <p:sp>
        <p:nvSpPr>
          <p:cNvPr id="53" name="Freihandform: Form 52">
            <a:extLst>
              <a:ext uri="{FF2B5EF4-FFF2-40B4-BE49-F238E27FC236}">
                <a16:creationId xmlns:a16="http://schemas.microsoft.com/office/drawing/2014/main" id="{76A9C547-A085-4B5D-B3A0-6461D8694E0B}"/>
              </a:ext>
            </a:extLst>
          </p:cNvPr>
          <p:cNvSpPr/>
          <p:nvPr/>
        </p:nvSpPr>
        <p:spPr>
          <a:xfrm>
            <a:off x="10108537" y="2675924"/>
            <a:ext cx="264511" cy="286650"/>
          </a:xfrm>
          <a:custGeom>
            <a:avLst/>
            <a:gdLst>
              <a:gd name="connsiteX0" fmla="*/ 121186 w 264511"/>
              <a:gd name="connsiteY0" fmla="*/ 286651 h 286650"/>
              <a:gd name="connsiteX1" fmla="*/ 0 w 264511"/>
              <a:gd name="connsiteY1" fmla="*/ 286651 h 286650"/>
              <a:gd name="connsiteX2" fmla="*/ 140995 w 264511"/>
              <a:gd name="connsiteY2" fmla="*/ 144491 h 286650"/>
              <a:gd name="connsiteX3" fmla="*/ 0 w 264511"/>
              <a:gd name="connsiteY3" fmla="*/ 0 h 286650"/>
              <a:gd name="connsiteX4" fmla="*/ 123516 w 264511"/>
              <a:gd name="connsiteY4" fmla="*/ 0 h 286650"/>
              <a:gd name="connsiteX5" fmla="*/ 264511 w 264511"/>
              <a:gd name="connsiteY5" fmla="*/ 140995 h 28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0">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pPr rtl="0"/>
            <a:endParaRPr lang="en-US"/>
          </a:p>
        </p:txBody>
      </p:sp>
      <p:sp>
        <p:nvSpPr>
          <p:cNvPr id="69" name="Freihandform: Form 68">
            <a:extLst>
              <a:ext uri="{FF2B5EF4-FFF2-40B4-BE49-F238E27FC236}">
                <a16:creationId xmlns:a16="http://schemas.microsoft.com/office/drawing/2014/main" id="{60D25080-D9B9-4692-9129-2C6183DC021A}"/>
              </a:ext>
            </a:extLst>
          </p:cNvPr>
          <p:cNvSpPr/>
          <p:nvPr/>
        </p:nvSpPr>
        <p:spPr>
          <a:xfrm>
            <a:off x="10108537" y="3031324"/>
            <a:ext cx="264511" cy="286650"/>
          </a:xfrm>
          <a:custGeom>
            <a:avLst/>
            <a:gdLst>
              <a:gd name="connsiteX0" fmla="*/ 121186 w 264511"/>
              <a:gd name="connsiteY0" fmla="*/ 286651 h 286650"/>
              <a:gd name="connsiteX1" fmla="*/ 0 w 264511"/>
              <a:gd name="connsiteY1" fmla="*/ 286651 h 286650"/>
              <a:gd name="connsiteX2" fmla="*/ 140995 w 264511"/>
              <a:gd name="connsiteY2" fmla="*/ 144491 h 286650"/>
              <a:gd name="connsiteX3" fmla="*/ 0 w 264511"/>
              <a:gd name="connsiteY3" fmla="*/ 0 h 286650"/>
              <a:gd name="connsiteX4" fmla="*/ 123516 w 264511"/>
              <a:gd name="connsiteY4" fmla="*/ 0 h 286650"/>
              <a:gd name="connsiteX5" fmla="*/ 264511 w 264511"/>
              <a:gd name="connsiteY5" fmla="*/ 140995 h 28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0">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pPr rtl="0"/>
            <a:endParaRPr lang="en-US"/>
          </a:p>
        </p:txBody>
      </p:sp>
      <p:sp>
        <p:nvSpPr>
          <p:cNvPr id="85" name="Freihandform: Form 84">
            <a:extLst>
              <a:ext uri="{FF2B5EF4-FFF2-40B4-BE49-F238E27FC236}">
                <a16:creationId xmlns:a16="http://schemas.microsoft.com/office/drawing/2014/main" id="{2A48DA5F-5A65-4484-99B7-06DB28D0E54D}"/>
              </a:ext>
            </a:extLst>
          </p:cNvPr>
          <p:cNvSpPr/>
          <p:nvPr/>
        </p:nvSpPr>
        <p:spPr>
          <a:xfrm>
            <a:off x="10108537" y="3385560"/>
            <a:ext cx="264511" cy="287816"/>
          </a:xfrm>
          <a:custGeom>
            <a:avLst/>
            <a:gdLst>
              <a:gd name="connsiteX0" fmla="*/ 121186 w 264511"/>
              <a:gd name="connsiteY0" fmla="*/ 287816 h 287816"/>
              <a:gd name="connsiteX1" fmla="*/ 0 w 264511"/>
              <a:gd name="connsiteY1" fmla="*/ 287816 h 287816"/>
              <a:gd name="connsiteX2" fmla="*/ 140995 w 264511"/>
              <a:gd name="connsiteY2" fmla="*/ 145656 h 287816"/>
              <a:gd name="connsiteX3" fmla="*/ 0 w 264511"/>
              <a:gd name="connsiteY3" fmla="*/ 0 h 287816"/>
              <a:gd name="connsiteX4" fmla="*/ 123516 w 264511"/>
              <a:gd name="connsiteY4" fmla="*/ 0 h 287816"/>
              <a:gd name="connsiteX5" fmla="*/ 264511 w 264511"/>
              <a:gd name="connsiteY5" fmla="*/ 140995 h 287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7816">
                <a:moveTo>
                  <a:pt x="121186" y="287816"/>
                </a:moveTo>
                <a:lnTo>
                  <a:pt x="0" y="287816"/>
                </a:lnTo>
                <a:lnTo>
                  <a:pt x="140995" y="145656"/>
                </a:lnTo>
                <a:lnTo>
                  <a:pt x="0" y="0"/>
                </a:lnTo>
                <a:lnTo>
                  <a:pt x="123516" y="0"/>
                </a:lnTo>
                <a:lnTo>
                  <a:pt x="264511" y="140995"/>
                </a:lnTo>
                <a:close/>
              </a:path>
            </a:pathLst>
          </a:custGeom>
          <a:solidFill>
            <a:srgbClr val="EEF2F5"/>
          </a:solidFill>
          <a:ln w="11643" cap="flat">
            <a:noFill/>
            <a:prstDash val="solid"/>
            <a:miter/>
          </a:ln>
        </p:spPr>
        <p:txBody>
          <a:bodyPr rtlCol="0" anchor="ctr"/>
          <a:lstStyle/>
          <a:p>
            <a:pPr rtl="0"/>
            <a:endParaRPr lang="en-US"/>
          </a:p>
        </p:txBody>
      </p:sp>
      <p:sp>
        <p:nvSpPr>
          <p:cNvPr id="101" name="Freihandform: Form 100">
            <a:extLst>
              <a:ext uri="{FF2B5EF4-FFF2-40B4-BE49-F238E27FC236}">
                <a16:creationId xmlns:a16="http://schemas.microsoft.com/office/drawing/2014/main" id="{44A6A546-5137-4093-9C59-F32093CD42C4}"/>
              </a:ext>
            </a:extLst>
          </p:cNvPr>
          <p:cNvSpPr/>
          <p:nvPr/>
        </p:nvSpPr>
        <p:spPr>
          <a:xfrm>
            <a:off x="10108537" y="3740960"/>
            <a:ext cx="264511" cy="286651"/>
          </a:xfrm>
          <a:custGeom>
            <a:avLst/>
            <a:gdLst>
              <a:gd name="connsiteX0" fmla="*/ 121186 w 264511"/>
              <a:gd name="connsiteY0" fmla="*/ 286651 h 286651"/>
              <a:gd name="connsiteX1" fmla="*/ 0 w 264511"/>
              <a:gd name="connsiteY1" fmla="*/ 286651 h 286651"/>
              <a:gd name="connsiteX2" fmla="*/ 140995 w 264511"/>
              <a:gd name="connsiteY2" fmla="*/ 144491 h 286651"/>
              <a:gd name="connsiteX3" fmla="*/ 0 w 264511"/>
              <a:gd name="connsiteY3" fmla="*/ 0 h 286651"/>
              <a:gd name="connsiteX4" fmla="*/ 123516 w 264511"/>
              <a:gd name="connsiteY4" fmla="*/ 0 h 286651"/>
              <a:gd name="connsiteX5" fmla="*/ 264511 w 264511"/>
              <a:gd name="connsiteY5" fmla="*/ 140995 h 286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1">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pPr rtl="0"/>
            <a:endParaRPr lang="en-US"/>
          </a:p>
        </p:txBody>
      </p:sp>
      <p:sp>
        <p:nvSpPr>
          <p:cNvPr id="117" name="Freihandform: Form 116">
            <a:extLst>
              <a:ext uri="{FF2B5EF4-FFF2-40B4-BE49-F238E27FC236}">
                <a16:creationId xmlns:a16="http://schemas.microsoft.com/office/drawing/2014/main" id="{AB7F8976-AA8B-4089-A252-6E621A6336A0}"/>
              </a:ext>
            </a:extLst>
          </p:cNvPr>
          <p:cNvSpPr/>
          <p:nvPr/>
        </p:nvSpPr>
        <p:spPr>
          <a:xfrm>
            <a:off x="10108537" y="4095195"/>
            <a:ext cx="264511" cy="287816"/>
          </a:xfrm>
          <a:custGeom>
            <a:avLst/>
            <a:gdLst>
              <a:gd name="connsiteX0" fmla="*/ 121186 w 264511"/>
              <a:gd name="connsiteY0" fmla="*/ 287816 h 287816"/>
              <a:gd name="connsiteX1" fmla="*/ 0 w 264511"/>
              <a:gd name="connsiteY1" fmla="*/ 287816 h 287816"/>
              <a:gd name="connsiteX2" fmla="*/ 140995 w 264511"/>
              <a:gd name="connsiteY2" fmla="*/ 145656 h 287816"/>
              <a:gd name="connsiteX3" fmla="*/ 0 w 264511"/>
              <a:gd name="connsiteY3" fmla="*/ 0 h 287816"/>
              <a:gd name="connsiteX4" fmla="*/ 123516 w 264511"/>
              <a:gd name="connsiteY4" fmla="*/ 0 h 287816"/>
              <a:gd name="connsiteX5" fmla="*/ 264511 w 264511"/>
              <a:gd name="connsiteY5" fmla="*/ 140995 h 287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7816">
                <a:moveTo>
                  <a:pt x="121186" y="287816"/>
                </a:moveTo>
                <a:lnTo>
                  <a:pt x="0" y="287816"/>
                </a:lnTo>
                <a:lnTo>
                  <a:pt x="140995" y="145656"/>
                </a:lnTo>
                <a:lnTo>
                  <a:pt x="0" y="0"/>
                </a:lnTo>
                <a:lnTo>
                  <a:pt x="123516" y="0"/>
                </a:lnTo>
                <a:lnTo>
                  <a:pt x="264511" y="140995"/>
                </a:lnTo>
                <a:close/>
              </a:path>
            </a:pathLst>
          </a:custGeom>
          <a:solidFill>
            <a:srgbClr val="EEF2F5"/>
          </a:solidFill>
          <a:ln w="11643" cap="flat">
            <a:noFill/>
            <a:prstDash val="solid"/>
            <a:miter/>
          </a:ln>
        </p:spPr>
        <p:txBody>
          <a:bodyPr rtlCol="0" anchor="ctr"/>
          <a:lstStyle/>
          <a:p>
            <a:pPr rtl="0"/>
            <a:endParaRPr lang="en-US"/>
          </a:p>
        </p:txBody>
      </p:sp>
      <p:sp>
        <p:nvSpPr>
          <p:cNvPr id="133" name="Freihandform: Form 132">
            <a:extLst>
              <a:ext uri="{FF2B5EF4-FFF2-40B4-BE49-F238E27FC236}">
                <a16:creationId xmlns:a16="http://schemas.microsoft.com/office/drawing/2014/main" id="{83F4FE5F-E30B-4C91-B22F-C67DA72E3DB6}"/>
              </a:ext>
            </a:extLst>
          </p:cNvPr>
          <p:cNvSpPr/>
          <p:nvPr/>
        </p:nvSpPr>
        <p:spPr>
          <a:xfrm>
            <a:off x="10108537" y="4450596"/>
            <a:ext cx="264511" cy="286651"/>
          </a:xfrm>
          <a:custGeom>
            <a:avLst/>
            <a:gdLst>
              <a:gd name="connsiteX0" fmla="*/ 121186 w 264511"/>
              <a:gd name="connsiteY0" fmla="*/ 286651 h 286651"/>
              <a:gd name="connsiteX1" fmla="*/ 0 w 264511"/>
              <a:gd name="connsiteY1" fmla="*/ 286651 h 286651"/>
              <a:gd name="connsiteX2" fmla="*/ 140995 w 264511"/>
              <a:gd name="connsiteY2" fmla="*/ 144491 h 286651"/>
              <a:gd name="connsiteX3" fmla="*/ 0 w 264511"/>
              <a:gd name="connsiteY3" fmla="*/ 0 h 286651"/>
              <a:gd name="connsiteX4" fmla="*/ 123516 w 264511"/>
              <a:gd name="connsiteY4" fmla="*/ 0 h 286651"/>
              <a:gd name="connsiteX5" fmla="*/ 264511 w 264511"/>
              <a:gd name="connsiteY5" fmla="*/ 140995 h 286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1">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pPr rtl="0"/>
            <a:endParaRPr lang="en-US"/>
          </a:p>
        </p:txBody>
      </p:sp>
      <p:sp>
        <p:nvSpPr>
          <p:cNvPr id="150" name="Freihandform: Form 149">
            <a:extLst>
              <a:ext uri="{FF2B5EF4-FFF2-40B4-BE49-F238E27FC236}">
                <a16:creationId xmlns:a16="http://schemas.microsoft.com/office/drawing/2014/main" id="{A0F76902-2111-4900-A1DA-A0A919DABDFD}"/>
              </a:ext>
            </a:extLst>
          </p:cNvPr>
          <p:cNvSpPr/>
          <p:nvPr/>
        </p:nvSpPr>
        <p:spPr>
          <a:xfrm>
            <a:off x="10108537" y="4805997"/>
            <a:ext cx="264511" cy="286651"/>
          </a:xfrm>
          <a:custGeom>
            <a:avLst/>
            <a:gdLst>
              <a:gd name="connsiteX0" fmla="*/ 121186 w 264511"/>
              <a:gd name="connsiteY0" fmla="*/ 286651 h 286651"/>
              <a:gd name="connsiteX1" fmla="*/ 0 w 264511"/>
              <a:gd name="connsiteY1" fmla="*/ 286651 h 286651"/>
              <a:gd name="connsiteX2" fmla="*/ 140995 w 264511"/>
              <a:gd name="connsiteY2" fmla="*/ 144491 h 286651"/>
              <a:gd name="connsiteX3" fmla="*/ 0 w 264511"/>
              <a:gd name="connsiteY3" fmla="*/ 0 h 286651"/>
              <a:gd name="connsiteX4" fmla="*/ 123516 w 264511"/>
              <a:gd name="connsiteY4" fmla="*/ 0 h 286651"/>
              <a:gd name="connsiteX5" fmla="*/ 264511 w 264511"/>
              <a:gd name="connsiteY5" fmla="*/ 139830 h 286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1">
                <a:moveTo>
                  <a:pt x="121186" y="286651"/>
                </a:moveTo>
                <a:lnTo>
                  <a:pt x="0" y="286651"/>
                </a:lnTo>
                <a:lnTo>
                  <a:pt x="140995" y="144491"/>
                </a:lnTo>
                <a:lnTo>
                  <a:pt x="0" y="0"/>
                </a:lnTo>
                <a:lnTo>
                  <a:pt x="123516" y="0"/>
                </a:lnTo>
                <a:lnTo>
                  <a:pt x="264511" y="139830"/>
                </a:lnTo>
                <a:close/>
              </a:path>
            </a:pathLst>
          </a:custGeom>
          <a:solidFill>
            <a:srgbClr val="EEF2F5"/>
          </a:solidFill>
          <a:ln w="11643" cap="flat">
            <a:noFill/>
            <a:prstDash val="solid"/>
            <a:miter/>
          </a:ln>
        </p:spPr>
        <p:txBody>
          <a:bodyPr rtlCol="0" anchor="ctr"/>
          <a:lstStyle/>
          <a:p>
            <a:pPr rtl="0"/>
            <a:endParaRPr lang="en-US"/>
          </a:p>
        </p:txBody>
      </p:sp>
      <p:sp>
        <p:nvSpPr>
          <p:cNvPr id="167" name="Freihandform: Form 166">
            <a:extLst>
              <a:ext uri="{FF2B5EF4-FFF2-40B4-BE49-F238E27FC236}">
                <a16:creationId xmlns:a16="http://schemas.microsoft.com/office/drawing/2014/main" id="{9C3904EA-5E6B-4F77-8FB0-BFFAE9C65946}"/>
              </a:ext>
            </a:extLst>
          </p:cNvPr>
          <p:cNvSpPr/>
          <p:nvPr/>
        </p:nvSpPr>
        <p:spPr>
          <a:xfrm>
            <a:off x="10108537" y="5160232"/>
            <a:ext cx="264511" cy="286651"/>
          </a:xfrm>
          <a:custGeom>
            <a:avLst/>
            <a:gdLst>
              <a:gd name="connsiteX0" fmla="*/ 121186 w 264511"/>
              <a:gd name="connsiteY0" fmla="*/ 286651 h 286651"/>
              <a:gd name="connsiteX1" fmla="*/ 0 w 264511"/>
              <a:gd name="connsiteY1" fmla="*/ 286651 h 286651"/>
              <a:gd name="connsiteX2" fmla="*/ 140995 w 264511"/>
              <a:gd name="connsiteY2" fmla="*/ 144491 h 286651"/>
              <a:gd name="connsiteX3" fmla="*/ 0 w 264511"/>
              <a:gd name="connsiteY3" fmla="*/ 0 h 286651"/>
              <a:gd name="connsiteX4" fmla="*/ 123516 w 264511"/>
              <a:gd name="connsiteY4" fmla="*/ 0 h 286651"/>
              <a:gd name="connsiteX5" fmla="*/ 264511 w 264511"/>
              <a:gd name="connsiteY5" fmla="*/ 140995 h 286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1">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pPr rtl="0"/>
            <a:endParaRPr lang="en-US"/>
          </a:p>
        </p:txBody>
      </p:sp>
      <p:sp>
        <p:nvSpPr>
          <p:cNvPr id="184" name="Freihandform: Form 183">
            <a:extLst>
              <a:ext uri="{FF2B5EF4-FFF2-40B4-BE49-F238E27FC236}">
                <a16:creationId xmlns:a16="http://schemas.microsoft.com/office/drawing/2014/main" id="{99280CAD-3553-4542-850A-90F0AD935DFE}"/>
              </a:ext>
            </a:extLst>
          </p:cNvPr>
          <p:cNvSpPr/>
          <p:nvPr/>
        </p:nvSpPr>
        <p:spPr>
          <a:xfrm>
            <a:off x="10108537" y="5515633"/>
            <a:ext cx="264511" cy="286651"/>
          </a:xfrm>
          <a:custGeom>
            <a:avLst/>
            <a:gdLst>
              <a:gd name="connsiteX0" fmla="*/ 121186 w 264511"/>
              <a:gd name="connsiteY0" fmla="*/ 286651 h 286651"/>
              <a:gd name="connsiteX1" fmla="*/ 0 w 264511"/>
              <a:gd name="connsiteY1" fmla="*/ 286651 h 286651"/>
              <a:gd name="connsiteX2" fmla="*/ 140995 w 264511"/>
              <a:gd name="connsiteY2" fmla="*/ 144491 h 286651"/>
              <a:gd name="connsiteX3" fmla="*/ 0 w 264511"/>
              <a:gd name="connsiteY3" fmla="*/ 0 h 286651"/>
              <a:gd name="connsiteX4" fmla="*/ 123516 w 264511"/>
              <a:gd name="connsiteY4" fmla="*/ 0 h 286651"/>
              <a:gd name="connsiteX5" fmla="*/ 264511 w 264511"/>
              <a:gd name="connsiteY5" fmla="*/ 140995 h 286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1">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pPr rtl="0"/>
            <a:endParaRPr lang="en-US"/>
          </a:p>
        </p:txBody>
      </p:sp>
      <p:sp>
        <p:nvSpPr>
          <p:cNvPr id="201" name="Freihandform: Form 200">
            <a:extLst>
              <a:ext uri="{FF2B5EF4-FFF2-40B4-BE49-F238E27FC236}">
                <a16:creationId xmlns:a16="http://schemas.microsoft.com/office/drawing/2014/main" id="{E8A013AF-F105-4965-95B7-AC96F227E824}"/>
              </a:ext>
            </a:extLst>
          </p:cNvPr>
          <p:cNvSpPr/>
          <p:nvPr/>
        </p:nvSpPr>
        <p:spPr>
          <a:xfrm>
            <a:off x="10108537" y="5869868"/>
            <a:ext cx="264511" cy="286650"/>
          </a:xfrm>
          <a:custGeom>
            <a:avLst/>
            <a:gdLst>
              <a:gd name="connsiteX0" fmla="*/ 121186 w 264511"/>
              <a:gd name="connsiteY0" fmla="*/ 286651 h 286650"/>
              <a:gd name="connsiteX1" fmla="*/ 0 w 264511"/>
              <a:gd name="connsiteY1" fmla="*/ 286651 h 286650"/>
              <a:gd name="connsiteX2" fmla="*/ 140995 w 264511"/>
              <a:gd name="connsiteY2" fmla="*/ 144491 h 286650"/>
              <a:gd name="connsiteX3" fmla="*/ 0 w 264511"/>
              <a:gd name="connsiteY3" fmla="*/ 0 h 286650"/>
              <a:gd name="connsiteX4" fmla="*/ 123516 w 264511"/>
              <a:gd name="connsiteY4" fmla="*/ 0 h 286650"/>
              <a:gd name="connsiteX5" fmla="*/ 264511 w 264511"/>
              <a:gd name="connsiteY5" fmla="*/ 140995 h 28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0">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pPr rtl="0"/>
            <a:endParaRPr lang="en-US"/>
          </a:p>
        </p:txBody>
      </p:sp>
      <p:sp>
        <p:nvSpPr>
          <p:cNvPr id="218" name="Freihandform: Form 217">
            <a:extLst>
              <a:ext uri="{FF2B5EF4-FFF2-40B4-BE49-F238E27FC236}">
                <a16:creationId xmlns:a16="http://schemas.microsoft.com/office/drawing/2014/main" id="{7F42F650-844E-4C84-9059-2EC117988F05}"/>
              </a:ext>
            </a:extLst>
          </p:cNvPr>
          <p:cNvSpPr/>
          <p:nvPr/>
        </p:nvSpPr>
        <p:spPr>
          <a:xfrm>
            <a:off x="10108537" y="6225269"/>
            <a:ext cx="264511" cy="286650"/>
          </a:xfrm>
          <a:custGeom>
            <a:avLst/>
            <a:gdLst>
              <a:gd name="connsiteX0" fmla="*/ 121186 w 264511"/>
              <a:gd name="connsiteY0" fmla="*/ 286651 h 286650"/>
              <a:gd name="connsiteX1" fmla="*/ 0 w 264511"/>
              <a:gd name="connsiteY1" fmla="*/ 286651 h 286650"/>
              <a:gd name="connsiteX2" fmla="*/ 140995 w 264511"/>
              <a:gd name="connsiteY2" fmla="*/ 144491 h 286650"/>
              <a:gd name="connsiteX3" fmla="*/ 0 w 264511"/>
              <a:gd name="connsiteY3" fmla="*/ 0 h 286650"/>
              <a:gd name="connsiteX4" fmla="*/ 123516 w 264511"/>
              <a:gd name="connsiteY4" fmla="*/ 0 h 286650"/>
              <a:gd name="connsiteX5" fmla="*/ 264511 w 264511"/>
              <a:gd name="connsiteY5" fmla="*/ 140995 h 28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0">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pPr rtl="0"/>
            <a:endParaRPr lang="en-US"/>
          </a:p>
        </p:txBody>
      </p:sp>
      <p:sp>
        <p:nvSpPr>
          <p:cNvPr id="5" name="Freihandform: Form 4">
            <a:extLst>
              <a:ext uri="{FF2B5EF4-FFF2-40B4-BE49-F238E27FC236}">
                <a16:creationId xmlns:a16="http://schemas.microsoft.com/office/drawing/2014/main" id="{37FF9268-487B-457F-B2C7-1E1C142BF17B}"/>
              </a:ext>
            </a:extLst>
          </p:cNvPr>
          <p:cNvSpPr/>
          <p:nvPr/>
        </p:nvSpPr>
        <p:spPr>
          <a:xfrm>
            <a:off x="4909201" y="2101456"/>
            <a:ext cx="16313" cy="17478"/>
          </a:xfrm>
          <a:custGeom>
            <a:avLst/>
            <a:gdLst>
              <a:gd name="connsiteX0" fmla="*/ 8157 w 16313"/>
              <a:gd name="connsiteY0" fmla="*/ 17479 h 17478"/>
              <a:gd name="connsiteX1" fmla="*/ 0 w 16313"/>
              <a:gd name="connsiteY1" fmla="*/ 17479 h 17478"/>
              <a:gd name="connsiteX2" fmla="*/ 9322 w 16313"/>
              <a:gd name="connsiteY2" fmla="*/ 8157 h 17478"/>
              <a:gd name="connsiteX3" fmla="*/ 0 w 16313"/>
              <a:gd name="connsiteY3" fmla="*/ 0 h 17478"/>
              <a:gd name="connsiteX4" fmla="*/ 8157 w 16313"/>
              <a:gd name="connsiteY4" fmla="*/ 0 h 17478"/>
              <a:gd name="connsiteX5" fmla="*/ 16313 w 16313"/>
              <a:gd name="connsiteY5" fmla="*/ 8157 h 17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13" h="17478">
                <a:moveTo>
                  <a:pt x="8157" y="17479"/>
                </a:moveTo>
                <a:lnTo>
                  <a:pt x="0" y="17479"/>
                </a:lnTo>
                <a:lnTo>
                  <a:pt x="9322" y="8157"/>
                </a:lnTo>
                <a:lnTo>
                  <a:pt x="0" y="0"/>
                </a:lnTo>
                <a:lnTo>
                  <a:pt x="8157" y="0"/>
                </a:lnTo>
                <a:lnTo>
                  <a:pt x="16313" y="8157"/>
                </a:lnTo>
                <a:close/>
              </a:path>
            </a:pathLst>
          </a:custGeom>
          <a:solidFill>
            <a:srgbClr val="EEF2F5"/>
          </a:solidFill>
          <a:ln w="11643" cap="flat">
            <a:noFill/>
            <a:prstDash val="solid"/>
            <a:miter/>
          </a:ln>
        </p:spPr>
        <p:txBody>
          <a:bodyPr rtlCol="0" anchor="ctr"/>
          <a:lstStyle/>
          <a:p>
            <a:pPr rtl="0"/>
            <a:endParaRPr lang="en-US"/>
          </a:p>
        </p:txBody>
      </p:sp>
      <p:sp>
        <p:nvSpPr>
          <p:cNvPr id="22" name="Freihandform: Form 21">
            <a:extLst>
              <a:ext uri="{FF2B5EF4-FFF2-40B4-BE49-F238E27FC236}">
                <a16:creationId xmlns:a16="http://schemas.microsoft.com/office/drawing/2014/main" id="{67427BC4-9149-4C28-A507-8AD1464E8243}"/>
              </a:ext>
            </a:extLst>
          </p:cNvPr>
          <p:cNvSpPr/>
          <p:nvPr/>
        </p:nvSpPr>
        <p:spPr>
          <a:xfrm>
            <a:off x="4909201" y="2455692"/>
            <a:ext cx="16313" cy="18643"/>
          </a:xfrm>
          <a:custGeom>
            <a:avLst/>
            <a:gdLst>
              <a:gd name="connsiteX0" fmla="*/ 8157 w 16313"/>
              <a:gd name="connsiteY0" fmla="*/ 18644 h 18643"/>
              <a:gd name="connsiteX1" fmla="*/ 0 w 16313"/>
              <a:gd name="connsiteY1" fmla="*/ 18644 h 18643"/>
              <a:gd name="connsiteX2" fmla="*/ 9322 w 16313"/>
              <a:gd name="connsiteY2" fmla="*/ 9322 h 18643"/>
              <a:gd name="connsiteX3" fmla="*/ 0 w 16313"/>
              <a:gd name="connsiteY3" fmla="*/ 0 h 18643"/>
              <a:gd name="connsiteX4" fmla="*/ 8157 w 16313"/>
              <a:gd name="connsiteY4" fmla="*/ 0 h 18643"/>
              <a:gd name="connsiteX5" fmla="*/ 16313 w 16313"/>
              <a:gd name="connsiteY5" fmla="*/ 9322 h 18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13" h="18643">
                <a:moveTo>
                  <a:pt x="8157" y="18644"/>
                </a:moveTo>
                <a:lnTo>
                  <a:pt x="0" y="18644"/>
                </a:lnTo>
                <a:lnTo>
                  <a:pt x="9322" y="9322"/>
                </a:lnTo>
                <a:lnTo>
                  <a:pt x="0" y="0"/>
                </a:lnTo>
                <a:lnTo>
                  <a:pt x="8157" y="0"/>
                </a:lnTo>
                <a:lnTo>
                  <a:pt x="16313" y="9322"/>
                </a:lnTo>
                <a:close/>
              </a:path>
            </a:pathLst>
          </a:custGeom>
          <a:solidFill>
            <a:srgbClr val="EEF2F5"/>
          </a:solidFill>
          <a:ln w="11643" cap="flat">
            <a:noFill/>
            <a:prstDash val="solid"/>
            <a:miter/>
          </a:ln>
        </p:spPr>
        <p:txBody>
          <a:bodyPr rtlCol="0" anchor="ctr"/>
          <a:lstStyle/>
          <a:p>
            <a:pPr rtl="0"/>
            <a:endParaRPr lang="en-US"/>
          </a:p>
        </p:txBody>
      </p:sp>
      <p:sp>
        <p:nvSpPr>
          <p:cNvPr id="38" name="Freihandform: Form 37">
            <a:extLst>
              <a:ext uri="{FF2B5EF4-FFF2-40B4-BE49-F238E27FC236}">
                <a16:creationId xmlns:a16="http://schemas.microsoft.com/office/drawing/2014/main" id="{86AC6BBB-1E60-4206-8581-A22FBBC2FD4E}"/>
              </a:ext>
            </a:extLst>
          </p:cNvPr>
          <p:cNvSpPr/>
          <p:nvPr/>
        </p:nvSpPr>
        <p:spPr>
          <a:xfrm>
            <a:off x="4909201" y="2811092"/>
            <a:ext cx="16313" cy="17478"/>
          </a:xfrm>
          <a:custGeom>
            <a:avLst/>
            <a:gdLst>
              <a:gd name="connsiteX0" fmla="*/ 8157 w 16313"/>
              <a:gd name="connsiteY0" fmla="*/ 17479 h 17478"/>
              <a:gd name="connsiteX1" fmla="*/ 0 w 16313"/>
              <a:gd name="connsiteY1" fmla="*/ 17479 h 17478"/>
              <a:gd name="connsiteX2" fmla="*/ 9322 w 16313"/>
              <a:gd name="connsiteY2" fmla="*/ 8157 h 17478"/>
              <a:gd name="connsiteX3" fmla="*/ 0 w 16313"/>
              <a:gd name="connsiteY3" fmla="*/ 0 h 17478"/>
              <a:gd name="connsiteX4" fmla="*/ 8157 w 16313"/>
              <a:gd name="connsiteY4" fmla="*/ 0 h 17478"/>
              <a:gd name="connsiteX5" fmla="*/ 16313 w 16313"/>
              <a:gd name="connsiteY5" fmla="*/ 8157 h 17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13" h="17478">
                <a:moveTo>
                  <a:pt x="8157" y="17479"/>
                </a:moveTo>
                <a:lnTo>
                  <a:pt x="0" y="17479"/>
                </a:lnTo>
                <a:lnTo>
                  <a:pt x="9322" y="8157"/>
                </a:lnTo>
                <a:lnTo>
                  <a:pt x="0" y="0"/>
                </a:lnTo>
                <a:lnTo>
                  <a:pt x="8157" y="0"/>
                </a:lnTo>
                <a:lnTo>
                  <a:pt x="16313" y="8157"/>
                </a:lnTo>
                <a:close/>
              </a:path>
            </a:pathLst>
          </a:custGeom>
          <a:solidFill>
            <a:srgbClr val="EEF2F5"/>
          </a:solidFill>
          <a:ln w="11643" cap="flat">
            <a:noFill/>
            <a:prstDash val="solid"/>
            <a:miter/>
          </a:ln>
        </p:spPr>
        <p:txBody>
          <a:bodyPr rtlCol="0" anchor="ctr"/>
          <a:lstStyle/>
          <a:p>
            <a:pPr rtl="0"/>
            <a:endParaRPr lang="en-US"/>
          </a:p>
        </p:txBody>
      </p:sp>
      <p:sp>
        <p:nvSpPr>
          <p:cNvPr id="203" name="Freihandform: Form 202">
            <a:extLst>
              <a:ext uri="{FF2B5EF4-FFF2-40B4-BE49-F238E27FC236}">
                <a16:creationId xmlns:a16="http://schemas.microsoft.com/office/drawing/2014/main" id="{A954D734-5BDB-4F7E-8A7B-09593EE1C30A}"/>
              </a:ext>
            </a:extLst>
          </p:cNvPr>
          <p:cNvSpPr/>
          <p:nvPr/>
        </p:nvSpPr>
        <p:spPr>
          <a:xfrm>
            <a:off x="4909201" y="6359273"/>
            <a:ext cx="16313" cy="18643"/>
          </a:xfrm>
          <a:custGeom>
            <a:avLst/>
            <a:gdLst>
              <a:gd name="connsiteX0" fmla="*/ 8157 w 16313"/>
              <a:gd name="connsiteY0" fmla="*/ 18644 h 18643"/>
              <a:gd name="connsiteX1" fmla="*/ 0 w 16313"/>
              <a:gd name="connsiteY1" fmla="*/ 18644 h 18643"/>
              <a:gd name="connsiteX2" fmla="*/ 9322 w 16313"/>
              <a:gd name="connsiteY2" fmla="*/ 9322 h 18643"/>
              <a:gd name="connsiteX3" fmla="*/ 0 w 16313"/>
              <a:gd name="connsiteY3" fmla="*/ 0 h 18643"/>
              <a:gd name="connsiteX4" fmla="*/ 8157 w 16313"/>
              <a:gd name="connsiteY4" fmla="*/ 0 h 18643"/>
              <a:gd name="connsiteX5" fmla="*/ 16313 w 16313"/>
              <a:gd name="connsiteY5" fmla="*/ 9322 h 18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13" h="18643">
                <a:moveTo>
                  <a:pt x="8157" y="18644"/>
                </a:moveTo>
                <a:lnTo>
                  <a:pt x="0" y="18644"/>
                </a:lnTo>
                <a:lnTo>
                  <a:pt x="9322" y="9322"/>
                </a:lnTo>
                <a:lnTo>
                  <a:pt x="0" y="0"/>
                </a:lnTo>
                <a:lnTo>
                  <a:pt x="8157" y="0"/>
                </a:lnTo>
                <a:lnTo>
                  <a:pt x="16313" y="9322"/>
                </a:lnTo>
                <a:close/>
              </a:path>
            </a:pathLst>
          </a:custGeom>
          <a:solidFill>
            <a:srgbClr val="EEF2F5"/>
          </a:solidFill>
          <a:ln w="11643" cap="flat">
            <a:noFill/>
            <a:prstDash val="solid"/>
            <a:miter/>
          </a:ln>
        </p:spPr>
        <p:txBody>
          <a:bodyPr rtlCol="0" anchor="ctr"/>
          <a:lstStyle/>
          <a:p>
            <a:pPr rtl="0"/>
            <a:endParaRPr lang="en-US"/>
          </a:p>
        </p:txBody>
      </p:sp>
      <p:sp>
        <p:nvSpPr>
          <p:cNvPr id="219" name="Freihandform: Form 218">
            <a:extLst>
              <a:ext uri="{FF2B5EF4-FFF2-40B4-BE49-F238E27FC236}">
                <a16:creationId xmlns:a16="http://schemas.microsoft.com/office/drawing/2014/main" id="{11ACA275-0A27-41DD-8AD0-A37EF069B3DC}"/>
              </a:ext>
            </a:extLst>
          </p:cNvPr>
          <p:cNvSpPr/>
          <p:nvPr/>
        </p:nvSpPr>
        <p:spPr>
          <a:xfrm>
            <a:off x="4909201" y="6714673"/>
            <a:ext cx="16313" cy="17478"/>
          </a:xfrm>
          <a:custGeom>
            <a:avLst/>
            <a:gdLst>
              <a:gd name="connsiteX0" fmla="*/ 8157 w 16313"/>
              <a:gd name="connsiteY0" fmla="*/ 17479 h 17478"/>
              <a:gd name="connsiteX1" fmla="*/ 0 w 16313"/>
              <a:gd name="connsiteY1" fmla="*/ 17479 h 17478"/>
              <a:gd name="connsiteX2" fmla="*/ 9322 w 16313"/>
              <a:gd name="connsiteY2" fmla="*/ 8157 h 17478"/>
              <a:gd name="connsiteX3" fmla="*/ 0 w 16313"/>
              <a:gd name="connsiteY3" fmla="*/ 0 h 17478"/>
              <a:gd name="connsiteX4" fmla="*/ 8157 w 16313"/>
              <a:gd name="connsiteY4" fmla="*/ 0 h 17478"/>
              <a:gd name="connsiteX5" fmla="*/ 16313 w 16313"/>
              <a:gd name="connsiteY5" fmla="*/ 8157 h 17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13" h="17478">
                <a:moveTo>
                  <a:pt x="8157" y="17479"/>
                </a:moveTo>
                <a:lnTo>
                  <a:pt x="0" y="17479"/>
                </a:lnTo>
                <a:lnTo>
                  <a:pt x="9322" y="8157"/>
                </a:lnTo>
                <a:lnTo>
                  <a:pt x="0" y="0"/>
                </a:lnTo>
                <a:lnTo>
                  <a:pt x="8157" y="0"/>
                </a:lnTo>
                <a:lnTo>
                  <a:pt x="16313" y="8157"/>
                </a:lnTo>
                <a:close/>
              </a:path>
            </a:pathLst>
          </a:custGeom>
          <a:solidFill>
            <a:srgbClr val="EEF2F5"/>
          </a:solidFill>
          <a:ln w="11643" cap="flat">
            <a:noFill/>
            <a:prstDash val="solid"/>
            <a:miter/>
          </a:ln>
        </p:spPr>
        <p:txBody>
          <a:bodyPr rtlCol="0" anchor="ctr"/>
          <a:lstStyle/>
          <a:p>
            <a:pPr rtl="0"/>
            <a:endParaRPr lang="en-US"/>
          </a:p>
        </p:txBody>
      </p:sp>
      <p:sp>
        <p:nvSpPr>
          <p:cNvPr id="6" name="Freihandform: Form 5">
            <a:extLst>
              <a:ext uri="{FF2B5EF4-FFF2-40B4-BE49-F238E27FC236}">
                <a16:creationId xmlns:a16="http://schemas.microsoft.com/office/drawing/2014/main" id="{8A4E51D5-9A40-4C2C-A7AF-1757E2BA77A0}"/>
              </a:ext>
            </a:extLst>
          </p:cNvPr>
          <p:cNvSpPr/>
          <p:nvPr/>
        </p:nvSpPr>
        <p:spPr>
          <a:xfrm>
            <a:off x="5255279" y="2092134"/>
            <a:ext cx="33792" cy="36122"/>
          </a:xfrm>
          <a:custGeom>
            <a:avLst/>
            <a:gdLst>
              <a:gd name="connsiteX0" fmla="*/ 15148 w 33792"/>
              <a:gd name="connsiteY0" fmla="*/ 36123 h 36122"/>
              <a:gd name="connsiteX1" fmla="*/ 0 w 33792"/>
              <a:gd name="connsiteY1" fmla="*/ 36123 h 36122"/>
              <a:gd name="connsiteX2" fmla="*/ 18644 w 33792"/>
              <a:gd name="connsiteY2" fmla="*/ 17479 h 36122"/>
              <a:gd name="connsiteX3" fmla="*/ 0 w 33792"/>
              <a:gd name="connsiteY3" fmla="*/ 0 h 36122"/>
              <a:gd name="connsiteX4" fmla="*/ 16313 w 33792"/>
              <a:gd name="connsiteY4" fmla="*/ 0 h 36122"/>
              <a:gd name="connsiteX5" fmla="*/ 33792 w 33792"/>
              <a:gd name="connsiteY5" fmla="*/ 17479 h 3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92" h="36122">
                <a:moveTo>
                  <a:pt x="15148" y="36123"/>
                </a:moveTo>
                <a:lnTo>
                  <a:pt x="0" y="36123"/>
                </a:lnTo>
                <a:lnTo>
                  <a:pt x="18644" y="17479"/>
                </a:lnTo>
                <a:lnTo>
                  <a:pt x="0" y="0"/>
                </a:lnTo>
                <a:lnTo>
                  <a:pt x="16313" y="0"/>
                </a:lnTo>
                <a:lnTo>
                  <a:pt x="33792" y="17479"/>
                </a:lnTo>
                <a:close/>
              </a:path>
            </a:pathLst>
          </a:custGeom>
          <a:solidFill>
            <a:srgbClr val="EEF2F5"/>
          </a:solidFill>
          <a:ln w="11643" cap="flat">
            <a:noFill/>
            <a:prstDash val="solid"/>
            <a:miter/>
          </a:ln>
        </p:spPr>
        <p:txBody>
          <a:bodyPr rtlCol="0" anchor="ctr"/>
          <a:lstStyle/>
          <a:p>
            <a:pPr rtl="0"/>
            <a:endParaRPr lang="en-US"/>
          </a:p>
        </p:txBody>
      </p:sp>
      <p:sp>
        <p:nvSpPr>
          <p:cNvPr id="23" name="Freihandform: Form 22">
            <a:extLst>
              <a:ext uri="{FF2B5EF4-FFF2-40B4-BE49-F238E27FC236}">
                <a16:creationId xmlns:a16="http://schemas.microsoft.com/office/drawing/2014/main" id="{EFF8D231-0526-443F-B572-FBC0C0A7C2F2}"/>
              </a:ext>
            </a:extLst>
          </p:cNvPr>
          <p:cNvSpPr/>
          <p:nvPr/>
        </p:nvSpPr>
        <p:spPr>
          <a:xfrm>
            <a:off x="5255279" y="2446370"/>
            <a:ext cx="33792" cy="36122"/>
          </a:xfrm>
          <a:custGeom>
            <a:avLst/>
            <a:gdLst>
              <a:gd name="connsiteX0" fmla="*/ 15148 w 33792"/>
              <a:gd name="connsiteY0" fmla="*/ 36123 h 36122"/>
              <a:gd name="connsiteX1" fmla="*/ 0 w 33792"/>
              <a:gd name="connsiteY1" fmla="*/ 36123 h 36122"/>
              <a:gd name="connsiteX2" fmla="*/ 18644 w 33792"/>
              <a:gd name="connsiteY2" fmla="*/ 18644 h 36122"/>
              <a:gd name="connsiteX3" fmla="*/ 0 w 33792"/>
              <a:gd name="connsiteY3" fmla="*/ 0 h 36122"/>
              <a:gd name="connsiteX4" fmla="*/ 16313 w 33792"/>
              <a:gd name="connsiteY4" fmla="*/ 0 h 36122"/>
              <a:gd name="connsiteX5" fmla="*/ 33792 w 33792"/>
              <a:gd name="connsiteY5" fmla="*/ 18644 h 3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92" h="36122">
                <a:moveTo>
                  <a:pt x="15148" y="36123"/>
                </a:moveTo>
                <a:lnTo>
                  <a:pt x="0" y="36123"/>
                </a:lnTo>
                <a:lnTo>
                  <a:pt x="18644" y="18644"/>
                </a:lnTo>
                <a:lnTo>
                  <a:pt x="0" y="0"/>
                </a:lnTo>
                <a:lnTo>
                  <a:pt x="16313" y="0"/>
                </a:lnTo>
                <a:lnTo>
                  <a:pt x="33792" y="18644"/>
                </a:lnTo>
                <a:close/>
              </a:path>
            </a:pathLst>
          </a:custGeom>
          <a:solidFill>
            <a:srgbClr val="EEF2F5"/>
          </a:solidFill>
          <a:ln w="11643" cap="flat">
            <a:noFill/>
            <a:prstDash val="solid"/>
            <a:miter/>
          </a:ln>
        </p:spPr>
        <p:txBody>
          <a:bodyPr rtlCol="0" anchor="ctr"/>
          <a:lstStyle/>
          <a:p>
            <a:pPr rtl="0"/>
            <a:endParaRPr lang="en-US"/>
          </a:p>
        </p:txBody>
      </p:sp>
      <p:sp>
        <p:nvSpPr>
          <p:cNvPr id="39" name="Freihandform: Form 38">
            <a:extLst>
              <a:ext uri="{FF2B5EF4-FFF2-40B4-BE49-F238E27FC236}">
                <a16:creationId xmlns:a16="http://schemas.microsoft.com/office/drawing/2014/main" id="{4663B524-8E70-411B-AF82-46000FF0D969}"/>
              </a:ext>
            </a:extLst>
          </p:cNvPr>
          <p:cNvSpPr/>
          <p:nvPr/>
        </p:nvSpPr>
        <p:spPr>
          <a:xfrm>
            <a:off x="5255279" y="2801770"/>
            <a:ext cx="33792" cy="36122"/>
          </a:xfrm>
          <a:custGeom>
            <a:avLst/>
            <a:gdLst>
              <a:gd name="connsiteX0" fmla="*/ 15148 w 33792"/>
              <a:gd name="connsiteY0" fmla="*/ 36123 h 36122"/>
              <a:gd name="connsiteX1" fmla="*/ 0 w 33792"/>
              <a:gd name="connsiteY1" fmla="*/ 36123 h 36122"/>
              <a:gd name="connsiteX2" fmla="*/ 18644 w 33792"/>
              <a:gd name="connsiteY2" fmla="*/ 17479 h 36122"/>
              <a:gd name="connsiteX3" fmla="*/ 0 w 33792"/>
              <a:gd name="connsiteY3" fmla="*/ 0 h 36122"/>
              <a:gd name="connsiteX4" fmla="*/ 16313 w 33792"/>
              <a:gd name="connsiteY4" fmla="*/ 0 h 36122"/>
              <a:gd name="connsiteX5" fmla="*/ 33792 w 33792"/>
              <a:gd name="connsiteY5" fmla="*/ 17479 h 3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92" h="36122">
                <a:moveTo>
                  <a:pt x="15148" y="36123"/>
                </a:moveTo>
                <a:lnTo>
                  <a:pt x="0" y="36123"/>
                </a:lnTo>
                <a:lnTo>
                  <a:pt x="18644" y="17479"/>
                </a:lnTo>
                <a:lnTo>
                  <a:pt x="0" y="0"/>
                </a:lnTo>
                <a:lnTo>
                  <a:pt x="16313" y="0"/>
                </a:lnTo>
                <a:lnTo>
                  <a:pt x="33792" y="17479"/>
                </a:lnTo>
                <a:close/>
              </a:path>
            </a:pathLst>
          </a:custGeom>
          <a:solidFill>
            <a:srgbClr val="EEF2F5"/>
          </a:solidFill>
          <a:ln w="11643" cap="flat">
            <a:noFill/>
            <a:prstDash val="solid"/>
            <a:miter/>
          </a:ln>
        </p:spPr>
        <p:txBody>
          <a:bodyPr rtlCol="0" anchor="ctr"/>
          <a:lstStyle/>
          <a:p>
            <a:pPr rtl="0"/>
            <a:endParaRPr lang="en-US"/>
          </a:p>
        </p:txBody>
      </p:sp>
      <p:sp>
        <p:nvSpPr>
          <p:cNvPr id="55" name="Freihandform: Form 54">
            <a:extLst>
              <a:ext uri="{FF2B5EF4-FFF2-40B4-BE49-F238E27FC236}">
                <a16:creationId xmlns:a16="http://schemas.microsoft.com/office/drawing/2014/main" id="{F4D09A89-D99B-46C8-9144-5A77F64C551B}"/>
              </a:ext>
            </a:extLst>
          </p:cNvPr>
          <p:cNvSpPr/>
          <p:nvPr/>
        </p:nvSpPr>
        <p:spPr>
          <a:xfrm>
            <a:off x="5255279" y="3156006"/>
            <a:ext cx="33792" cy="36122"/>
          </a:xfrm>
          <a:custGeom>
            <a:avLst/>
            <a:gdLst>
              <a:gd name="connsiteX0" fmla="*/ 15148 w 33792"/>
              <a:gd name="connsiteY0" fmla="*/ 36123 h 36122"/>
              <a:gd name="connsiteX1" fmla="*/ 0 w 33792"/>
              <a:gd name="connsiteY1" fmla="*/ 36123 h 36122"/>
              <a:gd name="connsiteX2" fmla="*/ 18644 w 33792"/>
              <a:gd name="connsiteY2" fmla="*/ 18644 h 36122"/>
              <a:gd name="connsiteX3" fmla="*/ 0 w 33792"/>
              <a:gd name="connsiteY3" fmla="*/ 0 h 36122"/>
              <a:gd name="connsiteX4" fmla="*/ 16313 w 33792"/>
              <a:gd name="connsiteY4" fmla="*/ 0 h 36122"/>
              <a:gd name="connsiteX5" fmla="*/ 33792 w 33792"/>
              <a:gd name="connsiteY5" fmla="*/ 18644 h 3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92" h="36122">
                <a:moveTo>
                  <a:pt x="15148" y="36123"/>
                </a:moveTo>
                <a:lnTo>
                  <a:pt x="0" y="36123"/>
                </a:lnTo>
                <a:lnTo>
                  <a:pt x="18644" y="18644"/>
                </a:lnTo>
                <a:lnTo>
                  <a:pt x="0" y="0"/>
                </a:lnTo>
                <a:lnTo>
                  <a:pt x="16313" y="0"/>
                </a:lnTo>
                <a:lnTo>
                  <a:pt x="33792" y="18644"/>
                </a:lnTo>
                <a:close/>
              </a:path>
            </a:pathLst>
          </a:custGeom>
          <a:solidFill>
            <a:srgbClr val="EEF2F5"/>
          </a:solidFill>
          <a:ln w="11643" cap="flat">
            <a:noFill/>
            <a:prstDash val="solid"/>
            <a:miter/>
          </a:ln>
        </p:spPr>
        <p:txBody>
          <a:bodyPr rtlCol="0" anchor="ctr"/>
          <a:lstStyle/>
          <a:p>
            <a:pPr rtl="0"/>
            <a:endParaRPr lang="en-US"/>
          </a:p>
        </p:txBody>
      </p:sp>
      <p:sp>
        <p:nvSpPr>
          <p:cNvPr id="187" name="Freihandform: Form 186">
            <a:extLst>
              <a:ext uri="{FF2B5EF4-FFF2-40B4-BE49-F238E27FC236}">
                <a16:creationId xmlns:a16="http://schemas.microsoft.com/office/drawing/2014/main" id="{9405F1EC-B6AA-4E71-9517-3317B5730FD9}"/>
              </a:ext>
            </a:extLst>
          </p:cNvPr>
          <p:cNvSpPr/>
          <p:nvPr/>
        </p:nvSpPr>
        <p:spPr>
          <a:xfrm>
            <a:off x="5255279" y="5995715"/>
            <a:ext cx="33792" cy="36122"/>
          </a:xfrm>
          <a:custGeom>
            <a:avLst/>
            <a:gdLst>
              <a:gd name="connsiteX0" fmla="*/ 15148 w 33792"/>
              <a:gd name="connsiteY0" fmla="*/ 36123 h 36122"/>
              <a:gd name="connsiteX1" fmla="*/ 0 w 33792"/>
              <a:gd name="connsiteY1" fmla="*/ 36123 h 36122"/>
              <a:gd name="connsiteX2" fmla="*/ 18644 w 33792"/>
              <a:gd name="connsiteY2" fmla="*/ 17479 h 36122"/>
              <a:gd name="connsiteX3" fmla="*/ 0 w 33792"/>
              <a:gd name="connsiteY3" fmla="*/ 0 h 36122"/>
              <a:gd name="connsiteX4" fmla="*/ 16313 w 33792"/>
              <a:gd name="connsiteY4" fmla="*/ 0 h 36122"/>
              <a:gd name="connsiteX5" fmla="*/ 33792 w 33792"/>
              <a:gd name="connsiteY5" fmla="*/ 17479 h 3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92" h="36122">
                <a:moveTo>
                  <a:pt x="15148" y="36123"/>
                </a:moveTo>
                <a:lnTo>
                  <a:pt x="0" y="36123"/>
                </a:lnTo>
                <a:lnTo>
                  <a:pt x="18644" y="17479"/>
                </a:lnTo>
                <a:lnTo>
                  <a:pt x="0" y="0"/>
                </a:lnTo>
                <a:lnTo>
                  <a:pt x="16313" y="0"/>
                </a:lnTo>
                <a:lnTo>
                  <a:pt x="33792" y="17479"/>
                </a:lnTo>
                <a:close/>
              </a:path>
            </a:pathLst>
          </a:custGeom>
          <a:solidFill>
            <a:srgbClr val="EEF2F5"/>
          </a:solidFill>
          <a:ln w="11643" cap="flat">
            <a:noFill/>
            <a:prstDash val="solid"/>
            <a:miter/>
          </a:ln>
        </p:spPr>
        <p:txBody>
          <a:bodyPr rtlCol="0" anchor="ctr"/>
          <a:lstStyle/>
          <a:p>
            <a:pPr rtl="0"/>
            <a:endParaRPr lang="en-US"/>
          </a:p>
        </p:txBody>
      </p:sp>
      <p:sp>
        <p:nvSpPr>
          <p:cNvPr id="204" name="Freihandform: Form 203">
            <a:extLst>
              <a:ext uri="{FF2B5EF4-FFF2-40B4-BE49-F238E27FC236}">
                <a16:creationId xmlns:a16="http://schemas.microsoft.com/office/drawing/2014/main" id="{455ED072-A29F-4FE5-8724-C330B2893FE8}"/>
              </a:ext>
            </a:extLst>
          </p:cNvPr>
          <p:cNvSpPr/>
          <p:nvPr/>
        </p:nvSpPr>
        <p:spPr>
          <a:xfrm>
            <a:off x="5255279" y="6349950"/>
            <a:ext cx="33792" cy="36122"/>
          </a:xfrm>
          <a:custGeom>
            <a:avLst/>
            <a:gdLst>
              <a:gd name="connsiteX0" fmla="*/ 15148 w 33792"/>
              <a:gd name="connsiteY0" fmla="*/ 36123 h 36122"/>
              <a:gd name="connsiteX1" fmla="*/ 0 w 33792"/>
              <a:gd name="connsiteY1" fmla="*/ 36123 h 36122"/>
              <a:gd name="connsiteX2" fmla="*/ 18644 w 33792"/>
              <a:gd name="connsiteY2" fmla="*/ 18644 h 36122"/>
              <a:gd name="connsiteX3" fmla="*/ 0 w 33792"/>
              <a:gd name="connsiteY3" fmla="*/ 0 h 36122"/>
              <a:gd name="connsiteX4" fmla="*/ 16313 w 33792"/>
              <a:gd name="connsiteY4" fmla="*/ 0 h 36122"/>
              <a:gd name="connsiteX5" fmla="*/ 33792 w 33792"/>
              <a:gd name="connsiteY5" fmla="*/ 17479 h 3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92" h="36122">
                <a:moveTo>
                  <a:pt x="15148" y="36123"/>
                </a:moveTo>
                <a:lnTo>
                  <a:pt x="0" y="36123"/>
                </a:lnTo>
                <a:lnTo>
                  <a:pt x="18644" y="18644"/>
                </a:lnTo>
                <a:lnTo>
                  <a:pt x="0" y="0"/>
                </a:lnTo>
                <a:lnTo>
                  <a:pt x="16313" y="0"/>
                </a:lnTo>
                <a:lnTo>
                  <a:pt x="33792" y="17479"/>
                </a:lnTo>
                <a:close/>
              </a:path>
            </a:pathLst>
          </a:custGeom>
          <a:solidFill>
            <a:srgbClr val="EEF2F5"/>
          </a:solidFill>
          <a:ln w="11643" cap="flat">
            <a:noFill/>
            <a:prstDash val="solid"/>
            <a:miter/>
          </a:ln>
        </p:spPr>
        <p:txBody>
          <a:bodyPr rtlCol="0" anchor="ctr"/>
          <a:lstStyle/>
          <a:p>
            <a:pPr rtl="0"/>
            <a:endParaRPr lang="en-US"/>
          </a:p>
        </p:txBody>
      </p:sp>
      <p:sp>
        <p:nvSpPr>
          <p:cNvPr id="220" name="Freihandform: Form 219">
            <a:extLst>
              <a:ext uri="{FF2B5EF4-FFF2-40B4-BE49-F238E27FC236}">
                <a16:creationId xmlns:a16="http://schemas.microsoft.com/office/drawing/2014/main" id="{99942471-7679-49B5-9D52-AEDAA896BBEA}"/>
              </a:ext>
            </a:extLst>
          </p:cNvPr>
          <p:cNvSpPr/>
          <p:nvPr/>
        </p:nvSpPr>
        <p:spPr>
          <a:xfrm>
            <a:off x="5255279" y="6705351"/>
            <a:ext cx="33792" cy="36122"/>
          </a:xfrm>
          <a:custGeom>
            <a:avLst/>
            <a:gdLst>
              <a:gd name="connsiteX0" fmla="*/ 15148 w 33792"/>
              <a:gd name="connsiteY0" fmla="*/ 36123 h 36122"/>
              <a:gd name="connsiteX1" fmla="*/ 0 w 33792"/>
              <a:gd name="connsiteY1" fmla="*/ 36123 h 36122"/>
              <a:gd name="connsiteX2" fmla="*/ 18644 w 33792"/>
              <a:gd name="connsiteY2" fmla="*/ 17479 h 36122"/>
              <a:gd name="connsiteX3" fmla="*/ 0 w 33792"/>
              <a:gd name="connsiteY3" fmla="*/ 0 h 36122"/>
              <a:gd name="connsiteX4" fmla="*/ 16313 w 33792"/>
              <a:gd name="connsiteY4" fmla="*/ 0 h 36122"/>
              <a:gd name="connsiteX5" fmla="*/ 33792 w 33792"/>
              <a:gd name="connsiteY5" fmla="*/ 17479 h 3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92" h="36122">
                <a:moveTo>
                  <a:pt x="15148" y="36123"/>
                </a:moveTo>
                <a:lnTo>
                  <a:pt x="0" y="36123"/>
                </a:lnTo>
                <a:lnTo>
                  <a:pt x="18644" y="17479"/>
                </a:lnTo>
                <a:lnTo>
                  <a:pt x="0" y="0"/>
                </a:lnTo>
                <a:lnTo>
                  <a:pt x="16313" y="0"/>
                </a:lnTo>
                <a:lnTo>
                  <a:pt x="33792" y="17479"/>
                </a:lnTo>
                <a:close/>
              </a:path>
            </a:pathLst>
          </a:custGeom>
          <a:solidFill>
            <a:srgbClr val="EEF2F5"/>
          </a:solidFill>
          <a:ln w="11643" cap="flat">
            <a:noFill/>
            <a:prstDash val="solid"/>
            <a:miter/>
          </a:ln>
        </p:spPr>
        <p:txBody>
          <a:bodyPr rtlCol="0" anchor="ctr"/>
          <a:lstStyle/>
          <a:p>
            <a:pPr rtl="0"/>
            <a:endParaRPr lang="en-US"/>
          </a:p>
        </p:txBody>
      </p:sp>
      <p:sp>
        <p:nvSpPr>
          <p:cNvPr id="7" name="Freihandform: Form 6">
            <a:extLst>
              <a:ext uri="{FF2B5EF4-FFF2-40B4-BE49-F238E27FC236}">
                <a16:creationId xmlns:a16="http://schemas.microsoft.com/office/drawing/2014/main" id="{4036A95C-4698-466B-86BD-E5C4BEBC8F14}"/>
              </a:ext>
            </a:extLst>
          </p:cNvPr>
          <p:cNvSpPr/>
          <p:nvPr/>
        </p:nvSpPr>
        <p:spPr>
          <a:xfrm>
            <a:off x="5602523" y="2082812"/>
            <a:ext cx="50105" cy="54766"/>
          </a:xfrm>
          <a:custGeom>
            <a:avLst/>
            <a:gdLst>
              <a:gd name="connsiteX0" fmla="*/ 22140 w 50105"/>
              <a:gd name="connsiteY0" fmla="*/ 54767 h 54766"/>
              <a:gd name="connsiteX1" fmla="*/ 0 w 50105"/>
              <a:gd name="connsiteY1" fmla="*/ 54767 h 54766"/>
              <a:gd name="connsiteX2" fmla="*/ 26801 w 50105"/>
              <a:gd name="connsiteY2" fmla="*/ 27966 h 54766"/>
              <a:gd name="connsiteX3" fmla="*/ 0 w 50105"/>
              <a:gd name="connsiteY3" fmla="*/ 0 h 54766"/>
              <a:gd name="connsiteX4" fmla="*/ 23305 w 50105"/>
              <a:gd name="connsiteY4" fmla="*/ 0 h 54766"/>
              <a:gd name="connsiteX5" fmla="*/ 50106 w 50105"/>
              <a:gd name="connsiteY5" fmla="*/ 26801 h 5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4765">
                <a:moveTo>
                  <a:pt x="22140" y="54767"/>
                </a:moveTo>
                <a:lnTo>
                  <a:pt x="0" y="54767"/>
                </a:lnTo>
                <a:lnTo>
                  <a:pt x="26801" y="27966"/>
                </a:lnTo>
                <a:lnTo>
                  <a:pt x="0" y="0"/>
                </a:lnTo>
                <a:lnTo>
                  <a:pt x="23305" y="0"/>
                </a:lnTo>
                <a:lnTo>
                  <a:pt x="50106" y="26801"/>
                </a:lnTo>
                <a:close/>
              </a:path>
            </a:pathLst>
          </a:custGeom>
          <a:solidFill>
            <a:srgbClr val="EEF2F5"/>
          </a:solidFill>
          <a:ln w="11643" cap="flat">
            <a:noFill/>
            <a:prstDash val="solid"/>
            <a:miter/>
          </a:ln>
        </p:spPr>
        <p:txBody>
          <a:bodyPr rtlCol="0" anchor="ctr"/>
          <a:lstStyle/>
          <a:p>
            <a:pPr rtl="0"/>
            <a:endParaRPr lang="en-US"/>
          </a:p>
        </p:txBody>
      </p:sp>
      <p:sp>
        <p:nvSpPr>
          <p:cNvPr id="24" name="Freihandform: Form 23">
            <a:extLst>
              <a:ext uri="{FF2B5EF4-FFF2-40B4-BE49-F238E27FC236}">
                <a16:creationId xmlns:a16="http://schemas.microsoft.com/office/drawing/2014/main" id="{BF542F85-6793-447F-ABC7-4DD68400D714}"/>
              </a:ext>
            </a:extLst>
          </p:cNvPr>
          <p:cNvSpPr/>
          <p:nvPr/>
        </p:nvSpPr>
        <p:spPr>
          <a:xfrm>
            <a:off x="5602523" y="2438213"/>
            <a:ext cx="50105" cy="53601"/>
          </a:xfrm>
          <a:custGeom>
            <a:avLst/>
            <a:gdLst>
              <a:gd name="connsiteX0" fmla="*/ 22140 w 50105"/>
              <a:gd name="connsiteY0" fmla="*/ 53601 h 53601"/>
              <a:gd name="connsiteX1" fmla="*/ 0 w 50105"/>
              <a:gd name="connsiteY1" fmla="*/ 53601 h 53601"/>
              <a:gd name="connsiteX2" fmla="*/ 26801 w 50105"/>
              <a:gd name="connsiteY2" fmla="*/ 26801 h 53601"/>
              <a:gd name="connsiteX3" fmla="*/ 0 w 50105"/>
              <a:gd name="connsiteY3" fmla="*/ 0 h 53601"/>
              <a:gd name="connsiteX4" fmla="*/ 23305 w 50105"/>
              <a:gd name="connsiteY4" fmla="*/ 0 h 53601"/>
              <a:gd name="connsiteX5" fmla="*/ 50106 w 50105"/>
              <a:gd name="connsiteY5" fmla="*/ 25635 h 53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3601">
                <a:moveTo>
                  <a:pt x="22140" y="53601"/>
                </a:moveTo>
                <a:lnTo>
                  <a:pt x="0" y="53601"/>
                </a:lnTo>
                <a:lnTo>
                  <a:pt x="26801" y="26801"/>
                </a:lnTo>
                <a:lnTo>
                  <a:pt x="0" y="0"/>
                </a:lnTo>
                <a:lnTo>
                  <a:pt x="23305" y="0"/>
                </a:lnTo>
                <a:lnTo>
                  <a:pt x="50106" y="25635"/>
                </a:lnTo>
                <a:close/>
              </a:path>
            </a:pathLst>
          </a:custGeom>
          <a:solidFill>
            <a:srgbClr val="EEF2F5"/>
          </a:solidFill>
          <a:ln w="11643" cap="flat">
            <a:noFill/>
            <a:prstDash val="solid"/>
            <a:miter/>
          </a:ln>
        </p:spPr>
        <p:txBody>
          <a:bodyPr rtlCol="0" anchor="ctr"/>
          <a:lstStyle/>
          <a:p>
            <a:pPr rtl="0"/>
            <a:endParaRPr lang="en-US"/>
          </a:p>
        </p:txBody>
      </p:sp>
      <p:sp>
        <p:nvSpPr>
          <p:cNvPr id="40" name="Freihandform: Form 39">
            <a:extLst>
              <a:ext uri="{FF2B5EF4-FFF2-40B4-BE49-F238E27FC236}">
                <a16:creationId xmlns:a16="http://schemas.microsoft.com/office/drawing/2014/main" id="{740F153C-C05E-494B-8276-37D3E8653A98}"/>
              </a:ext>
            </a:extLst>
          </p:cNvPr>
          <p:cNvSpPr/>
          <p:nvPr/>
        </p:nvSpPr>
        <p:spPr>
          <a:xfrm>
            <a:off x="5602523" y="2792448"/>
            <a:ext cx="50105" cy="54766"/>
          </a:xfrm>
          <a:custGeom>
            <a:avLst/>
            <a:gdLst>
              <a:gd name="connsiteX0" fmla="*/ 22140 w 50105"/>
              <a:gd name="connsiteY0" fmla="*/ 54767 h 54766"/>
              <a:gd name="connsiteX1" fmla="*/ 0 w 50105"/>
              <a:gd name="connsiteY1" fmla="*/ 54767 h 54766"/>
              <a:gd name="connsiteX2" fmla="*/ 26801 w 50105"/>
              <a:gd name="connsiteY2" fmla="*/ 27966 h 54766"/>
              <a:gd name="connsiteX3" fmla="*/ 0 w 50105"/>
              <a:gd name="connsiteY3" fmla="*/ 0 h 54766"/>
              <a:gd name="connsiteX4" fmla="*/ 23305 w 50105"/>
              <a:gd name="connsiteY4" fmla="*/ 0 h 54766"/>
              <a:gd name="connsiteX5" fmla="*/ 50106 w 50105"/>
              <a:gd name="connsiteY5" fmla="*/ 26801 h 5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4765">
                <a:moveTo>
                  <a:pt x="22140" y="54767"/>
                </a:moveTo>
                <a:lnTo>
                  <a:pt x="0" y="54767"/>
                </a:lnTo>
                <a:lnTo>
                  <a:pt x="26801" y="27966"/>
                </a:lnTo>
                <a:lnTo>
                  <a:pt x="0" y="0"/>
                </a:lnTo>
                <a:lnTo>
                  <a:pt x="23305" y="0"/>
                </a:lnTo>
                <a:lnTo>
                  <a:pt x="50106" y="26801"/>
                </a:lnTo>
                <a:close/>
              </a:path>
            </a:pathLst>
          </a:custGeom>
          <a:solidFill>
            <a:srgbClr val="EEF2F5"/>
          </a:solidFill>
          <a:ln w="11643" cap="flat">
            <a:noFill/>
            <a:prstDash val="solid"/>
            <a:miter/>
          </a:ln>
        </p:spPr>
        <p:txBody>
          <a:bodyPr rtlCol="0" anchor="ctr"/>
          <a:lstStyle/>
          <a:p>
            <a:pPr rtl="0"/>
            <a:endParaRPr lang="en-US"/>
          </a:p>
        </p:txBody>
      </p:sp>
      <p:sp>
        <p:nvSpPr>
          <p:cNvPr id="56" name="Freihandform: Form 55">
            <a:extLst>
              <a:ext uri="{FF2B5EF4-FFF2-40B4-BE49-F238E27FC236}">
                <a16:creationId xmlns:a16="http://schemas.microsoft.com/office/drawing/2014/main" id="{6DC9BB73-A50E-4E7E-85F9-1EC71DEC332C}"/>
              </a:ext>
            </a:extLst>
          </p:cNvPr>
          <p:cNvSpPr/>
          <p:nvPr/>
        </p:nvSpPr>
        <p:spPr>
          <a:xfrm>
            <a:off x="5602523" y="3147849"/>
            <a:ext cx="50105" cy="53601"/>
          </a:xfrm>
          <a:custGeom>
            <a:avLst/>
            <a:gdLst>
              <a:gd name="connsiteX0" fmla="*/ 22140 w 50105"/>
              <a:gd name="connsiteY0" fmla="*/ 53601 h 53601"/>
              <a:gd name="connsiteX1" fmla="*/ 0 w 50105"/>
              <a:gd name="connsiteY1" fmla="*/ 53601 h 53601"/>
              <a:gd name="connsiteX2" fmla="*/ 26801 w 50105"/>
              <a:gd name="connsiteY2" fmla="*/ 26801 h 53601"/>
              <a:gd name="connsiteX3" fmla="*/ 0 w 50105"/>
              <a:gd name="connsiteY3" fmla="*/ 0 h 53601"/>
              <a:gd name="connsiteX4" fmla="*/ 23305 w 50105"/>
              <a:gd name="connsiteY4" fmla="*/ 0 h 53601"/>
              <a:gd name="connsiteX5" fmla="*/ 50106 w 50105"/>
              <a:gd name="connsiteY5" fmla="*/ 26801 h 53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3601">
                <a:moveTo>
                  <a:pt x="22140" y="53601"/>
                </a:moveTo>
                <a:lnTo>
                  <a:pt x="0" y="53601"/>
                </a:lnTo>
                <a:lnTo>
                  <a:pt x="26801" y="26801"/>
                </a:lnTo>
                <a:lnTo>
                  <a:pt x="0" y="0"/>
                </a:lnTo>
                <a:lnTo>
                  <a:pt x="23305" y="0"/>
                </a:lnTo>
                <a:lnTo>
                  <a:pt x="50106" y="26801"/>
                </a:lnTo>
                <a:close/>
              </a:path>
            </a:pathLst>
          </a:custGeom>
          <a:solidFill>
            <a:srgbClr val="EEF2F5"/>
          </a:solidFill>
          <a:ln w="11643" cap="flat">
            <a:noFill/>
            <a:prstDash val="solid"/>
            <a:miter/>
          </a:ln>
        </p:spPr>
        <p:txBody>
          <a:bodyPr rtlCol="0" anchor="ctr"/>
          <a:lstStyle/>
          <a:p>
            <a:pPr rtl="0"/>
            <a:endParaRPr lang="en-US"/>
          </a:p>
        </p:txBody>
      </p:sp>
      <p:sp>
        <p:nvSpPr>
          <p:cNvPr id="72" name="Freihandform: Form 71">
            <a:extLst>
              <a:ext uri="{FF2B5EF4-FFF2-40B4-BE49-F238E27FC236}">
                <a16:creationId xmlns:a16="http://schemas.microsoft.com/office/drawing/2014/main" id="{15AE0A81-8164-4015-8158-36F576D4E31D}"/>
              </a:ext>
            </a:extLst>
          </p:cNvPr>
          <p:cNvSpPr/>
          <p:nvPr/>
        </p:nvSpPr>
        <p:spPr>
          <a:xfrm>
            <a:off x="5602523" y="3502084"/>
            <a:ext cx="50105" cy="54766"/>
          </a:xfrm>
          <a:custGeom>
            <a:avLst/>
            <a:gdLst>
              <a:gd name="connsiteX0" fmla="*/ 22140 w 50105"/>
              <a:gd name="connsiteY0" fmla="*/ 54767 h 54766"/>
              <a:gd name="connsiteX1" fmla="*/ 0 w 50105"/>
              <a:gd name="connsiteY1" fmla="*/ 54767 h 54766"/>
              <a:gd name="connsiteX2" fmla="*/ 26801 w 50105"/>
              <a:gd name="connsiteY2" fmla="*/ 27966 h 54766"/>
              <a:gd name="connsiteX3" fmla="*/ 0 w 50105"/>
              <a:gd name="connsiteY3" fmla="*/ 0 h 54766"/>
              <a:gd name="connsiteX4" fmla="*/ 23305 w 50105"/>
              <a:gd name="connsiteY4" fmla="*/ 0 h 54766"/>
              <a:gd name="connsiteX5" fmla="*/ 50106 w 50105"/>
              <a:gd name="connsiteY5" fmla="*/ 26801 h 5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4765">
                <a:moveTo>
                  <a:pt x="22140" y="54767"/>
                </a:moveTo>
                <a:lnTo>
                  <a:pt x="0" y="54767"/>
                </a:lnTo>
                <a:lnTo>
                  <a:pt x="26801" y="27966"/>
                </a:lnTo>
                <a:lnTo>
                  <a:pt x="0" y="0"/>
                </a:lnTo>
                <a:lnTo>
                  <a:pt x="23305" y="0"/>
                </a:lnTo>
                <a:lnTo>
                  <a:pt x="50106" y="26801"/>
                </a:lnTo>
                <a:close/>
              </a:path>
            </a:pathLst>
          </a:custGeom>
          <a:solidFill>
            <a:srgbClr val="EEF2F5"/>
          </a:solidFill>
          <a:ln w="11643" cap="flat">
            <a:noFill/>
            <a:prstDash val="solid"/>
            <a:miter/>
          </a:ln>
        </p:spPr>
        <p:txBody>
          <a:bodyPr rtlCol="0" anchor="ctr"/>
          <a:lstStyle/>
          <a:p>
            <a:pPr rtl="0"/>
            <a:endParaRPr lang="en-US"/>
          </a:p>
        </p:txBody>
      </p:sp>
      <p:sp>
        <p:nvSpPr>
          <p:cNvPr id="171" name="Freihandform: Form 170">
            <a:extLst>
              <a:ext uri="{FF2B5EF4-FFF2-40B4-BE49-F238E27FC236}">
                <a16:creationId xmlns:a16="http://schemas.microsoft.com/office/drawing/2014/main" id="{F7E7E68A-1C17-4FA5-88E2-BA53C7F9EC18}"/>
              </a:ext>
            </a:extLst>
          </p:cNvPr>
          <p:cNvSpPr/>
          <p:nvPr/>
        </p:nvSpPr>
        <p:spPr>
          <a:xfrm>
            <a:off x="5602523" y="5630993"/>
            <a:ext cx="50105" cy="54766"/>
          </a:xfrm>
          <a:custGeom>
            <a:avLst/>
            <a:gdLst>
              <a:gd name="connsiteX0" fmla="*/ 22140 w 50105"/>
              <a:gd name="connsiteY0" fmla="*/ 54766 h 54766"/>
              <a:gd name="connsiteX1" fmla="*/ 0 w 50105"/>
              <a:gd name="connsiteY1" fmla="*/ 54766 h 54766"/>
              <a:gd name="connsiteX2" fmla="*/ 26801 w 50105"/>
              <a:gd name="connsiteY2" fmla="*/ 27966 h 54766"/>
              <a:gd name="connsiteX3" fmla="*/ 0 w 50105"/>
              <a:gd name="connsiteY3" fmla="*/ 0 h 54766"/>
              <a:gd name="connsiteX4" fmla="*/ 23305 w 50105"/>
              <a:gd name="connsiteY4" fmla="*/ 0 h 54766"/>
              <a:gd name="connsiteX5" fmla="*/ 50106 w 50105"/>
              <a:gd name="connsiteY5" fmla="*/ 26801 h 5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4765">
                <a:moveTo>
                  <a:pt x="22140" y="54766"/>
                </a:moveTo>
                <a:lnTo>
                  <a:pt x="0" y="54766"/>
                </a:lnTo>
                <a:lnTo>
                  <a:pt x="26801" y="27966"/>
                </a:lnTo>
                <a:lnTo>
                  <a:pt x="0" y="0"/>
                </a:lnTo>
                <a:lnTo>
                  <a:pt x="23305" y="0"/>
                </a:lnTo>
                <a:lnTo>
                  <a:pt x="50106" y="26801"/>
                </a:lnTo>
                <a:close/>
              </a:path>
            </a:pathLst>
          </a:custGeom>
          <a:solidFill>
            <a:srgbClr val="EEF2F5"/>
          </a:solidFill>
          <a:ln w="11643" cap="flat">
            <a:noFill/>
            <a:prstDash val="solid"/>
            <a:miter/>
          </a:ln>
        </p:spPr>
        <p:txBody>
          <a:bodyPr rtlCol="0" anchor="ctr"/>
          <a:lstStyle/>
          <a:p>
            <a:pPr rtl="0"/>
            <a:endParaRPr lang="en-US"/>
          </a:p>
        </p:txBody>
      </p:sp>
      <p:sp>
        <p:nvSpPr>
          <p:cNvPr id="188" name="Freihandform: Form 187">
            <a:extLst>
              <a:ext uri="{FF2B5EF4-FFF2-40B4-BE49-F238E27FC236}">
                <a16:creationId xmlns:a16="http://schemas.microsoft.com/office/drawing/2014/main" id="{D858DCE1-2FBD-4D17-8C06-66D6048D5493}"/>
              </a:ext>
            </a:extLst>
          </p:cNvPr>
          <p:cNvSpPr/>
          <p:nvPr/>
        </p:nvSpPr>
        <p:spPr>
          <a:xfrm>
            <a:off x="5602523" y="5986393"/>
            <a:ext cx="50105" cy="54766"/>
          </a:xfrm>
          <a:custGeom>
            <a:avLst/>
            <a:gdLst>
              <a:gd name="connsiteX0" fmla="*/ 22140 w 50105"/>
              <a:gd name="connsiteY0" fmla="*/ 54766 h 54766"/>
              <a:gd name="connsiteX1" fmla="*/ 0 w 50105"/>
              <a:gd name="connsiteY1" fmla="*/ 54766 h 54766"/>
              <a:gd name="connsiteX2" fmla="*/ 26801 w 50105"/>
              <a:gd name="connsiteY2" fmla="*/ 26801 h 54766"/>
              <a:gd name="connsiteX3" fmla="*/ 0 w 50105"/>
              <a:gd name="connsiteY3" fmla="*/ 0 h 54766"/>
              <a:gd name="connsiteX4" fmla="*/ 23305 w 50105"/>
              <a:gd name="connsiteY4" fmla="*/ 0 h 54766"/>
              <a:gd name="connsiteX5" fmla="*/ 50106 w 50105"/>
              <a:gd name="connsiteY5" fmla="*/ 26801 h 5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4765">
                <a:moveTo>
                  <a:pt x="22140" y="54766"/>
                </a:moveTo>
                <a:lnTo>
                  <a:pt x="0" y="54766"/>
                </a:lnTo>
                <a:lnTo>
                  <a:pt x="26801" y="26801"/>
                </a:lnTo>
                <a:lnTo>
                  <a:pt x="0" y="0"/>
                </a:lnTo>
                <a:lnTo>
                  <a:pt x="23305" y="0"/>
                </a:lnTo>
                <a:lnTo>
                  <a:pt x="50106" y="26801"/>
                </a:lnTo>
                <a:close/>
              </a:path>
            </a:pathLst>
          </a:custGeom>
          <a:solidFill>
            <a:srgbClr val="EEF2F5"/>
          </a:solidFill>
          <a:ln w="11643" cap="flat">
            <a:noFill/>
            <a:prstDash val="solid"/>
            <a:miter/>
          </a:ln>
        </p:spPr>
        <p:txBody>
          <a:bodyPr rtlCol="0" anchor="ctr"/>
          <a:lstStyle/>
          <a:p>
            <a:pPr rtl="0"/>
            <a:endParaRPr lang="en-US"/>
          </a:p>
        </p:txBody>
      </p:sp>
      <p:sp>
        <p:nvSpPr>
          <p:cNvPr id="205" name="Freihandform: Form 204">
            <a:extLst>
              <a:ext uri="{FF2B5EF4-FFF2-40B4-BE49-F238E27FC236}">
                <a16:creationId xmlns:a16="http://schemas.microsoft.com/office/drawing/2014/main" id="{A776D8C8-F6BD-495D-AE14-B62B445F9D30}"/>
              </a:ext>
            </a:extLst>
          </p:cNvPr>
          <p:cNvSpPr/>
          <p:nvPr/>
        </p:nvSpPr>
        <p:spPr>
          <a:xfrm>
            <a:off x="5602523" y="6340628"/>
            <a:ext cx="50105" cy="54766"/>
          </a:xfrm>
          <a:custGeom>
            <a:avLst/>
            <a:gdLst>
              <a:gd name="connsiteX0" fmla="*/ 22140 w 50105"/>
              <a:gd name="connsiteY0" fmla="*/ 54766 h 54766"/>
              <a:gd name="connsiteX1" fmla="*/ 0 w 50105"/>
              <a:gd name="connsiteY1" fmla="*/ 54766 h 54766"/>
              <a:gd name="connsiteX2" fmla="*/ 26801 w 50105"/>
              <a:gd name="connsiteY2" fmla="*/ 27966 h 54766"/>
              <a:gd name="connsiteX3" fmla="*/ 0 w 50105"/>
              <a:gd name="connsiteY3" fmla="*/ 0 h 54766"/>
              <a:gd name="connsiteX4" fmla="*/ 23305 w 50105"/>
              <a:gd name="connsiteY4" fmla="*/ 0 h 54766"/>
              <a:gd name="connsiteX5" fmla="*/ 50106 w 50105"/>
              <a:gd name="connsiteY5" fmla="*/ 26801 h 5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4765">
                <a:moveTo>
                  <a:pt x="22140" y="54766"/>
                </a:moveTo>
                <a:lnTo>
                  <a:pt x="0" y="54766"/>
                </a:lnTo>
                <a:lnTo>
                  <a:pt x="26801" y="27966"/>
                </a:lnTo>
                <a:lnTo>
                  <a:pt x="0" y="0"/>
                </a:lnTo>
                <a:lnTo>
                  <a:pt x="23305" y="0"/>
                </a:lnTo>
                <a:lnTo>
                  <a:pt x="50106" y="26801"/>
                </a:lnTo>
                <a:close/>
              </a:path>
            </a:pathLst>
          </a:custGeom>
          <a:solidFill>
            <a:srgbClr val="EEF2F5"/>
          </a:solidFill>
          <a:ln w="11643" cap="flat">
            <a:noFill/>
            <a:prstDash val="solid"/>
            <a:miter/>
          </a:ln>
        </p:spPr>
        <p:txBody>
          <a:bodyPr rtlCol="0" anchor="ctr"/>
          <a:lstStyle/>
          <a:p>
            <a:pPr rtl="0"/>
            <a:endParaRPr lang="en-US"/>
          </a:p>
        </p:txBody>
      </p:sp>
      <p:sp>
        <p:nvSpPr>
          <p:cNvPr id="221" name="Freihandform: Form 220">
            <a:extLst>
              <a:ext uri="{FF2B5EF4-FFF2-40B4-BE49-F238E27FC236}">
                <a16:creationId xmlns:a16="http://schemas.microsoft.com/office/drawing/2014/main" id="{335AC205-F15B-44A8-85C9-E62E3F81F25D}"/>
              </a:ext>
            </a:extLst>
          </p:cNvPr>
          <p:cNvSpPr/>
          <p:nvPr/>
        </p:nvSpPr>
        <p:spPr>
          <a:xfrm>
            <a:off x="5602523" y="6696029"/>
            <a:ext cx="50105" cy="54766"/>
          </a:xfrm>
          <a:custGeom>
            <a:avLst/>
            <a:gdLst>
              <a:gd name="connsiteX0" fmla="*/ 22140 w 50105"/>
              <a:gd name="connsiteY0" fmla="*/ 54766 h 54766"/>
              <a:gd name="connsiteX1" fmla="*/ 0 w 50105"/>
              <a:gd name="connsiteY1" fmla="*/ 54766 h 54766"/>
              <a:gd name="connsiteX2" fmla="*/ 26801 w 50105"/>
              <a:gd name="connsiteY2" fmla="*/ 27966 h 54766"/>
              <a:gd name="connsiteX3" fmla="*/ 0 w 50105"/>
              <a:gd name="connsiteY3" fmla="*/ 0 h 54766"/>
              <a:gd name="connsiteX4" fmla="*/ 23305 w 50105"/>
              <a:gd name="connsiteY4" fmla="*/ 0 h 54766"/>
              <a:gd name="connsiteX5" fmla="*/ 50106 w 50105"/>
              <a:gd name="connsiteY5" fmla="*/ 26801 h 5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4765">
                <a:moveTo>
                  <a:pt x="22140" y="54766"/>
                </a:moveTo>
                <a:lnTo>
                  <a:pt x="0" y="54766"/>
                </a:lnTo>
                <a:lnTo>
                  <a:pt x="26801" y="27966"/>
                </a:lnTo>
                <a:lnTo>
                  <a:pt x="0" y="0"/>
                </a:lnTo>
                <a:lnTo>
                  <a:pt x="23305" y="0"/>
                </a:lnTo>
                <a:lnTo>
                  <a:pt x="50106" y="26801"/>
                </a:lnTo>
                <a:close/>
              </a:path>
            </a:pathLst>
          </a:custGeom>
          <a:solidFill>
            <a:srgbClr val="EEF2F5"/>
          </a:solidFill>
          <a:ln w="11643" cap="flat">
            <a:noFill/>
            <a:prstDash val="solid"/>
            <a:miter/>
          </a:ln>
        </p:spPr>
        <p:txBody>
          <a:bodyPr rtlCol="0" anchor="ctr"/>
          <a:lstStyle/>
          <a:p>
            <a:pPr rtl="0"/>
            <a:endParaRPr lang="en-US"/>
          </a:p>
        </p:txBody>
      </p:sp>
      <p:sp>
        <p:nvSpPr>
          <p:cNvPr id="8" name="Freihandform: Form 7">
            <a:extLst>
              <a:ext uri="{FF2B5EF4-FFF2-40B4-BE49-F238E27FC236}">
                <a16:creationId xmlns:a16="http://schemas.microsoft.com/office/drawing/2014/main" id="{D0D01710-DC2E-4828-86F6-D324528021A5}"/>
              </a:ext>
            </a:extLst>
          </p:cNvPr>
          <p:cNvSpPr/>
          <p:nvPr/>
        </p:nvSpPr>
        <p:spPr>
          <a:xfrm>
            <a:off x="5948602" y="2073490"/>
            <a:ext cx="66419" cy="72245"/>
          </a:xfrm>
          <a:custGeom>
            <a:avLst/>
            <a:gdLst>
              <a:gd name="connsiteX0" fmla="*/ 30297 w 66419"/>
              <a:gd name="connsiteY0" fmla="*/ 72245 h 72245"/>
              <a:gd name="connsiteX1" fmla="*/ 0 w 66419"/>
              <a:gd name="connsiteY1" fmla="*/ 72245 h 72245"/>
              <a:gd name="connsiteX2" fmla="*/ 36123 w 66419"/>
              <a:gd name="connsiteY2" fmla="*/ 37288 h 72245"/>
              <a:gd name="connsiteX3" fmla="*/ 0 w 66419"/>
              <a:gd name="connsiteY3" fmla="*/ 0 h 72245"/>
              <a:gd name="connsiteX4" fmla="*/ 31462 w 66419"/>
              <a:gd name="connsiteY4" fmla="*/ 0 h 72245"/>
              <a:gd name="connsiteX5" fmla="*/ 66419 w 66419"/>
              <a:gd name="connsiteY5" fmla="*/ 36123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5"/>
                </a:moveTo>
                <a:lnTo>
                  <a:pt x="0" y="72245"/>
                </a:lnTo>
                <a:lnTo>
                  <a:pt x="36123" y="37288"/>
                </a:lnTo>
                <a:lnTo>
                  <a:pt x="0" y="0"/>
                </a:lnTo>
                <a:lnTo>
                  <a:pt x="31462" y="0"/>
                </a:lnTo>
                <a:lnTo>
                  <a:pt x="66419" y="36123"/>
                </a:lnTo>
                <a:close/>
              </a:path>
            </a:pathLst>
          </a:custGeom>
          <a:solidFill>
            <a:srgbClr val="EEF2F5"/>
          </a:solidFill>
          <a:ln w="11643" cap="flat">
            <a:noFill/>
            <a:prstDash val="solid"/>
            <a:miter/>
          </a:ln>
        </p:spPr>
        <p:txBody>
          <a:bodyPr rtlCol="0" anchor="ctr"/>
          <a:lstStyle/>
          <a:p>
            <a:pPr rtl="0"/>
            <a:endParaRPr lang="en-US"/>
          </a:p>
        </p:txBody>
      </p:sp>
      <p:sp>
        <p:nvSpPr>
          <p:cNvPr id="25" name="Freihandform: Form 24">
            <a:extLst>
              <a:ext uri="{FF2B5EF4-FFF2-40B4-BE49-F238E27FC236}">
                <a16:creationId xmlns:a16="http://schemas.microsoft.com/office/drawing/2014/main" id="{31123F88-1002-4B81-B9C6-413FE13BBA3A}"/>
              </a:ext>
            </a:extLst>
          </p:cNvPr>
          <p:cNvSpPr/>
          <p:nvPr/>
        </p:nvSpPr>
        <p:spPr>
          <a:xfrm>
            <a:off x="5948602" y="2428891"/>
            <a:ext cx="66419" cy="72245"/>
          </a:xfrm>
          <a:custGeom>
            <a:avLst/>
            <a:gdLst>
              <a:gd name="connsiteX0" fmla="*/ 30297 w 66419"/>
              <a:gd name="connsiteY0" fmla="*/ 72245 h 72245"/>
              <a:gd name="connsiteX1" fmla="*/ 0 w 66419"/>
              <a:gd name="connsiteY1" fmla="*/ 72245 h 72245"/>
              <a:gd name="connsiteX2" fmla="*/ 36123 w 66419"/>
              <a:gd name="connsiteY2" fmla="*/ 36123 h 72245"/>
              <a:gd name="connsiteX3" fmla="*/ 0 w 66419"/>
              <a:gd name="connsiteY3" fmla="*/ 0 h 72245"/>
              <a:gd name="connsiteX4" fmla="*/ 31462 w 66419"/>
              <a:gd name="connsiteY4" fmla="*/ 0 h 72245"/>
              <a:gd name="connsiteX5" fmla="*/ 66419 w 66419"/>
              <a:gd name="connsiteY5" fmla="*/ 34957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5"/>
                </a:moveTo>
                <a:lnTo>
                  <a:pt x="0" y="72245"/>
                </a:lnTo>
                <a:lnTo>
                  <a:pt x="36123" y="36123"/>
                </a:lnTo>
                <a:lnTo>
                  <a:pt x="0" y="0"/>
                </a:lnTo>
                <a:lnTo>
                  <a:pt x="31462" y="0"/>
                </a:lnTo>
                <a:lnTo>
                  <a:pt x="66419" y="34957"/>
                </a:lnTo>
                <a:close/>
              </a:path>
            </a:pathLst>
          </a:custGeom>
          <a:solidFill>
            <a:srgbClr val="EEF2F5"/>
          </a:solidFill>
          <a:ln w="11643" cap="flat">
            <a:noFill/>
            <a:prstDash val="solid"/>
            <a:miter/>
          </a:ln>
        </p:spPr>
        <p:txBody>
          <a:bodyPr rtlCol="0" anchor="ctr"/>
          <a:lstStyle/>
          <a:p>
            <a:pPr rtl="0"/>
            <a:endParaRPr lang="en-US"/>
          </a:p>
        </p:txBody>
      </p:sp>
      <p:sp>
        <p:nvSpPr>
          <p:cNvPr id="41" name="Freihandform: Form 40">
            <a:extLst>
              <a:ext uri="{FF2B5EF4-FFF2-40B4-BE49-F238E27FC236}">
                <a16:creationId xmlns:a16="http://schemas.microsoft.com/office/drawing/2014/main" id="{BA5C8D95-A4B2-4EE7-814A-A5E3649F4137}"/>
              </a:ext>
            </a:extLst>
          </p:cNvPr>
          <p:cNvSpPr/>
          <p:nvPr/>
        </p:nvSpPr>
        <p:spPr>
          <a:xfrm>
            <a:off x="5948602" y="2783126"/>
            <a:ext cx="66419" cy="72245"/>
          </a:xfrm>
          <a:custGeom>
            <a:avLst/>
            <a:gdLst>
              <a:gd name="connsiteX0" fmla="*/ 30297 w 66419"/>
              <a:gd name="connsiteY0" fmla="*/ 72245 h 72245"/>
              <a:gd name="connsiteX1" fmla="*/ 0 w 66419"/>
              <a:gd name="connsiteY1" fmla="*/ 72245 h 72245"/>
              <a:gd name="connsiteX2" fmla="*/ 36123 w 66419"/>
              <a:gd name="connsiteY2" fmla="*/ 37288 h 72245"/>
              <a:gd name="connsiteX3" fmla="*/ 0 w 66419"/>
              <a:gd name="connsiteY3" fmla="*/ 0 h 72245"/>
              <a:gd name="connsiteX4" fmla="*/ 31462 w 66419"/>
              <a:gd name="connsiteY4" fmla="*/ 0 h 72245"/>
              <a:gd name="connsiteX5" fmla="*/ 66419 w 66419"/>
              <a:gd name="connsiteY5" fmla="*/ 36123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5"/>
                </a:moveTo>
                <a:lnTo>
                  <a:pt x="0" y="72245"/>
                </a:lnTo>
                <a:lnTo>
                  <a:pt x="36123" y="37288"/>
                </a:lnTo>
                <a:lnTo>
                  <a:pt x="0" y="0"/>
                </a:lnTo>
                <a:lnTo>
                  <a:pt x="31462" y="0"/>
                </a:lnTo>
                <a:lnTo>
                  <a:pt x="66419" y="36123"/>
                </a:lnTo>
                <a:close/>
              </a:path>
            </a:pathLst>
          </a:custGeom>
          <a:solidFill>
            <a:srgbClr val="EEF2F5"/>
          </a:solidFill>
          <a:ln w="11643" cap="flat">
            <a:noFill/>
            <a:prstDash val="solid"/>
            <a:miter/>
          </a:ln>
        </p:spPr>
        <p:txBody>
          <a:bodyPr rtlCol="0" anchor="ctr"/>
          <a:lstStyle/>
          <a:p>
            <a:pPr rtl="0"/>
            <a:endParaRPr lang="en-US"/>
          </a:p>
        </p:txBody>
      </p:sp>
      <p:sp>
        <p:nvSpPr>
          <p:cNvPr id="57" name="Freihandform: Form 56">
            <a:extLst>
              <a:ext uri="{FF2B5EF4-FFF2-40B4-BE49-F238E27FC236}">
                <a16:creationId xmlns:a16="http://schemas.microsoft.com/office/drawing/2014/main" id="{636D7BF9-1E35-425E-994B-CE960B642C82}"/>
              </a:ext>
            </a:extLst>
          </p:cNvPr>
          <p:cNvSpPr/>
          <p:nvPr/>
        </p:nvSpPr>
        <p:spPr>
          <a:xfrm>
            <a:off x="5948602" y="3138527"/>
            <a:ext cx="66419" cy="72245"/>
          </a:xfrm>
          <a:custGeom>
            <a:avLst/>
            <a:gdLst>
              <a:gd name="connsiteX0" fmla="*/ 30297 w 66419"/>
              <a:gd name="connsiteY0" fmla="*/ 72245 h 72245"/>
              <a:gd name="connsiteX1" fmla="*/ 0 w 66419"/>
              <a:gd name="connsiteY1" fmla="*/ 72245 h 72245"/>
              <a:gd name="connsiteX2" fmla="*/ 36123 w 66419"/>
              <a:gd name="connsiteY2" fmla="*/ 36123 h 72245"/>
              <a:gd name="connsiteX3" fmla="*/ 0 w 66419"/>
              <a:gd name="connsiteY3" fmla="*/ 0 h 72245"/>
              <a:gd name="connsiteX4" fmla="*/ 31462 w 66419"/>
              <a:gd name="connsiteY4" fmla="*/ 0 h 72245"/>
              <a:gd name="connsiteX5" fmla="*/ 66419 w 66419"/>
              <a:gd name="connsiteY5" fmla="*/ 34957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5"/>
                </a:moveTo>
                <a:lnTo>
                  <a:pt x="0" y="72245"/>
                </a:lnTo>
                <a:lnTo>
                  <a:pt x="36123" y="36123"/>
                </a:lnTo>
                <a:lnTo>
                  <a:pt x="0" y="0"/>
                </a:lnTo>
                <a:lnTo>
                  <a:pt x="31462" y="0"/>
                </a:lnTo>
                <a:lnTo>
                  <a:pt x="66419" y="34957"/>
                </a:lnTo>
                <a:close/>
              </a:path>
            </a:pathLst>
          </a:custGeom>
          <a:solidFill>
            <a:srgbClr val="EEF2F5"/>
          </a:solidFill>
          <a:ln w="11643" cap="flat">
            <a:noFill/>
            <a:prstDash val="solid"/>
            <a:miter/>
          </a:ln>
        </p:spPr>
        <p:txBody>
          <a:bodyPr rtlCol="0" anchor="ctr"/>
          <a:lstStyle/>
          <a:p>
            <a:pPr rtl="0"/>
            <a:endParaRPr lang="en-US"/>
          </a:p>
        </p:txBody>
      </p:sp>
      <p:sp>
        <p:nvSpPr>
          <p:cNvPr id="73" name="Freihandform: Form 72">
            <a:extLst>
              <a:ext uri="{FF2B5EF4-FFF2-40B4-BE49-F238E27FC236}">
                <a16:creationId xmlns:a16="http://schemas.microsoft.com/office/drawing/2014/main" id="{DFBDD53B-EB0E-4F44-B437-1C679A10EA5C}"/>
              </a:ext>
            </a:extLst>
          </p:cNvPr>
          <p:cNvSpPr/>
          <p:nvPr/>
        </p:nvSpPr>
        <p:spPr>
          <a:xfrm>
            <a:off x="5948602" y="3492762"/>
            <a:ext cx="66419" cy="73410"/>
          </a:xfrm>
          <a:custGeom>
            <a:avLst/>
            <a:gdLst>
              <a:gd name="connsiteX0" fmla="*/ 30297 w 66419"/>
              <a:gd name="connsiteY0" fmla="*/ 73411 h 73410"/>
              <a:gd name="connsiteX1" fmla="*/ 0 w 66419"/>
              <a:gd name="connsiteY1" fmla="*/ 73411 h 73410"/>
              <a:gd name="connsiteX2" fmla="*/ 36123 w 66419"/>
              <a:gd name="connsiteY2" fmla="*/ 37288 h 73410"/>
              <a:gd name="connsiteX3" fmla="*/ 0 w 66419"/>
              <a:gd name="connsiteY3" fmla="*/ 0 h 73410"/>
              <a:gd name="connsiteX4" fmla="*/ 31462 w 66419"/>
              <a:gd name="connsiteY4" fmla="*/ 0 h 73410"/>
              <a:gd name="connsiteX5" fmla="*/ 66419 w 66419"/>
              <a:gd name="connsiteY5" fmla="*/ 36123 h 73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3410">
                <a:moveTo>
                  <a:pt x="30297" y="73411"/>
                </a:moveTo>
                <a:lnTo>
                  <a:pt x="0" y="73411"/>
                </a:lnTo>
                <a:lnTo>
                  <a:pt x="36123" y="37288"/>
                </a:lnTo>
                <a:lnTo>
                  <a:pt x="0" y="0"/>
                </a:lnTo>
                <a:lnTo>
                  <a:pt x="31462" y="0"/>
                </a:lnTo>
                <a:lnTo>
                  <a:pt x="66419" y="36123"/>
                </a:lnTo>
                <a:close/>
              </a:path>
            </a:pathLst>
          </a:custGeom>
          <a:solidFill>
            <a:srgbClr val="EEF2F5"/>
          </a:solidFill>
          <a:ln w="11643" cap="flat">
            <a:noFill/>
            <a:prstDash val="solid"/>
            <a:miter/>
          </a:ln>
        </p:spPr>
        <p:txBody>
          <a:bodyPr rtlCol="0" anchor="ctr"/>
          <a:lstStyle/>
          <a:p>
            <a:pPr rtl="0"/>
            <a:endParaRPr lang="en-US"/>
          </a:p>
        </p:txBody>
      </p:sp>
      <p:sp>
        <p:nvSpPr>
          <p:cNvPr id="89" name="Freihandform: Form 88">
            <a:extLst>
              <a:ext uri="{FF2B5EF4-FFF2-40B4-BE49-F238E27FC236}">
                <a16:creationId xmlns:a16="http://schemas.microsoft.com/office/drawing/2014/main" id="{3107BFD1-BB04-45D5-9901-72F67CE0736C}"/>
              </a:ext>
            </a:extLst>
          </p:cNvPr>
          <p:cNvSpPr/>
          <p:nvPr/>
        </p:nvSpPr>
        <p:spPr>
          <a:xfrm>
            <a:off x="5948602" y="3848163"/>
            <a:ext cx="66419" cy="72245"/>
          </a:xfrm>
          <a:custGeom>
            <a:avLst/>
            <a:gdLst>
              <a:gd name="connsiteX0" fmla="*/ 30297 w 66419"/>
              <a:gd name="connsiteY0" fmla="*/ 72245 h 72245"/>
              <a:gd name="connsiteX1" fmla="*/ 0 w 66419"/>
              <a:gd name="connsiteY1" fmla="*/ 72245 h 72245"/>
              <a:gd name="connsiteX2" fmla="*/ 36123 w 66419"/>
              <a:gd name="connsiteY2" fmla="*/ 36123 h 72245"/>
              <a:gd name="connsiteX3" fmla="*/ 0 w 66419"/>
              <a:gd name="connsiteY3" fmla="*/ 0 h 72245"/>
              <a:gd name="connsiteX4" fmla="*/ 31462 w 66419"/>
              <a:gd name="connsiteY4" fmla="*/ 0 h 72245"/>
              <a:gd name="connsiteX5" fmla="*/ 66419 w 66419"/>
              <a:gd name="connsiteY5" fmla="*/ 34957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5"/>
                </a:moveTo>
                <a:lnTo>
                  <a:pt x="0" y="72245"/>
                </a:lnTo>
                <a:lnTo>
                  <a:pt x="36123" y="36123"/>
                </a:lnTo>
                <a:lnTo>
                  <a:pt x="0" y="0"/>
                </a:lnTo>
                <a:lnTo>
                  <a:pt x="31462" y="0"/>
                </a:lnTo>
                <a:lnTo>
                  <a:pt x="66419" y="34957"/>
                </a:lnTo>
                <a:close/>
              </a:path>
            </a:pathLst>
          </a:custGeom>
          <a:solidFill>
            <a:srgbClr val="EEF2F5"/>
          </a:solidFill>
          <a:ln w="11643" cap="flat">
            <a:noFill/>
            <a:prstDash val="solid"/>
            <a:miter/>
          </a:ln>
        </p:spPr>
        <p:txBody>
          <a:bodyPr rtlCol="0" anchor="ctr"/>
          <a:lstStyle/>
          <a:p>
            <a:pPr rtl="0"/>
            <a:endParaRPr lang="en-US"/>
          </a:p>
        </p:txBody>
      </p:sp>
      <p:sp>
        <p:nvSpPr>
          <p:cNvPr id="155" name="Freihandform: Form 154">
            <a:extLst>
              <a:ext uri="{FF2B5EF4-FFF2-40B4-BE49-F238E27FC236}">
                <a16:creationId xmlns:a16="http://schemas.microsoft.com/office/drawing/2014/main" id="{0476C6FA-89C7-4150-9910-3BE37EF8061B}"/>
              </a:ext>
            </a:extLst>
          </p:cNvPr>
          <p:cNvSpPr/>
          <p:nvPr/>
        </p:nvSpPr>
        <p:spPr>
          <a:xfrm>
            <a:off x="5948602" y="5267435"/>
            <a:ext cx="66419" cy="72245"/>
          </a:xfrm>
          <a:custGeom>
            <a:avLst/>
            <a:gdLst>
              <a:gd name="connsiteX0" fmla="*/ 30297 w 66419"/>
              <a:gd name="connsiteY0" fmla="*/ 72246 h 72245"/>
              <a:gd name="connsiteX1" fmla="*/ 0 w 66419"/>
              <a:gd name="connsiteY1" fmla="*/ 72246 h 72245"/>
              <a:gd name="connsiteX2" fmla="*/ 36123 w 66419"/>
              <a:gd name="connsiteY2" fmla="*/ 36123 h 72245"/>
              <a:gd name="connsiteX3" fmla="*/ 0 w 66419"/>
              <a:gd name="connsiteY3" fmla="*/ 0 h 72245"/>
              <a:gd name="connsiteX4" fmla="*/ 31462 w 66419"/>
              <a:gd name="connsiteY4" fmla="*/ 0 h 72245"/>
              <a:gd name="connsiteX5" fmla="*/ 66419 w 66419"/>
              <a:gd name="connsiteY5" fmla="*/ 36123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6"/>
                </a:moveTo>
                <a:lnTo>
                  <a:pt x="0" y="72246"/>
                </a:lnTo>
                <a:lnTo>
                  <a:pt x="36123" y="36123"/>
                </a:lnTo>
                <a:lnTo>
                  <a:pt x="0" y="0"/>
                </a:lnTo>
                <a:lnTo>
                  <a:pt x="31462" y="0"/>
                </a:lnTo>
                <a:lnTo>
                  <a:pt x="66419" y="36123"/>
                </a:lnTo>
                <a:close/>
              </a:path>
            </a:pathLst>
          </a:custGeom>
          <a:solidFill>
            <a:srgbClr val="EEF2F5"/>
          </a:solidFill>
          <a:ln w="11643" cap="flat">
            <a:noFill/>
            <a:prstDash val="solid"/>
            <a:miter/>
          </a:ln>
        </p:spPr>
        <p:txBody>
          <a:bodyPr rtlCol="0" anchor="ctr"/>
          <a:lstStyle/>
          <a:p>
            <a:pPr rtl="0"/>
            <a:endParaRPr lang="en-US"/>
          </a:p>
        </p:txBody>
      </p:sp>
      <p:sp>
        <p:nvSpPr>
          <p:cNvPr id="172" name="Freihandform: Form 171">
            <a:extLst>
              <a:ext uri="{FF2B5EF4-FFF2-40B4-BE49-F238E27FC236}">
                <a16:creationId xmlns:a16="http://schemas.microsoft.com/office/drawing/2014/main" id="{B7EA1921-A21C-4EEA-AF29-44E0ABBF486B}"/>
              </a:ext>
            </a:extLst>
          </p:cNvPr>
          <p:cNvSpPr/>
          <p:nvPr/>
        </p:nvSpPr>
        <p:spPr>
          <a:xfrm>
            <a:off x="5948602" y="5622836"/>
            <a:ext cx="66419" cy="72245"/>
          </a:xfrm>
          <a:custGeom>
            <a:avLst/>
            <a:gdLst>
              <a:gd name="connsiteX0" fmla="*/ 30297 w 66419"/>
              <a:gd name="connsiteY0" fmla="*/ 72246 h 72245"/>
              <a:gd name="connsiteX1" fmla="*/ 0 w 66419"/>
              <a:gd name="connsiteY1" fmla="*/ 72246 h 72245"/>
              <a:gd name="connsiteX2" fmla="*/ 36123 w 66419"/>
              <a:gd name="connsiteY2" fmla="*/ 36123 h 72245"/>
              <a:gd name="connsiteX3" fmla="*/ 0 w 66419"/>
              <a:gd name="connsiteY3" fmla="*/ 0 h 72245"/>
              <a:gd name="connsiteX4" fmla="*/ 31462 w 66419"/>
              <a:gd name="connsiteY4" fmla="*/ 0 h 72245"/>
              <a:gd name="connsiteX5" fmla="*/ 66419 w 66419"/>
              <a:gd name="connsiteY5" fmla="*/ 34957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6"/>
                </a:moveTo>
                <a:lnTo>
                  <a:pt x="0" y="72246"/>
                </a:lnTo>
                <a:lnTo>
                  <a:pt x="36123" y="36123"/>
                </a:lnTo>
                <a:lnTo>
                  <a:pt x="0" y="0"/>
                </a:lnTo>
                <a:lnTo>
                  <a:pt x="31462" y="0"/>
                </a:lnTo>
                <a:lnTo>
                  <a:pt x="66419" y="34957"/>
                </a:lnTo>
                <a:close/>
              </a:path>
            </a:pathLst>
          </a:custGeom>
          <a:solidFill>
            <a:srgbClr val="EEF2F5"/>
          </a:solidFill>
          <a:ln w="11643" cap="flat">
            <a:noFill/>
            <a:prstDash val="solid"/>
            <a:miter/>
          </a:ln>
        </p:spPr>
        <p:txBody>
          <a:bodyPr rtlCol="0" anchor="ctr"/>
          <a:lstStyle/>
          <a:p>
            <a:pPr rtl="0"/>
            <a:endParaRPr lang="en-US"/>
          </a:p>
        </p:txBody>
      </p:sp>
      <p:sp>
        <p:nvSpPr>
          <p:cNvPr id="189" name="Freihandform: Form 188">
            <a:extLst>
              <a:ext uri="{FF2B5EF4-FFF2-40B4-BE49-F238E27FC236}">
                <a16:creationId xmlns:a16="http://schemas.microsoft.com/office/drawing/2014/main" id="{4B73D56C-9773-4937-82D9-0C129B27FB09}"/>
              </a:ext>
            </a:extLst>
          </p:cNvPr>
          <p:cNvSpPr/>
          <p:nvPr/>
        </p:nvSpPr>
        <p:spPr>
          <a:xfrm>
            <a:off x="5948602" y="5977071"/>
            <a:ext cx="66419" cy="72245"/>
          </a:xfrm>
          <a:custGeom>
            <a:avLst/>
            <a:gdLst>
              <a:gd name="connsiteX0" fmla="*/ 30297 w 66419"/>
              <a:gd name="connsiteY0" fmla="*/ 72246 h 72245"/>
              <a:gd name="connsiteX1" fmla="*/ 0 w 66419"/>
              <a:gd name="connsiteY1" fmla="*/ 72246 h 72245"/>
              <a:gd name="connsiteX2" fmla="*/ 36123 w 66419"/>
              <a:gd name="connsiteY2" fmla="*/ 36123 h 72245"/>
              <a:gd name="connsiteX3" fmla="*/ 0 w 66419"/>
              <a:gd name="connsiteY3" fmla="*/ 0 h 72245"/>
              <a:gd name="connsiteX4" fmla="*/ 31462 w 66419"/>
              <a:gd name="connsiteY4" fmla="*/ 0 h 72245"/>
              <a:gd name="connsiteX5" fmla="*/ 66419 w 66419"/>
              <a:gd name="connsiteY5" fmla="*/ 36123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6"/>
                </a:moveTo>
                <a:lnTo>
                  <a:pt x="0" y="72246"/>
                </a:lnTo>
                <a:lnTo>
                  <a:pt x="36123" y="36123"/>
                </a:lnTo>
                <a:lnTo>
                  <a:pt x="0" y="0"/>
                </a:lnTo>
                <a:lnTo>
                  <a:pt x="31462" y="0"/>
                </a:lnTo>
                <a:lnTo>
                  <a:pt x="66419" y="36123"/>
                </a:lnTo>
                <a:close/>
              </a:path>
            </a:pathLst>
          </a:custGeom>
          <a:solidFill>
            <a:srgbClr val="EEF2F5"/>
          </a:solidFill>
          <a:ln w="11643" cap="flat">
            <a:noFill/>
            <a:prstDash val="solid"/>
            <a:miter/>
          </a:ln>
        </p:spPr>
        <p:txBody>
          <a:bodyPr rtlCol="0" anchor="ctr"/>
          <a:lstStyle/>
          <a:p>
            <a:pPr rtl="0"/>
            <a:endParaRPr lang="en-US"/>
          </a:p>
        </p:txBody>
      </p:sp>
      <p:sp>
        <p:nvSpPr>
          <p:cNvPr id="206" name="Freihandform: Form 205">
            <a:extLst>
              <a:ext uri="{FF2B5EF4-FFF2-40B4-BE49-F238E27FC236}">
                <a16:creationId xmlns:a16="http://schemas.microsoft.com/office/drawing/2014/main" id="{A2EEDBB3-F918-4A6E-A412-B8C8B911DDD3}"/>
              </a:ext>
            </a:extLst>
          </p:cNvPr>
          <p:cNvSpPr/>
          <p:nvPr/>
        </p:nvSpPr>
        <p:spPr>
          <a:xfrm>
            <a:off x="5948602" y="6332472"/>
            <a:ext cx="66419" cy="72245"/>
          </a:xfrm>
          <a:custGeom>
            <a:avLst/>
            <a:gdLst>
              <a:gd name="connsiteX0" fmla="*/ 30297 w 66419"/>
              <a:gd name="connsiteY0" fmla="*/ 72246 h 72245"/>
              <a:gd name="connsiteX1" fmla="*/ 0 w 66419"/>
              <a:gd name="connsiteY1" fmla="*/ 72246 h 72245"/>
              <a:gd name="connsiteX2" fmla="*/ 36123 w 66419"/>
              <a:gd name="connsiteY2" fmla="*/ 36123 h 72245"/>
              <a:gd name="connsiteX3" fmla="*/ 0 w 66419"/>
              <a:gd name="connsiteY3" fmla="*/ 0 h 72245"/>
              <a:gd name="connsiteX4" fmla="*/ 31462 w 66419"/>
              <a:gd name="connsiteY4" fmla="*/ 0 h 72245"/>
              <a:gd name="connsiteX5" fmla="*/ 66419 w 66419"/>
              <a:gd name="connsiteY5" fmla="*/ 34957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6"/>
                </a:moveTo>
                <a:lnTo>
                  <a:pt x="0" y="72246"/>
                </a:lnTo>
                <a:lnTo>
                  <a:pt x="36123" y="36123"/>
                </a:lnTo>
                <a:lnTo>
                  <a:pt x="0" y="0"/>
                </a:lnTo>
                <a:lnTo>
                  <a:pt x="31462" y="0"/>
                </a:lnTo>
                <a:lnTo>
                  <a:pt x="66419" y="34957"/>
                </a:lnTo>
                <a:close/>
              </a:path>
            </a:pathLst>
          </a:custGeom>
          <a:solidFill>
            <a:srgbClr val="EEF2F5"/>
          </a:solidFill>
          <a:ln w="11643" cap="flat">
            <a:noFill/>
            <a:prstDash val="solid"/>
            <a:miter/>
          </a:ln>
        </p:spPr>
        <p:txBody>
          <a:bodyPr rtlCol="0" anchor="ctr"/>
          <a:lstStyle/>
          <a:p>
            <a:pPr rtl="0"/>
            <a:endParaRPr lang="en-US"/>
          </a:p>
        </p:txBody>
      </p:sp>
      <p:sp>
        <p:nvSpPr>
          <p:cNvPr id="222" name="Freihandform: Form 221">
            <a:extLst>
              <a:ext uri="{FF2B5EF4-FFF2-40B4-BE49-F238E27FC236}">
                <a16:creationId xmlns:a16="http://schemas.microsoft.com/office/drawing/2014/main" id="{E783B07A-D7A5-49D0-8D6F-D0064E121D70}"/>
              </a:ext>
            </a:extLst>
          </p:cNvPr>
          <p:cNvSpPr/>
          <p:nvPr/>
        </p:nvSpPr>
        <p:spPr>
          <a:xfrm>
            <a:off x="5948602" y="6686707"/>
            <a:ext cx="66419" cy="72245"/>
          </a:xfrm>
          <a:custGeom>
            <a:avLst/>
            <a:gdLst>
              <a:gd name="connsiteX0" fmla="*/ 30297 w 66419"/>
              <a:gd name="connsiteY0" fmla="*/ 72246 h 72245"/>
              <a:gd name="connsiteX1" fmla="*/ 0 w 66419"/>
              <a:gd name="connsiteY1" fmla="*/ 72246 h 72245"/>
              <a:gd name="connsiteX2" fmla="*/ 36123 w 66419"/>
              <a:gd name="connsiteY2" fmla="*/ 37288 h 72245"/>
              <a:gd name="connsiteX3" fmla="*/ 0 w 66419"/>
              <a:gd name="connsiteY3" fmla="*/ 0 h 72245"/>
              <a:gd name="connsiteX4" fmla="*/ 31462 w 66419"/>
              <a:gd name="connsiteY4" fmla="*/ 0 h 72245"/>
              <a:gd name="connsiteX5" fmla="*/ 66419 w 66419"/>
              <a:gd name="connsiteY5" fmla="*/ 36123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6"/>
                </a:moveTo>
                <a:lnTo>
                  <a:pt x="0" y="72246"/>
                </a:lnTo>
                <a:lnTo>
                  <a:pt x="36123" y="37288"/>
                </a:lnTo>
                <a:lnTo>
                  <a:pt x="0" y="0"/>
                </a:lnTo>
                <a:lnTo>
                  <a:pt x="31462" y="0"/>
                </a:lnTo>
                <a:lnTo>
                  <a:pt x="66419" y="36123"/>
                </a:lnTo>
                <a:close/>
              </a:path>
            </a:pathLst>
          </a:custGeom>
          <a:solidFill>
            <a:srgbClr val="EEF2F5"/>
          </a:solidFill>
          <a:ln w="11643" cap="flat">
            <a:noFill/>
            <a:prstDash val="solid"/>
            <a:miter/>
          </a:ln>
        </p:spPr>
        <p:txBody>
          <a:bodyPr rtlCol="0" anchor="ctr"/>
          <a:lstStyle/>
          <a:p>
            <a:pPr rtl="0"/>
            <a:endParaRPr lang="en-US"/>
          </a:p>
        </p:txBody>
      </p:sp>
      <p:sp>
        <p:nvSpPr>
          <p:cNvPr id="11" name="Freihandform: Form 10">
            <a:extLst>
              <a:ext uri="{FF2B5EF4-FFF2-40B4-BE49-F238E27FC236}">
                <a16:creationId xmlns:a16="http://schemas.microsoft.com/office/drawing/2014/main" id="{75FBD411-81D5-40D9-85F5-17F8ADC51855}"/>
              </a:ext>
            </a:extLst>
          </p:cNvPr>
          <p:cNvSpPr/>
          <p:nvPr/>
        </p:nvSpPr>
        <p:spPr>
          <a:xfrm>
            <a:off x="6294680" y="2064168"/>
            <a:ext cx="83897" cy="90889"/>
          </a:xfrm>
          <a:custGeom>
            <a:avLst/>
            <a:gdLst>
              <a:gd name="connsiteX0" fmla="*/ 38453 w 83897"/>
              <a:gd name="connsiteY0" fmla="*/ 90889 h 90889"/>
              <a:gd name="connsiteX1" fmla="*/ 0 w 83897"/>
              <a:gd name="connsiteY1" fmla="*/ 90889 h 90889"/>
              <a:gd name="connsiteX2" fmla="*/ 45445 w 83897"/>
              <a:gd name="connsiteY2" fmla="*/ 46610 h 90889"/>
              <a:gd name="connsiteX3" fmla="*/ 0 w 83897"/>
              <a:gd name="connsiteY3" fmla="*/ 0 h 90889"/>
              <a:gd name="connsiteX4" fmla="*/ 39618 w 83897"/>
              <a:gd name="connsiteY4" fmla="*/ 0 h 90889"/>
              <a:gd name="connsiteX5" fmla="*/ 83898 w 83897"/>
              <a:gd name="connsiteY5" fmla="*/ 45445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6610"/>
                </a:lnTo>
                <a:lnTo>
                  <a:pt x="0" y="0"/>
                </a:lnTo>
                <a:lnTo>
                  <a:pt x="39618" y="0"/>
                </a:lnTo>
                <a:lnTo>
                  <a:pt x="83898" y="45445"/>
                </a:lnTo>
                <a:close/>
              </a:path>
            </a:pathLst>
          </a:custGeom>
          <a:solidFill>
            <a:srgbClr val="EEF2F5"/>
          </a:solidFill>
          <a:ln w="11643" cap="flat">
            <a:noFill/>
            <a:prstDash val="solid"/>
            <a:miter/>
          </a:ln>
        </p:spPr>
        <p:txBody>
          <a:bodyPr rtlCol="0" anchor="ctr"/>
          <a:lstStyle/>
          <a:p>
            <a:pPr rtl="0"/>
            <a:endParaRPr lang="en-US"/>
          </a:p>
        </p:txBody>
      </p:sp>
      <p:sp>
        <p:nvSpPr>
          <p:cNvPr id="26" name="Freihandform: Form 25">
            <a:extLst>
              <a:ext uri="{FF2B5EF4-FFF2-40B4-BE49-F238E27FC236}">
                <a16:creationId xmlns:a16="http://schemas.microsoft.com/office/drawing/2014/main" id="{1BE891D4-79E8-4F6F-87F1-0D4367D86BBB}"/>
              </a:ext>
            </a:extLst>
          </p:cNvPr>
          <p:cNvSpPr/>
          <p:nvPr/>
        </p:nvSpPr>
        <p:spPr>
          <a:xfrm>
            <a:off x="6294680" y="2419569"/>
            <a:ext cx="83897" cy="90889"/>
          </a:xfrm>
          <a:custGeom>
            <a:avLst/>
            <a:gdLst>
              <a:gd name="connsiteX0" fmla="*/ 38453 w 83897"/>
              <a:gd name="connsiteY0" fmla="*/ 90889 h 90889"/>
              <a:gd name="connsiteX1" fmla="*/ 0 w 83897"/>
              <a:gd name="connsiteY1" fmla="*/ 90889 h 90889"/>
              <a:gd name="connsiteX2" fmla="*/ 45445 w 83897"/>
              <a:gd name="connsiteY2" fmla="*/ 45445 h 90889"/>
              <a:gd name="connsiteX3" fmla="*/ 0 w 83897"/>
              <a:gd name="connsiteY3" fmla="*/ 0 h 90889"/>
              <a:gd name="connsiteX4" fmla="*/ 39618 w 83897"/>
              <a:gd name="connsiteY4" fmla="*/ 0 h 90889"/>
              <a:gd name="connsiteX5" fmla="*/ 83898 w 83897"/>
              <a:gd name="connsiteY5" fmla="*/ 44279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pPr rtl="0"/>
            <a:endParaRPr lang="en-US"/>
          </a:p>
        </p:txBody>
      </p:sp>
      <p:sp>
        <p:nvSpPr>
          <p:cNvPr id="42" name="Freihandform: Form 41">
            <a:extLst>
              <a:ext uri="{FF2B5EF4-FFF2-40B4-BE49-F238E27FC236}">
                <a16:creationId xmlns:a16="http://schemas.microsoft.com/office/drawing/2014/main" id="{3840402F-0CB7-4700-AB86-312936B9375A}"/>
              </a:ext>
            </a:extLst>
          </p:cNvPr>
          <p:cNvSpPr/>
          <p:nvPr/>
        </p:nvSpPr>
        <p:spPr>
          <a:xfrm>
            <a:off x="6294680" y="2773804"/>
            <a:ext cx="83897" cy="90889"/>
          </a:xfrm>
          <a:custGeom>
            <a:avLst/>
            <a:gdLst>
              <a:gd name="connsiteX0" fmla="*/ 38453 w 83897"/>
              <a:gd name="connsiteY0" fmla="*/ 90889 h 90889"/>
              <a:gd name="connsiteX1" fmla="*/ 0 w 83897"/>
              <a:gd name="connsiteY1" fmla="*/ 90889 h 90889"/>
              <a:gd name="connsiteX2" fmla="*/ 45445 w 83897"/>
              <a:gd name="connsiteY2" fmla="*/ 46610 h 90889"/>
              <a:gd name="connsiteX3" fmla="*/ 0 w 83897"/>
              <a:gd name="connsiteY3" fmla="*/ 0 h 90889"/>
              <a:gd name="connsiteX4" fmla="*/ 39618 w 83897"/>
              <a:gd name="connsiteY4" fmla="*/ 0 h 90889"/>
              <a:gd name="connsiteX5" fmla="*/ 83898 w 83897"/>
              <a:gd name="connsiteY5" fmla="*/ 45445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6610"/>
                </a:lnTo>
                <a:lnTo>
                  <a:pt x="0" y="0"/>
                </a:lnTo>
                <a:lnTo>
                  <a:pt x="39618" y="0"/>
                </a:lnTo>
                <a:lnTo>
                  <a:pt x="83898" y="45445"/>
                </a:lnTo>
                <a:close/>
              </a:path>
            </a:pathLst>
          </a:custGeom>
          <a:solidFill>
            <a:srgbClr val="EEF2F5"/>
          </a:solidFill>
          <a:ln w="11643" cap="flat">
            <a:noFill/>
            <a:prstDash val="solid"/>
            <a:miter/>
          </a:ln>
        </p:spPr>
        <p:txBody>
          <a:bodyPr rtlCol="0" anchor="ctr"/>
          <a:lstStyle/>
          <a:p>
            <a:pPr rtl="0"/>
            <a:endParaRPr lang="en-US"/>
          </a:p>
        </p:txBody>
      </p:sp>
      <p:sp>
        <p:nvSpPr>
          <p:cNvPr id="58" name="Freihandform: Form 57">
            <a:extLst>
              <a:ext uri="{FF2B5EF4-FFF2-40B4-BE49-F238E27FC236}">
                <a16:creationId xmlns:a16="http://schemas.microsoft.com/office/drawing/2014/main" id="{C92817E7-21F5-4822-9D42-BC3A22B20F43}"/>
              </a:ext>
            </a:extLst>
          </p:cNvPr>
          <p:cNvSpPr/>
          <p:nvPr/>
        </p:nvSpPr>
        <p:spPr>
          <a:xfrm>
            <a:off x="6294680" y="3129205"/>
            <a:ext cx="83897" cy="90889"/>
          </a:xfrm>
          <a:custGeom>
            <a:avLst/>
            <a:gdLst>
              <a:gd name="connsiteX0" fmla="*/ 38453 w 83897"/>
              <a:gd name="connsiteY0" fmla="*/ 90889 h 90889"/>
              <a:gd name="connsiteX1" fmla="*/ 0 w 83897"/>
              <a:gd name="connsiteY1" fmla="*/ 90889 h 90889"/>
              <a:gd name="connsiteX2" fmla="*/ 45445 w 83897"/>
              <a:gd name="connsiteY2" fmla="*/ 45445 h 90889"/>
              <a:gd name="connsiteX3" fmla="*/ 0 w 83897"/>
              <a:gd name="connsiteY3" fmla="*/ 0 h 90889"/>
              <a:gd name="connsiteX4" fmla="*/ 39618 w 83897"/>
              <a:gd name="connsiteY4" fmla="*/ 0 h 90889"/>
              <a:gd name="connsiteX5" fmla="*/ 83898 w 83897"/>
              <a:gd name="connsiteY5" fmla="*/ 44279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pPr rtl="0"/>
            <a:endParaRPr lang="en-US"/>
          </a:p>
        </p:txBody>
      </p:sp>
      <p:sp>
        <p:nvSpPr>
          <p:cNvPr id="74" name="Freihandform: Form 73">
            <a:extLst>
              <a:ext uri="{FF2B5EF4-FFF2-40B4-BE49-F238E27FC236}">
                <a16:creationId xmlns:a16="http://schemas.microsoft.com/office/drawing/2014/main" id="{B9D0716B-8D9A-4338-AEA4-79A7EEDD478B}"/>
              </a:ext>
            </a:extLst>
          </p:cNvPr>
          <p:cNvSpPr/>
          <p:nvPr/>
        </p:nvSpPr>
        <p:spPr>
          <a:xfrm>
            <a:off x="6294680" y="3484606"/>
            <a:ext cx="83897" cy="89724"/>
          </a:xfrm>
          <a:custGeom>
            <a:avLst/>
            <a:gdLst>
              <a:gd name="connsiteX0" fmla="*/ 38453 w 83897"/>
              <a:gd name="connsiteY0" fmla="*/ 89724 h 89724"/>
              <a:gd name="connsiteX1" fmla="*/ 0 w 83897"/>
              <a:gd name="connsiteY1" fmla="*/ 89724 h 89724"/>
              <a:gd name="connsiteX2" fmla="*/ 45445 w 83897"/>
              <a:gd name="connsiteY2" fmla="*/ 45445 h 89724"/>
              <a:gd name="connsiteX3" fmla="*/ 0 w 83897"/>
              <a:gd name="connsiteY3" fmla="*/ 0 h 89724"/>
              <a:gd name="connsiteX4" fmla="*/ 39618 w 83897"/>
              <a:gd name="connsiteY4" fmla="*/ 0 h 89724"/>
              <a:gd name="connsiteX5" fmla="*/ 83898 w 83897"/>
              <a:gd name="connsiteY5" fmla="*/ 44279 h 89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89724">
                <a:moveTo>
                  <a:pt x="38453" y="89724"/>
                </a:moveTo>
                <a:lnTo>
                  <a:pt x="0" y="89724"/>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pPr rtl="0"/>
            <a:endParaRPr lang="en-US"/>
          </a:p>
        </p:txBody>
      </p:sp>
      <p:sp>
        <p:nvSpPr>
          <p:cNvPr id="90" name="Freihandform: Form 89">
            <a:extLst>
              <a:ext uri="{FF2B5EF4-FFF2-40B4-BE49-F238E27FC236}">
                <a16:creationId xmlns:a16="http://schemas.microsoft.com/office/drawing/2014/main" id="{9161924B-A7F2-4DF3-B909-33BF43FA25EF}"/>
              </a:ext>
            </a:extLst>
          </p:cNvPr>
          <p:cNvSpPr/>
          <p:nvPr/>
        </p:nvSpPr>
        <p:spPr>
          <a:xfrm>
            <a:off x="6294680" y="3838841"/>
            <a:ext cx="83897" cy="90889"/>
          </a:xfrm>
          <a:custGeom>
            <a:avLst/>
            <a:gdLst>
              <a:gd name="connsiteX0" fmla="*/ 38453 w 83897"/>
              <a:gd name="connsiteY0" fmla="*/ 90889 h 90889"/>
              <a:gd name="connsiteX1" fmla="*/ 0 w 83897"/>
              <a:gd name="connsiteY1" fmla="*/ 90889 h 90889"/>
              <a:gd name="connsiteX2" fmla="*/ 45445 w 83897"/>
              <a:gd name="connsiteY2" fmla="*/ 45445 h 90889"/>
              <a:gd name="connsiteX3" fmla="*/ 0 w 83897"/>
              <a:gd name="connsiteY3" fmla="*/ 0 h 90889"/>
              <a:gd name="connsiteX4" fmla="*/ 39618 w 83897"/>
              <a:gd name="connsiteY4" fmla="*/ 0 h 90889"/>
              <a:gd name="connsiteX5" fmla="*/ 83898 w 83897"/>
              <a:gd name="connsiteY5" fmla="*/ 44279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pPr rtl="0"/>
            <a:endParaRPr lang="en-US"/>
          </a:p>
        </p:txBody>
      </p:sp>
      <p:sp>
        <p:nvSpPr>
          <p:cNvPr id="106" name="Freihandform: Form 105">
            <a:extLst>
              <a:ext uri="{FF2B5EF4-FFF2-40B4-BE49-F238E27FC236}">
                <a16:creationId xmlns:a16="http://schemas.microsoft.com/office/drawing/2014/main" id="{9F04DFFC-EA40-46F4-8195-B5F7E353EE2A}"/>
              </a:ext>
            </a:extLst>
          </p:cNvPr>
          <p:cNvSpPr/>
          <p:nvPr/>
        </p:nvSpPr>
        <p:spPr>
          <a:xfrm>
            <a:off x="6294680" y="4194242"/>
            <a:ext cx="83897" cy="89724"/>
          </a:xfrm>
          <a:custGeom>
            <a:avLst/>
            <a:gdLst>
              <a:gd name="connsiteX0" fmla="*/ 38453 w 83897"/>
              <a:gd name="connsiteY0" fmla="*/ 89724 h 89724"/>
              <a:gd name="connsiteX1" fmla="*/ 0 w 83897"/>
              <a:gd name="connsiteY1" fmla="*/ 89724 h 89724"/>
              <a:gd name="connsiteX2" fmla="*/ 45445 w 83897"/>
              <a:gd name="connsiteY2" fmla="*/ 45445 h 89724"/>
              <a:gd name="connsiteX3" fmla="*/ 0 w 83897"/>
              <a:gd name="connsiteY3" fmla="*/ 0 h 89724"/>
              <a:gd name="connsiteX4" fmla="*/ 39618 w 83897"/>
              <a:gd name="connsiteY4" fmla="*/ 0 h 89724"/>
              <a:gd name="connsiteX5" fmla="*/ 83898 w 83897"/>
              <a:gd name="connsiteY5" fmla="*/ 44279 h 89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89724">
                <a:moveTo>
                  <a:pt x="38453" y="89724"/>
                </a:moveTo>
                <a:lnTo>
                  <a:pt x="0" y="89724"/>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pPr rtl="0"/>
            <a:endParaRPr lang="en-US"/>
          </a:p>
        </p:txBody>
      </p:sp>
      <p:sp>
        <p:nvSpPr>
          <p:cNvPr id="139" name="Freihandform: Form 138">
            <a:extLst>
              <a:ext uri="{FF2B5EF4-FFF2-40B4-BE49-F238E27FC236}">
                <a16:creationId xmlns:a16="http://schemas.microsoft.com/office/drawing/2014/main" id="{5362CBB1-E50A-41B7-8ED0-9FCFE213E9A5}"/>
              </a:ext>
            </a:extLst>
          </p:cNvPr>
          <p:cNvSpPr/>
          <p:nvPr/>
        </p:nvSpPr>
        <p:spPr>
          <a:xfrm>
            <a:off x="6294680" y="4903878"/>
            <a:ext cx="83897" cy="89724"/>
          </a:xfrm>
          <a:custGeom>
            <a:avLst/>
            <a:gdLst>
              <a:gd name="connsiteX0" fmla="*/ 38453 w 83897"/>
              <a:gd name="connsiteY0" fmla="*/ 89724 h 89724"/>
              <a:gd name="connsiteX1" fmla="*/ 0 w 83897"/>
              <a:gd name="connsiteY1" fmla="*/ 89724 h 89724"/>
              <a:gd name="connsiteX2" fmla="*/ 45445 w 83897"/>
              <a:gd name="connsiteY2" fmla="*/ 45445 h 89724"/>
              <a:gd name="connsiteX3" fmla="*/ 0 w 83897"/>
              <a:gd name="connsiteY3" fmla="*/ 0 h 89724"/>
              <a:gd name="connsiteX4" fmla="*/ 39618 w 83897"/>
              <a:gd name="connsiteY4" fmla="*/ 0 h 89724"/>
              <a:gd name="connsiteX5" fmla="*/ 83898 w 83897"/>
              <a:gd name="connsiteY5" fmla="*/ 44279 h 89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89724">
                <a:moveTo>
                  <a:pt x="38453" y="89724"/>
                </a:moveTo>
                <a:lnTo>
                  <a:pt x="0" y="89724"/>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pPr rtl="0"/>
            <a:endParaRPr lang="en-US"/>
          </a:p>
        </p:txBody>
      </p:sp>
      <p:sp>
        <p:nvSpPr>
          <p:cNvPr id="156" name="Freihandform: Form 155">
            <a:extLst>
              <a:ext uri="{FF2B5EF4-FFF2-40B4-BE49-F238E27FC236}">
                <a16:creationId xmlns:a16="http://schemas.microsoft.com/office/drawing/2014/main" id="{2508847B-61E4-41D1-A3A0-A411189F6767}"/>
              </a:ext>
            </a:extLst>
          </p:cNvPr>
          <p:cNvSpPr/>
          <p:nvPr/>
        </p:nvSpPr>
        <p:spPr>
          <a:xfrm>
            <a:off x="6294680" y="5258113"/>
            <a:ext cx="83897" cy="90889"/>
          </a:xfrm>
          <a:custGeom>
            <a:avLst/>
            <a:gdLst>
              <a:gd name="connsiteX0" fmla="*/ 38453 w 83897"/>
              <a:gd name="connsiteY0" fmla="*/ 90889 h 90889"/>
              <a:gd name="connsiteX1" fmla="*/ 0 w 83897"/>
              <a:gd name="connsiteY1" fmla="*/ 90889 h 90889"/>
              <a:gd name="connsiteX2" fmla="*/ 45445 w 83897"/>
              <a:gd name="connsiteY2" fmla="*/ 45445 h 90889"/>
              <a:gd name="connsiteX3" fmla="*/ 0 w 83897"/>
              <a:gd name="connsiteY3" fmla="*/ 0 h 90889"/>
              <a:gd name="connsiteX4" fmla="*/ 39618 w 83897"/>
              <a:gd name="connsiteY4" fmla="*/ 0 h 90889"/>
              <a:gd name="connsiteX5" fmla="*/ 83898 w 83897"/>
              <a:gd name="connsiteY5" fmla="*/ 44279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pPr rtl="0"/>
            <a:endParaRPr lang="en-US"/>
          </a:p>
        </p:txBody>
      </p:sp>
      <p:sp>
        <p:nvSpPr>
          <p:cNvPr id="173" name="Freihandform: Form 172">
            <a:extLst>
              <a:ext uri="{FF2B5EF4-FFF2-40B4-BE49-F238E27FC236}">
                <a16:creationId xmlns:a16="http://schemas.microsoft.com/office/drawing/2014/main" id="{E2A7CA26-A6FF-4830-89D6-0AE49ECECB52}"/>
              </a:ext>
            </a:extLst>
          </p:cNvPr>
          <p:cNvSpPr/>
          <p:nvPr/>
        </p:nvSpPr>
        <p:spPr>
          <a:xfrm>
            <a:off x="6294680" y="5613514"/>
            <a:ext cx="83897" cy="90889"/>
          </a:xfrm>
          <a:custGeom>
            <a:avLst/>
            <a:gdLst>
              <a:gd name="connsiteX0" fmla="*/ 38453 w 83897"/>
              <a:gd name="connsiteY0" fmla="*/ 90889 h 90889"/>
              <a:gd name="connsiteX1" fmla="*/ 0 w 83897"/>
              <a:gd name="connsiteY1" fmla="*/ 90889 h 90889"/>
              <a:gd name="connsiteX2" fmla="*/ 45445 w 83897"/>
              <a:gd name="connsiteY2" fmla="*/ 45445 h 90889"/>
              <a:gd name="connsiteX3" fmla="*/ 0 w 83897"/>
              <a:gd name="connsiteY3" fmla="*/ 0 h 90889"/>
              <a:gd name="connsiteX4" fmla="*/ 39618 w 83897"/>
              <a:gd name="connsiteY4" fmla="*/ 0 h 90889"/>
              <a:gd name="connsiteX5" fmla="*/ 83898 w 83897"/>
              <a:gd name="connsiteY5" fmla="*/ 44279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pPr rtl="0"/>
            <a:endParaRPr lang="en-US"/>
          </a:p>
        </p:txBody>
      </p:sp>
      <p:sp>
        <p:nvSpPr>
          <p:cNvPr id="190" name="Freihandform: Form 189">
            <a:extLst>
              <a:ext uri="{FF2B5EF4-FFF2-40B4-BE49-F238E27FC236}">
                <a16:creationId xmlns:a16="http://schemas.microsoft.com/office/drawing/2014/main" id="{0D910AA1-D94C-4927-9F7F-6AE33C84B359}"/>
              </a:ext>
            </a:extLst>
          </p:cNvPr>
          <p:cNvSpPr/>
          <p:nvPr/>
        </p:nvSpPr>
        <p:spPr>
          <a:xfrm>
            <a:off x="6294680" y="5967749"/>
            <a:ext cx="83897" cy="90889"/>
          </a:xfrm>
          <a:custGeom>
            <a:avLst/>
            <a:gdLst>
              <a:gd name="connsiteX0" fmla="*/ 38453 w 83897"/>
              <a:gd name="connsiteY0" fmla="*/ 90889 h 90889"/>
              <a:gd name="connsiteX1" fmla="*/ 0 w 83897"/>
              <a:gd name="connsiteY1" fmla="*/ 90889 h 90889"/>
              <a:gd name="connsiteX2" fmla="*/ 45445 w 83897"/>
              <a:gd name="connsiteY2" fmla="*/ 46610 h 90889"/>
              <a:gd name="connsiteX3" fmla="*/ 0 w 83897"/>
              <a:gd name="connsiteY3" fmla="*/ 0 h 90889"/>
              <a:gd name="connsiteX4" fmla="*/ 39618 w 83897"/>
              <a:gd name="connsiteY4" fmla="*/ 0 h 90889"/>
              <a:gd name="connsiteX5" fmla="*/ 83898 w 83897"/>
              <a:gd name="connsiteY5" fmla="*/ 45445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6610"/>
                </a:lnTo>
                <a:lnTo>
                  <a:pt x="0" y="0"/>
                </a:lnTo>
                <a:lnTo>
                  <a:pt x="39618" y="0"/>
                </a:lnTo>
                <a:lnTo>
                  <a:pt x="83898" y="45445"/>
                </a:lnTo>
                <a:close/>
              </a:path>
            </a:pathLst>
          </a:custGeom>
          <a:solidFill>
            <a:srgbClr val="EEF2F5"/>
          </a:solidFill>
          <a:ln w="11643" cap="flat">
            <a:noFill/>
            <a:prstDash val="solid"/>
            <a:miter/>
          </a:ln>
        </p:spPr>
        <p:txBody>
          <a:bodyPr rtlCol="0" anchor="ctr"/>
          <a:lstStyle/>
          <a:p>
            <a:pPr rtl="0"/>
            <a:endParaRPr lang="en-US"/>
          </a:p>
        </p:txBody>
      </p:sp>
      <p:sp>
        <p:nvSpPr>
          <p:cNvPr id="207" name="Freihandform: Form 206">
            <a:extLst>
              <a:ext uri="{FF2B5EF4-FFF2-40B4-BE49-F238E27FC236}">
                <a16:creationId xmlns:a16="http://schemas.microsoft.com/office/drawing/2014/main" id="{21DCF3C4-698C-4A65-960C-FC9526795073}"/>
              </a:ext>
            </a:extLst>
          </p:cNvPr>
          <p:cNvSpPr/>
          <p:nvPr/>
        </p:nvSpPr>
        <p:spPr>
          <a:xfrm>
            <a:off x="6294680" y="6323150"/>
            <a:ext cx="83897" cy="90889"/>
          </a:xfrm>
          <a:custGeom>
            <a:avLst/>
            <a:gdLst>
              <a:gd name="connsiteX0" fmla="*/ 38453 w 83897"/>
              <a:gd name="connsiteY0" fmla="*/ 90889 h 90889"/>
              <a:gd name="connsiteX1" fmla="*/ 0 w 83897"/>
              <a:gd name="connsiteY1" fmla="*/ 90889 h 90889"/>
              <a:gd name="connsiteX2" fmla="*/ 45445 w 83897"/>
              <a:gd name="connsiteY2" fmla="*/ 45445 h 90889"/>
              <a:gd name="connsiteX3" fmla="*/ 0 w 83897"/>
              <a:gd name="connsiteY3" fmla="*/ 0 h 90889"/>
              <a:gd name="connsiteX4" fmla="*/ 39618 w 83897"/>
              <a:gd name="connsiteY4" fmla="*/ 0 h 90889"/>
              <a:gd name="connsiteX5" fmla="*/ 83898 w 83897"/>
              <a:gd name="connsiteY5" fmla="*/ 44279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pPr rtl="0"/>
            <a:endParaRPr lang="en-US"/>
          </a:p>
        </p:txBody>
      </p:sp>
      <p:sp>
        <p:nvSpPr>
          <p:cNvPr id="223" name="Freihandform: Form 222">
            <a:extLst>
              <a:ext uri="{FF2B5EF4-FFF2-40B4-BE49-F238E27FC236}">
                <a16:creationId xmlns:a16="http://schemas.microsoft.com/office/drawing/2014/main" id="{E38105B6-8D3F-48F3-9F5F-2328382B7C38}"/>
              </a:ext>
            </a:extLst>
          </p:cNvPr>
          <p:cNvSpPr/>
          <p:nvPr/>
        </p:nvSpPr>
        <p:spPr>
          <a:xfrm>
            <a:off x="6294680" y="6677385"/>
            <a:ext cx="83897" cy="90889"/>
          </a:xfrm>
          <a:custGeom>
            <a:avLst/>
            <a:gdLst>
              <a:gd name="connsiteX0" fmla="*/ 38453 w 83897"/>
              <a:gd name="connsiteY0" fmla="*/ 90889 h 90889"/>
              <a:gd name="connsiteX1" fmla="*/ 0 w 83897"/>
              <a:gd name="connsiteY1" fmla="*/ 90889 h 90889"/>
              <a:gd name="connsiteX2" fmla="*/ 45445 w 83897"/>
              <a:gd name="connsiteY2" fmla="*/ 46610 h 90889"/>
              <a:gd name="connsiteX3" fmla="*/ 0 w 83897"/>
              <a:gd name="connsiteY3" fmla="*/ 0 h 90889"/>
              <a:gd name="connsiteX4" fmla="*/ 39618 w 83897"/>
              <a:gd name="connsiteY4" fmla="*/ 0 h 90889"/>
              <a:gd name="connsiteX5" fmla="*/ 83898 w 83897"/>
              <a:gd name="connsiteY5" fmla="*/ 45445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6610"/>
                </a:lnTo>
                <a:lnTo>
                  <a:pt x="0" y="0"/>
                </a:lnTo>
                <a:lnTo>
                  <a:pt x="39618" y="0"/>
                </a:lnTo>
                <a:lnTo>
                  <a:pt x="83898" y="45445"/>
                </a:lnTo>
                <a:close/>
              </a:path>
            </a:pathLst>
          </a:custGeom>
          <a:solidFill>
            <a:srgbClr val="EEF2F5"/>
          </a:solidFill>
          <a:ln w="11643" cap="flat">
            <a:noFill/>
            <a:prstDash val="solid"/>
            <a:miter/>
          </a:ln>
        </p:spPr>
        <p:txBody>
          <a:bodyPr rtlCol="0" anchor="ctr"/>
          <a:lstStyle/>
          <a:p>
            <a:pPr rtl="0"/>
            <a:endParaRPr lang="en-US"/>
          </a:p>
        </p:txBody>
      </p:sp>
      <p:sp>
        <p:nvSpPr>
          <p:cNvPr id="12" name="Freihandform: Form 11">
            <a:extLst>
              <a:ext uri="{FF2B5EF4-FFF2-40B4-BE49-F238E27FC236}">
                <a16:creationId xmlns:a16="http://schemas.microsoft.com/office/drawing/2014/main" id="{583AB347-5EFD-45EC-837F-436640EC31BF}"/>
              </a:ext>
            </a:extLst>
          </p:cNvPr>
          <p:cNvSpPr/>
          <p:nvPr/>
        </p:nvSpPr>
        <p:spPr>
          <a:xfrm>
            <a:off x="6641924" y="2056012"/>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3601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pPr rtl="0"/>
            <a:endParaRPr lang="en-US"/>
          </a:p>
        </p:txBody>
      </p:sp>
      <p:sp>
        <p:nvSpPr>
          <p:cNvPr id="27" name="Freihandform: Form 26">
            <a:extLst>
              <a:ext uri="{FF2B5EF4-FFF2-40B4-BE49-F238E27FC236}">
                <a16:creationId xmlns:a16="http://schemas.microsoft.com/office/drawing/2014/main" id="{2C9F6191-45F4-4549-838F-728D0F86DCCC}"/>
              </a:ext>
            </a:extLst>
          </p:cNvPr>
          <p:cNvSpPr/>
          <p:nvPr/>
        </p:nvSpPr>
        <p:spPr>
          <a:xfrm>
            <a:off x="6641924" y="2410247"/>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3601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pPr rtl="0"/>
            <a:endParaRPr lang="en-US"/>
          </a:p>
        </p:txBody>
      </p:sp>
      <p:sp>
        <p:nvSpPr>
          <p:cNvPr id="43" name="Freihandform: Form 42">
            <a:extLst>
              <a:ext uri="{FF2B5EF4-FFF2-40B4-BE49-F238E27FC236}">
                <a16:creationId xmlns:a16="http://schemas.microsoft.com/office/drawing/2014/main" id="{58997C67-D006-44A2-AD3D-33F34BD464B4}"/>
              </a:ext>
            </a:extLst>
          </p:cNvPr>
          <p:cNvSpPr/>
          <p:nvPr/>
        </p:nvSpPr>
        <p:spPr>
          <a:xfrm>
            <a:off x="6641924" y="2765648"/>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3601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pPr rtl="0"/>
            <a:endParaRPr lang="en-US"/>
          </a:p>
        </p:txBody>
      </p:sp>
      <p:sp>
        <p:nvSpPr>
          <p:cNvPr id="59" name="Freihandform: Form 58">
            <a:extLst>
              <a:ext uri="{FF2B5EF4-FFF2-40B4-BE49-F238E27FC236}">
                <a16:creationId xmlns:a16="http://schemas.microsoft.com/office/drawing/2014/main" id="{C4E89A45-8CD6-4F72-A3FF-464AD5125F97}"/>
              </a:ext>
            </a:extLst>
          </p:cNvPr>
          <p:cNvSpPr/>
          <p:nvPr/>
        </p:nvSpPr>
        <p:spPr>
          <a:xfrm>
            <a:off x="6641924" y="3119883"/>
            <a:ext cx="100211" cy="109533"/>
          </a:xfrm>
          <a:custGeom>
            <a:avLst/>
            <a:gdLst>
              <a:gd name="connsiteX0" fmla="*/ 45445 w 100211"/>
              <a:gd name="connsiteY0" fmla="*/ 109533 h 109533"/>
              <a:gd name="connsiteX1" fmla="*/ 0 w 100211"/>
              <a:gd name="connsiteY1" fmla="*/ 109533 h 109533"/>
              <a:gd name="connsiteX2" fmla="*/ 53601 w 100211"/>
              <a:gd name="connsiteY2" fmla="*/ 54767 h 109533"/>
              <a:gd name="connsiteX3" fmla="*/ 0 w 100211"/>
              <a:gd name="connsiteY3" fmla="*/ 0 h 109533"/>
              <a:gd name="connsiteX4" fmla="*/ 46610 w 100211"/>
              <a:gd name="connsiteY4" fmla="*/ 0 h 109533"/>
              <a:gd name="connsiteX5" fmla="*/ 100211 w 100211"/>
              <a:gd name="connsiteY5" fmla="*/ 53601 h 109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9533">
                <a:moveTo>
                  <a:pt x="45445" y="109533"/>
                </a:moveTo>
                <a:lnTo>
                  <a:pt x="0" y="109533"/>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pPr rtl="0"/>
            <a:endParaRPr lang="en-US"/>
          </a:p>
        </p:txBody>
      </p:sp>
      <p:sp>
        <p:nvSpPr>
          <p:cNvPr id="75" name="Freihandform: Form 74">
            <a:extLst>
              <a:ext uri="{FF2B5EF4-FFF2-40B4-BE49-F238E27FC236}">
                <a16:creationId xmlns:a16="http://schemas.microsoft.com/office/drawing/2014/main" id="{B9D7B804-0A3A-4555-AA49-BAAC4D841F25}"/>
              </a:ext>
            </a:extLst>
          </p:cNvPr>
          <p:cNvSpPr/>
          <p:nvPr/>
        </p:nvSpPr>
        <p:spPr>
          <a:xfrm>
            <a:off x="6641924" y="3475284"/>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3601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pPr rtl="0"/>
            <a:endParaRPr lang="en-US"/>
          </a:p>
        </p:txBody>
      </p:sp>
      <p:sp>
        <p:nvSpPr>
          <p:cNvPr id="91" name="Freihandform: Form 90">
            <a:extLst>
              <a:ext uri="{FF2B5EF4-FFF2-40B4-BE49-F238E27FC236}">
                <a16:creationId xmlns:a16="http://schemas.microsoft.com/office/drawing/2014/main" id="{E186CBFA-7613-4BC9-8990-21E472FC7476}"/>
              </a:ext>
            </a:extLst>
          </p:cNvPr>
          <p:cNvSpPr/>
          <p:nvPr/>
        </p:nvSpPr>
        <p:spPr>
          <a:xfrm>
            <a:off x="6641924" y="3829519"/>
            <a:ext cx="100211" cy="109533"/>
          </a:xfrm>
          <a:custGeom>
            <a:avLst/>
            <a:gdLst>
              <a:gd name="connsiteX0" fmla="*/ 45445 w 100211"/>
              <a:gd name="connsiteY0" fmla="*/ 109533 h 109533"/>
              <a:gd name="connsiteX1" fmla="*/ 0 w 100211"/>
              <a:gd name="connsiteY1" fmla="*/ 109533 h 109533"/>
              <a:gd name="connsiteX2" fmla="*/ 53601 w 100211"/>
              <a:gd name="connsiteY2" fmla="*/ 54767 h 109533"/>
              <a:gd name="connsiteX3" fmla="*/ 0 w 100211"/>
              <a:gd name="connsiteY3" fmla="*/ 0 h 109533"/>
              <a:gd name="connsiteX4" fmla="*/ 46610 w 100211"/>
              <a:gd name="connsiteY4" fmla="*/ 0 h 109533"/>
              <a:gd name="connsiteX5" fmla="*/ 100211 w 100211"/>
              <a:gd name="connsiteY5" fmla="*/ 53601 h 109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9533">
                <a:moveTo>
                  <a:pt x="45445" y="109533"/>
                </a:moveTo>
                <a:lnTo>
                  <a:pt x="0" y="109533"/>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pPr rtl="0"/>
            <a:endParaRPr lang="en-US"/>
          </a:p>
        </p:txBody>
      </p:sp>
      <p:sp>
        <p:nvSpPr>
          <p:cNvPr id="107" name="Freihandform: Form 106">
            <a:extLst>
              <a:ext uri="{FF2B5EF4-FFF2-40B4-BE49-F238E27FC236}">
                <a16:creationId xmlns:a16="http://schemas.microsoft.com/office/drawing/2014/main" id="{431E1B18-1EEB-4090-9700-F9FE3C0FED51}"/>
              </a:ext>
            </a:extLst>
          </p:cNvPr>
          <p:cNvSpPr/>
          <p:nvPr/>
        </p:nvSpPr>
        <p:spPr>
          <a:xfrm>
            <a:off x="6641924" y="4184920"/>
            <a:ext cx="100211" cy="108367"/>
          </a:xfrm>
          <a:custGeom>
            <a:avLst/>
            <a:gdLst>
              <a:gd name="connsiteX0" fmla="*/ 45445 w 100211"/>
              <a:gd name="connsiteY0" fmla="*/ 108368 h 108367"/>
              <a:gd name="connsiteX1" fmla="*/ 0 w 100211"/>
              <a:gd name="connsiteY1" fmla="*/ 108368 h 108367"/>
              <a:gd name="connsiteX2" fmla="*/ 53601 w 100211"/>
              <a:gd name="connsiteY2" fmla="*/ 54767 h 108367"/>
              <a:gd name="connsiteX3" fmla="*/ 0 w 100211"/>
              <a:gd name="connsiteY3" fmla="*/ 0 h 108367"/>
              <a:gd name="connsiteX4" fmla="*/ 46610 w 100211"/>
              <a:gd name="connsiteY4" fmla="*/ 0 h 108367"/>
              <a:gd name="connsiteX5" fmla="*/ 100211 w 100211"/>
              <a:gd name="connsiteY5" fmla="*/ 53601 h 108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7">
                <a:moveTo>
                  <a:pt x="45445" y="108368"/>
                </a:moveTo>
                <a:lnTo>
                  <a:pt x="0" y="108368"/>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pPr rtl="0"/>
            <a:endParaRPr lang="en-US"/>
          </a:p>
        </p:txBody>
      </p:sp>
      <p:sp>
        <p:nvSpPr>
          <p:cNvPr id="123" name="Freihandform: Form 122">
            <a:extLst>
              <a:ext uri="{FF2B5EF4-FFF2-40B4-BE49-F238E27FC236}">
                <a16:creationId xmlns:a16="http://schemas.microsoft.com/office/drawing/2014/main" id="{DC2F5F31-D8DD-48D9-A875-60890175F7E1}"/>
              </a:ext>
            </a:extLst>
          </p:cNvPr>
          <p:cNvSpPr/>
          <p:nvPr/>
        </p:nvSpPr>
        <p:spPr>
          <a:xfrm>
            <a:off x="6641924" y="4539155"/>
            <a:ext cx="100211" cy="109533"/>
          </a:xfrm>
          <a:custGeom>
            <a:avLst/>
            <a:gdLst>
              <a:gd name="connsiteX0" fmla="*/ 45445 w 100211"/>
              <a:gd name="connsiteY0" fmla="*/ 109533 h 109533"/>
              <a:gd name="connsiteX1" fmla="*/ 0 w 100211"/>
              <a:gd name="connsiteY1" fmla="*/ 109533 h 109533"/>
              <a:gd name="connsiteX2" fmla="*/ 53601 w 100211"/>
              <a:gd name="connsiteY2" fmla="*/ 54767 h 109533"/>
              <a:gd name="connsiteX3" fmla="*/ 0 w 100211"/>
              <a:gd name="connsiteY3" fmla="*/ 0 h 109533"/>
              <a:gd name="connsiteX4" fmla="*/ 46610 w 100211"/>
              <a:gd name="connsiteY4" fmla="*/ 0 h 109533"/>
              <a:gd name="connsiteX5" fmla="*/ 100211 w 100211"/>
              <a:gd name="connsiteY5" fmla="*/ 53601 h 109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9533">
                <a:moveTo>
                  <a:pt x="45445" y="109533"/>
                </a:moveTo>
                <a:lnTo>
                  <a:pt x="0" y="109533"/>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pPr rtl="0"/>
            <a:endParaRPr lang="en-US"/>
          </a:p>
        </p:txBody>
      </p:sp>
      <p:sp>
        <p:nvSpPr>
          <p:cNvPr id="140" name="Freihandform: Form 139">
            <a:extLst>
              <a:ext uri="{FF2B5EF4-FFF2-40B4-BE49-F238E27FC236}">
                <a16:creationId xmlns:a16="http://schemas.microsoft.com/office/drawing/2014/main" id="{76442F10-6EC9-4E34-AAE4-0D75456E4698}"/>
              </a:ext>
            </a:extLst>
          </p:cNvPr>
          <p:cNvSpPr/>
          <p:nvPr/>
        </p:nvSpPr>
        <p:spPr>
          <a:xfrm>
            <a:off x="6641924" y="4894556"/>
            <a:ext cx="100211" cy="108367"/>
          </a:xfrm>
          <a:custGeom>
            <a:avLst/>
            <a:gdLst>
              <a:gd name="connsiteX0" fmla="*/ 45445 w 100211"/>
              <a:gd name="connsiteY0" fmla="*/ 108368 h 108367"/>
              <a:gd name="connsiteX1" fmla="*/ 0 w 100211"/>
              <a:gd name="connsiteY1" fmla="*/ 108368 h 108367"/>
              <a:gd name="connsiteX2" fmla="*/ 53601 w 100211"/>
              <a:gd name="connsiteY2" fmla="*/ 54767 h 108367"/>
              <a:gd name="connsiteX3" fmla="*/ 0 w 100211"/>
              <a:gd name="connsiteY3" fmla="*/ 0 h 108367"/>
              <a:gd name="connsiteX4" fmla="*/ 46610 w 100211"/>
              <a:gd name="connsiteY4" fmla="*/ 0 h 108367"/>
              <a:gd name="connsiteX5" fmla="*/ 100211 w 100211"/>
              <a:gd name="connsiteY5" fmla="*/ 53601 h 108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7">
                <a:moveTo>
                  <a:pt x="45445" y="108368"/>
                </a:moveTo>
                <a:lnTo>
                  <a:pt x="0" y="108368"/>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pPr rtl="0"/>
            <a:endParaRPr lang="en-US"/>
          </a:p>
        </p:txBody>
      </p:sp>
      <p:sp>
        <p:nvSpPr>
          <p:cNvPr id="157" name="Freihandform: Form 156">
            <a:extLst>
              <a:ext uri="{FF2B5EF4-FFF2-40B4-BE49-F238E27FC236}">
                <a16:creationId xmlns:a16="http://schemas.microsoft.com/office/drawing/2014/main" id="{3F3DF7DA-74D8-4504-A71D-F774354EAB93}"/>
              </a:ext>
            </a:extLst>
          </p:cNvPr>
          <p:cNvSpPr/>
          <p:nvPr/>
        </p:nvSpPr>
        <p:spPr>
          <a:xfrm>
            <a:off x="6641924" y="5249956"/>
            <a:ext cx="100211" cy="108367"/>
          </a:xfrm>
          <a:custGeom>
            <a:avLst/>
            <a:gdLst>
              <a:gd name="connsiteX0" fmla="*/ 45445 w 100211"/>
              <a:gd name="connsiteY0" fmla="*/ 108368 h 108367"/>
              <a:gd name="connsiteX1" fmla="*/ 0 w 100211"/>
              <a:gd name="connsiteY1" fmla="*/ 108368 h 108367"/>
              <a:gd name="connsiteX2" fmla="*/ 53601 w 100211"/>
              <a:gd name="connsiteY2" fmla="*/ 54767 h 108367"/>
              <a:gd name="connsiteX3" fmla="*/ 0 w 100211"/>
              <a:gd name="connsiteY3" fmla="*/ 0 h 108367"/>
              <a:gd name="connsiteX4" fmla="*/ 46610 w 100211"/>
              <a:gd name="connsiteY4" fmla="*/ 0 h 108367"/>
              <a:gd name="connsiteX5" fmla="*/ 100211 w 100211"/>
              <a:gd name="connsiteY5" fmla="*/ 52436 h 108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7">
                <a:moveTo>
                  <a:pt x="45445" y="108368"/>
                </a:moveTo>
                <a:lnTo>
                  <a:pt x="0" y="108368"/>
                </a:lnTo>
                <a:lnTo>
                  <a:pt x="53601" y="54767"/>
                </a:lnTo>
                <a:lnTo>
                  <a:pt x="0" y="0"/>
                </a:lnTo>
                <a:lnTo>
                  <a:pt x="46610" y="0"/>
                </a:lnTo>
                <a:lnTo>
                  <a:pt x="100211" y="52436"/>
                </a:lnTo>
                <a:close/>
              </a:path>
            </a:pathLst>
          </a:custGeom>
          <a:solidFill>
            <a:srgbClr val="EEF2F5"/>
          </a:solidFill>
          <a:ln w="11643" cap="flat">
            <a:noFill/>
            <a:prstDash val="solid"/>
            <a:miter/>
          </a:ln>
        </p:spPr>
        <p:txBody>
          <a:bodyPr rtlCol="0" anchor="ctr"/>
          <a:lstStyle/>
          <a:p>
            <a:pPr rtl="0"/>
            <a:endParaRPr lang="en-US"/>
          </a:p>
        </p:txBody>
      </p:sp>
      <p:sp>
        <p:nvSpPr>
          <p:cNvPr id="174" name="Freihandform: Form 173">
            <a:extLst>
              <a:ext uri="{FF2B5EF4-FFF2-40B4-BE49-F238E27FC236}">
                <a16:creationId xmlns:a16="http://schemas.microsoft.com/office/drawing/2014/main" id="{89F7D4C0-B771-4BD2-8BB9-46691BD63CD6}"/>
              </a:ext>
            </a:extLst>
          </p:cNvPr>
          <p:cNvSpPr/>
          <p:nvPr/>
        </p:nvSpPr>
        <p:spPr>
          <a:xfrm>
            <a:off x="6641924" y="5604192"/>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3601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pPr rtl="0"/>
            <a:endParaRPr lang="en-US"/>
          </a:p>
        </p:txBody>
      </p:sp>
      <p:sp>
        <p:nvSpPr>
          <p:cNvPr id="191" name="Freihandform: Form 190">
            <a:extLst>
              <a:ext uri="{FF2B5EF4-FFF2-40B4-BE49-F238E27FC236}">
                <a16:creationId xmlns:a16="http://schemas.microsoft.com/office/drawing/2014/main" id="{5A593B9A-6E44-429E-AEBA-35E20D56B0CE}"/>
              </a:ext>
            </a:extLst>
          </p:cNvPr>
          <p:cNvSpPr/>
          <p:nvPr/>
        </p:nvSpPr>
        <p:spPr>
          <a:xfrm>
            <a:off x="6641924" y="5959592"/>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2436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2436"/>
                </a:lnTo>
                <a:close/>
              </a:path>
            </a:pathLst>
          </a:custGeom>
          <a:solidFill>
            <a:srgbClr val="EEF2F5"/>
          </a:solidFill>
          <a:ln w="11643" cap="flat">
            <a:noFill/>
            <a:prstDash val="solid"/>
            <a:miter/>
          </a:ln>
        </p:spPr>
        <p:txBody>
          <a:bodyPr rtlCol="0" anchor="ctr"/>
          <a:lstStyle/>
          <a:p>
            <a:pPr rtl="0"/>
            <a:endParaRPr lang="en-US"/>
          </a:p>
        </p:txBody>
      </p:sp>
      <p:sp>
        <p:nvSpPr>
          <p:cNvPr id="208" name="Freihandform: Form 207">
            <a:extLst>
              <a:ext uri="{FF2B5EF4-FFF2-40B4-BE49-F238E27FC236}">
                <a16:creationId xmlns:a16="http://schemas.microsoft.com/office/drawing/2014/main" id="{DF218C48-5CF6-4B07-AF60-4DE0F6FD1BC1}"/>
              </a:ext>
            </a:extLst>
          </p:cNvPr>
          <p:cNvSpPr/>
          <p:nvPr/>
        </p:nvSpPr>
        <p:spPr>
          <a:xfrm>
            <a:off x="6641924" y="6313828"/>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3601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pPr rtl="0"/>
            <a:endParaRPr lang="en-US"/>
          </a:p>
        </p:txBody>
      </p:sp>
      <p:sp>
        <p:nvSpPr>
          <p:cNvPr id="224" name="Freihandform: Form 223">
            <a:extLst>
              <a:ext uri="{FF2B5EF4-FFF2-40B4-BE49-F238E27FC236}">
                <a16:creationId xmlns:a16="http://schemas.microsoft.com/office/drawing/2014/main" id="{AA5BC021-58DD-4FE3-BDC3-0802A56E539C}"/>
              </a:ext>
            </a:extLst>
          </p:cNvPr>
          <p:cNvSpPr/>
          <p:nvPr/>
        </p:nvSpPr>
        <p:spPr>
          <a:xfrm>
            <a:off x="6641924" y="6669228"/>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2436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2436"/>
                </a:lnTo>
                <a:close/>
              </a:path>
            </a:pathLst>
          </a:custGeom>
          <a:solidFill>
            <a:srgbClr val="EEF2F5"/>
          </a:solidFill>
          <a:ln w="11643" cap="flat">
            <a:noFill/>
            <a:prstDash val="solid"/>
            <a:miter/>
          </a:ln>
        </p:spPr>
        <p:txBody>
          <a:bodyPr rtlCol="0" anchor="ctr"/>
          <a:lstStyle/>
          <a:p>
            <a:pPr rtl="0"/>
            <a:endParaRPr lang="en-US"/>
          </a:p>
        </p:txBody>
      </p:sp>
      <p:sp>
        <p:nvSpPr>
          <p:cNvPr id="13" name="Freihandform: Form 12">
            <a:extLst>
              <a:ext uri="{FF2B5EF4-FFF2-40B4-BE49-F238E27FC236}">
                <a16:creationId xmlns:a16="http://schemas.microsoft.com/office/drawing/2014/main" id="{41B3CD6E-4668-431E-B52B-BEFAFA264BED}"/>
              </a:ext>
            </a:extLst>
          </p:cNvPr>
          <p:cNvSpPr/>
          <p:nvPr/>
        </p:nvSpPr>
        <p:spPr>
          <a:xfrm>
            <a:off x="6988003" y="2046690"/>
            <a:ext cx="117690" cy="127012"/>
          </a:xfrm>
          <a:custGeom>
            <a:avLst/>
            <a:gdLst>
              <a:gd name="connsiteX0" fmla="*/ 53601 w 117690"/>
              <a:gd name="connsiteY0" fmla="*/ 127012 h 127012"/>
              <a:gd name="connsiteX1" fmla="*/ 0 w 117690"/>
              <a:gd name="connsiteY1" fmla="*/ 127012 h 127012"/>
              <a:gd name="connsiteX2" fmla="*/ 62924 w 117690"/>
              <a:gd name="connsiteY2" fmla="*/ 64089 h 127012"/>
              <a:gd name="connsiteX3" fmla="*/ 0 w 117690"/>
              <a:gd name="connsiteY3" fmla="*/ 0 h 127012"/>
              <a:gd name="connsiteX4" fmla="*/ 54767 w 117690"/>
              <a:gd name="connsiteY4" fmla="*/ 0 h 127012"/>
              <a:gd name="connsiteX5" fmla="*/ 117690 w 117690"/>
              <a:gd name="connsiteY5" fmla="*/ 61758 h 12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2">
                <a:moveTo>
                  <a:pt x="53601" y="127012"/>
                </a:moveTo>
                <a:lnTo>
                  <a:pt x="0" y="127012"/>
                </a:lnTo>
                <a:lnTo>
                  <a:pt x="62924" y="64089"/>
                </a:lnTo>
                <a:lnTo>
                  <a:pt x="0" y="0"/>
                </a:lnTo>
                <a:lnTo>
                  <a:pt x="54767" y="0"/>
                </a:lnTo>
                <a:lnTo>
                  <a:pt x="117690" y="61758"/>
                </a:lnTo>
                <a:close/>
              </a:path>
            </a:pathLst>
          </a:custGeom>
          <a:solidFill>
            <a:srgbClr val="EEF2F5"/>
          </a:solidFill>
          <a:ln w="11643" cap="flat">
            <a:noFill/>
            <a:prstDash val="solid"/>
            <a:miter/>
          </a:ln>
        </p:spPr>
        <p:txBody>
          <a:bodyPr rtlCol="0" anchor="ctr"/>
          <a:lstStyle/>
          <a:p>
            <a:pPr rtl="0"/>
            <a:endParaRPr lang="en-US"/>
          </a:p>
        </p:txBody>
      </p:sp>
      <p:sp>
        <p:nvSpPr>
          <p:cNvPr id="28" name="Freihandform: Form 27">
            <a:extLst>
              <a:ext uri="{FF2B5EF4-FFF2-40B4-BE49-F238E27FC236}">
                <a16:creationId xmlns:a16="http://schemas.microsoft.com/office/drawing/2014/main" id="{44ADAD78-1959-4CDE-A14A-2F7982F10CE6}"/>
              </a:ext>
            </a:extLst>
          </p:cNvPr>
          <p:cNvSpPr/>
          <p:nvPr/>
        </p:nvSpPr>
        <p:spPr>
          <a:xfrm>
            <a:off x="6988003" y="2400925"/>
            <a:ext cx="117690" cy="127012"/>
          </a:xfrm>
          <a:custGeom>
            <a:avLst/>
            <a:gdLst>
              <a:gd name="connsiteX0" fmla="*/ 53601 w 117690"/>
              <a:gd name="connsiteY0" fmla="*/ 127012 h 127012"/>
              <a:gd name="connsiteX1" fmla="*/ 0 w 117690"/>
              <a:gd name="connsiteY1" fmla="*/ 127012 h 127012"/>
              <a:gd name="connsiteX2" fmla="*/ 62924 w 117690"/>
              <a:gd name="connsiteY2" fmla="*/ 64089 h 127012"/>
              <a:gd name="connsiteX3" fmla="*/ 0 w 117690"/>
              <a:gd name="connsiteY3" fmla="*/ 0 h 127012"/>
              <a:gd name="connsiteX4" fmla="*/ 54767 w 117690"/>
              <a:gd name="connsiteY4" fmla="*/ 0 h 127012"/>
              <a:gd name="connsiteX5" fmla="*/ 117690 w 117690"/>
              <a:gd name="connsiteY5" fmla="*/ 62923 h 12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2">
                <a:moveTo>
                  <a:pt x="53601" y="127012"/>
                </a:moveTo>
                <a:lnTo>
                  <a:pt x="0" y="127012"/>
                </a:lnTo>
                <a:lnTo>
                  <a:pt x="62924" y="64089"/>
                </a:lnTo>
                <a:lnTo>
                  <a:pt x="0" y="0"/>
                </a:lnTo>
                <a:lnTo>
                  <a:pt x="54767" y="0"/>
                </a:lnTo>
                <a:lnTo>
                  <a:pt x="117690" y="62923"/>
                </a:lnTo>
                <a:close/>
              </a:path>
            </a:pathLst>
          </a:custGeom>
          <a:solidFill>
            <a:srgbClr val="EEF2F5"/>
          </a:solidFill>
          <a:ln w="11643" cap="flat">
            <a:noFill/>
            <a:prstDash val="solid"/>
            <a:miter/>
          </a:ln>
        </p:spPr>
        <p:txBody>
          <a:bodyPr rtlCol="0" anchor="ctr"/>
          <a:lstStyle/>
          <a:p>
            <a:pPr rtl="0"/>
            <a:endParaRPr lang="en-US"/>
          </a:p>
        </p:txBody>
      </p:sp>
      <p:sp>
        <p:nvSpPr>
          <p:cNvPr id="44" name="Freihandform: Form 43">
            <a:extLst>
              <a:ext uri="{FF2B5EF4-FFF2-40B4-BE49-F238E27FC236}">
                <a16:creationId xmlns:a16="http://schemas.microsoft.com/office/drawing/2014/main" id="{187A0A4D-77CA-456F-91F4-F6F8704B8154}"/>
              </a:ext>
            </a:extLst>
          </p:cNvPr>
          <p:cNvSpPr/>
          <p:nvPr/>
        </p:nvSpPr>
        <p:spPr>
          <a:xfrm>
            <a:off x="6988003" y="2756326"/>
            <a:ext cx="117690" cy="127012"/>
          </a:xfrm>
          <a:custGeom>
            <a:avLst/>
            <a:gdLst>
              <a:gd name="connsiteX0" fmla="*/ 53601 w 117690"/>
              <a:gd name="connsiteY0" fmla="*/ 127012 h 127012"/>
              <a:gd name="connsiteX1" fmla="*/ 0 w 117690"/>
              <a:gd name="connsiteY1" fmla="*/ 127012 h 127012"/>
              <a:gd name="connsiteX2" fmla="*/ 62924 w 117690"/>
              <a:gd name="connsiteY2" fmla="*/ 64089 h 127012"/>
              <a:gd name="connsiteX3" fmla="*/ 0 w 117690"/>
              <a:gd name="connsiteY3" fmla="*/ 0 h 127012"/>
              <a:gd name="connsiteX4" fmla="*/ 54767 w 117690"/>
              <a:gd name="connsiteY4" fmla="*/ 0 h 127012"/>
              <a:gd name="connsiteX5" fmla="*/ 117690 w 117690"/>
              <a:gd name="connsiteY5" fmla="*/ 61758 h 12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2">
                <a:moveTo>
                  <a:pt x="53601" y="127012"/>
                </a:moveTo>
                <a:lnTo>
                  <a:pt x="0" y="127012"/>
                </a:lnTo>
                <a:lnTo>
                  <a:pt x="62924" y="64089"/>
                </a:lnTo>
                <a:lnTo>
                  <a:pt x="0" y="0"/>
                </a:lnTo>
                <a:lnTo>
                  <a:pt x="54767" y="0"/>
                </a:lnTo>
                <a:lnTo>
                  <a:pt x="117690" y="61758"/>
                </a:lnTo>
                <a:close/>
              </a:path>
            </a:pathLst>
          </a:custGeom>
          <a:solidFill>
            <a:srgbClr val="EEF2F5"/>
          </a:solidFill>
          <a:ln w="11643" cap="flat">
            <a:noFill/>
            <a:prstDash val="solid"/>
            <a:miter/>
          </a:ln>
        </p:spPr>
        <p:txBody>
          <a:bodyPr rtlCol="0" anchor="ctr"/>
          <a:lstStyle/>
          <a:p>
            <a:pPr rtl="0"/>
            <a:endParaRPr lang="en-US"/>
          </a:p>
        </p:txBody>
      </p:sp>
      <p:sp>
        <p:nvSpPr>
          <p:cNvPr id="60" name="Freihandform: Form 59">
            <a:extLst>
              <a:ext uri="{FF2B5EF4-FFF2-40B4-BE49-F238E27FC236}">
                <a16:creationId xmlns:a16="http://schemas.microsoft.com/office/drawing/2014/main" id="{CB07603B-B3CF-406B-8F49-C88DDBDF26D2}"/>
              </a:ext>
            </a:extLst>
          </p:cNvPr>
          <p:cNvSpPr/>
          <p:nvPr/>
        </p:nvSpPr>
        <p:spPr>
          <a:xfrm>
            <a:off x="6988003" y="3111726"/>
            <a:ext cx="117690" cy="125846"/>
          </a:xfrm>
          <a:custGeom>
            <a:avLst/>
            <a:gdLst>
              <a:gd name="connsiteX0" fmla="*/ 53601 w 117690"/>
              <a:gd name="connsiteY0" fmla="*/ 125847 h 125846"/>
              <a:gd name="connsiteX1" fmla="*/ 0 w 117690"/>
              <a:gd name="connsiteY1" fmla="*/ 125847 h 125846"/>
              <a:gd name="connsiteX2" fmla="*/ 62924 w 117690"/>
              <a:gd name="connsiteY2" fmla="*/ 62923 h 125846"/>
              <a:gd name="connsiteX3" fmla="*/ 0 w 117690"/>
              <a:gd name="connsiteY3" fmla="*/ 0 h 125846"/>
              <a:gd name="connsiteX4" fmla="*/ 54767 w 117690"/>
              <a:gd name="connsiteY4" fmla="*/ 0 h 125846"/>
              <a:gd name="connsiteX5" fmla="*/ 117690 w 117690"/>
              <a:gd name="connsiteY5" fmla="*/ 61758 h 125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5846">
                <a:moveTo>
                  <a:pt x="53601" y="125847"/>
                </a:moveTo>
                <a:lnTo>
                  <a:pt x="0" y="125847"/>
                </a:lnTo>
                <a:lnTo>
                  <a:pt x="62924" y="62923"/>
                </a:lnTo>
                <a:lnTo>
                  <a:pt x="0" y="0"/>
                </a:lnTo>
                <a:lnTo>
                  <a:pt x="54767" y="0"/>
                </a:lnTo>
                <a:lnTo>
                  <a:pt x="117690" y="61758"/>
                </a:lnTo>
                <a:close/>
              </a:path>
            </a:pathLst>
          </a:custGeom>
          <a:solidFill>
            <a:srgbClr val="EEF2F5"/>
          </a:solidFill>
          <a:ln w="11643" cap="flat">
            <a:noFill/>
            <a:prstDash val="solid"/>
            <a:miter/>
          </a:ln>
        </p:spPr>
        <p:txBody>
          <a:bodyPr rtlCol="0" anchor="ctr"/>
          <a:lstStyle/>
          <a:p>
            <a:pPr rtl="0"/>
            <a:endParaRPr lang="en-US"/>
          </a:p>
        </p:txBody>
      </p:sp>
      <p:sp>
        <p:nvSpPr>
          <p:cNvPr id="76" name="Freihandform: Form 75">
            <a:extLst>
              <a:ext uri="{FF2B5EF4-FFF2-40B4-BE49-F238E27FC236}">
                <a16:creationId xmlns:a16="http://schemas.microsoft.com/office/drawing/2014/main" id="{C87C0BBB-E201-45AD-A8CC-B6DF36C9BFCA}"/>
              </a:ext>
            </a:extLst>
          </p:cNvPr>
          <p:cNvSpPr/>
          <p:nvPr/>
        </p:nvSpPr>
        <p:spPr>
          <a:xfrm>
            <a:off x="6988003" y="3465962"/>
            <a:ext cx="117690" cy="127012"/>
          </a:xfrm>
          <a:custGeom>
            <a:avLst/>
            <a:gdLst>
              <a:gd name="connsiteX0" fmla="*/ 53601 w 117690"/>
              <a:gd name="connsiteY0" fmla="*/ 127012 h 127012"/>
              <a:gd name="connsiteX1" fmla="*/ 0 w 117690"/>
              <a:gd name="connsiteY1" fmla="*/ 127012 h 127012"/>
              <a:gd name="connsiteX2" fmla="*/ 62924 w 117690"/>
              <a:gd name="connsiteY2" fmla="*/ 64089 h 127012"/>
              <a:gd name="connsiteX3" fmla="*/ 0 w 117690"/>
              <a:gd name="connsiteY3" fmla="*/ 0 h 127012"/>
              <a:gd name="connsiteX4" fmla="*/ 54767 w 117690"/>
              <a:gd name="connsiteY4" fmla="*/ 0 h 127012"/>
              <a:gd name="connsiteX5" fmla="*/ 117690 w 117690"/>
              <a:gd name="connsiteY5" fmla="*/ 62923 h 12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2">
                <a:moveTo>
                  <a:pt x="53601" y="127012"/>
                </a:moveTo>
                <a:lnTo>
                  <a:pt x="0" y="127012"/>
                </a:lnTo>
                <a:lnTo>
                  <a:pt x="62924" y="64089"/>
                </a:lnTo>
                <a:lnTo>
                  <a:pt x="0" y="0"/>
                </a:lnTo>
                <a:lnTo>
                  <a:pt x="54767" y="0"/>
                </a:lnTo>
                <a:lnTo>
                  <a:pt x="117690" y="62923"/>
                </a:lnTo>
                <a:close/>
              </a:path>
            </a:pathLst>
          </a:custGeom>
          <a:solidFill>
            <a:srgbClr val="EEF2F5"/>
          </a:solidFill>
          <a:ln w="11643" cap="flat">
            <a:noFill/>
            <a:prstDash val="solid"/>
            <a:miter/>
          </a:ln>
        </p:spPr>
        <p:txBody>
          <a:bodyPr rtlCol="0" anchor="ctr"/>
          <a:lstStyle/>
          <a:p>
            <a:pPr rtl="0"/>
            <a:endParaRPr lang="en-US"/>
          </a:p>
        </p:txBody>
      </p:sp>
      <p:sp>
        <p:nvSpPr>
          <p:cNvPr id="92" name="Freihandform: Form 91">
            <a:extLst>
              <a:ext uri="{FF2B5EF4-FFF2-40B4-BE49-F238E27FC236}">
                <a16:creationId xmlns:a16="http://schemas.microsoft.com/office/drawing/2014/main" id="{E84E584C-AD1A-4283-9393-9ADAC5705999}"/>
              </a:ext>
            </a:extLst>
          </p:cNvPr>
          <p:cNvSpPr/>
          <p:nvPr/>
        </p:nvSpPr>
        <p:spPr>
          <a:xfrm>
            <a:off x="6988003" y="3821362"/>
            <a:ext cx="117690" cy="125846"/>
          </a:xfrm>
          <a:custGeom>
            <a:avLst/>
            <a:gdLst>
              <a:gd name="connsiteX0" fmla="*/ 53601 w 117690"/>
              <a:gd name="connsiteY0" fmla="*/ 125847 h 125846"/>
              <a:gd name="connsiteX1" fmla="*/ 0 w 117690"/>
              <a:gd name="connsiteY1" fmla="*/ 125847 h 125846"/>
              <a:gd name="connsiteX2" fmla="*/ 62924 w 117690"/>
              <a:gd name="connsiteY2" fmla="*/ 62923 h 125846"/>
              <a:gd name="connsiteX3" fmla="*/ 0 w 117690"/>
              <a:gd name="connsiteY3" fmla="*/ 0 h 125846"/>
              <a:gd name="connsiteX4" fmla="*/ 54767 w 117690"/>
              <a:gd name="connsiteY4" fmla="*/ 0 h 125846"/>
              <a:gd name="connsiteX5" fmla="*/ 117690 w 117690"/>
              <a:gd name="connsiteY5" fmla="*/ 61758 h 125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5846">
                <a:moveTo>
                  <a:pt x="53601" y="125847"/>
                </a:moveTo>
                <a:lnTo>
                  <a:pt x="0" y="125847"/>
                </a:lnTo>
                <a:lnTo>
                  <a:pt x="62924" y="62923"/>
                </a:lnTo>
                <a:lnTo>
                  <a:pt x="0" y="0"/>
                </a:lnTo>
                <a:lnTo>
                  <a:pt x="54767" y="0"/>
                </a:lnTo>
                <a:lnTo>
                  <a:pt x="117690" y="61758"/>
                </a:lnTo>
                <a:close/>
              </a:path>
            </a:pathLst>
          </a:custGeom>
          <a:solidFill>
            <a:srgbClr val="EEF2F5"/>
          </a:solidFill>
          <a:ln w="11643" cap="flat">
            <a:noFill/>
            <a:prstDash val="solid"/>
            <a:miter/>
          </a:ln>
        </p:spPr>
        <p:txBody>
          <a:bodyPr rtlCol="0" anchor="ctr"/>
          <a:lstStyle/>
          <a:p>
            <a:pPr rtl="0"/>
            <a:endParaRPr lang="en-US"/>
          </a:p>
        </p:txBody>
      </p:sp>
      <p:sp>
        <p:nvSpPr>
          <p:cNvPr id="108" name="Freihandform: Form 107">
            <a:extLst>
              <a:ext uri="{FF2B5EF4-FFF2-40B4-BE49-F238E27FC236}">
                <a16:creationId xmlns:a16="http://schemas.microsoft.com/office/drawing/2014/main" id="{821A23CA-DB65-474C-8F4A-71EDD9066EAA}"/>
              </a:ext>
            </a:extLst>
          </p:cNvPr>
          <p:cNvSpPr/>
          <p:nvPr/>
        </p:nvSpPr>
        <p:spPr>
          <a:xfrm>
            <a:off x="6988003" y="4175598"/>
            <a:ext cx="117690" cy="127011"/>
          </a:xfrm>
          <a:custGeom>
            <a:avLst/>
            <a:gdLst>
              <a:gd name="connsiteX0" fmla="*/ 53601 w 117690"/>
              <a:gd name="connsiteY0" fmla="*/ 127012 h 127011"/>
              <a:gd name="connsiteX1" fmla="*/ 0 w 117690"/>
              <a:gd name="connsiteY1" fmla="*/ 127012 h 127011"/>
              <a:gd name="connsiteX2" fmla="*/ 62924 w 117690"/>
              <a:gd name="connsiteY2" fmla="*/ 64089 h 127011"/>
              <a:gd name="connsiteX3" fmla="*/ 0 w 117690"/>
              <a:gd name="connsiteY3" fmla="*/ 0 h 127011"/>
              <a:gd name="connsiteX4" fmla="*/ 54767 w 117690"/>
              <a:gd name="connsiteY4" fmla="*/ 0 h 127011"/>
              <a:gd name="connsiteX5" fmla="*/ 117690 w 117690"/>
              <a:gd name="connsiteY5" fmla="*/ 62923 h 12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1">
                <a:moveTo>
                  <a:pt x="53601" y="127012"/>
                </a:moveTo>
                <a:lnTo>
                  <a:pt x="0" y="127012"/>
                </a:lnTo>
                <a:lnTo>
                  <a:pt x="62924" y="64089"/>
                </a:lnTo>
                <a:lnTo>
                  <a:pt x="0" y="0"/>
                </a:lnTo>
                <a:lnTo>
                  <a:pt x="54767" y="0"/>
                </a:lnTo>
                <a:lnTo>
                  <a:pt x="117690" y="62923"/>
                </a:lnTo>
                <a:close/>
              </a:path>
            </a:pathLst>
          </a:custGeom>
          <a:solidFill>
            <a:srgbClr val="EEF2F5"/>
          </a:solidFill>
          <a:ln w="11643" cap="flat">
            <a:noFill/>
            <a:prstDash val="solid"/>
            <a:miter/>
          </a:ln>
        </p:spPr>
        <p:txBody>
          <a:bodyPr rtlCol="0" anchor="ctr"/>
          <a:lstStyle/>
          <a:p>
            <a:pPr rtl="0"/>
            <a:endParaRPr lang="en-US"/>
          </a:p>
        </p:txBody>
      </p:sp>
      <p:sp>
        <p:nvSpPr>
          <p:cNvPr id="124" name="Freihandform: Form 123">
            <a:extLst>
              <a:ext uri="{FF2B5EF4-FFF2-40B4-BE49-F238E27FC236}">
                <a16:creationId xmlns:a16="http://schemas.microsoft.com/office/drawing/2014/main" id="{A21B059E-24B7-45F6-86CA-657F48380E87}"/>
              </a:ext>
            </a:extLst>
          </p:cNvPr>
          <p:cNvSpPr/>
          <p:nvPr/>
        </p:nvSpPr>
        <p:spPr>
          <a:xfrm>
            <a:off x="6988003" y="4530998"/>
            <a:ext cx="117690" cy="125846"/>
          </a:xfrm>
          <a:custGeom>
            <a:avLst/>
            <a:gdLst>
              <a:gd name="connsiteX0" fmla="*/ 53601 w 117690"/>
              <a:gd name="connsiteY0" fmla="*/ 125847 h 125846"/>
              <a:gd name="connsiteX1" fmla="*/ 0 w 117690"/>
              <a:gd name="connsiteY1" fmla="*/ 125847 h 125846"/>
              <a:gd name="connsiteX2" fmla="*/ 62924 w 117690"/>
              <a:gd name="connsiteY2" fmla="*/ 64089 h 125846"/>
              <a:gd name="connsiteX3" fmla="*/ 0 w 117690"/>
              <a:gd name="connsiteY3" fmla="*/ 0 h 125846"/>
              <a:gd name="connsiteX4" fmla="*/ 54767 w 117690"/>
              <a:gd name="connsiteY4" fmla="*/ 0 h 125846"/>
              <a:gd name="connsiteX5" fmla="*/ 117690 w 117690"/>
              <a:gd name="connsiteY5" fmla="*/ 61758 h 125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5846">
                <a:moveTo>
                  <a:pt x="53601" y="125847"/>
                </a:moveTo>
                <a:lnTo>
                  <a:pt x="0" y="125847"/>
                </a:lnTo>
                <a:lnTo>
                  <a:pt x="62924" y="64089"/>
                </a:lnTo>
                <a:lnTo>
                  <a:pt x="0" y="0"/>
                </a:lnTo>
                <a:lnTo>
                  <a:pt x="54767" y="0"/>
                </a:lnTo>
                <a:lnTo>
                  <a:pt x="117690" y="61758"/>
                </a:lnTo>
                <a:close/>
              </a:path>
            </a:pathLst>
          </a:custGeom>
          <a:solidFill>
            <a:srgbClr val="EEF2F5"/>
          </a:solidFill>
          <a:ln w="11643" cap="flat">
            <a:noFill/>
            <a:prstDash val="solid"/>
            <a:miter/>
          </a:ln>
        </p:spPr>
        <p:txBody>
          <a:bodyPr rtlCol="0" anchor="ctr"/>
          <a:lstStyle/>
          <a:p>
            <a:pPr rtl="0"/>
            <a:endParaRPr lang="en-US"/>
          </a:p>
        </p:txBody>
      </p:sp>
      <p:sp>
        <p:nvSpPr>
          <p:cNvPr id="141" name="Freihandform: Form 140">
            <a:extLst>
              <a:ext uri="{FF2B5EF4-FFF2-40B4-BE49-F238E27FC236}">
                <a16:creationId xmlns:a16="http://schemas.microsoft.com/office/drawing/2014/main" id="{B826AAAD-4F78-48CC-8D7F-6FF66CB56257}"/>
              </a:ext>
            </a:extLst>
          </p:cNvPr>
          <p:cNvSpPr/>
          <p:nvPr/>
        </p:nvSpPr>
        <p:spPr>
          <a:xfrm>
            <a:off x="6988003" y="4885234"/>
            <a:ext cx="117690" cy="127012"/>
          </a:xfrm>
          <a:custGeom>
            <a:avLst/>
            <a:gdLst>
              <a:gd name="connsiteX0" fmla="*/ 53601 w 117690"/>
              <a:gd name="connsiteY0" fmla="*/ 127012 h 127012"/>
              <a:gd name="connsiteX1" fmla="*/ 0 w 117690"/>
              <a:gd name="connsiteY1" fmla="*/ 127012 h 127012"/>
              <a:gd name="connsiteX2" fmla="*/ 62924 w 117690"/>
              <a:gd name="connsiteY2" fmla="*/ 64089 h 127012"/>
              <a:gd name="connsiteX3" fmla="*/ 0 w 117690"/>
              <a:gd name="connsiteY3" fmla="*/ 0 h 127012"/>
              <a:gd name="connsiteX4" fmla="*/ 54767 w 117690"/>
              <a:gd name="connsiteY4" fmla="*/ 0 h 127012"/>
              <a:gd name="connsiteX5" fmla="*/ 117690 w 117690"/>
              <a:gd name="connsiteY5" fmla="*/ 62923 h 12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2">
                <a:moveTo>
                  <a:pt x="53601" y="127012"/>
                </a:moveTo>
                <a:lnTo>
                  <a:pt x="0" y="127012"/>
                </a:lnTo>
                <a:lnTo>
                  <a:pt x="62924" y="64089"/>
                </a:lnTo>
                <a:lnTo>
                  <a:pt x="0" y="0"/>
                </a:lnTo>
                <a:lnTo>
                  <a:pt x="54767" y="0"/>
                </a:lnTo>
                <a:lnTo>
                  <a:pt x="117690" y="62923"/>
                </a:lnTo>
                <a:close/>
              </a:path>
            </a:pathLst>
          </a:custGeom>
          <a:solidFill>
            <a:srgbClr val="EEF2F5"/>
          </a:solidFill>
          <a:ln w="11643" cap="flat">
            <a:noFill/>
            <a:prstDash val="solid"/>
            <a:miter/>
          </a:ln>
        </p:spPr>
        <p:txBody>
          <a:bodyPr rtlCol="0" anchor="ctr"/>
          <a:lstStyle/>
          <a:p>
            <a:pPr rtl="0"/>
            <a:endParaRPr lang="en-US"/>
          </a:p>
        </p:txBody>
      </p:sp>
      <p:sp>
        <p:nvSpPr>
          <p:cNvPr id="158" name="Freihandform: Form 157">
            <a:extLst>
              <a:ext uri="{FF2B5EF4-FFF2-40B4-BE49-F238E27FC236}">
                <a16:creationId xmlns:a16="http://schemas.microsoft.com/office/drawing/2014/main" id="{52E552E0-7863-4113-BBA5-301C77EAF452}"/>
              </a:ext>
            </a:extLst>
          </p:cNvPr>
          <p:cNvSpPr/>
          <p:nvPr/>
        </p:nvSpPr>
        <p:spPr>
          <a:xfrm>
            <a:off x="6988003" y="5240634"/>
            <a:ext cx="117690" cy="127011"/>
          </a:xfrm>
          <a:custGeom>
            <a:avLst/>
            <a:gdLst>
              <a:gd name="connsiteX0" fmla="*/ 53601 w 117690"/>
              <a:gd name="connsiteY0" fmla="*/ 127012 h 127011"/>
              <a:gd name="connsiteX1" fmla="*/ 0 w 117690"/>
              <a:gd name="connsiteY1" fmla="*/ 127012 h 127011"/>
              <a:gd name="connsiteX2" fmla="*/ 62924 w 117690"/>
              <a:gd name="connsiteY2" fmla="*/ 64089 h 127011"/>
              <a:gd name="connsiteX3" fmla="*/ 0 w 117690"/>
              <a:gd name="connsiteY3" fmla="*/ 0 h 127011"/>
              <a:gd name="connsiteX4" fmla="*/ 54767 w 117690"/>
              <a:gd name="connsiteY4" fmla="*/ 0 h 127011"/>
              <a:gd name="connsiteX5" fmla="*/ 117690 w 117690"/>
              <a:gd name="connsiteY5" fmla="*/ 61758 h 12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1">
                <a:moveTo>
                  <a:pt x="53601" y="127012"/>
                </a:moveTo>
                <a:lnTo>
                  <a:pt x="0" y="127012"/>
                </a:lnTo>
                <a:lnTo>
                  <a:pt x="62924" y="64089"/>
                </a:lnTo>
                <a:lnTo>
                  <a:pt x="0" y="0"/>
                </a:lnTo>
                <a:lnTo>
                  <a:pt x="54767" y="0"/>
                </a:lnTo>
                <a:lnTo>
                  <a:pt x="117690" y="61758"/>
                </a:lnTo>
                <a:close/>
              </a:path>
            </a:pathLst>
          </a:custGeom>
          <a:solidFill>
            <a:srgbClr val="EEF2F5"/>
          </a:solidFill>
          <a:ln w="11643" cap="flat">
            <a:noFill/>
            <a:prstDash val="solid"/>
            <a:miter/>
          </a:ln>
        </p:spPr>
        <p:txBody>
          <a:bodyPr rtlCol="0" anchor="ctr"/>
          <a:lstStyle/>
          <a:p>
            <a:pPr rtl="0"/>
            <a:endParaRPr lang="en-US"/>
          </a:p>
        </p:txBody>
      </p:sp>
      <p:sp>
        <p:nvSpPr>
          <p:cNvPr id="175" name="Freihandform: Form 174">
            <a:extLst>
              <a:ext uri="{FF2B5EF4-FFF2-40B4-BE49-F238E27FC236}">
                <a16:creationId xmlns:a16="http://schemas.microsoft.com/office/drawing/2014/main" id="{B682B6CF-0860-48B1-8C00-95D42CF736E9}"/>
              </a:ext>
            </a:extLst>
          </p:cNvPr>
          <p:cNvSpPr/>
          <p:nvPr/>
        </p:nvSpPr>
        <p:spPr>
          <a:xfrm>
            <a:off x="6988003" y="5594870"/>
            <a:ext cx="117690" cy="127011"/>
          </a:xfrm>
          <a:custGeom>
            <a:avLst/>
            <a:gdLst>
              <a:gd name="connsiteX0" fmla="*/ 53601 w 117690"/>
              <a:gd name="connsiteY0" fmla="*/ 127012 h 127011"/>
              <a:gd name="connsiteX1" fmla="*/ 0 w 117690"/>
              <a:gd name="connsiteY1" fmla="*/ 127012 h 127011"/>
              <a:gd name="connsiteX2" fmla="*/ 62924 w 117690"/>
              <a:gd name="connsiteY2" fmla="*/ 64089 h 127011"/>
              <a:gd name="connsiteX3" fmla="*/ 0 w 117690"/>
              <a:gd name="connsiteY3" fmla="*/ 0 h 127011"/>
              <a:gd name="connsiteX4" fmla="*/ 54767 w 117690"/>
              <a:gd name="connsiteY4" fmla="*/ 0 h 127011"/>
              <a:gd name="connsiteX5" fmla="*/ 117690 w 117690"/>
              <a:gd name="connsiteY5" fmla="*/ 62923 h 12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1">
                <a:moveTo>
                  <a:pt x="53601" y="127012"/>
                </a:moveTo>
                <a:lnTo>
                  <a:pt x="0" y="127012"/>
                </a:lnTo>
                <a:lnTo>
                  <a:pt x="62924" y="64089"/>
                </a:lnTo>
                <a:lnTo>
                  <a:pt x="0" y="0"/>
                </a:lnTo>
                <a:lnTo>
                  <a:pt x="54767" y="0"/>
                </a:lnTo>
                <a:lnTo>
                  <a:pt x="117690" y="62923"/>
                </a:lnTo>
                <a:close/>
              </a:path>
            </a:pathLst>
          </a:custGeom>
          <a:solidFill>
            <a:srgbClr val="EEF2F5"/>
          </a:solidFill>
          <a:ln w="11643" cap="flat">
            <a:noFill/>
            <a:prstDash val="solid"/>
            <a:miter/>
          </a:ln>
        </p:spPr>
        <p:txBody>
          <a:bodyPr rtlCol="0" anchor="ctr"/>
          <a:lstStyle/>
          <a:p>
            <a:pPr rtl="0"/>
            <a:endParaRPr lang="en-US"/>
          </a:p>
        </p:txBody>
      </p:sp>
      <p:sp>
        <p:nvSpPr>
          <p:cNvPr id="192" name="Freihandform: Form 191">
            <a:extLst>
              <a:ext uri="{FF2B5EF4-FFF2-40B4-BE49-F238E27FC236}">
                <a16:creationId xmlns:a16="http://schemas.microsoft.com/office/drawing/2014/main" id="{454B7B92-8F20-486A-A2F6-3D352B2C3337}"/>
              </a:ext>
            </a:extLst>
          </p:cNvPr>
          <p:cNvSpPr/>
          <p:nvPr/>
        </p:nvSpPr>
        <p:spPr>
          <a:xfrm>
            <a:off x="6988003" y="5950270"/>
            <a:ext cx="117690" cy="127011"/>
          </a:xfrm>
          <a:custGeom>
            <a:avLst/>
            <a:gdLst>
              <a:gd name="connsiteX0" fmla="*/ 53601 w 117690"/>
              <a:gd name="connsiteY0" fmla="*/ 127012 h 127011"/>
              <a:gd name="connsiteX1" fmla="*/ 0 w 117690"/>
              <a:gd name="connsiteY1" fmla="*/ 127012 h 127011"/>
              <a:gd name="connsiteX2" fmla="*/ 62924 w 117690"/>
              <a:gd name="connsiteY2" fmla="*/ 64089 h 127011"/>
              <a:gd name="connsiteX3" fmla="*/ 0 w 117690"/>
              <a:gd name="connsiteY3" fmla="*/ 0 h 127011"/>
              <a:gd name="connsiteX4" fmla="*/ 54767 w 117690"/>
              <a:gd name="connsiteY4" fmla="*/ 0 h 127011"/>
              <a:gd name="connsiteX5" fmla="*/ 117690 w 117690"/>
              <a:gd name="connsiteY5" fmla="*/ 61758 h 12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1">
                <a:moveTo>
                  <a:pt x="53601" y="127012"/>
                </a:moveTo>
                <a:lnTo>
                  <a:pt x="0" y="127012"/>
                </a:lnTo>
                <a:lnTo>
                  <a:pt x="62924" y="64089"/>
                </a:lnTo>
                <a:lnTo>
                  <a:pt x="0" y="0"/>
                </a:lnTo>
                <a:lnTo>
                  <a:pt x="54767" y="0"/>
                </a:lnTo>
                <a:lnTo>
                  <a:pt x="117690" y="61758"/>
                </a:lnTo>
                <a:close/>
              </a:path>
            </a:pathLst>
          </a:custGeom>
          <a:solidFill>
            <a:srgbClr val="EEF2F5"/>
          </a:solidFill>
          <a:ln w="11643" cap="flat">
            <a:noFill/>
            <a:prstDash val="solid"/>
            <a:miter/>
          </a:ln>
        </p:spPr>
        <p:txBody>
          <a:bodyPr rtlCol="0" anchor="ctr"/>
          <a:lstStyle/>
          <a:p>
            <a:pPr rtl="0"/>
            <a:endParaRPr lang="en-US"/>
          </a:p>
        </p:txBody>
      </p:sp>
      <p:sp>
        <p:nvSpPr>
          <p:cNvPr id="209" name="Freihandform: Form 208">
            <a:extLst>
              <a:ext uri="{FF2B5EF4-FFF2-40B4-BE49-F238E27FC236}">
                <a16:creationId xmlns:a16="http://schemas.microsoft.com/office/drawing/2014/main" id="{731C9EF6-821F-43D3-AF27-A0A6EE4233B2}"/>
              </a:ext>
            </a:extLst>
          </p:cNvPr>
          <p:cNvSpPr/>
          <p:nvPr/>
        </p:nvSpPr>
        <p:spPr>
          <a:xfrm>
            <a:off x="6988003" y="6304506"/>
            <a:ext cx="117690" cy="127011"/>
          </a:xfrm>
          <a:custGeom>
            <a:avLst/>
            <a:gdLst>
              <a:gd name="connsiteX0" fmla="*/ 53601 w 117690"/>
              <a:gd name="connsiteY0" fmla="*/ 127012 h 127011"/>
              <a:gd name="connsiteX1" fmla="*/ 0 w 117690"/>
              <a:gd name="connsiteY1" fmla="*/ 127012 h 127011"/>
              <a:gd name="connsiteX2" fmla="*/ 62924 w 117690"/>
              <a:gd name="connsiteY2" fmla="*/ 64089 h 127011"/>
              <a:gd name="connsiteX3" fmla="*/ 0 w 117690"/>
              <a:gd name="connsiteY3" fmla="*/ 0 h 127011"/>
              <a:gd name="connsiteX4" fmla="*/ 54767 w 117690"/>
              <a:gd name="connsiteY4" fmla="*/ 0 h 127011"/>
              <a:gd name="connsiteX5" fmla="*/ 117690 w 117690"/>
              <a:gd name="connsiteY5" fmla="*/ 62923 h 12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1">
                <a:moveTo>
                  <a:pt x="53601" y="127012"/>
                </a:moveTo>
                <a:lnTo>
                  <a:pt x="0" y="127012"/>
                </a:lnTo>
                <a:lnTo>
                  <a:pt x="62924" y="64089"/>
                </a:lnTo>
                <a:lnTo>
                  <a:pt x="0" y="0"/>
                </a:lnTo>
                <a:lnTo>
                  <a:pt x="54767" y="0"/>
                </a:lnTo>
                <a:lnTo>
                  <a:pt x="117690" y="62923"/>
                </a:lnTo>
                <a:close/>
              </a:path>
            </a:pathLst>
          </a:custGeom>
          <a:solidFill>
            <a:srgbClr val="EEF2F5"/>
          </a:solidFill>
          <a:ln w="11643" cap="flat">
            <a:noFill/>
            <a:prstDash val="solid"/>
            <a:miter/>
          </a:ln>
        </p:spPr>
        <p:txBody>
          <a:bodyPr rtlCol="0" anchor="ctr"/>
          <a:lstStyle/>
          <a:p>
            <a:pPr rtl="0"/>
            <a:endParaRPr lang="en-US"/>
          </a:p>
        </p:txBody>
      </p:sp>
      <p:sp>
        <p:nvSpPr>
          <p:cNvPr id="225" name="Freihandform: Form 224">
            <a:extLst>
              <a:ext uri="{FF2B5EF4-FFF2-40B4-BE49-F238E27FC236}">
                <a16:creationId xmlns:a16="http://schemas.microsoft.com/office/drawing/2014/main" id="{E9AB3220-DE9C-44AE-ADC2-AF15E390E82D}"/>
              </a:ext>
            </a:extLst>
          </p:cNvPr>
          <p:cNvSpPr/>
          <p:nvPr/>
        </p:nvSpPr>
        <p:spPr>
          <a:xfrm>
            <a:off x="6988003" y="6659906"/>
            <a:ext cx="117690" cy="127011"/>
          </a:xfrm>
          <a:custGeom>
            <a:avLst/>
            <a:gdLst>
              <a:gd name="connsiteX0" fmla="*/ 53601 w 117690"/>
              <a:gd name="connsiteY0" fmla="*/ 127012 h 127011"/>
              <a:gd name="connsiteX1" fmla="*/ 0 w 117690"/>
              <a:gd name="connsiteY1" fmla="*/ 127012 h 127011"/>
              <a:gd name="connsiteX2" fmla="*/ 62924 w 117690"/>
              <a:gd name="connsiteY2" fmla="*/ 64089 h 127011"/>
              <a:gd name="connsiteX3" fmla="*/ 0 w 117690"/>
              <a:gd name="connsiteY3" fmla="*/ 0 h 127011"/>
              <a:gd name="connsiteX4" fmla="*/ 54767 w 117690"/>
              <a:gd name="connsiteY4" fmla="*/ 0 h 127011"/>
              <a:gd name="connsiteX5" fmla="*/ 117690 w 117690"/>
              <a:gd name="connsiteY5" fmla="*/ 61758 h 12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1">
                <a:moveTo>
                  <a:pt x="53601" y="127012"/>
                </a:moveTo>
                <a:lnTo>
                  <a:pt x="0" y="127012"/>
                </a:lnTo>
                <a:lnTo>
                  <a:pt x="62924" y="64089"/>
                </a:lnTo>
                <a:lnTo>
                  <a:pt x="0" y="0"/>
                </a:lnTo>
                <a:lnTo>
                  <a:pt x="54767" y="0"/>
                </a:lnTo>
                <a:lnTo>
                  <a:pt x="117690" y="61758"/>
                </a:lnTo>
                <a:close/>
              </a:path>
            </a:pathLst>
          </a:custGeom>
          <a:solidFill>
            <a:srgbClr val="EEF2F5"/>
          </a:solidFill>
          <a:ln w="11643" cap="flat">
            <a:noFill/>
            <a:prstDash val="solid"/>
            <a:miter/>
          </a:ln>
        </p:spPr>
        <p:txBody>
          <a:bodyPr rtlCol="0" anchor="ctr"/>
          <a:lstStyle/>
          <a:p>
            <a:pPr rtl="0"/>
            <a:endParaRPr lang="en-US"/>
          </a:p>
        </p:txBody>
      </p:sp>
      <p:sp>
        <p:nvSpPr>
          <p:cNvPr id="14" name="Freihandform: Form 13">
            <a:extLst>
              <a:ext uri="{FF2B5EF4-FFF2-40B4-BE49-F238E27FC236}">
                <a16:creationId xmlns:a16="http://schemas.microsoft.com/office/drawing/2014/main" id="{EFAF6EFC-5984-485E-8562-F3C5B1286F10}"/>
              </a:ext>
            </a:extLst>
          </p:cNvPr>
          <p:cNvSpPr/>
          <p:nvPr/>
        </p:nvSpPr>
        <p:spPr>
          <a:xfrm>
            <a:off x="7335247" y="2038533"/>
            <a:ext cx="132838" cy="143325"/>
          </a:xfrm>
          <a:custGeom>
            <a:avLst/>
            <a:gdLst>
              <a:gd name="connsiteX0" fmla="*/ 60593 w 132838"/>
              <a:gd name="connsiteY0" fmla="*/ 143326 h 143325"/>
              <a:gd name="connsiteX1" fmla="*/ 0 w 132838"/>
              <a:gd name="connsiteY1" fmla="*/ 143326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6"/>
                </a:moveTo>
                <a:lnTo>
                  <a:pt x="0" y="143326"/>
                </a:lnTo>
                <a:lnTo>
                  <a:pt x="71080" y="72245"/>
                </a:lnTo>
                <a:lnTo>
                  <a:pt x="0" y="0"/>
                </a:lnTo>
                <a:lnTo>
                  <a:pt x="61758" y="0"/>
                </a:lnTo>
                <a:lnTo>
                  <a:pt x="132838" y="69915"/>
                </a:lnTo>
                <a:close/>
              </a:path>
            </a:pathLst>
          </a:custGeom>
          <a:solidFill>
            <a:srgbClr val="EEF2F5"/>
          </a:solidFill>
          <a:ln w="11643" cap="flat">
            <a:noFill/>
            <a:prstDash val="solid"/>
            <a:miter/>
          </a:ln>
        </p:spPr>
        <p:txBody>
          <a:bodyPr rtlCol="0" anchor="ctr"/>
          <a:lstStyle/>
          <a:p>
            <a:pPr rtl="0"/>
            <a:endParaRPr lang="en-US"/>
          </a:p>
        </p:txBody>
      </p:sp>
      <p:sp>
        <p:nvSpPr>
          <p:cNvPr id="29" name="Freihandform: Form 28">
            <a:extLst>
              <a:ext uri="{FF2B5EF4-FFF2-40B4-BE49-F238E27FC236}">
                <a16:creationId xmlns:a16="http://schemas.microsoft.com/office/drawing/2014/main" id="{C38B5C98-4ABA-4DD0-92EE-6AE4E7466D1F}"/>
              </a:ext>
            </a:extLst>
          </p:cNvPr>
          <p:cNvSpPr/>
          <p:nvPr/>
        </p:nvSpPr>
        <p:spPr>
          <a:xfrm>
            <a:off x="7335247" y="2392768"/>
            <a:ext cx="132838" cy="143325"/>
          </a:xfrm>
          <a:custGeom>
            <a:avLst/>
            <a:gdLst>
              <a:gd name="connsiteX0" fmla="*/ 60593 w 132838"/>
              <a:gd name="connsiteY0" fmla="*/ 143325 h 143325"/>
              <a:gd name="connsiteX1" fmla="*/ 0 w 132838"/>
              <a:gd name="connsiteY1" fmla="*/ 143325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71080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5"/>
                </a:moveTo>
                <a:lnTo>
                  <a:pt x="0" y="143325"/>
                </a:lnTo>
                <a:lnTo>
                  <a:pt x="71080" y="72245"/>
                </a:lnTo>
                <a:lnTo>
                  <a:pt x="0" y="0"/>
                </a:lnTo>
                <a:lnTo>
                  <a:pt x="61758" y="0"/>
                </a:lnTo>
                <a:lnTo>
                  <a:pt x="132838" y="71080"/>
                </a:lnTo>
                <a:close/>
              </a:path>
            </a:pathLst>
          </a:custGeom>
          <a:solidFill>
            <a:srgbClr val="EEF2F5"/>
          </a:solidFill>
          <a:ln w="11643" cap="flat">
            <a:noFill/>
            <a:prstDash val="solid"/>
            <a:miter/>
          </a:ln>
        </p:spPr>
        <p:txBody>
          <a:bodyPr rtlCol="0" anchor="ctr"/>
          <a:lstStyle/>
          <a:p>
            <a:pPr rtl="0"/>
            <a:endParaRPr lang="en-US"/>
          </a:p>
        </p:txBody>
      </p:sp>
      <p:sp>
        <p:nvSpPr>
          <p:cNvPr id="45" name="Freihandform: Form 44">
            <a:extLst>
              <a:ext uri="{FF2B5EF4-FFF2-40B4-BE49-F238E27FC236}">
                <a16:creationId xmlns:a16="http://schemas.microsoft.com/office/drawing/2014/main" id="{79F3C30E-5951-4096-8825-BA1A1F523534}"/>
              </a:ext>
            </a:extLst>
          </p:cNvPr>
          <p:cNvSpPr/>
          <p:nvPr/>
        </p:nvSpPr>
        <p:spPr>
          <a:xfrm>
            <a:off x="7335247" y="2748169"/>
            <a:ext cx="132838" cy="143325"/>
          </a:xfrm>
          <a:custGeom>
            <a:avLst/>
            <a:gdLst>
              <a:gd name="connsiteX0" fmla="*/ 60593 w 132838"/>
              <a:gd name="connsiteY0" fmla="*/ 143325 h 143325"/>
              <a:gd name="connsiteX1" fmla="*/ 0 w 132838"/>
              <a:gd name="connsiteY1" fmla="*/ 143325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5"/>
                </a:moveTo>
                <a:lnTo>
                  <a:pt x="0" y="143325"/>
                </a:lnTo>
                <a:lnTo>
                  <a:pt x="71080" y="72245"/>
                </a:lnTo>
                <a:lnTo>
                  <a:pt x="0" y="0"/>
                </a:lnTo>
                <a:lnTo>
                  <a:pt x="61758" y="0"/>
                </a:lnTo>
                <a:lnTo>
                  <a:pt x="132838" y="69915"/>
                </a:lnTo>
                <a:close/>
              </a:path>
            </a:pathLst>
          </a:custGeom>
          <a:solidFill>
            <a:srgbClr val="EEF2F5"/>
          </a:solidFill>
          <a:ln w="11643" cap="flat">
            <a:noFill/>
            <a:prstDash val="solid"/>
            <a:miter/>
          </a:ln>
        </p:spPr>
        <p:txBody>
          <a:bodyPr rtlCol="0" anchor="ctr"/>
          <a:lstStyle/>
          <a:p>
            <a:pPr rtl="0"/>
            <a:endParaRPr lang="en-US"/>
          </a:p>
        </p:txBody>
      </p:sp>
      <p:sp>
        <p:nvSpPr>
          <p:cNvPr id="61" name="Freihandform: Form 60">
            <a:extLst>
              <a:ext uri="{FF2B5EF4-FFF2-40B4-BE49-F238E27FC236}">
                <a16:creationId xmlns:a16="http://schemas.microsoft.com/office/drawing/2014/main" id="{72D38BC9-A038-42F1-84CC-8FE548646FD4}"/>
              </a:ext>
            </a:extLst>
          </p:cNvPr>
          <p:cNvSpPr/>
          <p:nvPr/>
        </p:nvSpPr>
        <p:spPr>
          <a:xfrm>
            <a:off x="7335247" y="3102404"/>
            <a:ext cx="132838" cy="143325"/>
          </a:xfrm>
          <a:custGeom>
            <a:avLst/>
            <a:gdLst>
              <a:gd name="connsiteX0" fmla="*/ 60593 w 132838"/>
              <a:gd name="connsiteY0" fmla="*/ 143326 h 143325"/>
              <a:gd name="connsiteX1" fmla="*/ 0 w 132838"/>
              <a:gd name="connsiteY1" fmla="*/ 143326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71080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6"/>
                </a:moveTo>
                <a:lnTo>
                  <a:pt x="0" y="143326"/>
                </a:lnTo>
                <a:lnTo>
                  <a:pt x="71080" y="72245"/>
                </a:lnTo>
                <a:lnTo>
                  <a:pt x="0" y="0"/>
                </a:lnTo>
                <a:lnTo>
                  <a:pt x="61758" y="0"/>
                </a:lnTo>
                <a:lnTo>
                  <a:pt x="132838" y="71080"/>
                </a:lnTo>
                <a:close/>
              </a:path>
            </a:pathLst>
          </a:custGeom>
          <a:solidFill>
            <a:srgbClr val="EEF2F5"/>
          </a:solidFill>
          <a:ln w="11643" cap="flat">
            <a:noFill/>
            <a:prstDash val="solid"/>
            <a:miter/>
          </a:ln>
        </p:spPr>
        <p:txBody>
          <a:bodyPr rtlCol="0" anchor="ctr"/>
          <a:lstStyle/>
          <a:p>
            <a:pPr rtl="0"/>
            <a:endParaRPr lang="en-US"/>
          </a:p>
        </p:txBody>
      </p:sp>
      <p:sp>
        <p:nvSpPr>
          <p:cNvPr id="77" name="Freihandform: Form 76">
            <a:extLst>
              <a:ext uri="{FF2B5EF4-FFF2-40B4-BE49-F238E27FC236}">
                <a16:creationId xmlns:a16="http://schemas.microsoft.com/office/drawing/2014/main" id="{4C23EFB8-6839-469E-BA4B-6EBF505449D2}"/>
              </a:ext>
            </a:extLst>
          </p:cNvPr>
          <p:cNvSpPr/>
          <p:nvPr/>
        </p:nvSpPr>
        <p:spPr>
          <a:xfrm>
            <a:off x="7335247" y="3457805"/>
            <a:ext cx="132838" cy="143325"/>
          </a:xfrm>
          <a:custGeom>
            <a:avLst/>
            <a:gdLst>
              <a:gd name="connsiteX0" fmla="*/ 60593 w 132838"/>
              <a:gd name="connsiteY0" fmla="*/ 143326 h 143325"/>
              <a:gd name="connsiteX1" fmla="*/ 0 w 132838"/>
              <a:gd name="connsiteY1" fmla="*/ 143326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6"/>
                </a:moveTo>
                <a:lnTo>
                  <a:pt x="0" y="143326"/>
                </a:lnTo>
                <a:lnTo>
                  <a:pt x="71080" y="72245"/>
                </a:lnTo>
                <a:lnTo>
                  <a:pt x="0" y="0"/>
                </a:lnTo>
                <a:lnTo>
                  <a:pt x="61758" y="0"/>
                </a:lnTo>
                <a:lnTo>
                  <a:pt x="132838" y="69915"/>
                </a:lnTo>
                <a:close/>
              </a:path>
            </a:pathLst>
          </a:custGeom>
          <a:solidFill>
            <a:srgbClr val="EEF2F5"/>
          </a:solidFill>
          <a:ln w="11643" cap="flat">
            <a:noFill/>
            <a:prstDash val="solid"/>
            <a:miter/>
          </a:ln>
        </p:spPr>
        <p:txBody>
          <a:bodyPr rtlCol="0" anchor="ctr"/>
          <a:lstStyle/>
          <a:p>
            <a:pPr rtl="0"/>
            <a:endParaRPr lang="en-US"/>
          </a:p>
        </p:txBody>
      </p:sp>
      <p:sp>
        <p:nvSpPr>
          <p:cNvPr id="93" name="Freihandform: Form 92">
            <a:extLst>
              <a:ext uri="{FF2B5EF4-FFF2-40B4-BE49-F238E27FC236}">
                <a16:creationId xmlns:a16="http://schemas.microsoft.com/office/drawing/2014/main" id="{45EE2EBC-AC9B-4F66-BE0E-F697842CD09A}"/>
              </a:ext>
            </a:extLst>
          </p:cNvPr>
          <p:cNvSpPr/>
          <p:nvPr/>
        </p:nvSpPr>
        <p:spPr>
          <a:xfrm>
            <a:off x="7335247" y="3812040"/>
            <a:ext cx="132838" cy="144490"/>
          </a:xfrm>
          <a:custGeom>
            <a:avLst/>
            <a:gdLst>
              <a:gd name="connsiteX0" fmla="*/ 60593 w 132838"/>
              <a:gd name="connsiteY0" fmla="*/ 144491 h 144490"/>
              <a:gd name="connsiteX1" fmla="*/ 0 w 132838"/>
              <a:gd name="connsiteY1" fmla="*/ 144491 h 144490"/>
              <a:gd name="connsiteX2" fmla="*/ 71080 w 132838"/>
              <a:gd name="connsiteY2" fmla="*/ 73410 h 144490"/>
              <a:gd name="connsiteX3" fmla="*/ 0 w 132838"/>
              <a:gd name="connsiteY3" fmla="*/ 0 h 144490"/>
              <a:gd name="connsiteX4" fmla="*/ 61758 w 132838"/>
              <a:gd name="connsiteY4" fmla="*/ 0 h 144490"/>
              <a:gd name="connsiteX5" fmla="*/ 132838 w 132838"/>
              <a:gd name="connsiteY5" fmla="*/ 71080 h 144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4490">
                <a:moveTo>
                  <a:pt x="60593" y="144491"/>
                </a:moveTo>
                <a:lnTo>
                  <a:pt x="0" y="144491"/>
                </a:lnTo>
                <a:lnTo>
                  <a:pt x="71080" y="73410"/>
                </a:lnTo>
                <a:lnTo>
                  <a:pt x="0" y="0"/>
                </a:lnTo>
                <a:lnTo>
                  <a:pt x="61758" y="0"/>
                </a:lnTo>
                <a:lnTo>
                  <a:pt x="132838" y="71080"/>
                </a:lnTo>
                <a:close/>
              </a:path>
            </a:pathLst>
          </a:custGeom>
          <a:solidFill>
            <a:srgbClr val="EEF2F5"/>
          </a:solidFill>
          <a:ln w="11643" cap="flat">
            <a:noFill/>
            <a:prstDash val="solid"/>
            <a:miter/>
          </a:ln>
        </p:spPr>
        <p:txBody>
          <a:bodyPr rtlCol="0" anchor="ctr"/>
          <a:lstStyle/>
          <a:p>
            <a:pPr rtl="0"/>
            <a:endParaRPr lang="en-US"/>
          </a:p>
        </p:txBody>
      </p:sp>
      <p:sp>
        <p:nvSpPr>
          <p:cNvPr id="109" name="Freihandform: Form 108">
            <a:extLst>
              <a:ext uri="{FF2B5EF4-FFF2-40B4-BE49-F238E27FC236}">
                <a16:creationId xmlns:a16="http://schemas.microsoft.com/office/drawing/2014/main" id="{23A8A58E-C664-472A-80B9-B34A798D133E}"/>
              </a:ext>
            </a:extLst>
          </p:cNvPr>
          <p:cNvSpPr/>
          <p:nvPr/>
        </p:nvSpPr>
        <p:spPr>
          <a:xfrm>
            <a:off x="7335247" y="4167441"/>
            <a:ext cx="132838" cy="143325"/>
          </a:xfrm>
          <a:custGeom>
            <a:avLst/>
            <a:gdLst>
              <a:gd name="connsiteX0" fmla="*/ 60593 w 132838"/>
              <a:gd name="connsiteY0" fmla="*/ 143325 h 143325"/>
              <a:gd name="connsiteX1" fmla="*/ 0 w 132838"/>
              <a:gd name="connsiteY1" fmla="*/ 143325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5"/>
                </a:moveTo>
                <a:lnTo>
                  <a:pt x="0" y="143325"/>
                </a:lnTo>
                <a:lnTo>
                  <a:pt x="71080" y="72245"/>
                </a:lnTo>
                <a:lnTo>
                  <a:pt x="0" y="0"/>
                </a:lnTo>
                <a:lnTo>
                  <a:pt x="61758" y="0"/>
                </a:lnTo>
                <a:lnTo>
                  <a:pt x="132838" y="69915"/>
                </a:lnTo>
                <a:close/>
              </a:path>
            </a:pathLst>
          </a:custGeom>
          <a:solidFill>
            <a:srgbClr val="EEF2F5"/>
          </a:solidFill>
          <a:ln w="11643" cap="flat">
            <a:noFill/>
            <a:prstDash val="solid"/>
            <a:miter/>
          </a:ln>
        </p:spPr>
        <p:txBody>
          <a:bodyPr rtlCol="0" anchor="ctr"/>
          <a:lstStyle/>
          <a:p>
            <a:pPr rtl="0"/>
            <a:endParaRPr lang="en-US"/>
          </a:p>
        </p:txBody>
      </p:sp>
      <p:sp>
        <p:nvSpPr>
          <p:cNvPr id="125" name="Freihandform: Form 124">
            <a:extLst>
              <a:ext uri="{FF2B5EF4-FFF2-40B4-BE49-F238E27FC236}">
                <a16:creationId xmlns:a16="http://schemas.microsoft.com/office/drawing/2014/main" id="{C3B2D139-38F0-4A0D-927D-BDFD81D0A329}"/>
              </a:ext>
            </a:extLst>
          </p:cNvPr>
          <p:cNvSpPr/>
          <p:nvPr/>
        </p:nvSpPr>
        <p:spPr>
          <a:xfrm>
            <a:off x="7335247" y="4522842"/>
            <a:ext cx="132838" cy="143325"/>
          </a:xfrm>
          <a:custGeom>
            <a:avLst/>
            <a:gdLst>
              <a:gd name="connsiteX0" fmla="*/ 60593 w 132838"/>
              <a:gd name="connsiteY0" fmla="*/ 143325 h 143325"/>
              <a:gd name="connsiteX1" fmla="*/ 0 w 132838"/>
              <a:gd name="connsiteY1" fmla="*/ 143325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5"/>
                </a:moveTo>
                <a:lnTo>
                  <a:pt x="0" y="143325"/>
                </a:lnTo>
                <a:lnTo>
                  <a:pt x="71080" y="72245"/>
                </a:lnTo>
                <a:lnTo>
                  <a:pt x="0" y="0"/>
                </a:lnTo>
                <a:lnTo>
                  <a:pt x="61758" y="0"/>
                </a:lnTo>
                <a:lnTo>
                  <a:pt x="132838" y="69915"/>
                </a:lnTo>
                <a:close/>
              </a:path>
            </a:pathLst>
          </a:custGeom>
          <a:solidFill>
            <a:srgbClr val="EEF2F5"/>
          </a:solidFill>
          <a:ln w="11643" cap="flat">
            <a:noFill/>
            <a:prstDash val="solid"/>
            <a:miter/>
          </a:ln>
        </p:spPr>
        <p:txBody>
          <a:bodyPr rtlCol="0" anchor="ctr"/>
          <a:lstStyle/>
          <a:p>
            <a:pPr rtl="0"/>
            <a:endParaRPr lang="en-US"/>
          </a:p>
        </p:txBody>
      </p:sp>
      <p:sp>
        <p:nvSpPr>
          <p:cNvPr id="142" name="Freihandform: Form 141">
            <a:extLst>
              <a:ext uri="{FF2B5EF4-FFF2-40B4-BE49-F238E27FC236}">
                <a16:creationId xmlns:a16="http://schemas.microsoft.com/office/drawing/2014/main" id="{B85C4BDF-6D64-4824-8953-A0E638E3F3C2}"/>
              </a:ext>
            </a:extLst>
          </p:cNvPr>
          <p:cNvSpPr/>
          <p:nvPr/>
        </p:nvSpPr>
        <p:spPr>
          <a:xfrm>
            <a:off x="7335247" y="4877077"/>
            <a:ext cx="132838" cy="143325"/>
          </a:xfrm>
          <a:custGeom>
            <a:avLst/>
            <a:gdLst>
              <a:gd name="connsiteX0" fmla="*/ 60593 w 132838"/>
              <a:gd name="connsiteY0" fmla="*/ 143325 h 143325"/>
              <a:gd name="connsiteX1" fmla="*/ 0 w 132838"/>
              <a:gd name="connsiteY1" fmla="*/ 143325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71080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5"/>
                </a:moveTo>
                <a:lnTo>
                  <a:pt x="0" y="143325"/>
                </a:lnTo>
                <a:lnTo>
                  <a:pt x="71080" y="72245"/>
                </a:lnTo>
                <a:lnTo>
                  <a:pt x="0" y="0"/>
                </a:lnTo>
                <a:lnTo>
                  <a:pt x="61758" y="0"/>
                </a:lnTo>
                <a:lnTo>
                  <a:pt x="132838" y="71080"/>
                </a:lnTo>
                <a:close/>
              </a:path>
            </a:pathLst>
          </a:custGeom>
          <a:solidFill>
            <a:srgbClr val="EEF2F5"/>
          </a:solidFill>
          <a:ln w="11643" cap="flat">
            <a:noFill/>
            <a:prstDash val="solid"/>
            <a:miter/>
          </a:ln>
        </p:spPr>
        <p:txBody>
          <a:bodyPr rtlCol="0" anchor="ctr"/>
          <a:lstStyle/>
          <a:p>
            <a:pPr rtl="0"/>
            <a:endParaRPr lang="en-US"/>
          </a:p>
        </p:txBody>
      </p:sp>
      <p:sp>
        <p:nvSpPr>
          <p:cNvPr id="159" name="Freihandform: Form 158">
            <a:extLst>
              <a:ext uri="{FF2B5EF4-FFF2-40B4-BE49-F238E27FC236}">
                <a16:creationId xmlns:a16="http://schemas.microsoft.com/office/drawing/2014/main" id="{847A43FF-6A21-4A02-A0F3-7A25CB4C4A3E}"/>
              </a:ext>
            </a:extLst>
          </p:cNvPr>
          <p:cNvSpPr/>
          <p:nvPr/>
        </p:nvSpPr>
        <p:spPr>
          <a:xfrm>
            <a:off x="7335247" y="5232478"/>
            <a:ext cx="132838" cy="143325"/>
          </a:xfrm>
          <a:custGeom>
            <a:avLst/>
            <a:gdLst>
              <a:gd name="connsiteX0" fmla="*/ 60593 w 132838"/>
              <a:gd name="connsiteY0" fmla="*/ 143325 h 143325"/>
              <a:gd name="connsiteX1" fmla="*/ 0 w 132838"/>
              <a:gd name="connsiteY1" fmla="*/ 143325 h 143325"/>
              <a:gd name="connsiteX2" fmla="*/ 71080 w 132838"/>
              <a:gd name="connsiteY2" fmla="*/ 72246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5"/>
                </a:moveTo>
                <a:lnTo>
                  <a:pt x="0" y="143325"/>
                </a:lnTo>
                <a:lnTo>
                  <a:pt x="71080" y="72246"/>
                </a:lnTo>
                <a:lnTo>
                  <a:pt x="0" y="0"/>
                </a:lnTo>
                <a:lnTo>
                  <a:pt x="61758" y="0"/>
                </a:lnTo>
                <a:lnTo>
                  <a:pt x="132838" y="69915"/>
                </a:lnTo>
                <a:close/>
              </a:path>
            </a:pathLst>
          </a:custGeom>
          <a:solidFill>
            <a:srgbClr val="EEF2F5"/>
          </a:solidFill>
          <a:ln w="11643" cap="flat">
            <a:noFill/>
            <a:prstDash val="solid"/>
            <a:miter/>
          </a:ln>
        </p:spPr>
        <p:txBody>
          <a:bodyPr rtlCol="0" anchor="ctr"/>
          <a:lstStyle/>
          <a:p>
            <a:pPr rtl="0"/>
            <a:endParaRPr lang="en-US"/>
          </a:p>
        </p:txBody>
      </p:sp>
      <p:sp>
        <p:nvSpPr>
          <p:cNvPr id="176" name="Freihandform: Form 175">
            <a:extLst>
              <a:ext uri="{FF2B5EF4-FFF2-40B4-BE49-F238E27FC236}">
                <a16:creationId xmlns:a16="http://schemas.microsoft.com/office/drawing/2014/main" id="{5F6F18CA-B559-43C7-A028-9927FEF76A9E}"/>
              </a:ext>
            </a:extLst>
          </p:cNvPr>
          <p:cNvSpPr/>
          <p:nvPr/>
        </p:nvSpPr>
        <p:spPr>
          <a:xfrm>
            <a:off x="7335247" y="5586713"/>
            <a:ext cx="132838" cy="143325"/>
          </a:xfrm>
          <a:custGeom>
            <a:avLst/>
            <a:gdLst>
              <a:gd name="connsiteX0" fmla="*/ 60593 w 132838"/>
              <a:gd name="connsiteY0" fmla="*/ 143326 h 143325"/>
              <a:gd name="connsiteX1" fmla="*/ 0 w 132838"/>
              <a:gd name="connsiteY1" fmla="*/ 143326 h 143325"/>
              <a:gd name="connsiteX2" fmla="*/ 71080 w 132838"/>
              <a:gd name="connsiteY2" fmla="*/ 72246 h 143325"/>
              <a:gd name="connsiteX3" fmla="*/ 0 w 132838"/>
              <a:gd name="connsiteY3" fmla="*/ 0 h 143325"/>
              <a:gd name="connsiteX4" fmla="*/ 61758 w 132838"/>
              <a:gd name="connsiteY4" fmla="*/ 0 h 143325"/>
              <a:gd name="connsiteX5" fmla="*/ 132838 w 132838"/>
              <a:gd name="connsiteY5" fmla="*/ 71080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6"/>
                </a:moveTo>
                <a:lnTo>
                  <a:pt x="0" y="143326"/>
                </a:lnTo>
                <a:lnTo>
                  <a:pt x="71080" y="72246"/>
                </a:lnTo>
                <a:lnTo>
                  <a:pt x="0" y="0"/>
                </a:lnTo>
                <a:lnTo>
                  <a:pt x="61758" y="0"/>
                </a:lnTo>
                <a:lnTo>
                  <a:pt x="132838" y="71080"/>
                </a:lnTo>
                <a:close/>
              </a:path>
            </a:pathLst>
          </a:custGeom>
          <a:solidFill>
            <a:srgbClr val="EEF2F5"/>
          </a:solidFill>
          <a:ln w="11643" cap="flat">
            <a:noFill/>
            <a:prstDash val="solid"/>
            <a:miter/>
          </a:ln>
        </p:spPr>
        <p:txBody>
          <a:bodyPr rtlCol="0" anchor="ctr"/>
          <a:lstStyle/>
          <a:p>
            <a:pPr rtl="0"/>
            <a:endParaRPr lang="en-US"/>
          </a:p>
        </p:txBody>
      </p:sp>
      <p:sp>
        <p:nvSpPr>
          <p:cNvPr id="193" name="Freihandform: Form 192">
            <a:extLst>
              <a:ext uri="{FF2B5EF4-FFF2-40B4-BE49-F238E27FC236}">
                <a16:creationId xmlns:a16="http://schemas.microsoft.com/office/drawing/2014/main" id="{CA0955FD-7B34-49C4-9B74-6CBFAD6AC0D2}"/>
              </a:ext>
            </a:extLst>
          </p:cNvPr>
          <p:cNvSpPr/>
          <p:nvPr/>
        </p:nvSpPr>
        <p:spPr>
          <a:xfrm>
            <a:off x="7335247" y="5942114"/>
            <a:ext cx="132838" cy="143325"/>
          </a:xfrm>
          <a:custGeom>
            <a:avLst/>
            <a:gdLst>
              <a:gd name="connsiteX0" fmla="*/ 60593 w 132838"/>
              <a:gd name="connsiteY0" fmla="*/ 143326 h 143325"/>
              <a:gd name="connsiteX1" fmla="*/ 0 w 132838"/>
              <a:gd name="connsiteY1" fmla="*/ 143326 h 143325"/>
              <a:gd name="connsiteX2" fmla="*/ 71080 w 132838"/>
              <a:gd name="connsiteY2" fmla="*/ 72246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6"/>
                </a:moveTo>
                <a:lnTo>
                  <a:pt x="0" y="143326"/>
                </a:lnTo>
                <a:lnTo>
                  <a:pt x="71080" y="72246"/>
                </a:lnTo>
                <a:lnTo>
                  <a:pt x="0" y="0"/>
                </a:lnTo>
                <a:lnTo>
                  <a:pt x="61758" y="0"/>
                </a:lnTo>
                <a:lnTo>
                  <a:pt x="132838" y="69915"/>
                </a:lnTo>
                <a:close/>
              </a:path>
            </a:pathLst>
          </a:custGeom>
          <a:solidFill>
            <a:srgbClr val="EEF2F5"/>
          </a:solidFill>
          <a:ln w="11643" cap="flat">
            <a:noFill/>
            <a:prstDash val="solid"/>
            <a:miter/>
          </a:ln>
        </p:spPr>
        <p:txBody>
          <a:bodyPr rtlCol="0" anchor="ctr"/>
          <a:lstStyle/>
          <a:p>
            <a:pPr rtl="0"/>
            <a:endParaRPr lang="en-US"/>
          </a:p>
        </p:txBody>
      </p:sp>
      <p:sp>
        <p:nvSpPr>
          <p:cNvPr id="210" name="Freihandform: Form 209">
            <a:extLst>
              <a:ext uri="{FF2B5EF4-FFF2-40B4-BE49-F238E27FC236}">
                <a16:creationId xmlns:a16="http://schemas.microsoft.com/office/drawing/2014/main" id="{D68D90D4-26AA-4477-A0C9-8263189B58F9}"/>
              </a:ext>
            </a:extLst>
          </p:cNvPr>
          <p:cNvSpPr/>
          <p:nvPr/>
        </p:nvSpPr>
        <p:spPr>
          <a:xfrm>
            <a:off x="7335247" y="6296349"/>
            <a:ext cx="132838" cy="143325"/>
          </a:xfrm>
          <a:custGeom>
            <a:avLst/>
            <a:gdLst>
              <a:gd name="connsiteX0" fmla="*/ 60593 w 132838"/>
              <a:gd name="connsiteY0" fmla="*/ 143326 h 143325"/>
              <a:gd name="connsiteX1" fmla="*/ 0 w 132838"/>
              <a:gd name="connsiteY1" fmla="*/ 143326 h 143325"/>
              <a:gd name="connsiteX2" fmla="*/ 71080 w 132838"/>
              <a:gd name="connsiteY2" fmla="*/ 72246 h 143325"/>
              <a:gd name="connsiteX3" fmla="*/ 0 w 132838"/>
              <a:gd name="connsiteY3" fmla="*/ 0 h 143325"/>
              <a:gd name="connsiteX4" fmla="*/ 61758 w 132838"/>
              <a:gd name="connsiteY4" fmla="*/ 0 h 143325"/>
              <a:gd name="connsiteX5" fmla="*/ 132838 w 132838"/>
              <a:gd name="connsiteY5" fmla="*/ 71080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6"/>
                </a:moveTo>
                <a:lnTo>
                  <a:pt x="0" y="143326"/>
                </a:lnTo>
                <a:lnTo>
                  <a:pt x="71080" y="72246"/>
                </a:lnTo>
                <a:lnTo>
                  <a:pt x="0" y="0"/>
                </a:lnTo>
                <a:lnTo>
                  <a:pt x="61758" y="0"/>
                </a:lnTo>
                <a:lnTo>
                  <a:pt x="132838" y="71080"/>
                </a:lnTo>
                <a:close/>
              </a:path>
            </a:pathLst>
          </a:custGeom>
          <a:solidFill>
            <a:srgbClr val="EEF2F5"/>
          </a:solidFill>
          <a:ln w="11643" cap="flat">
            <a:noFill/>
            <a:prstDash val="solid"/>
            <a:miter/>
          </a:ln>
        </p:spPr>
        <p:txBody>
          <a:bodyPr rtlCol="0" anchor="ctr"/>
          <a:lstStyle/>
          <a:p>
            <a:pPr rtl="0"/>
            <a:endParaRPr lang="en-US"/>
          </a:p>
        </p:txBody>
      </p:sp>
      <p:sp>
        <p:nvSpPr>
          <p:cNvPr id="226" name="Freihandform: Form 225">
            <a:extLst>
              <a:ext uri="{FF2B5EF4-FFF2-40B4-BE49-F238E27FC236}">
                <a16:creationId xmlns:a16="http://schemas.microsoft.com/office/drawing/2014/main" id="{97640BFA-E4AC-482E-B26E-9BE22B98A669}"/>
              </a:ext>
            </a:extLst>
          </p:cNvPr>
          <p:cNvSpPr/>
          <p:nvPr/>
        </p:nvSpPr>
        <p:spPr>
          <a:xfrm>
            <a:off x="7335247" y="6651749"/>
            <a:ext cx="132838" cy="143325"/>
          </a:xfrm>
          <a:custGeom>
            <a:avLst/>
            <a:gdLst>
              <a:gd name="connsiteX0" fmla="*/ 60593 w 132838"/>
              <a:gd name="connsiteY0" fmla="*/ 143326 h 143325"/>
              <a:gd name="connsiteX1" fmla="*/ 0 w 132838"/>
              <a:gd name="connsiteY1" fmla="*/ 143326 h 143325"/>
              <a:gd name="connsiteX2" fmla="*/ 71080 w 132838"/>
              <a:gd name="connsiteY2" fmla="*/ 72246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6"/>
                </a:moveTo>
                <a:lnTo>
                  <a:pt x="0" y="143326"/>
                </a:lnTo>
                <a:lnTo>
                  <a:pt x="71080" y="72246"/>
                </a:lnTo>
                <a:lnTo>
                  <a:pt x="0" y="0"/>
                </a:lnTo>
                <a:lnTo>
                  <a:pt x="61758" y="0"/>
                </a:lnTo>
                <a:lnTo>
                  <a:pt x="132838" y="69915"/>
                </a:lnTo>
                <a:close/>
              </a:path>
            </a:pathLst>
          </a:custGeom>
          <a:solidFill>
            <a:srgbClr val="EEF2F5"/>
          </a:solidFill>
          <a:ln w="11643" cap="flat">
            <a:noFill/>
            <a:prstDash val="solid"/>
            <a:miter/>
          </a:ln>
        </p:spPr>
        <p:txBody>
          <a:bodyPr rtlCol="0" anchor="ctr"/>
          <a:lstStyle/>
          <a:p>
            <a:pPr rtl="0"/>
            <a:endParaRPr lang="en-US"/>
          </a:p>
        </p:txBody>
      </p:sp>
      <p:sp>
        <p:nvSpPr>
          <p:cNvPr id="15" name="Freihandform: Form 14">
            <a:extLst>
              <a:ext uri="{FF2B5EF4-FFF2-40B4-BE49-F238E27FC236}">
                <a16:creationId xmlns:a16="http://schemas.microsoft.com/office/drawing/2014/main" id="{F336D4C3-F14F-4477-B07F-E766912B6926}"/>
              </a:ext>
            </a:extLst>
          </p:cNvPr>
          <p:cNvSpPr/>
          <p:nvPr/>
        </p:nvSpPr>
        <p:spPr>
          <a:xfrm>
            <a:off x="7682491" y="2029211"/>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pPr rtl="0"/>
            <a:endParaRPr lang="en-US"/>
          </a:p>
        </p:txBody>
      </p:sp>
      <p:sp>
        <p:nvSpPr>
          <p:cNvPr id="30" name="Freihandform: Form 29">
            <a:extLst>
              <a:ext uri="{FF2B5EF4-FFF2-40B4-BE49-F238E27FC236}">
                <a16:creationId xmlns:a16="http://schemas.microsoft.com/office/drawing/2014/main" id="{34D4DA1D-8EE2-4188-AE9C-9791ECBC66C5}"/>
              </a:ext>
            </a:extLst>
          </p:cNvPr>
          <p:cNvSpPr/>
          <p:nvPr/>
        </p:nvSpPr>
        <p:spPr>
          <a:xfrm>
            <a:off x="7682491" y="2384612"/>
            <a:ext cx="147986" cy="160804"/>
          </a:xfrm>
          <a:custGeom>
            <a:avLst/>
            <a:gdLst>
              <a:gd name="connsiteX0" fmla="*/ 67584 w 147986"/>
              <a:gd name="connsiteY0" fmla="*/ 160804 h 160804"/>
              <a:gd name="connsiteX1" fmla="*/ 0 w 147986"/>
              <a:gd name="connsiteY1" fmla="*/ 160804 h 160804"/>
              <a:gd name="connsiteX2" fmla="*/ 79237 w 147986"/>
              <a:gd name="connsiteY2" fmla="*/ 80402 h 160804"/>
              <a:gd name="connsiteX3" fmla="*/ 0 w 147986"/>
              <a:gd name="connsiteY3" fmla="*/ 0 h 160804"/>
              <a:gd name="connsiteX4" fmla="*/ 68750 w 147986"/>
              <a:gd name="connsiteY4" fmla="*/ 0 h 160804"/>
              <a:gd name="connsiteX5" fmla="*/ 147986 w 147986"/>
              <a:gd name="connsiteY5" fmla="*/ 79237 h 160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0804">
                <a:moveTo>
                  <a:pt x="67584" y="160804"/>
                </a:moveTo>
                <a:lnTo>
                  <a:pt x="0" y="160804"/>
                </a:lnTo>
                <a:lnTo>
                  <a:pt x="79237" y="80402"/>
                </a:lnTo>
                <a:lnTo>
                  <a:pt x="0" y="0"/>
                </a:lnTo>
                <a:lnTo>
                  <a:pt x="68750" y="0"/>
                </a:lnTo>
                <a:lnTo>
                  <a:pt x="147986" y="79237"/>
                </a:lnTo>
                <a:close/>
              </a:path>
            </a:pathLst>
          </a:custGeom>
          <a:solidFill>
            <a:srgbClr val="EEF2F5"/>
          </a:solidFill>
          <a:ln w="11643" cap="flat">
            <a:noFill/>
            <a:prstDash val="solid"/>
            <a:miter/>
          </a:ln>
        </p:spPr>
        <p:txBody>
          <a:bodyPr rtlCol="0" anchor="ctr"/>
          <a:lstStyle/>
          <a:p>
            <a:pPr rtl="0"/>
            <a:endParaRPr lang="en-US"/>
          </a:p>
        </p:txBody>
      </p:sp>
      <p:sp>
        <p:nvSpPr>
          <p:cNvPr id="46" name="Freihandform: Form 45">
            <a:extLst>
              <a:ext uri="{FF2B5EF4-FFF2-40B4-BE49-F238E27FC236}">
                <a16:creationId xmlns:a16="http://schemas.microsoft.com/office/drawing/2014/main" id="{ADAD204A-493D-4101-A53B-41343EE7F6DE}"/>
              </a:ext>
            </a:extLst>
          </p:cNvPr>
          <p:cNvSpPr/>
          <p:nvPr/>
        </p:nvSpPr>
        <p:spPr>
          <a:xfrm>
            <a:off x="7682491" y="2738847"/>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pPr rtl="0"/>
            <a:endParaRPr lang="en-US"/>
          </a:p>
        </p:txBody>
      </p:sp>
      <p:sp>
        <p:nvSpPr>
          <p:cNvPr id="62" name="Freihandform: Form 61">
            <a:extLst>
              <a:ext uri="{FF2B5EF4-FFF2-40B4-BE49-F238E27FC236}">
                <a16:creationId xmlns:a16="http://schemas.microsoft.com/office/drawing/2014/main" id="{0605F07B-22A0-4571-A9A8-F5DA3A1756E5}"/>
              </a:ext>
            </a:extLst>
          </p:cNvPr>
          <p:cNvSpPr/>
          <p:nvPr/>
        </p:nvSpPr>
        <p:spPr>
          <a:xfrm>
            <a:off x="7682491" y="3094248"/>
            <a:ext cx="147986" cy="160804"/>
          </a:xfrm>
          <a:custGeom>
            <a:avLst/>
            <a:gdLst>
              <a:gd name="connsiteX0" fmla="*/ 67584 w 147986"/>
              <a:gd name="connsiteY0" fmla="*/ 160804 h 160804"/>
              <a:gd name="connsiteX1" fmla="*/ 0 w 147986"/>
              <a:gd name="connsiteY1" fmla="*/ 160804 h 160804"/>
              <a:gd name="connsiteX2" fmla="*/ 79237 w 147986"/>
              <a:gd name="connsiteY2" fmla="*/ 81567 h 160804"/>
              <a:gd name="connsiteX3" fmla="*/ 0 w 147986"/>
              <a:gd name="connsiteY3" fmla="*/ 0 h 160804"/>
              <a:gd name="connsiteX4" fmla="*/ 68750 w 147986"/>
              <a:gd name="connsiteY4" fmla="*/ 0 h 160804"/>
              <a:gd name="connsiteX5" fmla="*/ 147986 w 147986"/>
              <a:gd name="connsiteY5" fmla="*/ 79237 h 160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0804">
                <a:moveTo>
                  <a:pt x="67584" y="160804"/>
                </a:moveTo>
                <a:lnTo>
                  <a:pt x="0" y="160804"/>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pPr rtl="0"/>
            <a:endParaRPr lang="en-US"/>
          </a:p>
        </p:txBody>
      </p:sp>
      <p:sp>
        <p:nvSpPr>
          <p:cNvPr id="78" name="Freihandform: Form 77">
            <a:extLst>
              <a:ext uri="{FF2B5EF4-FFF2-40B4-BE49-F238E27FC236}">
                <a16:creationId xmlns:a16="http://schemas.microsoft.com/office/drawing/2014/main" id="{3EC20671-A11E-46B3-BAE0-32B973030757}"/>
              </a:ext>
            </a:extLst>
          </p:cNvPr>
          <p:cNvSpPr/>
          <p:nvPr/>
        </p:nvSpPr>
        <p:spPr>
          <a:xfrm>
            <a:off x="7682491" y="3448483"/>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pPr rtl="0"/>
            <a:endParaRPr lang="en-US"/>
          </a:p>
        </p:txBody>
      </p:sp>
      <p:sp>
        <p:nvSpPr>
          <p:cNvPr id="94" name="Freihandform: Form 93">
            <a:extLst>
              <a:ext uri="{FF2B5EF4-FFF2-40B4-BE49-F238E27FC236}">
                <a16:creationId xmlns:a16="http://schemas.microsoft.com/office/drawing/2014/main" id="{A30F4723-63CF-4B8C-9113-E2531A8EBC72}"/>
              </a:ext>
            </a:extLst>
          </p:cNvPr>
          <p:cNvSpPr/>
          <p:nvPr/>
        </p:nvSpPr>
        <p:spPr>
          <a:xfrm>
            <a:off x="7682491" y="3803883"/>
            <a:ext cx="147986" cy="160804"/>
          </a:xfrm>
          <a:custGeom>
            <a:avLst/>
            <a:gdLst>
              <a:gd name="connsiteX0" fmla="*/ 67584 w 147986"/>
              <a:gd name="connsiteY0" fmla="*/ 160804 h 160804"/>
              <a:gd name="connsiteX1" fmla="*/ 0 w 147986"/>
              <a:gd name="connsiteY1" fmla="*/ 160804 h 160804"/>
              <a:gd name="connsiteX2" fmla="*/ 79237 w 147986"/>
              <a:gd name="connsiteY2" fmla="*/ 81567 h 160804"/>
              <a:gd name="connsiteX3" fmla="*/ 0 w 147986"/>
              <a:gd name="connsiteY3" fmla="*/ 0 h 160804"/>
              <a:gd name="connsiteX4" fmla="*/ 68750 w 147986"/>
              <a:gd name="connsiteY4" fmla="*/ 0 h 160804"/>
              <a:gd name="connsiteX5" fmla="*/ 147986 w 147986"/>
              <a:gd name="connsiteY5" fmla="*/ 79237 h 160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0804">
                <a:moveTo>
                  <a:pt x="67584" y="160804"/>
                </a:moveTo>
                <a:lnTo>
                  <a:pt x="0" y="160804"/>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pPr rtl="0"/>
            <a:endParaRPr lang="en-US"/>
          </a:p>
        </p:txBody>
      </p:sp>
      <p:sp>
        <p:nvSpPr>
          <p:cNvPr id="110" name="Freihandform: Form 109">
            <a:extLst>
              <a:ext uri="{FF2B5EF4-FFF2-40B4-BE49-F238E27FC236}">
                <a16:creationId xmlns:a16="http://schemas.microsoft.com/office/drawing/2014/main" id="{0B073543-0431-463D-BD2B-670537378FD9}"/>
              </a:ext>
            </a:extLst>
          </p:cNvPr>
          <p:cNvSpPr/>
          <p:nvPr/>
        </p:nvSpPr>
        <p:spPr>
          <a:xfrm>
            <a:off x="7682491" y="4158119"/>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pPr rtl="0"/>
            <a:endParaRPr lang="en-US"/>
          </a:p>
        </p:txBody>
      </p:sp>
      <p:sp>
        <p:nvSpPr>
          <p:cNvPr id="126" name="Freihandform: Form 125">
            <a:extLst>
              <a:ext uri="{FF2B5EF4-FFF2-40B4-BE49-F238E27FC236}">
                <a16:creationId xmlns:a16="http://schemas.microsoft.com/office/drawing/2014/main" id="{D645C434-6F6D-4B2F-9987-6BA4C184BDAD}"/>
              </a:ext>
            </a:extLst>
          </p:cNvPr>
          <p:cNvSpPr/>
          <p:nvPr/>
        </p:nvSpPr>
        <p:spPr>
          <a:xfrm>
            <a:off x="7682491" y="4513520"/>
            <a:ext cx="147986" cy="160804"/>
          </a:xfrm>
          <a:custGeom>
            <a:avLst/>
            <a:gdLst>
              <a:gd name="connsiteX0" fmla="*/ 67584 w 147986"/>
              <a:gd name="connsiteY0" fmla="*/ 160804 h 160804"/>
              <a:gd name="connsiteX1" fmla="*/ 0 w 147986"/>
              <a:gd name="connsiteY1" fmla="*/ 160804 h 160804"/>
              <a:gd name="connsiteX2" fmla="*/ 79237 w 147986"/>
              <a:gd name="connsiteY2" fmla="*/ 81567 h 160804"/>
              <a:gd name="connsiteX3" fmla="*/ 0 w 147986"/>
              <a:gd name="connsiteY3" fmla="*/ 0 h 160804"/>
              <a:gd name="connsiteX4" fmla="*/ 68750 w 147986"/>
              <a:gd name="connsiteY4" fmla="*/ 0 h 160804"/>
              <a:gd name="connsiteX5" fmla="*/ 147986 w 147986"/>
              <a:gd name="connsiteY5" fmla="*/ 79237 h 160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0804">
                <a:moveTo>
                  <a:pt x="67584" y="160804"/>
                </a:moveTo>
                <a:lnTo>
                  <a:pt x="0" y="160804"/>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pPr rtl="0"/>
            <a:endParaRPr lang="en-US"/>
          </a:p>
        </p:txBody>
      </p:sp>
      <p:sp>
        <p:nvSpPr>
          <p:cNvPr id="143" name="Freihandform: Form 142">
            <a:extLst>
              <a:ext uri="{FF2B5EF4-FFF2-40B4-BE49-F238E27FC236}">
                <a16:creationId xmlns:a16="http://schemas.microsoft.com/office/drawing/2014/main" id="{78C199F1-38D6-4003-B23F-FB1D901A96D0}"/>
              </a:ext>
            </a:extLst>
          </p:cNvPr>
          <p:cNvSpPr/>
          <p:nvPr/>
        </p:nvSpPr>
        <p:spPr>
          <a:xfrm>
            <a:off x="7682491" y="4867755"/>
            <a:ext cx="147986" cy="161969"/>
          </a:xfrm>
          <a:custGeom>
            <a:avLst/>
            <a:gdLst>
              <a:gd name="connsiteX0" fmla="*/ 67584 w 147986"/>
              <a:gd name="connsiteY0" fmla="*/ 161970 h 161969"/>
              <a:gd name="connsiteX1" fmla="*/ 0 w 147986"/>
              <a:gd name="connsiteY1" fmla="*/ 161970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70"/>
                </a:moveTo>
                <a:lnTo>
                  <a:pt x="0" y="161970"/>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pPr rtl="0"/>
            <a:endParaRPr lang="en-US"/>
          </a:p>
        </p:txBody>
      </p:sp>
      <p:sp>
        <p:nvSpPr>
          <p:cNvPr id="160" name="Freihandform: Form 159">
            <a:extLst>
              <a:ext uri="{FF2B5EF4-FFF2-40B4-BE49-F238E27FC236}">
                <a16:creationId xmlns:a16="http://schemas.microsoft.com/office/drawing/2014/main" id="{88794CE9-C4AD-447D-ADEB-D45D8252050B}"/>
              </a:ext>
            </a:extLst>
          </p:cNvPr>
          <p:cNvSpPr/>
          <p:nvPr/>
        </p:nvSpPr>
        <p:spPr>
          <a:xfrm>
            <a:off x="7682491" y="5223156"/>
            <a:ext cx="147986" cy="160804"/>
          </a:xfrm>
          <a:custGeom>
            <a:avLst/>
            <a:gdLst>
              <a:gd name="connsiteX0" fmla="*/ 67584 w 147986"/>
              <a:gd name="connsiteY0" fmla="*/ 160804 h 160804"/>
              <a:gd name="connsiteX1" fmla="*/ 0 w 147986"/>
              <a:gd name="connsiteY1" fmla="*/ 160804 h 160804"/>
              <a:gd name="connsiteX2" fmla="*/ 79237 w 147986"/>
              <a:gd name="connsiteY2" fmla="*/ 81567 h 160804"/>
              <a:gd name="connsiteX3" fmla="*/ 0 w 147986"/>
              <a:gd name="connsiteY3" fmla="*/ 0 h 160804"/>
              <a:gd name="connsiteX4" fmla="*/ 68750 w 147986"/>
              <a:gd name="connsiteY4" fmla="*/ 0 h 160804"/>
              <a:gd name="connsiteX5" fmla="*/ 147986 w 147986"/>
              <a:gd name="connsiteY5" fmla="*/ 79237 h 160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0804">
                <a:moveTo>
                  <a:pt x="67584" y="160804"/>
                </a:moveTo>
                <a:lnTo>
                  <a:pt x="0" y="160804"/>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pPr rtl="0"/>
            <a:endParaRPr lang="en-US"/>
          </a:p>
        </p:txBody>
      </p:sp>
      <p:sp>
        <p:nvSpPr>
          <p:cNvPr id="177" name="Freihandform: Form 176">
            <a:extLst>
              <a:ext uri="{FF2B5EF4-FFF2-40B4-BE49-F238E27FC236}">
                <a16:creationId xmlns:a16="http://schemas.microsoft.com/office/drawing/2014/main" id="{FB39A232-82A2-4ED2-B532-B8247CC2812D}"/>
              </a:ext>
            </a:extLst>
          </p:cNvPr>
          <p:cNvSpPr/>
          <p:nvPr/>
        </p:nvSpPr>
        <p:spPr>
          <a:xfrm>
            <a:off x="7682491" y="5577391"/>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pPr rtl="0"/>
            <a:endParaRPr lang="en-US"/>
          </a:p>
        </p:txBody>
      </p:sp>
      <p:sp>
        <p:nvSpPr>
          <p:cNvPr id="194" name="Freihandform: Form 193">
            <a:extLst>
              <a:ext uri="{FF2B5EF4-FFF2-40B4-BE49-F238E27FC236}">
                <a16:creationId xmlns:a16="http://schemas.microsoft.com/office/drawing/2014/main" id="{B5F8FABB-7522-42DB-BB0F-06A4420A79B1}"/>
              </a:ext>
            </a:extLst>
          </p:cNvPr>
          <p:cNvSpPr/>
          <p:nvPr/>
        </p:nvSpPr>
        <p:spPr>
          <a:xfrm>
            <a:off x="7682491" y="5932792"/>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pPr rtl="0"/>
            <a:endParaRPr lang="en-US"/>
          </a:p>
        </p:txBody>
      </p:sp>
      <p:sp>
        <p:nvSpPr>
          <p:cNvPr id="211" name="Freihandform: Form 210">
            <a:extLst>
              <a:ext uri="{FF2B5EF4-FFF2-40B4-BE49-F238E27FC236}">
                <a16:creationId xmlns:a16="http://schemas.microsoft.com/office/drawing/2014/main" id="{D1F73513-4E28-4A8A-BEBF-47911EDB513A}"/>
              </a:ext>
            </a:extLst>
          </p:cNvPr>
          <p:cNvSpPr/>
          <p:nvPr/>
        </p:nvSpPr>
        <p:spPr>
          <a:xfrm>
            <a:off x="7682491" y="6287027"/>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80402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80402"/>
                </a:lnTo>
                <a:close/>
              </a:path>
            </a:pathLst>
          </a:custGeom>
          <a:solidFill>
            <a:srgbClr val="EEF2F5"/>
          </a:solidFill>
          <a:ln w="11643" cap="flat">
            <a:noFill/>
            <a:prstDash val="solid"/>
            <a:miter/>
          </a:ln>
        </p:spPr>
        <p:txBody>
          <a:bodyPr rtlCol="0" anchor="ctr"/>
          <a:lstStyle/>
          <a:p>
            <a:pPr rtl="0"/>
            <a:endParaRPr lang="en-US"/>
          </a:p>
        </p:txBody>
      </p:sp>
      <p:sp>
        <p:nvSpPr>
          <p:cNvPr id="227" name="Freihandform: Form 226">
            <a:extLst>
              <a:ext uri="{FF2B5EF4-FFF2-40B4-BE49-F238E27FC236}">
                <a16:creationId xmlns:a16="http://schemas.microsoft.com/office/drawing/2014/main" id="{4D6DE079-31CD-44BD-8304-6E69A15E3218}"/>
              </a:ext>
            </a:extLst>
          </p:cNvPr>
          <p:cNvSpPr/>
          <p:nvPr/>
        </p:nvSpPr>
        <p:spPr>
          <a:xfrm>
            <a:off x="7682491" y="6642428"/>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pPr rtl="0"/>
            <a:endParaRPr lang="en-US"/>
          </a:p>
        </p:txBody>
      </p:sp>
      <p:sp>
        <p:nvSpPr>
          <p:cNvPr id="16" name="Freihandform: Form 15">
            <a:extLst>
              <a:ext uri="{FF2B5EF4-FFF2-40B4-BE49-F238E27FC236}">
                <a16:creationId xmlns:a16="http://schemas.microsoft.com/office/drawing/2014/main" id="{AA2702D7-FFC1-412B-9F48-632A7CE520AC}"/>
              </a:ext>
            </a:extLst>
          </p:cNvPr>
          <p:cNvSpPr/>
          <p:nvPr/>
        </p:nvSpPr>
        <p:spPr>
          <a:xfrm>
            <a:off x="8028570" y="2019889"/>
            <a:ext cx="165465" cy="179448"/>
          </a:xfrm>
          <a:custGeom>
            <a:avLst/>
            <a:gdLst>
              <a:gd name="connsiteX0" fmla="*/ 75741 w 165465"/>
              <a:gd name="connsiteY0" fmla="*/ 179448 h 179448"/>
              <a:gd name="connsiteX1" fmla="*/ 0 w 165465"/>
              <a:gd name="connsiteY1" fmla="*/ 179448 h 179448"/>
              <a:gd name="connsiteX2" fmla="*/ 88559 w 165465"/>
              <a:gd name="connsiteY2" fmla="*/ 90889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pPr rtl="0"/>
            <a:endParaRPr lang="en-US"/>
          </a:p>
        </p:txBody>
      </p:sp>
      <p:sp>
        <p:nvSpPr>
          <p:cNvPr id="31" name="Freihandform: Form 30">
            <a:extLst>
              <a:ext uri="{FF2B5EF4-FFF2-40B4-BE49-F238E27FC236}">
                <a16:creationId xmlns:a16="http://schemas.microsoft.com/office/drawing/2014/main" id="{648C99A7-3678-4CC0-AF16-855FE8DF6A83}"/>
              </a:ext>
            </a:extLst>
          </p:cNvPr>
          <p:cNvSpPr/>
          <p:nvPr/>
        </p:nvSpPr>
        <p:spPr>
          <a:xfrm>
            <a:off x="8028570" y="2375290"/>
            <a:ext cx="165465" cy="179448"/>
          </a:xfrm>
          <a:custGeom>
            <a:avLst/>
            <a:gdLst>
              <a:gd name="connsiteX0" fmla="*/ 75741 w 165465"/>
              <a:gd name="connsiteY0" fmla="*/ 179448 h 179448"/>
              <a:gd name="connsiteX1" fmla="*/ 0 w 165465"/>
              <a:gd name="connsiteY1" fmla="*/ 179448 h 179448"/>
              <a:gd name="connsiteX2" fmla="*/ 88559 w 165465"/>
              <a:gd name="connsiteY2" fmla="*/ 90889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pPr rtl="0"/>
            <a:endParaRPr lang="en-US"/>
          </a:p>
        </p:txBody>
      </p:sp>
      <p:sp>
        <p:nvSpPr>
          <p:cNvPr id="47" name="Freihandform: Form 46">
            <a:extLst>
              <a:ext uri="{FF2B5EF4-FFF2-40B4-BE49-F238E27FC236}">
                <a16:creationId xmlns:a16="http://schemas.microsoft.com/office/drawing/2014/main" id="{0E3F6CC1-3FE3-4CB0-8193-8A547CA4FB4E}"/>
              </a:ext>
            </a:extLst>
          </p:cNvPr>
          <p:cNvSpPr/>
          <p:nvPr/>
        </p:nvSpPr>
        <p:spPr>
          <a:xfrm>
            <a:off x="8028570" y="2729525"/>
            <a:ext cx="165465" cy="179448"/>
          </a:xfrm>
          <a:custGeom>
            <a:avLst/>
            <a:gdLst>
              <a:gd name="connsiteX0" fmla="*/ 75741 w 165465"/>
              <a:gd name="connsiteY0" fmla="*/ 179448 h 179448"/>
              <a:gd name="connsiteX1" fmla="*/ 0 w 165465"/>
              <a:gd name="connsiteY1" fmla="*/ 179448 h 179448"/>
              <a:gd name="connsiteX2" fmla="*/ 88559 w 165465"/>
              <a:gd name="connsiteY2" fmla="*/ 90889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pPr rtl="0"/>
            <a:endParaRPr lang="en-US"/>
          </a:p>
        </p:txBody>
      </p:sp>
      <p:sp>
        <p:nvSpPr>
          <p:cNvPr id="63" name="Freihandform: Form 62">
            <a:extLst>
              <a:ext uri="{FF2B5EF4-FFF2-40B4-BE49-F238E27FC236}">
                <a16:creationId xmlns:a16="http://schemas.microsoft.com/office/drawing/2014/main" id="{49D6FD09-D76C-4E44-8667-31EAE0B38FB7}"/>
              </a:ext>
            </a:extLst>
          </p:cNvPr>
          <p:cNvSpPr/>
          <p:nvPr/>
        </p:nvSpPr>
        <p:spPr>
          <a:xfrm>
            <a:off x="8028570" y="3084926"/>
            <a:ext cx="165465" cy="179448"/>
          </a:xfrm>
          <a:custGeom>
            <a:avLst/>
            <a:gdLst>
              <a:gd name="connsiteX0" fmla="*/ 75741 w 165465"/>
              <a:gd name="connsiteY0" fmla="*/ 179448 h 179448"/>
              <a:gd name="connsiteX1" fmla="*/ 0 w 165465"/>
              <a:gd name="connsiteY1" fmla="*/ 179448 h 179448"/>
              <a:gd name="connsiteX2" fmla="*/ 88559 w 165465"/>
              <a:gd name="connsiteY2" fmla="*/ 90889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pPr rtl="0"/>
            <a:endParaRPr lang="en-US"/>
          </a:p>
        </p:txBody>
      </p:sp>
      <p:sp>
        <p:nvSpPr>
          <p:cNvPr id="79" name="Freihandform: Form 78">
            <a:extLst>
              <a:ext uri="{FF2B5EF4-FFF2-40B4-BE49-F238E27FC236}">
                <a16:creationId xmlns:a16="http://schemas.microsoft.com/office/drawing/2014/main" id="{92A2F530-7C00-4840-A5DC-15FB5F070BFC}"/>
              </a:ext>
            </a:extLst>
          </p:cNvPr>
          <p:cNvSpPr/>
          <p:nvPr/>
        </p:nvSpPr>
        <p:spPr>
          <a:xfrm>
            <a:off x="8028570" y="3439161"/>
            <a:ext cx="165465" cy="180613"/>
          </a:xfrm>
          <a:custGeom>
            <a:avLst/>
            <a:gdLst>
              <a:gd name="connsiteX0" fmla="*/ 75741 w 165465"/>
              <a:gd name="connsiteY0" fmla="*/ 180614 h 180613"/>
              <a:gd name="connsiteX1" fmla="*/ 0 w 165465"/>
              <a:gd name="connsiteY1" fmla="*/ 180614 h 180613"/>
              <a:gd name="connsiteX2" fmla="*/ 88559 w 165465"/>
              <a:gd name="connsiteY2" fmla="*/ 90889 h 180613"/>
              <a:gd name="connsiteX3" fmla="*/ 0 w 165465"/>
              <a:gd name="connsiteY3" fmla="*/ 0 h 180613"/>
              <a:gd name="connsiteX4" fmla="*/ 76906 w 165465"/>
              <a:gd name="connsiteY4" fmla="*/ 0 h 180613"/>
              <a:gd name="connsiteX5" fmla="*/ 165465 w 165465"/>
              <a:gd name="connsiteY5" fmla="*/ 88559 h 180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80613">
                <a:moveTo>
                  <a:pt x="75741" y="180614"/>
                </a:moveTo>
                <a:lnTo>
                  <a:pt x="0" y="180614"/>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pPr rtl="0"/>
            <a:endParaRPr lang="en-US"/>
          </a:p>
        </p:txBody>
      </p:sp>
      <p:sp>
        <p:nvSpPr>
          <p:cNvPr id="95" name="Freihandform: Form 94">
            <a:extLst>
              <a:ext uri="{FF2B5EF4-FFF2-40B4-BE49-F238E27FC236}">
                <a16:creationId xmlns:a16="http://schemas.microsoft.com/office/drawing/2014/main" id="{6D26EBCB-8FC5-402E-8D7D-BBB49F3CFCC5}"/>
              </a:ext>
            </a:extLst>
          </p:cNvPr>
          <p:cNvSpPr/>
          <p:nvPr/>
        </p:nvSpPr>
        <p:spPr>
          <a:xfrm>
            <a:off x="8028570" y="3794562"/>
            <a:ext cx="165465" cy="179448"/>
          </a:xfrm>
          <a:custGeom>
            <a:avLst/>
            <a:gdLst>
              <a:gd name="connsiteX0" fmla="*/ 75741 w 165465"/>
              <a:gd name="connsiteY0" fmla="*/ 179448 h 179448"/>
              <a:gd name="connsiteX1" fmla="*/ 0 w 165465"/>
              <a:gd name="connsiteY1" fmla="*/ 179448 h 179448"/>
              <a:gd name="connsiteX2" fmla="*/ 88559 w 165465"/>
              <a:gd name="connsiteY2" fmla="*/ 90889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pPr rtl="0"/>
            <a:endParaRPr lang="en-US"/>
          </a:p>
        </p:txBody>
      </p:sp>
      <p:sp>
        <p:nvSpPr>
          <p:cNvPr id="111" name="Freihandform: Form 110">
            <a:extLst>
              <a:ext uri="{FF2B5EF4-FFF2-40B4-BE49-F238E27FC236}">
                <a16:creationId xmlns:a16="http://schemas.microsoft.com/office/drawing/2014/main" id="{CCAAEEA3-A150-4712-ACA6-4E1DDCA0F471}"/>
              </a:ext>
            </a:extLst>
          </p:cNvPr>
          <p:cNvSpPr/>
          <p:nvPr/>
        </p:nvSpPr>
        <p:spPr>
          <a:xfrm>
            <a:off x="8028570" y="4148797"/>
            <a:ext cx="165465" cy="180613"/>
          </a:xfrm>
          <a:custGeom>
            <a:avLst/>
            <a:gdLst>
              <a:gd name="connsiteX0" fmla="*/ 75741 w 165465"/>
              <a:gd name="connsiteY0" fmla="*/ 180613 h 180613"/>
              <a:gd name="connsiteX1" fmla="*/ 0 w 165465"/>
              <a:gd name="connsiteY1" fmla="*/ 180613 h 180613"/>
              <a:gd name="connsiteX2" fmla="*/ 88559 w 165465"/>
              <a:gd name="connsiteY2" fmla="*/ 90889 h 180613"/>
              <a:gd name="connsiteX3" fmla="*/ 0 w 165465"/>
              <a:gd name="connsiteY3" fmla="*/ 0 h 180613"/>
              <a:gd name="connsiteX4" fmla="*/ 76906 w 165465"/>
              <a:gd name="connsiteY4" fmla="*/ 0 h 180613"/>
              <a:gd name="connsiteX5" fmla="*/ 165465 w 165465"/>
              <a:gd name="connsiteY5" fmla="*/ 88559 h 180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80613">
                <a:moveTo>
                  <a:pt x="75741" y="180613"/>
                </a:moveTo>
                <a:lnTo>
                  <a:pt x="0" y="180613"/>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pPr rtl="0"/>
            <a:endParaRPr lang="en-US"/>
          </a:p>
        </p:txBody>
      </p:sp>
      <p:sp>
        <p:nvSpPr>
          <p:cNvPr id="127" name="Freihandform: Form 126">
            <a:extLst>
              <a:ext uri="{FF2B5EF4-FFF2-40B4-BE49-F238E27FC236}">
                <a16:creationId xmlns:a16="http://schemas.microsoft.com/office/drawing/2014/main" id="{4836B90C-7140-46A6-8E06-F6F443FAF626}"/>
              </a:ext>
            </a:extLst>
          </p:cNvPr>
          <p:cNvSpPr/>
          <p:nvPr/>
        </p:nvSpPr>
        <p:spPr>
          <a:xfrm>
            <a:off x="8028570" y="4504198"/>
            <a:ext cx="165465" cy="179448"/>
          </a:xfrm>
          <a:custGeom>
            <a:avLst/>
            <a:gdLst>
              <a:gd name="connsiteX0" fmla="*/ 75741 w 165465"/>
              <a:gd name="connsiteY0" fmla="*/ 179448 h 179448"/>
              <a:gd name="connsiteX1" fmla="*/ 0 w 165465"/>
              <a:gd name="connsiteY1" fmla="*/ 179448 h 179448"/>
              <a:gd name="connsiteX2" fmla="*/ 88559 w 165465"/>
              <a:gd name="connsiteY2" fmla="*/ 90889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pPr rtl="0"/>
            <a:endParaRPr lang="en-US"/>
          </a:p>
        </p:txBody>
      </p:sp>
      <p:sp>
        <p:nvSpPr>
          <p:cNvPr id="144" name="Freihandform: Form 143">
            <a:extLst>
              <a:ext uri="{FF2B5EF4-FFF2-40B4-BE49-F238E27FC236}">
                <a16:creationId xmlns:a16="http://schemas.microsoft.com/office/drawing/2014/main" id="{3BBFE07D-6FDD-4238-9402-B3F281DCA33E}"/>
              </a:ext>
            </a:extLst>
          </p:cNvPr>
          <p:cNvSpPr/>
          <p:nvPr/>
        </p:nvSpPr>
        <p:spPr>
          <a:xfrm>
            <a:off x="8028570" y="4859598"/>
            <a:ext cx="165465" cy="179448"/>
          </a:xfrm>
          <a:custGeom>
            <a:avLst/>
            <a:gdLst>
              <a:gd name="connsiteX0" fmla="*/ 75741 w 165465"/>
              <a:gd name="connsiteY0" fmla="*/ 179448 h 179448"/>
              <a:gd name="connsiteX1" fmla="*/ 0 w 165465"/>
              <a:gd name="connsiteY1" fmla="*/ 179448 h 179448"/>
              <a:gd name="connsiteX2" fmla="*/ 88559 w 165465"/>
              <a:gd name="connsiteY2" fmla="*/ 89724 h 179448"/>
              <a:gd name="connsiteX3" fmla="*/ 0 w 165465"/>
              <a:gd name="connsiteY3" fmla="*/ 0 h 179448"/>
              <a:gd name="connsiteX4" fmla="*/ 76906 w 165465"/>
              <a:gd name="connsiteY4" fmla="*/ 0 h 179448"/>
              <a:gd name="connsiteX5" fmla="*/ 165465 w 165465"/>
              <a:gd name="connsiteY5" fmla="*/ 87394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89724"/>
                </a:lnTo>
                <a:lnTo>
                  <a:pt x="0" y="0"/>
                </a:lnTo>
                <a:lnTo>
                  <a:pt x="76906" y="0"/>
                </a:lnTo>
                <a:lnTo>
                  <a:pt x="165465" y="87394"/>
                </a:lnTo>
                <a:close/>
              </a:path>
            </a:pathLst>
          </a:custGeom>
          <a:solidFill>
            <a:srgbClr val="EEF2F5"/>
          </a:solidFill>
          <a:ln w="11643" cap="flat">
            <a:noFill/>
            <a:prstDash val="solid"/>
            <a:miter/>
          </a:ln>
        </p:spPr>
        <p:txBody>
          <a:bodyPr rtlCol="0" anchor="ctr"/>
          <a:lstStyle/>
          <a:p>
            <a:pPr rtl="0"/>
            <a:endParaRPr lang="en-US"/>
          </a:p>
        </p:txBody>
      </p:sp>
      <p:sp>
        <p:nvSpPr>
          <p:cNvPr id="161" name="Freihandform: Form 160">
            <a:extLst>
              <a:ext uri="{FF2B5EF4-FFF2-40B4-BE49-F238E27FC236}">
                <a16:creationId xmlns:a16="http://schemas.microsoft.com/office/drawing/2014/main" id="{9F4D763A-5B43-4FAB-9B68-52F7F446418E}"/>
              </a:ext>
            </a:extLst>
          </p:cNvPr>
          <p:cNvSpPr/>
          <p:nvPr/>
        </p:nvSpPr>
        <p:spPr>
          <a:xfrm>
            <a:off x="8028570" y="5213834"/>
            <a:ext cx="165465" cy="179448"/>
          </a:xfrm>
          <a:custGeom>
            <a:avLst/>
            <a:gdLst>
              <a:gd name="connsiteX0" fmla="*/ 75741 w 165465"/>
              <a:gd name="connsiteY0" fmla="*/ 179448 h 179448"/>
              <a:gd name="connsiteX1" fmla="*/ 0 w 165465"/>
              <a:gd name="connsiteY1" fmla="*/ 179448 h 179448"/>
              <a:gd name="connsiteX2" fmla="*/ 88559 w 165465"/>
              <a:gd name="connsiteY2" fmla="*/ 90890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90"/>
                </a:lnTo>
                <a:lnTo>
                  <a:pt x="0" y="0"/>
                </a:lnTo>
                <a:lnTo>
                  <a:pt x="76906" y="0"/>
                </a:lnTo>
                <a:lnTo>
                  <a:pt x="165465" y="88559"/>
                </a:lnTo>
                <a:close/>
              </a:path>
            </a:pathLst>
          </a:custGeom>
          <a:solidFill>
            <a:srgbClr val="EEF2F5"/>
          </a:solidFill>
          <a:ln w="11643" cap="flat">
            <a:noFill/>
            <a:prstDash val="solid"/>
            <a:miter/>
          </a:ln>
        </p:spPr>
        <p:txBody>
          <a:bodyPr rtlCol="0" anchor="ctr"/>
          <a:lstStyle/>
          <a:p>
            <a:pPr rtl="0"/>
            <a:endParaRPr lang="en-US"/>
          </a:p>
        </p:txBody>
      </p:sp>
      <p:sp>
        <p:nvSpPr>
          <p:cNvPr id="178" name="Freihandform: Form 177">
            <a:extLst>
              <a:ext uri="{FF2B5EF4-FFF2-40B4-BE49-F238E27FC236}">
                <a16:creationId xmlns:a16="http://schemas.microsoft.com/office/drawing/2014/main" id="{41FB849E-381E-41F8-9504-EDE13E3D8055}"/>
              </a:ext>
            </a:extLst>
          </p:cNvPr>
          <p:cNvSpPr/>
          <p:nvPr/>
        </p:nvSpPr>
        <p:spPr>
          <a:xfrm>
            <a:off x="8028570" y="5569234"/>
            <a:ext cx="165465" cy="179448"/>
          </a:xfrm>
          <a:custGeom>
            <a:avLst/>
            <a:gdLst>
              <a:gd name="connsiteX0" fmla="*/ 75741 w 165465"/>
              <a:gd name="connsiteY0" fmla="*/ 179448 h 179448"/>
              <a:gd name="connsiteX1" fmla="*/ 0 w 165465"/>
              <a:gd name="connsiteY1" fmla="*/ 179448 h 179448"/>
              <a:gd name="connsiteX2" fmla="*/ 88559 w 165465"/>
              <a:gd name="connsiteY2" fmla="*/ 89724 h 179448"/>
              <a:gd name="connsiteX3" fmla="*/ 0 w 165465"/>
              <a:gd name="connsiteY3" fmla="*/ 0 h 179448"/>
              <a:gd name="connsiteX4" fmla="*/ 76906 w 165465"/>
              <a:gd name="connsiteY4" fmla="*/ 0 h 179448"/>
              <a:gd name="connsiteX5" fmla="*/ 165465 w 165465"/>
              <a:gd name="connsiteY5" fmla="*/ 87394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89724"/>
                </a:lnTo>
                <a:lnTo>
                  <a:pt x="0" y="0"/>
                </a:lnTo>
                <a:lnTo>
                  <a:pt x="76906" y="0"/>
                </a:lnTo>
                <a:lnTo>
                  <a:pt x="165465" y="87394"/>
                </a:lnTo>
                <a:close/>
              </a:path>
            </a:pathLst>
          </a:custGeom>
          <a:solidFill>
            <a:srgbClr val="EEF2F5"/>
          </a:solidFill>
          <a:ln w="11643" cap="flat">
            <a:noFill/>
            <a:prstDash val="solid"/>
            <a:miter/>
          </a:ln>
        </p:spPr>
        <p:txBody>
          <a:bodyPr rtlCol="0" anchor="ctr"/>
          <a:lstStyle/>
          <a:p>
            <a:pPr rtl="0"/>
            <a:endParaRPr lang="en-US"/>
          </a:p>
        </p:txBody>
      </p:sp>
      <p:sp>
        <p:nvSpPr>
          <p:cNvPr id="195" name="Freihandform: Form 194">
            <a:extLst>
              <a:ext uri="{FF2B5EF4-FFF2-40B4-BE49-F238E27FC236}">
                <a16:creationId xmlns:a16="http://schemas.microsoft.com/office/drawing/2014/main" id="{5427778E-AAB9-42E1-BC64-75764828EDB0}"/>
              </a:ext>
            </a:extLst>
          </p:cNvPr>
          <p:cNvSpPr/>
          <p:nvPr/>
        </p:nvSpPr>
        <p:spPr>
          <a:xfrm>
            <a:off x="8028570" y="5923469"/>
            <a:ext cx="165465" cy="179448"/>
          </a:xfrm>
          <a:custGeom>
            <a:avLst/>
            <a:gdLst>
              <a:gd name="connsiteX0" fmla="*/ 75741 w 165465"/>
              <a:gd name="connsiteY0" fmla="*/ 179448 h 179448"/>
              <a:gd name="connsiteX1" fmla="*/ 0 w 165465"/>
              <a:gd name="connsiteY1" fmla="*/ 179448 h 179448"/>
              <a:gd name="connsiteX2" fmla="*/ 88559 w 165465"/>
              <a:gd name="connsiteY2" fmla="*/ 90890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90"/>
                </a:lnTo>
                <a:lnTo>
                  <a:pt x="0" y="0"/>
                </a:lnTo>
                <a:lnTo>
                  <a:pt x="76906" y="0"/>
                </a:lnTo>
                <a:lnTo>
                  <a:pt x="165465" y="88559"/>
                </a:lnTo>
                <a:close/>
              </a:path>
            </a:pathLst>
          </a:custGeom>
          <a:solidFill>
            <a:srgbClr val="EEF2F5"/>
          </a:solidFill>
          <a:ln w="11643" cap="flat">
            <a:noFill/>
            <a:prstDash val="solid"/>
            <a:miter/>
          </a:ln>
        </p:spPr>
        <p:txBody>
          <a:bodyPr rtlCol="0" anchor="ctr"/>
          <a:lstStyle/>
          <a:p>
            <a:pPr rtl="0"/>
            <a:endParaRPr lang="en-US"/>
          </a:p>
        </p:txBody>
      </p:sp>
      <p:sp>
        <p:nvSpPr>
          <p:cNvPr id="212" name="Freihandform: Form 211">
            <a:extLst>
              <a:ext uri="{FF2B5EF4-FFF2-40B4-BE49-F238E27FC236}">
                <a16:creationId xmlns:a16="http://schemas.microsoft.com/office/drawing/2014/main" id="{E72C56CD-8028-4274-A62F-5994CAF54FEF}"/>
              </a:ext>
            </a:extLst>
          </p:cNvPr>
          <p:cNvSpPr/>
          <p:nvPr/>
        </p:nvSpPr>
        <p:spPr>
          <a:xfrm>
            <a:off x="8028570" y="6278870"/>
            <a:ext cx="165465" cy="179448"/>
          </a:xfrm>
          <a:custGeom>
            <a:avLst/>
            <a:gdLst>
              <a:gd name="connsiteX0" fmla="*/ 75741 w 165465"/>
              <a:gd name="connsiteY0" fmla="*/ 179448 h 179448"/>
              <a:gd name="connsiteX1" fmla="*/ 0 w 165465"/>
              <a:gd name="connsiteY1" fmla="*/ 179448 h 179448"/>
              <a:gd name="connsiteX2" fmla="*/ 88559 w 165465"/>
              <a:gd name="connsiteY2" fmla="*/ 89724 h 179448"/>
              <a:gd name="connsiteX3" fmla="*/ 0 w 165465"/>
              <a:gd name="connsiteY3" fmla="*/ 0 h 179448"/>
              <a:gd name="connsiteX4" fmla="*/ 76906 w 165465"/>
              <a:gd name="connsiteY4" fmla="*/ 0 h 179448"/>
              <a:gd name="connsiteX5" fmla="*/ 165465 w 165465"/>
              <a:gd name="connsiteY5" fmla="*/ 87394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89724"/>
                </a:lnTo>
                <a:lnTo>
                  <a:pt x="0" y="0"/>
                </a:lnTo>
                <a:lnTo>
                  <a:pt x="76906" y="0"/>
                </a:lnTo>
                <a:lnTo>
                  <a:pt x="165465" y="87394"/>
                </a:lnTo>
                <a:close/>
              </a:path>
            </a:pathLst>
          </a:custGeom>
          <a:solidFill>
            <a:srgbClr val="EEF2F5"/>
          </a:solidFill>
          <a:ln w="11643" cap="flat">
            <a:noFill/>
            <a:prstDash val="solid"/>
            <a:miter/>
          </a:ln>
        </p:spPr>
        <p:txBody>
          <a:bodyPr rtlCol="0" anchor="ctr"/>
          <a:lstStyle/>
          <a:p>
            <a:pPr rtl="0"/>
            <a:endParaRPr lang="en-US"/>
          </a:p>
        </p:txBody>
      </p:sp>
      <p:sp>
        <p:nvSpPr>
          <p:cNvPr id="228" name="Freihandform: Form 227">
            <a:extLst>
              <a:ext uri="{FF2B5EF4-FFF2-40B4-BE49-F238E27FC236}">
                <a16:creationId xmlns:a16="http://schemas.microsoft.com/office/drawing/2014/main" id="{6D995F94-547B-4E8B-8F80-D2C01332D74E}"/>
              </a:ext>
            </a:extLst>
          </p:cNvPr>
          <p:cNvSpPr/>
          <p:nvPr/>
        </p:nvSpPr>
        <p:spPr>
          <a:xfrm>
            <a:off x="8028570" y="6633106"/>
            <a:ext cx="165465" cy="179448"/>
          </a:xfrm>
          <a:custGeom>
            <a:avLst/>
            <a:gdLst>
              <a:gd name="connsiteX0" fmla="*/ 75741 w 165465"/>
              <a:gd name="connsiteY0" fmla="*/ 179448 h 179448"/>
              <a:gd name="connsiteX1" fmla="*/ 0 w 165465"/>
              <a:gd name="connsiteY1" fmla="*/ 179448 h 179448"/>
              <a:gd name="connsiteX2" fmla="*/ 88559 w 165465"/>
              <a:gd name="connsiteY2" fmla="*/ 90889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pPr rtl="0"/>
            <a:endParaRPr lang="en-US"/>
          </a:p>
        </p:txBody>
      </p:sp>
      <p:sp>
        <p:nvSpPr>
          <p:cNvPr id="17" name="Freihandform: Form 16">
            <a:extLst>
              <a:ext uri="{FF2B5EF4-FFF2-40B4-BE49-F238E27FC236}">
                <a16:creationId xmlns:a16="http://schemas.microsoft.com/office/drawing/2014/main" id="{FBFA7DD1-6DE8-48E2-BB35-DCE366E698C5}"/>
              </a:ext>
            </a:extLst>
          </p:cNvPr>
          <p:cNvSpPr/>
          <p:nvPr/>
        </p:nvSpPr>
        <p:spPr>
          <a:xfrm>
            <a:off x="8375813" y="2011732"/>
            <a:ext cx="180613" cy="196926"/>
          </a:xfrm>
          <a:custGeom>
            <a:avLst/>
            <a:gdLst>
              <a:gd name="connsiteX0" fmla="*/ 82733 w 180613"/>
              <a:gd name="connsiteY0" fmla="*/ 196927 h 196926"/>
              <a:gd name="connsiteX1" fmla="*/ 0 w 180613"/>
              <a:gd name="connsiteY1" fmla="*/ 196927 h 196926"/>
              <a:gd name="connsiteX2" fmla="*/ 96715 w 180613"/>
              <a:gd name="connsiteY2" fmla="*/ 99046 h 196926"/>
              <a:gd name="connsiteX3" fmla="*/ 0 w 180613"/>
              <a:gd name="connsiteY3" fmla="*/ 0 h 196926"/>
              <a:gd name="connsiteX4" fmla="*/ 83898 w 180613"/>
              <a:gd name="connsiteY4" fmla="*/ 0 h 196926"/>
              <a:gd name="connsiteX5" fmla="*/ 180613 w 180613"/>
              <a:gd name="connsiteY5" fmla="*/ 96716 h 196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6926">
                <a:moveTo>
                  <a:pt x="82733" y="196927"/>
                </a:moveTo>
                <a:lnTo>
                  <a:pt x="0" y="196927"/>
                </a:lnTo>
                <a:lnTo>
                  <a:pt x="96715" y="99046"/>
                </a:lnTo>
                <a:lnTo>
                  <a:pt x="0" y="0"/>
                </a:lnTo>
                <a:lnTo>
                  <a:pt x="83898" y="0"/>
                </a:lnTo>
                <a:lnTo>
                  <a:pt x="180613" y="96716"/>
                </a:lnTo>
                <a:close/>
              </a:path>
            </a:pathLst>
          </a:custGeom>
          <a:solidFill>
            <a:srgbClr val="EEF2F5"/>
          </a:solidFill>
          <a:ln w="11643" cap="flat">
            <a:noFill/>
            <a:prstDash val="solid"/>
            <a:miter/>
          </a:ln>
        </p:spPr>
        <p:txBody>
          <a:bodyPr rtlCol="0" anchor="ctr"/>
          <a:lstStyle/>
          <a:p>
            <a:pPr rtl="0"/>
            <a:endParaRPr lang="en-US"/>
          </a:p>
        </p:txBody>
      </p:sp>
      <p:sp>
        <p:nvSpPr>
          <p:cNvPr id="32" name="Freihandform: Form 31">
            <a:extLst>
              <a:ext uri="{FF2B5EF4-FFF2-40B4-BE49-F238E27FC236}">
                <a16:creationId xmlns:a16="http://schemas.microsoft.com/office/drawing/2014/main" id="{7C08602B-27E1-4F5C-B2BA-86218542705A}"/>
              </a:ext>
            </a:extLst>
          </p:cNvPr>
          <p:cNvSpPr/>
          <p:nvPr/>
        </p:nvSpPr>
        <p:spPr>
          <a:xfrm>
            <a:off x="8375813" y="2367133"/>
            <a:ext cx="180613" cy="195761"/>
          </a:xfrm>
          <a:custGeom>
            <a:avLst/>
            <a:gdLst>
              <a:gd name="connsiteX0" fmla="*/ 82733 w 180613"/>
              <a:gd name="connsiteY0" fmla="*/ 195762 h 195761"/>
              <a:gd name="connsiteX1" fmla="*/ 0 w 180613"/>
              <a:gd name="connsiteY1" fmla="*/ 195762 h 195761"/>
              <a:gd name="connsiteX2" fmla="*/ 96715 w 180613"/>
              <a:gd name="connsiteY2" fmla="*/ 99046 h 195761"/>
              <a:gd name="connsiteX3" fmla="*/ 0 w 180613"/>
              <a:gd name="connsiteY3" fmla="*/ 0 h 195761"/>
              <a:gd name="connsiteX4" fmla="*/ 83898 w 180613"/>
              <a:gd name="connsiteY4" fmla="*/ 0 h 195761"/>
              <a:gd name="connsiteX5" fmla="*/ 180613 w 180613"/>
              <a:gd name="connsiteY5" fmla="*/ 95550 h 19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5761">
                <a:moveTo>
                  <a:pt x="82733" y="195762"/>
                </a:moveTo>
                <a:lnTo>
                  <a:pt x="0" y="195762"/>
                </a:lnTo>
                <a:lnTo>
                  <a:pt x="96715" y="99046"/>
                </a:lnTo>
                <a:lnTo>
                  <a:pt x="0" y="0"/>
                </a:lnTo>
                <a:lnTo>
                  <a:pt x="83898" y="0"/>
                </a:lnTo>
                <a:lnTo>
                  <a:pt x="180613" y="95550"/>
                </a:lnTo>
                <a:close/>
              </a:path>
            </a:pathLst>
          </a:custGeom>
          <a:solidFill>
            <a:srgbClr val="EEF2F5"/>
          </a:solidFill>
          <a:ln w="11643" cap="flat">
            <a:noFill/>
            <a:prstDash val="solid"/>
            <a:miter/>
          </a:ln>
        </p:spPr>
        <p:txBody>
          <a:bodyPr rtlCol="0" anchor="ctr"/>
          <a:lstStyle/>
          <a:p>
            <a:pPr rtl="0"/>
            <a:endParaRPr lang="en-US"/>
          </a:p>
        </p:txBody>
      </p:sp>
      <p:sp>
        <p:nvSpPr>
          <p:cNvPr id="48" name="Freihandform: Form 47">
            <a:extLst>
              <a:ext uri="{FF2B5EF4-FFF2-40B4-BE49-F238E27FC236}">
                <a16:creationId xmlns:a16="http://schemas.microsoft.com/office/drawing/2014/main" id="{B3543F06-832E-4301-879E-B06B3D8A1139}"/>
              </a:ext>
            </a:extLst>
          </p:cNvPr>
          <p:cNvSpPr/>
          <p:nvPr/>
        </p:nvSpPr>
        <p:spPr>
          <a:xfrm>
            <a:off x="8375813" y="2721368"/>
            <a:ext cx="180613" cy="196926"/>
          </a:xfrm>
          <a:custGeom>
            <a:avLst/>
            <a:gdLst>
              <a:gd name="connsiteX0" fmla="*/ 82733 w 180613"/>
              <a:gd name="connsiteY0" fmla="*/ 196927 h 196926"/>
              <a:gd name="connsiteX1" fmla="*/ 0 w 180613"/>
              <a:gd name="connsiteY1" fmla="*/ 196927 h 196926"/>
              <a:gd name="connsiteX2" fmla="*/ 96715 w 180613"/>
              <a:gd name="connsiteY2" fmla="*/ 99046 h 196926"/>
              <a:gd name="connsiteX3" fmla="*/ 0 w 180613"/>
              <a:gd name="connsiteY3" fmla="*/ 0 h 196926"/>
              <a:gd name="connsiteX4" fmla="*/ 83898 w 180613"/>
              <a:gd name="connsiteY4" fmla="*/ 0 h 196926"/>
              <a:gd name="connsiteX5" fmla="*/ 180613 w 180613"/>
              <a:gd name="connsiteY5" fmla="*/ 96716 h 196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6926">
                <a:moveTo>
                  <a:pt x="82733" y="196927"/>
                </a:moveTo>
                <a:lnTo>
                  <a:pt x="0" y="196927"/>
                </a:lnTo>
                <a:lnTo>
                  <a:pt x="96715" y="99046"/>
                </a:lnTo>
                <a:lnTo>
                  <a:pt x="0" y="0"/>
                </a:lnTo>
                <a:lnTo>
                  <a:pt x="83898" y="0"/>
                </a:lnTo>
                <a:lnTo>
                  <a:pt x="180613" y="96716"/>
                </a:lnTo>
                <a:close/>
              </a:path>
            </a:pathLst>
          </a:custGeom>
          <a:solidFill>
            <a:srgbClr val="EEF2F5"/>
          </a:solidFill>
          <a:ln w="11643" cap="flat">
            <a:noFill/>
            <a:prstDash val="solid"/>
            <a:miter/>
          </a:ln>
        </p:spPr>
        <p:txBody>
          <a:bodyPr rtlCol="0" anchor="ctr"/>
          <a:lstStyle/>
          <a:p>
            <a:pPr rtl="0"/>
            <a:endParaRPr lang="en-US"/>
          </a:p>
        </p:txBody>
      </p:sp>
      <p:sp>
        <p:nvSpPr>
          <p:cNvPr id="64" name="Freihandform: Form 63">
            <a:extLst>
              <a:ext uri="{FF2B5EF4-FFF2-40B4-BE49-F238E27FC236}">
                <a16:creationId xmlns:a16="http://schemas.microsoft.com/office/drawing/2014/main" id="{448857AA-F125-42A1-8BA3-8AC5BA3389BB}"/>
              </a:ext>
            </a:extLst>
          </p:cNvPr>
          <p:cNvSpPr/>
          <p:nvPr/>
        </p:nvSpPr>
        <p:spPr>
          <a:xfrm>
            <a:off x="8375813" y="3076769"/>
            <a:ext cx="180613" cy="195761"/>
          </a:xfrm>
          <a:custGeom>
            <a:avLst/>
            <a:gdLst>
              <a:gd name="connsiteX0" fmla="*/ 82733 w 180613"/>
              <a:gd name="connsiteY0" fmla="*/ 195762 h 195761"/>
              <a:gd name="connsiteX1" fmla="*/ 0 w 180613"/>
              <a:gd name="connsiteY1" fmla="*/ 195762 h 195761"/>
              <a:gd name="connsiteX2" fmla="*/ 96715 w 180613"/>
              <a:gd name="connsiteY2" fmla="*/ 99046 h 195761"/>
              <a:gd name="connsiteX3" fmla="*/ 0 w 180613"/>
              <a:gd name="connsiteY3" fmla="*/ 0 h 195761"/>
              <a:gd name="connsiteX4" fmla="*/ 83898 w 180613"/>
              <a:gd name="connsiteY4" fmla="*/ 0 h 195761"/>
              <a:gd name="connsiteX5" fmla="*/ 180613 w 180613"/>
              <a:gd name="connsiteY5" fmla="*/ 95550 h 19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5761">
                <a:moveTo>
                  <a:pt x="82733" y="195762"/>
                </a:moveTo>
                <a:lnTo>
                  <a:pt x="0" y="195762"/>
                </a:lnTo>
                <a:lnTo>
                  <a:pt x="96715" y="99046"/>
                </a:lnTo>
                <a:lnTo>
                  <a:pt x="0" y="0"/>
                </a:lnTo>
                <a:lnTo>
                  <a:pt x="83898" y="0"/>
                </a:lnTo>
                <a:lnTo>
                  <a:pt x="180613" y="95550"/>
                </a:lnTo>
                <a:close/>
              </a:path>
            </a:pathLst>
          </a:custGeom>
          <a:solidFill>
            <a:srgbClr val="EEF2F5"/>
          </a:solidFill>
          <a:ln w="11643" cap="flat">
            <a:noFill/>
            <a:prstDash val="solid"/>
            <a:miter/>
          </a:ln>
        </p:spPr>
        <p:txBody>
          <a:bodyPr rtlCol="0" anchor="ctr"/>
          <a:lstStyle/>
          <a:p>
            <a:pPr rtl="0"/>
            <a:endParaRPr lang="en-US"/>
          </a:p>
        </p:txBody>
      </p:sp>
      <p:sp>
        <p:nvSpPr>
          <p:cNvPr id="80" name="Freihandform: Form 79">
            <a:extLst>
              <a:ext uri="{FF2B5EF4-FFF2-40B4-BE49-F238E27FC236}">
                <a16:creationId xmlns:a16="http://schemas.microsoft.com/office/drawing/2014/main" id="{4D03B1F2-B454-4805-B554-BE60EE27F881}"/>
              </a:ext>
            </a:extLst>
          </p:cNvPr>
          <p:cNvSpPr/>
          <p:nvPr/>
        </p:nvSpPr>
        <p:spPr>
          <a:xfrm>
            <a:off x="8375813" y="3431004"/>
            <a:ext cx="180613" cy="196926"/>
          </a:xfrm>
          <a:custGeom>
            <a:avLst/>
            <a:gdLst>
              <a:gd name="connsiteX0" fmla="*/ 82733 w 180613"/>
              <a:gd name="connsiteY0" fmla="*/ 196927 h 196926"/>
              <a:gd name="connsiteX1" fmla="*/ 0 w 180613"/>
              <a:gd name="connsiteY1" fmla="*/ 196927 h 196926"/>
              <a:gd name="connsiteX2" fmla="*/ 96715 w 180613"/>
              <a:gd name="connsiteY2" fmla="*/ 99046 h 196926"/>
              <a:gd name="connsiteX3" fmla="*/ 0 w 180613"/>
              <a:gd name="connsiteY3" fmla="*/ 0 h 196926"/>
              <a:gd name="connsiteX4" fmla="*/ 83898 w 180613"/>
              <a:gd name="connsiteY4" fmla="*/ 0 h 196926"/>
              <a:gd name="connsiteX5" fmla="*/ 180613 w 180613"/>
              <a:gd name="connsiteY5" fmla="*/ 96716 h 196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6926">
                <a:moveTo>
                  <a:pt x="82733" y="196927"/>
                </a:moveTo>
                <a:lnTo>
                  <a:pt x="0" y="196927"/>
                </a:lnTo>
                <a:lnTo>
                  <a:pt x="96715" y="99046"/>
                </a:lnTo>
                <a:lnTo>
                  <a:pt x="0" y="0"/>
                </a:lnTo>
                <a:lnTo>
                  <a:pt x="83898" y="0"/>
                </a:lnTo>
                <a:lnTo>
                  <a:pt x="180613" y="96716"/>
                </a:lnTo>
                <a:close/>
              </a:path>
            </a:pathLst>
          </a:custGeom>
          <a:solidFill>
            <a:srgbClr val="EEF2F5"/>
          </a:solidFill>
          <a:ln w="11643" cap="flat">
            <a:noFill/>
            <a:prstDash val="solid"/>
            <a:miter/>
          </a:ln>
        </p:spPr>
        <p:txBody>
          <a:bodyPr rtlCol="0" anchor="ctr"/>
          <a:lstStyle/>
          <a:p>
            <a:pPr rtl="0"/>
            <a:endParaRPr lang="en-US"/>
          </a:p>
        </p:txBody>
      </p:sp>
      <p:sp>
        <p:nvSpPr>
          <p:cNvPr id="96" name="Freihandform: Form 95">
            <a:extLst>
              <a:ext uri="{FF2B5EF4-FFF2-40B4-BE49-F238E27FC236}">
                <a16:creationId xmlns:a16="http://schemas.microsoft.com/office/drawing/2014/main" id="{FFDA75BC-562C-4970-A5BF-655AB3F5011C}"/>
              </a:ext>
            </a:extLst>
          </p:cNvPr>
          <p:cNvSpPr/>
          <p:nvPr/>
        </p:nvSpPr>
        <p:spPr>
          <a:xfrm>
            <a:off x="8375813" y="3786405"/>
            <a:ext cx="180613" cy="195761"/>
          </a:xfrm>
          <a:custGeom>
            <a:avLst/>
            <a:gdLst>
              <a:gd name="connsiteX0" fmla="*/ 82733 w 180613"/>
              <a:gd name="connsiteY0" fmla="*/ 195762 h 195761"/>
              <a:gd name="connsiteX1" fmla="*/ 0 w 180613"/>
              <a:gd name="connsiteY1" fmla="*/ 195762 h 195761"/>
              <a:gd name="connsiteX2" fmla="*/ 96715 w 180613"/>
              <a:gd name="connsiteY2" fmla="*/ 99046 h 195761"/>
              <a:gd name="connsiteX3" fmla="*/ 0 w 180613"/>
              <a:gd name="connsiteY3" fmla="*/ 0 h 195761"/>
              <a:gd name="connsiteX4" fmla="*/ 83898 w 180613"/>
              <a:gd name="connsiteY4" fmla="*/ 0 h 195761"/>
              <a:gd name="connsiteX5" fmla="*/ 180613 w 180613"/>
              <a:gd name="connsiteY5" fmla="*/ 96716 h 19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5761">
                <a:moveTo>
                  <a:pt x="82733" y="195762"/>
                </a:moveTo>
                <a:lnTo>
                  <a:pt x="0" y="195762"/>
                </a:lnTo>
                <a:lnTo>
                  <a:pt x="96715" y="99046"/>
                </a:lnTo>
                <a:lnTo>
                  <a:pt x="0" y="0"/>
                </a:lnTo>
                <a:lnTo>
                  <a:pt x="83898" y="0"/>
                </a:lnTo>
                <a:lnTo>
                  <a:pt x="180613" y="96716"/>
                </a:lnTo>
                <a:close/>
              </a:path>
            </a:pathLst>
          </a:custGeom>
          <a:solidFill>
            <a:srgbClr val="EEF2F5"/>
          </a:solidFill>
          <a:ln w="11643" cap="flat">
            <a:noFill/>
            <a:prstDash val="solid"/>
            <a:miter/>
          </a:ln>
        </p:spPr>
        <p:txBody>
          <a:bodyPr rtlCol="0" anchor="ctr"/>
          <a:lstStyle/>
          <a:p>
            <a:pPr rtl="0"/>
            <a:endParaRPr lang="en-US"/>
          </a:p>
        </p:txBody>
      </p:sp>
      <p:sp>
        <p:nvSpPr>
          <p:cNvPr id="112" name="Freihandform: Form 111">
            <a:extLst>
              <a:ext uri="{FF2B5EF4-FFF2-40B4-BE49-F238E27FC236}">
                <a16:creationId xmlns:a16="http://schemas.microsoft.com/office/drawing/2014/main" id="{D5FBE564-C560-47E5-B3B3-465A98E51447}"/>
              </a:ext>
            </a:extLst>
          </p:cNvPr>
          <p:cNvSpPr/>
          <p:nvPr/>
        </p:nvSpPr>
        <p:spPr>
          <a:xfrm>
            <a:off x="8375813" y="4140640"/>
            <a:ext cx="180613" cy="196926"/>
          </a:xfrm>
          <a:custGeom>
            <a:avLst/>
            <a:gdLst>
              <a:gd name="connsiteX0" fmla="*/ 82733 w 180613"/>
              <a:gd name="connsiteY0" fmla="*/ 196927 h 196926"/>
              <a:gd name="connsiteX1" fmla="*/ 0 w 180613"/>
              <a:gd name="connsiteY1" fmla="*/ 196927 h 196926"/>
              <a:gd name="connsiteX2" fmla="*/ 96715 w 180613"/>
              <a:gd name="connsiteY2" fmla="*/ 99046 h 196926"/>
              <a:gd name="connsiteX3" fmla="*/ 0 w 180613"/>
              <a:gd name="connsiteY3" fmla="*/ 0 h 196926"/>
              <a:gd name="connsiteX4" fmla="*/ 83898 w 180613"/>
              <a:gd name="connsiteY4" fmla="*/ 0 h 196926"/>
              <a:gd name="connsiteX5" fmla="*/ 180613 w 180613"/>
              <a:gd name="connsiteY5" fmla="*/ 96716 h 196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6926">
                <a:moveTo>
                  <a:pt x="82733" y="196927"/>
                </a:moveTo>
                <a:lnTo>
                  <a:pt x="0" y="196927"/>
                </a:lnTo>
                <a:lnTo>
                  <a:pt x="96715" y="99046"/>
                </a:lnTo>
                <a:lnTo>
                  <a:pt x="0" y="0"/>
                </a:lnTo>
                <a:lnTo>
                  <a:pt x="83898" y="0"/>
                </a:lnTo>
                <a:lnTo>
                  <a:pt x="180613" y="96716"/>
                </a:lnTo>
                <a:close/>
              </a:path>
            </a:pathLst>
          </a:custGeom>
          <a:solidFill>
            <a:srgbClr val="EEF2F5"/>
          </a:solidFill>
          <a:ln w="11643" cap="flat">
            <a:noFill/>
            <a:prstDash val="solid"/>
            <a:miter/>
          </a:ln>
        </p:spPr>
        <p:txBody>
          <a:bodyPr rtlCol="0" anchor="ctr"/>
          <a:lstStyle/>
          <a:p>
            <a:pPr rtl="0"/>
            <a:endParaRPr lang="en-US"/>
          </a:p>
        </p:txBody>
      </p:sp>
      <p:sp>
        <p:nvSpPr>
          <p:cNvPr id="128" name="Freihandform: Form 127">
            <a:extLst>
              <a:ext uri="{FF2B5EF4-FFF2-40B4-BE49-F238E27FC236}">
                <a16:creationId xmlns:a16="http://schemas.microsoft.com/office/drawing/2014/main" id="{CF51EF18-4B1E-42D2-850F-FFA6C258A83C}"/>
              </a:ext>
            </a:extLst>
          </p:cNvPr>
          <p:cNvSpPr/>
          <p:nvPr/>
        </p:nvSpPr>
        <p:spPr>
          <a:xfrm>
            <a:off x="8375813" y="4496041"/>
            <a:ext cx="180613" cy="195761"/>
          </a:xfrm>
          <a:custGeom>
            <a:avLst/>
            <a:gdLst>
              <a:gd name="connsiteX0" fmla="*/ 82733 w 180613"/>
              <a:gd name="connsiteY0" fmla="*/ 195762 h 195761"/>
              <a:gd name="connsiteX1" fmla="*/ 0 w 180613"/>
              <a:gd name="connsiteY1" fmla="*/ 195762 h 195761"/>
              <a:gd name="connsiteX2" fmla="*/ 96715 w 180613"/>
              <a:gd name="connsiteY2" fmla="*/ 99046 h 195761"/>
              <a:gd name="connsiteX3" fmla="*/ 0 w 180613"/>
              <a:gd name="connsiteY3" fmla="*/ 0 h 195761"/>
              <a:gd name="connsiteX4" fmla="*/ 83898 w 180613"/>
              <a:gd name="connsiteY4" fmla="*/ 0 h 195761"/>
              <a:gd name="connsiteX5" fmla="*/ 180613 w 180613"/>
              <a:gd name="connsiteY5" fmla="*/ 96716 h 19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5761">
                <a:moveTo>
                  <a:pt x="82733" y="195762"/>
                </a:moveTo>
                <a:lnTo>
                  <a:pt x="0" y="195762"/>
                </a:lnTo>
                <a:lnTo>
                  <a:pt x="96715" y="99046"/>
                </a:lnTo>
                <a:lnTo>
                  <a:pt x="0" y="0"/>
                </a:lnTo>
                <a:lnTo>
                  <a:pt x="83898" y="0"/>
                </a:lnTo>
                <a:lnTo>
                  <a:pt x="180613" y="96716"/>
                </a:lnTo>
                <a:close/>
              </a:path>
            </a:pathLst>
          </a:custGeom>
          <a:solidFill>
            <a:srgbClr val="EEF2F5"/>
          </a:solidFill>
          <a:ln w="11643" cap="flat">
            <a:noFill/>
            <a:prstDash val="solid"/>
            <a:miter/>
          </a:ln>
        </p:spPr>
        <p:txBody>
          <a:bodyPr rtlCol="0" anchor="ctr"/>
          <a:lstStyle/>
          <a:p>
            <a:pPr rtl="0"/>
            <a:endParaRPr lang="en-US"/>
          </a:p>
        </p:txBody>
      </p:sp>
      <p:sp>
        <p:nvSpPr>
          <p:cNvPr id="145" name="Freihandform: Form 144">
            <a:extLst>
              <a:ext uri="{FF2B5EF4-FFF2-40B4-BE49-F238E27FC236}">
                <a16:creationId xmlns:a16="http://schemas.microsoft.com/office/drawing/2014/main" id="{56E41581-3FC6-4323-9C89-CF91773848F3}"/>
              </a:ext>
            </a:extLst>
          </p:cNvPr>
          <p:cNvSpPr/>
          <p:nvPr/>
        </p:nvSpPr>
        <p:spPr>
          <a:xfrm>
            <a:off x="8375813" y="4850276"/>
            <a:ext cx="180613" cy="196927"/>
          </a:xfrm>
          <a:custGeom>
            <a:avLst/>
            <a:gdLst>
              <a:gd name="connsiteX0" fmla="*/ 82733 w 180613"/>
              <a:gd name="connsiteY0" fmla="*/ 196927 h 196927"/>
              <a:gd name="connsiteX1" fmla="*/ 0 w 180613"/>
              <a:gd name="connsiteY1" fmla="*/ 196927 h 196927"/>
              <a:gd name="connsiteX2" fmla="*/ 96715 w 180613"/>
              <a:gd name="connsiteY2" fmla="*/ 99046 h 196927"/>
              <a:gd name="connsiteX3" fmla="*/ 0 w 180613"/>
              <a:gd name="connsiteY3" fmla="*/ 0 h 196927"/>
              <a:gd name="connsiteX4" fmla="*/ 83898 w 180613"/>
              <a:gd name="connsiteY4" fmla="*/ 0 h 196927"/>
              <a:gd name="connsiteX5" fmla="*/ 180613 w 180613"/>
              <a:gd name="connsiteY5" fmla="*/ 96716 h 196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6927">
                <a:moveTo>
                  <a:pt x="82733" y="196927"/>
                </a:moveTo>
                <a:lnTo>
                  <a:pt x="0" y="196927"/>
                </a:lnTo>
                <a:lnTo>
                  <a:pt x="96715" y="99046"/>
                </a:lnTo>
                <a:lnTo>
                  <a:pt x="0" y="0"/>
                </a:lnTo>
                <a:lnTo>
                  <a:pt x="83898" y="0"/>
                </a:lnTo>
                <a:lnTo>
                  <a:pt x="180613" y="96716"/>
                </a:lnTo>
                <a:close/>
              </a:path>
            </a:pathLst>
          </a:custGeom>
          <a:solidFill>
            <a:srgbClr val="EEF2F5"/>
          </a:solidFill>
          <a:ln w="11643" cap="flat">
            <a:noFill/>
            <a:prstDash val="solid"/>
            <a:miter/>
          </a:ln>
        </p:spPr>
        <p:txBody>
          <a:bodyPr rtlCol="0" anchor="ctr"/>
          <a:lstStyle/>
          <a:p>
            <a:pPr rtl="0"/>
            <a:endParaRPr lang="en-US"/>
          </a:p>
        </p:txBody>
      </p:sp>
      <p:sp>
        <p:nvSpPr>
          <p:cNvPr id="162" name="Freihandform: Form 161">
            <a:extLst>
              <a:ext uri="{FF2B5EF4-FFF2-40B4-BE49-F238E27FC236}">
                <a16:creationId xmlns:a16="http://schemas.microsoft.com/office/drawing/2014/main" id="{D57C87CD-CA7C-4C12-80C4-9130A88B17BE}"/>
              </a:ext>
            </a:extLst>
          </p:cNvPr>
          <p:cNvSpPr/>
          <p:nvPr/>
        </p:nvSpPr>
        <p:spPr>
          <a:xfrm>
            <a:off x="8375813" y="5205677"/>
            <a:ext cx="180613" cy="195761"/>
          </a:xfrm>
          <a:custGeom>
            <a:avLst/>
            <a:gdLst>
              <a:gd name="connsiteX0" fmla="*/ 82733 w 180613"/>
              <a:gd name="connsiteY0" fmla="*/ 195762 h 195761"/>
              <a:gd name="connsiteX1" fmla="*/ 0 w 180613"/>
              <a:gd name="connsiteY1" fmla="*/ 195762 h 195761"/>
              <a:gd name="connsiteX2" fmla="*/ 96715 w 180613"/>
              <a:gd name="connsiteY2" fmla="*/ 99046 h 195761"/>
              <a:gd name="connsiteX3" fmla="*/ 0 w 180613"/>
              <a:gd name="connsiteY3" fmla="*/ 0 h 195761"/>
              <a:gd name="connsiteX4" fmla="*/ 83898 w 180613"/>
              <a:gd name="connsiteY4" fmla="*/ 0 h 195761"/>
              <a:gd name="connsiteX5" fmla="*/ 180613 w 180613"/>
              <a:gd name="connsiteY5" fmla="*/ 96715 h 19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5761">
                <a:moveTo>
                  <a:pt x="82733" y="195762"/>
                </a:moveTo>
                <a:lnTo>
                  <a:pt x="0" y="195762"/>
                </a:lnTo>
                <a:lnTo>
                  <a:pt x="96715" y="99046"/>
                </a:lnTo>
                <a:lnTo>
                  <a:pt x="0" y="0"/>
                </a:lnTo>
                <a:lnTo>
                  <a:pt x="83898" y="0"/>
                </a:lnTo>
                <a:lnTo>
                  <a:pt x="180613" y="96715"/>
                </a:lnTo>
                <a:close/>
              </a:path>
            </a:pathLst>
          </a:custGeom>
          <a:solidFill>
            <a:srgbClr val="EEF2F5"/>
          </a:solidFill>
          <a:ln w="11643" cap="flat">
            <a:noFill/>
            <a:prstDash val="solid"/>
            <a:miter/>
          </a:ln>
        </p:spPr>
        <p:txBody>
          <a:bodyPr rtlCol="0" anchor="ctr"/>
          <a:lstStyle/>
          <a:p>
            <a:pPr rtl="0"/>
            <a:endParaRPr lang="en-US"/>
          </a:p>
        </p:txBody>
      </p:sp>
      <p:sp>
        <p:nvSpPr>
          <p:cNvPr id="179" name="Freihandform: Form 178">
            <a:extLst>
              <a:ext uri="{FF2B5EF4-FFF2-40B4-BE49-F238E27FC236}">
                <a16:creationId xmlns:a16="http://schemas.microsoft.com/office/drawing/2014/main" id="{DB846A0F-C8EB-418A-9689-60A3F1E0344D}"/>
              </a:ext>
            </a:extLst>
          </p:cNvPr>
          <p:cNvSpPr/>
          <p:nvPr/>
        </p:nvSpPr>
        <p:spPr>
          <a:xfrm>
            <a:off x="8375813" y="5559912"/>
            <a:ext cx="180613" cy="196926"/>
          </a:xfrm>
          <a:custGeom>
            <a:avLst/>
            <a:gdLst>
              <a:gd name="connsiteX0" fmla="*/ 82733 w 180613"/>
              <a:gd name="connsiteY0" fmla="*/ 196927 h 196926"/>
              <a:gd name="connsiteX1" fmla="*/ 0 w 180613"/>
              <a:gd name="connsiteY1" fmla="*/ 196927 h 196926"/>
              <a:gd name="connsiteX2" fmla="*/ 96715 w 180613"/>
              <a:gd name="connsiteY2" fmla="*/ 99046 h 196926"/>
              <a:gd name="connsiteX3" fmla="*/ 0 w 180613"/>
              <a:gd name="connsiteY3" fmla="*/ 0 h 196926"/>
              <a:gd name="connsiteX4" fmla="*/ 83898 w 180613"/>
              <a:gd name="connsiteY4" fmla="*/ 0 h 196926"/>
              <a:gd name="connsiteX5" fmla="*/ 180613 w 180613"/>
              <a:gd name="connsiteY5" fmla="*/ 96715 h 196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6926">
                <a:moveTo>
                  <a:pt x="82733" y="196927"/>
                </a:moveTo>
                <a:lnTo>
                  <a:pt x="0" y="196927"/>
                </a:lnTo>
                <a:lnTo>
                  <a:pt x="96715" y="99046"/>
                </a:lnTo>
                <a:lnTo>
                  <a:pt x="0" y="0"/>
                </a:lnTo>
                <a:lnTo>
                  <a:pt x="83898" y="0"/>
                </a:lnTo>
                <a:lnTo>
                  <a:pt x="180613" y="96715"/>
                </a:lnTo>
                <a:close/>
              </a:path>
            </a:pathLst>
          </a:custGeom>
          <a:solidFill>
            <a:srgbClr val="EEF2F5"/>
          </a:solidFill>
          <a:ln w="11643" cap="flat">
            <a:noFill/>
            <a:prstDash val="solid"/>
            <a:miter/>
          </a:ln>
        </p:spPr>
        <p:txBody>
          <a:bodyPr rtlCol="0" anchor="ctr"/>
          <a:lstStyle/>
          <a:p>
            <a:pPr rtl="0"/>
            <a:endParaRPr lang="en-US"/>
          </a:p>
        </p:txBody>
      </p:sp>
      <p:sp>
        <p:nvSpPr>
          <p:cNvPr id="196" name="Freihandform: Form 195">
            <a:extLst>
              <a:ext uri="{FF2B5EF4-FFF2-40B4-BE49-F238E27FC236}">
                <a16:creationId xmlns:a16="http://schemas.microsoft.com/office/drawing/2014/main" id="{4CB58DF8-2ADA-40F9-A585-F61E28EAC1FD}"/>
              </a:ext>
            </a:extLst>
          </p:cNvPr>
          <p:cNvSpPr/>
          <p:nvPr/>
        </p:nvSpPr>
        <p:spPr>
          <a:xfrm>
            <a:off x="8375813" y="5915313"/>
            <a:ext cx="180613" cy="195761"/>
          </a:xfrm>
          <a:custGeom>
            <a:avLst/>
            <a:gdLst>
              <a:gd name="connsiteX0" fmla="*/ 82733 w 180613"/>
              <a:gd name="connsiteY0" fmla="*/ 195762 h 195761"/>
              <a:gd name="connsiteX1" fmla="*/ 0 w 180613"/>
              <a:gd name="connsiteY1" fmla="*/ 195762 h 195761"/>
              <a:gd name="connsiteX2" fmla="*/ 96715 w 180613"/>
              <a:gd name="connsiteY2" fmla="*/ 99046 h 195761"/>
              <a:gd name="connsiteX3" fmla="*/ 0 w 180613"/>
              <a:gd name="connsiteY3" fmla="*/ 0 h 195761"/>
              <a:gd name="connsiteX4" fmla="*/ 83898 w 180613"/>
              <a:gd name="connsiteY4" fmla="*/ 0 h 195761"/>
              <a:gd name="connsiteX5" fmla="*/ 180613 w 180613"/>
              <a:gd name="connsiteY5" fmla="*/ 96715 h 19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5761">
                <a:moveTo>
                  <a:pt x="82733" y="195762"/>
                </a:moveTo>
                <a:lnTo>
                  <a:pt x="0" y="195762"/>
                </a:lnTo>
                <a:lnTo>
                  <a:pt x="96715" y="99046"/>
                </a:lnTo>
                <a:lnTo>
                  <a:pt x="0" y="0"/>
                </a:lnTo>
                <a:lnTo>
                  <a:pt x="83898" y="0"/>
                </a:lnTo>
                <a:lnTo>
                  <a:pt x="180613" y="96715"/>
                </a:lnTo>
                <a:close/>
              </a:path>
            </a:pathLst>
          </a:custGeom>
          <a:solidFill>
            <a:srgbClr val="EEF2F5"/>
          </a:solidFill>
          <a:ln w="11643" cap="flat">
            <a:noFill/>
            <a:prstDash val="solid"/>
            <a:miter/>
          </a:ln>
        </p:spPr>
        <p:txBody>
          <a:bodyPr rtlCol="0" anchor="ctr"/>
          <a:lstStyle/>
          <a:p>
            <a:pPr rtl="0"/>
            <a:endParaRPr lang="en-US"/>
          </a:p>
        </p:txBody>
      </p:sp>
      <p:sp>
        <p:nvSpPr>
          <p:cNvPr id="213" name="Freihandform: Form 212">
            <a:extLst>
              <a:ext uri="{FF2B5EF4-FFF2-40B4-BE49-F238E27FC236}">
                <a16:creationId xmlns:a16="http://schemas.microsoft.com/office/drawing/2014/main" id="{57028041-D229-4433-B39C-C3F33483B647}"/>
              </a:ext>
            </a:extLst>
          </p:cNvPr>
          <p:cNvSpPr/>
          <p:nvPr/>
        </p:nvSpPr>
        <p:spPr>
          <a:xfrm>
            <a:off x="8375813" y="6270714"/>
            <a:ext cx="180613" cy="195761"/>
          </a:xfrm>
          <a:custGeom>
            <a:avLst/>
            <a:gdLst>
              <a:gd name="connsiteX0" fmla="*/ 82733 w 180613"/>
              <a:gd name="connsiteY0" fmla="*/ 195762 h 195761"/>
              <a:gd name="connsiteX1" fmla="*/ 0 w 180613"/>
              <a:gd name="connsiteY1" fmla="*/ 195762 h 195761"/>
              <a:gd name="connsiteX2" fmla="*/ 96715 w 180613"/>
              <a:gd name="connsiteY2" fmla="*/ 97881 h 195761"/>
              <a:gd name="connsiteX3" fmla="*/ 0 w 180613"/>
              <a:gd name="connsiteY3" fmla="*/ 0 h 195761"/>
              <a:gd name="connsiteX4" fmla="*/ 83898 w 180613"/>
              <a:gd name="connsiteY4" fmla="*/ 0 h 195761"/>
              <a:gd name="connsiteX5" fmla="*/ 180613 w 180613"/>
              <a:gd name="connsiteY5" fmla="*/ 95550 h 19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5761">
                <a:moveTo>
                  <a:pt x="82733" y="195762"/>
                </a:moveTo>
                <a:lnTo>
                  <a:pt x="0" y="195762"/>
                </a:lnTo>
                <a:lnTo>
                  <a:pt x="96715" y="97881"/>
                </a:lnTo>
                <a:lnTo>
                  <a:pt x="0" y="0"/>
                </a:lnTo>
                <a:lnTo>
                  <a:pt x="83898" y="0"/>
                </a:lnTo>
                <a:lnTo>
                  <a:pt x="180613" y="95550"/>
                </a:lnTo>
                <a:close/>
              </a:path>
            </a:pathLst>
          </a:custGeom>
          <a:solidFill>
            <a:srgbClr val="EEF2F5"/>
          </a:solidFill>
          <a:ln w="11643" cap="flat">
            <a:noFill/>
            <a:prstDash val="solid"/>
            <a:miter/>
          </a:ln>
        </p:spPr>
        <p:txBody>
          <a:bodyPr rtlCol="0" anchor="ctr"/>
          <a:lstStyle/>
          <a:p>
            <a:pPr rtl="0"/>
            <a:endParaRPr lang="en-US"/>
          </a:p>
        </p:txBody>
      </p:sp>
      <p:sp>
        <p:nvSpPr>
          <p:cNvPr id="229" name="Freihandform: Form 228">
            <a:extLst>
              <a:ext uri="{FF2B5EF4-FFF2-40B4-BE49-F238E27FC236}">
                <a16:creationId xmlns:a16="http://schemas.microsoft.com/office/drawing/2014/main" id="{9B8DB432-5722-4DDC-9DA4-82611DB7AF21}"/>
              </a:ext>
            </a:extLst>
          </p:cNvPr>
          <p:cNvSpPr/>
          <p:nvPr/>
        </p:nvSpPr>
        <p:spPr>
          <a:xfrm>
            <a:off x="8375813" y="6624949"/>
            <a:ext cx="180613" cy="196926"/>
          </a:xfrm>
          <a:custGeom>
            <a:avLst/>
            <a:gdLst>
              <a:gd name="connsiteX0" fmla="*/ 82733 w 180613"/>
              <a:gd name="connsiteY0" fmla="*/ 196927 h 196926"/>
              <a:gd name="connsiteX1" fmla="*/ 0 w 180613"/>
              <a:gd name="connsiteY1" fmla="*/ 196927 h 196926"/>
              <a:gd name="connsiteX2" fmla="*/ 96715 w 180613"/>
              <a:gd name="connsiteY2" fmla="*/ 99046 h 196926"/>
              <a:gd name="connsiteX3" fmla="*/ 0 w 180613"/>
              <a:gd name="connsiteY3" fmla="*/ 0 h 196926"/>
              <a:gd name="connsiteX4" fmla="*/ 83898 w 180613"/>
              <a:gd name="connsiteY4" fmla="*/ 0 h 196926"/>
              <a:gd name="connsiteX5" fmla="*/ 180613 w 180613"/>
              <a:gd name="connsiteY5" fmla="*/ 96715 h 196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6926">
                <a:moveTo>
                  <a:pt x="82733" y="196927"/>
                </a:moveTo>
                <a:lnTo>
                  <a:pt x="0" y="196927"/>
                </a:lnTo>
                <a:lnTo>
                  <a:pt x="96715" y="99046"/>
                </a:lnTo>
                <a:lnTo>
                  <a:pt x="0" y="0"/>
                </a:lnTo>
                <a:lnTo>
                  <a:pt x="83898" y="0"/>
                </a:lnTo>
                <a:lnTo>
                  <a:pt x="180613" y="96715"/>
                </a:lnTo>
                <a:close/>
              </a:path>
            </a:pathLst>
          </a:custGeom>
          <a:solidFill>
            <a:srgbClr val="EEF2F5"/>
          </a:solidFill>
          <a:ln w="11643" cap="flat">
            <a:noFill/>
            <a:prstDash val="solid"/>
            <a:miter/>
          </a:ln>
        </p:spPr>
        <p:txBody>
          <a:bodyPr rtlCol="0" anchor="ctr"/>
          <a:lstStyle/>
          <a:p>
            <a:pPr rtl="0"/>
            <a:endParaRPr lang="en-US"/>
          </a:p>
        </p:txBody>
      </p:sp>
      <p:sp>
        <p:nvSpPr>
          <p:cNvPr id="18" name="Freihandform: Form 17">
            <a:extLst>
              <a:ext uri="{FF2B5EF4-FFF2-40B4-BE49-F238E27FC236}">
                <a16:creationId xmlns:a16="http://schemas.microsoft.com/office/drawing/2014/main" id="{5D717E25-D335-4E65-A411-45D9057ED87F}"/>
              </a:ext>
            </a:extLst>
          </p:cNvPr>
          <p:cNvSpPr/>
          <p:nvPr/>
        </p:nvSpPr>
        <p:spPr>
          <a:xfrm>
            <a:off x="8721892" y="2002410"/>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6038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6038"/>
                </a:lnTo>
                <a:close/>
              </a:path>
            </a:pathLst>
          </a:custGeom>
          <a:solidFill>
            <a:srgbClr val="EEF2F5"/>
          </a:solidFill>
          <a:ln w="11643" cap="flat">
            <a:noFill/>
            <a:prstDash val="solid"/>
            <a:miter/>
          </a:ln>
        </p:spPr>
        <p:txBody>
          <a:bodyPr rtlCol="0" anchor="ctr"/>
          <a:lstStyle/>
          <a:p>
            <a:pPr rtl="0"/>
            <a:endParaRPr lang="en-US"/>
          </a:p>
        </p:txBody>
      </p:sp>
      <p:sp>
        <p:nvSpPr>
          <p:cNvPr id="33" name="Freihandform: Form 32">
            <a:extLst>
              <a:ext uri="{FF2B5EF4-FFF2-40B4-BE49-F238E27FC236}">
                <a16:creationId xmlns:a16="http://schemas.microsoft.com/office/drawing/2014/main" id="{8191837C-2D2D-4E7E-BB7B-2C536FE31ED3}"/>
              </a:ext>
            </a:extLst>
          </p:cNvPr>
          <p:cNvSpPr/>
          <p:nvPr/>
        </p:nvSpPr>
        <p:spPr>
          <a:xfrm>
            <a:off x="8721892" y="2357811"/>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4872"/>
                </a:lnTo>
                <a:close/>
              </a:path>
            </a:pathLst>
          </a:custGeom>
          <a:solidFill>
            <a:srgbClr val="EEF2F5"/>
          </a:solidFill>
          <a:ln w="11643" cap="flat">
            <a:noFill/>
            <a:prstDash val="solid"/>
            <a:miter/>
          </a:ln>
        </p:spPr>
        <p:txBody>
          <a:bodyPr rtlCol="0" anchor="ctr"/>
          <a:lstStyle/>
          <a:p>
            <a:pPr rtl="0"/>
            <a:endParaRPr lang="en-US"/>
          </a:p>
        </p:txBody>
      </p:sp>
      <p:sp>
        <p:nvSpPr>
          <p:cNvPr id="49" name="Freihandform: Form 48">
            <a:extLst>
              <a:ext uri="{FF2B5EF4-FFF2-40B4-BE49-F238E27FC236}">
                <a16:creationId xmlns:a16="http://schemas.microsoft.com/office/drawing/2014/main" id="{7C3E3047-07A6-44AE-A863-B14D0E91E9D2}"/>
              </a:ext>
            </a:extLst>
          </p:cNvPr>
          <p:cNvSpPr/>
          <p:nvPr/>
        </p:nvSpPr>
        <p:spPr>
          <a:xfrm>
            <a:off x="8721892" y="2712046"/>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6038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6038"/>
                </a:lnTo>
                <a:close/>
              </a:path>
            </a:pathLst>
          </a:custGeom>
          <a:solidFill>
            <a:srgbClr val="EEF2F5"/>
          </a:solidFill>
          <a:ln w="11643" cap="flat">
            <a:noFill/>
            <a:prstDash val="solid"/>
            <a:miter/>
          </a:ln>
        </p:spPr>
        <p:txBody>
          <a:bodyPr rtlCol="0" anchor="ctr"/>
          <a:lstStyle/>
          <a:p>
            <a:pPr rtl="0"/>
            <a:endParaRPr lang="en-US"/>
          </a:p>
        </p:txBody>
      </p:sp>
      <p:sp>
        <p:nvSpPr>
          <p:cNvPr id="65" name="Freihandform: Form 64">
            <a:extLst>
              <a:ext uri="{FF2B5EF4-FFF2-40B4-BE49-F238E27FC236}">
                <a16:creationId xmlns:a16="http://schemas.microsoft.com/office/drawing/2014/main" id="{A33D910C-FE80-4271-80EB-43FB226FC311}"/>
              </a:ext>
            </a:extLst>
          </p:cNvPr>
          <p:cNvSpPr/>
          <p:nvPr/>
        </p:nvSpPr>
        <p:spPr>
          <a:xfrm>
            <a:off x="8721892" y="3067447"/>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4872"/>
                </a:lnTo>
                <a:close/>
              </a:path>
            </a:pathLst>
          </a:custGeom>
          <a:solidFill>
            <a:srgbClr val="EEF2F5"/>
          </a:solidFill>
          <a:ln w="11643" cap="flat">
            <a:noFill/>
            <a:prstDash val="solid"/>
            <a:miter/>
          </a:ln>
        </p:spPr>
        <p:txBody>
          <a:bodyPr rtlCol="0" anchor="ctr"/>
          <a:lstStyle/>
          <a:p>
            <a:pPr rtl="0"/>
            <a:endParaRPr lang="en-US"/>
          </a:p>
        </p:txBody>
      </p:sp>
      <p:sp>
        <p:nvSpPr>
          <p:cNvPr id="81" name="Freihandform: Form 80">
            <a:extLst>
              <a:ext uri="{FF2B5EF4-FFF2-40B4-BE49-F238E27FC236}">
                <a16:creationId xmlns:a16="http://schemas.microsoft.com/office/drawing/2014/main" id="{3C2ACAE0-E8A8-4FC5-919A-02F70B7D5438}"/>
              </a:ext>
            </a:extLst>
          </p:cNvPr>
          <p:cNvSpPr/>
          <p:nvPr/>
        </p:nvSpPr>
        <p:spPr>
          <a:xfrm>
            <a:off x="8721892" y="3421682"/>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6038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6038"/>
                </a:lnTo>
                <a:close/>
              </a:path>
            </a:pathLst>
          </a:custGeom>
          <a:solidFill>
            <a:srgbClr val="EEF2F5"/>
          </a:solidFill>
          <a:ln w="11643" cap="flat">
            <a:noFill/>
            <a:prstDash val="solid"/>
            <a:miter/>
          </a:ln>
        </p:spPr>
        <p:txBody>
          <a:bodyPr rtlCol="0" anchor="ctr"/>
          <a:lstStyle/>
          <a:p>
            <a:pPr rtl="0"/>
            <a:endParaRPr lang="en-US"/>
          </a:p>
        </p:txBody>
      </p:sp>
      <p:sp>
        <p:nvSpPr>
          <p:cNvPr id="97" name="Freihandform: Form 96">
            <a:extLst>
              <a:ext uri="{FF2B5EF4-FFF2-40B4-BE49-F238E27FC236}">
                <a16:creationId xmlns:a16="http://schemas.microsoft.com/office/drawing/2014/main" id="{49C7B20E-CBCC-427C-8257-9EDB4B177C6A}"/>
              </a:ext>
            </a:extLst>
          </p:cNvPr>
          <p:cNvSpPr/>
          <p:nvPr/>
        </p:nvSpPr>
        <p:spPr>
          <a:xfrm>
            <a:off x="8721892" y="3777083"/>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4872"/>
                </a:lnTo>
                <a:close/>
              </a:path>
            </a:pathLst>
          </a:custGeom>
          <a:solidFill>
            <a:srgbClr val="EEF2F5"/>
          </a:solidFill>
          <a:ln w="11643" cap="flat">
            <a:noFill/>
            <a:prstDash val="solid"/>
            <a:miter/>
          </a:ln>
        </p:spPr>
        <p:txBody>
          <a:bodyPr rtlCol="0" anchor="ctr"/>
          <a:lstStyle/>
          <a:p>
            <a:pPr rtl="0"/>
            <a:endParaRPr lang="en-US"/>
          </a:p>
        </p:txBody>
      </p:sp>
      <p:sp>
        <p:nvSpPr>
          <p:cNvPr id="113" name="Freihandform: Form 112">
            <a:extLst>
              <a:ext uri="{FF2B5EF4-FFF2-40B4-BE49-F238E27FC236}">
                <a16:creationId xmlns:a16="http://schemas.microsoft.com/office/drawing/2014/main" id="{AA929FBA-3B60-4B90-A12C-EEB1A0A8CF38}"/>
              </a:ext>
            </a:extLst>
          </p:cNvPr>
          <p:cNvSpPr/>
          <p:nvPr/>
        </p:nvSpPr>
        <p:spPr>
          <a:xfrm>
            <a:off x="8721892" y="4132484"/>
            <a:ext cx="198092" cy="214405"/>
          </a:xfrm>
          <a:custGeom>
            <a:avLst/>
            <a:gdLst>
              <a:gd name="connsiteX0" fmla="*/ 90889 w 198092"/>
              <a:gd name="connsiteY0" fmla="*/ 214406 h 214405"/>
              <a:gd name="connsiteX1" fmla="*/ 0 w 198092"/>
              <a:gd name="connsiteY1" fmla="*/ 214406 h 214405"/>
              <a:gd name="connsiteX2" fmla="*/ 106037 w 198092"/>
              <a:gd name="connsiteY2" fmla="*/ 107203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7203"/>
                </a:lnTo>
                <a:lnTo>
                  <a:pt x="0" y="0"/>
                </a:lnTo>
                <a:lnTo>
                  <a:pt x="92055" y="0"/>
                </a:lnTo>
                <a:lnTo>
                  <a:pt x="198092" y="104872"/>
                </a:lnTo>
                <a:close/>
              </a:path>
            </a:pathLst>
          </a:custGeom>
          <a:solidFill>
            <a:srgbClr val="EEF2F5"/>
          </a:solidFill>
          <a:ln w="11643" cap="flat">
            <a:noFill/>
            <a:prstDash val="solid"/>
            <a:miter/>
          </a:ln>
        </p:spPr>
        <p:txBody>
          <a:bodyPr rtlCol="0" anchor="ctr"/>
          <a:lstStyle/>
          <a:p>
            <a:pPr rtl="0"/>
            <a:endParaRPr lang="en-US"/>
          </a:p>
        </p:txBody>
      </p:sp>
      <p:sp>
        <p:nvSpPr>
          <p:cNvPr id="129" name="Freihandform: Form 128">
            <a:extLst>
              <a:ext uri="{FF2B5EF4-FFF2-40B4-BE49-F238E27FC236}">
                <a16:creationId xmlns:a16="http://schemas.microsoft.com/office/drawing/2014/main" id="{2A2E02AC-BFFD-44C8-869B-053E6C74FD2B}"/>
              </a:ext>
            </a:extLst>
          </p:cNvPr>
          <p:cNvSpPr/>
          <p:nvPr/>
        </p:nvSpPr>
        <p:spPr>
          <a:xfrm>
            <a:off x="8721892" y="4486719"/>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4872"/>
                </a:lnTo>
                <a:close/>
              </a:path>
            </a:pathLst>
          </a:custGeom>
          <a:solidFill>
            <a:srgbClr val="EEF2F5"/>
          </a:solidFill>
          <a:ln w="11643" cap="flat">
            <a:noFill/>
            <a:prstDash val="solid"/>
            <a:miter/>
          </a:ln>
        </p:spPr>
        <p:txBody>
          <a:bodyPr rtlCol="0" anchor="ctr"/>
          <a:lstStyle/>
          <a:p>
            <a:pPr rtl="0"/>
            <a:endParaRPr lang="en-US"/>
          </a:p>
        </p:txBody>
      </p:sp>
      <p:sp>
        <p:nvSpPr>
          <p:cNvPr id="146" name="Freihandform: Form 145">
            <a:extLst>
              <a:ext uri="{FF2B5EF4-FFF2-40B4-BE49-F238E27FC236}">
                <a16:creationId xmlns:a16="http://schemas.microsoft.com/office/drawing/2014/main" id="{05AC39C3-CD17-42BE-BFB8-C8A94809F9BF}"/>
              </a:ext>
            </a:extLst>
          </p:cNvPr>
          <p:cNvSpPr/>
          <p:nvPr/>
        </p:nvSpPr>
        <p:spPr>
          <a:xfrm>
            <a:off x="8721892" y="4842120"/>
            <a:ext cx="198092" cy="214405"/>
          </a:xfrm>
          <a:custGeom>
            <a:avLst/>
            <a:gdLst>
              <a:gd name="connsiteX0" fmla="*/ 90889 w 198092"/>
              <a:gd name="connsiteY0" fmla="*/ 214406 h 214405"/>
              <a:gd name="connsiteX1" fmla="*/ 0 w 198092"/>
              <a:gd name="connsiteY1" fmla="*/ 214406 h 214405"/>
              <a:gd name="connsiteX2" fmla="*/ 106037 w 198092"/>
              <a:gd name="connsiteY2" fmla="*/ 107203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7203"/>
                </a:lnTo>
                <a:lnTo>
                  <a:pt x="0" y="0"/>
                </a:lnTo>
                <a:lnTo>
                  <a:pt x="92055" y="0"/>
                </a:lnTo>
                <a:lnTo>
                  <a:pt x="198092" y="104872"/>
                </a:lnTo>
                <a:close/>
              </a:path>
            </a:pathLst>
          </a:custGeom>
          <a:solidFill>
            <a:srgbClr val="EEF2F5"/>
          </a:solidFill>
          <a:ln w="11643" cap="flat">
            <a:noFill/>
            <a:prstDash val="solid"/>
            <a:miter/>
          </a:ln>
        </p:spPr>
        <p:txBody>
          <a:bodyPr rtlCol="0" anchor="ctr"/>
          <a:lstStyle/>
          <a:p>
            <a:pPr rtl="0"/>
            <a:endParaRPr lang="en-US"/>
          </a:p>
        </p:txBody>
      </p:sp>
      <p:sp>
        <p:nvSpPr>
          <p:cNvPr id="163" name="Freihandform: Form 162">
            <a:extLst>
              <a:ext uri="{FF2B5EF4-FFF2-40B4-BE49-F238E27FC236}">
                <a16:creationId xmlns:a16="http://schemas.microsoft.com/office/drawing/2014/main" id="{88E84DF2-6EB7-427E-A4CB-C71E9DB80B42}"/>
              </a:ext>
            </a:extLst>
          </p:cNvPr>
          <p:cNvSpPr/>
          <p:nvPr/>
        </p:nvSpPr>
        <p:spPr>
          <a:xfrm>
            <a:off x="8721892" y="5196355"/>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6038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6038"/>
                </a:lnTo>
                <a:close/>
              </a:path>
            </a:pathLst>
          </a:custGeom>
          <a:solidFill>
            <a:srgbClr val="EEF2F5"/>
          </a:solidFill>
          <a:ln w="11643" cap="flat">
            <a:noFill/>
            <a:prstDash val="solid"/>
            <a:miter/>
          </a:ln>
        </p:spPr>
        <p:txBody>
          <a:bodyPr rtlCol="0" anchor="ctr"/>
          <a:lstStyle/>
          <a:p>
            <a:pPr rtl="0"/>
            <a:endParaRPr lang="en-US"/>
          </a:p>
        </p:txBody>
      </p:sp>
      <p:sp>
        <p:nvSpPr>
          <p:cNvPr id="180" name="Freihandform: Form 179">
            <a:extLst>
              <a:ext uri="{FF2B5EF4-FFF2-40B4-BE49-F238E27FC236}">
                <a16:creationId xmlns:a16="http://schemas.microsoft.com/office/drawing/2014/main" id="{73606A8C-ADFE-479C-B34E-C91AE8F14BDF}"/>
              </a:ext>
            </a:extLst>
          </p:cNvPr>
          <p:cNvSpPr/>
          <p:nvPr/>
        </p:nvSpPr>
        <p:spPr>
          <a:xfrm>
            <a:off x="8721892" y="5551755"/>
            <a:ext cx="198092" cy="214405"/>
          </a:xfrm>
          <a:custGeom>
            <a:avLst/>
            <a:gdLst>
              <a:gd name="connsiteX0" fmla="*/ 90889 w 198092"/>
              <a:gd name="connsiteY0" fmla="*/ 214406 h 214405"/>
              <a:gd name="connsiteX1" fmla="*/ 0 w 198092"/>
              <a:gd name="connsiteY1" fmla="*/ 214406 h 214405"/>
              <a:gd name="connsiteX2" fmla="*/ 106037 w 198092"/>
              <a:gd name="connsiteY2" fmla="*/ 107203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7203"/>
                </a:lnTo>
                <a:lnTo>
                  <a:pt x="0" y="0"/>
                </a:lnTo>
                <a:lnTo>
                  <a:pt x="92055" y="0"/>
                </a:lnTo>
                <a:lnTo>
                  <a:pt x="198092" y="104872"/>
                </a:lnTo>
                <a:close/>
              </a:path>
            </a:pathLst>
          </a:custGeom>
          <a:solidFill>
            <a:srgbClr val="EEF2F5"/>
          </a:solidFill>
          <a:ln w="11643" cap="flat">
            <a:noFill/>
            <a:prstDash val="solid"/>
            <a:miter/>
          </a:ln>
        </p:spPr>
        <p:txBody>
          <a:bodyPr rtlCol="0" anchor="ctr"/>
          <a:lstStyle/>
          <a:p>
            <a:pPr rtl="0"/>
            <a:endParaRPr lang="en-US"/>
          </a:p>
        </p:txBody>
      </p:sp>
      <p:sp>
        <p:nvSpPr>
          <p:cNvPr id="197" name="Freihandform: Form 196">
            <a:extLst>
              <a:ext uri="{FF2B5EF4-FFF2-40B4-BE49-F238E27FC236}">
                <a16:creationId xmlns:a16="http://schemas.microsoft.com/office/drawing/2014/main" id="{FC296AC6-E750-4BE9-BDD1-981A05C08FF5}"/>
              </a:ext>
            </a:extLst>
          </p:cNvPr>
          <p:cNvSpPr/>
          <p:nvPr/>
        </p:nvSpPr>
        <p:spPr>
          <a:xfrm>
            <a:off x="8721892" y="5905991"/>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6038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6038"/>
                </a:lnTo>
                <a:close/>
              </a:path>
            </a:pathLst>
          </a:custGeom>
          <a:solidFill>
            <a:srgbClr val="EEF2F5"/>
          </a:solidFill>
          <a:ln w="11643" cap="flat">
            <a:noFill/>
            <a:prstDash val="solid"/>
            <a:miter/>
          </a:ln>
        </p:spPr>
        <p:txBody>
          <a:bodyPr rtlCol="0" anchor="ctr"/>
          <a:lstStyle/>
          <a:p>
            <a:pPr rtl="0"/>
            <a:endParaRPr lang="en-US"/>
          </a:p>
        </p:txBody>
      </p:sp>
      <p:sp>
        <p:nvSpPr>
          <p:cNvPr id="214" name="Freihandform: Form 213">
            <a:extLst>
              <a:ext uri="{FF2B5EF4-FFF2-40B4-BE49-F238E27FC236}">
                <a16:creationId xmlns:a16="http://schemas.microsoft.com/office/drawing/2014/main" id="{C03E7333-2F83-4C83-832A-36CD5A0C1B61}"/>
              </a:ext>
            </a:extLst>
          </p:cNvPr>
          <p:cNvSpPr/>
          <p:nvPr/>
        </p:nvSpPr>
        <p:spPr>
          <a:xfrm>
            <a:off x="8721892" y="6261391"/>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4872"/>
                </a:lnTo>
                <a:close/>
              </a:path>
            </a:pathLst>
          </a:custGeom>
          <a:solidFill>
            <a:srgbClr val="EEF2F5"/>
          </a:solidFill>
          <a:ln w="11643" cap="flat">
            <a:noFill/>
            <a:prstDash val="solid"/>
            <a:miter/>
          </a:ln>
        </p:spPr>
        <p:txBody>
          <a:bodyPr rtlCol="0" anchor="ctr"/>
          <a:lstStyle/>
          <a:p>
            <a:pPr rtl="0"/>
            <a:endParaRPr lang="en-US"/>
          </a:p>
        </p:txBody>
      </p:sp>
      <p:sp>
        <p:nvSpPr>
          <p:cNvPr id="230" name="Freihandform: Form 229">
            <a:extLst>
              <a:ext uri="{FF2B5EF4-FFF2-40B4-BE49-F238E27FC236}">
                <a16:creationId xmlns:a16="http://schemas.microsoft.com/office/drawing/2014/main" id="{83AA4FB9-F340-4ECE-A8B5-BF0225383456}"/>
              </a:ext>
            </a:extLst>
          </p:cNvPr>
          <p:cNvSpPr/>
          <p:nvPr/>
        </p:nvSpPr>
        <p:spPr>
          <a:xfrm>
            <a:off x="8721892" y="6615627"/>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6037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6037"/>
                </a:lnTo>
                <a:close/>
              </a:path>
            </a:pathLst>
          </a:custGeom>
          <a:solidFill>
            <a:srgbClr val="EEF2F5"/>
          </a:solidFill>
          <a:ln w="11643" cap="flat">
            <a:noFill/>
            <a:prstDash val="solid"/>
            <a:miter/>
          </a:ln>
        </p:spPr>
        <p:txBody>
          <a:bodyPr rtlCol="0" anchor="ctr"/>
          <a:lstStyle/>
          <a:p>
            <a:pPr rtl="0"/>
            <a:endParaRPr lang="en-US"/>
          </a:p>
        </p:txBody>
      </p:sp>
      <p:sp>
        <p:nvSpPr>
          <p:cNvPr id="19" name="Freihandform: Form 18">
            <a:extLst>
              <a:ext uri="{FF2B5EF4-FFF2-40B4-BE49-F238E27FC236}">
                <a16:creationId xmlns:a16="http://schemas.microsoft.com/office/drawing/2014/main" id="{9DB76664-FCBB-4E4F-B5E6-C249AA6B44D0}"/>
              </a:ext>
            </a:extLst>
          </p:cNvPr>
          <p:cNvSpPr/>
          <p:nvPr/>
        </p:nvSpPr>
        <p:spPr>
          <a:xfrm>
            <a:off x="9069136" y="1994253"/>
            <a:ext cx="214405" cy="231884"/>
          </a:xfrm>
          <a:custGeom>
            <a:avLst/>
            <a:gdLst>
              <a:gd name="connsiteX0" fmla="*/ 97881 w 214405"/>
              <a:gd name="connsiteY0" fmla="*/ 231884 h 231884"/>
              <a:gd name="connsiteX1" fmla="*/ 0 w 214405"/>
              <a:gd name="connsiteY1" fmla="*/ 231884 h 231884"/>
              <a:gd name="connsiteX2" fmla="*/ 114194 w 214405"/>
              <a:gd name="connsiteY2" fmla="*/ 116525 h 231884"/>
              <a:gd name="connsiteX3" fmla="*/ 0 w 214405"/>
              <a:gd name="connsiteY3" fmla="*/ 0 h 231884"/>
              <a:gd name="connsiteX4" fmla="*/ 100211 w 214405"/>
              <a:gd name="connsiteY4" fmla="*/ 0 h 231884"/>
              <a:gd name="connsiteX5" fmla="*/ 214406 w 214405"/>
              <a:gd name="connsiteY5" fmla="*/ 114194 h 23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1884">
                <a:moveTo>
                  <a:pt x="97881" y="231884"/>
                </a:moveTo>
                <a:lnTo>
                  <a:pt x="0" y="231884"/>
                </a:lnTo>
                <a:lnTo>
                  <a:pt x="114194" y="116525"/>
                </a:lnTo>
                <a:lnTo>
                  <a:pt x="0" y="0"/>
                </a:lnTo>
                <a:lnTo>
                  <a:pt x="100211" y="0"/>
                </a:lnTo>
                <a:lnTo>
                  <a:pt x="214406" y="114194"/>
                </a:lnTo>
                <a:close/>
              </a:path>
            </a:pathLst>
          </a:custGeom>
          <a:solidFill>
            <a:srgbClr val="EEF2F5"/>
          </a:solidFill>
          <a:ln w="11643" cap="flat">
            <a:noFill/>
            <a:prstDash val="solid"/>
            <a:miter/>
          </a:ln>
        </p:spPr>
        <p:txBody>
          <a:bodyPr rtlCol="0" anchor="ctr"/>
          <a:lstStyle/>
          <a:p>
            <a:pPr rtl="0"/>
            <a:endParaRPr lang="en-US"/>
          </a:p>
        </p:txBody>
      </p:sp>
      <p:sp>
        <p:nvSpPr>
          <p:cNvPr id="34" name="Freihandform: Form 33">
            <a:extLst>
              <a:ext uri="{FF2B5EF4-FFF2-40B4-BE49-F238E27FC236}">
                <a16:creationId xmlns:a16="http://schemas.microsoft.com/office/drawing/2014/main" id="{1C9E837E-20C0-4E65-AB7F-E12A38184389}"/>
              </a:ext>
            </a:extLst>
          </p:cNvPr>
          <p:cNvSpPr/>
          <p:nvPr/>
        </p:nvSpPr>
        <p:spPr>
          <a:xfrm>
            <a:off x="9069136" y="2348489"/>
            <a:ext cx="214405" cy="233049"/>
          </a:xfrm>
          <a:custGeom>
            <a:avLst/>
            <a:gdLst>
              <a:gd name="connsiteX0" fmla="*/ 97881 w 214405"/>
              <a:gd name="connsiteY0" fmla="*/ 233050 h 233049"/>
              <a:gd name="connsiteX1" fmla="*/ 0 w 214405"/>
              <a:gd name="connsiteY1" fmla="*/ 233050 h 233049"/>
              <a:gd name="connsiteX2" fmla="*/ 114194 w 214405"/>
              <a:gd name="connsiteY2" fmla="*/ 117690 h 233049"/>
              <a:gd name="connsiteX3" fmla="*/ 0 w 214405"/>
              <a:gd name="connsiteY3" fmla="*/ 0 h 233049"/>
              <a:gd name="connsiteX4" fmla="*/ 100211 w 214405"/>
              <a:gd name="connsiteY4" fmla="*/ 0 h 233049"/>
              <a:gd name="connsiteX5" fmla="*/ 214406 w 214405"/>
              <a:gd name="connsiteY5" fmla="*/ 114194 h 23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3047">
                <a:moveTo>
                  <a:pt x="97881" y="233050"/>
                </a:moveTo>
                <a:lnTo>
                  <a:pt x="0" y="233050"/>
                </a:lnTo>
                <a:lnTo>
                  <a:pt x="114194" y="117690"/>
                </a:lnTo>
                <a:lnTo>
                  <a:pt x="0" y="0"/>
                </a:lnTo>
                <a:lnTo>
                  <a:pt x="100211" y="0"/>
                </a:lnTo>
                <a:lnTo>
                  <a:pt x="214406" y="114194"/>
                </a:lnTo>
                <a:close/>
              </a:path>
            </a:pathLst>
          </a:custGeom>
          <a:solidFill>
            <a:srgbClr val="EEF2F5"/>
          </a:solidFill>
          <a:ln w="11643" cap="flat">
            <a:noFill/>
            <a:prstDash val="solid"/>
            <a:miter/>
          </a:ln>
        </p:spPr>
        <p:txBody>
          <a:bodyPr rtlCol="0" anchor="ctr"/>
          <a:lstStyle/>
          <a:p>
            <a:pPr rtl="0"/>
            <a:endParaRPr lang="en-US"/>
          </a:p>
        </p:txBody>
      </p:sp>
      <p:sp>
        <p:nvSpPr>
          <p:cNvPr id="50" name="Freihandform: Form 49">
            <a:extLst>
              <a:ext uri="{FF2B5EF4-FFF2-40B4-BE49-F238E27FC236}">
                <a16:creationId xmlns:a16="http://schemas.microsoft.com/office/drawing/2014/main" id="{8113F30E-6E8E-4B5D-82C9-BD00E85422E7}"/>
              </a:ext>
            </a:extLst>
          </p:cNvPr>
          <p:cNvSpPr/>
          <p:nvPr/>
        </p:nvSpPr>
        <p:spPr>
          <a:xfrm>
            <a:off x="9069136" y="2703889"/>
            <a:ext cx="214405" cy="231884"/>
          </a:xfrm>
          <a:custGeom>
            <a:avLst/>
            <a:gdLst>
              <a:gd name="connsiteX0" fmla="*/ 97881 w 214405"/>
              <a:gd name="connsiteY0" fmla="*/ 231884 h 231884"/>
              <a:gd name="connsiteX1" fmla="*/ 0 w 214405"/>
              <a:gd name="connsiteY1" fmla="*/ 231884 h 231884"/>
              <a:gd name="connsiteX2" fmla="*/ 114194 w 214405"/>
              <a:gd name="connsiteY2" fmla="*/ 116525 h 231884"/>
              <a:gd name="connsiteX3" fmla="*/ 0 w 214405"/>
              <a:gd name="connsiteY3" fmla="*/ 0 h 231884"/>
              <a:gd name="connsiteX4" fmla="*/ 100211 w 214405"/>
              <a:gd name="connsiteY4" fmla="*/ 0 h 231884"/>
              <a:gd name="connsiteX5" fmla="*/ 214406 w 214405"/>
              <a:gd name="connsiteY5" fmla="*/ 114194 h 23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1884">
                <a:moveTo>
                  <a:pt x="97881" y="231884"/>
                </a:moveTo>
                <a:lnTo>
                  <a:pt x="0" y="231884"/>
                </a:lnTo>
                <a:lnTo>
                  <a:pt x="114194" y="116525"/>
                </a:lnTo>
                <a:lnTo>
                  <a:pt x="0" y="0"/>
                </a:lnTo>
                <a:lnTo>
                  <a:pt x="100211" y="0"/>
                </a:lnTo>
                <a:lnTo>
                  <a:pt x="214406" y="114194"/>
                </a:lnTo>
                <a:close/>
              </a:path>
            </a:pathLst>
          </a:custGeom>
          <a:solidFill>
            <a:srgbClr val="EEF2F5"/>
          </a:solidFill>
          <a:ln w="11643" cap="flat">
            <a:noFill/>
            <a:prstDash val="solid"/>
            <a:miter/>
          </a:ln>
        </p:spPr>
        <p:txBody>
          <a:bodyPr rtlCol="0" anchor="ctr"/>
          <a:lstStyle/>
          <a:p>
            <a:pPr rtl="0"/>
            <a:endParaRPr lang="en-US"/>
          </a:p>
        </p:txBody>
      </p:sp>
      <p:sp>
        <p:nvSpPr>
          <p:cNvPr id="66" name="Freihandform: Form 65">
            <a:extLst>
              <a:ext uri="{FF2B5EF4-FFF2-40B4-BE49-F238E27FC236}">
                <a16:creationId xmlns:a16="http://schemas.microsoft.com/office/drawing/2014/main" id="{83CF9041-D1BF-47E7-A660-B0728CA7416C}"/>
              </a:ext>
            </a:extLst>
          </p:cNvPr>
          <p:cNvSpPr/>
          <p:nvPr/>
        </p:nvSpPr>
        <p:spPr>
          <a:xfrm>
            <a:off x="9069136" y="3058125"/>
            <a:ext cx="214405" cy="233049"/>
          </a:xfrm>
          <a:custGeom>
            <a:avLst/>
            <a:gdLst>
              <a:gd name="connsiteX0" fmla="*/ 97881 w 214405"/>
              <a:gd name="connsiteY0" fmla="*/ 233050 h 233049"/>
              <a:gd name="connsiteX1" fmla="*/ 0 w 214405"/>
              <a:gd name="connsiteY1" fmla="*/ 233050 h 233049"/>
              <a:gd name="connsiteX2" fmla="*/ 114194 w 214405"/>
              <a:gd name="connsiteY2" fmla="*/ 117690 h 233049"/>
              <a:gd name="connsiteX3" fmla="*/ 0 w 214405"/>
              <a:gd name="connsiteY3" fmla="*/ 0 h 233049"/>
              <a:gd name="connsiteX4" fmla="*/ 100211 w 214405"/>
              <a:gd name="connsiteY4" fmla="*/ 0 h 233049"/>
              <a:gd name="connsiteX5" fmla="*/ 214406 w 214405"/>
              <a:gd name="connsiteY5" fmla="*/ 114194 h 23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3047">
                <a:moveTo>
                  <a:pt x="97881" y="233050"/>
                </a:moveTo>
                <a:lnTo>
                  <a:pt x="0" y="233050"/>
                </a:lnTo>
                <a:lnTo>
                  <a:pt x="114194" y="117690"/>
                </a:lnTo>
                <a:lnTo>
                  <a:pt x="0" y="0"/>
                </a:lnTo>
                <a:lnTo>
                  <a:pt x="100211" y="0"/>
                </a:lnTo>
                <a:lnTo>
                  <a:pt x="214406" y="114194"/>
                </a:lnTo>
                <a:close/>
              </a:path>
            </a:pathLst>
          </a:custGeom>
          <a:solidFill>
            <a:srgbClr val="EEF2F5"/>
          </a:solidFill>
          <a:ln w="11643" cap="flat">
            <a:noFill/>
            <a:prstDash val="solid"/>
            <a:miter/>
          </a:ln>
        </p:spPr>
        <p:txBody>
          <a:bodyPr rtlCol="0" anchor="ctr"/>
          <a:lstStyle/>
          <a:p>
            <a:pPr rtl="0"/>
            <a:endParaRPr lang="en-US"/>
          </a:p>
        </p:txBody>
      </p:sp>
      <p:sp>
        <p:nvSpPr>
          <p:cNvPr id="82" name="Freihandform: Form 81">
            <a:extLst>
              <a:ext uri="{FF2B5EF4-FFF2-40B4-BE49-F238E27FC236}">
                <a16:creationId xmlns:a16="http://schemas.microsoft.com/office/drawing/2014/main" id="{5E3A187E-D2FD-43A2-AA3C-854C35701E6E}"/>
              </a:ext>
            </a:extLst>
          </p:cNvPr>
          <p:cNvSpPr/>
          <p:nvPr/>
        </p:nvSpPr>
        <p:spPr>
          <a:xfrm>
            <a:off x="9069136" y="3413526"/>
            <a:ext cx="214405" cy="231884"/>
          </a:xfrm>
          <a:custGeom>
            <a:avLst/>
            <a:gdLst>
              <a:gd name="connsiteX0" fmla="*/ 97881 w 214405"/>
              <a:gd name="connsiteY0" fmla="*/ 231884 h 231884"/>
              <a:gd name="connsiteX1" fmla="*/ 0 w 214405"/>
              <a:gd name="connsiteY1" fmla="*/ 231884 h 231884"/>
              <a:gd name="connsiteX2" fmla="*/ 114194 w 214405"/>
              <a:gd name="connsiteY2" fmla="*/ 116525 h 231884"/>
              <a:gd name="connsiteX3" fmla="*/ 0 w 214405"/>
              <a:gd name="connsiteY3" fmla="*/ 0 h 231884"/>
              <a:gd name="connsiteX4" fmla="*/ 100211 w 214405"/>
              <a:gd name="connsiteY4" fmla="*/ 0 h 231884"/>
              <a:gd name="connsiteX5" fmla="*/ 214406 w 214405"/>
              <a:gd name="connsiteY5" fmla="*/ 114194 h 23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1884">
                <a:moveTo>
                  <a:pt x="97881" y="231884"/>
                </a:moveTo>
                <a:lnTo>
                  <a:pt x="0" y="231884"/>
                </a:lnTo>
                <a:lnTo>
                  <a:pt x="114194" y="116525"/>
                </a:lnTo>
                <a:lnTo>
                  <a:pt x="0" y="0"/>
                </a:lnTo>
                <a:lnTo>
                  <a:pt x="100211" y="0"/>
                </a:lnTo>
                <a:lnTo>
                  <a:pt x="214406" y="114194"/>
                </a:lnTo>
                <a:close/>
              </a:path>
            </a:pathLst>
          </a:custGeom>
          <a:solidFill>
            <a:srgbClr val="EEF2F5"/>
          </a:solidFill>
          <a:ln w="11643" cap="flat">
            <a:noFill/>
            <a:prstDash val="solid"/>
            <a:miter/>
          </a:ln>
        </p:spPr>
        <p:txBody>
          <a:bodyPr rtlCol="0" anchor="ctr"/>
          <a:lstStyle/>
          <a:p>
            <a:pPr rtl="0"/>
            <a:endParaRPr lang="en-US"/>
          </a:p>
        </p:txBody>
      </p:sp>
      <p:sp>
        <p:nvSpPr>
          <p:cNvPr id="98" name="Freihandform: Form 97">
            <a:extLst>
              <a:ext uri="{FF2B5EF4-FFF2-40B4-BE49-F238E27FC236}">
                <a16:creationId xmlns:a16="http://schemas.microsoft.com/office/drawing/2014/main" id="{D3A81AAA-9E9E-4B15-AAC7-1E1DC2995BB7}"/>
              </a:ext>
            </a:extLst>
          </p:cNvPr>
          <p:cNvSpPr/>
          <p:nvPr/>
        </p:nvSpPr>
        <p:spPr>
          <a:xfrm>
            <a:off x="9069136" y="3767761"/>
            <a:ext cx="214405" cy="233049"/>
          </a:xfrm>
          <a:custGeom>
            <a:avLst/>
            <a:gdLst>
              <a:gd name="connsiteX0" fmla="*/ 97881 w 214405"/>
              <a:gd name="connsiteY0" fmla="*/ 233050 h 233049"/>
              <a:gd name="connsiteX1" fmla="*/ 0 w 214405"/>
              <a:gd name="connsiteY1" fmla="*/ 233050 h 233049"/>
              <a:gd name="connsiteX2" fmla="*/ 114194 w 214405"/>
              <a:gd name="connsiteY2" fmla="*/ 117690 h 233049"/>
              <a:gd name="connsiteX3" fmla="*/ 0 w 214405"/>
              <a:gd name="connsiteY3" fmla="*/ 0 h 233049"/>
              <a:gd name="connsiteX4" fmla="*/ 100211 w 214405"/>
              <a:gd name="connsiteY4" fmla="*/ 0 h 233049"/>
              <a:gd name="connsiteX5" fmla="*/ 214406 w 214405"/>
              <a:gd name="connsiteY5" fmla="*/ 114194 h 23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3047">
                <a:moveTo>
                  <a:pt x="97881" y="233050"/>
                </a:moveTo>
                <a:lnTo>
                  <a:pt x="0" y="233050"/>
                </a:lnTo>
                <a:lnTo>
                  <a:pt x="114194" y="117690"/>
                </a:lnTo>
                <a:lnTo>
                  <a:pt x="0" y="0"/>
                </a:lnTo>
                <a:lnTo>
                  <a:pt x="100211" y="0"/>
                </a:lnTo>
                <a:lnTo>
                  <a:pt x="214406" y="114194"/>
                </a:lnTo>
                <a:close/>
              </a:path>
            </a:pathLst>
          </a:custGeom>
          <a:solidFill>
            <a:srgbClr val="EEF2F5"/>
          </a:solidFill>
          <a:ln w="11643" cap="flat">
            <a:noFill/>
            <a:prstDash val="solid"/>
            <a:miter/>
          </a:ln>
        </p:spPr>
        <p:txBody>
          <a:bodyPr rtlCol="0" anchor="ctr"/>
          <a:lstStyle/>
          <a:p>
            <a:pPr rtl="0"/>
            <a:endParaRPr lang="en-US"/>
          </a:p>
        </p:txBody>
      </p:sp>
      <p:sp>
        <p:nvSpPr>
          <p:cNvPr id="114" name="Freihandform: Form 113">
            <a:extLst>
              <a:ext uri="{FF2B5EF4-FFF2-40B4-BE49-F238E27FC236}">
                <a16:creationId xmlns:a16="http://schemas.microsoft.com/office/drawing/2014/main" id="{D7414768-9244-413F-B790-A52513170C11}"/>
              </a:ext>
            </a:extLst>
          </p:cNvPr>
          <p:cNvSpPr/>
          <p:nvPr/>
        </p:nvSpPr>
        <p:spPr>
          <a:xfrm>
            <a:off x="9069136" y="4123162"/>
            <a:ext cx="214405" cy="231884"/>
          </a:xfrm>
          <a:custGeom>
            <a:avLst/>
            <a:gdLst>
              <a:gd name="connsiteX0" fmla="*/ 97881 w 214405"/>
              <a:gd name="connsiteY0" fmla="*/ 231884 h 231884"/>
              <a:gd name="connsiteX1" fmla="*/ 0 w 214405"/>
              <a:gd name="connsiteY1" fmla="*/ 231884 h 231884"/>
              <a:gd name="connsiteX2" fmla="*/ 114194 w 214405"/>
              <a:gd name="connsiteY2" fmla="*/ 116525 h 231884"/>
              <a:gd name="connsiteX3" fmla="*/ 0 w 214405"/>
              <a:gd name="connsiteY3" fmla="*/ 0 h 231884"/>
              <a:gd name="connsiteX4" fmla="*/ 100211 w 214405"/>
              <a:gd name="connsiteY4" fmla="*/ 0 h 231884"/>
              <a:gd name="connsiteX5" fmla="*/ 214406 w 214405"/>
              <a:gd name="connsiteY5" fmla="*/ 114194 h 23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1884">
                <a:moveTo>
                  <a:pt x="97881" y="231884"/>
                </a:moveTo>
                <a:lnTo>
                  <a:pt x="0" y="231884"/>
                </a:lnTo>
                <a:lnTo>
                  <a:pt x="114194" y="116525"/>
                </a:lnTo>
                <a:lnTo>
                  <a:pt x="0" y="0"/>
                </a:lnTo>
                <a:lnTo>
                  <a:pt x="100211" y="0"/>
                </a:lnTo>
                <a:lnTo>
                  <a:pt x="214406" y="114194"/>
                </a:lnTo>
                <a:close/>
              </a:path>
            </a:pathLst>
          </a:custGeom>
          <a:solidFill>
            <a:srgbClr val="EEF2F5"/>
          </a:solidFill>
          <a:ln w="11643" cap="flat">
            <a:noFill/>
            <a:prstDash val="solid"/>
            <a:miter/>
          </a:ln>
        </p:spPr>
        <p:txBody>
          <a:bodyPr rtlCol="0" anchor="ctr"/>
          <a:lstStyle/>
          <a:p>
            <a:pPr rtl="0"/>
            <a:endParaRPr lang="en-US"/>
          </a:p>
        </p:txBody>
      </p:sp>
      <p:sp>
        <p:nvSpPr>
          <p:cNvPr id="130" name="Freihandform: Form 129">
            <a:extLst>
              <a:ext uri="{FF2B5EF4-FFF2-40B4-BE49-F238E27FC236}">
                <a16:creationId xmlns:a16="http://schemas.microsoft.com/office/drawing/2014/main" id="{401AC1C2-779B-43DF-BA19-77977887DF48}"/>
              </a:ext>
            </a:extLst>
          </p:cNvPr>
          <p:cNvSpPr/>
          <p:nvPr/>
        </p:nvSpPr>
        <p:spPr>
          <a:xfrm>
            <a:off x="9069136" y="4477397"/>
            <a:ext cx="214405" cy="233049"/>
          </a:xfrm>
          <a:custGeom>
            <a:avLst/>
            <a:gdLst>
              <a:gd name="connsiteX0" fmla="*/ 97881 w 214405"/>
              <a:gd name="connsiteY0" fmla="*/ 233050 h 233049"/>
              <a:gd name="connsiteX1" fmla="*/ 0 w 214405"/>
              <a:gd name="connsiteY1" fmla="*/ 233050 h 233049"/>
              <a:gd name="connsiteX2" fmla="*/ 114194 w 214405"/>
              <a:gd name="connsiteY2" fmla="*/ 117690 h 233049"/>
              <a:gd name="connsiteX3" fmla="*/ 0 w 214405"/>
              <a:gd name="connsiteY3" fmla="*/ 0 h 233049"/>
              <a:gd name="connsiteX4" fmla="*/ 100211 w 214405"/>
              <a:gd name="connsiteY4" fmla="*/ 0 h 233049"/>
              <a:gd name="connsiteX5" fmla="*/ 214406 w 214405"/>
              <a:gd name="connsiteY5" fmla="*/ 114194 h 23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3047">
                <a:moveTo>
                  <a:pt x="97881" y="233050"/>
                </a:moveTo>
                <a:lnTo>
                  <a:pt x="0" y="233050"/>
                </a:lnTo>
                <a:lnTo>
                  <a:pt x="114194" y="117690"/>
                </a:lnTo>
                <a:lnTo>
                  <a:pt x="0" y="0"/>
                </a:lnTo>
                <a:lnTo>
                  <a:pt x="100211" y="0"/>
                </a:lnTo>
                <a:lnTo>
                  <a:pt x="214406" y="114194"/>
                </a:lnTo>
                <a:close/>
              </a:path>
            </a:pathLst>
          </a:custGeom>
          <a:solidFill>
            <a:srgbClr val="EEF2F5"/>
          </a:solidFill>
          <a:ln w="11643" cap="flat">
            <a:noFill/>
            <a:prstDash val="solid"/>
            <a:miter/>
          </a:ln>
        </p:spPr>
        <p:txBody>
          <a:bodyPr rtlCol="0" anchor="ctr"/>
          <a:lstStyle/>
          <a:p>
            <a:pPr rtl="0"/>
            <a:endParaRPr lang="en-US"/>
          </a:p>
        </p:txBody>
      </p:sp>
      <p:sp>
        <p:nvSpPr>
          <p:cNvPr id="147" name="Freihandform: Form 146">
            <a:extLst>
              <a:ext uri="{FF2B5EF4-FFF2-40B4-BE49-F238E27FC236}">
                <a16:creationId xmlns:a16="http://schemas.microsoft.com/office/drawing/2014/main" id="{828616FB-ED5E-4EBB-AE8B-F4FB143D7DA7}"/>
              </a:ext>
            </a:extLst>
          </p:cNvPr>
          <p:cNvSpPr/>
          <p:nvPr/>
        </p:nvSpPr>
        <p:spPr>
          <a:xfrm>
            <a:off x="9069136" y="4832797"/>
            <a:ext cx="214405" cy="231884"/>
          </a:xfrm>
          <a:custGeom>
            <a:avLst/>
            <a:gdLst>
              <a:gd name="connsiteX0" fmla="*/ 97881 w 214405"/>
              <a:gd name="connsiteY0" fmla="*/ 231884 h 231884"/>
              <a:gd name="connsiteX1" fmla="*/ 0 w 214405"/>
              <a:gd name="connsiteY1" fmla="*/ 231884 h 231884"/>
              <a:gd name="connsiteX2" fmla="*/ 114194 w 214405"/>
              <a:gd name="connsiteY2" fmla="*/ 116525 h 231884"/>
              <a:gd name="connsiteX3" fmla="*/ 0 w 214405"/>
              <a:gd name="connsiteY3" fmla="*/ 0 h 231884"/>
              <a:gd name="connsiteX4" fmla="*/ 100211 w 214405"/>
              <a:gd name="connsiteY4" fmla="*/ 0 h 231884"/>
              <a:gd name="connsiteX5" fmla="*/ 214406 w 214405"/>
              <a:gd name="connsiteY5" fmla="*/ 114194 h 23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1884">
                <a:moveTo>
                  <a:pt x="97881" y="231884"/>
                </a:moveTo>
                <a:lnTo>
                  <a:pt x="0" y="231884"/>
                </a:lnTo>
                <a:lnTo>
                  <a:pt x="114194" y="116525"/>
                </a:lnTo>
                <a:lnTo>
                  <a:pt x="0" y="0"/>
                </a:lnTo>
                <a:lnTo>
                  <a:pt x="100211" y="0"/>
                </a:lnTo>
                <a:lnTo>
                  <a:pt x="214406" y="114194"/>
                </a:lnTo>
                <a:close/>
              </a:path>
            </a:pathLst>
          </a:custGeom>
          <a:solidFill>
            <a:srgbClr val="EEF2F5"/>
          </a:solidFill>
          <a:ln w="11643" cap="flat">
            <a:noFill/>
            <a:prstDash val="solid"/>
            <a:miter/>
          </a:ln>
        </p:spPr>
        <p:txBody>
          <a:bodyPr rtlCol="0" anchor="ctr"/>
          <a:lstStyle/>
          <a:p>
            <a:pPr rtl="0"/>
            <a:endParaRPr lang="en-US"/>
          </a:p>
        </p:txBody>
      </p:sp>
      <p:sp>
        <p:nvSpPr>
          <p:cNvPr id="164" name="Freihandform: Form 163">
            <a:extLst>
              <a:ext uri="{FF2B5EF4-FFF2-40B4-BE49-F238E27FC236}">
                <a16:creationId xmlns:a16="http://schemas.microsoft.com/office/drawing/2014/main" id="{1552BFC2-885E-488D-9178-E4EF0A480D27}"/>
              </a:ext>
            </a:extLst>
          </p:cNvPr>
          <p:cNvSpPr/>
          <p:nvPr/>
        </p:nvSpPr>
        <p:spPr>
          <a:xfrm>
            <a:off x="9069136" y="5187033"/>
            <a:ext cx="214405" cy="233049"/>
          </a:xfrm>
          <a:custGeom>
            <a:avLst/>
            <a:gdLst>
              <a:gd name="connsiteX0" fmla="*/ 97881 w 214405"/>
              <a:gd name="connsiteY0" fmla="*/ 233050 h 233049"/>
              <a:gd name="connsiteX1" fmla="*/ 0 w 214405"/>
              <a:gd name="connsiteY1" fmla="*/ 233050 h 233049"/>
              <a:gd name="connsiteX2" fmla="*/ 114194 w 214405"/>
              <a:gd name="connsiteY2" fmla="*/ 117690 h 233049"/>
              <a:gd name="connsiteX3" fmla="*/ 0 w 214405"/>
              <a:gd name="connsiteY3" fmla="*/ 0 h 233049"/>
              <a:gd name="connsiteX4" fmla="*/ 100211 w 214405"/>
              <a:gd name="connsiteY4" fmla="*/ 0 h 233049"/>
              <a:gd name="connsiteX5" fmla="*/ 214406 w 214405"/>
              <a:gd name="connsiteY5" fmla="*/ 114194 h 23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3047">
                <a:moveTo>
                  <a:pt x="97881" y="233050"/>
                </a:moveTo>
                <a:lnTo>
                  <a:pt x="0" y="233050"/>
                </a:lnTo>
                <a:lnTo>
                  <a:pt x="114194" y="117690"/>
                </a:lnTo>
                <a:lnTo>
                  <a:pt x="0" y="0"/>
                </a:lnTo>
                <a:lnTo>
                  <a:pt x="100211" y="0"/>
                </a:lnTo>
                <a:lnTo>
                  <a:pt x="214406" y="114194"/>
                </a:lnTo>
                <a:close/>
              </a:path>
            </a:pathLst>
          </a:custGeom>
          <a:solidFill>
            <a:srgbClr val="EEF2F5"/>
          </a:solidFill>
          <a:ln w="11643" cap="flat">
            <a:noFill/>
            <a:prstDash val="solid"/>
            <a:miter/>
          </a:ln>
        </p:spPr>
        <p:txBody>
          <a:bodyPr rtlCol="0" anchor="ctr"/>
          <a:lstStyle/>
          <a:p>
            <a:pPr rtl="0"/>
            <a:endParaRPr lang="en-US"/>
          </a:p>
        </p:txBody>
      </p:sp>
      <p:sp>
        <p:nvSpPr>
          <p:cNvPr id="181" name="Freihandform: Form 180">
            <a:extLst>
              <a:ext uri="{FF2B5EF4-FFF2-40B4-BE49-F238E27FC236}">
                <a16:creationId xmlns:a16="http://schemas.microsoft.com/office/drawing/2014/main" id="{80648966-F9E2-4B5F-ABE6-533E21207054}"/>
              </a:ext>
            </a:extLst>
          </p:cNvPr>
          <p:cNvSpPr/>
          <p:nvPr/>
        </p:nvSpPr>
        <p:spPr>
          <a:xfrm>
            <a:off x="9069136" y="5542434"/>
            <a:ext cx="214405" cy="231884"/>
          </a:xfrm>
          <a:custGeom>
            <a:avLst/>
            <a:gdLst>
              <a:gd name="connsiteX0" fmla="*/ 97881 w 214405"/>
              <a:gd name="connsiteY0" fmla="*/ 231884 h 231884"/>
              <a:gd name="connsiteX1" fmla="*/ 0 w 214405"/>
              <a:gd name="connsiteY1" fmla="*/ 231884 h 231884"/>
              <a:gd name="connsiteX2" fmla="*/ 114194 w 214405"/>
              <a:gd name="connsiteY2" fmla="*/ 117690 h 231884"/>
              <a:gd name="connsiteX3" fmla="*/ 0 w 214405"/>
              <a:gd name="connsiteY3" fmla="*/ 0 h 231884"/>
              <a:gd name="connsiteX4" fmla="*/ 100211 w 214405"/>
              <a:gd name="connsiteY4" fmla="*/ 0 h 231884"/>
              <a:gd name="connsiteX5" fmla="*/ 214406 w 214405"/>
              <a:gd name="connsiteY5" fmla="*/ 114194 h 23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1884">
                <a:moveTo>
                  <a:pt x="97881" y="231884"/>
                </a:moveTo>
                <a:lnTo>
                  <a:pt x="0" y="231884"/>
                </a:lnTo>
                <a:lnTo>
                  <a:pt x="114194" y="117690"/>
                </a:lnTo>
                <a:lnTo>
                  <a:pt x="0" y="0"/>
                </a:lnTo>
                <a:lnTo>
                  <a:pt x="100211" y="0"/>
                </a:lnTo>
                <a:lnTo>
                  <a:pt x="214406" y="114194"/>
                </a:lnTo>
                <a:close/>
              </a:path>
            </a:pathLst>
          </a:custGeom>
          <a:solidFill>
            <a:srgbClr val="EEF2F5"/>
          </a:solidFill>
          <a:ln w="11643" cap="flat">
            <a:noFill/>
            <a:prstDash val="solid"/>
            <a:miter/>
          </a:ln>
        </p:spPr>
        <p:txBody>
          <a:bodyPr rtlCol="0" anchor="ctr"/>
          <a:lstStyle/>
          <a:p>
            <a:pPr rtl="0"/>
            <a:endParaRPr lang="en-US"/>
          </a:p>
        </p:txBody>
      </p:sp>
      <p:sp>
        <p:nvSpPr>
          <p:cNvPr id="198" name="Freihandform: Form 197">
            <a:extLst>
              <a:ext uri="{FF2B5EF4-FFF2-40B4-BE49-F238E27FC236}">
                <a16:creationId xmlns:a16="http://schemas.microsoft.com/office/drawing/2014/main" id="{8C7041C5-0B5B-4AF4-9E5A-19A8C4C12F42}"/>
              </a:ext>
            </a:extLst>
          </p:cNvPr>
          <p:cNvSpPr/>
          <p:nvPr/>
        </p:nvSpPr>
        <p:spPr>
          <a:xfrm>
            <a:off x="9069136" y="5896669"/>
            <a:ext cx="214405" cy="233049"/>
          </a:xfrm>
          <a:custGeom>
            <a:avLst/>
            <a:gdLst>
              <a:gd name="connsiteX0" fmla="*/ 97881 w 214405"/>
              <a:gd name="connsiteY0" fmla="*/ 233050 h 233049"/>
              <a:gd name="connsiteX1" fmla="*/ 0 w 214405"/>
              <a:gd name="connsiteY1" fmla="*/ 233050 h 233049"/>
              <a:gd name="connsiteX2" fmla="*/ 114194 w 214405"/>
              <a:gd name="connsiteY2" fmla="*/ 117690 h 233049"/>
              <a:gd name="connsiteX3" fmla="*/ 0 w 214405"/>
              <a:gd name="connsiteY3" fmla="*/ 0 h 233049"/>
              <a:gd name="connsiteX4" fmla="*/ 100211 w 214405"/>
              <a:gd name="connsiteY4" fmla="*/ 0 h 233049"/>
              <a:gd name="connsiteX5" fmla="*/ 214406 w 214405"/>
              <a:gd name="connsiteY5" fmla="*/ 114194 h 23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3047">
                <a:moveTo>
                  <a:pt x="97881" y="233050"/>
                </a:moveTo>
                <a:lnTo>
                  <a:pt x="0" y="233050"/>
                </a:lnTo>
                <a:lnTo>
                  <a:pt x="114194" y="117690"/>
                </a:lnTo>
                <a:lnTo>
                  <a:pt x="0" y="0"/>
                </a:lnTo>
                <a:lnTo>
                  <a:pt x="100211" y="0"/>
                </a:lnTo>
                <a:lnTo>
                  <a:pt x="214406" y="114194"/>
                </a:lnTo>
                <a:close/>
              </a:path>
            </a:pathLst>
          </a:custGeom>
          <a:solidFill>
            <a:srgbClr val="EEF2F5"/>
          </a:solidFill>
          <a:ln w="11643" cap="flat">
            <a:noFill/>
            <a:prstDash val="solid"/>
            <a:miter/>
          </a:ln>
        </p:spPr>
        <p:txBody>
          <a:bodyPr rtlCol="0" anchor="ctr"/>
          <a:lstStyle/>
          <a:p>
            <a:pPr rtl="0"/>
            <a:endParaRPr lang="en-US"/>
          </a:p>
        </p:txBody>
      </p:sp>
      <p:sp>
        <p:nvSpPr>
          <p:cNvPr id="215" name="Freihandform: Form 214">
            <a:extLst>
              <a:ext uri="{FF2B5EF4-FFF2-40B4-BE49-F238E27FC236}">
                <a16:creationId xmlns:a16="http://schemas.microsoft.com/office/drawing/2014/main" id="{DC129505-58A5-42E7-B349-A205FB83331A}"/>
              </a:ext>
            </a:extLst>
          </p:cNvPr>
          <p:cNvSpPr/>
          <p:nvPr/>
        </p:nvSpPr>
        <p:spPr>
          <a:xfrm>
            <a:off x="9069136" y="6252070"/>
            <a:ext cx="214405" cy="233049"/>
          </a:xfrm>
          <a:custGeom>
            <a:avLst/>
            <a:gdLst>
              <a:gd name="connsiteX0" fmla="*/ 97881 w 214405"/>
              <a:gd name="connsiteY0" fmla="*/ 233050 h 233049"/>
              <a:gd name="connsiteX1" fmla="*/ 0 w 214405"/>
              <a:gd name="connsiteY1" fmla="*/ 233050 h 233049"/>
              <a:gd name="connsiteX2" fmla="*/ 114194 w 214405"/>
              <a:gd name="connsiteY2" fmla="*/ 117690 h 233049"/>
              <a:gd name="connsiteX3" fmla="*/ 0 w 214405"/>
              <a:gd name="connsiteY3" fmla="*/ 0 h 233049"/>
              <a:gd name="connsiteX4" fmla="*/ 100211 w 214405"/>
              <a:gd name="connsiteY4" fmla="*/ 0 h 233049"/>
              <a:gd name="connsiteX5" fmla="*/ 214406 w 214405"/>
              <a:gd name="connsiteY5" fmla="*/ 114194 h 23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3047">
                <a:moveTo>
                  <a:pt x="97881" y="233050"/>
                </a:moveTo>
                <a:lnTo>
                  <a:pt x="0" y="233050"/>
                </a:lnTo>
                <a:lnTo>
                  <a:pt x="114194" y="117690"/>
                </a:lnTo>
                <a:lnTo>
                  <a:pt x="0" y="0"/>
                </a:lnTo>
                <a:lnTo>
                  <a:pt x="100211" y="0"/>
                </a:lnTo>
                <a:lnTo>
                  <a:pt x="214406" y="114194"/>
                </a:lnTo>
                <a:close/>
              </a:path>
            </a:pathLst>
          </a:custGeom>
          <a:solidFill>
            <a:srgbClr val="EEF2F5"/>
          </a:solidFill>
          <a:ln w="11643" cap="flat">
            <a:noFill/>
            <a:prstDash val="solid"/>
            <a:miter/>
          </a:ln>
        </p:spPr>
        <p:txBody>
          <a:bodyPr rtlCol="0" anchor="ctr"/>
          <a:lstStyle/>
          <a:p>
            <a:pPr rtl="0"/>
            <a:endParaRPr lang="en-US"/>
          </a:p>
        </p:txBody>
      </p:sp>
      <p:sp>
        <p:nvSpPr>
          <p:cNvPr id="231" name="Freihandform: Form 230">
            <a:extLst>
              <a:ext uri="{FF2B5EF4-FFF2-40B4-BE49-F238E27FC236}">
                <a16:creationId xmlns:a16="http://schemas.microsoft.com/office/drawing/2014/main" id="{7D437321-278E-41CD-A64F-B829FA8D7F6A}"/>
              </a:ext>
            </a:extLst>
          </p:cNvPr>
          <p:cNvSpPr/>
          <p:nvPr/>
        </p:nvSpPr>
        <p:spPr>
          <a:xfrm>
            <a:off x="9069136" y="6607470"/>
            <a:ext cx="214405" cy="231884"/>
          </a:xfrm>
          <a:custGeom>
            <a:avLst/>
            <a:gdLst>
              <a:gd name="connsiteX0" fmla="*/ 97881 w 214405"/>
              <a:gd name="connsiteY0" fmla="*/ 231884 h 231884"/>
              <a:gd name="connsiteX1" fmla="*/ 0 w 214405"/>
              <a:gd name="connsiteY1" fmla="*/ 231884 h 231884"/>
              <a:gd name="connsiteX2" fmla="*/ 114194 w 214405"/>
              <a:gd name="connsiteY2" fmla="*/ 116525 h 231884"/>
              <a:gd name="connsiteX3" fmla="*/ 0 w 214405"/>
              <a:gd name="connsiteY3" fmla="*/ 0 h 231884"/>
              <a:gd name="connsiteX4" fmla="*/ 100211 w 214405"/>
              <a:gd name="connsiteY4" fmla="*/ 0 h 231884"/>
              <a:gd name="connsiteX5" fmla="*/ 214406 w 214405"/>
              <a:gd name="connsiteY5" fmla="*/ 114194 h 23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1884">
                <a:moveTo>
                  <a:pt x="97881" y="231884"/>
                </a:moveTo>
                <a:lnTo>
                  <a:pt x="0" y="231884"/>
                </a:lnTo>
                <a:lnTo>
                  <a:pt x="114194" y="116525"/>
                </a:lnTo>
                <a:lnTo>
                  <a:pt x="0" y="0"/>
                </a:lnTo>
                <a:lnTo>
                  <a:pt x="100211" y="0"/>
                </a:lnTo>
                <a:lnTo>
                  <a:pt x="214406" y="114194"/>
                </a:lnTo>
                <a:close/>
              </a:path>
            </a:pathLst>
          </a:custGeom>
          <a:solidFill>
            <a:srgbClr val="EEF2F5"/>
          </a:solidFill>
          <a:ln w="11643" cap="flat">
            <a:noFill/>
            <a:prstDash val="solid"/>
            <a:miter/>
          </a:ln>
        </p:spPr>
        <p:txBody>
          <a:bodyPr rtlCol="0" anchor="ctr"/>
          <a:lstStyle/>
          <a:p>
            <a:pPr rtl="0"/>
            <a:endParaRPr lang="en-US"/>
          </a:p>
        </p:txBody>
      </p:sp>
      <p:sp>
        <p:nvSpPr>
          <p:cNvPr id="20" name="Freihandform: Form 19">
            <a:extLst>
              <a:ext uri="{FF2B5EF4-FFF2-40B4-BE49-F238E27FC236}">
                <a16:creationId xmlns:a16="http://schemas.microsoft.com/office/drawing/2014/main" id="{59C6ABB5-FB82-4897-A910-6DBB4D07120E}"/>
              </a:ext>
            </a:extLst>
          </p:cNvPr>
          <p:cNvSpPr/>
          <p:nvPr/>
        </p:nvSpPr>
        <p:spPr>
          <a:xfrm>
            <a:off x="9415215" y="1984931"/>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2351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6">
                <a:moveTo>
                  <a:pt x="106037" y="250528"/>
                </a:moveTo>
                <a:lnTo>
                  <a:pt x="0" y="250528"/>
                </a:lnTo>
                <a:lnTo>
                  <a:pt x="123516" y="125847"/>
                </a:lnTo>
                <a:lnTo>
                  <a:pt x="0" y="0"/>
                </a:lnTo>
                <a:lnTo>
                  <a:pt x="108368" y="0"/>
                </a:lnTo>
                <a:lnTo>
                  <a:pt x="230719" y="122351"/>
                </a:lnTo>
                <a:close/>
              </a:path>
            </a:pathLst>
          </a:custGeom>
          <a:solidFill>
            <a:srgbClr val="EEF2F5"/>
          </a:solidFill>
          <a:ln w="11643" cap="flat">
            <a:noFill/>
            <a:prstDash val="solid"/>
            <a:miter/>
          </a:ln>
        </p:spPr>
        <p:txBody>
          <a:bodyPr rtlCol="0" anchor="ctr"/>
          <a:lstStyle/>
          <a:p>
            <a:pPr rtl="0"/>
            <a:endParaRPr lang="en-US"/>
          </a:p>
        </p:txBody>
      </p:sp>
      <p:sp>
        <p:nvSpPr>
          <p:cNvPr id="35" name="Freihandform: Form 34">
            <a:extLst>
              <a:ext uri="{FF2B5EF4-FFF2-40B4-BE49-F238E27FC236}">
                <a16:creationId xmlns:a16="http://schemas.microsoft.com/office/drawing/2014/main" id="{4B50BF8D-98A0-4C91-8957-BC9FDA550D32}"/>
              </a:ext>
            </a:extLst>
          </p:cNvPr>
          <p:cNvSpPr/>
          <p:nvPr/>
        </p:nvSpPr>
        <p:spPr>
          <a:xfrm>
            <a:off x="9415215" y="2339167"/>
            <a:ext cx="230718" cy="250528"/>
          </a:xfrm>
          <a:custGeom>
            <a:avLst/>
            <a:gdLst>
              <a:gd name="connsiteX0" fmla="*/ 106037 w 230718"/>
              <a:gd name="connsiteY0" fmla="*/ 250528 h 250528"/>
              <a:gd name="connsiteX1" fmla="*/ 0 w 230718"/>
              <a:gd name="connsiteY1" fmla="*/ 250528 h 250528"/>
              <a:gd name="connsiteX2" fmla="*/ 123516 w 230718"/>
              <a:gd name="connsiteY2" fmla="*/ 127012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6">
                <a:moveTo>
                  <a:pt x="106037" y="250528"/>
                </a:moveTo>
                <a:lnTo>
                  <a:pt x="0" y="250528"/>
                </a:lnTo>
                <a:lnTo>
                  <a:pt x="123516" y="127012"/>
                </a:lnTo>
                <a:lnTo>
                  <a:pt x="0" y="0"/>
                </a:lnTo>
                <a:lnTo>
                  <a:pt x="108368" y="0"/>
                </a:lnTo>
                <a:lnTo>
                  <a:pt x="230719" y="123516"/>
                </a:lnTo>
                <a:close/>
              </a:path>
            </a:pathLst>
          </a:custGeom>
          <a:solidFill>
            <a:srgbClr val="EEF2F5"/>
          </a:solidFill>
          <a:ln w="11643" cap="flat">
            <a:noFill/>
            <a:prstDash val="solid"/>
            <a:miter/>
          </a:ln>
        </p:spPr>
        <p:txBody>
          <a:bodyPr rtlCol="0" anchor="ctr"/>
          <a:lstStyle/>
          <a:p>
            <a:pPr rtl="0"/>
            <a:endParaRPr lang="en-US"/>
          </a:p>
        </p:txBody>
      </p:sp>
      <p:sp>
        <p:nvSpPr>
          <p:cNvPr id="51" name="Freihandform: Form 50">
            <a:extLst>
              <a:ext uri="{FF2B5EF4-FFF2-40B4-BE49-F238E27FC236}">
                <a16:creationId xmlns:a16="http://schemas.microsoft.com/office/drawing/2014/main" id="{D1B3B4E3-CEF5-496B-A094-E4A3B0CD5519}"/>
              </a:ext>
            </a:extLst>
          </p:cNvPr>
          <p:cNvSpPr/>
          <p:nvPr/>
        </p:nvSpPr>
        <p:spPr>
          <a:xfrm>
            <a:off x="9415215" y="2694568"/>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6">
                <a:moveTo>
                  <a:pt x="106037" y="250528"/>
                </a:moveTo>
                <a:lnTo>
                  <a:pt x="0" y="250528"/>
                </a:lnTo>
                <a:lnTo>
                  <a:pt x="123516" y="125847"/>
                </a:lnTo>
                <a:lnTo>
                  <a:pt x="0" y="0"/>
                </a:lnTo>
                <a:lnTo>
                  <a:pt x="108368" y="0"/>
                </a:lnTo>
                <a:lnTo>
                  <a:pt x="230719" y="123516"/>
                </a:lnTo>
                <a:close/>
              </a:path>
            </a:pathLst>
          </a:custGeom>
          <a:solidFill>
            <a:srgbClr val="EEF2F5"/>
          </a:solidFill>
          <a:ln w="11643" cap="flat">
            <a:noFill/>
            <a:prstDash val="solid"/>
            <a:miter/>
          </a:ln>
        </p:spPr>
        <p:txBody>
          <a:bodyPr rtlCol="0" anchor="ctr"/>
          <a:lstStyle/>
          <a:p>
            <a:pPr rtl="0"/>
            <a:endParaRPr lang="en-US"/>
          </a:p>
        </p:txBody>
      </p:sp>
      <p:sp>
        <p:nvSpPr>
          <p:cNvPr id="67" name="Freihandform: Form 66">
            <a:extLst>
              <a:ext uri="{FF2B5EF4-FFF2-40B4-BE49-F238E27FC236}">
                <a16:creationId xmlns:a16="http://schemas.microsoft.com/office/drawing/2014/main" id="{03766B2F-D62E-4376-B19A-E9A0137C9FF8}"/>
              </a:ext>
            </a:extLst>
          </p:cNvPr>
          <p:cNvSpPr/>
          <p:nvPr/>
        </p:nvSpPr>
        <p:spPr>
          <a:xfrm>
            <a:off x="9415215" y="3048803"/>
            <a:ext cx="230718" cy="250528"/>
          </a:xfrm>
          <a:custGeom>
            <a:avLst/>
            <a:gdLst>
              <a:gd name="connsiteX0" fmla="*/ 106037 w 230718"/>
              <a:gd name="connsiteY0" fmla="*/ 250528 h 250528"/>
              <a:gd name="connsiteX1" fmla="*/ 0 w 230718"/>
              <a:gd name="connsiteY1" fmla="*/ 250528 h 250528"/>
              <a:gd name="connsiteX2" fmla="*/ 123516 w 230718"/>
              <a:gd name="connsiteY2" fmla="*/ 127012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6">
                <a:moveTo>
                  <a:pt x="106037" y="250528"/>
                </a:moveTo>
                <a:lnTo>
                  <a:pt x="0" y="250528"/>
                </a:lnTo>
                <a:lnTo>
                  <a:pt x="123516" y="127012"/>
                </a:lnTo>
                <a:lnTo>
                  <a:pt x="0" y="0"/>
                </a:lnTo>
                <a:lnTo>
                  <a:pt x="108368" y="0"/>
                </a:lnTo>
                <a:lnTo>
                  <a:pt x="230719" y="123516"/>
                </a:lnTo>
                <a:close/>
              </a:path>
            </a:pathLst>
          </a:custGeom>
          <a:solidFill>
            <a:srgbClr val="EEF2F5"/>
          </a:solidFill>
          <a:ln w="11643" cap="flat">
            <a:noFill/>
            <a:prstDash val="solid"/>
            <a:miter/>
          </a:ln>
        </p:spPr>
        <p:txBody>
          <a:bodyPr rtlCol="0" anchor="ctr"/>
          <a:lstStyle/>
          <a:p>
            <a:pPr rtl="0"/>
            <a:endParaRPr lang="en-US"/>
          </a:p>
        </p:txBody>
      </p:sp>
      <p:sp>
        <p:nvSpPr>
          <p:cNvPr id="83" name="Freihandform: Form 82">
            <a:extLst>
              <a:ext uri="{FF2B5EF4-FFF2-40B4-BE49-F238E27FC236}">
                <a16:creationId xmlns:a16="http://schemas.microsoft.com/office/drawing/2014/main" id="{AF30F1BC-BAAD-4C43-8F77-BAF589EBE37F}"/>
              </a:ext>
            </a:extLst>
          </p:cNvPr>
          <p:cNvSpPr/>
          <p:nvPr/>
        </p:nvSpPr>
        <p:spPr>
          <a:xfrm>
            <a:off x="9415215" y="3404203"/>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6">
                <a:moveTo>
                  <a:pt x="106037" y="250528"/>
                </a:moveTo>
                <a:lnTo>
                  <a:pt x="0" y="250528"/>
                </a:lnTo>
                <a:lnTo>
                  <a:pt x="123516" y="125847"/>
                </a:lnTo>
                <a:lnTo>
                  <a:pt x="0" y="0"/>
                </a:lnTo>
                <a:lnTo>
                  <a:pt x="108368" y="0"/>
                </a:lnTo>
                <a:lnTo>
                  <a:pt x="230719" y="123516"/>
                </a:lnTo>
                <a:close/>
              </a:path>
            </a:pathLst>
          </a:custGeom>
          <a:solidFill>
            <a:srgbClr val="EEF2F5"/>
          </a:solidFill>
          <a:ln w="11643" cap="flat">
            <a:noFill/>
            <a:prstDash val="solid"/>
            <a:miter/>
          </a:ln>
        </p:spPr>
        <p:txBody>
          <a:bodyPr rtlCol="0" anchor="ctr"/>
          <a:lstStyle/>
          <a:p>
            <a:pPr rtl="0"/>
            <a:endParaRPr lang="en-US"/>
          </a:p>
        </p:txBody>
      </p:sp>
      <p:sp>
        <p:nvSpPr>
          <p:cNvPr id="99" name="Freihandform: Form 98">
            <a:extLst>
              <a:ext uri="{FF2B5EF4-FFF2-40B4-BE49-F238E27FC236}">
                <a16:creationId xmlns:a16="http://schemas.microsoft.com/office/drawing/2014/main" id="{EB01FE63-3ABC-4A0B-B6A7-BC06FBCD3820}"/>
              </a:ext>
            </a:extLst>
          </p:cNvPr>
          <p:cNvSpPr/>
          <p:nvPr/>
        </p:nvSpPr>
        <p:spPr>
          <a:xfrm>
            <a:off x="9415215" y="3758439"/>
            <a:ext cx="230718" cy="251693"/>
          </a:xfrm>
          <a:custGeom>
            <a:avLst/>
            <a:gdLst>
              <a:gd name="connsiteX0" fmla="*/ 106037 w 230718"/>
              <a:gd name="connsiteY0" fmla="*/ 251694 h 251693"/>
              <a:gd name="connsiteX1" fmla="*/ 0 w 230718"/>
              <a:gd name="connsiteY1" fmla="*/ 251694 h 251693"/>
              <a:gd name="connsiteX2" fmla="*/ 123516 w 230718"/>
              <a:gd name="connsiteY2" fmla="*/ 127012 h 251693"/>
              <a:gd name="connsiteX3" fmla="*/ 0 w 230718"/>
              <a:gd name="connsiteY3" fmla="*/ 0 h 251693"/>
              <a:gd name="connsiteX4" fmla="*/ 108368 w 230718"/>
              <a:gd name="connsiteY4" fmla="*/ 0 h 251693"/>
              <a:gd name="connsiteX5" fmla="*/ 230719 w 230718"/>
              <a:gd name="connsiteY5" fmla="*/ 123516 h 251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1693">
                <a:moveTo>
                  <a:pt x="106037" y="251694"/>
                </a:moveTo>
                <a:lnTo>
                  <a:pt x="0" y="251694"/>
                </a:lnTo>
                <a:lnTo>
                  <a:pt x="123516" y="127012"/>
                </a:lnTo>
                <a:lnTo>
                  <a:pt x="0" y="0"/>
                </a:lnTo>
                <a:lnTo>
                  <a:pt x="108368" y="0"/>
                </a:lnTo>
                <a:lnTo>
                  <a:pt x="230719" y="123516"/>
                </a:lnTo>
                <a:close/>
              </a:path>
            </a:pathLst>
          </a:custGeom>
          <a:solidFill>
            <a:srgbClr val="EEF2F5"/>
          </a:solidFill>
          <a:ln w="11643" cap="flat">
            <a:noFill/>
            <a:prstDash val="solid"/>
            <a:miter/>
          </a:ln>
        </p:spPr>
        <p:txBody>
          <a:bodyPr rtlCol="0" anchor="ctr"/>
          <a:lstStyle/>
          <a:p>
            <a:pPr rtl="0"/>
            <a:endParaRPr lang="en-US"/>
          </a:p>
        </p:txBody>
      </p:sp>
      <p:sp>
        <p:nvSpPr>
          <p:cNvPr id="115" name="Freihandform: Form 114">
            <a:extLst>
              <a:ext uri="{FF2B5EF4-FFF2-40B4-BE49-F238E27FC236}">
                <a16:creationId xmlns:a16="http://schemas.microsoft.com/office/drawing/2014/main" id="{A88CE84F-0A79-46B8-839D-DEE0DC50B30B}"/>
              </a:ext>
            </a:extLst>
          </p:cNvPr>
          <p:cNvSpPr/>
          <p:nvPr/>
        </p:nvSpPr>
        <p:spPr>
          <a:xfrm>
            <a:off x="9415215" y="4113840"/>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6">
                <a:moveTo>
                  <a:pt x="106037" y="250528"/>
                </a:moveTo>
                <a:lnTo>
                  <a:pt x="0" y="250528"/>
                </a:lnTo>
                <a:lnTo>
                  <a:pt x="123516" y="125847"/>
                </a:lnTo>
                <a:lnTo>
                  <a:pt x="0" y="0"/>
                </a:lnTo>
                <a:lnTo>
                  <a:pt x="108368" y="0"/>
                </a:lnTo>
                <a:lnTo>
                  <a:pt x="230719" y="123516"/>
                </a:lnTo>
                <a:close/>
              </a:path>
            </a:pathLst>
          </a:custGeom>
          <a:solidFill>
            <a:srgbClr val="EEF2F5"/>
          </a:solidFill>
          <a:ln w="11643" cap="flat">
            <a:noFill/>
            <a:prstDash val="solid"/>
            <a:miter/>
          </a:ln>
        </p:spPr>
        <p:txBody>
          <a:bodyPr rtlCol="0" anchor="ctr"/>
          <a:lstStyle/>
          <a:p>
            <a:pPr rtl="0"/>
            <a:endParaRPr lang="en-US"/>
          </a:p>
        </p:txBody>
      </p:sp>
      <p:sp>
        <p:nvSpPr>
          <p:cNvPr id="131" name="Freihandform: Form 130">
            <a:extLst>
              <a:ext uri="{FF2B5EF4-FFF2-40B4-BE49-F238E27FC236}">
                <a16:creationId xmlns:a16="http://schemas.microsoft.com/office/drawing/2014/main" id="{F56B8540-4A40-448B-96CE-F13FEB89FE24}"/>
              </a:ext>
            </a:extLst>
          </p:cNvPr>
          <p:cNvSpPr/>
          <p:nvPr/>
        </p:nvSpPr>
        <p:spPr>
          <a:xfrm>
            <a:off x="9415215" y="4469240"/>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2351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6">
                <a:moveTo>
                  <a:pt x="106037" y="250528"/>
                </a:moveTo>
                <a:lnTo>
                  <a:pt x="0" y="250528"/>
                </a:lnTo>
                <a:lnTo>
                  <a:pt x="123516" y="125847"/>
                </a:lnTo>
                <a:lnTo>
                  <a:pt x="0" y="0"/>
                </a:lnTo>
                <a:lnTo>
                  <a:pt x="108368" y="0"/>
                </a:lnTo>
                <a:lnTo>
                  <a:pt x="230719" y="122351"/>
                </a:lnTo>
                <a:close/>
              </a:path>
            </a:pathLst>
          </a:custGeom>
          <a:solidFill>
            <a:srgbClr val="EEF2F5"/>
          </a:solidFill>
          <a:ln w="11643" cap="flat">
            <a:noFill/>
            <a:prstDash val="solid"/>
            <a:miter/>
          </a:ln>
        </p:spPr>
        <p:txBody>
          <a:bodyPr rtlCol="0" anchor="ctr"/>
          <a:lstStyle/>
          <a:p>
            <a:pPr rtl="0"/>
            <a:endParaRPr lang="en-US"/>
          </a:p>
        </p:txBody>
      </p:sp>
      <p:sp>
        <p:nvSpPr>
          <p:cNvPr id="148" name="Freihandform: Form 147">
            <a:extLst>
              <a:ext uri="{FF2B5EF4-FFF2-40B4-BE49-F238E27FC236}">
                <a16:creationId xmlns:a16="http://schemas.microsoft.com/office/drawing/2014/main" id="{FA4D92A2-824B-4123-BA21-136199CED582}"/>
              </a:ext>
            </a:extLst>
          </p:cNvPr>
          <p:cNvSpPr/>
          <p:nvPr/>
        </p:nvSpPr>
        <p:spPr>
          <a:xfrm>
            <a:off x="9415215" y="4823475"/>
            <a:ext cx="230718" cy="250528"/>
          </a:xfrm>
          <a:custGeom>
            <a:avLst/>
            <a:gdLst>
              <a:gd name="connsiteX0" fmla="*/ 106037 w 230718"/>
              <a:gd name="connsiteY0" fmla="*/ 250528 h 250528"/>
              <a:gd name="connsiteX1" fmla="*/ 0 w 230718"/>
              <a:gd name="connsiteY1" fmla="*/ 250528 h 250528"/>
              <a:gd name="connsiteX2" fmla="*/ 123516 w 230718"/>
              <a:gd name="connsiteY2" fmla="*/ 127012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6">
                <a:moveTo>
                  <a:pt x="106037" y="250528"/>
                </a:moveTo>
                <a:lnTo>
                  <a:pt x="0" y="250528"/>
                </a:lnTo>
                <a:lnTo>
                  <a:pt x="123516" y="127012"/>
                </a:lnTo>
                <a:lnTo>
                  <a:pt x="0" y="0"/>
                </a:lnTo>
                <a:lnTo>
                  <a:pt x="108368" y="0"/>
                </a:lnTo>
                <a:lnTo>
                  <a:pt x="230719" y="123516"/>
                </a:lnTo>
                <a:close/>
              </a:path>
            </a:pathLst>
          </a:custGeom>
          <a:solidFill>
            <a:srgbClr val="EEF2F5"/>
          </a:solidFill>
          <a:ln w="11643" cap="flat">
            <a:noFill/>
            <a:prstDash val="solid"/>
            <a:miter/>
          </a:ln>
        </p:spPr>
        <p:txBody>
          <a:bodyPr rtlCol="0" anchor="ctr"/>
          <a:lstStyle/>
          <a:p>
            <a:pPr rtl="0"/>
            <a:endParaRPr lang="en-US"/>
          </a:p>
        </p:txBody>
      </p:sp>
      <p:sp>
        <p:nvSpPr>
          <p:cNvPr id="165" name="Freihandform: Form 164">
            <a:extLst>
              <a:ext uri="{FF2B5EF4-FFF2-40B4-BE49-F238E27FC236}">
                <a16:creationId xmlns:a16="http://schemas.microsoft.com/office/drawing/2014/main" id="{B480051A-E4BB-4D8D-9463-F9DC0CB12BA8}"/>
              </a:ext>
            </a:extLst>
          </p:cNvPr>
          <p:cNvSpPr/>
          <p:nvPr/>
        </p:nvSpPr>
        <p:spPr>
          <a:xfrm>
            <a:off x="9415215" y="5178876"/>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2351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6">
                <a:moveTo>
                  <a:pt x="106037" y="250528"/>
                </a:moveTo>
                <a:lnTo>
                  <a:pt x="0" y="250528"/>
                </a:lnTo>
                <a:lnTo>
                  <a:pt x="123516" y="125847"/>
                </a:lnTo>
                <a:lnTo>
                  <a:pt x="0" y="0"/>
                </a:lnTo>
                <a:lnTo>
                  <a:pt x="108368" y="0"/>
                </a:lnTo>
                <a:lnTo>
                  <a:pt x="230719" y="122351"/>
                </a:lnTo>
                <a:close/>
              </a:path>
            </a:pathLst>
          </a:custGeom>
          <a:solidFill>
            <a:srgbClr val="EEF2F5"/>
          </a:solidFill>
          <a:ln w="11643" cap="flat">
            <a:noFill/>
            <a:prstDash val="solid"/>
            <a:miter/>
          </a:ln>
        </p:spPr>
        <p:txBody>
          <a:bodyPr rtlCol="0" anchor="ctr"/>
          <a:lstStyle/>
          <a:p>
            <a:pPr rtl="0"/>
            <a:endParaRPr lang="en-US"/>
          </a:p>
        </p:txBody>
      </p:sp>
      <p:sp>
        <p:nvSpPr>
          <p:cNvPr id="182" name="Freihandform: Form 181">
            <a:extLst>
              <a:ext uri="{FF2B5EF4-FFF2-40B4-BE49-F238E27FC236}">
                <a16:creationId xmlns:a16="http://schemas.microsoft.com/office/drawing/2014/main" id="{8B9C7922-A46C-4300-8536-75C60F1BDA2A}"/>
              </a:ext>
            </a:extLst>
          </p:cNvPr>
          <p:cNvSpPr/>
          <p:nvPr/>
        </p:nvSpPr>
        <p:spPr>
          <a:xfrm>
            <a:off x="9415215" y="5533111"/>
            <a:ext cx="230718" cy="250528"/>
          </a:xfrm>
          <a:custGeom>
            <a:avLst/>
            <a:gdLst>
              <a:gd name="connsiteX0" fmla="*/ 106037 w 230718"/>
              <a:gd name="connsiteY0" fmla="*/ 250528 h 250528"/>
              <a:gd name="connsiteX1" fmla="*/ 0 w 230718"/>
              <a:gd name="connsiteY1" fmla="*/ 250528 h 250528"/>
              <a:gd name="connsiteX2" fmla="*/ 123516 w 230718"/>
              <a:gd name="connsiteY2" fmla="*/ 127012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6">
                <a:moveTo>
                  <a:pt x="106037" y="250528"/>
                </a:moveTo>
                <a:lnTo>
                  <a:pt x="0" y="250528"/>
                </a:lnTo>
                <a:lnTo>
                  <a:pt x="123516" y="127012"/>
                </a:lnTo>
                <a:lnTo>
                  <a:pt x="0" y="0"/>
                </a:lnTo>
                <a:lnTo>
                  <a:pt x="108368" y="0"/>
                </a:lnTo>
                <a:lnTo>
                  <a:pt x="230719" y="123516"/>
                </a:lnTo>
                <a:close/>
              </a:path>
            </a:pathLst>
          </a:custGeom>
          <a:solidFill>
            <a:srgbClr val="EEF2F5"/>
          </a:solidFill>
          <a:ln w="11643" cap="flat">
            <a:noFill/>
            <a:prstDash val="solid"/>
            <a:miter/>
          </a:ln>
        </p:spPr>
        <p:txBody>
          <a:bodyPr rtlCol="0" anchor="ctr"/>
          <a:lstStyle/>
          <a:p>
            <a:pPr rtl="0"/>
            <a:endParaRPr lang="en-US"/>
          </a:p>
        </p:txBody>
      </p:sp>
      <p:sp>
        <p:nvSpPr>
          <p:cNvPr id="199" name="Freihandform: Form 198">
            <a:extLst>
              <a:ext uri="{FF2B5EF4-FFF2-40B4-BE49-F238E27FC236}">
                <a16:creationId xmlns:a16="http://schemas.microsoft.com/office/drawing/2014/main" id="{808E1183-99E4-4B7F-B544-06366CD89D96}"/>
              </a:ext>
            </a:extLst>
          </p:cNvPr>
          <p:cNvSpPr/>
          <p:nvPr/>
        </p:nvSpPr>
        <p:spPr>
          <a:xfrm>
            <a:off x="9415215" y="5888512"/>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2351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6">
                <a:moveTo>
                  <a:pt x="106037" y="250528"/>
                </a:moveTo>
                <a:lnTo>
                  <a:pt x="0" y="250528"/>
                </a:lnTo>
                <a:lnTo>
                  <a:pt x="123516" y="125847"/>
                </a:lnTo>
                <a:lnTo>
                  <a:pt x="0" y="0"/>
                </a:lnTo>
                <a:lnTo>
                  <a:pt x="108368" y="0"/>
                </a:lnTo>
                <a:lnTo>
                  <a:pt x="230719" y="122351"/>
                </a:lnTo>
                <a:close/>
              </a:path>
            </a:pathLst>
          </a:custGeom>
          <a:solidFill>
            <a:srgbClr val="EEF2F5"/>
          </a:solidFill>
          <a:ln w="11643" cap="flat">
            <a:noFill/>
            <a:prstDash val="solid"/>
            <a:miter/>
          </a:ln>
        </p:spPr>
        <p:txBody>
          <a:bodyPr rtlCol="0" anchor="ctr"/>
          <a:lstStyle/>
          <a:p>
            <a:pPr rtl="0"/>
            <a:endParaRPr lang="en-US"/>
          </a:p>
        </p:txBody>
      </p:sp>
      <p:sp>
        <p:nvSpPr>
          <p:cNvPr id="216" name="Freihandform: Form 215">
            <a:extLst>
              <a:ext uri="{FF2B5EF4-FFF2-40B4-BE49-F238E27FC236}">
                <a16:creationId xmlns:a16="http://schemas.microsoft.com/office/drawing/2014/main" id="{CD034923-4C0A-4423-8672-AB74CD3F1B7B}"/>
              </a:ext>
            </a:extLst>
          </p:cNvPr>
          <p:cNvSpPr/>
          <p:nvPr/>
        </p:nvSpPr>
        <p:spPr>
          <a:xfrm>
            <a:off x="9415215" y="6242748"/>
            <a:ext cx="230718" cy="250528"/>
          </a:xfrm>
          <a:custGeom>
            <a:avLst/>
            <a:gdLst>
              <a:gd name="connsiteX0" fmla="*/ 106037 w 230718"/>
              <a:gd name="connsiteY0" fmla="*/ 250528 h 250528"/>
              <a:gd name="connsiteX1" fmla="*/ 0 w 230718"/>
              <a:gd name="connsiteY1" fmla="*/ 250528 h 250528"/>
              <a:gd name="connsiteX2" fmla="*/ 123516 w 230718"/>
              <a:gd name="connsiteY2" fmla="*/ 127012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6">
                <a:moveTo>
                  <a:pt x="106037" y="250528"/>
                </a:moveTo>
                <a:lnTo>
                  <a:pt x="0" y="250528"/>
                </a:lnTo>
                <a:lnTo>
                  <a:pt x="123516" y="127012"/>
                </a:lnTo>
                <a:lnTo>
                  <a:pt x="0" y="0"/>
                </a:lnTo>
                <a:lnTo>
                  <a:pt x="108368" y="0"/>
                </a:lnTo>
                <a:lnTo>
                  <a:pt x="230719" y="123516"/>
                </a:lnTo>
                <a:close/>
              </a:path>
            </a:pathLst>
          </a:custGeom>
          <a:solidFill>
            <a:srgbClr val="EEF2F5"/>
          </a:solidFill>
          <a:ln w="11643" cap="flat">
            <a:noFill/>
            <a:prstDash val="solid"/>
            <a:miter/>
          </a:ln>
        </p:spPr>
        <p:txBody>
          <a:bodyPr rtlCol="0" anchor="ctr"/>
          <a:lstStyle/>
          <a:p>
            <a:pPr rtl="0"/>
            <a:endParaRPr lang="en-US"/>
          </a:p>
        </p:txBody>
      </p:sp>
      <p:sp>
        <p:nvSpPr>
          <p:cNvPr id="232" name="Freihandform: Form 231">
            <a:extLst>
              <a:ext uri="{FF2B5EF4-FFF2-40B4-BE49-F238E27FC236}">
                <a16:creationId xmlns:a16="http://schemas.microsoft.com/office/drawing/2014/main" id="{B9006F61-C8F9-435F-8E25-867EF66AB2C0}"/>
              </a:ext>
            </a:extLst>
          </p:cNvPr>
          <p:cNvSpPr/>
          <p:nvPr/>
        </p:nvSpPr>
        <p:spPr>
          <a:xfrm>
            <a:off x="9415215" y="6598148"/>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2351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6">
                <a:moveTo>
                  <a:pt x="106037" y="250528"/>
                </a:moveTo>
                <a:lnTo>
                  <a:pt x="0" y="250528"/>
                </a:lnTo>
                <a:lnTo>
                  <a:pt x="123516" y="125847"/>
                </a:lnTo>
                <a:lnTo>
                  <a:pt x="0" y="0"/>
                </a:lnTo>
                <a:lnTo>
                  <a:pt x="108368" y="0"/>
                </a:lnTo>
                <a:lnTo>
                  <a:pt x="230719" y="122351"/>
                </a:lnTo>
                <a:close/>
              </a:path>
            </a:pathLst>
          </a:custGeom>
          <a:solidFill>
            <a:srgbClr val="EEF2F5"/>
          </a:solidFill>
          <a:ln w="11643" cap="flat">
            <a:noFill/>
            <a:prstDash val="solid"/>
            <a:miter/>
          </a:ln>
        </p:spPr>
        <p:txBody>
          <a:bodyPr rtlCol="0" anchor="ctr"/>
          <a:lstStyle/>
          <a:p>
            <a:pPr rtl="0"/>
            <a:endParaRPr lang="en-US"/>
          </a:p>
        </p:txBody>
      </p:sp>
      <p:sp>
        <p:nvSpPr>
          <p:cNvPr id="21" name="Freihandform: Form 20">
            <a:extLst>
              <a:ext uri="{FF2B5EF4-FFF2-40B4-BE49-F238E27FC236}">
                <a16:creationId xmlns:a16="http://schemas.microsoft.com/office/drawing/2014/main" id="{FA010AB3-93D2-478F-82A2-79D3EAB3E973}"/>
              </a:ext>
            </a:extLst>
          </p:cNvPr>
          <p:cNvSpPr/>
          <p:nvPr/>
        </p:nvSpPr>
        <p:spPr>
          <a:xfrm>
            <a:off x="9761293" y="1975610"/>
            <a:ext cx="248198" cy="269172"/>
          </a:xfrm>
          <a:custGeom>
            <a:avLst/>
            <a:gdLst>
              <a:gd name="connsiteX0" fmla="*/ 114195 w 248198"/>
              <a:gd name="connsiteY0" fmla="*/ 269172 h 269172"/>
              <a:gd name="connsiteX1" fmla="*/ 0 w 248198"/>
              <a:gd name="connsiteY1" fmla="*/ 269172 h 269172"/>
              <a:gd name="connsiteX2" fmla="*/ 132838 w 248198"/>
              <a:gd name="connsiteY2" fmla="*/ 135169 h 269172"/>
              <a:gd name="connsiteX3" fmla="*/ 0 w 248198"/>
              <a:gd name="connsiteY3" fmla="*/ 0 h 269172"/>
              <a:gd name="connsiteX4" fmla="*/ 116525 w 248198"/>
              <a:gd name="connsiteY4" fmla="*/ 0 h 269172"/>
              <a:gd name="connsiteX5" fmla="*/ 248198 w 248198"/>
              <a:gd name="connsiteY5" fmla="*/ 131673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pPr rtl="0"/>
            <a:endParaRPr lang="en-US"/>
          </a:p>
        </p:txBody>
      </p:sp>
      <p:sp>
        <p:nvSpPr>
          <p:cNvPr id="36" name="Freihandform: Form 35">
            <a:extLst>
              <a:ext uri="{FF2B5EF4-FFF2-40B4-BE49-F238E27FC236}">
                <a16:creationId xmlns:a16="http://schemas.microsoft.com/office/drawing/2014/main" id="{E7957182-0D78-447E-AD11-155CFFA4EFCF}"/>
              </a:ext>
            </a:extLst>
          </p:cNvPr>
          <p:cNvSpPr/>
          <p:nvPr/>
        </p:nvSpPr>
        <p:spPr>
          <a:xfrm>
            <a:off x="9761293" y="2331010"/>
            <a:ext cx="248198" cy="268007"/>
          </a:xfrm>
          <a:custGeom>
            <a:avLst/>
            <a:gdLst>
              <a:gd name="connsiteX0" fmla="*/ 114195 w 248198"/>
              <a:gd name="connsiteY0" fmla="*/ 268007 h 268007"/>
              <a:gd name="connsiteX1" fmla="*/ 0 w 248198"/>
              <a:gd name="connsiteY1" fmla="*/ 268007 h 268007"/>
              <a:gd name="connsiteX2" fmla="*/ 132838 w 248198"/>
              <a:gd name="connsiteY2" fmla="*/ 135169 h 268007"/>
              <a:gd name="connsiteX3" fmla="*/ 0 w 248198"/>
              <a:gd name="connsiteY3" fmla="*/ 0 h 268007"/>
              <a:gd name="connsiteX4" fmla="*/ 116525 w 248198"/>
              <a:gd name="connsiteY4" fmla="*/ 0 h 268007"/>
              <a:gd name="connsiteX5" fmla="*/ 248198 w 248198"/>
              <a:gd name="connsiteY5" fmla="*/ 131673 h 268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8007">
                <a:moveTo>
                  <a:pt x="114195" y="268007"/>
                </a:moveTo>
                <a:lnTo>
                  <a:pt x="0" y="268007"/>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pPr rtl="0"/>
            <a:endParaRPr lang="en-US"/>
          </a:p>
        </p:txBody>
      </p:sp>
      <p:sp>
        <p:nvSpPr>
          <p:cNvPr id="52" name="Freihandform: Form 51">
            <a:extLst>
              <a:ext uri="{FF2B5EF4-FFF2-40B4-BE49-F238E27FC236}">
                <a16:creationId xmlns:a16="http://schemas.microsoft.com/office/drawing/2014/main" id="{D00B278C-4E10-45E8-A202-B55CBB4B885E}"/>
              </a:ext>
            </a:extLst>
          </p:cNvPr>
          <p:cNvSpPr/>
          <p:nvPr/>
        </p:nvSpPr>
        <p:spPr>
          <a:xfrm>
            <a:off x="9761293" y="2685246"/>
            <a:ext cx="248198" cy="269172"/>
          </a:xfrm>
          <a:custGeom>
            <a:avLst/>
            <a:gdLst>
              <a:gd name="connsiteX0" fmla="*/ 114195 w 248198"/>
              <a:gd name="connsiteY0" fmla="*/ 269172 h 269172"/>
              <a:gd name="connsiteX1" fmla="*/ 0 w 248198"/>
              <a:gd name="connsiteY1" fmla="*/ 269172 h 269172"/>
              <a:gd name="connsiteX2" fmla="*/ 132838 w 248198"/>
              <a:gd name="connsiteY2" fmla="*/ 135169 h 269172"/>
              <a:gd name="connsiteX3" fmla="*/ 0 w 248198"/>
              <a:gd name="connsiteY3" fmla="*/ 0 h 269172"/>
              <a:gd name="connsiteX4" fmla="*/ 116525 w 248198"/>
              <a:gd name="connsiteY4" fmla="*/ 0 h 269172"/>
              <a:gd name="connsiteX5" fmla="*/ 248198 w 248198"/>
              <a:gd name="connsiteY5" fmla="*/ 131673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pPr rtl="0"/>
            <a:endParaRPr lang="en-US"/>
          </a:p>
        </p:txBody>
      </p:sp>
      <p:sp>
        <p:nvSpPr>
          <p:cNvPr id="68" name="Freihandform: Form 67">
            <a:extLst>
              <a:ext uri="{FF2B5EF4-FFF2-40B4-BE49-F238E27FC236}">
                <a16:creationId xmlns:a16="http://schemas.microsoft.com/office/drawing/2014/main" id="{0496EBBE-CFB1-46AA-A6F5-690502856668}"/>
              </a:ext>
            </a:extLst>
          </p:cNvPr>
          <p:cNvSpPr/>
          <p:nvPr/>
        </p:nvSpPr>
        <p:spPr>
          <a:xfrm>
            <a:off x="9761293" y="3040646"/>
            <a:ext cx="248198" cy="268007"/>
          </a:xfrm>
          <a:custGeom>
            <a:avLst/>
            <a:gdLst>
              <a:gd name="connsiteX0" fmla="*/ 114195 w 248198"/>
              <a:gd name="connsiteY0" fmla="*/ 268007 h 268007"/>
              <a:gd name="connsiteX1" fmla="*/ 0 w 248198"/>
              <a:gd name="connsiteY1" fmla="*/ 268007 h 268007"/>
              <a:gd name="connsiteX2" fmla="*/ 132838 w 248198"/>
              <a:gd name="connsiteY2" fmla="*/ 135169 h 268007"/>
              <a:gd name="connsiteX3" fmla="*/ 0 w 248198"/>
              <a:gd name="connsiteY3" fmla="*/ 0 h 268007"/>
              <a:gd name="connsiteX4" fmla="*/ 116525 w 248198"/>
              <a:gd name="connsiteY4" fmla="*/ 0 h 268007"/>
              <a:gd name="connsiteX5" fmla="*/ 248198 w 248198"/>
              <a:gd name="connsiteY5" fmla="*/ 131673 h 268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8007">
                <a:moveTo>
                  <a:pt x="114195" y="268007"/>
                </a:moveTo>
                <a:lnTo>
                  <a:pt x="0" y="268007"/>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pPr rtl="0"/>
            <a:endParaRPr lang="en-US"/>
          </a:p>
        </p:txBody>
      </p:sp>
      <p:sp>
        <p:nvSpPr>
          <p:cNvPr id="84" name="Freihandform: Form 83">
            <a:extLst>
              <a:ext uri="{FF2B5EF4-FFF2-40B4-BE49-F238E27FC236}">
                <a16:creationId xmlns:a16="http://schemas.microsoft.com/office/drawing/2014/main" id="{A40B40D6-E2B0-405B-8866-4C365074F335}"/>
              </a:ext>
            </a:extLst>
          </p:cNvPr>
          <p:cNvSpPr/>
          <p:nvPr/>
        </p:nvSpPr>
        <p:spPr>
          <a:xfrm>
            <a:off x="9761293" y="3394882"/>
            <a:ext cx="248198" cy="269172"/>
          </a:xfrm>
          <a:custGeom>
            <a:avLst/>
            <a:gdLst>
              <a:gd name="connsiteX0" fmla="*/ 114195 w 248198"/>
              <a:gd name="connsiteY0" fmla="*/ 269172 h 269172"/>
              <a:gd name="connsiteX1" fmla="*/ 0 w 248198"/>
              <a:gd name="connsiteY1" fmla="*/ 269172 h 269172"/>
              <a:gd name="connsiteX2" fmla="*/ 132838 w 248198"/>
              <a:gd name="connsiteY2" fmla="*/ 135169 h 269172"/>
              <a:gd name="connsiteX3" fmla="*/ 0 w 248198"/>
              <a:gd name="connsiteY3" fmla="*/ 0 h 269172"/>
              <a:gd name="connsiteX4" fmla="*/ 116525 w 248198"/>
              <a:gd name="connsiteY4" fmla="*/ 0 h 269172"/>
              <a:gd name="connsiteX5" fmla="*/ 248198 w 248198"/>
              <a:gd name="connsiteY5" fmla="*/ 131673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pPr rtl="0"/>
            <a:endParaRPr lang="en-US"/>
          </a:p>
        </p:txBody>
      </p:sp>
      <p:sp>
        <p:nvSpPr>
          <p:cNvPr id="100" name="Freihandform: Form 99">
            <a:extLst>
              <a:ext uri="{FF2B5EF4-FFF2-40B4-BE49-F238E27FC236}">
                <a16:creationId xmlns:a16="http://schemas.microsoft.com/office/drawing/2014/main" id="{B976F48C-00EC-49CD-AA95-7B3C97644278}"/>
              </a:ext>
            </a:extLst>
          </p:cNvPr>
          <p:cNvSpPr/>
          <p:nvPr/>
        </p:nvSpPr>
        <p:spPr>
          <a:xfrm>
            <a:off x="9761293" y="3750282"/>
            <a:ext cx="248198" cy="268007"/>
          </a:xfrm>
          <a:custGeom>
            <a:avLst/>
            <a:gdLst>
              <a:gd name="connsiteX0" fmla="*/ 114195 w 248198"/>
              <a:gd name="connsiteY0" fmla="*/ 268007 h 268007"/>
              <a:gd name="connsiteX1" fmla="*/ 0 w 248198"/>
              <a:gd name="connsiteY1" fmla="*/ 268007 h 268007"/>
              <a:gd name="connsiteX2" fmla="*/ 132838 w 248198"/>
              <a:gd name="connsiteY2" fmla="*/ 135169 h 268007"/>
              <a:gd name="connsiteX3" fmla="*/ 0 w 248198"/>
              <a:gd name="connsiteY3" fmla="*/ 0 h 268007"/>
              <a:gd name="connsiteX4" fmla="*/ 116525 w 248198"/>
              <a:gd name="connsiteY4" fmla="*/ 0 h 268007"/>
              <a:gd name="connsiteX5" fmla="*/ 248198 w 248198"/>
              <a:gd name="connsiteY5" fmla="*/ 131673 h 268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8007">
                <a:moveTo>
                  <a:pt x="114195" y="268007"/>
                </a:moveTo>
                <a:lnTo>
                  <a:pt x="0" y="268007"/>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pPr rtl="0"/>
            <a:endParaRPr lang="en-US"/>
          </a:p>
        </p:txBody>
      </p:sp>
      <p:sp>
        <p:nvSpPr>
          <p:cNvPr id="116" name="Freihandform: Form 115">
            <a:extLst>
              <a:ext uri="{FF2B5EF4-FFF2-40B4-BE49-F238E27FC236}">
                <a16:creationId xmlns:a16="http://schemas.microsoft.com/office/drawing/2014/main" id="{DFC41532-B3AB-4B18-A81F-7D2CA52826B2}"/>
              </a:ext>
            </a:extLst>
          </p:cNvPr>
          <p:cNvSpPr/>
          <p:nvPr/>
        </p:nvSpPr>
        <p:spPr>
          <a:xfrm>
            <a:off x="9761293" y="4104518"/>
            <a:ext cx="248198" cy="269172"/>
          </a:xfrm>
          <a:custGeom>
            <a:avLst/>
            <a:gdLst>
              <a:gd name="connsiteX0" fmla="*/ 114195 w 248198"/>
              <a:gd name="connsiteY0" fmla="*/ 269172 h 269172"/>
              <a:gd name="connsiteX1" fmla="*/ 0 w 248198"/>
              <a:gd name="connsiteY1" fmla="*/ 269172 h 269172"/>
              <a:gd name="connsiteX2" fmla="*/ 132838 w 248198"/>
              <a:gd name="connsiteY2" fmla="*/ 136334 h 269172"/>
              <a:gd name="connsiteX3" fmla="*/ 0 w 248198"/>
              <a:gd name="connsiteY3" fmla="*/ 0 h 269172"/>
              <a:gd name="connsiteX4" fmla="*/ 116525 w 248198"/>
              <a:gd name="connsiteY4" fmla="*/ 0 h 269172"/>
              <a:gd name="connsiteX5" fmla="*/ 248198 w 248198"/>
              <a:gd name="connsiteY5" fmla="*/ 132838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6334"/>
                </a:lnTo>
                <a:lnTo>
                  <a:pt x="0" y="0"/>
                </a:lnTo>
                <a:lnTo>
                  <a:pt x="116525" y="0"/>
                </a:lnTo>
                <a:lnTo>
                  <a:pt x="248198" y="132838"/>
                </a:lnTo>
                <a:close/>
              </a:path>
            </a:pathLst>
          </a:custGeom>
          <a:solidFill>
            <a:srgbClr val="EEF2F5"/>
          </a:solidFill>
          <a:ln w="11643" cap="flat">
            <a:noFill/>
            <a:prstDash val="solid"/>
            <a:miter/>
          </a:ln>
        </p:spPr>
        <p:txBody>
          <a:bodyPr rtlCol="0" anchor="ctr"/>
          <a:lstStyle/>
          <a:p>
            <a:pPr rtl="0"/>
            <a:endParaRPr lang="en-US"/>
          </a:p>
        </p:txBody>
      </p:sp>
      <p:sp>
        <p:nvSpPr>
          <p:cNvPr id="132" name="Freihandform: Form 131">
            <a:extLst>
              <a:ext uri="{FF2B5EF4-FFF2-40B4-BE49-F238E27FC236}">
                <a16:creationId xmlns:a16="http://schemas.microsoft.com/office/drawing/2014/main" id="{ADC8DAC7-8942-46EB-9D62-4E4C4662A9C7}"/>
              </a:ext>
            </a:extLst>
          </p:cNvPr>
          <p:cNvSpPr/>
          <p:nvPr/>
        </p:nvSpPr>
        <p:spPr>
          <a:xfrm>
            <a:off x="9761293" y="4459918"/>
            <a:ext cx="248198" cy="268007"/>
          </a:xfrm>
          <a:custGeom>
            <a:avLst/>
            <a:gdLst>
              <a:gd name="connsiteX0" fmla="*/ 114195 w 248198"/>
              <a:gd name="connsiteY0" fmla="*/ 268007 h 268007"/>
              <a:gd name="connsiteX1" fmla="*/ 0 w 248198"/>
              <a:gd name="connsiteY1" fmla="*/ 268007 h 268007"/>
              <a:gd name="connsiteX2" fmla="*/ 132838 w 248198"/>
              <a:gd name="connsiteY2" fmla="*/ 135169 h 268007"/>
              <a:gd name="connsiteX3" fmla="*/ 0 w 248198"/>
              <a:gd name="connsiteY3" fmla="*/ 0 h 268007"/>
              <a:gd name="connsiteX4" fmla="*/ 116525 w 248198"/>
              <a:gd name="connsiteY4" fmla="*/ 0 h 268007"/>
              <a:gd name="connsiteX5" fmla="*/ 248198 w 248198"/>
              <a:gd name="connsiteY5" fmla="*/ 131673 h 268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8007">
                <a:moveTo>
                  <a:pt x="114195" y="268007"/>
                </a:moveTo>
                <a:lnTo>
                  <a:pt x="0" y="268007"/>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pPr rtl="0"/>
            <a:endParaRPr lang="en-US"/>
          </a:p>
        </p:txBody>
      </p:sp>
      <p:sp>
        <p:nvSpPr>
          <p:cNvPr id="149" name="Freihandform: Form 148">
            <a:extLst>
              <a:ext uri="{FF2B5EF4-FFF2-40B4-BE49-F238E27FC236}">
                <a16:creationId xmlns:a16="http://schemas.microsoft.com/office/drawing/2014/main" id="{83716F88-9554-4FCB-B2C3-8BD6193695E2}"/>
              </a:ext>
            </a:extLst>
          </p:cNvPr>
          <p:cNvSpPr/>
          <p:nvPr/>
        </p:nvSpPr>
        <p:spPr>
          <a:xfrm>
            <a:off x="9761293" y="4814154"/>
            <a:ext cx="248198" cy="269172"/>
          </a:xfrm>
          <a:custGeom>
            <a:avLst/>
            <a:gdLst>
              <a:gd name="connsiteX0" fmla="*/ 114195 w 248198"/>
              <a:gd name="connsiteY0" fmla="*/ 269172 h 269172"/>
              <a:gd name="connsiteX1" fmla="*/ 0 w 248198"/>
              <a:gd name="connsiteY1" fmla="*/ 269172 h 269172"/>
              <a:gd name="connsiteX2" fmla="*/ 132838 w 248198"/>
              <a:gd name="connsiteY2" fmla="*/ 136334 h 269172"/>
              <a:gd name="connsiteX3" fmla="*/ 0 w 248198"/>
              <a:gd name="connsiteY3" fmla="*/ 0 h 269172"/>
              <a:gd name="connsiteX4" fmla="*/ 116525 w 248198"/>
              <a:gd name="connsiteY4" fmla="*/ 0 h 269172"/>
              <a:gd name="connsiteX5" fmla="*/ 248198 w 248198"/>
              <a:gd name="connsiteY5" fmla="*/ 132838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6334"/>
                </a:lnTo>
                <a:lnTo>
                  <a:pt x="0" y="0"/>
                </a:lnTo>
                <a:lnTo>
                  <a:pt x="116525" y="0"/>
                </a:lnTo>
                <a:lnTo>
                  <a:pt x="248198" y="132838"/>
                </a:lnTo>
                <a:close/>
              </a:path>
            </a:pathLst>
          </a:custGeom>
          <a:solidFill>
            <a:srgbClr val="EEF2F5"/>
          </a:solidFill>
          <a:ln w="11643" cap="flat">
            <a:noFill/>
            <a:prstDash val="solid"/>
            <a:miter/>
          </a:ln>
        </p:spPr>
        <p:txBody>
          <a:bodyPr rtlCol="0" anchor="ctr"/>
          <a:lstStyle/>
          <a:p>
            <a:pPr rtl="0"/>
            <a:endParaRPr lang="en-US"/>
          </a:p>
        </p:txBody>
      </p:sp>
      <p:sp>
        <p:nvSpPr>
          <p:cNvPr id="166" name="Freihandform: Form 165">
            <a:extLst>
              <a:ext uri="{FF2B5EF4-FFF2-40B4-BE49-F238E27FC236}">
                <a16:creationId xmlns:a16="http://schemas.microsoft.com/office/drawing/2014/main" id="{AEC95E7D-635D-425A-9F1A-DEBC1F5484DB}"/>
              </a:ext>
            </a:extLst>
          </p:cNvPr>
          <p:cNvSpPr/>
          <p:nvPr/>
        </p:nvSpPr>
        <p:spPr>
          <a:xfrm>
            <a:off x="9761293" y="5169554"/>
            <a:ext cx="248198" cy="268007"/>
          </a:xfrm>
          <a:custGeom>
            <a:avLst/>
            <a:gdLst>
              <a:gd name="connsiteX0" fmla="*/ 114195 w 248198"/>
              <a:gd name="connsiteY0" fmla="*/ 268007 h 268007"/>
              <a:gd name="connsiteX1" fmla="*/ 0 w 248198"/>
              <a:gd name="connsiteY1" fmla="*/ 268007 h 268007"/>
              <a:gd name="connsiteX2" fmla="*/ 132838 w 248198"/>
              <a:gd name="connsiteY2" fmla="*/ 135169 h 268007"/>
              <a:gd name="connsiteX3" fmla="*/ 0 w 248198"/>
              <a:gd name="connsiteY3" fmla="*/ 0 h 268007"/>
              <a:gd name="connsiteX4" fmla="*/ 116525 w 248198"/>
              <a:gd name="connsiteY4" fmla="*/ 0 h 268007"/>
              <a:gd name="connsiteX5" fmla="*/ 248198 w 248198"/>
              <a:gd name="connsiteY5" fmla="*/ 131673 h 268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8007">
                <a:moveTo>
                  <a:pt x="114195" y="268007"/>
                </a:moveTo>
                <a:lnTo>
                  <a:pt x="0" y="268007"/>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pPr rtl="0"/>
            <a:endParaRPr lang="en-US"/>
          </a:p>
        </p:txBody>
      </p:sp>
      <p:sp>
        <p:nvSpPr>
          <p:cNvPr id="183" name="Freihandform: Form 182">
            <a:extLst>
              <a:ext uri="{FF2B5EF4-FFF2-40B4-BE49-F238E27FC236}">
                <a16:creationId xmlns:a16="http://schemas.microsoft.com/office/drawing/2014/main" id="{C1CCBBCB-A182-4421-8619-C206846375DB}"/>
              </a:ext>
            </a:extLst>
          </p:cNvPr>
          <p:cNvSpPr/>
          <p:nvPr/>
        </p:nvSpPr>
        <p:spPr>
          <a:xfrm>
            <a:off x="9761293" y="5523790"/>
            <a:ext cx="248198" cy="269172"/>
          </a:xfrm>
          <a:custGeom>
            <a:avLst/>
            <a:gdLst>
              <a:gd name="connsiteX0" fmla="*/ 114195 w 248198"/>
              <a:gd name="connsiteY0" fmla="*/ 269172 h 269172"/>
              <a:gd name="connsiteX1" fmla="*/ 0 w 248198"/>
              <a:gd name="connsiteY1" fmla="*/ 269172 h 269172"/>
              <a:gd name="connsiteX2" fmla="*/ 132838 w 248198"/>
              <a:gd name="connsiteY2" fmla="*/ 136334 h 269172"/>
              <a:gd name="connsiteX3" fmla="*/ 0 w 248198"/>
              <a:gd name="connsiteY3" fmla="*/ 0 h 269172"/>
              <a:gd name="connsiteX4" fmla="*/ 116525 w 248198"/>
              <a:gd name="connsiteY4" fmla="*/ 0 h 269172"/>
              <a:gd name="connsiteX5" fmla="*/ 248198 w 248198"/>
              <a:gd name="connsiteY5" fmla="*/ 132838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6334"/>
                </a:lnTo>
                <a:lnTo>
                  <a:pt x="0" y="0"/>
                </a:lnTo>
                <a:lnTo>
                  <a:pt x="116525" y="0"/>
                </a:lnTo>
                <a:lnTo>
                  <a:pt x="248198" y="132838"/>
                </a:lnTo>
                <a:close/>
              </a:path>
            </a:pathLst>
          </a:custGeom>
          <a:solidFill>
            <a:srgbClr val="EEF2F5"/>
          </a:solidFill>
          <a:ln w="11643" cap="flat">
            <a:noFill/>
            <a:prstDash val="solid"/>
            <a:miter/>
          </a:ln>
        </p:spPr>
        <p:txBody>
          <a:bodyPr rtlCol="0" anchor="ctr"/>
          <a:lstStyle/>
          <a:p>
            <a:pPr rtl="0"/>
            <a:endParaRPr lang="en-US"/>
          </a:p>
        </p:txBody>
      </p:sp>
      <p:sp>
        <p:nvSpPr>
          <p:cNvPr id="200" name="Freihandform: Form 199">
            <a:extLst>
              <a:ext uri="{FF2B5EF4-FFF2-40B4-BE49-F238E27FC236}">
                <a16:creationId xmlns:a16="http://schemas.microsoft.com/office/drawing/2014/main" id="{D91A4514-348C-465D-A689-222304D82209}"/>
              </a:ext>
            </a:extLst>
          </p:cNvPr>
          <p:cNvSpPr/>
          <p:nvPr/>
        </p:nvSpPr>
        <p:spPr>
          <a:xfrm>
            <a:off x="9761293" y="5879190"/>
            <a:ext cx="248198" cy="269172"/>
          </a:xfrm>
          <a:custGeom>
            <a:avLst/>
            <a:gdLst>
              <a:gd name="connsiteX0" fmla="*/ 114195 w 248198"/>
              <a:gd name="connsiteY0" fmla="*/ 269172 h 269172"/>
              <a:gd name="connsiteX1" fmla="*/ 0 w 248198"/>
              <a:gd name="connsiteY1" fmla="*/ 269172 h 269172"/>
              <a:gd name="connsiteX2" fmla="*/ 132838 w 248198"/>
              <a:gd name="connsiteY2" fmla="*/ 135169 h 269172"/>
              <a:gd name="connsiteX3" fmla="*/ 0 w 248198"/>
              <a:gd name="connsiteY3" fmla="*/ 0 h 269172"/>
              <a:gd name="connsiteX4" fmla="*/ 116525 w 248198"/>
              <a:gd name="connsiteY4" fmla="*/ 0 h 269172"/>
              <a:gd name="connsiteX5" fmla="*/ 248198 w 248198"/>
              <a:gd name="connsiteY5" fmla="*/ 131673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pPr rtl="0"/>
            <a:endParaRPr lang="en-US"/>
          </a:p>
        </p:txBody>
      </p:sp>
      <p:sp>
        <p:nvSpPr>
          <p:cNvPr id="217" name="Freihandform: Form 216">
            <a:extLst>
              <a:ext uri="{FF2B5EF4-FFF2-40B4-BE49-F238E27FC236}">
                <a16:creationId xmlns:a16="http://schemas.microsoft.com/office/drawing/2014/main" id="{1B4C065C-ED4E-40BF-AA0C-B75D23AF7B43}"/>
              </a:ext>
            </a:extLst>
          </p:cNvPr>
          <p:cNvSpPr/>
          <p:nvPr/>
        </p:nvSpPr>
        <p:spPr>
          <a:xfrm>
            <a:off x="9761293" y="6233426"/>
            <a:ext cx="248198" cy="269172"/>
          </a:xfrm>
          <a:custGeom>
            <a:avLst/>
            <a:gdLst>
              <a:gd name="connsiteX0" fmla="*/ 114195 w 248198"/>
              <a:gd name="connsiteY0" fmla="*/ 269172 h 269172"/>
              <a:gd name="connsiteX1" fmla="*/ 0 w 248198"/>
              <a:gd name="connsiteY1" fmla="*/ 269172 h 269172"/>
              <a:gd name="connsiteX2" fmla="*/ 132838 w 248198"/>
              <a:gd name="connsiteY2" fmla="*/ 136334 h 269172"/>
              <a:gd name="connsiteX3" fmla="*/ 0 w 248198"/>
              <a:gd name="connsiteY3" fmla="*/ 0 h 269172"/>
              <a:gd name="connsiteX4" fmla="*/ 116525 w 248198"/>
              <a:gd name="connsiteY4" fmla="*/ 0 h 269172"/>
              <a:gd name="connsiteX5" fmla="*/ 248198 w 248198"/>
              <a:gd name="connsiteY5" fmla="*/ 132838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6334"/>
                </a:lnTo>
                <a:lnTo>
                  <a:pt x="0" y="0"/>
                </a:lnTo>
                <a:lnTo>
                  <a:pt x="116525" y="0"/>
                </a:lnTo>
                <a:lnTo>
                  <a:pt x="248198" y="132838"/>
                </a:lnTo>
                <a:close/>
              </a:path>
            </a:pathLst>
          </a:custGeom>
          <a:solidFill>
            <a:srgbClr val="EEF2F5"/>
          </a:solidFill>
          <a:ln w="11643" cap="flat">
            <a:noFill/>
            <a:prstDash val="solid"/>
            <a:miter/>
          </a:ln>
        </p:spPr>
        <p:txBody>
          <a:bodyPr rtlCol="0" anchor="ctr"/>
          <a:lstStyle/>
          <a:p>
            <a:pPr rtl="0"/>
            <a:endParaRPr lang="en-US"/>
          </a:p>
        </p:txBody>
      </p:sp>
      <p:sp>
        <p:nvSpPr>
          <p:cNvPr id="233" name="Freihandform: Form 232">
            <a:extLst>
              <a:ext uri="{FF2B5EF4-FFF2-40B4-BE49-F238E27FC236}">
                <a16:creationId xmlns:a16="http://schemas.microsoft.com/office/drawing/2014/main" id="{26A7552F-9339-4F13-B25C-D2F62499E1D6}"/>
              </a:ext>
            </a:extLst>
          </p:cNvPr>
          <p:cNvSpPr/>
          <p:nvPr/>
        </p:nvSpPr>
        <p:spPr>
          <a:xfrm>
            <a:off x="9761293" y="6588826"/>
            <a:ext cx="248198" cy="269172"/>
          </a:xfrm>
          <a:custGeom>
            <a:avLst/>
            <a:gdLst>
              <a:gd name="connsiteX0" fmla="*/ 114195 w 248198"/>
              <a:gd name="connsiteY0" fmla="*/ 269172 h 269172"/>
              <a:gd name="connsiteX1" fmla="*/ 0 w 248198"/>
              <a:gd name="connsiteY1" fmla="*/ 269172 h 269172"/>
              <a:gd name="connsiteX2" fmla="*/ 132838 w 248198"/>
              <a:gd name="connsiteY2" fmla="*/ 135169 h 269172"/>
              <a:gd name="connsiteX3" fmla="*/ 0 w 248198"/>
              <a:gd name="connsiteY3" fmla="*/ 0 h 269172"/>
              <a:gd name="connsiteX4" fmla="*/ 116525 w 248198"/>
              <a:gd name="connsiteY4" fmla="*/ 0 h 269172"/>
              <a:gd name="connsiteX5" fmla="*/ 248198 w 248198"/>
              <a:gd name="connsiteY5" fmla="*/ 131673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pPr rtl="0"/>
            <a:endParaRPr lang="en-US"/>
          </a:p>
        </p:txBody>
      </p:sp>
      <p:sp>
        <p:nvSpPr>
          <p:cNvPr id="10" name="Textplatzhalter 9">
            <a:extLst>
              <a:ext uri="{FF2B5EF4-FFF2-40B4-BE49-F238E27FC236}">
                <a16:creationId xmlns:a16="http://schemas.microsoft.com/office/drawing/2014/main" id="{87105EF2-AC01-455D-9C26-5D6999587D6D}"/>
              </a:ext>
            </a:extLst>
          </p:cNvPr>
          <p:cNvSpPr>
            <a:spLocks noGrp="1"/>
          </p:cNvSpPr>
          <p:nvPr userDrawn="1">
            <p:ph type="body" sz="quarter" idx="11"/>
          </p:nvPr>
        </p:nvSpPr>
        <p:spPr>
          <a:xfrm>
            <a:off x="815951" y="1979612"/>
            <a:ext cx="10560096" cy="4338638"/>
          </a:xfrm>
          <a:prstGeom prst="rect">
            <a:avLst/>
          </a:prstGeom>
        </p:spPr>
        <p:txBody>
          <a:bodyPr>
            <a:normAutofit/>
          </a:bodyPr>
          <a:lstStyle>
            <a:lvl1pPr marL="266700" indent="-266700" rtl="0">
              <a:buSzPct val="120000"/>
              <a:buFontTx/>
              <a:buBlip>
                <a:blip r:embed="rId5"/>
              </a:buBlip>
              <a:defRPr sz="1800"/>
            </a:lvl1pPr>
            <a:lvl2pPr marL="630238" indent="-268288" rtl="0">
              <a:buSzPct val="120000"/>
              <a:buFontTx/>
              <a:buBlip>
                <a:blip r:embed="rId5"/>
              </a:buBlip>
              <a:defRPr sz="1800"/>
            </a:lvl2pPr>
            <a:lvl3pPr marL="990600" indent="-274638" rtl="0">
              <a:buSzPct val="120000"/>
              <a:buFontTx/>
              <a:buBlip>
                <a:blip r:embed="rId5"/>
              </a:buBlip>
              <a:defRPr sz="1800"/>
            </a:lvl3pPr>
            <a:lvl4pPr marL="1343025" indent="-263525" rtl="0">
              <a:buSzPct val="120000"/>
              <a:buFontTx/>
              <a:buBlip>
                <a:blip r:embed="rId5"/>
              </a:buBlip>
              <a:defRPr sz="1800"/>
            </a:lvl4pPr>
            <a:lvl5pPr marL="1704975" indent="-271463" rtl="0">
              <a:buSzPct val="120000"/>
              <a:buFontTx/>
              <a:buBlip>
                <a:blip r:embed="rId5"/>
              </a:buBlip>
              <a:defRPr sz="1800"/>
            </a:lvl5pPr>
          </a:lstStyle>
          <a:p>
            <a:pPr lvl="0"/>
            <a:r>
              <a:rPr lang="en-US" err="1"/>
              <a:t>Mastertextformat bearbeiten</a:t>
            </a:r>
            <a:endParaRPr lang="en-US"/>
          </a:p>
          <a:p>
            <a:pPr lvl="1"/>
            <a:r>
              <a:rPr lang="en-US" err="1"/>
              <a:t>Zweite Ebene</a:t>
            </a:r>
          </a:p>
          <a:p>
            <a:pPr lvl="2"/>
            <a:r>
              <a:rPr lang="en-US" err="1"/>
              <a:t>Dritte Ebene</a:t>
            </a:r>
          </a:p>
          <a:p>
            <a:pPr lvl="3"/>
            <a:r>
              <a:rPr lang="en-US" err="1"/>
              <a:t>Vierte Ebene</a:t>
            </a:r>
          </a:p>
          <a:p>
            <a:pPr lvl="4"/>
            <a:r>
              <a:rPr lang="en-US" err="1"/>
              <a:t>Fünfte Ebene</a:t>
            </a:r>
          </a:p>
        </p:txBody>
      </p:sp>
      <p:sp>
        <p:nvSpPr>
          <p:cNvPr id="9" name="Titel 1">
            <a:extLst>
              <a:ext uri="{FF2B5EF4-FFF2-40B4-BE49-F238E27FC236}">
                <a16:creationId xmlns:a16="http://schemas.microsoft.com/office/drawing/2014/main" id="{768F8261-4469-5875-C389-5A888520530C}"/>
              </a:ext>
            </a:extLst>
          </p:cNvPr>
          <p:cNvSpPr>
            <a:spLocks noGrp="1"/>
          </p:cNvSpPr>
          <p:nvPr>
            <p:ph type="title"/>
          </p:nvPr>
        </p:nvSpPr>
        <p:spPr>
          <a:xfrm>
            <a:off x="815952" y="733402"/>
            <a:ext cx="10560096" cy="767737"/>
          </a:xfrm>
        </p:spPr>
        <p:txBody>
          <a:bodyPr vert="horz"/>
          <a:lstStyle>
            <a:lvl1pPr rtl="0">
              <a:defRPr/>
            </a:lvl1pPr>
          </a:lstStyle>
          <a:p>
            <a:r>
              <a:rPr lang="en-US" err="1"/>
              <a:t>Mastertitelformat bearbeiten</a:t>
            </a:r>
            <a:endParaRPr lang="en-US"/>
          </a:p>
        </p:txBody>
      </p:sp>
    </p:spTree>
    <p:extLst>
      <p:ext uri="{BB962C8B-B14F-4D97-AF65-F5344CB8AC3E}">
        <p14:creationId xmlns:p14="http://schemas.microsoft.com/office/powerpoint/2010/main" val="258437491"/>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2" presetClass="entr" presetSubtype="8" dur="1000" decel="10000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1000" fill="hold"/>
                                        <p:tgtEl>
                                          <p:spTgt spid="10"/>
                                        </p:tgtEl>
                                        <p:attrNameLst>
                                          <p:attrName>ppt_x</p:attrName>
                                        </p:attrNameLst>
                                      </p:cBhvr>
                                      <p:tavLst>
                                        <p:tav tm="0">
                                          <p:val>
                                            <p:strVal val="0-#ppt_w/2"/>
                                          </p:val>
                                        </p:tav>
                                        <p:tav tm="100000">
                                          <p:val>
                                            <p:strVal val="#ppt_x"/>
                                          </p:val>
                                        </p:tav>
                                      </p:tavLst>
                                    </p:anim>
                                    <p:anim calcmode="lin" valueType="num">
                                      <p:cBhvr additive="base">
                                        <p:cTn id="8" dur="1000" fill="hold"/>
                                        <p:tgtEl>
                                          <p:spTgt spid="10"/>
                                        </p:tgtEl>
                                        <p:attrNameLst>
                                          <p:attrName>ppt_y</p:attrName>
                                        </p:attrNameLst>
                                      </p:cBhvr>
                                      <p:tavLst>
                                        <p:tav tm="0">
                                          <p:val>
                                            <p:strVal val="#ppt_y"/>
                                          </p:val>
                                        </p:tav>
                                        <p:tav tm="100000">
                                          <p:val>
                                            <p:strVal val="#ppt_y"/>
                                          </p:val>
                                        </p:tav>
                                      </p:tavLst>
                                    </p:anim>
                                  </p:childTnLst>
                                </p:cTn>
                              </p:par>
                              <p:par>
                                <p:cTn id="9" presetID="26" presetClass="emph" presetSubtype="0" dur="2000" repeatCount="indefinite" fill="hold" grpId="0" nodeType="withEffect">
                                  <p:stCondLst>
                                    <p:cond delay="0"/>
                                  </p:stCondLst>
                                  <p:childTnLst>
                                    <p:animEffect transition="out" filter="fade">
                                      <p:cBhvr>
                                        <p:cTn id="10" dur="2000" tmFilter="0, 0; .2, .5; .8, .5; 1, 0"/>
                                        <p:tgtEl>
                                          <p:spTgt spid="5"/>
                                        </p:tgtEl>
                                      </p:cBhvr>
                                    </p:animEffect>
                                    <p:animScale>
                                      <p:cBhvr>
                                        <p:cTn id="11" dur="1000" autoRev="1" fill="hold"/>
                                        <p:tgtEl>
                                          <p:spTgt spid="5"/>
                                        </p:tgtEl>
                                      </p:cBhvr>
                                      <p:by x="105000" y="105000"/>
                                    </p:animScale>
                                  </p:childTnLst>
                                </p:cTn>
                              </p:par>
                              <p:par>
                                <p:cTn id="12" presetID="26" presetClass="emph" presetSubtype="0" dur="2000" repeatCount="indefinite" fill="hold" grpId="0" nodeType="withEffect">
                                  <p:stCondLst>
                                    <p:cond delay="0"/>
                                  </p:stCondLst>
                                  <p:childTnLst>
                                    <p:animEffect transition="out" filter="fade">
                                      <p:cBhvr>
                                        <p:cTn id="13" dur="2000" tmFilter="0, 0; .2, .5; .8, .5; 1, 0"/>
                                        <p:tgtEl>
                                          <p:spTgt spid="22"/>
                                        </p:tgtEl>
                                      </p:cBhvr>
                                    </p:animEffect>
                                    <p:animScale>
                                      <p:cBhvr>
                                        <p:cTn id="14" dur="1000" autoRev="1" fill="hold"/>
                                        <p:tgtEl>
                                          <p:spTgt spid="22"/>
                                        </p:tgtEl>
                                      </p:cBhvr>
                                      <p:by x="105000" y="105000"/>
                                    </p:animScale>
                                  </p:childTnLst>
                                </p:cTn>
                              </p:par>
                              <p:par>
                                <p:cTn id="15" presetID="26" presetClass="emph" presetSubtype="0" dur="2000" repeatCount="indefinite" fill="hold" grpId="0" nodeType="withEffect">
                                  <p:stCondLst>
                                    <p:cond delay="0"/>
                                  </p:stCondLst>
                                  <p:childTnLst>
                                    <p:animEffect transition="out" filter="fade">
                                      <p:cBhvr>
                                        <p:cTn id="16" dur="2000" tmFilter="0, 0; .2, .5; .8, .5; 1, 0"/>
                                        <p:tgtEl>
                                          <p:spTgt spid="38"/>
                                        </p:tgtEl>
                                      </p:cBhvr>
                                    </p:animEffect>
                                    <p:animScale>
                                      <p:cBhvr>
                                        <p:cTn id="17" dur="1000" autoRev="1" fill="hold"/>
                                        <p:tgtEl>
                                          <p:spTgt spid="38"/>
                                        </p:tgtEl>
                                      </p:cBhvr>
                                      <p:by x="105000" y="105000"/>
                                    </p:animScale>
                                  </p:childTnLst>
                                </p:cTn>
                              </p:par>
                              <p:par>
                                <p:cTn id="18" presetID="26" presetClass="emph" presetSubtype="0" dur="2000" repeatCount="indefinite" fill="hold" grpId="0" nodeType="withEffect">
                                  <p:stCondLst>
                                    <p:cond delay="0"/>
                                  </p:stCondLst>
                                  <p:childTnLst>
                                    <p:animEffect transition="out" filter="fade">
                                      <p:cBhvr>
                                        <p:cTn id="19" dur="2000" tmFilter="0, 0; .2, .5; .8, .5; 1, 0"/>
                                        <p:tgtEl>
                                          <p:spTgt spid="203"/>
                                        </p:tgtEl>
                                      </p:cBhvr>
                                    </p:animEffect>
                                    <p:animScale>
                                      <p:cBhvr>
                                        <p:cTn id="20" dur="1000" autoRev="1" fill="hold"/>
                                        <p:tgtEl>
                                          <p:spTgt spid="203"/>
                                        </p:tgtEl>
                                      </p:cBhvr>
                                      <p:by x="105000" y="105000"/>
                                    </p:animScale>
                                  </p:childTnLst>
                                </p:cTn>
                              </p:par>
                              <p:par>
                                <p:cTn id="21" presetID="26" presetClass="emph" presetSubtype="0" dur="2000" repeatCount="indefinite" fill="hold" grpId="0" nodeType="withEffect">
                                  <p:stCondLst>
                                    <p:cond delay="0"/>
                                  </p:stCondLst>
                                  <p:childTnLst>
                                    <p:animEffect transition="out" filter="fade">
                                      <p:cBhvr>
                                        <p:cTn id="22" dur="2000" tmFilter="0, 0; .2, .5; .8, .5; 1, 0"/>
                                        <p:tgtEl>
                                          <p:spTgt spid="219"/>
                                        </p:tgtEl>
                                      </p:cBhvr>
                                    </p:animEffect>
                                    <p:animScale>
                                      <p:cBhvr>
                                        <p:cTn id="23" dur="1000" autoRev="1" fill="hold"/>
                                        <p:tgtEl>
                                          <p:spTgt spid="219"/>
                                        </p:tgtEl>
                                      </p:cBhvr>
                                      <p:by x="105000" y="105000"/>
                                    </p:animScale>
                                  </p:childTnLst>
                                </p:cTn>
                              </p:par>
                              <p:par>
                                <p:cTn id="24" presetID="26" presetClass="emph" presetSubtype="0" dur="2000" repeatCount="indefinite" fill="hold" grpId="0" nodeType="withEffect">
                                  <p:stCondLst>
                                    <p:cond delay="250"/>
                                  </p:stCondLst>
                                  <p:childTnLst>
                                    <p:animEffect transition="out" filter="fade">
                                      <p:cBhvr>
                                        <p:cTn id="25" dur="2000" tmFilter="0, 0; .2, .5; .8, .5; 1, 0"/>
                                        <p:tgtEl>
                                          <p:spTgt spid="6"/>
                                        </p:tgtEl>
                                      </p:cBhvr>
                                    </p:animEffect>
                                    <p:animScale>
                                      <p:cBhvr>
                                        <p:cTn id="26" dur="1000" autoRev="1" fill="hold"/>
                                        <p:tgtEl>
                                          <p:spTgt spid="6"/>
                                        </p:tgtEl>
                                      </p:cBhvr>
                                      <p:by x="105000" y="105000"/>
                                    </p:animScale>
                                  </p:childTnLst>
                                </p:cTn>
                              </p:par>
                              <p:par>
                                <p:cTn id="27" presetID="26" presetClass="emph" presetSubtype="0" dur="2000" repeatCount="indefinite" fill="hold" grpId="0" nodeType="withEffect">
                                  <p:stCondLst>
                                    <p:cond delay="250"/>
                                  </p:stCondLst>
                                  <p:childTnLst>
                                    <p:animEffect transition="out" filter="fade">
                                      <p:cBhvr>
                                        <p:cTn id="28" dur="2000" tmFilter="0, 0; .2, .5; .8, .5; 1, 0"/>
                                        <p:tgtEl>
                                          <p:spTgt spid="23"/>
                                        </p:tgtEl>
                                      </p:cBhvr>
                                    </p:animEffect>
                                    <p:animScale>
                                      <p:cBhvr>
                                        <p:cTn id="29" dur="1000" autoRev="1" fill="hold"/>
                                        <p:tgtEl>
                                          <p:spTgt spid="23"/>
                                        </p:tgtEl>
                                      </p:cBhvr>
                                      <p:by x="105000" y="105000"/>
                                    </p:animScale>
                                  </p:childTnLst>
                                </p:cTn>
                              </p:par>
                              <p:par>
                                <p:cTn id="30" presetID="26" presetClass="emph" presetSubtype="0" dur="2000" repeatCount="indefinite" fill="hold" grpId="0" nodeType="withEffect">
                                  <p:stCondLst>
                                    <p:cond delay="250"/>
                                  </p:stCondLst>
                                  <p:childTnLst>
                                    <p:animEffect transition="out" filter="fade">
                                      <p:cBhvr>
                                        <p:cTn id="31" dur="2000" tmFilter="0, 0; .2, .5; .8, .5; 1, 0"/>
                                        <p:tgtEl>
                                          <p:spTgt spid="39"/>
                                        </p:tgtEl>
                                      </p:cBhvr>
                                    </p:animEffect>
                                    <p:animScale>
                                      <p:cBhvr>
                                        <p:cTn id="32" dur="1000" autoRev="1" fill="hold"/>
                                        <p:tgtEl>
                                          <p:spTgt spid="39"/>
                                        </p:tgtEl>
                                      </p:cBhvr>
                                      <p:by x="105000" y="105000"/>
                                    </p:animScale>
                                  </p:childTnLst>
                                </p:cTn>
                              </p:par>
                              <p:par>
                                <p:cTn id="33" presetID="26" presetClass="emph" presetSubtype="0" dur="2000" repeatCount="indefinite" fill="hold" grpId="0" nodeType="withEffect">
                                  <p:stCondLst>
                                    <p:cond delay="250"/>
                                  </p:stCondLst>
                                  <p:childTnLst>
                                    <p:animEffect transition="out" filter="fade">
                                      <p:cBhvr>
                                        <p:cTn id="34" dur="2000" tmFilter="0, 0; .2, .5; .8, .5; 1, 0"/>
                                        <p:tgtEl>
                                          <p:spTgt spid="55"/>
                                        </p:tgtEl>
                                      </p:cBhvr>
                                    </p:animEffect>
                                    <p:animScale>
                                      <p:cBhvr>
                                        <p:cTn id="35" dur="1000" autoRev="1" fill="hold"/>
                                        <p:tgtEl>
                                          <p:spTgt spid="55"/>
                                        </p:tgtEl>
                                      </p:cBhvr>
                                      <p:by x="105000" y="105000"/>
                                    </p:animScale>
                                  </p:childTnLst>
                                </p:cTn>
                              </p:par>
                              <p:par>
                                <p:cTn id="36" presetID="26" presetClass="emph" presetSubtype="0" dur="2000" repeatCount="indefinite" fill="hold" grpId="0" nodeType="withEffect">
                                  <p:stCondLst>
                                    <p:cond delay="250"/>
                                  </p:stCondLst>
                                  <p:childTnLst>
                                    <p:animEffect transition="out" filter="fade">
                                      <p:cBhvr>
                                        <p:cTn id="37" dur="2000" tmFilter="0, 0; .2, .5; .8, .5; 1, 0"/>
                                        <p:tgtEl>
                                          <p:spTgt spid="187"/>
                                        </p:tgtEl>
                                      </p:cBhvr>
                                    </p:animEffect>
                                    <p:animScale>
                                      <p:cBhvr>
                                        <p:cTn id="38" dur="1000" autoRev="1" fill="hold"/>
                                        <p:tgtEl>
                                          <p:spTgt spid="187"/>
                                        </p:tgtEl>
                                      </p:cBhvr>
                                      <p:by x="105000" y="105000"/>
                                    </p:animScale>
                                  </p:childTnLst>
                                </p:cTn>
                              </p:par>
                              <p:par>
                                <p:cTn id="39" presetID="26" presetClass="emph" presetSubtype="0" dur="2000" repeatCount="indefinite" fill="hold" grpId="0" nodeType="withEffect">
                                  <p:stCondLst>
                                    <p:cond delay="250"/>
                                  </p:stCondLst>
                                  <p:childTnLst>
                                    <p:animEffect transition="out" filter="fade">
                                      <p:cBhvr>
                                        <p:cTn id="40" dur="2000" tmFilter="0, 0; .2, .5; .8, .5; 1, 0"/>
                                        <p:tgtEl>
                                          <p:spTgt spid="204"/>
                                        </p:tgtEl>
                                      </p:cBhvr>
                                    </p:animEffect>
                                    <p:animScale>
                                      <p:cBhvr>
                                        <p:cTn id="41" dur="1000" autoRev="1" fill="hold"/>
                                        <p:tgtEl>
                                          <p:spTgt spid="204"/>
                                        </p:tgtEl>
                                      </p:cBhvr>
                                      <p:by x="105000" y="105000"/>
                                    </p:animScale>
                                  </p:childTnLst>
                                </p:cTn>
                              </p:par>
                              <p:par>
                                <p:cTn id="42" presetID="26" presetClass="emph" presetSubtype="0" dur="2000" repeatCount="indefinite" fill="hold" grpId="0" nodeType="withEffect">
                                  <p:stCondLst>
                                    <p:cond delay="250"/>
                                  </p:stCondLst>
                                  <p:childTnLst>
                                    <p:animEffect transition="out" filter="fade">
                                      <p:cBhvr>
                                        <p:cTn id="43" dur="2000" tmFilter="0, 0; .2, .5; .8, .5; 1, 0"/>
                                        <p:tgtEl>
                                          <p:spTgt spid="220"/>
                                        </p:tgtEl>
                                      </p:cBhvr>
                                    </p:animEffect>
                                    <p:animScale>
                                      <p:cBhvr>
                                        <p:cTn id="44" dur="1000" autoRev="1" fill="hold"/>
                                        <p:tgtEl>
                                          <p:spTgt spid="220"/>
                                        </p:tgtEl>
                                      </p:cBhvr>
                                      <p:by x="105000" y="105000"/>
                                    </p:animScale>
                                  </p:childTnLst>
                                </p:cTn>
                              </p:par>
                              <p:par>
                                <p:cTn id="45" presetID="26" presetClass="emph" presetSubtype="0" dur="2000" repeatCount="indefinite" fill="hold" grpId="0" nodeType="withEffect">
                                  <p:stCondLst>
                                    <p:cond delay="500"/>
                                  </p:stCondLst>
                                  <p:childTnLst>
                                    <p:animEffect transition="out" filter="fade">
                                      <p:cBhvr>
                                        <p:cTn id="46" dur="2000" tmFilter="0, 0; .2, .5; .8, .5; 1, 0"/>
                                        <p:tgtEl>
                                          <p:spTgt spid="7"/>
                                        </p:tgtEl>
                                      </p:cBhvr>
                                    </p:animEffect>
                                    <p:animScale>
                                      <p:cBhvr>
                                        <p:cTn id="47" dur="1000" autoRev="1" fill="hold"/>
                                        <p:tgtEl>
                                          <p:spTgt spid="7"/>
                                        </p:tgtEl>
                                      </p:cBhvr>
                                      <p:by x="105000" y="105000"/>
                                    </p:animScale>
                                  </p:childTnLst>
                                </p:cTn>
                              </p:par>
                              <p:par>
                                <p:cTn id="48" presetID="26" presetClass="emph" presetSubtype="0" dur="2000" repeatCount="indefinite" fill="hold" grpId="0" nodeType="withEffect">
                                  <p:stCondLst>
                                    <p:cond delay="500"/>
                                  </p:stCondLst>
                                  <p:childTnLst>
                                    <p:animEffect transition="out" filter="fade">
                                      <p:cBhvr>
                                        <p:cTn id="49" dur="2000" tmFilter="0, 0; .2, .5; .8, .5; 1, 0"/>
                                        <p:tgtEl>
                                          <p:spTgt spid="24"/>
                                        </p:tgtEl>
                                      </p:cBhvr>
                                    </p:animEffect>
                                    <p:animScale>
                                      <p:cBhvr>
                                        <p:cTn id="50" dur="1000" autoRev="1" fill="hold"/>
                                        <p:tgtEl>
                                          <p:spTgt spid="24"/>
                                        </p:tgtEl>
                                      </p:cBhvr>
                                      <p:by x="105000" y="105000"/>
                                    </p:animScale>
                                  </p:childTnLst>
                                </p:cTn>
                              </p:par>
                              <p:par>
                                <p:cTn id="51" presetID="26" presetClass="emph" presetSubtype="0" dur="2000" repeatCount="indefinite" fill="hold" grpId="0" nodeType="withEffect">
                                  <p:stCondLst>
                                    <p:cond delay="500"/>
                                  </p:stCondLst>
                                  <p:childTnLst>
                                    <p:animEffect transition="out" filter="fade">
                                      <p:cBhvr>
                                        <p:cTn id="52" dur="2000" tmFilter="0, 0; .2, .5; .8, .5; 1, 0"/>
                                        <p:tgtEl>
                                          <p:spTgt spid="40"/>
                                        </p:tgtEl>
                                      </p:cBhvr>
                                    </p:animEffect>
                                    <p:animScale>
                                      <p:cBhvr>
                                        <p:cTn id="53" dur="1000" autoRev="1" fill="hold"/>
                                        <p:tgtEl>
                                          <p:spTgt spid="40"/>
                                        </p:tgtEl>
                                      </p:cBhvr>
                                      <p:by x="105000" y="105000"/>
                                    </p:animScale>
                                  </p:childTnLst>
                                </p:cTn>
                              </p:par>
                              <p:par>
                                <p:cTn id="54" presetID="26" presetClass="emph" presetSubtype="0" dur="2000" repeatCount="indefinite" fill="hold" grpId="0" nodeType="withEffect">
                                  <p:stCondLst>
                                    <p:cond delay="500"/>
                                  </p:stCondLst>
                                  <p:childTnLst>
                                    <p:animEffect transition="out" filter="fade">
                                      <p:cBhvr>
                                        <p:cTn id="55" dur="2000" tmFilter="0, 0; .2, .5; .8, .5; 1, 0"/>
                                        <p:tgtEl>
                                          <p:spTgt spid="56"/>
                                        </p:tgtEl>
                                      </p:cBhvr>
                                    </p:animEffect>
                                    <p:animScale>
                                      <p:cBhvr>
                                        <p:cTn id="56" dur="1000" autoRev="1" fill="hold"/>
                                        <p:tgtEl>
                                          <p:spTgt spid="56"/>
                                        </p:tgtEl>
                                      </p:cBhvr>
                                      <p:by x="105000" y="105000"/>
                                    </p:animScale>
                                  </p:childTnLst>
                                </p:cTn>
                              </p:par>
                              <p:par>
                                <p:cTn id="57" presetID="26" presetClass="emph" presetSubtype="0" dur="2000" repeatCount="indefinite" fill="hold" grpId="0" nodeType="withEffect">
                                  <p:stCondLst>
                                    <p:cond delay="500"/>
                                  </p:stCondLst>
                                  <p:childTnLst>
                                    <p:animEffect transition="out" filter="fade">
                                      <p:cBhvr>
                                        <p:cTn id="58" dur="2000" tmFilter="0, 0; .2, .5; .8, .5; 1, 0"/>
                                        <p:tgtEl>
                                          <p:spTgt spid="72"/>
                                        </p:tgtEl>
                                      </p:cBhvr>
                                    </p:animEffect>
                                    <p:animScale>
                                      <p:cBhvr>
                                        <p:cTn id="59" dur="1000" autoRev="1" fill="hold"/>
                                        <p:tgtEl>
                                          <p:spTgt spid="72"/>
                                        </p:tgtEl>
                                      </p:cBhvr>
                                      <p:by x="105000" y="105000"/>
                                    </p:animScale>
                                  </p:childTnLst>
                                </p:cTn>
                              </p:par>
                              <p:par>
                                <p:cTn id="60" presetID="26" presetClass="emph" presetSubtype="0" dur="2000" repeatCount="indefinite" fill="hold" grpId="0" nodeType="withEffect">
                                  <p:stCondLst>
                                    <p:cond delay="500"/>
                                  </p:stCondLst>
                                  <p:childTnLst>
                                    <p:animEffect transition="out" filter="fade">
                                      <p:cBhvr>
                                        <p:cTn id="61" dur="2000" tmFilter="0, 0; .2, .5; .8, .5; 1, 0"/>
                                        <p:tgtEl>
                                          <p:spTgt spid="171"/>
                                        </p:tgtEl>
                                      </p:cBhvr>
                                    </p:animEffect>
                                    <p:animScale>
                                      <p:cBhvr>
                                        <p:cTn id="62" dur="1000" autoRev="1" fill="hold"/>
                                        <p:tgtEl>
                                          <p:spTgt spid="171"/>
                                        </p:tgtEl>
                                      </p:cBhvr>
                                      <p:by x="105000" y="105000"/>
                                    </p:animScale>
                                  </p:childTnLst>
                                </p:cTn>
                              </p:par>
                              <p:par>
                                <p:cTn id="63" presetID="26" presetClass="emph" presetSubtype="0" dur="2000" repeatCount="indefinite" fill="hold" grpId="0" nodeType="withEffect">
                                  <p:stCondLst>
                                    <p:cond delay="500"/>
                                  </p:stCondLst>
                                  <p:childTnLst>
                                    <p:animEffect transition="out" filter="fade">
                                      <p:cBhvr>
                                        <p:cTn id="64" dur="2000" tmFilter="0, 0; .2, .5; .8, .5; 1, 0"/>
                                        <p:tgtEl>
                                          <p:spTgt spid="188"/>
                                        </p:tgtEl>
                                      </p:cBhvr>
                                    </p:animEffect>
                                    <p:animScale>
                                      <p:cBhvr>
                                        <p:cTn id="65" dur="1000" autoRev="1" fill="hold"/>
                                        <p:tgtEl>
                                          <p:spTgt spid="188"/>
                                        </p:tgtEl>
                                      </p:cBhvr>
                                      <p:by x="105000" y="105000"/>
                                    </p:animScale>
                                  </p:childTnLst>
                                </p:cTn>
                              </p:par>
                              <p:par>
                                <p:cTn id="66" presetID="26" presetClass="emph" presetSubtype="0" dur="2000" repeatCount="indefinite" fill="hold" grpId="0" nodeType="withEffect">
                                  <p:stCondLst>
                                    <p:cond delay="500"/>
                                  </p:stCondLst>
                                  <p:childTnLst>
                                    <p:animEffect transition="out" filter="fade">
                                      <p:cBhvr>
                                        <p:cTn id="67" dur="2000" tmFilter="0, 0; .2, .5; .8, .5; 1, 0"/>
                                        <p:tgtEl>
                                          <p:spTgt spid="205"/>
                                        </p:tgtEl>
                                      </p:cBhvr>
                                    </p:animEffect>
                                    <p:animScale>
                                      <p:cBhvr>
                                        <p:cTn id="68" dur="1000" autoRev="1" fill="hold"/>
                                        <p:tgtEl>
                                          <p:spTgt spid="205"/>
                                        </p:tgtEl>
                                      </p:cBhvr>
                                      <p:by x="105000" y="105000"/>
                                    </p:animScale>
                                  </p:childTnLst>
                                </p:cTn>
                              </p:par>
                              <p:par>
                                <p:cTn id="69" presetID="26" presetClass="emph" presetSubtype="0" dur="2000" repeatCount="indefinite" fill="hold" grpId="0" nodeType="withEffect">
                                  <p:stCondLst>
                                    <p:cond delay="500"/>
                                  </p:stCondLst>
                                  <p:childTnLst>
                                    <p:animEffect transition="out" filter="fade">
                                      <p:cBhvr>
                                        <p:cTn id="70" dur="2000" tmFilter="0, 0; .2, .5; .8, .5; 1, 0"/>
                                        <p:tgtEl>
                                          <p:spTgt spid="221"/>
                                        </p:tgtEl>
                                      </p:cBhvr>
                                    </p:animEffect>
                                    <p:animScale>
                                      <p:cBhvr>
                                        <p:cTn id="71" dur="1000" autoRev="1" fill="hold"/>
                                        <p:tgtEl>
                                          <p:spTgt spid="221"/>
                                        </p:tgtEl>
                                      </p:cBhvr>
                                      <p:by x="105000" y="105000"/>
                                    </p:animScale>
                                  </p:childTnLst>
                                </p:cTn>
                              </p:par>
                              <p:par>
                                <p:cTn id="72" presetID="26" presetClass="emph" presetSubtype="0" dur="2000" repeatCount="indefinite" fill="hold" grpId="0" nodeType="withEffect">
                                  <p:stCondLst>
                                    <p:cond delay="750"/>
                                  </p:stCondLst>
                                  <p:childTnLst>
                                    <p:animEffect transition="out" filter="fade">
                                      <p:cBhvr>
                                        <p:cTn id="73" dur="2000" tmFilter="0, 0; .2, .5; .8, .5; 1, 0"/>
                                        <p:tgtEl>
                                          <p:spTgt spid="8"/>
                                        </p:tgtEl>
                                      </p:cBhvr>
                                    </p:animEffect>
                                    <p:animScale>
                                      <p:cBhvr>
                                        <p:cTn id="74" dur="1000" autoRev="1" fill="hold"/>
                                        <p:tgtEl>
                                          <p:spTgt spid="8"/>
                                        </p:tgtEl>
                                      </p:cBhvr>
                                      <p:by x="105000" y="105000"/>
                                    </p:animScale>
                                  </p:childTnLst>
                                </p:cTn>
                              </p:par>
                              <p:par>
                                <p:cTn id="75" presetID="26" presetClass="emph" presetSubtype="0" dur="2000" repeatCount="indefinite" fill="hold" grpId="0" nodeType="withEffect">
                                  <p:stCondLst>
                                    <p:cond delay="750"/>
                                  </p:stCondLst>
                                  <p:childTnLst>
                                    <p:animEffect transition="out" filter="fade">
                                      <p:cBhvr>
                                        <p:cTn id="76" dur="2000" tmFilter="0, 0; .2, .5; .8, .5; 1, 0"/>
                                        <p:tgtEl>
                                          <p:spTgt spid="25"/>
                                        </p:tgtEl>
                                      </p:cBhvr>
                                    </p:animEffect>
                                    <p:animScale>
                                      <p:cBhvr>
                                        <p:cTn id="77" dur="1000" autoRev="1" fill="hold"/>
                                        <p:tgtEl>
                                          <p:spTgt spid="25"/>
                                        </p:tgtEl>
                                      </p:cBhvr>
                                      <p:by x="105000" y="105000"/>
                                    </p:animScale>
                                  </p:childTnLst>
                                </p:cTn>
                              </p:par>
                              <p:par>
                                <p:cTn id="78" presetID="26" presetClass="emph" presetSubtype="0" dur="2000" repeatCount="indefinite" fill="hold" grpId="0" nodeType="withEffect">
                                  <p:stCondLst>
                                    <p:cond delay="750"/>
                                  </p:stCondLst>
                                  <p:childTnLst>
                                    <p:animEffect transition="out" filter="fade">
                                      <p:cBhvr>
                                        <p:cTn id="79" dur="2000" tmFilter="0, 0; .2, .5; .8, .5; 1, 0"/>
                                        <p:tgtEl>
                                          <p:spTgt spid="41"/>
                                        </p:tgtEl>
                                      </p:cBhvr>
                                    </p:animEffect>
                                    <p:animScale>
                                      <p:cBhvr>
                                        <p:cTn id="80" dur="1000" autoRev="1" fill="hold"/>
                                        <p:tgtEl>
                                          <p:spTgt spid="41"/>
                                        </p:tgtEl>
                                      </p:cBhvr>
                                      <p:by x="105000" y="105000"/>
                                    </p:animScale>
                                  </p:childTnLst>
                                </p:cTn>
                              </p:par>
                              <p:par>
                                <p:cTn id="81" presetID="26" presetClass="emph" presetSubtype="0" dur="2000" repeatCount="indefinite" fill="hold" grpId="0" nodeType="withEffect">
                                  <p:stCondLst>
                                    <p:cond delay="750"/>
                                  </p:stCondLst>
                                  <p:childTnLst>
                                    <p:animEffect transition="out" filter="fade">
                                      <p:cBhvr>
                                        <p:cTn id="82" dur="2000" tmFilter="0, 0; .2, .5; .8, .5; 1, 0"/>
                                        <p:tgtEl>
                                          <p:spTgt spid="57"/>
                                        </p:tgtEl>
                                      </p:cBhvr>
                                    </p:animEffect>
                                    <p:animScale>
                                      <p:cBhvr>
                                        <p:cTn id="83" dur="1000" autoRev="1" fill="hold"/>
                                        <p:tgtEl>
                                          <p:spTgt spid="57"/>
                                        </p:tgtEl>
                                      </p:cBhvr>
                                      <p:by x="105000" y="105000"/>
                                    </p:animScale>
                                  </p:childTnLst>
                                </p:cTn>
                              </p:par>
                              <p:par>
                                <p:cTn id="84" presetID="26" presetClass="emph" presetSubtype="0" dur="2000" repeatCount="indefinite" fill="hold" grpId="0" nodeType="withEffect">
                                  <p:stCondLst>
                                    <p:cond delay="750"/>
                                  </p:stCondLst>
                                  <p:childTnLst>
                                    <p:animEffect transition="out" filter="fade">
                                      <p:cBhvr>
                                        <p:cTn id="85" dur="2000" tmFilter="0, 0; .2, .5; .8, .5; 1, 0"/>
                                        <p:tgtEl>
                                          <p:spTgt spid="73"/>
                                        </p:tgtEl>
                                      </p:cBhvr>
                                    </p:animEffect>
                                    <p:animScale>
                                      <p:cBhvr>
                                        <p:cTn id="86" dur="1000" autoRev="1" fill="hold"/>
                                        <p:tgtEl>
                                          <p:spTgt spid="73"/>
                                        </p:tgtEl>
                                      </p:cBhvr>
                                      <p:by x="105000" y="105000"/>
                                    </p:animScale>
                                  </p:childTnLst>
                                </p:cTn>
                              </p:par>
                              <p:par>
                                <p:cTn id="87" presetID="26" presetClass="emph" presetSubtype="0" dur="2000" repeatCount="indefinite" fill="hold" grpId="0" nodeType="withEffect">
                                  <p:stCondLst>
                                    <p:cond delay="750"/>
                                  </p:stCondLst>
                                  <p:childTnLst>
                                    <p:animEffect transition="out" filter="fade">
                                      <p:cBhvr>
                                        <p:cTn id="88" dur="2000" tmFilter="0, 0; .2, .5; .8, .5; 1, 0"/>
                                        <p:tgtEl>
                                          <p:spTgt spid="89"/>
                                        </p:tgtEl>
                                      </p:cBhvr>
                                    </p:animEffect>
                                    <p:animScale>
                                      <p:cBhvr>
                                        <p:cTn id="89" dur="1000" autoRev="1" fill="hold"/>
                                        <p:tgtEl>
                                          <p:spTgt spid="89"/>
                                        </p:tgtEl>
                                      </p:cBhvr>
                                      <p:by x="105000" y="105000"/>
                                    </p:animScale>
                                  </p:childTnLst>
                                </p:cTn>
                              </p:par>
                              <p:par>
                                <p:cTn id="90" presetID="26" presetClass="emph" presetSubtype="0" dur="2000" repeatCount="indefinite" fill="hold" grpId="0" nodeType="withEffect">
                                  <p:stCondLst>
                                    <p:cond delay="750"/>
                                  </p:stCondLst>
                                  <p:childTnLst>
                                    <p:animEffect transition="out" filter="fade">
                                      <p:cBhvr>
                                        <p:cTn id="91" dur="2000" tmFilter="0, 0; .2, .5; .8, .5; 1, 0"/>
                                        <p:tgtEl>
                                          <p:spTgt spid="155"/>
                                        </p:tgtEl>
                                      </p:cBhvr>
                                    </p:animEffect>
                                    <p:animScale>
                                      <p:cBhvr>
                                        <p:cTn id="92" dur="1000" autoRev="1" fill="hold"/>
                                        <p:tgtEl>
                                          <p:spTgt spid="155"/>
                                        </p:tgtEl>
                                      </p:cBhvr>
                                      <p:by x="105000" y="105000"/>
                                    </p:animScale>
                                  </p:childTnLst>
                                </p:cTn>
                              </p:par>
                              <p:par>
                                <p:cTn id="93" presetID="26" presetClass="emph" presetSubtype="0" dur="2000" repeatCount="indefinite" fill="hold" grpId="0" nodeType="withEffect">
                                  <p:stCondLst>
                                    <p:cond delay="750"/>
                                  </p:stCondLst>
                                  <p:childTnLst>
                                    <p:animEffect transition="out" filter="fade">
                                      <p:cBhvr>
                                        <p:cTn id="94" dur="2000" tmFilter="0, 0; .2, .5; .8, .5; 1, 0"/>
                                        <p:tgtEl>
                                          <p:spTgt spid="172"/>
                                        </p:tgtEl>
                                      </p:cBhvr>
                                    </p:animEffect>
                                    <p:animScale>
                                      <p:cBhvr>
                                        <p:cTn id="95" dur="1000" autoRev="1" fill="hold"/>
                                        <p:tgtEl>
                                          <p:spTgt spid="172"/>
                                        </p:tgtEl>
                                      </p:cBhvr>
                                      <p:by x="105000" y="105000"/>
                                    </p:animScale>
                                  </p:childTnLst>
                                </p:cTn>
                              </p:par>
                              <p:par>
                                <p:cTn id="96" presetID="26" presetClass="emph" presetSubtype="0" dur="2000" repeatCount="indefinite" fill="hold" grpId="0" nodeType="withEffect">
                                  <p:stCondLst>
                                    <p:cond delay="750"/>
                                  </p:stCondLst>
                                  <p:childTnLst>
                                    <p:animEffect transition="out" filter="fade">
                                      <p:cBhvr>
                                        <p:cTn id="97" dur="2000" tmFilter="0, 0; .2, .5; .8, .5; 1, 0"/>
                                        <p:tgtEl>
                                          <p:spTgt spid="189"/>
                                        </p:tgtEl>
                                      </p:cBhvr>
                                    </p:animEffect>
                                    <p:animScale>
                                      <p:cBhvr>
                                        <p:cTn id="98" dur="1000" autoRev="1" fill="hold"/>
                                        <p:tgtEl>
                                          <p:spTgt spid="189"/>
                                        </p:tgtEl>
                                      </p:cBhvr>
                                      <p:by x="105000" y="105000"/>
                                    </p:animScale>
                                  </p:childTnLst>
                                </p:cTn>
                              </p:par>
                              <p:par>
                                <p:cTn id="99" presetID="26" presetClass="emph" presetSubtype="0" dur="2000" repeatCount="indefinite" fill="hold" grpId="0" nodeType="withEffect">
                                  <p:stCondLst>
                                    <p:cond delay="750"/>
                                  </p:stCondLst>
                                  <p:childTnLst>
                                    <p:animEffect transition="out" filter="fade">
                                      <p:cBhvr>
                                        <p:cTn id="100" dur="2000" tmFilter="0, 0; .2, .5; .8, .5; 1, 0"/>
                                        <p:tgtEl>
                                          <p:spTgt spid="206"/>
                                        </p:tgtEl>
                                      </p:cBhvr>
                                    </p:animEffect>
                                    <p:animScale>
                                      <p:cBhvr>
                                        <p:cTn id="101" dur="1000" autoRev="1" fill="hold"/>
                                        <p:tgtEl>
                                          <p:spTgt spid="206"/>
                                        </p:tgtEl>
                                      </p:cBhvr>
                                      <p:by x="105000" y="105000"/>
                                    </p:animScale>
                                  </p:childTnLst>
                                </p:cTn>
                              </p:par>
                              <p:par>
                                <p:cTn id="102" presetID="26" presetClass="emph" presetSubtype="0" dur="2000" repeatCount="indefinite" fill="hold" grpId="0" nodeType="withEffect">
                                  <p:stCondLst>
                                    <p:cond delay="750"/>
                                  </p:stCondLst>
                                  <p:childTnLst>
                                    <p:animEffect transition="out" filter="fade">
                                      <p:cBhvr>
                                        <p:cTn id="103" dur="2000" tmFilter="0, 0; .2, .5; .8, .5; 1, 0"/>
                                        <p:tgtEl>
                                          <p:spTgt spid="222"/>
                                        </p:tgtEl>
                                      </p:cBhvr>
                                    </p:animEffect>
                                    <p:animScale>
                                      <p:cBhvr>
                                        <p:cTn id="104" dur="1000" autoRev="1" fill="hold"/>
                                        <p:tgtEl>
                                          <p:spTgt spid="222"/>
                                        </p:tgtEl>
                                      </p:cBhvr>
                                      <p:by x="105000" y="105000"/>
                                    </p:animScale>
                                  </p:childTnLst>
                                </p:cTn>
                              </p:par>
                              <p:par>
                                <p:cTn id="105" presetID="26" presetClass="emph" presetSubtype="0" dur="2000" repeatCount="indefinite" fill="hold" grpId="0" nodeType="withEffect">
                                  <p:stCondLst>
                                    <p:cond delay="1000"/>
                                  </p:stCondLst>
                                  <p:childTnLst>
                                    <p:animEffect transition="out" filter="fade">
                                      <p:cBhvr>
                                        <p:cTn id="106" dur="2000" tmFilter="0, 0; .2, .5; .8, .5; 1, 0"/>
                                        <p:tgtEl>
                                          <p:spTgt spid="11"/>
                                        </p:tgtEl>
                                      </p:cBhvr>
                                    </p:animEffect>
                                    <p:animScale>
                                      <p:cBhvr>
                                        <p:cTn id="107" dur="1000" autoRev="1" fill="hold"/>
                                        <p:tgtEl>
                                          <p:spTgt spid="11"/>
                                        </p:tgtEl>
                                      </p:cBhvr>
                                      <p:by x="105000" y="105000"/>
                                    </p:animScale>
                                  </p:childTnLst>
                                </p:cTn>
                              </p:par>
                              <p:par>
                                <p:cTn id="108" presetID="26" presetClass="emph" presetSubtype="0" dur="2000" repeatCount="indefinite" fill="hold" grpId="0" nodeType="withEffect">
                                  <p:stCondLst>
                                    <p:cond delay="1000"/>
                                  </p:stCondLst>
                                  <p:childTnLst>
                                    <p:animEffect transition="out" filter="fade">
                                      <p:cBhvr>
                                        <p:cTn id="109" dur="2000" tmFilter="0, 0; .2, .5; .8, .5; 1, 0"/>
                                        <p:tgtEl>
                                          <p:spTgt spid="26"/>
                                        </p:tgtEl>
                                      </p:cBhvr>
                                    </p:animEffect>
                                    <p:animScale>
                                      <p:cBhvr>
                                        <p:cTn id="110" dur="1000" autoRev="1" fill="hold"/>
                                        <p:tgtEl>
                                          <p:spTgt spid="26"/>
                                        </p:tgtEl>
                                      </p:cBhvr>
                                      <p:by x="105000" y="105000"/>
                                    </p:animScale>
                                  </p:childTnLst>
                                </p:cTn>
                              </p:par>
                              <p:par>
                                <p:cTn id="111" presetID="26" presetClass="emph" presetSubtype="0" dur="2000" repeatCount="indefinite" fill="hold" grpId="0" nodeType="withEffect">
                                  <p:stCondLst>
                                    <p:cond delay="1000"/>
                                  </p:stCondLst>
                                  <p:childTnLst>
                                    <p:animEffect transition="out" filter="fade">
                                      <p:cBhvr>
                                        <p:cTn id="112" dur="2000" tmFilter="0, 0; .2, .5; .8, .5; 1, 0"/>
                                        <p:tgtEl>
                                          <p:spTgt spid="42"/>
                                        </p:tgtEl>
                                      </p:cBhvr>
                                    </p:animEffect>
                                    <p:animScale>
                                      <p:cBhvr>
                                        <p:cTn id="113" dur="1000" autoRev="1" fill="hold"/>
                                        <p:tgtEl>
                                          <p:spTgt spid="42"/>
                                        </p:tgtEl>
                                      </p:cBhvr>
                                      <p:by x="105000" y="105000"/>
                                    </p:animScale>
                                  </p:childTnLst>
                                </p:cTn>
                              </p:par>
                              <p:par>
                                <p:cTn id="114" presetID="26" presetClass="emph" presetSubtype="0" dur="2000" repeatCount="indefinite" fill="hold" grpId="0" nodeType="withEffect">
                                  <p:stCondLst>
                                    <p:cond delay="1000"/>
                                  </p:stCondLst>
                                  <p:childTnLst>
                                    <p:animEffect transition="out" filter="fade">
                                      <p:cBhvr>
                                        <p:cTn id="115" dur="2000" tmFilter="0, 0; .2, .5; .8, .5; 1, 0"/>
                                        <p:tgtEl>
                                          <p:spTgt spid="58"/>
                                        </p:tgtEl>
                                      </p:cBhvr>
                                    </p:animEffect>
                                    <p:animScale>
                                      <p:cBhvr>
                                        <p:cTn id="116" dur="1000" autoRev="1" fill="hold"/>
                                        <p:tgtEl>
                                          <p:spTgt spid="58"/>
                                        </p:tgtEl>
                                      </p:cBhvr>
                                      <p:by x="105000" y="105000"/>
                                    </p:animScale>
                                  </p:childTnLst>
                                </p:cTn>
                              </p:par>
                              <p:par>
                                <p:cTn id="117" presetID="26" presetClass="emph" presetSubtype="0" dur="2000" repeatCount="indefinite" fill="hold" grpId="0" nodeType="withEffect">
                                  <p:stCondLst>
                                    <p:cond delay="1000"/>
                                  </p:stCondLst>
                                  <p:childTnLst>
                                    <p:animEffect transition="out" filter="fade">
                                      <p:cBhvr>
                                        <p:cTn id="118" dur="2000" tmFilter="0, 0; .2, .5; .8, .5; 1, 0"/>
                                        <p:tgtEl>
                                          <p:spTgt spid="74"/>
                                        </p:tgtEl>
                                      </p:cBhvr>
                                    </p:animEffect>
                                    <p:animScale>
                                      <p:cBhvr>
                                        <p:cTn id="119" dur="1000" autoRev="1" fill="hold"/>
                                        <p:tgtEl>
                                          <p:spTgt spid="74"/>
                                        </p:tgtEl>
                                      </p:cBhvr>
                                      <p:by x="105000" y="105000"/>
                                    </p:animScale>
                                  </p:childTnLst>
                                </p:cTn>
                              </p:par>
                              <p:par>
                                <p:cTn id="120" presetID="26" presetClass="emph" presetSubtype="0" dur="2000" repeatCount="indefinite" fill="hold" grpId="0" nodeType="withEffect">
                                  <p:stCondLst>
                                    <p:cond delay="1000"/>
                                  </p:stCondLst>
                                  <p:childTnLst>
                                    <p:animEffect transition="out" filter="fade">
                                      <p:cBhvr>
                                        <p:cTn id="121" dur="2000" tmFilter="0, 0; .2, .5; .8, .5; 1, 0"/>
                                        <p:tgtEl>
                                          <p:spTgt spid="90"/>
                                        </p:tgtEl>
                                      </p:cBhvr>
                                    </p:animEffect>
                                    <p:animScale>
                                      <p:cBhvr>
                                        <p:cTn id="122" dur="1000" autoRev="1" fill="hold"/>
                                        <p:tgtEl>
                                          <p:spTgt spid="90"/>
                                        </p:tgtEl>
                                      </p:cBhvr>
                                      <p:by x="105000" y="105000"/>
                                    </p:animScale>
                                  </p:childTnLst>
                                </p:cTn>
                              </p:par>
                              <p:par>
                                <p:cTn id="123" presetID="26" presetClass="emph" presetSubtype="0" dur="2000" repeatCount="indefinite" fill="hold" grpId="0" nodeType="withEffect">
                                  <p:stCondLst>
                                    <p:cond delay="1000"/>
                                  </p:stCondLst>
                                  <p:childTnLst>
                                    <p:animEffect transition="out" filter="fade">
                                      <p:cBhvr>
                                        <p:cTn id="124" dur="2000" tmFilter="0, 0; .2, .5; .8, .5; 1, 0"/>
                                        <p:tgtEl>
                                          <p:spTgt spid="106"/>
                                        </p:tgtEl>
                                      </p:cBhvr>
                                    </p:animEffect>
                                    <p:animScale>
                                      <p:cBhvr>
                                        <p:cTn id="125" dur="1000" autoRev="1" fill="hold"/>
                                        <p:tgtEl>
                                          <p:spTgt spid="106"/>
                                        </p:tgtEl>
                                      </p:cBhvr>
                                      <p:by x="105000" y="105000"/>
                                    </p:animScale>
                                  </p:childTnLst>
                                </p:cTn>
                              </p:par>
                              <p:par>
                                <p:cTn id="126" presetID="26" presetClass="emph" presetSubtype="0" dur="2000" repeatCount="indefinite" fill="hold" grpId="0" nodeType="withEffect">
                                  <p:stCondLst>
                                    <p:cond delay="1000"/>
                                  </p:stCondLst>
                                  <p:childTnLst>
                                    <p:animEffect transition="out" filter="fade">
                                      <p:cBhvr>
                                        <p:cTn id="127" dur="2000" tmFilter="0, 0; .2, .5; .8, .5; 1, 0"/>
                                        <p:tgtEl>
                                          <p:spTgt spid="139"/>
                                        </p:tgtEl>
                                      </p:cBhvr>
                                    </p:animEffect>
                                    <p:animScale>
                                      <p:cBhvr>
                                        <p:cTn id="128" dur="1000" autoRev="1" fill="hold"/>
                                        <p:tgtEl>
                                          <p:spTgt spid="139"/>
                                        </p:tgtEl>
                                      </p:cBhvr>
                                      <p:by x="105000" y="105000"/>
                                    </p:animScale>
                                  </p:childTnLst>
                                </p:cTn>
                              </p:par>
                              <p:par>
                                <p:cTn id="129" presetID="26" presetClass="emph" presetSubtype="0" dur="2000" repeatCount="indefinite" fill="hold" grpId="0" nodeType="withEffect">
                                  <p:stCondLst>
                                    <p:cond delay="1000"/>
                                  </p:stCondLst>
                                  <p:childTnLst>
                                    <p:animEffect transition="out" filter="fade">
                                      <p:cBhvr>
                                        <p:cTn id="130" dur="2000" tmFilter="0, 0; .2, .5; .8, .5; 1, 0"/>
                                        <p:tgtEl>
                                          <p:spTgt spid="156"/>
                                        </p:tgtEl>
                                      </p:cBhvr>
                                    </p:animEffect>
                                    <p:animScale>
                                      <p:cBhvr>
                                        <p:cTn id="131" dur="1000" autoRev="1" fill="hold"/>
                                        <p:tgtEl>
                                          <p:spTgt spid="156"/>
                                        </p:tgtEl>
                                      </p:cBhvr>
                                      <p:by x="105000" y="105000"/>
                                    </p:animScale>
                                  </p:childTnLst>
                                </p:cTn>
                              </p:par>
                              <p:par>
                                <p:cTn id="132" presetID="26" presetClass="emph" presetSubtype="0" dur="2000" repeatCount="indefinite" fill="hold" grpId="0" nodeType="withEffect">
                                  <p:stCondLst>
                                    <p:cond delay="1000"/>
                                  </p:stCondLst>
                                  <p:childTnLst>
                                    <p:animEffect transition="out" filter="fade">
                                      <p:cBhvr>
                                        <p:cTn id="133" dur="2000" tmFilter="0, 0; .2, .5; .8, .5; 1, 0"/>
                                        <p:tgtEl>
                                          <p:spTgt spid="173"/>
                                        </p:tgtEl>
                                      </p:cBhvr>
                                    </p:animEffect>
                                    <p:animScale>
                                      <p:cBhvr>
                                        <p:cTn id="134" dur="1000" autoRev="1" fill="hold"/>
                                        <p:tgtEl>
                                          <p:spTgt spid="173"/>
                                        </p:tgtEl>
                                      </p:cBhvr>
                                      <p:by x="105000" y="105000"/>
                                    </p:animScale>
                                  </p:childTnLst>
                                </p:cTn>
                              </p:par>
                              <p:par>
                                <p:cTn id="135" presetID="26" presetClass="emph" presetSubtype="0" dur="2000" repeatCount="indefinite" fill="hold" grpId="0" nodeType="withEffect">
                                  <p:stCondLst>
                                    <p:cond delay="1000"/>
                                  </p:stCondLst>
                                  <p:childTnLst>
                                    <p:animEffect transition="out" filter="fade">
                                      <p:cBhvr>
                                        <p:cTn id="136" dur="2000" tmFilter="0, 0; .2, .5; .8, .5; 1, 0"/>
                                        <p:tgtEl>
                                          <p:spTgt spid="190"/>
                                        </p:tgtEl>
                                      </p:cBhvr>
                                    </p:animEffect>
                                    <p:animScale>
                                      <p:cBhvr>
                                        <p:cTn id="137" dur="1000" autoRev="1" fill="hold"/>
                                        <p:tgtEl>
                                          <p:spTgt spid="190"/>
                                        </p:tgtEl>
                                      </p:cBhvr>
                                      <p:by x="105000" y="105000"/>
                                    </p:animScale>
                                  </p:childTnLst>
                                </p:cTn>
                              </p:par>
                              <p:par>
                                <p:cTn id="138" presetID="26" presetClass="emph" presetSubtype="0" dur="2000" repeatCount="indefinite" fill="hold" grpId="0" nodeType="withEffect">
                                  <p:stCondLst>
                                    <p:cond delay="1000"/>
                                  </p:stCondLst>
                                  <p:childTnLst>
                                    <p:animEffect transition="out" filter="fade">
                                      <p:cBhvr>
                                        <p:cTn id="139" dur="2000" tmFilter="0, 0; .2, .5; .8, .5; 1, 0"/>
                                        <p:tgtEl>
                                          <p:spTgt spid="207"/>
                                        </p:tgtEl>
                                      </p:cBhvr>
                                    </p:animEffect>
                                    <p:animScale>
                                      <p:cBhvr>
                                        <p:cTn id="140" dur="1000" autoRev="1" fill="hold"/>
                                        <p:tgtEl>
                                          <p:spTgt spid="207"/>
                                        </p:tgtEl>
                                      </p:cBhvr>
                                      <p:by x="105000" y="105000"/>
                                    </p:animScale>
                                  </p:childTnLst>
                                </p:cTn>
                              </p:par>
                              <p:par>
                                <p:cTn id="141" presetID="26" presetClass="emph" presetSubtype="0" dur="2000" repeatCount="indefinite" fill="hold" grpId="0" nodeType="withEffect">
                                  <p:stCondLst>
                                    <p:cond delay="1000"/>
                                  </p:stCondLst>
                                  <p:childTnLst>
                                    <p:animEffect transition="out" filter="fade">
                                      <p:cBhvr>
                                        <p:cTn id="142" dur="2000" tmFilter="0, 0; .2, .5; .8, .5; 1, 0"/>
                                        <p:tgtEl>
                                          <p:spTgt spid="223"/>
                                        </p:tgtEl>
                                      </p:cBhvr>
                                    </p:animEffect>
                                    <p:animScale>
                                      <p:cBhvr>
                                        <p:cTn id="143" dur="1000" autoRev="1" fill="hold"/>
                                        <p:tgtEl>
                                          <p:spTgt spid="223"/>
                                        </p:tgtEl>
                                      </p:cBhvr>
                                      <p:by x="105000" y="105000"/>
                                    </p:animScale>
                                  </p:childTnLst>
                                </p:cTn>
                              </p:par>
                              <p:par>
                                <p:cTn id="144" presetID="26" presetClass="emph" presetSubtype="0" dur="2000" repeatCount="indefinite" fill="hold" grpId="0" nodeType="withEffect">
                                  <p:stCondLst>
                                    <p:cond delay="1250"/>
                                  </p:stCondLst>
                                  <p:childTnLst>
                                    <p:animEffect transition="out" filter="fade">
                                      <p:cBhvr>
                                        <p:cTn id="145" dur="2000" tmFilter="0, 0; .2, .5; .8, .5; 1, 0"/>
                                        <p:tgtEl>
                                          <p:spTgt spid="12"/>
                                        </p:tgtEl>
                                      </p:cBhvr>
                                    </p:animEffect>
                                    <p:animScale>
                                      <p:cBhvr>
                                        <p:cTn id="146" dur="1000" autoRev="1" fill="hold"/>
                                        <p:tgtEl>
                                          <p:spTgt spid="12"/>
                                        </p:tgtEl>
                                      </p:cBhvr>
                                      <p:by x="105000" y="105000"/>
                                    </p:animScale>
                                  </p:childTnLst>
                                </p:cTn>
                              </p:par>
                              <p:par>
                                <p:cTn id="147" presetID="26" presetClass="emph" presetSubtype="0" dur="2000" repeatCount="indefinite" fill="hold" grpId="0" nodeType="withEffect">
                                  <p:stCondLst>
                                    <p:cond delay="1250"/>
                                  </p:stCondLst>
                                  <p:childTnLst>
                                    <p:animEffect transition="out" filter="fade">
                                      <p:cBhvr>
                                        <p:cTn id="148" dur="2000" tmFilter="0, 0; .2, .5; .8, .5; 1, 0"/>
                                        <p:tgtEl>
                                          <p:spTgt spid="27"/>
                                        </p:tgtEl>
                                      </p:cBhvr>
                                    </p:animEffect>
                                    <p:animScale>
                                      <p:cBhvr>
                                        <p:cTn id="149" dur="1000" autoRev="1" fill="hold"/>
                                        <p:tgtEl>
                                          <p:spTgt spid="27"/>
                                        </p:tgtEl>
                                      </p:cBhvr>
                                      <p:by x="105000" y="105000"/>
                                    </p:animScale>
                                  </p:childTnLst>
                                </p:cTn>
                              </p:par>
                              <p:par>
                                <p:cTn id="150" presetID="26" presetClass="emph" presetSubtype="0" dur="2000" repeatCount="indefinite" fill="hold" grpId="0" nodeType="withEffect">
                                  <p:stCondLst>
                                    <p:cond delay="1250"/>
                                  </p:stCondLst>
                                  <p:childTnLst>
                                    <p:animEffect transition="out" filter="fade">
                                      <p:cBhvr>
                                        <p:cTn id="151" dur="2000" tmFilter="0, 0; .2, .5; .8, .5; 1, 0"/>
                                        <p:tgtEl>
                                          <p:spTgt spid="43"/>
                                        </p:tgtEl>
                                      </p:cBhvr>
                                    </p:animEffect>
                                    <p:animScale>
                                      <p:cBhvr>
                                        <p:cTn id="152" dur="1000" autoRev="1" fill="hold"/>
                                        <p:tgtEl>
                                          <p:spTgt spid="43"/>
                                        </p:tgtEl>
                                      </p:cBhvr>
                                      <p:by x="105000" y="105000"/>
                                    </p:animScale>
                                  </p:childTnLst>
                                </p:cTn>
                              </p:par>
                              <p:par>
                                <p:cTn id="153" presetID="26" presetClass="emph" presetSubtype="0" dur="2000" repeatCount="indefinite" fill="hold" grpId="0" nodeType="withEffect">
                                  <p:stCondLst>
                                    <p:cond delay="1250"/>
                                  </p:stCondLst>
                                  <p:childTnLst>
                                    <p:animEffect transition="out" filter="fade">
                                      <p:cBhvr>
                                        <p:cTn id="154" dur="2000" tmFilter="0, 0; .2, .5; .8, .5; 1, 0"/>
                                        <p:tgtEl>
                                          <p:spTgt spid="59"/>
                                        </p:tgtEl>
                                      </p:cBhvr>
                                    </p:animEffect>
                                    <p:animScale>
                                      <p:cBhvr>
                                        <p:cTn id="155" dur="1000" autoRev="1" fill="hold"/>
                                        <p:tgtEl>
                                          <p:spTgt spid="59"/>
                                        </p:tgtEl>
                                      </p:cBhvr>
                                      <p:by x="105000" y="105000"/>
                                    </p:animScale>
                                  </p:childTnLst>
                                </p:cTn>
                              </p:par>
                              <p:par>
                                <p:cTn id="156" presetID="26" presetClass="emph" presetSubtype="0" dur="2000" repeatCount="indefinite" fill="hold" grpId="0" nodeType="withEffect">
                                  <p:stCondLst>
                                    <p:cond delay="1250"/>
                                  </p:stCondLst>
                                  <p:childTnLst>
                                    <p:animEffect transition="out" filter="fade">
                                      <p:cBhvr>
                                        <p:cTn id="157" dur="2000" tmFilter="0, 0; .2, .5; .8, .5; 1, 0"/>
                                        <p:tgtEl>
                                          <p:spTgt spid="75"/>
                                        </p:tgtEl>
                                      </p:cBhvr>
                                    </p:animEffect>
                                    <p:animScale>
                                      <p:cBhvr>
                                        <p:cTn id="158" dur="1000" autoRev="1" fill="hold"/>
                                        <p:tgtEl>
                                          <p:spTgt spid="75"/>
                                        </p:tgtEl>
                                      </p:cBhvr>
                                      <p:by x="105000" y="105000"/>
                                    </p:animScale>
                                  </p:childTnLst>
                                </p:cTn>
                              </p:par>
                              <p:par>
                                <p:cTn id="159" presetID="26" presetClass="emph" presetSubtype="0" dur="2000" repeatCount="indefinite" fill="hold" grpId="0" nodeType="withEffect">
                                  <p:stCondLst>
                                    <p:cond delay="1250"/>
                                  </p:stCondLst>
                                  <p:childTnLst>
                                    <p:animEffect transition="out" filter="fade">
                                      <p:cBhvr>
                                        <p:cTn id="160" dur="2000" tmFilter="0, 0; .2, .5; .8, .5; 1, 0"/>
                                        <p:tgtEl>
                                          <p:spTgt spid="91"/>
                                        </p:tgtEl>
                                      </p:cBhvr>
                                    </p:animEffect>
                                    <p:animScale>
                                      <p:cBhvr>
                                        <p:cTn id="161" dur="1000" autoRev="1" fill="hold"/>
                                        <p:tgtEl>
                                          <p:spTgt spid="91"/>
                                        </p:tgtEl>
                                      </p:cBhvr>
                                      <p:by x="105000" y="105000"/>
                                    </p:animScale>
                                  </p:childTnLst>
                                </p:cTn>
                              </p:par>
                              <p:par>
                                <p:cTn id="162" presetID="26" presetClass="emph" presetSubtype="0" dur="2000" repeatCount="indefinite" fill="hold" grpId="0" nodeType="withEffect">
                                  <p:stCondLst>
                                    <p:cond delay="1250"/>
                                  </p:stCondLst>
                                  <p:childTnLst>
                                    <p:animEffect transition="out" filter="fade">
                                      <p:cBhvr>
                                        <p:cTn id="163" dur="2000" tmFilter="0, 0; .2, .5; .8, .5; 1, 0"/>
                                        <p:tgtEl>
                                          <p:spTgt spid="107"/>
                                        </p:tgtEl>
                                      </p:cBhvr>
                                    </p:animEffect>
                                    <p:animScale>
                                      <p:cBhvr>
                                        <p:cTn id="164" dur="1000" autoRev="1" fill="hold"/>
                                        <p:tgtEl>
                                          <p:spTgt spid="107"/>
                                        </p:tgtEl>
                                      </p:cBhvr>
                                      <p:by x="105000" y="105000"/>
                                    </p:animScale>
                                  </p:childTnLst>
                                </p:cTn>
                              </p:par>
                              <p:par>
                                <p:cTn id="165" presetID="26" presetClass="emph" presetSubtype="0" dur="2000" repeatCount="indefinite" fill="hold" grpId="0" nodeType="withEffect">
                                  <p:stCondLst>
                                    <p:cond delay="1250"/>
                                  </p:stCondLst>
                                  <p:childTnLst>
                                    <p:animEffect transition="out" filter="fade">
                                      <p:cBhvr>
                                        <p:cTn id="166" dur="2000" tmFilter="0, 0; .2, .5; .8, .5; 1, 0"/>
                                        <p:tgtEl>
                                          <p:spTgt spid="123"/>
                                        </p:tgtEl>
                                      </p:cBhvr>
                                    </p:animEffect>
                                    <p:animScale>
                                      <p:cBhvr>
                                        <p:cTn id="167" dur="1000" autoRev="1" fill="hold"/>
                                        <p:tgtEl>
                                          <p:spTgt spid="123"/>
                                        </p:tgtEl>
                                      </p:cBhvr>
                                      <p:by x="105000" y="105000"/>
                                    </p:animScale>
                                  </p:childTnLst>
                                </p:cTn>
                              </p:par>
                              <p:par>
                                <p:cTn id="168" presetID="26" presetClass="emph" presetSubtype="0" dur="2000" repeatCount="indefinite" fill="hold" grpId="0" nodeType="withEffect">
                                  <p:stCondLst>
                                    <p:cond delay="1250"/>
                                  </p:stCondLst>
                                  <p:childTnLst>
                                    <p:animEffect transition="out" filter="fade">
                                      <p:cBhvr>
                                        <p:cTn id="169" dur="2000" tmFilter="0, 0; .2, .5; .8, .5; 1, 0"/>
                                        <p:tgtEl>
                                          <p:spTgt spid="140"/>
                                        </p:tgtEl>
                                      </p:cBhvr>
                                    </p:animEffect>
                                    <p:animScale>
                                      <p:cBhvr>
                                        <p:cTn id="170" dur="1000" autoRev="1" fill="hold"/>
                                        <p:tgtEl>
                                          <p:spTgt spid="140"/>
                                        </p:tgtEl>
                                      </p:cBhvr>
                                      <p:by x="105000" y="105000"/>
                                    </p:animScale>
                                  </p:childTnLst>
                                </p:cTn>
                              </p:par>
                              <p:par>
                                <p:cTn id="171" presetID="26" presetClass="emph" presetSubtype="0" dur="2000" repeatCount="indefinite" fill="hold" grpId="0" nodeType="withEffect">
                                  <p:stCondLst>
                                    <p:cond delay="1250"/>
                                  </p:stCondLst>
                                  <p:childTnLst>
                                    <p:animEffect transition="out" filter="fade">
                                      <p:cBhvr>
                                        <p:cTn id="172" dur="2000" tmFilter="0, 0; .2, .5; .8, .5; 1, 0"/>
                                        <p:tgtEl>
                                          <p:spTgt spid="157"/>
                                        </p:tgtEl>
                                      </p:cBhvr>
                                    </p:animEffect>
                                    <p:animScale>
                                      <p:cBhvr>
                                        <p:cTn id="173" dur="1000" autoRev="1" fill="hold"/>
                                        <p:tgtEl>
                                          <p:spTgt spid="157"/>
                                        </p:tgtEl>
                                      </p:cBhvr>
                                      <p:by x="105000" y="105000"/>
                                    </p:animScale>
                                  </p:childTnLst>
                                </p:cTn>
                              </p:par>
                              <p:par>
                                <p:cTn id="174" presetID="26" presetClass="emph" presetSubtype="0" dur="2000" repeatCount="indefinite" fill="hold" grpId="0" nodeType="withEffect">
                                  <p:stCondLst>
                                    <p:cond delay="1250"/>
                                  </p:stCondLst>
                                  <p:childTnLst>
                                    <p:animEffect transition="out" filter="fade">
                                      <p:cBhvr>
                                        <p:cTn id="175" dur="2000" tmFilter="0, 0; .2, .5; .8, .5; 1, 0"/>
                                        <p:tgtEl>
                                          <p:spTgt spid="174"/>
                                        </p:tgtEl>
                                      </p:cBhvr>
                                    </p:animEffect>
                                    <p:animScale>
                                      <p:cBhvr>
                                        <p:cTn id="176" dur="1000" autoRev="1" fill="hold"/>
                                        <p:tgtEl>
                                          <p:spTgt spid="174"/>
                                        </p:tgtEl>
                                      </p:cBhvr>
                                      <p:by x="105000" y="105000"/>
                                    </p:animScale>
                                  </p:childTnLst>
                                </p:cTn>
                              </p:par>
                              <p:par>
                                <p:cTn id="177" presetID="26" presetClass="emph" presetSubtype="0" dur="2000" repeatCount="indefinite" fill="hold" grpId="0" nodeType="withEffect">
                                  <p:stCondLst>
                                    <p:cond delay="1250"/>
                                  </p:stCondLst>
                                  <p:childTnLst>
                                    <p:animEffect transition="out" filter="fade">
                                      <p:cBhvr>
                                        <p:cTn id="178" dur="2000" tmFilter="0, 0; .2, .5; .8, .5; 1, 0"/>
                                        <p:tgtEl>
                                          <p:spTgt spid="191"/>
                                        </p:tgtEl>
                                      </p:cBhvr>
                                    </p:animEffect>
                                    <p:animScale>
                                      <p:cBhvr>
                                        <p:cTn id="179" dur="1000" autoRev="1" fill="hold"/>
                                        <p:tgtEl>
                                          <p:spTgt spid="191"/>
                                        </p:tgtEl>
                                      </p:cBhvr>
                                      <p:by x="105000" y="105000"/>
                                    </p:animScale>
                                  </p:childTnLst>
                                </p:cTn>
                              </p:par>
                              <p:par>
                                <p:cTn id="180" presetID="26" presetClass="emph" presetSubtype="0" dur="2000" repeatCount="indefinite" fill="hold" grpId="0" nodeType="withEffect">
                                  <p:stCondLst>
                                    <p:cond delay="1250"/>
                                  </p:stCondLst>
                                  <p:childTnLst>
                                    <p:animEffect transition="out" filter="fade">
                                      <p:cBhvr>
                                        <p:cTn id="181" dur="2000" tmFilter="0, 0; .2, .5; .8, .5; 1, 0"/>
                                        <p:tgtEl>
                                          <p:spTgt spid="208"/>
                                        </p:tgtEl>
                                      </p:cBhvr>
                                    </p:animEffect>
                                    <p:animScale>
                                      <p:cBhvr>
                                        <p:cTn id="182" dur="1000" autoRev="1" fill="hold"/>
                                        <p:tgtEl>
                                          <p:spTgt spid="208"/>
                                        </p:tgtEl>
                                      </p:cBhvr>
                                      <p:by x="105000" y="105000"/>
                                    </p:animScale>
                                  </p:childTnLst>
                                </p:cTn>
                              </p:par>
                              <p:par>
                                <p:cTn id="183" presetID="26" presetClass="emph" presetSubtype="0" dur="2000" repeatCount="indefinite" fill="hold" grpId="0" nodeType="withEffect">
                                  <p:stCondLst>
                                    <p:cond delay="1250"/>
                                  </p:stCondLst>
                                  <p:childTnLst>
                                    <p:animEffect transition="out" filter="fade">
                                      <p:cBhvr>
                                        <p:cTn id="184" dur="2000" tmFilter="0, 0; .2, .5; .8, .5; 1, 0"/>
                                        <p:tgtEl>
                                          <p:spTgt spid="224"/>
                                        </p:tgtEl>
                                      </p:cBhvr>
                                    </p:animEffect>
                                    <p:animScale>
                                      <p:cBhvr>
                                        <p:cTn id="185" dur="1000" autoRev="1" fill="hold"/>
                                        <p:tgtEl>
                                          <p:spTgt spid="224"/>
                                        </p:tgtEl>
                                      </p:cBhvr>
                                      <p:by x="105000" y="105000"/>
                                    </p:animScale>
                                  </p:childTnLst>
                                </p:cTn>
                              </p:par>
                              <p:par>
                                <p:cTn id="186" presetID="26" presetClass="emph" presetSubtype="0" dur="2000" repeatCount="indefinite" fill="hold" grpId="0" nodeType="withEffect">
                                  <p:stCondLst>
                                    <p:cond delay="1500"/>
                                  </p:stCondLst>
                                  <p:childTnLst>
                                    <p:animEffect transition="out" filter="fade">
                                      <p:cBhvr>
                                        <p:cTn id="187" dur="2000" tmFilter="0, 0; .2, .5; .8, .5; 1, 0"/>
                                        <p:tgtEl>
                                          <p:spTgt spid="13"/>
                                        </p:tgtEl>
                                      </p:cBhvr>
                                    </p:animEffect>
                                    <p:animScale>
                                      <p:cBhvr>
                                        <p:cTn id="188" dur="1000" autoRev="1" fill="hold"/>
                                        <p:tgtEl>
                                          <p:spTgt spid="13"/>
                                        </p:tgtEl>
                                      </p:cBhvr>
                                      <p:by x="105000" y="105000"/>
                                    </p:animScale>
                                  </p:childTnLst>
                                </p:cTn>
                              </p:par>
                              <p:par>
                                <p:cTn id="189" presetID="26" presetClass="emph" presetSubtype="0" dur="2000" repeatCount="indefinite" fill="hold" grpId="0" nodeType="withEffect">
                                  <p:stCondLst>
                                    <p:cond delay="1500"/>
                                  </p:stCondLst>
                                  <p:childTnLst>
                                    <p:animEffect transition="out" filter="fade">
                                      <p:cBhvr>
                                        <p:cTn id="190" dur="2000" tmFilter="0, 0; .2, .5; .8, .5; 1, 0"/>
                                        <p:tgtEl>
                                          <p:spTgt spid="28"/>
                                        </p:tgtEl>
                                      </p:cBhvr>
                                    </p:animEffect>
                                    <p:animScale>
                                      <p:cBhvr>
                                        <p:cTn id="191" dur="1000" autoRev="1" fill="hold"/>
                                        <p:tgtEl>
                                          <p:spTgt spid="28"/>
                                        </p:tgtEl>
                                      </p:cBhvr>
                                      <p:by x="105000" y="105000"/>
                                    </p:animScale>
                                  </p:childTnLst>
                                </p:cTn>
                              </p:par>
                              <p:par>
                                <p:cTn id="192" presetID="26" presetClass="emph" presetSubtype="0" dur="2000" repeatCount="indefinite" fill="hold" grpId="0" nodeType="withEffect">
                                  <p:stCondLst>
                                    <p:cond delay="1500"/>
                                  </p:stCondLst>
                                  <p:childTnLst>
                                    <p:animEffect transition="out" filter="fade">
                                      <p:cBhvr>
                                        <p:cTn id="193" dur="2000" tmFilter="0, 0; .2, .5; .8, .5; 1, 0"/>
                                        <p:tgtEl>
                                          <p:spTgt spid="44"/>
                                        </p:tgtEl>
                                      </p:cBhvr>
                                    </p:animEffect>
                                    <p:animScale>
                                      <p:cBhvr>
                                        <p:cTn id="194" dur="1000" autoRev="1" fill="hold"/>
                                        <p:tgtEl>
                                          <p:spTgt spid="44"/>
                                        </p:tgtEl>
                                      </p:cBhvr>
                                      <p:by x="105000" y="105000"/>
                                    </p:animScale>
                                  </p:childTnLst>
                                </p:cTn>
                              </p:par>
                              <p:par>
                                <p:cTn id="195" presetID="26" presetClass="emph" presetSubtype="0" dur="2000" repeatCount="indefinite" fill="hold" grpId="0" nodeType="withEffect">
                                  <p:stCondLst>
                                    <p:cond delay="1500"/>
                                  </p:stCondLst>
                                  <p:childTnLst>
                                    <p:animEffect transition="out" filter="fade">
                                      <p:cBhvr>
                                        <p:cTn id="196" dur="2000" tmFilter="0, 0; .2, .5; .8, .5; 1, 0"/>
                                        <p:tgtEl>
                                          <p:spTgt spid="60"/>
                                        </p:tgtEl>
                                      </p:cBhvr>
                                    </p:animEffect>
                                    <p:animScale>
                                      <p:cBhvr>
                                        <p:cTn id="197" dur="1000" autoRev="1" fill="hold"/>
                                        <p:tgtEl>
                                          <p:spTgt spid="60"/>
                                        </p:tgtEl>
                                      </p:cBhvr>
                                      <p:by x="105000" y="105000"/>
                                    </p:animScale>
                                  </p:childTnLst>
                                </p:cTn>
                              </p:par>
                              <p:par>
                                <p:cTn id="198" presetID="26" presetClass="emph" presetSubtype="0" dur="2000" repeatCount="indefinite" fill="hold" grpId="0" nodeType="withEffect">
                                  <p:stCondLst>
                                    <p:cond delay="1500"/>
                                  </p:stCondLst>
                                  <p:childTnLst>
                                    <p:animEffect transition="out" filter="fade">
                                      <p:cBhvr>
                                        <p:cTn id="199" dur="2000" tmFilter="0, 0; .2, .5; .8, .5; 1, 0"/>
                                        <p:tgtEl>
                                          <p:spTgt spid="76"/>
                                        </p:tgtEl>
                                      </p:cBhvr>
                                    </p:animEffect>
                                    <p:animScale>
                                      <p:cBhvr>
                                        <p:cTn id="200" dur="1000" autoRev="1" fill="hold"/>
                                        <p:tgtEl>
                                          <p:spTgt spid="76"/>
                                        </p:tgtEl>
                                      </p:cBhvr>
                                      <p:by x="105000" y="105000"/>
                                    </p:animScale>
                                  </p:childTnLst>
                                </p:cTn>
                              </p:par>
                              <p:par>
                                <p:cTn id="201" presetID="26" presetClass="emph" presetSubtype="0" dur="2000" repeatCount="indefinite" fill="hold" grpId="0" nodeType="withEffect">
                                  <p:stCondLst>
                                    <p:cond delay="1500"/>
                                  </p:stCondLst>
                                  <p:childTnLst>
                                    <p:animEffect transition="out" filter="fade">
                                      <p:cBhvr>
                                        <p:cTn id="202" dur="2000" tmFilter="0, 0; .2, .5; .8, .5; 1, 0"/>
                                        <p:tgtEl>
                                          <p:spTgt spid="92"/>
                                        </p:tgtEl>
                                      </p:cBhvr>
                                    </p:animEffect>
                                    <p:animScale>
                                      <p:cBhvr>
                                        <p:cTn id="203" dur="1000" autoRev="1" fill="hold"/>
                                        <p:tgtEl>
                                          <p:spTgt spid="92"/>
                                        </p:tgtEl>
                                      </p:cBhvr>
                                      <p:by x="105000" y="105000"/>
                                    </p:animScale>
                                  </p:childTnLst>
                                </p:cTn>
                              </p:par>
                              <p:par>
                                <p:cTn id="204" presetID="26" presetClass="emph" presetSubtype="0" dur="2000" repeatCount="indefinite" fill="hold" grpId="0" nodeType="withEffect">
                                  <p:stCondLst>
                                    <p:cond delay="1500"/>
                                  </p:stCondLst>
                                  <p:childTnLst>
                                    <p:animEffect transition="out" filter="fade">
                                      <p:cBhvr>
                                        <p:cTn id="205" dur="2000" tmFilter="0, 0; .2, .5; .8, .5; 1, 0"/>
                                        <p:tgtEl>
                                          <p:spTgt spid="108"/>
                                        </p:tgtEl>
                                      </p:cBhvr>
                                    </p:animEffect>
                                    <p:animScale>
                                      <p:cBhvr>
                                        <p:cTn id="206" dur="1000" autoRev="1" fill="hold"/>
                                        <p:tgtEl>
                                          <p:spTgt spid="108"/>
                                        </p:tgtEl>
                                      </p:cBhvr>
                                      <p:by x="105000" y="105000"/>
                                    </p:animScale>
                                  </p:childTnLst>
                                </p:cTn>
                              </p:par>
                              <p:par>
                                <p:cTn id="207" presetID="26" presetClass="emph" presetSubtype="0" dur="2000" repeatCount="indefinite" fill="hold" grpId="0" nodeType="withEffect">
                                  <p:stCondLst>
                                    <p:cond delay="1500"/>
                                  </p:stCondLst>
                                  <p:childTnLst>
                                    <p:animEffect transition="out" filter="fade">
                                      <p:cBhvr>
                                        <p:cTn id="208" dur="2000" tmFilter="0, 0; .2, .5; .8, .5; 1, 0"/>
                                        <p:tgtEl>
                                          <p:spTgt spid="124"/>
                                        </p:tgtEl>
                                      </p:cBhvr>
                                    </p:animEffect>
                                    <p:animScale>
                                      <p:cBhvr>
                                        <p:cTn id="209" dur="1000" autoRev="1" fill="hold"/>
                                        <p:tgtEl>
                                          <p:spTgt spid="124"/>
                                        </p:tgtEl>
                                      </p:cBhvr>
                                      <p:by x="105000" y="105000"/>
                                    </p:animScale>
                                  </p:childTnLst>
                                </p:cTn>
                              </p:par>
                              <p:par>
                                <p:cTn id="210" presetID="26" presetClass="emph" presetSubtype="0" dur="2000" repeatCount="indefinite" fill="hold" grpId="0" nodeType="withEffect">
                                  <p:stCondLst>
                                    <p:cond delay="1500"/>
                                  </p:stCondLst>
                                  <p:childTnLst>
                                    <p:animEffect transition="out" filter="fade">
                                      <p:cBhvr>
                                        <p:cTn id="211" dur="2000" tmFilter="0, 0; .2, .5; .8, .5; 1, 0"/>
                                        <p:tgtEl>
                                          <p:spTgt spid="141"/>
                                        </p:tgtEl>
                                      </p:cBhvr>
                                    </p:animEffect>
                                    <p:animScale>
                                      <p:cBhvr>
                                        <p:cTn id="212" dur="1000" autoRev="1" fill="hold"/>
                                        <p:tgtEl>
                                          <p:spTgt spid="141"/>
                                        </p:tgtEl>
                                      </p:cBhvr>
                                      <p:by x="105000" y="105000"/>
                                    </p:animScale>
                                  </p:childTnLst>
                                </p:cTn>
                              </p:par>
                              <p:par>
                                <p:cTn id="213" presetID="26" presetClass="emph" presetSubtype="0" dur="2000" repeatCount="indefinite" fill="hold" grpId="0" nodeType="withEffect">
                                  <p:stCondLst>
                                    <p:cond delay="1500"/>
                                  </p:stCondLst>
                                  <p:childTnLst>
                                    <p:animEffect transition="out" filter="fade">
                                      <p:cBhvr>
                                        <p:cTn id="214" dur="2000" tmFilter="0, 0; .2, .5; .8, .5; 1, 0"/>
                                        <p:tgtEl>
                                          <p:spTgt spid="158"/>
                                        </p:tgtEl>
                                      </p:cBhvr>
                                    </p:animEffect>
                                    <p:animScale>
                                      <p:cBhvr>
                                        <p:cTn id="215" dur="1000" autoRev="1" fill="hold"/>
                                        <p:tgtEl>
                                          <p:spTgt spid="158"/>
                                        </p:tgtEl>
                                      </p:cBhvr>
                                      <p:by x="105000" y="105000"/>
                                    </p:animScale>
                                  </p:childTnLst>
                                </p:cTn>
                              </p:par>
                              <p:par>
                                <p:cTn id="216" presetID="26" presetClass="emph" presetSubtype="0" dur="2000" repeatCount="indefinite" fill="hold" grpId="0" nodeType="withEffect">
                                  <p:stCondLst>
                                    <p:cond delay="1500"/>
                                  </p:stCondLst>
                                  <p:childTnLst>
                                    <p:animEffect transition="out" filter="fade">
                                      <p:cBhvr>
                                        <p:cTn id="217" dur="2000" tmFilter="0, 0; .2, .5; .8, .5; 1, 0"/>
                                        <p:tgtEl>
                                          <p:spTgt spid="175"/>
                                        </p:tgtEl>
                                      </p:cBhvr>
                                    </p:animEffect>
                                    <p:animScale>
                                      <p:cBhvr>
                                        <p:cTn id="218" dur="1000" autoRev="1" fill="hold"/>
                                        <p:tgtEl>
                                          <p:spTgt spid="175"/>
                                        </p:tgtEl>
                                      </p:cBhvr>
                                      <p:by x="105000" y="105000"/>
                                    </p:animScale>
                                  </p:childTnLst>
                                </p:cTn>
                              </p:par>
                              <p:par>
                                <p:cTn id="219" presetID="26" presetClass="emph" presetSubtype="0" dur="2000" repeatCount="indefinite" fill="hold" grpId="0" nodeType="withEffect">
                                  <p:stCondLst>
                                    <p:cond delay="1500"/>
                                  </p:stCondLst>
                                  <p:childTnLst>
                                    <p:animEffect transition="out" filter="fade">
                                      <p:cBhvr>
                                        <p:cTn id="220" dur="2000" tmFilter="0, 0; .2, .5; .8, .5; 1, 0"/>
                                        <p:tgtEl>
                                          <p:spTgt spid="192"/>
                                        </p:tgtEl>
                                      </p:cBhvr>
                                    </p:animEffect>
                                    <p:animScale>
                                      <p:cBhvr>
                                        <p:cTn id="221" dur="1000" autoRev="1" fill="hold"/>
                                        <p:tgtEl>
                                          <p:spTgt spid="192"/>
                                        </p:tgtEl>
                                      </p:cBhvr>
                                      <p:by x="105000" y="105000"/>
                                    </p:animScale>
                                  </p:childTnLst>
                                </p:cTn>
                              </p:par>
                              <p:par>
                                <p:cTn id="222" presetID="26" presetClass="emph" presetSubtype="0" dur="2000" repeatCount="indefinite" fill="hold" grpId="0" nodeType="withEffect">
                                  <p:stCondLst>
                                    <p:cond delay="1500"/>
                                  </p:stCondLst>
                                  <p:childTnLst>
                                    <p:animEffect transition="out" filter="fade">
                                      <p:cBhvr>
                                        <p:cTn id="223" dur="2000" tmFilter="0, 0; .2, .5; .8, .5; 1, 0"/>
                                        <p:tgtEl>
                                          <p:spTgt spid="209"/>
                                        </p:tgtEl>
                                      </p:cBhvr>
                                    </p:animEffect>
                                    <p:animScale>
                                      <p:cBhvr>
                                        <p:cTn id="224" dur="1000" autoRev="1" fill="hold"/>
                                        <p:tgtEl>
                                          <p:spTgt spid="209"/>
                                        </p:tgtEl>
                                      </p:cBhvr>
                                      <p:by x="105000" y="105000"/>
                                    </p:animScale>
                                  </p:childTnLst>
                                </p:cTn>
                              </p:par>
                              <p:par>
                                <p:cTn id="225" presetID="26" presetClass="emph" presetSubtype="0" dur="2000" repeatCount="indefinite" fill="hold" grpId="0" nodeType="withEffect">
                                  <p:stCondLst>
                                    <p:cond delay="1500"/>
                                  </p:stCondLst>
                                  <p:childTnLst>
                                    <p:animEffect transition="out" filter="fade">
                                      <p:cBhvr>
                                        <p:cTn id="226" dur="2000" tmFilter="0, 0; .2, .5; .8, .5; 1, 0"/>
                                        <p:tgtEl>
                                          <p:spTgt spid="225"/>
                                        </p:tgtEl>
                                      </p:cBhvr>
                                    </p:animEffect>
                                    <p:animScale>
                                      <p:cBhvr>
                                        <p:cTn id="227" dur="1000" autoRev="1" fill="hold"/>
                                        <p:tgtEl>
                                          <p:spTgt spid="225"/>
                                        </p:tgtEl>
                                      </p:cBhvr>
                                      <p:by x="105000" y="105000"/>
                                    </p:animScale>
                                  </p:childTnLst>
                                </p:cTn>
                              </p:par>
                              <p:par>
                                <p:cTn id="228" presetID="26" presetClass="emph" presetSubtype="0" dur="2000" repeatCount="indefinite" fill="hold" grpId="0" nodeType="withEffect">
                                  <p:stCondLst>
                                    <p:cond delay="1750"/>
                                  </p:stCondLst>
                                  <p:childTnLst>
                                    <p:animEffect transition="out" filter="fade">
                                      <p:cBhvr>
                                        <p:cTn id="229" dur="2000" tmFilter="0, 0; .2, .5; .8, .5; 1, 0"/>
                                        <p:tgtEl>
                                          <p:spTgt spid="14"/>
                                        </p:tgtEl>
                                      </p:cBhvr>
                                    </p:animEffect>
                                    <p:animScale>
                                      <p:cBhvr>
                                        <p:cTn id="230" dur="1000" autoRev="1" fill="hold"/>
                                        <p:tgtEl>
                                          <p:spTgt spid="14"/>
                                        </p:tgtEl>
                                      </p:cBhvr>
                                      <p:by x="105000" y="105000"/>
                                    </p:animScale>
                                  </p:childTnLst>
                                </p:cTn>
                              </p:par>
                              <p:par>
                                <p:cTn id="231" presetID="26" presetClass="emph" presetSubtype="0" dur="2000" repeatCount="indefinite" fill="hold" grpId="0" nodeType="withEffect">
                                  <p:stCondLst>
                                    <p:cond delay="1750"/>
                                  </p:stCondLst>
                                  <p:childTnLst>
                                    <p:animEffect transition="out" filter="fade">
                                      <p:cBhvr>
                                        <p:cTn id="232" dur="2000" tmFilter="0, 0; .2, .5; .8, .5; 1, 0"/>
                                        <p:tgtEl>
                                          <p:spTgt spid="29"/>
                                        </p:tgtEl>
                                      </p:cBhvr>
                                    </p:animEffect>
                                    <p:animScale>
                                      <p:cBhvr>
                                        <p:cTn id="233" dur="1000" autoRev="1" fill="hold"/>
                                        <p:tgtEl>
                                          <p:spTgt spid="29"/>
                                        </p:tgtEl>
                                      </p:cBhvr>
                                      <p:by x="105000" y="105000"/>
                                    </p:animScale>
                                  </p:childTnLst>
                                </p:cTn>
                              </p:par>
                              <p:par>
                                <p:cTn id="234" presetID="26" presetClass="emph" presetSubtype="0" dur="2000" repeatCount="indefinite" fill="hold" grpId="0" nodeType="withEffect">
                                  <p:stCondLst>
                                    <p:cond delay="1750"/>
                                  </p:stCondLst>
                                  <p:childTnLst>
                                    <p:animEffect transition="out" filter="fade">
                                      <p:cBhvr>
                                        <p:cTn id="235" dur="2000" tmFilter="0, 0; .2, .5; .8, .5; 1, 0"/>
                                        <p:tgtEl>
                                          <p:spTgt spid="45"/>
                                        </p:tgtEl>
                                      </p:cBhvr>
                                    </p:animEffect>
                                    <p:animScale>
                                      <p:cBhvr>
                                        <p:cTn id="236" dur="1000" autoRev="1" fill="hold"/>
                                        <p:tgtEl>
                                          <p:spTgt spid="45"/>
                                        </p:tgtEl>
                                      </p:cBhvr>
                                      <p:by x="105000" y="105000"/>
                                    </p:animScale>
                                  </p:childTnLst>
                                </p:cTn>
                              </p:par>
                              <p:par>
                                <p:cTn id="237" presetID="26" presetClass="emph" presetSubtype="0" dur="2000" repeatCount="indefinite" fill="hold" grpId="0" nodeType="withEffect">
                                  <p:stCondLst>
                                    <p:cond delay="1750"/>
                                  </p:stCondLst>
                                  <p:childTnLst>
                                    <p:animEffect transition="out" filter="fade">
                                      <p:cBhvr>
                                        <p:cTn id="238" dur="2000" tmFilter="0, 0; .2, .5; .8, .5; 1, 0"/>
                                        <p:tgtEl>
                                          <p:spTgt spid="61"/>
                                        </p:tgtEl>
                                      </p:cBhvr>
                                    </p:animEffect>
                                    <p:animScale>
                                      <p:cBhvr>
                                        <p:cTn id="239" dur="1000" autoRev="1" fill="hold"/>
                                        <p:tgtEl>
                                          <p:spTgt spid="61"/>
                                        </p:tgtEl>
                                      </p:cBhvr>
                                      <p:by x="105000" y="105000"/>
                                    </p:animScale>
                                  </p:childTnLst>
                                </p:cTn>
                              </p:par>
                              <p:par>
                                <p:cTn id="240" presetID="26" presetClass="emph" presetSubtype="0" dur="2000" repeatCount="indefinite" fill="hold" grpId="0" nodeType="withEffect">
                                  <p:stCondLst>
                                    <p:cond delay="1750"/>
                                  </p:stCondLst>
                                  <p:childTnLst>
                                    <p:animEffect transition="out" filter="fade">
                                      <p:cBhvr>
                                        <p:cTn id="241" dur="2000" tmFilter="0, 0; .2, .5; .8, .5; 1, 0"/>
                                        <p:tgtEl>
                                          <p:spTgt spid="77"/>
                                        </p:tgtEl>
                                      </p:cBhvr>
                                    </p:animEffect>
                                    <p:animScale>
                                      <p:cBhvr>
                                        <p:cTn id="242" dur="1000" autoRev="1" fill="hold"/>
                                        <p:tgtEl>
                                          <p:spTgt spid="77"/>
                                        </p:tgtEl>
                                      </p:cBhvr>
                                      <p:by x="105000" y="105000"/>
                                    </p:animScale>
                                  </p:childTnLst>
                                </p:cTn>
                              </p:par>
                              <p:par>
                                <p:cTn id="243" presetID="26" presetClass="emph" presetSubtype="0" dur="2000" repeatCount="indefinite" fill="hold" grpId="0" nodeType="withEffect">
                                  <p:stCondLst>
                                    <p:cond delay="1750"/>
                                  </p:stCondLst>
                                  <p:childTnLst>
                                    <p:animEffect transition="out" filter="fade">
                                      <p:cBhvr>
                                        <p:cTn id="244" dur="2000" tmFilter="0, 0; .2, .5; .8, .5; 1, 0"/>
                                        <p:tgtEl>
                                          <p:spTgt spid="93"/>
                                        </p:tgtEl>
                                      </p:cBhvr>
                                    </p:animEffect>
                                    <p:animScale>
                                      <p:cBhvr>
                                        <p:cTn id="245" dur="1000" autoRev="1" fill="hold"/>
                                        <p:tgtEl>
                                          <p:spTgt spid="93"/>
                                        </p:tgtEl>
                                      </p:cBhvr>
                                      <p:by x="105000" y="105000"/>
                                    </p:animScale>
                                  </p:childTnLst>
                                </p:cTn>
                              </p:par>
                              <p:par>
                                <p:cTn id="246" presetID="26" presetClass="emph" presetSubtype="0" dur="2000" repeatCount="indefinite" fill="hold" grpId="0" nodeType="withEffect">
                                  <p:stCondLst>
                                    <p:cond delay="1750"/>
                                  </p:stCondLst>
                                  <p:childTnLst>
                                    <p:animEffect transition="out" filter="fade">
                                      <p:cBhvr>
                                        <p:cTn id="247" dur="2000" tmFilter="0, 0; .2, .5; .8, .5; 1, 0"/>
                                        <p:tgtEl>
                                          <p:spTgt spid="109"/>
                                        </p:tgtEl>
                                      </p:cBhvr>
                                    </p:animEffect>
                                    <p:animScale>
                                      <p:cBhvr>
                                        <p:cTn id="248" dur="1000" autoRev="1" fill="hold"/>
                                        <p:tgtEl>
                                          <p:spTgt spid="109"/>
                                        </p:tgtEl>
                                      </p:cBhvr>
                                      <p:by x="105000" y="105000"/>
                                    </p:animScale>
                                  </p:childTnLst>
                                </p:cTn>
                              </p:par>
                              <p:par>
                                <p:cTn id="249" presetID="26" presetClass="emph" presetSubtype="0" dur="2000" repeatCount="indefinite" fill="hold" grpId="0" nodeType="withEffect">
                                  <p:stCondLst>
                                    <p:cond delay="1750"/>
                                  </p:stCondLst>
                                  <p:childTnLst>
                                    <p:animEffect transition="out" filter="fade">
                                      <p:cBhvr>
                                        <p:cTn id="250" dur="2000" tmFilter="0, 0; .2, .5; .8, .5; 1, 0"/>
                                        <p:tgtEl>
                                          <p:spTgt spid="125"/>
                                        </p:tgtEl>
                                      </p:cBhvr>
                                    </p:animEffect>
                                    <p:animScale>
                                      <p:cBhvr>
                                        <p:cTn id="251" dur="1000" autoRev="1" fill="hold"/>
                                        <p:tgtEl>
                                          <p:spTgt spid="125"/>
                                        </p:tgtEl>
                                      </p:cBhvr>
                                      <p:by x="105000" y="105000"/>
                                    </p:animScale>
                                  </p:childTnLst>
                                </p:cTn>
                              </p:par>
                              <p:par>
                                <p:cTn id="252" presetID="26" presetClass="emph" presetSubtype="0" dur="2000" repeatCount="indefinite" fill="hold" grpId="0" nodeType="withEffect">
                                  <p:stCondLst>
                                    <p:cond delay="1750"/>
                                  </p:stCondLst>
                                  <p:childTnLst>
                                    <p:animEffect transition="out" filter="fade">
                                      <p:cBhvr>
                                        <p:cTn id="253" dur="2000" tmFilter="0, 0; .2, .5; .8, .5; 1, 0"/>
                                        <p:tgtEl>
                                          <p:spTgt spid="142"/>
                                        </p:tgtEl>
                                      </p:cBhvr>
                                    </p:animEffect>
                                    <p:animScale>
                                      <p:cBhvr>
                                        <p:cTn id="254" dur="1000" autoRev="1" fill="hold"/>
                                        <p:tgtEl>
                                          <p:spTgt spid="142"/>
                                        </p:tgtEl>
                                      </p:cBhvr>
                                      <p:by x="105000" y="105000"/>
                                    </p:animScale>
                                  </p:childTnLst>
                                </p:cTn>
                              </p:par>
                              <p:par>
                                <p:cTn id="255" presetID="26" presetClass="emph" presetSubtype="0" dur="2000" repeatCount="indefinite" fill="hold" grpId="0" nodeType="withEffect">
                                  <p:stCondLst>
                                    <p:cond delay="1750"/>
                                  </p:stCondLst>
                                  <p:childTnLst>
                                    <p:animEffect transition="out" filter="fade">
                                      <p:cBhvr>
                                        <p:cTn id="256" dur="2000" tmFilter="0, 0; .2, .5; .8, .5; 1, 0"/>
                                        <p:tgtEl>
                                          <p:spTgt spid="159"/>
                                        </p:tgtEl>
                                      </p:cBhvr>
                                    </p:animEffect>
                                    <p:animScale>
                                      <p:cBhvr>
                                        <p:cTn id="257" dur="1000" autoRev="1" fill="hold"/>
                                        <p:tgtEl>
                                          <p:spTgt spid="159"/>
                                        </p:tgtEl>
                                      </p:cBhvr>
                                      <p:by x="105000" y="105000"/>
                                    </p:animScale>
                                  </p:childTnLst>
                                </p:cTn>
                              </p:par>
                              <p:par>
                                <p:cTn id="258" presetID="26" presetClass="emph" presetSubtype="0" dur="2000" repeatCount="indefinite" fill="hold" grpId="0" nodeType="withEffect">
                                  <p:stCondLst>
                                    <p:cond delay="1750"/>
                                  </p:stCondLst>
                                  <p:childTnLst>
                                    <p:animEffect transition="out" filter="fade">
                                      <p:cBhvr>
                                        <p:cTn id="259" dur="2000" tmFilter="0, 0; .2, .5; .8, .5; 1, 0"/>
                                        <p:tgtEl>
                                          <p:spTgt spid="176"/>
                                        </p:tgtEl>
                                      </p:cBhvr>
                                    </p:animEffect>
                                    <p:animScale>
                                      <p:cBhvr>
                                        <p:cTn id="260" dur="1000" autoRev="1" fill="hold"/>
                                        <p:tgtEl>
                                          <p:spTgt spid="176"/>
                                        </p:tgtEl>
                                      </p:cBhvr>
                                      <p:by x="105000" y="105000"/>
                                    </p:animScale>
                                  </p:childTnLst>
                                </p:cTn>
                              </p:par>
                              <p:par>
                                <p:cTn id="261" presetID="26" presetClass="emph" presetSubtype="0" dur="2000" repeatCount="indefinite" fill="hold" grpId="0" nodeType="withEffect">
                                  <p:stCondLst>
                                    <p:cond delay="1750"/>
                                  </p:stCondLst>
                                  <p:childTnLst>
                                    <p:animEffect transition="out" filter="fade">
                                      <p:cBhvr>
                                        <p:cTn id="262" dur="2000" tmFilter="0, 0; .2, .5; .8, .5; 1, 0"/>
                                        <p:tgtEl>
                                          <p:spTgt spid="193"/>
                                        </p:tgtEl>
                                      </p:cBhvr>
                                    </p:animEffect>
                                    <p:animScale>
                                      <p:cBhvr>
                                        <p:cTn id="263" dur="1000" autoRev="1" fill="hold"/>
                                        <p:tgtEl>
                                          <p:spTgt spid="193"/>
                                        </p:tgtEl>
                                      </p:cBhvr>
                                      <p:by x="105000" y="105000"/>
                                    </p:animScale>
                                  </p:childTnLst>
                                </p:cTn>
                              </p:par>
                              <p:par>
                                <p:cTn id="264" presetID="26" presetClass="emph" presetSubtype="0" dur="2000" repeatCount="indefinite" fill="hold" grpId="0" nodeType="withEffect">
                                  <p:stCondLst>
                                    <p:cond delay="1750"/>
                                  </p:stCondLst>
                                  <p:childTnLst>
                                    <p:animEffect transition="out" filter="fade">
                                      <p:cBhvr>
                                        <p:cTn id="265" dur="2000" tmFilter="0, 0; .2, .5; .8, .5; 1, 0"/>
                                        <p:tgtEl>
                                          <p:spTgt spid="210"/>
                                        </p:tgtEl>
                                      </p:cBhvr>
                                    </p:animEffect>
                                    <p:animScale>
                                      <p:cBhvr>
                                        <p:cTn id="266" dur="1000" autoRev="1" fill="hold"/>
                                        <p:tgtEl>
                                          <p:spTgt spid="210"/>
                                        </p:tgtEl>
                                      </p:cBhvr>
                                      <p:by x="105000" y="105000"/>
                                    </p:animScale>
                                  </p:childTnLst>
                                </p:cTn>
                              </p:par>
                              <p:par>
                                <p:cTn id="267" presetID="26" presetClass="emph" presetSubtype="0" dur="2000" repeatCount="indefinite" fill="hold" grpId="0" nodeType="withEffect">
                                  <p:stCondLst>
                                    <p:cond delay="1750"/>
                                  </p:stCondLst>
                                  <p:childTnLst>
                                    <p:animEffect transition="out" filter="fade">
                                      <p:cBhvr>
                                        <p:cTn id="268" dur="2000" tmFilter="0, 0; .2, .5; .8, .5; 1, 0"/>
                                        <p:tgtEl>
                                          <p:spTgt spid="226"/>
                                        </p:tgtEl>
                                      </p:cBhvr>
                                    </p:animEffect>
                                    <p:animScale>
                                      <p:cBhvr>
                                        <p:cTn id="269" dur="1000" autoRev="1" fill="hold"/>
                                        <p:tgtEl>
                                          <p:spTgt spid="226"/>
                                        </p:tgtEl>
                                      </p:cBhvr>
                                      <p:by x="105000" y="105000"/>
                                    </p:animScale>
                                  </p:childTnLst>
                                </p:cTn>
                              </p:par>
                              <p:par>
                                <p:cTn id="270" presetID="26" presetClass="emph" presetSubtype="0" dur="2000" repeatCount="indefinite" fill="hold" grpId="0" nodeType="withEffect">
                                  <p:stCondLst>
                                    <p:cond delay="2000"/>
                                  </p:stCondLst>
                                  <p:childTnLst>
                                    <p:animEffect transition="out" filter="fade">
                                      <p:cBhvr>
                                        <p:cTn id="271" dur="2000" tmFilter="0, 0; .2, .5; .8, .5; 1, 0"/>
                                        <p:tgtEl>
                                          <p:spTgt spid="15"/>
                                        </p:tgtEl>
                                      </p:cBhvr>
                                    </p:animEffect>
                                    <p:animScale>
                                      <p:cBhvr>
                                        <p:cTn id="272" dur="1000" autoRev="1" fill="hold"/>
                                        <p:tgtEl>
                                          <p:spTgt spid="15"/>
                                        </p:tgtEl>
                                      </p:cBhvr>
                                      <p:by x="105000" y="105000"/>
                                    </p:animScale>
                                  </p:childTnLst>
                                </p:cTn>
                              </p:par>
                              <p:par>
                                <p:cTn id="273" presetID="26" presetClass="emph" presetSubtype="0" dur="2000" repeatCount="indefinite" fill="hold" grpId="0" nodeType="withEffect">
                                  <p:stCondLst>
                                    <p:cond delay="2000"/>
                                  </p:stCondLst>
                                  <p:childTnLst>
                                    <p:animEffect transition="out" filter="fade">
                                      <p:cBhvr>
                                        <p:cTn id="274" dur="2000" tmFilter="0, 0; .2, .5; .8, .5; 1, 0"/>
                                        <p:tgtEl>
                                          <p:spTgt spid="30"/>
                                        </p:tgtEl>
                                      </p:cBhvr>
                                    </p:animEffect>
                                    <p:animScale>
                                      <p:cBhvr>
                                        <p:cTn id="275" dur="1000" autoRev="1" fill="hold"/>
                                        <p:tgtEl>
                                          <p:spTgt spid="30"/>
                                        </p:tgtEl>
                                      </p:cBhvr>
                                      <p:by x="105000" y="105000"/>
                                    </p:animScale>
                                  </p:childTnLst>
                                </p:cTn>
                              </p:par>
                              <p:par>
                                <p:cTn id="276" presetID="26" presetClass="emph" presetSubtype="0" dur="2000" repeatCount="indefinite" fill="hold" grpId="0" nodeType="withEffect">
                                  <p:stCondLst>
                                    <p:cond delay="2000"/>
                                  </p:stCondLst>
                                  <p:childTnLst>
                                    <p:animEffect transition="out" filter="fade">
                                      <p:cBhvr>
                                        <p:cTn id="277" dur="2000" tmFilter="0, 0; .2, .5; .8, .5; 1, 0"/>
                                        <p:tgtEl>
                                          <p:spTgt spid="46"/>
                                        </p:tgtEl>
                                      </p:cBhvr>
                                    </p:animEffect>
                                    <p:animScale>
                                      <p:cBhvr>
                                        <p:cTn id="278" dur="1000" autoRev="1" fill="hold"/>
                                        <p:tgtEl>
                                          <p:spTgt spid="46"/>
                                        </p:tgtEl>
                                      </p:cBhvr>
                                      <p:by x="105000" y="105000"/>
                                    </p:animScale>
                                  </p:childTnLst>
                                </p:cTn>
                              </p:par>
                              <p:par>
                                <p:cTn id="279" presetID="26" presetClass="emph" presetSubtype="0" dur="2000" repeatCount="indefinite" fill="hold" grpId="0" nodeType="withEffect">
                                  <p:stCondLst>
                                    <p:cond delay="2000"/>
                                  </p:stCondLst>
                                  <p:childTnLst>
                                    <p:animEffect transition="out" filter="fade">
                                      <p:cBhvr>
                                        <p:cTn id="280" dur="2000" tmFilter="0, 0; .2, .5; .8, .5; 1, 0"/>
                                        <p:tgtEl>
                                          <p:spTgt spid="62"/>
                                        </p:tgtEl>
                                      </p:cBhvr>
                                    </p:animEffect>
                                    <p:animScale>
                                      <p:cBhvr>
                                        <p:cTn id="281" dur="1000" autoRev="1" fill="hold"/>
                                        <p:tgtEl>
                                          <p:spTgt spid="62"/>
                                        </p:tgtEl>
                                      </p:cBhvr>
                                      <p:by x="105000" y="105000"/>
                                    </p:animScale>
                                  </p:childTnLst>
                                </p:cTn>
                              </p:par>
                              <p:par>
                                <p:cTn id="282" presetID="26" presetClass="emph" presetSubtype="0" dur="2000" repeatCount="indefinite" fill="hold" grpId="0" nodeType="withEffect">
                                  <p:stCondLst>
                                    <p:cond delay="2000"/>
                                  </p:stCondLst>
                                  <p:childTnLst>
                                    <p:animEffect transition="out" filter="fade">
                                      <p:cBhvr>
                                        <p:cTn id="283" dur="2000" tmFilter="0, 0; .2, .5; .8, .5; 1, 0"/>
                                        <p:tgtEl>
                                          <p:spTgt spid="78"/>
                                        </p:tgtEl>
                                      </p:cBhvr>
                                    </p:animEffect>
                                    <p:animScale>
                                      <p:cBhvr>
                                        <p:cTn id="284" dur="1000" autoRev="1" fill="hold"/>
                                        <p:tgtEl>
                                          <p:spTgt spid="78"/>
                                        </p:tgtEl>
                                      </p:cBhvr>
                                      <p:by x="105000" y="105000"/>
                                    </p:animScale>
                                  </p:childTnLst>
                                </p:cTn>
                              </p:par>
                              <p:par>
                                <p:cTn id="285" presetID="26" presetClass="emph" presetSubtype="0" dur="2000" repeatCount="indefinite" fill="hold" grpId="0" nodeType="withEffect">
                                  <p:stCondLst>
                                    <p:cond delay="2000"/>
                                  </p:stCondLst>
                                  <p:childTnLst>
                                    <p:animEffect transition="out" filter="fade">
                                      <p:cBhvr>
                                        <p:cTn id="286" dur="2000" tmFilter="0, 0; .2, .5; .8, .5; 1, 0"/>
                                        <p:tgtEl>
                                          <p:spTgt spid="94"/>
                                        </p:tgtEl>
                                      </p:cBhvr>
                                    </p:animEffect>
                                    <p:animScale>
                                      <p:cBhvr>
                                        <p:cTn id="287" dur="1000" autoRev="1" fill="hold"/>
                                        <p:tgtEl>
                                          <p:spTgt spid="94"/>
                                        </p:tgtEl>
                                      </p:cBhvr>
                                      <p:by x="105000" y="105000"/>
                                    </p:animScale>
                                  </p:childTnLst>
                                </p:cTn>
                              </p:par>
                              <p:par>
                                <p:cTn id="288" presetID="26" presetClass="emph" presetSubtype="0" dur="2000" repeatCount="indefinite" fill="hold" grpId="0" nodeType="withEffect">
                                  <p:stCondLst>
                                    <p:cond delay="2000"/>
                                  </p:stCondLst>
                                  <p:childTnLst>
                                    <p:animEffect transition="out" filter="fade">
                                      <p:cBhvr>
                                        <p:cTn id="289" dur="2000" tmFilter="0, 0; .2, .5; .8, .5; 1, 0"/>
                                        <p:tgtEl>
                                          <p:spTgt spid="110"/>
                                        </p:tgtEl>
                                      </p:cBhvr>
                                    </p:animEffect>
                                    <p:animScale>
                                      <p:cBhvr>
                                        <p:cTn id="290" dur="1000" autoRev="1" fill="hold"/>
                                        <p:tgtEl>
                                          <p:spTgt spid="110"/>
                                        </p:tgtEl>
                                      </p:cBhvr>
                                      <p:by x="105000" y="105000"/>
                                    </p:animScale>
                                  </p:childTnLst>
                                </p:cTn>
                              </p:par>
                              <p:par>
                                <p:cTn id="291" presetID="26" presetClass="emph" presetSubtype="0" dur="2000" repeatCount="indefinite" fill="hold" grpId="0" nodeType="withEffect">
                                  <p:stCondLst>
                                    <p:cond delay="2000"/>
                                  </p:stCondLst>
                                  <p:childTnLst>
                                    <p:animEffect transition="out" filter="fade">
                                      <p:cBhvr>
                                        <p:cTn id="292" dur="2000" tmFilter="0, 0; .2, .5; .8, .5; 1, 0"/>
                                        <p:tgtEl>
                                          <p:spTgt spid="126"/>
                                        </p:tgtEl>
                                      </p:cBhvr>
                                    </p:animEffect>
                                    <p:animScale>
                                      <p:cBhvr>
                                        <p:cTn id="293" dur="1000" autoRev="1" fill="hold"/>
                                        <p:tgtEl>
                                          <p:spTgt spid="126"/>
                                        </p:tgtEl>
                                      </p:cBhvr>
                                      <p:by x="105000" y="105000"/>
                                    </p:animScale>
                                  </p:childTnLst>
                                </p:cTn>
                              </p:par>
                              <p:par>
                                <p:cTn id="294" presetID="26" presetClass="emph" presetSubtype="0" dur="2000" repeatCount="indefinite" fill="hold" grpId="0" nodeType="withEffect">
                                  <p:stCondLst>
                                    <p:cond delay="2000"/>
                                  </p:stCondLst>
                                  <p:childTnLst>
                                    <p:animEffect transition="out" filter="fade">
                                      <p:cBhvr>
                                        <p:cTn id="295" dur="2000" tmFilter="0, 0; .2, .5; .8, .5; 1, 0"/>
                                        <p:tgtEl>
                                          <p:spTgt spid="143"/>
                                        </p:tgtEl>
                                      </p:cBhvr>
                                    </p:animEffect>
                                    <p:animScale>
                                      <p:cBhvr>
                                        <p:cTn id="296" dur="1000" autoRev="1" fill="hold"/>
                                        <p:tgtEl>
                                          <p:spTgt spid="143"/>
                                        </p:tgtEl>
                                      </p:cBhvr>
                                      <p:by x="105000" y="105000"/>
                                    </p:animScale>
                                  </p:childTnLst>
                                </p:cTn>
                              </p:par>
                              <p:par>
                                <p:cTn id="297" presetID="26" presetClass="emph" presetSubtype="0" dur="2000" repeatCount="indefinite" fill="hold" grpId="0" nodeType="withEffect">
                                  <p:stCondLst>
                                    <p:cond delay="2000"/>
                                  </p:stCondLst>
                                  <p:childTnLst>
                                    <p:animEffect transition="out" filter="fade">
                                      <p:cBhvr>
                                        <p:cTn id="298" dur="2000" tmFilter="0, 0; .2, .5; .8, .5; 1, 0"/>
                                        <p:tgtEl>
                                          <p:spTgt spid="160"/>
                                        </p:tgtEl>
                                      </p:cBhvr>
                                    </p:animEffect>
                                    <p:animScale>
                                      <p:cBhvr>
                                        <p:cTn id="299" dur="1000" autoRev="1" fill="hold"/>
                                        <p:tgtEl>
                                          <p:spTgt spid="160"/>
                                        </p:tgtEl>
                                      </p:cBhvr>
                                      <p:by x="105000" y="105000"/>
                                    </p:animScale>
                                  </p:childTnLst>
                                </p:cTn>
                              </p:par>
                              <p:par>
                                <p:cTn id="300" presetID="26" presetClass="emph" presetSubtype="0" dur="2000" repeatCount="indefinite" fill="hold" grpId="0" nodeType="withEffect">
                                  <p:stCondLst>
                                    <p:cond delay="2000"/>
                                  </p:stCondLst>
                                  <p:childTnLst>
                                    <p:animEffect transition="out" filter="fade">
                                      <p:cBhvr>
                                        <p:cTn id="301" dur="2000" tmFilter="0, 0; .2, .5; .8, .5; 1, 0"/>
                                        <p:tgtEl>
                                          <p:spTgt spid="177"/>
                                        </p:tgtEl>
                                      </p:cBhvr>
                                    </p:animEffect>
                                    <p:animScale>
                                      <p:cBhvr>
                                        <p:cTn id="302" dur="1000" autoRev="1" fill="hold"/>
                                        <p:tgtEl>
                                          <p:spTgt spid="177"/>
                                        </p:tgtEl>
                                      </p:cBhvr>
                                      <p:by x="105000" y="105000"/>
                                    </p:animScale>
                                  </p:childTnLst>
                                </p:cTn>
                              </p:par>
                              <p:par>
                                <p:cTn id="303" presetID="26" presetClass="emph" presetSubtype="0" dur="2000" repeatCount="indefinite" fill="hold" grpId="0" nodeType="withEffect">
                                  <p:stCondLst>
                                    <p:cond delay="2000"/>
                                  </p:stCondLst>
                                  <p:childTnLst>
                                    <p:animEffect transition="out" filter="fade">
                                      <p:cBhvr>
                                        <p:cTn id="304" dur="2000" tmFilter="0, 0; .2, .5; .8, .5; 1, 0"/>
                                        <p:tgtEl>
                                          <p:spTgt spid="194"/>
                                        </p:tgtEl>
                                      </p:cBhvr>
                                    </p:animEffect>
                                    <p:animScale>
                                      <p:cBhvr>
                                        <p:cTn id="305" dur="1000" autoRev="1" fill="hold"/>
                                        <p:tgtEl>
                                          <p:spTgt spid="194"/>
                                        </p:tgtEl>
                                      </p:cBhvr>
                                      <p:by x="105000" y="105000"/>
                                    </p:animScale>
                                  </p:childTnLst>
                                </p:cTn>
                              </p:par>
                              <p:par>
                                <p:cTn id="306" presetID="26" presetClass="emph" presetSubtype="0" dur="2000" repeatCount="indefinite" fill="hold" grpId="0" nodeType="withEffect">
                                  <p:stCondLst>
                                    <p:cond delay="2000"/>
                                  </p:stCondLst>
                                  <p:childTnLst>
                                    <p:animEffect transition="out" filter="fade">
                                      <p:cBhvr>
                                        <p:cTn id="307" dur="2000" tmFilter="0, 0; .2, .5; .8, .5; 1, 0"/>
                                        <p:tgtEl>
                                          <p:spTgt spid="211"/>
                                        </p:tgtEl>
                                      </p:cBhvr>
                                    </p:animEffect>
                                    <p:animScale>
                                      <p:cBhvr>
                                        <p:cTn id="308" dur="1000" autoRev="1" fill="hold"/>
                                        <p:tgtEl>
                                          <p:spTgt spid="211"/>
                                        </p:tgtEl>
                                      </p:cBhvr>
                                      <p:by x="105000" y="105000"/>
                                    </p:animScale>
                                  </p:childTnLst>
                                </p:cTn>
                              </p:par>
                              <p:par>
                                <p:cTn id="309" presetID="26" presetClass="emph" presetSubtype="0" dur="2000" repeatCount="indefinite" fill="hold" grpId="0" nodeType="withEffect">
                                  <p:stCondLst>
                                    <p:cond delay="2000"/>
                                  </p:stCondLst>
                                  <p:childTnLst>
                                    <p:animEffect transition="out" filter="fade">
                                      <p:cBhvr>
                                        <p:cTn id="310" dur="2000" tmFilter="0, 0; .2, .5; .8, .5; 1, 0"/>
                                        <p:tgtEl>
                                          <p:spTgt spid="227"/>
                                        </p:tgtEl>
                                      </p:cBhvr>
                                    </p:animEffect>
                                    <p:animScale>
                                      <p:cBhvr>
                                        <p:cTn id="311" dur="1000" autoRev="1" fill="hold"/>
                                        <p:tgtEl>
                                          <p:spTgt spid="227"/>
                                        </p:tgtEl>
                                      </p:cBhvr>
                                      <p:by x="105000" y="105000"/>
                                    </p:animScale>
                                  </p:childTnLst>
                                </p:cTn>
                              </p:par>
                              <p:par>
                                <p:cTn id="312" presetID="26" presetClass="emph" presetSubtype="0" dur="2000" repeatCount="indefinite" fill="hold" grpId="0" nodeType="withEffect">
                                  <p:stCondLst>
                                    <p:cond delay="2250"/>
                                  </p:stCondLst>
                                  <p:childTnLst>
                                    <p:animEffect transition="out" filter="fade">
                                      <p:cBhvr>
                                        <p:cTn id="313" dur="2000" tmFilter="0, 0; .2, .5; .8, .5; 1, 0"/>
                                        <p:tgtEl>
                                          <p:spTgt spid="16"/>
                                        </p:tgtEl>
                                      </p:cBhvr>
                                    </p:animEffect>
                                    <p:animScale>
                                      <p:cBhvr>
                                        <p:cTn id="314" dur="1000" autoRev="1" fill="hold"/>
                                        <p:tgtEl>
                                          <p:spTgt spid="16"/>
                                        </p:tgtEl>
                                      </p:cBhvr>
                                      <p:by x="105000" y="105000"/>
                                    </p:animScale>
                                  </p:childTnLst>
                                </p:cTn>
                              </p:par>
                              <p:par>
                                <p:cTn id="315" presetID="26" presetClass="emph" presetSubtype="0" dur="2000" repeatCount="indefinite" fill="hold" grpId="0" nodeType="withEffect">
                                  <p:stCondLst>
                                    <p:cond delay="2250"/>
                                  </p:stCondLst>
                                  <p:childTnLst>
                                    <p:animEffect transition="out" filter="fade">
                                      <p:cBhvr>
                                        <p:cTn id="316" dur="2000" tmFilter="0, 0; .2, .5; .8, .5; 1, 0"/>
                                        <p:tgtEl>
                                          <p:spTgt spid="31"/>
                                        </p:tgtEl>
                                      </p:cBhvr>
                                    </p:animEffect>
                                    <p:animScale>
                                      <p:cBhvr>
                                        <p:cTn id="317" dur="1000" autoRev="1" fill="hold"/>
                                        <p:tgtEl>
                                          <p:spTgt spid="31"/>
                                        </p:tgtEl>
                                      </p:cBhvr>
                                      <p:by x="105000" y="105000"/>
                                    </p:animScale>
                                  </p:childTnLst>
                                </p:cTn>
                              </p:par>
                              <p:par>
                                <p:cTn id="318" presetID="26" presetClass="emph" presetSubtype="0" dur="2000" repeatCount="indefinite" fill="hold" grpId="0" nodeType="withEffect">
                                  <p:stCondLst>
                                    <p:cond delay="2250"/>
                                  </p:stCondLst>
                                  <p:childTnLst>
                                    <p:animEffect transition="out" filter="fade">
                                      <p:cBhvr>
                                        <p:cTn id="319" dur="2000" tmFilter="0, 0; .2, .5; .8, .5; 1, 0"/>
                                        <p:tgtEl>
                                          <p:spTgt spid="47"/>
                                        </p:tgtEl>
                                      </p:cBhvr>
                                    </p:animEffect>
                                    <p:animScale>
                                      <p:cBhvr>
                                        <p:cTn id="320" dur="1000" autoRev="1" fill="hold"/>
                                        <p:tgtEl>
                                          <p:spTgt spid="47"/>
                                        </p:tgtEl>
                                      </p:cBhvr>
                                      <p:by x="105000" y="105000"/>
                                    </p:animScale>
                                  </p:childTnLst>
                                </p:cTn>
                              </p:par>
                              <p:par>
                                <p:cTn id="321" presetID="26" presetClass="emph" presetSubtype="0" dur="2000" repeatCount="indefinite" fill="hold" grpId="0" nodeType="withEffect">
                                  <p:stCondLst>
                                    <p:cond delay="2250"/>
                                  </p:stCondLst>
                                  <p:childTnLst>
                                    <p:animEffect transition="out" filter="fade">
                                      <p:cBhvr>
                                        <p:cTn id="322" dur="2000" tmFilter="0, 0; .2, .5; .8, .5; 1, 0"/>
                                        <p:tgtEl>
                                          <p:spTgt spid="63"/>
                                        </p:tgtEl>
                                      </p:cBhvr>
                                    </p:animEffect>
                                    <p:animScale>
                                      <p:cBhvr>
                                        <p:cTn id="323" dur="1000" autoRev="1" fill="hold"/>
                                        <p:tgtEl>
                                          <p:spTgt spid="63"/>
                                        </p:tgtEl>
                                      </p:cBhvr>
                                      <p:by x="105000" y="105000"/>
                                    </p:animScale>
                                  </p:childTnLst>
                                </p:cTn>
                              </p:par>
                              <p:par>
                                <p:cTn id="324" presetID="26" presetClass="emph" presetSubtype="0" dur="2000" repeatCount="indefinite" fill="hold" grpId="0" nodeType="withEffect">
                                  <p:stCondLst>
                                    <p:cond delay="2250"/>
                                  </p:stCondLst>
                                  <p:childTnLst>
                                    <p:animEffect transition="out" filter="fade">
                                      <p:cBhvr>
                                        <p:cTn id="325" dur="2000" tmFilter="0, 0; .2, .5; .8, .5; 1, 0"/>
                                        <p:tgtEl>
                                          <p:spTgt spid="79"/>
                                        </p:tgtEl>
                                      </p:cBhvr>
                                    </p:animEffect>
                                    <p:animScale>
                                      <p:cBhvr>
                                        <p:cTn id="326" dur="1000" autoRev="1" fill="hold"/>
                                        <p:tgtEl>
                                          <p:spTgt spid="79"/>
                                        </p:tgtEl>
                                      </p:cBhvr>
                                      <p:by x="105000" y="105000"/>
                                    </p:animScale>
                                  </p:childTnLst>
                                </p:cTn>
                              </p:par>
                              <p:par>
                                <p:cTn id="327" presetID="26" presetClass="emph" presetSubtype="0" dur="2000" repeatCount="indefinite" fill="hold" grpId="0" nodeType="withEffect">
                                  <p:stCondLst>
                                    <p:cond delay="2250"/>
                                  </p:stCondLst>
                                  <p:childTnLst>
                                    <p:animEffect transition="out" filter="fade">
                                      <p:cBhvr>
                                        <p:cTn id="328" dur="2000" tmFilter="0, 0; .2, .5; .8, .5; 1, 0"/>
                                        <p:tgtEl>
                                          <p:spTgt spid="95"/>
                                        </p:tgtEl>
                                      </p:cBhvr>
                                    </p:animEffect>
                                    <p:animScale>
                                      <p:cBhvr>
                                        <p:cTn id="329" dur="1000" autoRev="1" fill="hold"/>
                                        <p:tgtEl>
                                          <p:spTgt spid="95"/>
                                        </p:tgtEl>
                                      </p:cBhvr>
                                      <p:by x="105000" y="105000"/>
                                    </p:animScale>
                                  </p:childTnLst>
                                </p:cTn>
                              </p:par>
                              <p:par>
                                <p:cTn id="330" presetID="26" presetClass="emph" presetSubtype="0" dur="2000" repeatCount="indefinite" fill="hold" grpId="0" nodeType="withEffect">
                                  <p:stCondLst>
                                    <p:cond delay="2250"/>
                                  </p:stCondLst>
                                  <p:childTnLst>
                                    <p:animEffect transition="out" filter="fade">
                                      <p:cBhvr>
                                        <p:cTn id="331" dur="2000" tmFilter="0, 0; .2, .5; .8, .5; 1, 0"/>
                                        <p:tgtEl>
                                          <p:spTgt spid="111"/>
                                        </p:tgtEl>
                                      </p:cBhvr>
                                    </p:animEffect>
                                    <p:animScale>
                                      <p:cBhvr>
                                        <p:cTn id="332" dur="1000" autoRev="1" fill="hold"/>
                                        <p:tgtEl>
                                          <p:spTgt spid="111"/>
                                        </p:tgtEl>
                                      </p:cBhvr>
                                      <p:by x="105000" y="105000"/>
                                    </p:animScale>
                                  </p:childTnLst>
                                </p:cTn>
                              </p:par>
                              <p:par>
                                <p:cTn id="333" presetID="26" presetClass="emph" presetSubtype="0" dur="2000" repeatCount="indefinite" fill="hold" grpId="0" nodeType="withEffect">
                                  <p:stCondLst>
                                    <p:cond delay="2250"/>
                                  </p:stCondLst>
                                  <p:childTnLst>
                                    <p:animEffect transition="out" filter="fade">
                                      <p:cBhvr>
                                        <p:cTn id="334" dur="2000" tmFilter="0, 0; .2, .5; .8, .5; 1, 0"/>
                                        <p:tgtEl>
                                          <p:spTgt spid="127"/>
                                        </p:tgtEl>
                                      </p:cBhvr>
                                    </p:animEffect>
                                    <p:animScale>
                                      <p:cBhvr>
                                        <p:cTn id="335" dur="1000" autoRev="1" fill="hold"/>
                                        <p:tgtEl>
                                          <p:spTgt spid="127"/>
                                        </p:tgtEl>
                                      </p:cBhvr>
                                      <p:by x="105000" y="105000"/>
                                    </p:animScale>
                                  </p:childTnLst>
                                </p:cTn>
                              </p:par>
                              <p:par>
                                <p:cTn id="336" presetID="26" presetClass="emph" presetSubtype="0" dur="2000" repeatCount="indefinite" fill="hold" grpId="0" nodeType="withEffect">
                                  <p:stCondLst>
                                    <p:cond delay="2250"/>
                                  </p:stCondLst>
                                  <p:childTnLst>
                                    <p:animEffect transition="out" filter="fade">
                                      <p:cBhvr>
                                        <p:cTn id="337" dur="2000" tmFilter="0, 0; .2, .5; .8, .5; 1, 0"/>
                                        <p:tgtEl>
                                          <p:spTgt spid="144"/>
                                        </p:tgtEl>
                                      </p:cBhvr>
                                    </p:animEffect>
                                    <p:animScale>
                                      <p:cBhvr>
                                        <p:cTn id="338" dur="1000" autoRev="1" fill="hold"/>
                                        <p:tgtEl>
                                          <p:spTgt spid="144"/>
                                        </p:tgtEl>
                                      </p:cBhvr>
                                      <p:by x="105000" y="105000"/>
                                    </p:animScale>
                                  </p:childTnLst>
                                </p:cTn>
                              </p:par>
                              <p:par>
                                <p:cTn id="339" presetID="26" presetClass="emph" presetSubtype="0" dur="2000" repeatCount="indefinite" fill="hold" grpId="0" nodeType="withEffect">
                                  <p:stCondLst>
                                    <p:cond delay="2250"/>
                                  </p:stCondLst>
                                  <p:childTnLst>
                                    <p:animEffect transition="out" filter="fade">
                                      <p:cBhvr>
                                        <p:cTn id="340" dur="2000" tmFilter="0, 0; .2, .5; .8, .5; 1, 0"/>
                                        <p:tgtEl>
                                          <p:spTgt spid="161"/>
                                        </p:tgtEl>
                                      </p:cBhvr>
                                    </p:animEffect>
                                    <p:animScale>
                                      <p:cBhvr>
                                        <p:cTn id="341" dur="1000" autoRev="1" fill="hold"/>
                                        <p:tgtEl>
                                          <p:spTgt spid="161"/>
                                        </p:tgtEl>
                                      </p:cBhvr>
                                      <p:by x="105000" y="105000"/>
                                    </p:animScale>
                                  </p:childTnLst>
                                </p:cTn>
                              </p:par>
                              <p:par>
                                <p:cTn id="342" presetID="26" presetClass="emph" presetSubtype="0" dur="2000" repeatCount="indefinite" fill="hold" grpId="0" nodeType="withEffect">
                                  <p:stCondLst>
                                    <p:cond delay="2250"/>
                                  </p:stCondLst>
                                  <p:childTnLst>
                                    <p:animEffect transition="out" filter="fade">
                                      <p:cBhvr>
                                        <p:cTn id="343" dur="2000" tmFilter="0, 0; .2, .5; .8, .5; 1, 0"/>
                                        <p:tgtEl>
                                          <p:spTgt spid="178"/>
                                        </p:tgtEl>
                                      </p:cBhvr>
                                    </p:animEffect>
                                    <p:animScale>
                                      <p:cBhvr>
                                        <p:cTn id="344" dur="1000" autoRev="1" fill="hold"/>
                                        <p:tgtEl>
                                          <p:spTgt spid="178"/>
                                        </p:tgtEl>
                                      </p:cBhvr>
                                      <p:by x="105000" y="105000"/>
                                    </p:animScale>
                                  </p:childTnLst>
                                </p:cTn>
                              </p:par>
                              <p:par>
                                <p:cTn id="345" presetID="26" presetClass="emph" presetSubtype="0" dur="2000" repeatCount="indefinite" fill="hold" grpId="0" nodeType="withEffect">
                                  <p:stCondLst>
                                    <p:cond delay="2250"/>
                                  </p:stCondLst>
                                  <p:childTnLst>
                                    <p:animEffect transition="out" filter="fade">
                                      <p:cBhvr>
                                        <p:cTn id="346" dur="2000" tmFilter="0, 0; .2, .5; .8, .5; 1, 0"/>
                                        <p:tgtEl>
                                          <p:spTgt spid="195"/>
                                        </p:tgtEl>
                                      </p:cBhvr>
                                    </p:animEffect>
                                    <p:animScale>
                                      <p:cBhvr>
                                        <p:cTn id="347" dur="1000" autoRev="1" fill="hold"/>
                                        <p:tgtEl>
                                          <p:spTgt spid="195"/>
                                        </p:tgtEl>
                                      </p:cBhvr>
                                      <p:by x="105000" y="105000"/>
                                    </p:animScale>
                                  </p:childTnLst>
                                </p:cTn>
                              </p:par>
                              <p:par>
                                <p:cTn id="348" presetID="26" presetClass="emph" presetSubtype="0" dur="2000" repeatCount="indefinite" fill="hold" grpId="0" nodeType="withEffect">
                                  <p:stCondLst>
                                    <p:cond delay="2250"/>
                                  </p:stCondLst>
                                  <p:childTnLst>
                                    <p:animEffect transition="out" filter="fade">
                                      <p:cBhvr>
                                        <p:cTn id="349" dur="2000" tmFilter="0, 0; .2, .5; .8, .5; 1, 0"/>
                                        <p:tgtEl>
                                          <p:spTgt spid="212"/>
                                        </p:tgtEl>
                                      </p:cBhvr>
                                    </p:animEffect>
                                    <p:animScale>
                                      <p:cBhvr>
                                        <p:cTn id="350" dur="1000" autoRev="1" fill="hold"/>
                                        <p:tgtEl>
                                          <p:spTgt spid="212"/>
                                        </p:tgtEl>
                                      </p:cBhvr>
                                      <p:by x="105000" y="105000"/>
                                    </p:animScale>
                                  </p:childTnLst>
                                </p:cTn>
                              </p:par>
                              <p:par>
                                <p:cTn id="351" presetID="26" presetClass="emph" presetSubtype="0" dur="2000" repeatCount="indefinite" fill="hold" grpId="0" nodeType="withEffect">
                                  <p:stCondLst>
                                    <p:cond delay="2250"/>
                                  </p:stCondLst>
                                  <p:childTnLst>
                                    <p:animEffect transition="out" filter="fade">
                                      <p:cBhvr>
                                        <p:cTn id="352" dur="2000" tmFilter="0, 0; .2, .5; .8, .5; 1, 0"/>
                                        <p:tgtEl>
                                          <p:spTgt spid="228"/>
                                        </p:tgtEl>
                                      </p:cBhvr>
                                    </p:animEffect>
                                    <p:animScale>
                                      <p:cBhvr>
                                        <p:cTn id="353" dur="1000" autoRev="1" fill="hold"/>
                                        <p:tgtEl>
                                          <p:spTgt spid="228"/>
                                        </p:tgtEl>
                                      </p:cBhvr>
                                      <p:by x="105000" y="105000"/>
                                    </p:animScale>
                                  </p:childTnLst>
                                </p:cTn>
                              </p:par>
                              <p:par>
                                <p:cTn id="354" presetID="26" presetClass="emph" presetSubtype="0" dur="2000" repeatCount="indefinite" fill="hold" grpId="0" nodeType="withEffect">
                                  <p:stCondLst>
                                    <p:cond delay="2500"/>
                                  </p:stCondLst>
                                  <p:childTnLst>
                                    <p:animEffect transition="out" filter="fade">
                                      <p:cBhvr>
                                        <p:cTn id="355" dur="2000" tmFilter="0, 0; .2, .5; .8, .5; 1, 0"/>
                                        <p:tgtEl>
                                          <p:spTgt spid="17"/>
                                        </p:tgtEl>
                                      </p:cBhvr>
                                    </p:animEffect>
                                    <p:animScale>
                                      <p:cBhvr>
                                        <p:cTn id="356" dur="1000" autoRev="1" fill="hold"/>
                                        <p:tgtEl>
                                          <p:spTgt spid="17"/>
                                        </p:tgtEl>
                                      </p:cBhvr>
                                      <p:by x="105000" y="105000"/>
                                    </p:animScale>
                                  </p:childTnLst>
                                </p:cTn>
                              </p:par>
                              <p:par>
                                <p:cTn id="357" presetID="26" presetClass="emph" presetSubtype="0" dur="2000" repeatCount="indefinite" fill="hold" grpId="0" nodeType="withEffect">
                                  <p:stCondLst>
                                    <p:cond delay="2500"/>
                                  </p:stCondLst>
                                  <p:childTnLst>
                                    <p:animEffect transition="out" filter="fade">
                                      <p:cBhvr>
                                        <p:cTn id="358" dur="2000" tmFilter="0, 0; .2, .5; .8, .5; 1, 0"/>
                                        <p:tgtEl>
                                          <p:spTgt spid="32"/>
                                        </p:tgtEl>
                                      </p:cBhvr>
                                    </p:animEffect>
                                    <p:animScale>
                                      <p:cBhvr>
                                        <p:cTn id="359" dur="1000" autoRev="1" fill="hold"/>
                                        <p:tgtEl>
                                          <p:spTgt spid="32"/>
                                        </p:tgtEl>
                                      </p:cBhvr>
                                      <p:by x="105000" y="105000"/>
                                    </p:animScale>
                                  </p:childTnLst>
                                </p:cTn>
                              </p:par>
                              <p:par>
                                <p:cTn id="360" presetID="26" presetClass="emph" presetSubtype="0" dur="2000" repeatCount="indefinite" fill="hold" grpId="0" nodeType="withEffect">
                                  <p:stCondLst>
                                    <p:cond delay="2500"/>
                                  </p:stCondLst>
                                  <p:childTnLst>
                                    <p:animEffect transition="out" filter="fade">
                                      <p:cBhvr>
                                        <p:cTn id="361" dur="2000" tmFilter="0, 0; .2, .5; .8, .5; 1, 0"/>
                                        <p:tgtEl>
                                          <p:spTgt spid="48"/>
                                        </p:tgtEl>
                                      </p:cBhvr>
                                    </p:animEffect>
                                    <p:animScale>
                                      <p:cBhvr>
                                        <p:cTn id="362" dur="1000" autoRev="1" fill="hold"/>
                                        <p:tgtEl>
                                          <p:spTgt spid="48"/>
                                        </p:tgtEl>
                                      </p:cBhvr>
                                      <p:by x="105000" y="105000"/>
                                    </p:animScale>
                                  </p:childTnLst>
                                </p:cTn>
                              </p:par>
                              <p:par>
                                <p:cTn id="363" presetID="26" presetClass="emph" presetSubtype="0" dur="2000" repeatCount="indefinite" fill="hold" grpId="0" nodeType="withEffect">
                                  <p:stCondLst>
                                    <p:cond delay="2500"/>
                                  </p:stCondLst>
                                  <p:childTnLst>
                                    <p:animEffect transition="out" filter="fade">
                                      <p:cBhvr>
                                        <p:cTn id="364" dur="2000" tmFilter="0, 0; .2, .5; .8, .5; 1, 0"/>
                                        <p:tgtEl>
                                          <p:spTgt spid="64"/>
                                        </p:tgtEl>
                                      </p:cBhvr>
                                    </p:animEffect>
                                    <p:animScale>
                                      <p:cBhvr>
                                        <p:cTn id="365" dur="1000" autoRev="1" fill="hold"/>
                                        <p:tgtEl>
                                          <p:spTgt spid="64"/>
                                        </p:tgtEl>
                                      </p:cBhvr>
                                      <p:by x="105000" y="105000"/>
                                    </p:animScale>
                                  </p:childTnLst>
                                </p:cTn>
                              </p:par>
                              <p:par>
                                <p:cTn id="366" presetID="26" presetClass="emph" presetSubtype="0" dur="2000" repeatCount="indefinite" fill="hold" grpId="0" nodeType="withEffect">
                                  <p:stCondLst>
                                    <p:cond delay="2500"/>
                                  </p:stCondLst>
                                  <p:childTnLst>
                                    <p:animEffect transition="out" filter="fade">
                                      <p:cBhvr>
                                        <p:cTn id="367" dur="2000" tmFilter="0, 0; .2, .5; .8, .5; 1, 0"/>
                                        <p:tgtEl>
                                          <p:spTgt spid="80"/>
                                        </p:tgtEl>
                                      </p:cBhvr>
                                    </p:animEffect>
                                    <p:animScale>
                                      <p:cBhvr>
                                        <p:cTn id="368" dur="1000" autoRev="1" fill="hold"/>
                                        <p:tgtEl>
                                          <p:spTgt spid="80"/>
                                        </p:tgtEl>
                                      </p:cBhvr>
                                      <p:by x="105000" y="105000"/>
                                    </p:animScale>
                                  </p:childTnLst>
                                </p:cTn>
                              </p:par>
                              <p:par>
                                <p:cTn id="369" presetID="26" presetClass="emph" presetSubtype="0" dur="2000" repeatCount="indefinite" fill="hold" grpId="0" nodeType="withEffect">
                                  <p:stCondLst>
                                    <p:cond delay="2500"/>
                                  </p:stCondLst>
                                  <p:childTnLst>
                                    <p:animEffect transition="out" filter="fade">
                                      <p:cBhvr>
                                        <p:cTn id="370" dur="2000" tmFilter="0, 0; .2, .5; .8, .5; 1, 0"/>
                                        <p:tgtEl>
                                          <p:spTgt spid="96"/>
                                        </p:tgtEl>
                                      </p:cBhvr>
                                    </p:animEffect>
                                    <p:animScale>
                                      <p:cBhvr>
                                        <p:cTn id="371" dur="1000" autoRev="1" fill="hold"/>
                                        <p:tgtEl>
                                          <p:spTgt spid="96"/>
                                        </p:tgtEl>
                                      </p:cBhvr>
                                      <p:by x="105000" y="105000"/>
                                    </p:animScale>
                                  </p:childTnLst>
                                </p:cTn>
                              </p:par>
                              <p:par>
                                <p:cTn id="372" presetID="26" presetClass="emph" presetSubtype="0" dur="2000" repeatCount="indefinite" fill="hold" grpId="0" nodeType="withEffect">
                                  <p:stCondLst>
                                    <p:cond delay="2500"/>
                                  </p:stCondLst>
                                  <p:childTnLst>
                                    <p:animEffect transition="out" filter="fade">
                                      <p:cBhvr>
                                        <p:cTn id="373" dur="2000" tmFilter="0, 0; .2, .5; .8, .5; 1, 0"/>
                                        <p:tgtEl>
                                          <p:spTgt spid="112"/>
                                        </p:tgtEl>
                                      </p:cBhvr>
                                    </p:animEffect>
                                    <p:animScale>
                                      <p:cBhvr>
                                        <p:cTn id="374" dur="1000" autoRev="1" fill="hold"/>
                                        <p:tgtEl>
                                          <p:spTgt spid="112"/>
                                        </p:tgtEl>
                                      </p:cBhvr>
                                      <p:by x="105000" y="105000"/>
                                    </p:animScale>
                                  </p:childTnLst>
                                </p:cTn>
                              </p:par>
                              <p:par>
                                <p:cTn id="375" presetID="26" presetClass="emph" presetSubtype="0" dur="2000" repeatCount="indefinite" fill="hold" grpId="0" nodeType="withEffect">
                                  <p:stCondLst>
                                    <p:cond delay="2500"/>
                                  </p:stCondLst>
                                  <p:childTnLst>
                                    <p:animEffect transition="out" filter="fade">
                                      <p:cBhvr>
                                        <p:cTn id="376" dur="2000" tmFilter="0, 0; .2, .5; .8, .5; 1, 0"/>
                                        <p:tgtEl>
                                          <p:spTgt spid="128"/>
                                        </p:tgtEl>
                                      </p:cBhvr>
                                    </p:animEffect>
                                    <p:animScale>
                                      <p:cBhvr>
                                        <p:cTn id="377" dur="1000" autoRev="1" fill="hold"/>
                                        <p:tgtEl>
                                          <p:spTgt spid="128"/>
                                        </p:tgtEl>
                                      </p:cBhvr>
                                      <p:by x="105000" y="105000"/>
                                    </p:animScale>
                                  </p:childTnLst>
                                </p:cTn>
                              </p:par>
                              <p:par>
                                <p:cTn id="378" presetID="26" presetClass="emph" presetSubtype="0" dur="2000" repeatCount="indefinite" fill="hold" grpId="0" nodeType="withEffect">
                                  <p:stCondLst>
                                    <p:cond delay="2500"/>
                                  </p:stCondLst>
                                  <p:childTnLst>
                                    <p:animEffect transition="out" filter="fade">
                                      <p:cBhvr>
                                        <p:cTn id="379" dur="2000" tmFilter="0, 0; .2, .5; .8, .5; 1, 0"/>
                                        <p:tgtEl>
                                          <p:spTgt spid="145"/>
                                        </p:tgtEl>
                                      </p:cBhvr>
                                    </p:animEffect>
                                    <p:animScale>
                                      <p:cBhvr>
                                        <p:cTn id="380" dur="1000" autoRev="1" fill="hold"/>
                                        <p:tgtEl>
                                          <p:spTgt spid="145"/>
                                        </p:tgtEl>
                                      </p:cBhvr>
                                      <p:by x="105000" y="105000"/>
                                    </p:animScale>
                                  </p:childTnLst>
                                </p:cTn>
                              </p:par>
                              <p:par>
                                <p:cTn id="381" presetID="26" presetClass="emph" presetSubtype="0" dur="2000" repeatCount="indefinite" fill="hold" grpId="0" nodeType="withEffect">
                                  <p:stCondLst>
                                    <p:cond delay="2500"/>
                                  </p:stCondLst>
                                  <p:childTnLst>
                                    <p:animEffect transition="out" filter="fade">
                                      <p:cBhvr>
                                        <p:cTn id="382" dur="2000" tmFilter="0, 0; .2, .5; .8, .5; 1, 0"/>
                                        <p:tgtEl>
                                          <p:spTgt spid="162"/>
                                        </p:tgtEl>
                                      </p:cBhvr>
                                    </p:animEffect>
                                    <p:animScale>
                                      <p:cBhvr>
                                        <p:cTn id="383" dur="1000" autoRev="1" fill="hold"/>
                                        <p:tgtEl>
                                          <p:spTgt spid="162"/>
                                        </p:tgtEl>
                                      </p:cBhvr>
                                      <p:by x="105000" y="105000"/>
                                    </p:animScale>
                                  </p:childTnLst>
                                </p:cTn>
                              </p:par>
                              <p:par>
                                <p:cTn id="384" presetID="26" presetClass="emph" presetSubtype="0" dur="2000" repeatCount="indefinite" fill="hold" grpId="0" nodeType="withEffect">
                                  <p:stCondLst>
                                    <p:cond delay="2500"/>
                                  </p:stCondLst>
                                  <p:childTnLst>
                                    <p:animEffect transition="out" filter="fade">
                                      <p:cBhvr>
                                        <p:cTn id="385" dur="2000" tmFilter="0, 0; .2, .5; .8, .5; 1, 0"/>
                                        <p:tgtEl>
                                          <p:spTgt spid="179"/>
                                        </p:tgtEl>
                                      </p:cBhvr>
                                    </p:animEffect>
                                    <p:animScale>
                                      <p:cBhvr>
                                        <p:cTn id="386" dur="1000" autoRev="1" fill="hold"/>
                                        <p:tgtEl>
                                          <p:spTgt spid="179"/>
                                        </p:tgtEl>
                                      </p:cBhvr>
                                      <p:by x="105000" y="105000"/>
                                    </p:animScale>
                                  </p:childTnLst>
                                </p:cTn>
                              </p:par>
                              <p:par>
                                <p:cTn id="387" presetID="26" presetClass="emph" presetSubtype="0" dur="2000" repeatCount="indefinite" fill="hold" grpId="0" nodeType="withEffect">
                                  <p:stCondLst>
                                    <p:cond delay="2500"/>
                                  </p:stCondLst>
                                  <p:childTnLst>
                                    <p:animEffect transition="out" filter="fade">
                                      <p:cBhvr>
                                        <p:cTn id="388" dur="2000" tmFilter="0, 0; .2, .5; .8, .5; 1, 0"/>
                                        <p:tgtEl>
                                          <p:spTgt spid="196"/>
                                        </p:tgtEl>
                                      </p:cBhvr>
                                    </p:animEffect>
                                    <p:animScale>
                                      <p:cBhvr>
                                        <p:cTn id="389" dur="1000" autoRev="1" fill="hold"/>
                                        <p:tgtEl>
                                          <p:spTgt spid="196"/>
                                        </p:tgtEl>
                                      </p:cBhvr>
                                      <p:by x="105000" y="105000"/>
                                    </p:animScale>
                                  </p:childTnLst>
                                </p:cTn>
                              </p:par>
                              <p:par>
                                <p:cTn id="390" presetID="26" presetClass="emph" presetSubtype="0" dur="2000" repeatCount="indefinite" fill="hold" grpId="0" nodeType="withEffect">
                                  <p:stCondLst>
                                    <p:cond delay="2500"/>
                                  </p:stCondLst>
                                  <p:childTnLst>
                                    <p:animEffect transition="out" filter="fade">
                                      <p:cBhvr>
                                        <p:cTn id="391" dur="2000" tmFilter="0, 0; .2, .5; .8, .5; 1, 0"/>
                                        <p:tgtEl>
                                          <p:spTgt spid="213"/>
                                        </p:tgtEl>
                                      </p:cBhvr>
                                    </p:animEffect>
                                    <p:animScale>
                                      <p:cBhvr>
                                        <p:cTn id="392" dur="1000" autoRev="1" fill="hold"/>
                                        <p:tgtEl>
                                          <p:spTgt spid="213"/>
                                        </p:tgtEl>
                                      </p:cBhvr>
                                      <p:by x="105000" y="105000"/>
                                    </p:animScale>
                                  </p:childTnLst>
                                </p:cTn>
                              </p:par>
                              <p:par>
                                <p:cTn id="393" presetID="26" presetClass="emph" presetSubtype="0" dur="2000" repeatCount="indefinite" fill="hold" grpId="0" nodeType="withEffect">
                                  <p:stCondLst>
                                    <p:cond delay="2500"/>
                                  </p:stCondLst>
                                  <p:childTnLst>
                                    <p:animEffect transition="out" filter="fade">
                                      <p:cBhvr>
                                        <p:cTn id="394" dur="2000" tmFilter="0, 0; .2, .5; .8, .5; 1, 0"/>
                                        <p:tgtEl>
                                          <p:spTgt spid="229"/>
                                        </p:tgtEl>
                                      </p:cBhvr>
                                    </p:animEffect>
                                    <p:animScale>
                                      <p:cBhvr>
                                        <p:cTn id="395" dur="1000" autoRev="1" fill="hold"/>
                                        <p:tgtEl>
                                          <p:spTgt spid="229"/>
                                        </p:tgtEl>
                                      </p:cBhvr>
                                      <p:by x="105000" y="105000"/>
                                    </p:animScale>
                                  </p:childTnLst>
                                </p:cTn>
                              </p:par>
                              <p:par>
                                <p:cTn id="396" presetID="26" presetClass="emph" presetSubtype="0" dur="2000" repeatCount="indefinite" fill="hold" grpId="0" nodeType="withEffect">
                                  <p:stCondLst>
                                    <p:cond delay="2750"/>
                                  </p:stCondLst>
                                  <p:childTnLst>
                                    <p:animEffect transition="out" filter="fade">
                                      <p:cBhvr>
                                        <p:cTn id="397" dur="2000" tmFilter="0, 0; .2, .5; .8, .5; 1, 0"/>
                                        <p:tgtEl>
                                          <p:spTgt spid="18"/>
                                        </p:tgtEl>
                                      </p:cBhvr>
                                    </p:animEffect>
                                    <p:animScale>
                                      <p:cBhvr>
                                        <p:cTn id="398" dur="1000" autoRev="1" fill="hold"/>
                                        <p:tgtEl>
                                          <p:spTgt spid="18"/>
                                        </p:tgtEl>
                                      </p:cBhvr>
                                      <p:by x="105000" y="105000"/>
                                    </p:animScale>
                                  </p:childTnLst>
                                </p:cTn>
                              </p:par>
                              <p:par>
                                <p:cTn id="399" presetID="26" presetClass="emph" presetSubtype="0" dur="2000" repeatCount="indefinite" fill="hold" grpId="0" nodeType="withEffect">
                                  <p:stCondLst>
                                    <p:cond delay="2750"/>
                                  </p:stCondLst>
                                  <p:childTnLst>
                                    <p:animEffect transition="out" filter="fade">
                                      <p:cBhvr>
                                        <p:cTn id="400" dur="2000" tmFilter="0, 0; .2, .5; .8, .5; 1, 0"/>
                                        <p:tgtEl>
                                          <p:spTgt spid="33"/>
                                        </p:tgtEl>
                                      </p:cBhvr>
                                    </p:animEffect>
                                    <p:animScale>
                                      <p:cBhvr>
                                        <p:cTn id="401" dur="1000" autoRev="1" fill="hold"/>
                                        <p:tgtEl>
                                          <p:spTgt spid="33"/>
                                        </p:tgtEl>
                                      </p:cBhvr>
                                      <p:by x="105000" y="105000"/>
                                    </p:animScale>
                                  </p:childTnLst>
                                </p:cTn>
                              </p:par>
                              <p:par>
                                <p:cTn id="402" presetID="26" presetClass="emph" presetSubtype="0" dur="2000" repeatCount="indefinite" fill="hold" grpId="0" nodeType="withEffect">
                                  <p:stCondLst>
                                    <p:cond delay="2750"/>
                                  </p:stCondLst>
                                  <p:childTnLst>
                                    <p:animEffect transition="out" filter="fade">
                                      <p:cBhvr>
                                        <p:cTn id="403" dur="2000" tmFilter="0, 0; .2, .5; .8, .5; 1, 0"/>
                                        <p:tgtEl>
                                          <p:spTgt spid="49"/>
                                        </p:tgtEl>
                                      </p:cBhvr>
                                    </p:animEffect>
                                    <p:animScale>
                                      <p:cBhvr>
                                        <p:cTn id="404" dur="1000" autoRev="1" fill="hold"/>
                                        <p:tgtEl>
                                          <p:spTgt spid="49"/>
                                        </p:tgtEl>
                                      </p:cBhvr>
                                      <p:by x="105000" y="105000"/>
                                    </p:animScale>
                                  </p:childTnLst>
                                </p:cTn>
                              </p:par>
                              <p:par>
                                <p:cTn id="405" presetID="26" presetClass="emph" presetSubtype="0" dur="2000" repeatCount="indefinite" fill="hold" grpId="0" nodeType="withEffect">
                                  <p:stCondLst>
                                    <p:cond delay="2750"/>
                                  </p:stCondLst>
                                  <p:childTnLst>
                                    <p:animEffect transition="out" filter="fade">
                                      <p:cBhvr>
                                        <p:cTn id="406" dur="2000" tmFilter="0, 0; .2, .5; .8, .5; 1, 0"/>
                                        <p:tgtEl>
                                          <p:spTgt spid="65"/>
                                        </p:tgtEl>
                                      </p:cBhvr>
                                    </p:animEffect>
                                    <p:animScale>
                                      <p:cBhvr>
                                        <p:cTn id="407" dur="1000" autoRev="1" fill="hold"/>
                                        <p:tgtEl>
                                          <p:spTgt spid="65"/>
                                        </p:tgtEl>
                                      </p:cBhvr>
                                      <p:by x="105000" y="105000"/>
                                    </p:animScale>
                                  </p:childTnLst>
                                </p:cTn>
                              </p:par>
                              <p:par>
                                <p:cTn id="408" presetID="26" presetClass="emph" presetSubtype="0" dur="2000" repeatCount="indefinite" fill="hold" grpId="0" nodeType="withEffect">
                                  <p:stCondLst>
                                    <p:cond delay="2750"/>
                                  </p:stCondLst>
                                  <p:childTnLst>
                                    <p:animEffect transition="out" filter="fade">
                                      <p:cBhvr>
                                        <p:cTn id="409" dur="2000" tmFilter="0, 0; .2, .5; .8, .5; 1, 0"/>
                                        <p:tgtEl>
                                          <p:spTgt spid="81"/>
                                        </p:tgtEl>
                                      </p:cBhvr>
                                    </p:animEffect>
                                    <p:animScale>
                                      <p:cBhvr>
                                        <p:cTn id="410" dur="1000" autoRev="1" fill="hold"/>
                                        <p:tgtEl>
                                          <p:spTgt spid="81"/>
                                        </p:tgtEl>
                                      </p:cBhvr>
                                      <p:by x="105000" y="105000"/>
                                    </p:animScale>
                                  </p:childTnLst>
                                </p:cTn>
                              </p:par>
                              <p:par>
                                <p:cTn id="411" presetID="26" presetClass="emph" presetSubtype="0" dur="2000" repeatCount="indefinite" fill="hold" grpId="0" nodeType="withEffect">
                                  <p:stCondLst>
                                    <p:cond delay="2750"/>
                                  </p:stCondLst>
                                  <p:childTnLst>
                                    <p:animEffect transition="out" filter="fade">
                                      <p:cBhvr>
                                        <p:cTn id="412" dur="2000" tmFilter="0, 0; .2, .5; .8, .5; 1, 0"/>
                                        <p:tgtEl>
                                          <p:spTgt spid="97"/>
                                        </p:tgtEl>
                                      </p:cBhvr>
                                    </p:animEffect>
                                    <p:animScale>
                                      <p:cBhvr>
                                        <p:cTn id="413" dur="1000" autoRev="1" fill="hold"/>
                                        <p:tgtEl>
                                          <p:spTgt spid="97"/>
                                        </p:tgtEl>
                                      </p:cBhvr>
                                      <p:by x="105000" y="105000"/>
                                    </p:animScale>
                                  </p:childTnLst>
                                </p:cTn>
                              </p:par>
                              <p:par>
                                <p:cTn id="414" presetID="26" presetClass="emph" presetSubtype="0" dur="2000" repeatCount="indefinite" fill="hold" grpId="0" nodeType="withEffect">
                                  <p:stCondLst>
                                    <p:cond delay="2750"/>
                                  </p:stCondLst>
                                  <p:childTnLst>
                                    <p:animEffect transition="out" filter="fade">
                                      <p:cBhvr>
                                        <p:cTn id="415" dur="2000" tmFilter="0, 0; .2, .5; .8, .5; 1, 0"/>
                                        <p:tgtEl>
                                          <p:spTgt spid="113"/>
                                        </p:tgtEl>
                                      </p:cBhvr>
                                    </p:animEffect>
                                    <p:animScale>
                                      <p:cBhvr>
                                        <p:cTn id="416" dur="1000" autoRev="1" fill="hold"/>
                                        <p:tgtEl>
                                          <p:spTgt spid="113"/>
                                        </p:tgtEl>
                                      </p:cBhvr>
                                      <p:by x="105000" y="105000"/>
                                    </p:animScale>
                                  </p:childTnLst>
                                </p:cTn>
                              </p:par>
                              <p:par>
                                <p:cTn id="417" presetID="26" presetClass="emph" presetSubtype="0" dur="2000" repeatCount="indefinite" fill="hold" grpId="0" nodeType="withEffect">
                                  <p:stCondLst>
                                    <p:cond delay="2750"/>
                                  </p:stCondLst>
                                  <p:childTnLst>
                                    <p:animEffect transition="out" filter="fade">
                                      <p:cBhvr>
                                        <p:cTn id="418" dur="2000" tmFilter="0, 0; .2, .5; .8, .5; 1, 0"/>
                                        <p:tgtEl>
                                          <p:spTgt spid="129"/>
                                        </p:tgtEl>
                                      </p:cBhvr>
                                    </p:animEffect>
                                    <p:animScale>
                                      <p:cBhvr>
                                        <p:cTn id="419" dur="1000" autoRev="1" fill="hold"/>
                                        <p:tgtEl>
                                          <p:spTgt spid="129"/>
                                        </p:tgtEl>
                                      </p:cBhvr>
                                      <p:by x="105000" y="105000"/>
                                    </p:animScale>
                                  </p:childTnLst>
                                </p:cTn>
                              </p:par>
                              <p:par>
                                <p:cTn id="420" presetID="26" presetClass="emph" presetSubtype="0" dur="2000" repeatCount="indefinite" fill="hold" grpId="0" nodeType="withEffect">
                                  <p:stCondLst>
                                    <p:cond delay="2750"/>
                                  </p:stCondLst>
                                  <p:childTnLst>
                                    <p:animEffect transition="out" filter="fade">
                                      <p:cBhvr>
                                        <p:cTn id="421" dur="2000" tmFilter="0, 0; .2, .5; .8, .5; 1, 0"/>
                                        <p:tgtEl>
                                          <p:spTgt spid="146"/>
                                        </p:tgtEl>
                                      </p:cBhvr>
                                    </p:animEffect>
                                    <p:animScale>
                                      <p:cBhvr>
                                        <p:cTn id="422" dur="1000" autoRev="1" fill="hold"/>
                                        <p:tgtEl>
                                          <p:spTgt spid="146"/>
                                        </p:tgtEl>
                                      </p:cBhvr>
                                      <p:by x="105000" y="105000"/>
                                    </p:animScale>
                                  </p:childTnLst>
                                </p:cTn>
                              </p:par>
                              <p:par>
                                <p:cTn id="423" presetID="26" presetClass="emph" presetSubtype="0" dur="2000" repeatCount="indefinite" fill="hold" grpId="0" nodeType="withEffect">
                                  <p:stCondLst>
                                    <p:cond delay="2750"/>
                                  </p:stCondLst>
                                  <p:childTnLst>
                                    <p:animEffect transition="out" filter="fade">
                                      <p:cBhvr>
                                        <p:cTn id="424" dur="2000" tmFilter="0, 0; .2, .5; .8, .5; 1, 0"/>
                                        <p:tgtEl>
                                          <p:spTgt spid="163"/>
                                        </p:tgtEl>
                                      </p:cBhvr>
                                    </p:animEffect>
                                    <p:animScale>
                                      <p:cBhvr>
                                        <p:cTn id="425" dur="1000" autoRev="1" fill="hold"/>
                                        <p:tgtEl>
                                          <p:spTgt spid="163"/>
                                        </p:tgtEl>
                                      </p:cBhvr>
                                      <p:by x="105000" y="105000"/>
                                    </p:animScale>
                                  </p:childTnLst>
                                </p:cTn>
                              </p:par>
                              <p:par>
                                <p:cTn id="426" presetID="26" presetClass="emph" presetSubtype="0" dur="2000" repeatCount="indefinite" fill="hold" grpId="0" nodeType="withEffect">
                                  <p:stCondLst>
                                    <p:cond delay="2750"/>
                                  </p:stCondLst>
                                  <p:childTnLst>
                                    <p:animEffect transition="out" filter="fade">
                                      <p:cBhvr>
                                        <p:cTn id="427" dur="2000" tmFilter="0, 0; .2, .5; .8, .5; 1, 0"/>
                                        <p:tgtEl>
                                          <p:spTgt spid="180"/>
                                        </p:tgtEl>
                                      </p:cBhvr>
                                    </p:animEffect>
                                    <p:animScale>
                                      <p:cBhvr>
                                        <p:cTn id="428" dur="1000" autoRev="1" fill="hold"/>
                                        <p:tgtEl>
                                          <p:spTgt spid="180"/>
                                        </p:tgtEl>
                                      </p:cBhvr>
                                      <p:by x="105000" y="105000"/>
                                    </p:animScale>
                                  </p:childTnLst>
                                </p:cTn>
                              </p:par>
                              <p:par>
                                <p:cTn id="429" presetID="26" presetClass="emph" presetSubtype="0" dur="2000" repeatCount="indefinite" fill="hold" grpId="0" nodeType="withEffect">
                                  <p:stCondLst>
                                    <p:cond delay="2750"/>
                                  </p:stCondLst>
                                  <p:childTnLst>
                                    <p:animEffect transition="out" filter="fade">
                                      <p:cBhvr>
                                        <p:cTn id="430" dur="2000" tmFilter="0, 0; .2, .5; .8, .5; 1, 0"/>
                                        <p:tgtEl>
                                          <p:spTgt spid="197"/>
                                        </p:tgtEl>
                                      </p:cBhvr>
                                    </p:animEffect>
                                    <p:animScale>
                                      <p:cBhvr>
                                        <p:cTn id="431" dur="1000" autoRev="1" fill="hold"/>
                                        <p:tgtEl>
                                          <p:spTgt spid="197"/>
                                        </p:tgtEl>
                                      </p:cBhvr>
                                      <p:by x="105000" y="105000"/>
                                    </p:animScale>
                                  </p:childTnLst>
                                </p:cTn>
                              </p:par>
                              <p:par>
                                <p:cTn id="432" presetID="26" presetClass="emph" presetSubtype="0" dur="2000" repeatCount="indefinite" fill="hold" grpId="0" nodeType="withEffect">
                                  <p:stCondLst>
                                    <p:cond delay="2750"/>
                                  </p:stCondLst>
                                  <p:childTnLst>
                                    <p:animEffect transition="out" filter="fade">
                                      <p:cBhvr>
                                        <p:cTn id="433" dur="2000" tmFilter="0, 0; .2, .5; .8, .5; 1, 0"/>
                                        <p:tgtEl>
                                          <p:spTgt spid="214"/>
                                        </p:tgtEl>
                                      </p:cBhvr>
                                    </p:animEffect>
                                    <p:animScale>
                                      <p:cBhvr>
                                        <p:cTn id="434" dur="1000" autoRev="1" fill="hold"/>
                                        <p:tgtEl>
                                          <p:spTgt spid="214"/>
                                        </p:tgtEl>
                                      </p:cBhvr>
                                      <p:by x="105000" y="105000"/>
                                    </p:animScale>
                                  </p:childTnLst>
                                </p:cTn>
                              </p:par>
                              <p:par>
                                <p:cTn id="435" presetID="26" presetClass="emph" presetSubtype="0" dur="2000" repeatCount="indefinite" fill="hold" grpId="0" nodeType="withEffect">
                                  <p:stCondLst>
                                    <p:cond delay="2750"/>
                                  </p:stCondLst>
                                  <p:childTnLst>
                                    <p:animEffect transition="out" filter="fade">
                                      <p:cBhvr>
                                        <p:cTn id="436" dur="2000" tmFilter="0, 0; .2, .5; .8, .5; 1, 0"/>
                                        <p:tgtEl>
                                          <p:spTgt spid="230"/>
                                        </p:tgtEl>
                                      </p:cBhvr>
                                    </p:animEffect>
                                    <p:animScale>
                                      <p:cBhvr>
                                        <p:cTn id="437" dur="1000" autoRev="1" fill="hold"/>
                                        <p:tgtEl>
                                          <p:spTgt spid="230"/>
                                        </p:tgtEl>
                                      </p:cBhvr>
                                      <p:by x="105000" y="105000"/>
                                    </p:animScale>
                                  </p:childTnLst>
                                </p:cTn>
                              </p:par>
                              <p:par>
                                <p:cTn id="438" presetID="26" presetClass="emph" presetSubtype="0" dur="2000" repeatCount="indefinite" fill="hold" grpId="0" nodeType="withEffect">
                                  <p:stCondLst>
                                    <p:cond delay="3000"/>
                                  </p:stCondLst>
                                  <p:childTnLst>
                                    <p:animEffect transition="out" filter="fade">
                                      <p:cBhvr>
                                        <p:cTn id="439" dur="2000" tmFilter="0, 0; .2, .5; .8, .5; 1, 0"/>
                                        <p:tgtEl>
                                          <p:spTgt spid="19"/>
                                        </p:tgtEl>
                                      </p:cBhvr>
                                    </p:animEffect>
                                    <p:animScale>
                                      <p:cBhvr>
                                        <p:cTn id="440" dur="1000" autoRev="1" fill="hold"/>
                                        <p:tgtEl>
                                          <p:spTgt spid="19"/>
                                        </p:tgtEl>
                                      </p:cBhvr>
                                      <p:by x="105000" y="105000"/>
                                    </p:animScale>
                                  </p:childTnLst>
                                </p:cTn>
                              </p:par>
                              <p:par>
                                <p:cTn id="441" presetID="26" presetClass="emph" presetSubtype="0" dur="2000" repeatCount="indefinite" fill="hold" grpId="0" nodeType="withEffect">
                                  <p:stCondLst>
                                    <p:cond delay="3000"/>
                                  </p:stCondLst>
                                  <p:childTnLst>
                                    <p:animEffect transition="out" filter="fade">
                                      <p:cBhvr>
                                        <p:cTn id="442" dur="2000" tmFilter="0, 0; .2, .5; .8, .5; 1, 0"/>
                                        <p:tgtEl>
                                          <p:spTgt spid="34"/>
                                        </p:tgtEl>
                                      </p:cBhvr>
                                    </p:animEffect>
                                    <p:animScale>
                                      <p:cBhvr>
                                        <p:cTn id="443" dur="1000" autoRev="1" fill="hold"/>
                                        <p:tgtEl>
                                          <p:spTgt spid="34"/>
                                        </p:tgtEl>
                                      </p:cBhvr>
                                      <p:by x="105000" y="105000"/>
                                    </p:animScale>
                                  </p:childTnLst>
                                </p:cTn>
                              </p:par>
                              <p:par>
                                <p:cTn id="444" presetID="26" presetClass="emph" presetSubtype="0" dur="2000" repeatCount="indefinite" fill="hold" grpId="0" nodeType="withEffect">
                                  <p:stCondLst>
                                    <p:cond delay="3000"/>
                                  </p:stCondLst>
                                  <p:childTnLst>
                                    <p:animEffect transition="out" filter="fade">
                                      <p:cBhvr>
                                        <p:cTn id="445" dur="2000" tmFilter="0, 0; .2, .5; .8, .5; 1, 0"/>
                                        <p:tgtEl>
                                          <p:spTgt spid="50"/>
                                        </p:tgtEl>
                                      </p:cBhvr>
                                    </p:animEffect>
                                    <p:animScale>
                                      <p:cBhvr>
                                        <p:cTn id="446" dur="1000" autoRev="1" fill="hold"/>
                                        <p:tgtEl>
                                          <p:spTgt spid="50"/>
                                        </p:tgtEl>
                                      </p:cBhvr>
                                      <p:by x="105000" y="105000"/>
                                    </p:animScale>
                                  </p:childTnLst>
                                </p:cTn>
                              </p:par>
                              <p:par>
                                <p:cTn id="447" presetID="26" presetClass="emph" presetSubtype="0" dur="2000" repeatCount="indefinite" fill="hold" grpId="0" nodeType="withEffect">
                                  <p:stCondLst>
                                    <p:cond delay="3000"/>
                                  </p:stCondLst>
                                  <p:childTnLst>
                                    <p:animEffect transition="out" filter="fade">
                                      <p:cBhvr>
                                        <p:cTn id="448" dur="2000" tmFilter="0, 0; .2, .5; .8, .5; 1, 0"/>
                                        <p:tgtEl>
                                          <p:spTgt spid="66"/>
                                        </p:tgtEl>
                                      </p:cBhvr>
                                    </p:animEffect>
                                    <p:animScale>
                                      <p:cBhvr>
                                        <p:cTn id="449" dur="1000" autoRev="1" fill="hold"/>
                                        <p:tgtEl>
                                          <p:spTgt spid="66"/>
                                        </p:tgtEl>
                                      </p:cBhvr>
                                      <p:by x="105000" y="105000"/>
                                    </p:animScale>
                                  </p:childTnLst>
                                </p:cTn>
                              </p:par>
                              <p:par>
                                <p:cTn id="450" presetID="26" presetClass="emph" presetSubtype="0" dur="2000" repeatCount="indefinite" fill="hold" grpId="0" nodeType="withEffect">
                                  <p:stCondLst>
                                    <p:cond delay="3000"/>
                                  </p:stCondLst>
                                  <p:childTnLst>
                                    <p:animEffect transition="out" filter="fade">
                                      <p:cBhvr>
                                        <p:cTn id="451" dur="2000" tmFilter="0, 0; .2, .5; .8, .5; 1, 0"/>
                                        <p:tgtEl>
                                          <p:spTgt spid="82"/>
                                        </p:tgtEl>
                                      </p:cBhvr>
                                    </p:animEffect>
                                    <p:animScale>
                                      <p:cBhvr>
                                        <p:cTn id="452" dur="1000" autoRev="1" fill="hold"/>
                                        <p:tgtEl>
                                          <p:spTgt spid="82"/>
                                        </p:tgtEl>
                                      </p:cBhvr>
                                      <p:by x="105000" y="105000"/>
                                    </p:animScale>
                                  </p:childTnLst>
                                </p:cTn>
                              </p:par>
                              <p:par>
                                <p:cTn id="453" presetID="26" presetClass="emph" presetSubtype="0" dur="2000" repeatCount="indefinite" fill="hold" grpId="0" nodeType="withEffect">
                                  <p:stCondLst>
                                    <p:cond delay="3000"/>
                                  </p:stCondLst>
                                  <p:childTnLst>
                                    <p:animEffect transition="out" filter="fade">
                                      <p:cBhvr>
                                        <p:cTn id="454" dur="2000" tmFilter="0, 0; .2, .5; .8, .5; 1, 0"/>
                                        <p:tgtEl>
                                          <p:spTgt spid="98"/>
                                        </p:tgtEl>
                                      </p:cBhvr>
                                    </p:animEffect>
                                    <p:animScale>
                                      <p:cBhvr>
                                        <p:cTn id="455" dur="1000" autoRev="1" fill="hold"/>
                                        <p:tgtEl>
                                          <p:spTgt spid="98"/>
                                        </p:tgtEl>
                                      </p:cBhvr>
                                      <p:by x="105000" y="105000"/>
                                    </p:animScale>
                                  </p:childTnLst>
                                </p:cTn>
                              </p:par>
                              <p:par>
                                <p:cTn id="456" presetID="26" presetClass="emph" presetSubtype="0" dur="2000" repeatCount="indefinite" fill="hold" grpId="0" nodeType="withEffect">
                                  <p:stCondLst>
                                    <p:cond delay="3000"/>
                                  </p:stCondLst>
                                  <p:childTnLst>
                                    <p:animEffect transition="out" filter="fade">
                                      <p:cBhvr>
                                        <p:cTn id="457" dur="2000" tmFilter="0, 0; .2, .5; .8, .5; 1, 0"/>
                                        <p:tgtEl>
                                          <p:spTgt spid="114"/>
                                        </p:tgtEl>
                                      </p:cBhvr>
                                    </p:animEffect>
                                    <p:animScale>
                                      <p:cBhvr>
                                        <p:cTn id="458" dur="1000" autoRev="1" fill="hold"/>
                                        <p:tgtEl>
                                          <p:spTgt spid="114"/>
                                        </p:tgtEl>
                                      </p:cBhvr>
                                      <p:by x="105000" y="105000"/>
                                    </p:animScale>
                                  </p:childTnLst>
                                </p:cTn>
                              </p:par>
                              <p:par>
                                <p:cTn id="459" presetID="26" presetClass="emph" presetSubtype="0" dur="2000" repeatCount="indefinite" fill="hold" grpId="0" nodeType="withEffect">
                                  <p:stCondLst>
                                    <p:cond delay="3000"/>
                                  </p:stCondLst>
                                  <p:childTnLst>
                                    <p:animEffect transition="out" filter="fade">
                                      <p:cBhvr>
                                        <p:cTn id="460" dur="2000" tmFilter="0, 0; .2, .5; .8, .5; 1, 0"/>
                                        <p:tgtEl>
                                          <p:spTgt spid="130"/>
                                        </p:tgtEl>
                                      </p:cBhvr>
                                    </p:animEffect>
                                    <p:animScale>
                                      <p:cBhvr>
                                        <p:cTn id="461" dur="1000" autoRev="1" fill="hold"/>
                                        <p:tgtEl>
                                          <p:spTgt spid="130"/>
                                        </p:tgtEl>
                                      </p:cBhvr>
                                      <p:by x="105000" y="105000"/>
                                    </p:animScale>
                                  </p:childTnLst>
                                </p:cTn>
                              </p:par>
                              <p:par>
                                <p:cTn id="462" presetID="26" presetClass="emph" presetSubtype="0" dur="2000" repeatCount="indefinite" fill="hold" grpId="0" nodeType="withEffect">
                                  <p:stCondLst>
                                    <p:cond delay="3000"/>
                                  </p:stCondLst>
                                  <p:childTnLst>
                                    <p:animEffect transition="out" filter="fade">
                                      <p:cBhvr>
                                        <p:cTn id="463" dur="2000" tmFilter="0, 0; .2, .5; .8, .5; 1, 0"/>
                                        <p:tgtEl>
                                          <p:spTgt spid="147"/>
                                        </p:tgtEl>
                                      </p:cBhvr>
                                    </p:animEffect>
                                    <p:animScale>
                                      <p:cBhvr>
                                        <p:cTn id="464" dur="1000" autoRev="1" fill="hold"/>
                                        <p:tgtEl>
                                          <p:spTgt spid="147"/>
                                        </p:tgtEl>
                                      </p:cBhvr>
                                      <p:by x="105000" y="105000"/>
                                    </p:animScale>
                                  </p:childTnLst>
                                </p:cTn>
                              </p:par>
                              <p:par>
                                <p:cTn id="465" presetID="26" presetClass="emph" presetSubtype="0" dur="2000" repeatCount="indefinite" fill="hold" grpId="0" nodeType="withEffect">
                                  <p:stCondLst>
                                    <p:cond delay="3000"/>
                                  </p:stCondLst>
                                  <p:childTnLst>
                                    <p:animEffect transition="out" filter="fade">
                                      <p:cBhvr>
                                        <p:cTn id="466" dur="2000" tmFilter="0, 0; .2, .5; .8, .5; 1, 0"/>
                                        <p:tgtEl>
                                          <p:spTgt spid="164"/>
                                        </p:tgtEl>
                                      </p:cBhvr>
                                    </p:animEffect>
                                    <p:animScale>
                                      <p:cBhvr>
                                        <p:cTn id="467" dur="1000" autoRev="1" fill="hold"/>
                                        <p:tgtEl>
                                          <p:spTgt spid="164"/>
                                        </p:tgtEl>
                                      </p:cBhvr>
                                      <p:by x="105000" y="105000"/>
                                    </p:animScale>
                                  </p:childTnLst>
                                </p:cTn>
                              </p:par>
                              <p:par>
                                <p:cTn id="468" presetID="26" presetClass="emph" presetSubtype="0" dur="2000" repeatCount="indefinite" fill="hold" grpId="0" nodeType="withEffect">
                                  <p:stCondLst>
                                    <p:cond delay="3000"/>
                                  </p:stCondLst>
                                  <p:childTnLst>
                                    <p:animEffect transition="out" filter="fade">
                                      <p:cBhvr>
                                        <p:cTn id="469" dur="2000" tmFilter="0, 0; .2, .5; .8, .5; 1, 0"/>
                                        <p:tgtEl>
                                          <p:spTgt spid="181"/>
                                        </p:tgtEl>
                                      </p:cBhvr>
                                    </p:animEffect>
                                    <p:animScale>
                                      <p:cBhvr>
                                        <p:cTn id="470" dur="1000" autoRev="1" fill="hold"/>
                                        <p:tgtEl>
                                          <p:spTgt spid="181"/>
                                        </p:tgtEl>
                                      </p:cBhvr>
                                      <p:by x="105000" y="105000"/>
                                    </p:animScale>
                                  </p:childTnLst>
                                </p:cTn>
                              </p:par>
                              <p:par>
                                <p:cTn id="471" presetID="26" presetClass="emph" presetSubtype="0" dur="2000" repeatCount="indefinite" fill="hold" grpId="0" nodeType="withEffect">
                                  <p:stCondLst>
                                    <p:cond delay="3000"/>
                                  </p:stCondLst>
                                  <p:childTnLst>
                                    <p:animEffect transition="out" filter="fade">
                                      <p:cBhvr>
                                        <p:cTn id="472" dur="2000" tmFilter="0, 0; .2, .5; .8, .5; 1, 0"/>
                                        <p:tgtEl>
                                          <p:spTgt spid="198"/>
                                        </p:tgtEl>
                                      </p:cBhvr>
                                    </p:animEffect>
                                    <p:animScale>
                                      <p:cBhvr>
                                        <p:cTn id="473" dur="1000" autoRev="1" fill="hold"/>
                                        <p:tgtEl>
                                          <p:spTgt spid="198"/>
                                        </p:tgtEl>
                                      </p:cBhvr>
                                      <p:by x="105000" y="105000"/>
                                    </p:animScale>
                                  </p:childTnLst>
                                </p:cTn>
                              </p:par>
                              <p:par>
                                <p:cTn id="474" presetID="26" presetClass="emph" presetSubtype="0" dur="2000" repeatCount="indefinite" fill="hold" grpId="0" nodeType="withEffect">
                                  <p:stCondLst>
                                    <p:cond delay="3000"/>
                                  </p:stCondLst>
                                  <p:childTnLst>
                                    <p:animEffect transition="out" filter="fade">
                                      <p:cBhvr>
                                        <p:cTn id="475" dur="2000" tmFilter="0, 0; .2, .5; .8, .5; 1, 0"/>
                                        <p:tgtEl>
                                          <p:spTgt spid="215"/>
                                        </p:tgtEl>
                                      </p:cBhvr>
                                    </p:animEffect>
                                    <p:animScale>
                                      <p:cBhvr>
                                        <p:cTn id="476" dur="1000" autoRev="1" fill="hold"/>
                                        <p:tgtEl>
                                          <p:spTgt spid="215"/>
                                        </p:tgtEl>
                                      </p:cBhvr>
                                      <p:by x="105000" y="105000"/>
                                    </p:animScale>
                                  </p:childTnLst>
                                </p:cTn>
                              </p:par>
                              <p:par>
                                <p:cTn id="477" presetID="26" presetClass="emph" presetSubtype="0" dur="2000" repeatCount="indefinite" fill="hold" grpId="0" nodeType="withEffect">
                                  <p:stCondLst>
                                    <p:cond delay="3000"/>
                                  </p:stCondLst>
                                  <p:childTnLst>
                                    <p:animEffect transition="out" filter="fade">
                                      <p:cBhvr>
                                        <p:cTn id="478" dur="2000" tmFilter="0, 0; .2, .5; .8, .5; 1, 0"/>
                                        <p:tgtEl>
                                          <p:spTgt spid="231"/>
                                        </p:tgtEl>
                                      </p:cBhvr>
                                    </p:animEffect>
                                    <p:animScale>
                                      <p:cBhvr>
                                        <p:cTn id="479" dur="1000" autoRev="1" fill="hold"/>
                                        <p:tgtEl>
                                          <p:spTgt spid="231"/>
                                        </p:tgtEl>
                                      </p:cBhvr>
                                      <p:by x="105000" y="105000"/>
                                    </p:animScale>
                                  </p:childTnLst>
                                </p:cTn>
                              </p:par>
                              <p:par>
                                <p:cTn id="480" presetID="26" presetClass="emph" presetSubtype="0" dur="2000" repeatCount="indefinite" fill="hold" grpId="0" nodeType="withEffect">
                                  <p:stCondLst>
                                    <p:cond delay="3250"/>
                                  </p:stCondLst>
                                  <p:childTnLst>
                                    <p:animEffect transition="out" filter="fade">
                                      <p:cBhvr>
                                        <p:cTn id="481" dur="2000" tmFilter="0, 0; .2, .5; .8, .5; 1, 0"/>
                                        <p:tgtEl>
                                          <p:spTgt spid="20"/>
                                        </p:tgtEl>
                                      </p:cBhvr>
                                    </p:animEffect>
                                    <p:animScale>
                                      <p:cBhvr>
                                        <p:cTn id="482" dur="1000" autoRev="1" fill="hold"/>
                                        <p:tgtEl>
                                          <p:spTgt spid="20"/>
                                        </p:tgtEl>
                                      </p:cBhvr>
                                      <p:by x="105000" y="105000"/>
                                    </p:animScale>
                                  </p:childTnLst>
                                </p:cTn>
                              </p:par>
                              <p:par>
                                <p:cTn id="483" presetID="26" presetClass="emph" presetSubtype="0" dur="2000" repeatCount="indefinite" fill="hold" grpId="0" nodeType="withEffect">
                                  <p:stCondLst>
                                    <p:cond delay="3250"/>
                                  </p:stCondLst>
                                  <p:childTnLst>
                                    <p:animEffect transition="out" filter="fade">
                                      <p:cBhvr>
                                        <p:cTn id="484" dur="2000" tmFilter="0, 0; .2, .5; .8, .5; 1, 0"/>
                                        <p:tgtEl>
                                          <p:spTgt spid="35"/>
                                        </p:tgtEl>
                                      </p:cBhvr>
                                    </p:animEffect>
                                    <p:animScale>
                                      <p:cBhvr>
                                        <p:cTn id="485" dur="1000" autoRev="1" fill="hold"/>
                                        <p:tgtEl>
                                          <p:spTgt spid="35"/>
                                        </p:tgtEl>
                                      </p:cBhvr>
                                      <p:by x="105000" y="105000"/>
                                    </p:animScale>
                                  </p:childTnLst>
                                </p:cTn>
                              </p:par>
                              <p:par>
                                <p:cTn id="486" presetID="26" presetClass="emph" presetSubtype="0" dur="2000" repeatCount="indefinite" fill="hold" grpId="0" nodeType="withEffect">
                                  <p:stCondLst>
                                    <p:cond delay="3250"/>
                                  </p:stCondLst>
                                  <p:childTnLst>
                                    <p:animEffect transition="out" filter="fade">
                                      <p:cBhvr>
                                        <p:cTn id="487" dur="2000" tmFilter="0, 0; .2, .5; .8, .5; 1, 0"/>
                                        <p:tgtEl>
                                          <p:spTgt spid="51"/>
                                        </p:tgtEl>
                                      </p:cBhvr>
                                    </p:animEffect>
                                    <p:animScale>
                                      <p:cBhvr>
                                        <p:cTn id="488" dur="1000" autoRev="1" fill="hold"/>
                                        <p:tgtEl>
                                          <p:spTgt spid="51"/>
                                        </p:tgtEl>
                                      </p:cBhvr>
                                      <p:by x="105000" y="105000"/>
                                    </p:animScale>
                                  </p:childTnLst>
                                </p:cTn>
                              </p:par>
                              <p:par>
                                <p:cTn id="489" presetID="26" presetClass="emph" presetSubtype="0" dur="2000" repeatCount="indefinite" fill="hold" grpId="0" nodeType="withEffect">
                                  <p:stCondLst>
                                    <p:cond delay="3250"/>
                                  </p:stCondLst>
                                  <p:childTnLst>
                                    <p:animEffect transition="out" filter="fade">
                                      <p:cBhvr>
                                        <p:cTn id="490" dur="2000" tmFilter="0, 0; .2, .5; .8, .5; 1, 0"/>
                                        <p:tgtEl>
                                          <p:spTgt spid="67"/>
                                        </p:tgtEl>
                                      </p:cBhvr>
                                    </p:animEffect>
                                    <p:animScale>
                                      <p:cBhvr>
                                        <p:cTn id="491" dur="1000" autoRev="1" fill="hold"/>
                                        <p:tgtEl>
                                          <p:spTgt spid="67"/>
                                        </p:tgtEl>
                                      </p:cBhvr>
                                      <p:by x="105000" y="105000"/>
                                    </p:animScale>
                                  </p:childTnLst>
                                </p:cTn>
                              </p:par>
                              <p:par>
                                <p:cTn id="492" presetID="26" presetClass="emph" presetSubtype="0" dur="2000" repeatCount="indefinite" fill="hold" grpId="0" nodeType="withEffect">
                                  <p:stCondLst>
                                    <p:cond delay="3250"/>
                                  </p:stCondLst>
                                  <p:childTnLst>
                                    <p:animEffect transition="out" filter="fade">
                                      <p:cBhvr>
                                        <p:cTn id="493" dur="2000" tmFilter="0, 0; .2, .5; .8, .5; 1, 0"/>
                                        <p:tgtEl>
                                          <p:spTgt spid="83"/>
                                        </p:tgtEl>
                                      </p:cBhvr>
                                    </p:animEffect>
                                    <p:animScale>
                                      <p:cBhvr>
                                        <p:cTn id="494" dur="1000" autoRev="1" fill="hold"/>
                                        <p:tgtEl>
                                          <p:spTgt spid="83"/>
                                        </p:tgtEl>
                                      </p:cBhvr>
                                      <p:by x="105000" y="105000"/>
                                    </p:animScale>
                                  </p:childTnLst>
                                </p:cTn>
                              </p:par>
                              <p:par>
                                <p:cTn id="495" presetID="26" presetClass="emph" presetSubtype="0" dur="2000" repeatCount="indefinite" fill="hold" grpId="0" nodeType="withEffect">
                                  <p:stCondLst>
                                    <p:cond delay="3250"/>
                                  </p:stCondLst>
                                  <p:childTnLst>
                                    <p:animEffect transition="out" filter="fade">
                                      <p:cBhvr>
                                        <p:cTn id="496" dur="2000" tmFilter="0, 0; .2, .5; .8, .5; 1, 0"/>
                                        <p:tgtEl>
                                          <p:spTgt spid="99"/>
                                        </p:tgtEl>
                                      </p:cBhvr>
                                    </p:animEffect>
                                    <p:animScale>
                                      <p:cBhvr>
                                        <p:cTn id="497" dur="1000" autoRev="1" fill="hold"/>
                                        <p:tgtEl>
                                          <p:spTgt spid="99"/>
                                        </p:tgtEl>
                                      </p:cBhvr>
                                      <p:by x="105000" y="105000"/>
                                    </p:animScale>
                                  </p:childTnLst>
                                </p:cTn>
                              </p:par>
                              <p:par>
                                <p:cTn id="498" presetID="26" presetClass="emph" presetSubtype="0" dur="2000" repeatCount="indefinite" fill="hold" grpId="0" nodeType="withEffect">
                                  <p:stCondLst>
                                    <p:cond delay="3250"/>
                                  </p:stCondLst>
                                  <p:childTnLst>
                                    <p:animEffect transition="out" filter="fade">
                                      <p:cBhvr>
                                        <p:cTn id="499" dur="2000" tmFilter="0, 0; .2, .5; .8, .5; 1, 0"/>
                                        <p:tgtEl>
                                          <p:spTgt spid="115"/>
                                        </p:tgtEl>
                                      </p:cBhvr>
                                    </p:animEffect>
                                    <p:animScale>
                                      <p:cBhvr>
                                        <p:cTn id="500" dur="1000" autoRev="1" fill="hold"/>
                                        <p:tgtEl>
                                          <p:spTgt spid="115"/>
                                        </p:tgtEl>
                                      </p:cBhvr>
                                      <p:by x="105000" y="105000"/>
                                    </p:animScale>
                                  </p:childTnLst>
                                </p:cTn>
                              </p:par>
                              <p:par>
                                <p:cTn id="501" presetID="26" presetClass="emph" presetSubtype="0" dur="2000" repeatCount="indefinite" fill="hold" grpId="0" nodeType="withEffect">
                                  <p:stCondLst>
                                    <p:cond delay="3250"/>
                                  </p:stCondLst>
                                  <p:childTnLst>
                                    <p:animEffect transition="out" filter="fade">
                                      <p:cBhvr>
                                        <p:cTn id="502" dur="2000" tmFilter="0, 0; .2, .5; .8, .5; 1, 0"/>
                                        <p:tgtEl>
                                          <p:spTgt spid="131"/>
                                        </p:tgtEl>
                                      </p:cBhvr>
                                    </p:animEffect>
                                    <p:animScale>
                                      <p:cBhvr>
                                        <p:cTn id="503" dur="1000" autoRev="1" fill="hold"/>
                                        <p:tgtEl>
                                          <p:spTgt spid="131"/>
                                        </p:tgtEl>
                                      </p:cBhvr>
                                      <p:by x="105000" y="105000"/>
                                    </p:animScale>
                                  </p:childTnLst>
                                </p:cTn>
                              </p:par>
                              <p:par>
                                <p:cTn id="504" presetID="26" presetClass="emph" presetSubtype="0" dur="2000" repeatCount="indefinite" fill="hold" grpId="0" nodeType="withEffect">
                                  <p:stCondLst>
                                    <p:cond delay="3250"/>
                                  </p:stCondLst>
                                  <p:childTnLst>
                                    <p:animEffect transition="out" filter="fade">
                                      <p:cBhvr>
                                        <p:cTn id="505" dur="2000" tmFilter="0, 0; .2, .5; .8, .5; 1, 0"/>
                                        <p:tgtEl>
                                          <p:spTgt spid="148"/>
                                        </p:tgtEl>
                                      </p:cBhvr>
                                    </p:animEffect>
                                    <p:animScale>
                                      <p:cBhvr>
                                        <p:cTn id="506" dur="1000" autoRev="1" fill="hold"/>
                                        <p:tgtEl>
                                          <p:spTgt spid="148"/>
                                        </p:tgtEl>
                                      </p:cBhvr>
                                      <p:by x="105000" y="105000"/>
                                    </p:animScale>
                                  </p:childTnLst>
                                </p:cTn>
                              </p:par>
                              <p:par>
                                <p:cTn id="507" presetID="26" presetClass="emph" presetSubtype="0" dur="2000" repeatCount="indefinite" fill="hold" grpId="0" nodeType="withEffect">
                                  <p:stCondLst>
                                    <p:cond delay="3250"/>
                                  </p:stCondLst>
                                  <p:childTnLst>
                                    <p:animEffect transition="out" filter="fade">
                                      <p:cBhvr>
                                        <p:cTn id="508" dur="2000" tmFilter="0, 0; .2, .5; .8, .5; 1, 0"/>
                                        <p:tgtEl>
                                          <p:spTgt spid="165"/>
                                        </p:tgtEl>
                                      </p:cBhvr>
                                    </p:animEffect>
                                    <p:animScale>
                                      <p:cBhvr>
                                        <p:cTn id="509" dur="1000" autoRev="1" fill="hold"/>
                                        <p:tgtEl>
                                          <p:spTgt spid="165"/>
                                        </p:tgtEl>
                                      </p:cBhvr>
                                      <p:by x="105000" y="105000"/>
                                    </p:animScale>
                                  </p:childTnLst>
                                </p:cTn>
                              </p:par>
                              <p:par>
                                <p:cTn id="510" presetID="26" presetClass="emph" presetSubtype="0" dur="2000" repeatCount="indefinite" fill="hold" grpId="0" nodeType="withEffect">
                                  <p:stCondLst>
                                    <p:cond delay="3250"/>
                                  </p:stCondLst>
                                  <p:childTnLst>
                                    <p:animEffect transition="out" filter="fade">
                                      <p:cBhvr>
                                        <p:cTn id="511" dur="2000" tmFilter="0, 0; .2, .5; .8, .5; 1, 0"/>
                                        <p:tgtEl>
                                          <p:spTgt spid="182"/>
                                        </p:tgtEl>
                                      </p:cBhvr>
                                    </p:animEffect>
                                    <p:animScale>
                                      <p:cBhvr>
                                        <p:cTn id="512" dur="1000" autoRev="1" fill="hold"/>
                                        <p:tgtEl>
                                          <p:spTgt spid="182"/>
                                        </p:tgtEl>
                                      </p:cBhvr>
                                      <p:by x="105000" y="105000"/>
                                    </p:animScale>
                                  </p:childTnLst>
                                </p:cTn>
                              </p:par>
                              <p:par>
                                <p:cTn id="513" presetID="26" presetClass="emph" presetSubtype="0" dur="2000" repeatCount="indefinite" fill="hold" grpId="0" nodeType="withEffect">
                                  <p:stCondLst>
                                    <p:cond delay="3250"/>
                                  </p:stCondLst>
                                  <p:childTnLst>
                                    <p:animEffect transition="out" filter="fade">
                                      <p:cBhvr>
                                        <p:cTn id="514" dur="2000" tmFilter="0, 0; .2, .5; .8, .5; 1, 0"/>
                                        <p:tgtEl>
                                          <p:spTgt spid="199"/>
                                        </p:tgtEl>
                                      </p:cBhvr>
                                    </p:animEffect>
                                    <p:animScale>
                                      <p:cBhvr>
                                        <p:cTn id="515" dur="1000" autoRev="1" fill="hold"/>
                                        <p:tgtEl>
                                          <p:spTgt spid="199"/>
                                        </p:tgtEl>
                                      </p:cBhvr>
                                      <p:by x="105000" y="105000"/>
                                    </p:animScale>
                                  </p:childTnLst>
                                </p:cTn>
                              </p:par>
                              <p:par>
                                <p:cTn id="516" presetID="26" presetClass="emph" presetSubtype="0" dur="2000" repeatCount="indefinite" fill="hold" grpId="0" nodeType="withEffect">
                                  <p:stCondLst>
                                    <p:cond delay="3250"/>
                                  </p:stCondLst>
                                  <p:childTnLst>
                                    <p:animEffect transition="out" filter="fade">
                                      <p:cBhvr>
                                        <p:cTn id="517" dur="2000" tmFilter="0, 0; .2, .5; .8, .5; 1, 0"/>
                                        <p:tgtEl>
                                          <p:spTgt spid="216"/>
                                        </p:tgtEl>
                                      </p:cBhvr>
                                    </p:animEffect>
                                    <p:animScale>
                                      <p:cBhvr>
                                        <p:cTn id="518" dur="1000" autoRev="1" fill="hold"/>
                                        <p:tgtEl>
                                          <p:spTgt spid="216"/>
                                        </p:tgtEl>
                                      </p:cBhvr>
                                      <p:by x="105000" y="105000"/>
                                    </p:animScale>
                                  </p:childTnLst>
                                </p:cTn>
                              </p:par>
                              <p:par>
                                <p:cTn id="519" presetID="26" presetClass="emph" presetSubtype="0" dur="2000" repeatCount="indefinite" fill="hold" grpId="0" nodeType="withEffect">
                                  <p:stCondLst>
                                    <p:cond delay="3250"/>
                                  </p:stCondLst>
                                  <p:childTnLst>
                                    <p:animEffect transition="out" filter="fade">
                                      <p:cBhvr>
                                        <p:cTn id="520" dur="2000" tmFilter="0, 0; .2, .5; .8, .5; 1, 0"/>
                                        <p:tgtEl>
                                          <p:spTgt spid="232"/>
                                        </p:tgtEl>
                                      </p:cBhvr>
                                    </p:animEffect>
                                    <p:animScale>
                                      <p:cBhvr>
                                        <p:cTn id="521" dur="1000" autoRev="1" fill="hold"/>
                                        <p:tgtEl>
                                          <p:spTgt spid="232"/>
                                        </p:tgtEl>
                                      </p:cBhvr>
                                      <p:by x="105000" y="105000"/>
                                    </p:animScale>
                                  </p:childTnLst>
                                </p:cTn>
                              </p:par>
                              <p:par>
                                <p:cTn id="522" presetID="26" presetClass="emph" presetSubtype="0" dur="2000" repeatCount="indefinite" fill="hold" grpId="0" nodeType="withEffect">
                                  <p:stCondLst>
                                    <p:cond delay="3500"/>
                                  </p:stCondLst>
                                  <p:childTnLst>
                                    <p:animEffect transition="out" filter="fade">
                                      <p:cBhvr>
                                        <p:cTn id="523" dur="2000" tmFilter="0, 0; .2, .5; .8, .5; 1, 0"/>
                                        <p:tgtEl>
                                          <p:spTgt spid="21"/>
                                        </p:tgtEl>
                                      </p:cBhvr>
                                    </p:animEffect>
                                    <p:animScale>
                                      <p:cBhvr>
                                        <p:cTn id="524" dur="1000" autoRev="1" fill="hold"/>
                                        <p:tgtEl>
                                          <p:spTgt spid="21"/>
                                        </p:tgtEl>
                                      </p:cBhvr>
                                      <p:by x="105000" y="105000"/>
                                    </p:animScale>
                                  </p:childTnLst>
                                </p:cTn>
                              </p:par>
                              <p:par>
                                <p:cTn id="525" presetID="26" presetClass="emph" presetSubtype="0" dur="2000" repeatCount="indefinite" fill="hold" grpId="0" nodeType="withEffect">
                                  <p:stCondLst>
                                    <p:cond delay="3500"/>
                                  </p:stCondLst>
                                  <p:childTnLst>
                                    <p:animEffect transition="out" filter="fade">
                                      <p:cBhvr>
                                        <p:cTn id="526" dur="2000" tmFilter="0, 0; .2, .5; .8, .5; 1, 0"/>
                                        <p:tgtEl>
                                          <p:spTgt spid="36"/>
                                        </p:tgtEl>
                                      </p:cBhvr>
                                    </p:animEffect>
                                    <p:animScale>
                                      <p:cBhvr>
                                        <p:cTn id="527" dur="1000" autoRev="1" fill="hold"/>
                                        <p:tgtEl>
                                          <p:spTgt spid="36"/>
                                        </p:tgtEl>
                                      </p:cBhvr>
                                      <p:by x="105000" y="105000"/>
                                    </p:animScale>
                                  </p:childTnLst>
                                </p:cTn>
                              </p:par>
                              <p:par>
                                <p:cTn id="528" presetID="26" presetClass="emph" presetSubtype="0" dur="2000" repeatCount="indefinite" fill="hold" grpId="0" nodeType="withEffect">
                                  <p:stCondLst>
                                    <p:cond delay="3500"/>
                                  </p:stCondLst>
                                  <p:childTnLst>
                                    <p:animEffect transition="out" filter="fade">
                                      <p:cBhvr>
                                        <p:cTn id="529" dur="2000" tmFilter="0, 0; .2, .5; .8, .5; 1, 0"/>
                                        <p:tgtEl>
                                          <p:spTgt spid="52"/>
                                        </p:tgtEl>
                                      </p:cBhvr>
                                    </p:animEffect>
                                    <p:animScale>
                                      <p:cBhvr>
                                        <p:cTn id="530" dur="1000" autoRev="1" fill="hold"/>
                                        <p:tgtEl>
                                          <p:spTgt spid="52"/>
                                        </p:tgtEl>
                                      </p:cBhvr>
                                      <p:by x="105000" y="105000"/>
                                    </p:animScale>
                                  </p:childTnLst>
                                </p:cTn>
                              </p:par>
                              <p:par>
                                <p:cTn id="531" presetID="26" presetClass="emph" presetSubtype="0" dur="2000" repeatCount="indefinite" fill="hold" grpId="0" nodeType="withEffect">
                                  <p:stCondLst>
                                    <p:cond delay="3500"/>
                                  </p:stCondLst>
                                  <p:childTnLst>
                                    <p:animEffect transition="out" filter="fade">
                                      <p:cBhvr>
                                        <p:cTn id="532" dur="2000" tmFilter="0, 0; .2, .5; .8, .5; 1, 0"/>
                                        <p:tgtEl>
                                          <p:spTgt spid="68"/>
                                        </p:tgtEl>
                                      </p:cBhvr>
                                    </p:animEffect>
                                    <p:animScale>
                                      <p:cBhvr>
                                        <p:cTn id="533" dur="1000" autoRev="1" fill="hold"/>
                                        <p:tgtEl>
                                          <p:spTgt spid="68"/>
                                        </p:tgtEl>
                                      </p:cBhvr>
                                      <p:by x="105000" y="105000"/>
                                    </p:animScale>
                                  </p:childTnLst>
                                </p:cTn>
                              </p:par>
                              <p:par>
                                <p:cTn id="534" presetID="26" presetClass="emph" presetSubtype="0" dur="2000" repeatCount="indefinite" fill="hold" grpId="0" nodeType="withEffect">
                                  <p:stCondLst>
                                    <p:cond delay="3500"/>
                                  </p:stCondLst>
                                  <p:childTnLst>
                                    <p:animEffect transition="out" filter="fade">
                                      <p:cBhvr>
                                        <p:cTn id="535" dur="2000" tmFilter="0, 0; .2, .5; .8, .5; 1, 0"/>
                                        <p:tgtEl>
                                          <p:spTgt spid="84"/>
                                        </p:tgtEl>
                                      </p:cBhvr>
                                    </p:animEffect>
                                    <p:animScale>
                                      <p:cBhvr>
                                        <p:cTn id="536" dur="1000" autoRev="1" fill="hold"/>
                                        <p:tgtEl>
                                          <p:spTgt spid="84"/>
                                        </p:tgtEl>
                                      </p:cBhvr>
                                      <p:by x="105000" y="105000"/>
                                    </p:animScale>
                                  </p:childTnLst>
                                </p:cTn>
                              </p:par>
                              <p:par>
                                <p:cTn id="537" presetID="26" presetClass="emph" presetSubtype="0" dur="2000" repeatCount="indefinite" fill="hold" grpId="0" nodeType="withEffect">
                                  <p:stCondLst>
                                    <p:cond delay="3500"/>
                                  </p:stCondLst>
                                  <p:childTnLst>
                                    <p:animEffect transition="out" filter="fade">
                                      <p:cBhvr>
                                        <p:cTn id="538" dur="2000" tmFilter="0, 0; .2, .5; .8, .5; 1, 0"/>
                                        <p:tgtEl>
                                          <p:spTgt spid="100"/>
                                        </p:tgtEl>
                                      </p:cBhvr>
                                    </p:animEffect>
                                    <p:animScale>
                                      <p:cBhvr>
                                        <p:cTn id="539" dur="1000" autoRev="1" fill="hold"/>
                                        <p:tgtEl>
                                          <p:spTgt spid="100"/>
                                        </p:tgtEl>
                                      </p:cBhvr>
                                      <p:by x="105000" y="105000"/>
                                    </p:animScale>
                                  </p:childTnLst>
                                </p:cTn>
                              </p:par>
                              <p:par>
                                <p:cTn id="540" presetID="26" presetClass="emph" presetSubtype="0" dur="2000" repeatCount="indefinite" fill="hold" grpId="0" nodeType="withEffect">
                                  <p:stCondLst>
                                    <p:cond delay="3500"/>
                                  </p:stCondLst>
                                  <p:childTnLst>
                                    <p:animEffect transition="out" filter="fade">
                                      <p:cBhvr>
                                        <p:cTn id="541" dur="2000" tmFilter="0, 0; .2, .5; .8, .5; 1, 0"/>
                                        <p:tgtEl>
                                          <p:spTgt spid="116"/>
                                        </p:tgtEl>
                                      </p:cBhvr>
                                    </p:animEffect>
                                    <p:animScale>
                                      <p:cBhvr>
                                        <p:cTn id="542" dur="1000" autoRev="1" fill="hold"/>
                                        <p:tgtEl>
                                          <p:spTgt spid="116"/>
                                        </p:tgtEl>
                                      </p:cBhvr>
                                      <p:by x="105000" y="105000"/>
                                    </p:animScale>
                                  </p:childTnLst>
                                </p:cTn>
                              </p:par>
                              <p:par>
                                <p:cTn id="543" presetID="26" presetClass="emph" presetSubtype="0" dur="2000" repeatCount="indefinite" fill="hold" grpId="0" nodeType="withEffect">
                                  <p:stCondLst>
                                    <p:cond delay="3500"/>
                                  </p:stCondLst>
                                  <p:childTnLst>
                                    <p:animEffect transition="out" filter="fade">
                                      <p:cBhvr>
                                        <p:cTn id="544" dur="2000" tmFilter="0, 0; .2, .5; .8, .5; 1, 0"/>
                                        <p:tgtEl>
                                          <p:spTgt spid="132"/>
                                        </p:tgtEl>
                                      </p:cBhvr>
                                    </p:animEffect>
                                    <p:animScale>
                                      <p:cBhvr>
                                        <p:cTn id="545" dur="1000" autoRev="1" fill="hold"/>
                                        <p:tgtEl>
                                          <p:spTgt spid="132"/>
                                        </p:tgtEl>
                                      </p:cBhvr>
                                      <p:by x="105000" y="105000"/>
                                    </p:animScale>
                                  </p:childTnLst>
                                </p:cTn>
                              </p:par>
                              <p:par>
                                <p:cTn id="546" presetID="26" presetClass="emph" presetSubtype="0" dur="2000" repeatCount="indefinite" fill="hold" grpId="0" nodeType="withEffect">
                                  <p:stCondLst>
                                    <p:cond delay="3500"/>
                                  </p:stCondLst>
                                  <p:childTnLst>
                                    <p:animEffect transition="out" filter="fade">
                                      <p:cBhvr>
                                        <p:cTn id="547" dur="2000" tmFilter="0, 0; .2, .5; .8, .5; 1, 0"/>
                                        <p:tgtEl>
                                          <p:spTgt spid="149"/>
                                        </p:tgtEl>
                                      </p:cBhvr>
                                    </p:animEffect>
                                    <p:animScale>
                                      <p:cBhvr>
                                        <p:cTn id="548" dur="1000" autoRev="1" fill="hold"/>
                                        <p:tgtEl>
                                          <p:spTgt spid="149"/>
                                        </p:tgtEl>
                                      </p:cBhvr>
                                      <p:by x="105000" y="105000"/>
                                    </p:animScale>
                                  </p:childTnLst>
                                </p:cTn>
                              </p:par>
                              <p:par>
                                <p:cTn id="549" presetID="26" presetClass="emph" presetSubtype="0" dur="2000" repeatCount="indefinite" fill="hold" grpId="0" nodeType="withEffect">
                                  <p:stCondLst>
                                    <p:cond delay="3500"/>
                                  </p:stCondLst>
                                  <p:childTnLst>
                                    <p:animEffect transition="out" filter="fade">
                                      <p:cBhvr>
                                        <p:cTn id="550" dur="2000" tmFilter="0, 0; .2, .5; .8, .5; 1, 0"/>
                                        <p:tgtEl>
                                          <p:spTgt spid="166"/>
                                        </p:tgtEl>
                                      </p:cBhvr>
                                    </p:animEffect>
                                    <p:animScale>
                                      <p:cBhvr>
                                        <p:cTn id="551" dur="1000" autoRev="1" fill="hold"/>
                                        <p:tgtEl>
                                          <p:spTgt spid="166"/>
                                        </p:tgtEl>
                                      </p:cBhvr>
                                      <p:by x="105000" y="105000"/>
                                    </p:animScale>
                                  </p:childTnLst>
                                </p:cTn>
                              </p:par>
                              <p:par>
                                <p:cTn id="552" presetID="26" presetClass="emph" presetSubtype="0" dur="2000" repeatCount="indefinite" fill="hold" grpId="0" nodeType="withEffect">
                                  <p:stCondLst>
                                    <p:cond delay="3500"/>
                                  </p:stCondLst>
                                  <p:childTnLst>
                                    <p:animEffect transition="out" filter="fade">
                                      <p:cBhvr>
                                        <p:cTn id="553" dur="2000" tmFilter="0, 0; .2, .5; .8, .5; 1, 0"/>
                                        <p:tgtEl>
                                          <p:spTgt spid="183"/>
                                        </p:tgtEl>
                                      </p:cBhvr>
                                    </p:animEffect>
                                    <p:animScale>
                                      <p:cBhvr>
                                        <p:cTn id="554" dur="1000" autoRev="1" fill="hold"/>
                                        <p:tgtEl>
                                          <p:spTgt spid="183"/>
                                        </p:tgtEl>
                                      </p:cBhvr>
                                      <p:by x="105000" y="105000"/>
                                    </p:animScale>
                                  </p:childTnLst>
                                </p:cTn>
                              </p:par>
                              <p:par>
                                <p:cTn id="555" presetID="26" presetClass="emph" presetSubtype="0" dur="2000" repeatCount="indefinite" fill="hold" grpId="0" nodeType="withEffect">
                                  <p:stCondLst>
                                    <p:cond delay="3500"/>
                                  </p:stCondLst>
                                  <p:childTnLst>
                                    <p:animEffect transition="out" filter="fade">
                                      <p:cBhvr>
                                        <p:cTn id="556" dur="2000" tmFilter="0, 0; .2, .5; .8, .5; 1, 0"/>
                                        <p:tgtEl>
                                          <p:spTgt spid="200"/>
                                        </p:tgtEl>
                                      </p:cBhvr>
                                    </p:animEffect>
                                    <p:animScale>
                                      <p:cBhvr>
                                        <p:cTn id="557" dur="1000" autoRev="1" fill="hold"/>
                                        <p:tgtEl>
                                          <p:spTgt spid="200"/>
                                        </p:tgtEl>
                                      </p:cBhvr>
                                      <p:by x="105000" y="105000"/>
                                    </p:animScale>
                                  </p:childTnLst>
                                </p:cTn>
                              </p:par>
                              <p:par>
                                <p:cTn id="558" presetID="26" presetClass="emph" presetSubtype="0" dur="2000" repeatCount="indefinite" fill="hold" grpId="0" nodeType="withEffect">
                                  <p:stCondLst>
                                    <p:cond delay="3500"/>
                                  </p:stCondLst>
                                  <p:childTnLst>
                                    <p:animEffect transition="out" filter="fade">
                                      <p:cBhvr>
                                        <p:cTn id="559" dur="2000" tmFilter="0, 0; .2, .5; .8, .5; 1, 0"/>
                                        <p:tgtEl>
                                          <p:spTgt spid="217"/>
                                        </p:tgtEl>
                                      </p:cBhvr>
                                    </p:animEffect>
                                    <p:animScale>
                                      <p:cBhvr>
                                        <p:cTn id="560" dur="1000" autoRev="1" fill="hold"/>
                                        <p:tgtEl>
                                          <p:spTgt spid="217"/>
                                        </p:tgtEl>
                                      </p:cBhvr>
                                      <p:by x="105000" y="105000"/>
                                    </p:animScale>
                                  </p:childTnLst>
                                </p:cTn>
                              </p:par>
                              <p:par>
                                <p:cTn id="561" presetID="26" presetClass="emph" presetSubtype="0" dur="2000" repeatCount="indefinite" fill="hold" grpId="0" nodeType="withEffect">
                                  <p:stCondLst>
                                    <p:cond delay="3500"/>
                                  </p:stCondLst>
                                  <p:childTnLst>
                                    <p:animEffect transition="out" filter="fade">
                                      <p:cBhvr>
                                        <p:cTn id="562" dur="2000" tmFilter="0, 0; .2, .5; .8, .5; 1, 0"/>
                                        <p:tgtEl>
                                          <p:spTgt spid="233"/>
                                        </p:tgtEl>
                                      </p:cBhvr>
                                    </p:animEffect>
                                    <p:animScale>
                                      <p:cBhvr>
                                        <p:cTn id="563" dur="1000" autoRev="1" fill="hold"/>
                                        <p:tgtEl>
                                          <p:spTgt spid="233"/>
                                        </p:tgtEl>
                                      </p:cBhvr>
                                      <p:by x="105000" y="105000"/>
                                    </p:animScale>
                                  </p:childTnLst>
                                </p:cTn>
                              </p:par>
                              <p:par>
                                <p:cTn id="564" presetID="26" presetClass="emph" presetSubtype="0" dur="2000" repeatCount="indefinite" fill="hold" grpId="0" nodeType="withEffect">
                                  <p:stCondLst>
                                    <p:cond delay="3750"/>
                                  </p:stCondLst>
                                  <p:childTnLst>
                                    <p:animEffect transition="out" filter="fade">
                                      <p:cBhvr>
                                        <p:cTn id="565" dur="2000" tmFilter="0, 0; .2, .5; .8, .5; 1, 0"/>
                                        <p:tgtEl>
                                          <p:spTgt spid="37"/>
                                        </p:tgtEl>
                                      </p:cBhvr>
                                    </p:animEffect>
                                    <p:animScale>
                                      <p:cBhvr>
                                        <p:cTn id="566" dur="1000" autoRev="1" fill="hold"/>
                                        <p:tgtEl>
                                          <p:spTgt spid="37"/>
                                        </p:tgtEl>
                                      </p:cBhvr>
                                      <p:by x="105000" y="105000"/>
                                    </p:animScale>
                                  </p:childTnLst>
                                </p:cTn>
                              </p:par>
                              <p:par>
                                <p:cTn id="567" presetID="26" presetClass="emph" presetSubtype="0" dur="2000" repeatCount="indefinite" fill="hold" grpId="0" nodeType="withEffect">
                                  <p:stCondLst>
                                    <p:cond delay="3750"/>
                                  </p:stCondLst>
                                  <p:childTnLst>
                                    <p:animEffect transition="out" filter="fade">
                                      <p:cBhvr>
                                        <p:cTn id="568" dur="2000" tmFilter="0, 0; .2, .5; .8, .5; 1, 0"/>
                                        <p:tgtEl>
                                          <p:spTgt spid="53"/>
                                        </p:tgtEl>
                                      </p:cBhvr>
                                    </p:animEffect>
                                    <p:animScale>
                                      <p:cBhvr>
                                        <p:cTn id="569" dur="1000" autoRev="1" fill="hold"/>
                                        <p:tgtEl>
                                          <p:spTgt spid="53"/>
                                        </p:tgtEl>
                                      </p:cBhvr>
                                      <p:by x="105000" y="105000"/>
                                    </p:animScale>
                                  </p:childTnLst>
                                </p:cTn>
                              </p:par>
                              <p:par>
                                <p:cTn id="570" presetID="26" presetClass="emph" presetSubtype="0" dur="2000" repeatCount="indefinite" fill="hold" grpId="0" nodeType="withEffect">
                                  <p:stCondLst>
                                    <p:cond delay="3750"/>
                                  </p:stCondLst>
                                  <p:childTnLst>
                                    <p:animEffect transition="out" filter="fade">
                                      <p:cBhvr>
                                        <p:cTn id="571" dur="2000" tmFilter="0, 0; .2, .5; .8, .5; 1, 0"/>
                                        <p:tgtEl>
                                          <p:spTgt spid="69"/>
                                        </p:tgtEl>
                                      </p:cBhvr>
                                    </p:animEffect>
                                    <p:animScale>
                                      <p:cBhvr>
                                        <p:cTn id="572" dur="1000" autoRev="1" fill="hold"/>
                                        <p:tgtEl>
                                          <p:spTgt spid="69"/>
                                        </p:tgtEl>
                                      </p:cBhvr>
                                      <p:by x="105000" y="105000"/>
                                    </p:animScale>
                                  </p:childTnLst>
                                </p:cTn>
                              </p:par>
                              <p:par>
                                <p:cTn id="573" presetID="26" presetClass="emph" presetSubtype="0" dur="2000" repeatCount="indefinite" fill="hold" grpId="0" nodeType="withEffect">
                                  <p:stCondLst>
                                    <p:cond delay="3750"/>
                                  </p:stCondLst>
                                  <p:childTnLst>
                                    <p:animEffect transition="out" filter="fade">
                                      <p:cBhvr>
                                        <p:cTn id="574" dur="2000" tmFilter="0, 0; .2, .5; .8, .5; 1, 0"/>
                                        <p:tgtEl>
                                          <p:spTgt spid="85"/>
                                        </p:tgtEl>
                                      </p:cBhvr>
                                    </p:animEffect>
                                    <p:animScale>
                                      <p:cBhvr>
                                        <p:cTn id="575" dur="1000" autoRev="1" fill="hold"/>
                                        <p:tgtEl>
                                          <p:spTgt spid="85"/>
                                        </p:tgtEl>
                                      </p:cBhvr>
                                      <p:by x="105000" y="105000"/>
                                    </p:animScale>
                                  </p:childTnLst>
                                </p:cTn>
                              </p:par>
                              <p:par>
                                <p:cTn id="576" presetID="26" presetClass="emph" presetSubtype="0" dur="2000" repeatCount="indefinite" fill="hold" grpId="0" nodeType="withEffect">
                                  <p:stCondLst>
                                    <p:cond delay="3750"/>
                                  </p:stCondLst>
                                  <p:childTnLst>
                                    <p:animEffect transition="out" filter="fade">
                                      <p:cBhvr>
                                        <p:cTn id="577" dur="2000" tmFilter="0, 0; .2, .5; .8, .5; 1, 0"/>
                                        <p:tgtEl>
                                          <p:spTgt spid="101"/>
                                        </p:tgtEl>
                                      </p:cBhvr>
                                    </p:animEffect>
                                    <p:animScale>
                                      <p:cBhvr>
                                        <p:cTn id="578" dur="1000" autoRev="1" fill="hold"/>
                                        <p:tgtEl>
                                          <p:spTgt spid="101"/>
                                        </p:tgtEl>
                                      </p:cBhvr>
                                      <p:by x="105000" y="105000"/>
                                    </p:animScale>
                                  </p:childTnLst>
                                </p:cTn>
                              </p:par>
                              <p:par>
                                <p:cTn id="579" presetID="26" presetClass="emph" presetSubtype="0" dur="2000" repeatCount="indefinite" fill="hold" grpId="0" nodeType="withEffect">
                                  <p:stCondLst>
                                    <p:cond delay="3750"/>
                                  </p:stCondLst>
                                  <p:childTnLst>
                                    <p:animEffect transition="out" filter="fade">
                                      <p:cBhvr>
                                        <p:cTn id="580" dur="2000" tmFilter="0, 0; .2, .5; .8, .5; 1, 0"/>
                                        <p:tgtEl>
                                          <p:spTgt spid="117"/>
                                        </p:tgtEl>
                                      </p:cBhvr>
                                    </p:animEffect>
                                    <p:animScale>
                                      <p:cBhvr>
                                        <p:cTn id="581" dur="1000" autoRev="1" fill="hold"/>
                                        <p:tgtEl>
                                          <p:spTgt spid="117"/>
                                        </p:tgtEl>
                                      </p:cBhvr>
                                      <p:by x="105000" y="105000"/>
                                    </p:animScale>
                                  </p:childTnLst>
                                </p:cTn>
                              </p:par>
                              <p:par>
                                <p:cTn id="582" presetID="26" presetClass="emph" presetSubtype="0" dur="2000" repeatCount="indefinite" fill="hold" grpId="0" nodeType="withEffect">
                                  <p:stCondLst>
                                    <p:cond delay="3750"/>
                                  </p:stCondLst>
                                  <p:childTnLst>
                                    <p:animEffect transition="out" filter="fade">
                                      <p:cBhvr>
                                        <p:cTn id="583" dur="2000" tmFilter="0, 0; .2, .5; .8, .5; 1, 0"/>
                                        <p:tgtEl>
                                          <p:spTgt spid="133"/>
                                        </p:tgtEl>
                                      </p:cBhvr>
                                    </p:animEffect>
                                    <p:animScale>
                                      <p:cBhvr>
                                        <p:cTn id="584" dur="1000" autoRev="1" fill="hold"/>
                                        <p:tgtEl>
                                          <p:spTgt spid="133"/>
                                        </p:tgtEl>
                                      </p:cBhvr>
                                      <p:by x="105000" y="105000"/>
                                    </p:animScale>
                                  </p:childTnLst>
                                </p:cTn>
                              </p:par>
                              <p:par>
                                <p:cTn id="585" presetID="26" presetClass="emph" presetSubtype="0" dur="2000" repeatCount="indefinite" fill="hold" grpId="0" nodeType="withEffect">
                                  <p:stCondLst>
                                    <p:cond delay="3750"/>
                                  </p:stCondLst>
                                  <p:childTnLst>
                                    <p:animEffect transition="out" filter="fade">
                                      <p:cBhvr>
                                        <p:cTn id="586" dur="2000" tmFilter="0, 0; .2, .5; .8, .5; 1, 0"/>
                                        <p:tgtEl>
                                          <p:spTgt spid="150"/>
                                        </p:tgtEl>
                                      </p:cBhvr>
                                    </p:animEffect>
                                    <p:animScale>
                                      <p:cBhvr>
                                        <p:cTn id="587" dur="1000" autoRev="1" fill="hold"/>
                                        <p:tgtEl>
                                          <p:spTgt spid="150"/>
                                        </p:tgtEl>
                                      </p:cBhvr>
                                      <p:by x="105000" y="105000"/>
                                    </p:animScale>
                                  </p:childTnLst>
                                </p:cTn>
                              </p:par>
                              <p:par>
                                <p:cTn id="588" presetID="26" presetClass="emph" presetSubtype="0" dur="2000" repeatCount="indefinite" fill="hold" grpId="0" nodeType="withEffect">
                                  <p:stCondLst>
                                    <p:cond delay="3750"/>
                                  </p:stCondLst>
                                  <p:childTnLst>
                                    <p:animEffect transition="out" filter="fade">
                                      <p:cBhvr>
                                        <p:cTn id="589" dur="2000" tmFilter="0, 0; .2, .5; .8, .5; 1, 0"/>
                                        <p:tgtEl>
                                          <p:spTgt spid="167"/>
                                        </p:tgtEl>
                                      </p:cBhvr>
                                    </p:animEffect>
                                    <p:animScale>
                                      <p:cBhvr>
                                        <p:cTn id="590" dur="1000" autoRev="1" fill="hold"/>
                                        <p:tgtEl>
                                          <p:spTgt spid="167"/>
                                        </p:tgtEl>
                                      </p:cBhvr>
                                      <p:by x="105000" y="105000"/>
                                    </p:animScale>
                                  </p:childTnLst>
                                </p:cTn>
                              </p:par>
                              <p:par>
                                <p:cTn id="591" presetID="26" presetClass="emph" presetSubtype="0" dur="2000" repeatCount="indefinite" fill="hold" grpId="0" nodeType="withEffect">
                                  <p:stCondLst>
                                    <p:cond delay="3750"/>
                                  </p:stCondLst>
                                  <p:childTnLst>
                                    <p:animEffect transition="out" filter="fade">
                                      <p:cBhvr>
                                        <p:cTn id="592" dur="2000" tmFilter="0, 0; .2, .5; .8, .5; 1, 0"/>
                                        <p:tgtEl>
                                          <p:spTgt spid="184"/>
                                        </p:tgtEl>
                                      </p:cBhvr>
                                    </p:animEffect>
                                    <p:animScale>
                                      <p:cBhvr>
                                        <p:cTn id="593" dur="1000" autoRev="1" fill="hold"/>
                                        <p:tgtEl>
                                          <p:spTgt spid="184"/>
                                        </p:tgtEl>
                                      </p:cBhvr>
                                      <p:by x="105000" y="105000"/>
                                    </p:animScale>
                                  </p:childTnLst>
                                </p:cTn>
                              </p:par>
                              <p:par>
                                <p:cTn id="594" presetID="26" presetClass="emph" presetSubtype="0" dur="2000" repeatCount="indefinite" fill="hold" grpId="0" nodeType="withEffect">
                                  <p:stCondLst>
                                    <p:cond delay="3750"/>
                                  </p:stCondLst>
                                  <p:childTnLst>
                                    <p:animEffect transition="out" filter="fade">
                                      <p:cBhvr>
                                        <p:cTn id="595" dur="2000" tmFilter="0, 0; .2, .5; .8, .5; 1, 0"/>
                                        <p:tgtEl>
                                          <p:spTgt spid="201"/>
                                        </p:tgtEl>
                                      </p:cBhvr>
                                    </p:animEffect>
                                    <p:animScale>
                                      <p:cBhvr>
                                        <p:cTn id="596" dur="1000" autoRev="1" fill="hold"/>
                                        <p:tgtEl>
                                          <p:spTgt spid="201"/>
                                        </p:tgtEl>
                                      </p:cBhvr>
                                      <p:by x="105000" y="105000"/>
                                    </p:animScale>
                                  </p:childTnLst>
                                </p:cTn>
                              </p:par>
                              <p:par>
                                <p:cTn id="597" presetID="26" presetClass="emph" presetSubtype="0" dur="2000" repeatCount="indefinite" fill="hold" grpId="0" nodeType="withEffect">
                                  <p:stCondLst>
                                    <p:cond delay="3750"/>
                                  </p:stCondLst>
                                  <p:childTnLst>
                                    <p:animEffect transition="out" filter="fade">
                                      <p:cBhvr>
                                        <p:cTn id="598" dur="2000" tmFilter="0, 0; .2, .5; .8, .5; 1, 0"/>
                                        <p:tgtEl>
                                          <p:spTgt spid="218"/>
                                        </p:tgtEl>
                                      </p:cBhvr>
                                    </p:animEffect>
                                    <p:animScale>
                                      <p:cBhvr>
                                        <p:cTn id="599" dur="1000" autoRev="1" fill="hold"/>
                                        <p:tgtEl>
                                          <p:spTgt spid="218"/>
                                        </p:tgtEl>
                                      </p:cBhvr>
                                      <p:by x="105000" y="105000"/>
                                    </p:animScale>
                                  </p:childTnLst>
                                </p:cTn>
                              </p:par>
                              <p:par>
                                <p:cTn id="600" presetID="26" presetClass="emph" presetSubtype="0" dur="2000" repeatCount="indefinite" fill="hold" grpId="0" nodeType="withEffect">
                                  <p:stCondLst>
                                    <p:cond delay="4000"/>
                                  </p:stCondLst>
                                  <p:childTnLst>
                                    <p:animEffect transition="out" filter="fade">
                                      <p:cBhvr>
                                        <p:cTn id="601" dur="2000" tmFilter="0, 0; .2, .5; .8, .5; 1, 0"/>
                                        <p:tgtEl>
                                          <p:spTgt spid="54"/>
                                        </p:tgtEl>
                                      </p:cBhvr>
                                    </p:animEffect>
                                    <p:animScale>
                                      <p:cBhvr>
                                        <p:cTn id="602" dur="1000" autoRev="1" fill="hold"/>
                                        <p:tgtEl>
                                          <p:spTgt spid="54"/>
                                        </p:tgtEl>
                                      </p:cBhvr>
                                      <p:by x="105000" y="105000"/>
                                    </p:animScale>
                                  </p:childTnLst>
                                </p:cTn>
                              </p:par>
                              <p:par>
                                <p:cTn id="603" presetID="26" presetClass="emph" presetSubtype="0" dur="2000" repeatCount="indefinite" fill="hold" grpId="0" nodeType="withEffect">
                                  <p:stCondLst>
                                    <p:cond delay="4000"/>
                                  </p:stCondLst>
                                  <p:childTnLst>
                                    <p:animEffect transition="out" filter="fade">
                                      <p:cBhvr>
                                        <p:cTn id="604" dur="2000" tmFilter="0, 0; .2, .5; .8, .5; 1, 0"/>
                                        <p:tgtEl>
                                          <p:spTgt spid="70"/>
                                        </p:tgtEl>
                                      </p:cBhvr>
                                    </p:animEffect>
                                    <p:animScale>
                                      <p:cBhvr>
                                        <p:cTn id="605" dur="1000" autoRev="1" fill="hold"/>
                                        <p:tgtEl>
                                          <p:spTgt spid="70"/>
                                        </p:tgtEl>
                                      </p:cBhvr>
                                      <p:by x="105000" y="105000"/>
                                    </p:animScale>
                                  </p:childTnLst>
                                </p:cTn>
                              </p:par>
                              <p:par>
                                <p:cTn id="606" presetID="26" presetClass="emph" presetSubtype="0" dur="2000" repeatCount="indefinite" fill="hold" grpId="0" nodeType="withEffect">
                                  <p:stCondLst>
                                    <p:cond delay="4000"/>
                                  </p:stCondLst>
                                  <p:childTnLst>
                                    <p:animEffect transition="out" filter="fade">
                                      <p:cBhvr>
                                        <p:cTn id="607" dur="2000" tmFilter="0, 0; .2, .5; .8, .5; 1, 0"/>
                                        <p:tgtEl>
                                          <p:spTgt spid="86"/>
                                        </p:tgtEl>
                                      </p:cBhvr>
                                    </p:animEffect>
                                    <p:animScale>
                                      <p:cBhvr>
                                        <p:cTn id="608" dur="1000" autoRev="1" fill="hold"/>
                                        <p:tgtEl>
                                          <p:spTgt spid="86"/>
                                        </p:tgtEl>
                                      </p:cBhvr>
                                      <p:by x="105000" y="105000"/>
                                    </p:animScale>
                                  </p:childTnLst>
                                </p:cTn>
                              </p:par>
                              <p:par>
                                <p:cTn id="609" presetID="26" presetClass="emph" presetSubtype="0" dur="2000" repeatCount="indefinite" fill="hold" grpId="0" nodeType="withEffect">
                                  <p:stCondLst>
                                    <p:cond delay="4000"/>
                                  </p:stCondLst>
                                  <p:childTnLst>
                                    <p:animEffect transition="out" filter="fade">
                                      <p:cBhvr>
                                        <p:cTn id="610" dur="2000" tmFilter="0, 0; .2, .5; .8, .5; 1, 0"/>
                                        <p:tgtEl>
                                          <p:spTgt spid="102"/>
                                        </p:tgtEl>
                                      </p:cBhvr>
                                    </p:animEffect>
                                    <p:animScale>
                                      <p:cBhvr>
                                        <p:cTn id="611" dur="1000" autoRev="1" fill="hold"/>
                                        <p:tgtEl>
                                          <p:spTgt spid="102"/>
                                        </p:tgtEl>
                                      </p:cBhvr>
                                      <p:by x="105000" y="105000"/>
                                    </p:animScale>
                                  </p:childTnLst>
                                </p:cTn>
                              </p:par>
                              <p:par>
                                <p:cTn id="612" presetID="26" presetClass="emph" presetSubtype="0" dur="2000" repeatCount="indefinite" fill="hold" grpId="0" nodeType="withEffect">
                                  <p:stCondLst>
                                    <p:cond delay="4000"/>
                                  </p:stCondLst>
                                  <p:childTnLst>
                                    <p:animEffect transition="out" filter="fade">
                                      <p:cBhvr>
                                        <p:cTn id="613" dur="2000" tmFilter="0, 0; .2, .5; .8, .5; 1, 0"/>
                                        <p:tgtEl>
                                          <p:spTgt spid="118"/>
                                        </p:tgtEl>
                                      </p:cBhvr>
                                    </p:animEffect>
                                    <p:animScale>
                                      <p:cBhvr>
                                        <p:cTn id="614" dur="1000" autoRev="1" fill="hold"/>
                                        <p:tgtEl>
                                          <p:spTgt spid="118"/>
                                        </p:tgtEl>
                                      </p:cBhvr>
                                      <p:by x="105000" y="105000"/>
                                    </p:animScale>
                                  </p:childTnLst>
                                </p:cTn>
                              </p:par>
                              <p:par>
                                <p:cTn id="615" presetID="26" presetClass="emph" presetSubtype="0" dur="2000" repeatCount="indefinite" fill="hold" grpId="0" nodeType="withEffect">
                                  <p:stCondLst>
                                    <p:cond delay="4000"/>
                                  </p:stCondLst>
                                  <p:childTnLst>
                                    <p:animEffect transition="out" filter="fade">
                                      <p:cBhvr>
                                        <p:cTn id="616" dur="2000" tmFilter="0, 0; .2, .5; .8, .5; 1, 0"/>
                                        <p:tgtEl>
                                          <p:spTgt spid="134"/>
                                        </p:tgtEl>
                                      </p:cBhvr>
                                    </p:animEffect>
                                    <p:animScale>
                                      <p:cBhvr>
                                        <p:cTn id="617" dur="1000" autoRev="1" fill="hold"/>
                                        <p:tgtEl>
                                          <p:spTgt spid="134"/>
                                        </p:tgtEl>
                                      </p:cBhvr>
                                      <p:by x="105000" y="105000"/>
                                    </p:animScale>
                                  </p:childTnLst>
                                </p:cTn>
                              </p:par>
                              <p:par>
                                <p:cTn id="618" presetID="26" presetClass="emph" presetSubtype="0" dur="2000" repeatCount="indefinite" fill="hold" grpId="0" nodeType="withEffect">
                                  <p:stCondLst>
                                    <p:cond delay="4000"/>
                                  </p:stCondLst>
                                  <p:childTnLst>
                                    <p:animEffect transition="out" filter="fade">
                                      <p:cBhvr>
                                        <p:cTn id="619" dur="2000" tmFilter="0, 0; .2, .5; .8, .5; 1, 0"/>
                                        <p:tgtEl>
                                          <p:spTgt spid="151"/>
                                        </p:tgtEl>
                                      </p:cBhvr>
                                    </p:animEffect>
                                    <p:animScale>
                                      <p:cBhvr>
                                        <p:cTn id="620" dur="1000" autoRev="1" fill="hold"/>
                                        <p:tgtEl>
                                          <p:spTgt spid="151"/>
                                        </p:tgtEl>
                                      </p:cBhvr>
                                      <p:by x="105000" y="105000"/>
                                    </p:animScale>
                                  </p:childTnLst>
                                </p:cTn>
                              </p:par>
                              <p:par>
                                <p:cTn id="621" presetID="26" presetClass="emph" presetSubtype="0" dur="2000" repeatCount="indefinite" fill="hold" grpId="0" nodeType="withEffect">
                                  <p:stCondLst>
                                    <p:cond delay="4000"/>
                                  </p:stCondLst>
                                  <p:childTnLst>
                                    <p:animEffect transition="out" filter="fade">
                                      <p:cBhvr>
                                        <p:cTn id="622" dur="2000" tmFilter="0, 0; .2, .5; .8, .5; 1, 0"/>
                                        <p:tgtEl>
                                          <p:spTgt spid="168"/>
                                        </p:tgtEl>
                                      </p:cBhvr>
                                    </p:animEffect>
                                    <p:animScale>
                                      <p:cBhvr>
                                        <p:cTn id="623" dur="1000" autoRev="1" fill="hold"/>
                                        <p:tgtEl>
                                          <p:spTgt spid="168"/>
                                        </p:tgtEl>
                                      </p:cBhvr>
                                      <p:by x="105000" y="105000"/>
                                    </p:animScale>
                                  </p:childTnLst>
                                </p:cTn>
                              </p:par>
                              <p:par>
                                <p:cTn id="624" presetID="26" presetClass="emph" presetSubtype="0" dur="2000" repeatCount="indefinite" fill="hold" grpId="0" nodeType="withEffect">
                                  <p:stCondLst>
                                    <p:cond delay="4000"/>
                                  </p:stCondLst>
                                  <p:childTnLst>
                                    <p:animEffect transition="out" filter="fade">
                                      <p:cBhvr>
                                        <p:cTn id="625" dur="2000" tmFilter="0, 0; .2, .5; .8, .5; 1, 0"/>
                                        <p:tgtEl>
                                          <p:spTgt spid="185"/>
                                        </p:tgtEl>
                                      </p:cBhvr>
                                    </p:animEffect>
                                    <p:animScale>
                                      <p:cBhvr>
                                        <p:cTn id="626" dur="1000" autoRev="1" fill="hold"/>
                                        <p:tgtEl>
                                          <p:spTgt spid="185"/>
                                        </p:tgtEl>
                                      </p:cBhvr>
                                      <p:by x="105000" y="105000"/>
                                    </p:animScale>
                                  </p:childTnLst>
                                </p:cTn>
                              </p:par>
                              <p:par>
                                <p:cTn id="627" presetID="26" presetClass="emph" presetSubtype="0" dur="2000" repeatCount="indefinite" fill="hold" grpId="0" nodeType="withEffect">
                                  <p:stCondLst>
                                    <p:cond delay="4000"/>
                                  </p:stCondLst>
                                  <p:childTnLst>
                                    <p:animEffect transition="out" filter="fade">
                                      <p:cBhvr>
                                        <p:cTn id="628" dur="2000" tmFilter="0, 0; .2, .5; .8, .5; 1, 0"/>
                                        <p:tgtEl>
                                          <p:spTgt spid="202"/>
                                        </p:tgtEl>
                                      </p:cBhvr>
                                    </p:animEffect>
                                    <p:animScale>
                                      <p:cBhvr>
                                        <p:cTn id="629" dur="1000" autoRev="1" fill="hold"/>
                                        <p:tgtEl>
                                          <p:spTgt spid="202"/>
                                        </p:tgtEl>
                                      </p:cBhvr>
                                      <p:by x="105000" y="105000"/>
                                    </p:animScale>
                                  </p:childTnLst>
                                </p:cTn>
                              </p:par>
                              <p:par>
                                <p:cTn id="630" presetID="26" presetClass="emph" presetSubtype="0" dur="2000" repeatCount="indefinite" fill="hold" grpId="0" nodeType="withEffect">
                                  <p:stCondLst>
                                    <p:cond delay="4250"/>
                                  </p:stCondLst>
                                  <p:childTnLst>
                                    <p:animEffect transition="out" filter="fade">
                                      <p:cBhvr>
                                        <p:cTn id="631" dur="2000" tmFilter="0, 0; .2, .5; .8, .5; 1, 0"/>
                                        <p:tgtEl>
                                          <p:spTgt spid="71"/>
                                        </p:tgtEl>
                                      </p:cBhvr>
                                    </p:animEffect>
                                    <p:animScale>
                                      <p:cBhvr>
                                        <p:cTn id="632" dur="1000" autoRev="1" fill="hold"/>
                                        <p:tgtEl>
                                          <p:spTgt spid="71"/>
                                        </p:tgtEl>
                                      </p:cBhvr>
                                      <p:by x="105000" y="105000"/>
                                    </p:animScale>
                                  </p:childTnLst>
                                </p:cTn>
                              </p:par>
                              <p:par>
                                <p:cTn id="633" presetID="26" presetClass="emph" presetSubtype="0" dur="2000" repeatCount="indefinite" fill="hold" grpId="0" nodeType="withEffect">
                                  <p:stCondLst>
                                    <p:cond delay="4250"/>
                                  </p:stCondLst>
                                  <p:childTnLst>
                                    <p:animEffect transition="out" filter="fade">
                                      <p:cBhvr>
                                        <p:cTn id="634" dur="2000" tmFilter="0, 0; .2, .5; .8, .5; 1, 0"/>
                                        <p:tgtEl>
                                          <p:spTgt spid="87"/>
                                        </p:tgtEl>
                                      </p:cBhvr>
                                    </p:animEffect>
                                    <p:animScale>
                                      <p:cBhvr>
                                        <p:cTn id="635" dur="1000" autoRev="1" fill="hold"/>
                                        <p:tgtEl>
                                          <p:spTgt spid="87"/>
                                        </p:tgtEl>
                                      </p:cBhvr>
                                      <p:by x="105000" y="105000"/>
                                    </p:animScale>
                                  </p:childTnLst>
                                </p:cTn>
                              </p:par>
                              <p:par>
                                <p:cTn id="636" presetID="26" presetClass="emph" presetSubtype="0" dur="2000" repeatCount="indefinite" fill="hold" grpId="0" nodeType="withEffect">
                                  <p:stCondLst>
                                    <p:cond delay="4250"/>
                                  </p:stCondLst>
                                  <p:childTnLst>
                                    <p:animEffect transition="out" filter="fade">
                                      <p:cBhvr>
                                        <p:cTn id="637" dur="2000" tmFilter="0, 0; .2, .5; .8, .5; 1, 0"/>
                                        <p:tgtEl>
                                          <p:spTgt spid="103"/>
                                        </p:tgtEl>
                                      </p:cBhvr>
                                    </p:animEffect>
                                    <p:animScale>
                                      <p:cBhvr>
                                        <p:cTn id="638" dur="1000" autoRev="1" fill="hold"/>
                                        <p:tgtEl>
                                          <p:spTgt spid="103"/>
                                        </p:tgtEl>
                                      </p:cBhvr>
                                      <p:by x="105000" y="105000"/>
                                    </p:animScale>
                                  </p:childTnLst>
                                </p:cTn>
                              </p:par>
                              <p:par>
                                <p:cTn id="639" presetID="26" presetClass="emph" presetSubtype="0" dur="2000" repeatCount="indefinite" fill="hold" grpId="0" nodeType="withEffect">
                                  <p:stCondLst>
                                    <p:cond delay="4250"/>
                                  </p:stCondLst>
                                  <p:childTnLst>
                                    <p:animEffect transition="out" filter="fade">
                                      <p:cBhvr>
                                        <p:cTn id="640" dur="2000" tmFilter="0, 0; .2, .5; .8, .5; 1, 0"/>
                                        <p:tgtEl>
                                          <p:spTgt spid="119"/>
                                        </p:tgtEl>
                                      </p:cBhvr>
                                    </p:animEffect>
                                    <p:animScale>
                                      <p:cBhvr>
                                        <p:cTn id="641" dur="1000" autoRev="1" fill="hold"/>
                                        <p:tgtEl>
                                          <p:spTgt spid="119"/>
                                        </p:tgtEl>
                                      </p:cBhvr>
                                      <p:by x="105000" y="105000"/>
                                    </p:animScale>
                                  </p:childTnLst>
                                </p:cTn>
                              </p:par>
                              <p:par>
                                <p:cTn id="642" presetID="26" presetClass="emph" presetSubtype="0" dur="2000" repeatCount="indefinite" fill="hold" grpId="0" nodeType="withEffect">
                                  <p:stCondLst>
                                    <p:cond delay="4250"/>
                                  </p:stCondLst>
                                  <p:childTnLst>
                                    <p:animEffect transition="out" filter="fade">
                                      <p:cBhvr>
                                        <p:cTn id="643" dur="2000" tmFilter="0, 0; .2, .5; .8, .5; 1, 0"/>
                                        <p:tgtEl>
                                          <p:spTgt spid="135"/>
                                        </p:tgtEl>
                                      </p:cBhvr>
                                    </p:animEffect>
                                    <p:animScale>
                                      <p:cBhvr>
                                        <p:cTn id="644" dur="1000" autoRev="1" fill="hold"/>
                                        <p:tgtEl>
                                          <p:spTgt spid="135"/>
                                        </p:tgtEl>
                                      </p:cBhvr>
                                      <p:by x="105000" y="105000"/>
                                    </p:animScale>
                                  </p:childTnLst>
                                </p:cTn>
                              </p:par>
                              <p:par>
                                <p:cTn id="645" presetID="26" presetClass="emph" presetSubtype="0" dur="2000" repeatCount="indefinite" fill="hold" grpId="0" nodeType="withEffect">
                                  <p:stCondLst>
                                    <p:cond delay="4250"/>
                                  </p:stCondLst>
                                  <p:childTnLst>
                                    <p:animEffect transition="out" filter="fade">
                                      <p:cBhvr>
                                        <p:cTn id="646" dur="2000" tmFilter="0, 0; .2, .5; .8, .5; 1, 0"/>
                                        <p:tgtEl>
                                          <p:spTgt spid="152"/>
                                        </p:tgtEl>
                                      </p:cBhvr>
                                    </p:animEffect>
                                    <p:animScale>
                                      <p:cBhvr>
                                        <p:cTn id="647" dur="1000" autoRev="1" fill="hold"/>
                                        <p:tgtEl>
                                          <p:spTgt spid="152"/>
                                        </p:tgtEl>
                                      </p:cBhvr>
                                      <p:by x="105000" y="105000"/>
                                    </p:animScale>
                                  </p:childTnLst>
                                </p:cTn>
                              </p:par>
                              <p:par>
                                <p:cTn id="648" presetID="26" presetClass="emph" presetSubtype="0" dur="2000" repeatCount="indefinite" fill="hold" grpId="0" nodeType="withEffect">
                                  <p:stCondLst>
                                    <p:cond delay="4250"/>
                                  </p:stCondLst>
                                  <p:childTnLst>
                                    <p:animEffect transition="out" filter="fade">
                                      <p:cBhvr>
                                        <p:cTn id="649" dur="2000" tmFilter="0, 0; .2, .5; .8, .5; 1, 0"/>
                                        <p:tgtEl>
                                          <p:spTgt spid="169"/>
                                        </p:tgtEl>
                                      </p:cBhvr>
                                    </p:animEffect>
                                    <p:animScale>
                                      <p:cBhvr>
                                        <p:cTn id="650" dur="1000" autoRev="1" fill="hold"/>
                                        <p:tgtEl>
                                          <p:spTgt spid="169"/>
                                        </p:tgtEl>
                                      </p:cBhvr>
                                      <p:by x="105000" y="105000"/>
                                    </p:animScale>
                                  </p:childTnLst>
                                </p:cTn>
                              </p:par>
                              <p:par>
                                <p:cTn id="651" presetID="26" presetClass="emph" presetSubtype="0" dur="2000" repeatCount="indefinite" fill="hold" grpId="0" nodeType="withEffect">
                                  <p:stCondLst>
                                    <p:cond delay="4250"/>
                                  </p:stCondLst>
                                  <p:childTnLst>
                                    <p:animEffect transition="out" filter="fade">
                                      <p:cBhvr>
                                        <p:cTn id="652" dur="2000" tmFilter="0, 0; .2, .5; .8, .5; 1, 0"/>
                                        <p:tgtEl>
                                          <p:spTgt spid="186"/>
                                        </p:tgtEl>
                                      </p:cBhvr>
                                    </p:animEffect>
                                    <p:animScale>
                                      <p:cBhvr>
                                        <p:cTn id="653" dur="1000" autoRev="1" fill="hold"/>
                                        <p:tgtEl>
                                          <p:spTgt spid="186"/>
                                        </p:tgtEl>
                                      </p:cBhvr>
                                      <p:by x="105000" y="105000"/>
                                    </p:animScale>
                                  </p:childTnLst>
                                </p:cTn>
                              </p:par>
                              <p:par>
                                <p:cTn id="654" presetID="26" presetClass="emph" presetSubtype="0" dur="2000" repeatCount="indefinite" fill="hold" grpId="0" nodeType="withEffect">
                                  <p:stCondLst>
                                    <p:cond delay="4500"/>
                                  </p:stCondLst>
                                  <p:childTnLst>
                                    <p:animEffect transition="out" filter="fade">
                                      <p:cBhvr>
                                        <p:cTn id="655" dur="2000" tmFilter="0, 0; .2, .5; .8, .5; 1, 0"/>
                                        <p:tgtEl>
                                          <p:spTgt spid="88"/>
                                        </p:tgtEl>
                                      </p:cBhvr>
                                    </p:animEffect>
                                    <p:animScale>
                                      <p:cBhvr>
                                        <p:cTn id="656" dur="1000" autoRev="1" fill="hold"/>
                                        <p:tgtEl>
                                          <p:spTgt spid="88"/>
                                        </p:tgtEl>
                                      </p:cBhvr>
                                      <p:by x="105000" y="105000"/>
                                    </p:animScale>
                                  </p:childTnLst>
                                </p:cTn>
                              </p:par>
                              <p:par>
                                <p:cTn id="657" presetID="26" presetClass="emph" presetSubtype="0" dur="2000" repeatCount="indefinite" fill="hold" grpId="0" nodeType="withEffect">
                                  <p:stCondLst>
                                    <p:cond delay="4500"/>
                                  </p:stCondLst>
                                  <p:childTnLst>
                                    <p:animEffect transition="out" filter="fade">
                                      <p:cBhvr>
                                        <p:cTn id="658" dur="2000" tmFilter="0, 0; .2, .5; .8, .5; 1, 0"/>
                                        <p:tgtEl>
                                          <p:spTgt spid="104"/>
                                        </p:tgtEl>
                                      </p:cBhvr>
                                    </p:animEffect>
                                    <p:animScale>
                                      <p:cBhvr>
                                        <p:cTn id="659" dur="1000" autoRev="1" fill="hold"/>
                                        <p:tgtEl>
                                          <p:spTgt spid="104"/>
                                        </p:tgtEl>
                                      </p:cBhvr>
                                      <p:by x="105000" y="105000"/>
                                    </p:animScale>
                                  </p:childTnLst>
                                </p:cTn>
                              </p:par>
                              <p:par>
                                <p:cTn id="660" presetID="26" presetClass="emph" presetSubtype="0" dur="2000" repeatCount="indefinite" fill="hold" grpId="0" nodeType="withEffect">
                                  <p:stCondLst>
                                    <p:cond delay="4500"/>
                                  </p:stCondLst>
                                  <p:childTnLst>
                                    <p:animEffect transition="out" filter="fade">
                                      <p:cBhvr>
                                        <p:cTn id="661" dur="2000" tmFilter="0, 0; .2, .5; .8, .5; 1, 0"/>
                                        <p:tgtEl>
                                          <p:spTgt spid="120"/>
                                        </p:tgtEl>
                                      </p:cBhvr>
                                    </p:animEffect>
                                    <p:animScale>
                                      <p:cBhvr>
                                        <p:cTn id="662" dur="1000" autoRev="1" fill="hold"/>
                                        <p:tgtEl>
                                          <p:spTgt spid="120"/>
                                        </p:tgtEl>
                                      </p:cBhvr>
                                      <p:by x="105000" y="105000"/>
                                    </p:animScale>
                                  </p:childTnLst>
                                </p:cTn>
                              </p:par>
                              <p:par>
                                <p:cTn id="663" presetID="26" presetClass="emph" presetSubtype="0" dur="2000" repeatCount="indefinite" fill="hold" grpId="0" nodeType="withEffect">
                                  <p:stCondLst>
                                    <p:cond delay="4500"/>
                                  </p:stCondLst>
                                  <p:childTnLst>
                                    <p:animEffect transition="out" filter="fade">
                                      <p:cBhvr>
                                        <p:cTn id="664" dur="2000" tmFilter="0, 0; .2, .5; .8, .5; 1, 0"/>
                                        <p:tgtEl>
                                          <p:spTgt spid="136"/>
                                        </p:tgtEl>
                                      </p:cBhvr>
                                    </p:animEffect>
                                    <p:animScale>
                                      <p:cBhvr>
                                        <p:cTn id="665" dur="1000" autoRev="1" fill="hold"/>
                                        <p:tgtEl>
                                          <p:spTgt spid="136"/>
                                        </p:tgtEl>
                                      </p:cBhvr>
                                      <p:by x="105000" y="105000"/>
                                    </p:animScale>
                                  </p:childTnLst>
                                </p:cTn>
                              </p:par>
                              <p:par>
                                <p:cTn id="666" presetID="26" presetClass="emph" presetSubtype="0" dur="2000" repeatCount="indefinite" fill="hold" grpId="0" nodeType="withEffect">
                                  <p:stCondLst>
                                    <p:cond delay="4500"/>
                                  </p:stCondLst>
                                  <p:childTnLst>
                                    <p:animEffect transition="out" filter="fade">
                                      <p:cBhvr>
                                        <p:cTn id="667" dur="2000" tmFilter="0, 0; .2, .5; .8, .5; 1, 0"/>
                                        <p:tgtEl>
                                          <p:spTgt spid="153"/>
                                        </p:tgtEl>
                                      </p:cBhvr>
                                    </p:animEffect>
                                    <p:animScale>
                                      <p:cBhvr>
                                        <p:cTn id="668" dur="1000" autoRev="1" fill="hold"/>
                                        <p:tgtEl>
                                          <p:spTgt spid="153"/>
                                        </p:tgtEl>
                                      </p:cBhvr>
                                      <p:by x="105000" y="105000"/>
                                    </p:animScale>
                                  </p:childTnLst>
                                </p:cTn>
                              </p:par>
                              <p:par>
                                <p:cTn id="669" presetID="26" presetClass="emph" presetSubtype="0" dur="2000" repeatCount="indefinite" fill="hold" grpId="0" nodeType="withEffect">
                                  <p:stCondLst>
                                    <p:cond delay="4500"/>
                                  </p:stCondLst>
                                  <p:childTnLst>
                                    <p:animEffect transition="out" filter="fade">
                                      <p:cBhvr>
                                        <p:cTn id="670" dur="2000" tmFilter="0, 0; .2, .5; .8, .5; 1, 0"/>
                                        <p:tgtEl>
                                          <p:spTgt spid="170"/>
                                        </p:tgtEl>
                                      </p:cBhvr>
                                    </p:animEffect>
                                    <p:animScale>
                                      <p:cBhvr>
                                        <p:cTn id="671" dur="1000" autoRev="1" fill="hold"/>
                                        <p:tgtEl>
                                          <p:spTgt spid="170"/>
                                        </p:tgtEl>
                                      </p:cBhvr>
                                      <p:by x="105000" y="105000"/>
                                    </p:animScale>
                                  </p:childTnLst>
                                </p:cTn>
                              </p:par>
                              <p:par>
                                <p:cTn id="672" presetID="26" presetClass="emph" presetSubtype="0" dur="2000" repeatCount="indefinite" fill="hold" grpId="0" nodeType="withEffect">
                                  <p:stCondLst>
                                    <p:cond delay="4750"/>
                                  </p:stCondLst>
                                  <p:childTnLst>
                                    <p:animEffect transition="out" filter="fade">
                                      <p:cBhvr>
                                        <p:cTn id="673" dur="2000" tmFilter="0, 0; .2, .5; .8, .5; 1, 0"/>
                                        <p:tgtEl>
                                          <p:spTgt spid="105"/>
                                        </p:tgtEl>
                                      </p:cBhvr>
                                    </p:animEffect>
                                    <p:animScale>
                                      <p:cBhvr>
                                        <p:cTn id="674" dur="1000" autoRev="1" fill="hold"/>
                                        <p:tgtEl>
                                          <p:spTgt spid="105"/>
                                        </p:tgtEl>
                                      </p:cBhvr>
                                      <p:by x="105000" y="105000"/>
                                    </p:animScale>
                                  </p:childTnLst>
                                </p:cTn>
                              </p:par>
                              <p:par>
                                <p:cTn id="675" presetID="26" presetClass="emph" presetSubtype="0" dur="2000" repeatCount="indefinite" fill="hold" grpId="0" nodeType="withEffect">
                                  <p:stCondLst>
                                    <p:cond delay="4750"/>
                                  </p:stCondLst>
                                  <p:childTnLst>
                                    <p:animEffect transition="out" filter="fade">
                                      <p:cBhvr>
                                        <p:cTn id="676" dur="2000" tmFilter="0, 0; .2, .5; .8, .5; 1, 0"/>
                                        <p:tgtEl>
                                          <p:spTgt spid="121"/>
                                        </p:tgtEl>
                                      </p:cBhvr>
                                    </p:animEffect>
                                    <p:animScale>
                                      <p:cBhvr>
                                        <p:cTn id="677" dur="1000" autoRev="1" fill="hold"/>
                                        <p:tgtEl>
                                          <p:spTgt spid="121"/>
                                        </p:tgtEl>
                                      </p:cBhvr>
                                      <p:by x="105000" y="105000"/>
                                    </p:animScale>
                                  </p:childTnLst>
                                </p:cTn>
                              </p:par>
                              <p:par>
                                <p:cTn id="678" presetID="26" presetClass="emph" presetSubtype="0" dur="2000" repeatCount="indefinite" fill="hold" grpId="0" nodeType="withEffect">
                                  <p:stCondLst>
                                    <p:cond delay="4750"/>
                                  </p:stCondLst>
                                  <p:childTnLst>
                                    <p:animEffect transition="out" filter="fade">
                                      <p:cBhvr>
                                        <p:cTn id="679" dur="2000" tmFilter="0, 0; .2, .5; .8, .5; 1, 0"/>
                                        <p:tgtEl>
                                          <p:spTgt spid="137"/>
                                        </p:tgtEl>
                                      </p:cBhvr>
                                    </p:animEffect>
                                    <p:animScale>
                                      <p:cBhvr>
                                        <p:cTn id="680" dur="1000" autoRev="1" fill="hold"/>
                                        <p:tgtEl>
                                          <p:spTgt spid="137"/>
                                        </p:tgtEl>
                                      </p:cBhvr>
                                      <p:by x="105000" y="105000"/>
                                    </p:animScale>
                                  </p:childTnLst>
                                </p:cTn>
                              </p:par>
                              <p:par>
                                <p:cTn id="681" presetID="26" presetClass="emph" presetSubtype="0" dur="2000" repeatCount="indefinite" fill="hold" grpId="0" nodeType="withEffect">
                                  <p:stCondLst>
                                    <p:cond delay="4750"/>
                                  </p:stCondLst>
                                  <p:childTnLst>
                                    <p:animEffect transition="out" filter="fade">
                                      <p:cBhvr>
                                        <p:cTn id="682" dur="2000" tmFilter="0, 0; .2, .5; .8, .5; 1, 0"/>
                                        <p:tgtEl>
                                          <p:spTgt spid="154"/>
                                        </p:tgtEl>
                                      </p:cBhvr>
                                    </p:animEffect>
                                    <p:animScale>
                                      <p:cBhvr>
                                        <p:cTn id="683" dur="1000" autoRev="1" fill="hold"/>
                                        <p:tgtEl>
                                          <p:spTgt spid="154"/>
                                        </p:tgtEl>
                                      </p:cBhvr>
                                      <p:by x="105000" y="105000"/>
                                    </p:animScale>
                                  </p:childTnLst>
                                </p:cTn>
                              </p:par>
                              <p:par>
                                <p:cTn id="684" presetID="26" presetClass="emph" presetSubtype="0" dur="2000" repeatCount="indefinite" fill="hold" grpId="0" nodeType="withEffect">
                                  <p:stCondLst>
                                    <p:cond delay="5000"/>
                                  </p:stCondLst>
                                  <p:childTnLst>
                                    <p:animEffect transition="out" filter="fade">
                                      <p:cBhvr>
                                        <p:cTn id="685" dur="2000" tmFilter="0, 0; .2, .5; .8, .5; 1, 0"/>
                                        <p:tgtEl>
                                          <p:spTgt spid="122"/>
                                        </p:tgtEl>
                                      </p:cBhvr>
                                    </p:animEffect>
                                    <p:animScale>
                                      <p:cBhvr>
                                        <p:cTn id="686" dur="1000" autoRev="1" fill="hold"/>
                                        <p:tgtEl>
                                          <p:spTgt spid="122"/>
                                        </p:tgtEl>
                                      </p:cBhvr>
                                      <p:by x="105000" y="105000"/>
                                    </p:animScale>
                                  </p:childTnLst>
                                </p:cTn>
                              </p:par>
                              <p:par>
                                <p:cTn id="687" presetID="26" presetClass="emph" presetSubtype="0" dur="2000" repeatCount="indefinite" fill="hold" grpId="0" nodeType="withEffect">
                                  <p:stCondLst>
                                    <p:cond delay="5000"/>
                                  </p:stCondLst>
                                  <p:childTnLst>
                                    <p:animEffect transition="out" filter="fade">
                                      <p:cBhvr>
                                        <p:cTn id="688" dur="2000" tmFilter="0, 0; .2, .5; .8, .5; 1, 0"/>
                                        <p:tgtEl>
                                          <p:spTgt spid="138"/>
                                        </p:tgtEl>
                                      </p:cBhvr>
                                    </p:animEffect>
                                    <p:animScale>
                                      <p:cBhvr>
                                        <p:cTn id="689" dur="1000" autoRev="1" fill="hold"/>
                                        <p:tgtEl>
                                          <p:spTgt spid="138"/>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2" grpId="0" animBg="1"/>
      <p:bldP spid="138" grpId="0" animBg="1"/>
      <p:bldP spid="105" grpId="0" animBg="1"/>
      <p:bldP spid="121" grpId="0" animBg="1"/>
      <p:bldP spid="137" grpId="0" animBg="1"/>
      <p:bldP spid="154" grpId="0" animBg="1"/>
      <p:bldP spid="88" grpId="0" animBg="1"/>
      <p:bldP spid="104" grpId="0" animBg="1"/>
      <p:bldP spid="120" grpId="0" animBg="1"/>
      <p:bldP spid="136" grpId="0" animBg="1"/>
      <p:bldP spid="153" grpId="0" animBg="1"/>
      <p:bldP spid="170" grpId="0" animBg="1"/>
      <p:bldP spid="71" grpId="0" animBg="1"/>
      <p:bldP spid="87" grpId="0" animBg="1"/>
      <p:bldP spid="103" grpId="0" animBg="1"/>
      <p:bldP spid="119" grpId="0" animBg="1"/>
      <p:bldP spid="135" grpId="0" animBg="1"/>
      <p:bldP spid="152" grpId="0" animBg="1"/>
      <p:bldP spid="169" grpId="0" animBg="1"/>
      <p:bldP spid="186" grpId="0" animBg="1"/>
      <p:bldP spid="54" grpId="0" animBg="1"/>
      <p:bldP spid="70" grpId="0" animBg="1"/>
      <p:bldP spid="86" grpId="0" animBg="1"/>
      <p:bldP spid="102" grpId="0" animBg="1"/>
      <p:bldP spid="118" grpId="0" animBg="1"/>
      <p:bldP spid="134" grpId="0" animBg="1"/>
      <p:bldP spid="151" grpId="0" animBg="1"/>
      <p:bldP spid="168" grpId="0" animBg="1"/>
      <p:bldP spid="185" grpId="0" animBg="1"/>
      <p:bldP spid="202" grpId="0" animBg="1"/>
      <p:bldP spid="37" grpId="0" animBg="1"/>
      <p:bldP spid="53" grpId="0" animBg="1"/>
      <p:bldP spid="69" grpId="0" animBg="1"/>
      <p:bldP spid="85" grpId="0" animBg="1"/>
      <p:bldP spid="101" grpId="0" animBg="1"/>
      <p:bldP spid="117" grpId="0" animBg="1"/>
      <p:bldP spid="133" grpId="0" animBg="1"/>
      <p:bldP spid="150" grpId="0" animBg="1"/>
      <p:bldP spid="167" grpId="0" animBg="1"/>
      <p:bldP spid="184" grpId="0" animBg="1"/>
      <p:bldP spid="201" grpId="0" animBg="1"/>
      <p:bldP spid="218" grpId="0" animBg="1"/>
      <p:bldP spid="5" grpId="0" animBg="1"/>
      <p:bldP spid="22" grpId="0" animBg="1"/>
      <p:bldP spid="38" grpId="0" animBg="1"/>
      <p:bldP spid="203" grpId="0" animBg="1"/>
      <p:bldP spid="219" grpId="0" animBg="1"/>
      <p:bldP spid="6" grpId="0" animBg="1"/>
      <p:bldP spid="23" grpId="0" animBg="1"/>
      <p:bldP spid="39" grpId="0" animBg="1"/>
      <p:bldP spid="55" grpId="0" animBg="1"/>
      <p:bldP spid="187" grpId="0" animBg="1"/>
      <p:bldP spid="204" grpId="0" animBg="1"/>
      <p:bldP spid="220" grpId="0" animBg="1"/>
      <p:bldP spid="7" grpId="0" animBg="1"/>
      <p:bldP spid="24" grpId="0" animBg="1"/>
      <p:bldP spid="40" grpId="0" animBg="1"/>
      <p:bldP spid="56" grpId="0" animBg="1"/>
      <p:bldP spid="72" grpId="0" animBg="1"/>
      <p:bldP spid="171" grpId="0" animBg="1"/>
      <p:bldP spid="188" grpId="0" animBg="1"/>
      <p:bldP spid="205" grpId="0" animBg="1"/>
      <p:bldP spid="221" grpId="0" animBg="1"/>
      <p:bldP spid="8" grpId="0" animBg="1"/>
      <p:bldP spid="25" grpId="0" animBg="1"/>
      <p:bldP spid="41" grpId="0" animBg="1"/>
      <p:bldP spid="57" grpId="0" animBg="1"/>
      <p:bldP spid="73" grpId="0" animBg="1"/>
      <p:bldP spid="89" grpId="0" animBg="1"/>
      <p:bldP spid="155" grpId="0" animBg="1"/>
      <p:bldP spid="172" grpId="0" animBg="1"/>
      <p:bldP spid="189" grpId="0" animBg="1"/>
      <p:bldP spid="206" grpId="0" animBg="1"/>
      <p:bldP spid="222" grpId="0" animBg="1"/>
      <p:bldP spid="11" grpId="0" animBg="1"/>
      <p:bldP spid="26" grpId="0" animBg="1"/>
      <p:bldP spid="42" grpId="0" animBg="1"/>
      <p:bldP spid="58" grpId="0" animBg="1"/>
      <p:bldP spid="74" grpId="0" animBg="1"/>
      <p:bldP spid="90" grpId="0" animBg="1"/>
      <p:bldP spid="106" grpId="0" animBg="1"/>
      <p:bldP spid="139" grpId="0" animBg="1"/>
      <p:bldP spid="156" grpId="0" animBg="1"/>
      <p:bldP spid="173" grpId="0" animBg="1"/>
      <p:bldP spid="190" grpId="0" animBg="1"/>
      <p:bldP spid="207" grpId="0" animBg="1"/>
      <p:bldP spid="223" grpId="0" animBg="1"/>
      <p:bldP spid="12" grpId="0" animBg="1"/>
      <p:bldP spid="27" grpId="0" animBg="1"/>
      <p:bldP spid="43" grpId="0" animBg="1"/>
      <p:bldP spid="59" grpId="0" animBg="1"/>
      <p:bldP spid="75" grpId="0" animBg="1"/>
      <p:bldP spid="91" grpId="0" animBg="1"/>
      <p:bldP spid="107" grpId="0" animBg="1"/>
      <p:bldP spid="123" grpId="0" animBg="1"/>
      <p:bldP spid="140" grpId="0" animBg="1"/>
      <p:bldP spid="157" grpId="0" animBg="1"/>
      <p:bldP spid="174" grpId="0" animBg="1"/>
      <p:bldP spid="191" grpId="0" animBg="1"/>
      <p:bldP spid="208" grpId="0" animBg="1"/>
      <p:bldP spid="224" grpId="0" animBg="1"/>
      <p:bldP spid="13" grpId="0" animBg="1"/>
      <p:bldP spid="28" grpId="0" animBg="1"/>
      <p:bldP spid="44" grpId="0" animBg="1"/>
      <p:bldP spid="60" grpId="0" animBg="1"/>
      <p:bldP spid="76" grpId="0" animBg="1"/>
      <p:bldP spid="92" grpId="0" animBg="1"/>
      <p:bldP spid="108" grpId="0" animBg="1"/>
      <p:bldP spid="124" grpId="0" animBg="1"/>
      <p:bldP spid="141" grpId="0" animBg="1"/>
      <p:bldP spid="158" grpId="0" animBg="1"/>
      <p:bldP spid="175" grpId="0" animBg="1"/>
      <p:bldP spid="192" grpId="0" animBg="1"/>
      <p:bldP spid="209" grpId="0" animBg="1"/>
      <p:bldP spid="225" grpId="0" animBg="1"/>
      <p:bldP spid="14" grpId="0" animBg="1"/>
      <p:bldP spid="29" grpId="0" animBg="1"/>
      <p:bldP spid="45" grpId="0" animBg="1"/>
      <p:bldP spid="61" grpId="0" animBg="1"/>
      <p:bldP spid="77" grpId="0" animBg="1"/>
      <p:bldP spid="93" grpId="0" animBg="1"/>
      <p:bldP spid="109" grpId="0" animBg="1"/>
      <p:bldP spid="125" grpId="0" animBg="1"/>
      <p:bldP spid="142" grpId="0" animBg="1"/>
      <p:bldP spid="159" grpId="0" animBg="1"/>
      <p:bldP spid="176" grpId="0" animBg="1"/>
      <p:bldP spid="193" grpId="0" animBg="1"/>
      <p:bldP spid="210" grpId="0" animBg="1"/>
      <p:bldP spid="226" grpId="0" animBg="1"/>
      <p:bldP spid="15" grpId="0" animBg="1"/>
      <p:bldP spid="30" grpId="0" animBg="1"/>
      <p:bldP spid="46" grpId="0" animBg="1"/>
      <p:bldP spid="62" grpId="0" animBg="1"/>
      <p:bldP spid="78" grpId="0" animBg="1"/>
      <p:bldP spid="94" grpId="0" animBg="1"/>
      <p:bldP spid="110" grpId="0" animBg="1"/>
      <p:bldP spid="126" grpId="0" animBg="1"/>
      <p:bldP spid="143" grpId="0" animBg="1"/>
      <p:bldP spid="160" grpId="0" animBg="1"/>
      <p:bldP spid="177" grpId="0" animBg="1"/>
      <p:bldP spid="194" grpId="0" animBg="1"/>
      <p:bldP spid="211" grpId="0" animBg="1"/>
      <p:bldP spid="227" grpId="0" animBg="1"/>
      <p:bldP spid="16" grpId="0" animBg="1"/>
      <p:bldP spid="31" grpId="0" animBg="1"/>
      <p:bldP spid="47" grpId="0" animBg="1"/>
      <p:bldP spid="63" grpId="0" animBg="1"/>
      <p:bldP spid="79" grpId="0" animBg="1"/>
      <p:bldP spid="95" grpId="0" animBg="1"/>
      <p:bldP spid="111" grpId="0" animBg="1"/>
      <p:bldP spid="127" grpId="0" animBg="1"/>
      <p:bldP spid="144" grpId="0" animBg="1"/>
      <p:bldP spid="161" grpId="0" animBg="1"/>
      <p:bldP spid="178" grpId="0" animBg="1"/>
      <p:bldP spid="195" grpId="0" animBg="1"/>
      <p:bldP spid="212" grpId="0" animBg="1"/>
      <p:bldP spid="228" grpId="0" animBg="1"/>
      <p:bldP spid="17" grpId="0" animBg="1"/>
      <p:bldP spid="32" grpId="0" animBg="1"/>
      <p:bldP spid="48" grpId="0" animBg="1"/>
      <p:bldP spid="64" grpId="0" animBg="1"/>
      <p:bldP spid="80" grpId="0" animBg="1"/>
      <p:bldP spid="96" grpId="0" animBg="1"/>
      <p:bldP spid="112" grpId="0" animBg="1"/>
      <p:bldP spid="128" grpId="0" animBg="1"/>
      <p:bldP spid="145" grpId="0" animBg="1"/>
      <p:bldP spid="162" grpId="0" animBg="1"/>
      <p:bldP spid="179" grpId="0" animBg="1"/>
      <p:bldP spid="196" grpId="0" animBg="1"/>
      <p:bldP spid="213" grpId="0" animBg="1"/>
      <p:bldP spid="229" grpId="0" animBg="1"/>
      <p:bldP spid="18" grpId="0" animBg="1"/>
      <p:bldP spid="33" grpId="0" animBg="1"/>
      <p:bldP spid="49" grpId="0" animBg="1"/>
      <p:bldP spid="65" grpId="0" animBg="1"/>
      <p:bldP spid="81" grpId="0" animBg="1"/>
      <p:bldP spid="97" grpId="0" animBg="1"/>
      <p:bldP spid="113" grpId="0" animBg="1"/>
      <p:bldP spid="129" grpId="0" animBg="1"/>
      <p:bldP spid="146" grpId="0" animBg="1"/>
      <p:bldP spid="163" grpId="0" animBg="1"/>
      <p:bldP spid="180" grpId="0" animBg="1"/>
      <p:bldP spid="197" grpId="0" animBg="1"/>
      <p:bldP spid="214" grpId="0" animBg="1"/>
      <p:bldP spid="230" grpId="0" animBg="1"/>
      <p:bldP spid="19" grpId="0" animBg="1"/>
      <p:bldP spid="34" grpId="0" animBg="1"/>
      <p:bldP spid="50" grpId="0" animBg="1"/>
      <p:bldP spid="66" grpId="0" animBg="1"/>
      <p:bldP spid="82" grpId="0" animBg="1"/>
      <p:bldP spid="98" grpId="0" animBg="1"/>
      <p:bldP spid="114" grpId="0" animBg="1"/>
      <p:bldP spid="130" grpId="0" animBg="1"/>
      <p:bldP spid="147" grpId="0" animBg="1"/>
      <p:bldP spid="164" grpId="0" animBg="1"/>
      <p:bldP spid="181" grpId="0" animBg="1"/>
      <p:bldP spid="198" grpId="0" animBg="1"/>
      <p:bldP spid="215" grpId="0" animBg="1"/>
      <p:bldP spid="231" grpId="0" animBg="1"/>
      <p:bldP spid="20" grpId="0" animBg="1"/>
      <p:bldP spid="35" grpId="0" animBg="1"/>
      <p:bldP spid="51" grpId="0" animBg="1"/>
      <p:bldP spid="67" grpId="0" animBg="1"/>
      <p:bldP spid="83" grpId="0" animBg="1"/>
      <p:bldP spid="99" grpId="0" animBg="1"/>
      <p:bldP spid="115" grpId="0" animBg="1"/>
      <p:bldP spid="131" grpId="0" animBg="1"/>
      <p:bldP spid="148" grpId="0" animBg="1"/>
      <p:bldP spid="165" grpId="0" animBg="1"/>
      <p:bldP spid="182" grpId="0" animBg="1"/>
      <p:bldP spid="199" grpId="0" animBg="1"/>
      <p:bldP spid="216" grpId="0" animBg="1"/>
      <p:bldP spid="232" grpId="0" animBg="1"/>
      <p:bldP spid="21" grpId="0" animBg="1"/>
      <p:bldP spid="36" grpId="0" animBg="1"/>
      <p:bldP spid="52" grpId="0" animBg="1"/>
      <p:bldP spid="68" grpId="0" animBg="1"/>
      <p:bldP spid="84" grpId="0" animBg="1"/>
      <p:bldP spid="100" grpId="0" animBg="1"/>
      <p:bldP spid="116" grpId="0" animBg="1"/>
      <p:bldP spid="132" grpId="0" animBg="1"/>
      <p:bldP spid="149" grpId="0" animBg="1"/>
      <p:bldP spid="166" grpId="0" animBg="1"/>
      <p:bldP spid="183" grpId="0" animBg="1"/>
      <p:bldP spid="200" grpId="0" animBg="1"/>
      <p:bldP spid="217" grpId="0" animBg="1"/>
      <p:bldP spid="233" grpId="0" animBg="1"/>
      <p:bldP spid="10" grpId="0">
        <p:tmplLst>
          <p:tmpl>
            <p:tnLst>
              <p:par>
                <p:cTn presetID="2" presetClass="entr" presetSubtype="8" decel="100000" fill="hold" nodeType="withEffect">
                  <p:stCondLst>
                    <p:cond delay="0"/>
                  </p:stCondLst>
                  <p:childTnLst>
                    <p:set>
                      <p:cBhvr>
                        <p:cTn dur="1" fill="hold">
                          <p:stCondLst>
                            <p:cond delay="0"/>
                          </p:stCondLst>
                        </p:cTn>
                        <p:tgtEl>
                          <p:spTgt spid="10"/>
                        </p:tgtEl>
                        <p:attrNameLst>
                          <p:attrName>style.visibility</p:attrName>
                        </p:attrNameLst>
                      </p:cBhvr>
                      <p:to>
                        <p:strVal val="visible"/>
                      </p:to>
                    </p:set>
                    <p:anim calcmode="lin" valueType="num">
                      <p:cBhvr additive="base">
                        <p:cTn dur="1000" fill="hold"/>
                        <p:tgtEl>
                          <p:spTgt spid="10"/>
                        </p:tgtEl>
                        <p:attrNameLst>
                          <p:attrName>ppt_x</p:attrName>
                        </p:attrNameLst>
                      </p:cBhvr>
                      <p:tavLst>
                        <p:tav tm="0">
                          <p:val>
                            <p:strVal val="0-#ppt_w/2"/>
                          </p:val>
                        </p:tav>
                        <p:tav tm="100000">
                          <p:val>
                            <p:strVal val="#ppt_x"/>
                          </p:val>
                        </p:tav>
                      </p:tavLst>
                    </p:anim>
                    <p:anim calcmode="lin" valueType="num">
                      <p:cBhvr additive="base">
                        <p:cTn dur="1000" fill="hold"/>
                        <p:tgtEl>
                          <p:spTgt spid="10"/>
                        </p:tgtEl>
                        <p:attrNameLst>
                          <p:attrName>ppt_y</p:attrName>
                        </p:attrNameLst>
                      </p:cBhvr>
                      <p:tavLst>
                        <p:tav tm="0">
                          <p:val>
                            <p:strVal val="#ppt_y"/>
                          </p:val>
                        </p:tav>
                        <p:tav tm="100000">
                          <p:val>
                            <p:strVal val="#ppt_y"/>
                          </p:val>
                        </p:tav>
                      </p:tavLst>
                    </p:anim>
                  </p:childTnLst>
                </p:cTn>
              </p:par>
            </p:tnLst>
          </p:tmpl>
        </p:tmplLst>
      </p:bldP>
    </p:bldLst>
  </p:timing>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B4B4809C-E50B-407D-8E75-04DD099A75C9}"/>
              </a:ext>
            </a:extLst>
          </p:cNvPr>
          <p:cNvGraphicFramePr>
            <a:graphicFrameLocks noChangeAspect="1"/>
          </p:cNvGraphicFramePr>
          <p:nvPr userDrawn="1">
            <p:custDataLst>
              <p:tags r:id="rId1"/>
            </p:custDataLst>
            <p:extLst>
              <p:ext uri="{D42A27DB-BD31-4B8C-83A1-F6EECF244321}">
                <p14:modId xmlns:p14="http://schemas.microsoft.com/office/powerpoint/2010/main" val="1470282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2" name="Objekt 1" hidden="1">
                        <a:extLst>
                          <a:ext uri="{FF2B5EF4-FFF2-40B4-BE49-F238E27FC236}">
                            <a16:creationId xmlns:a16="http://schemas.microsoft.com/office/drawing/2014/main" id="{B4B4809C-E50B-407D-8E75-04DD099A75C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Foliennummernplatzhalter 2">
            <a:extLst>
              <a:ext uri="{FF2B5EF4-FFF2-40B4-BE49-F238E27FC236}">
                <a16:creationId xmlns:a16="http://schemas.microsoft.com/office/drawing/2014/main" id="{5B327254-466C-4606-8589-BCC72CBDADDF}"/>
              </a:ext>
            </a:extLst>
          </p:cNvPr>
          <p:cNvSpPr>
            <a:spLocks noGrp="1"/>
          </p:cNvSpPr>
          <p:nvPr>
            <p:ph type="sldNum" sz="quarter" idx="10"/>
          </p:nvPr>
        </p:nvSpPr>
        <p:spPr/>
        <p:txBody>
          <a:bodyPr/>
          <a:lstStyle>
            <a:lvl1pPr rtl="0">
              <a:defRPr/>
            </a:lvl1pPr>
          </a:lstStyle>
          <a:p>
            <a:fld id="{A04BEB4F-8CE1-4F18-986F-6CE0A0BE9470}" type="slidenum">
              <a:rPr lang="en-US" smtClean="0"/>
              <a:t>‹#›</a:t>
            </a:fld>
            <a:endParaRPr lang="en-US"/>
          </a:p>
        </p:txBody>
      </p:sp>
      <p:sp>
        <p:nvSpPr>
          <p:cNvPr id="122" name="Freihandform: Form 121">
            <a:extLst>
              <a:ext uri="{FF2B5EF4-FFF2-40B4-BE49-F238E27FC236}">
                <a16:creationId xmlns:a16="http://schemas.microsoft.com/office/drawing/2014/main" id="{BC43029A-5265-4954-A3A5-CD3CB5C7478D}"/>
              </a:ext>
            </a:extLst>
          </p:cNvPr>
          <p:cNvSpPr/>
          <p:nvPr/>
        </p:nvSpPr>
        <p:spPr>
          <a:xfrm>
            <a:off x="11841261" y="4050916"/>
            <a:ext cx="347243" cy="376374"/>
          </a:xfrm>
          <a:custGeom>
            <a:avLst/>
            <a:gdLst>
              <a:gd name="connsiteX0" fmla="*/ 158473 w 347243"/>
              <a:gd name="connsiteY0" fmla="*/ 376375 h 376374"/>
              <a:gd name="connsiteX1" fmla="*/ 0 w 347243"/>
              <a:gd name="connsiteY1" fmla="*/ 376375 h 376374"/>
              <a:gd name="connsiteX2" fmla="*/ 185274 w 347243"/>
              <a:gd name="connsiteY2" fmla="*/ 189935 h 376374"/>
              <a:gd name="connsiteX3" fmla="*/ 0 w 347243"/>
              <a:gd name="connsiteY3" fmla="*/ 0 h 376374"/>
              <a:gd name="connsiteX4" fmla="*/ 161969 w 347243"/>
              <a:gd name="connsiteY4" fmla="*/ 0 h 376374"/>
              <a:gd name="connsiteX5" fmla="*/ 347244 w 347243"/>
              <a:gd name="connsiteY5" fmla="*/ 185274 h 376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7243" h="376374">
                <a:moveTo>
                  <a:pt x="158473" y="376375"/>
                </a:moveTo>
                <a:lnTo>
                  <a:pt x="0" y="376375"/>
                </a:lnTo>
                <a:lnTo>
                  <a:pt x="185274" y="189935"/>
                </a:lnTo>
                <a:lnTo>
                  <a:pt x="0" y="0"/>
                </a:lnTo>
                <a:lnTo>
                  <a:pt x="161969" y="0"/>
                </a:lnTo>
                <a:lnTo>
                  <a:pt x="347244" y="185274"/>
                </a:lnTo>
                <a:close/>
              </a:path>
            </a:pathLst>
          </a:custGeom>
          <a:solidFill>
            <a:srgbClr val="EEF2F5"/>
          </a:solidFill>
          <a:ln w="11643" cap="flat">
            <a:noFill/>
            <a:prstDash val="solid"/>
            <a:miter/>
          </a:ln>
        </p:spPr>
        <p:txBody>
          <a:bodyPr rtlCol="0" anchor="ctr"/>
          <a:lstStyle/>
          <a:p>
            <a:pPr rtl="0"/>
            <a:endParaRPr lang="en-US"/>
          </a:p>
        </p:txBody>
      </p:sp>
      <p:sp>
        <p:nvSpPr>
          <p:cNvPr id="138" name="Freihandform: Form 137">
            <a:extLst>
              <a:ext uri="{FF2B5EF4-FFF2-40B4-BE49-F238E27FC236}">
                <a16:creationId xmlns:a16="http://schemas.microsoft.com/office/drawing/2014/main" id="{5B458F82-191F-4A0B-9761-26D447FE3BDA}"/>
              </a:ext>
            </a:extLst>
          </p:cNvPr>
          <p:cNvSpPr/>
          <p:nvPr/>
        </p:nvSpPr>
        <p:spPr>
          <a:xfrm>
            <a:off x="11841261" y="4405152"/>
            <a:ext cx="347243" cy="377540"/>
          </a:xfrm>
          <a:custGeom>
            <a:avLst/>
            <a:gdLst>
              <a:gd name="connsiteX0" fmla="*/ 158473 w 347243"/>
              <a:gd name="connsiteY0" fmla="*/ 377540 h 377540"/>
              <a:gd name="connsiteX1" fmla="*/ 0 w 347243"/>
              <a:gd name="connsiteY1" fmla="*/ 377540 h 377540"/>
              <a:gd name="connsiteX2" fmla="*/ 185274 w 347243"/>
              <a:gd name="connsiteY2" fmla="*/ 189935 h 377540"/>
              <a:gd name="connsiteX3" fmla="*/ 0 w 347243"/>
              <a:gd name="connsiteY3" fmla="*/ 0 h 377540"/>
              <a:gd name="connsiteX4" fmla="*/ 161969 w 347243"/>
              <a:gd name="connsiteY4" fmla="*/ 0 h 377540"/>
              <a:gd name="connsiteX5" fmla="*/ 347244 w 347243"/>
              <a:gd name="connsiteY5" fmla="*/ 185274 h 377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7243" h="377540">
                <a:moveTo>
                  <a:pt x="158473" y="377540"/>
                </a:moveTo>
                <a:lnTo>
                  <a:pt x="0" y="377540"/>
                </a:lnTo>
                <a:lnTo>
                  <a:pt x="185274" y="189935"/>
                </a:lnTo>
                <a:lnTo>
                  <a:pt x="0" y="0"/>
                </a:lnTo>
                <a:lnTo>
                  <a:pt x="161969" y="0"/>
                </a:lnTo>
                <a:lnTo>
                  <a:pt x="347244" y="185274"/>
                </a:lnTo>
                <a:close/>
              </a:path>
            </a:pathLst>
          </a:custGeom>
          <a:solidFill>
            <a:srgbClr val="EEF2F5"/>
          </a:solidFill>
          <a:ln w="11643" cap="flat">
            <a:noFill/>
            <a:prstDash val="solid"/>
            <a:miter/>
          </a:ln>
        </p:spPr>
        <p:txBody>
          <a:bodyPr rtlCol="0" anchor="ctr"/>
          <a:lstStyle/>
          <a:p>
            <a:pPr rtl="0"/>
            <a:endParaRPr lang="en-US"/>
          </a:p>
        </p:txBody>
      </p:sp>
      <p:sp>
        <p:nvSpPr>
          <p:cNvPr id="105" name="Freihandform: Form 104">
            <a:extLst>
              <a:ext uri="{FF2B5EF4-FFF2-40B4-BE49-F238E27FC236}">
                <a16:creationId xmlns:a16="http://schemas.microsoft.com/office/drawing/2014/main" id="{5C4533A5-54AE-4D76-A4AF-E6486B2E759F}"/>
              </a:ext>
            </a:extLst>
          </p:cNvPr>
          <p:cNvSpPr/>
          <p:nvPr/>
        </p:nvSpPr>
        <p:spPr>
          <a:xfrm>
            <a:off x="11494017" y="3704837"/>
            <a:ext cx="330930" cy="358896"/>
          </a:xfrm>
          <a:custGeom>
            <a:avLst/>
            <a:gdLst>
              <a:gd name="connsiteX0" fmla="*/ 151482 w 330930"/>
              <a:gd name="connsiteY0" fmla="*/ 358896 h 358896"/>
              <a:gd name="connsiteX1" fmla="*/ 0 w 330930"/>
              <a:gd name="connsiteY1" fmla="*/ 358896 h 358896"/>
              <a:gd name="connsiteX2" fmla="*/ 177118 w 330930"/>
              <a:gd name="connsiteY2" fmla="*/ 180613 h 358896"/>
              <a:gd name="connsiteX3" fmla="*/ 0 w 330930"/>
              <a:gd name="connsiteY3" fmla="*/ 0 h 358896"/>
              <a:gd name="connsiteX4" fmla="*/ 154979 w 330930"/>
              <a:gd name="connsiteY4" fmla="*/ 0 h 358896"/>
              <a:gd name="connsiteX5" fmla="*/ 330931 w 330930"/>
              <a:gd name="connsiteY5" fmla="*/ 175953 h 358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930" h="358896">
                <a:moveTo>
                  <a:pt x="151482" y="358896"/>
                </a:moveTo>
                <a:lnTo>
                  <a:pt x="0" y="358896"/>
                </a:lnTo>
                <a:lnTo>
                  <a:pt x="177118" y="180613"/>
                </a:lnTo>
                <a:lnTo>
                  <a:pt x="0" y="0"/>
                </a:lnTo>
                <a:lnTo>
                  <a:pt x="154979" y="0"/>
                </a:lnTo>
                <a:lnTo>
                  <a:pt x="330931" y="175953"/>
                </a:lnTo>
                <a:close/>
              </a:path>
            </a:pathLst>
          </a:custGeom>
          <a:solidFill>
            <a:srgbClr val="EEF2F5"/>
          </a:solidFill>
          <a:ln w="11643" cap="flat">
            <a:noFill/>
            <a:prstDash val="solid"/>
            <a:miter/>
          </a:ln>
        </p:spPr>
        <p:txBody>
          <a:bodyPr rtlCol="0" anchor="ctr"/>
          <a:lstStyle/>
          <a:p>
            <a:pPr rtl="0"/>
            <a:endParaRPr lang="en-US"/>
          </a:p>
        </p:txBody>
      </p:sp>
      <p:sp>
        <p:nvSpPr>
          <p:cNvPr id="121" name="Freihandform: Form 120">
            <a:extLst>
              <a:ext uri="{FF2B5EF4-FFF2-40B4-BE49-F238E27FC236}">
                <a16:creationId xmlns:a16="http://schemas.microsoft.com/office/drawing/2014/main" id="{2C765BDB-0971-4930-98E2-992157EFF29E}"/>
              </a:ext>
            </a:extLst>
          </p:cNvPr>
          <p:cNvSpPr/>
          <p:nvPr/>
        </p:nvSpPr>
        <p:spPr>
          <a:xfrm>
            <a:off x="11494017" y="4059073"/>
            <a:ext cx="330930" cy="360061"/>
          </a:xfrm>
          <a:custGeom>
            <a:avLst/>
            <a:gdLst>
              <a:gd name="connsiteX0" fmla="*/ 151482 w 330930"/>
              <a:gd name="connsiteY0" fmla="*/ 360062 h 360061"/>
              <a:gd name="connsiteX1" fmla="*/ 0 w 330930"/>
              <a:gd name="connsiteY1" fmla="*/ 360062 h 360061"/>
              <a:gd name="connsiteX2" fmla="*/ 177118 w 330930"/>
              <a:gd name="connsiteY2" fmla="*/ 181779 h 360061"/>
              <a:gd name="connsiteX3" fmla="*/ 0 w 330930"/>
              <a:gd name="connsiteY3" fmla="*/ 0 h 360061"/>
              <a:gd name="connsiteX4" fmla="*/ 154979 w 330930"/>
              <a:gd name="connsiteY4" fmla="*/ 0 h 360061"/>
              <a:gd name="connsiteX5" fmla="*/ 330931 w 330930"/>
              <a:gd name="connsiteY5" fmla="*/ 177118 h 360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930" h="360061">
                <a:moveTo>
                  <a:pt x="151482" y="360062"/>
                </a:moveTo>
                <a:lnTo>
                  <a:pt x="0" y="360062"/>
                </a:lnTo>
                <a:lnTo>
                  <a:pt x="177118" y="181779"/>
                </a:lnTo>
                <a:lnTo>
                  <a:pt x="0" y="0"/>
                </a:lnTo>
                <a:lnTo>
                  <a:pt x="154979" y="0"/>
                </a:lnTo>
                <a:lnTo>
                  <a:pt x="330931" y="177118"/>
                </a:lnTo>
                <a:close/>
              </a:path>
            </a:pathLst>
          </a:custGeom>
          <a:solidFill>
            <a:srgbClr val="EEF2F5"/>
          </a:solidFill>
          <a:ln w="11643" cap="flat">
            <a:noFill/>
            <a:prstDash val="solid"/>
            <a:miter/>
          </a:ln>
        </p:spPr>
        <p:txBody>
          <a:bodyPr rtlCol="0" anchor="ctr"/>
          <a:lstStyle/>
          <a:p>
            <a:pPr rtl="0"/>
            <a:endParaRPr lang="en-US"/>
          </a:p>
        </p:txBody>
      </p:sp>
      <p:sp>
        <p:nvSpPr>
          <p:cNvPr id="137" name="Freihandform: Form 136">
            <a:extLst>
              <a:ext uri="{FF2B5EF4-FFF2-40B4-BE49-F238E27FC236}">
                <a16:creationId xmlns:a16="http://schemas.microsoft.com/office/drawing/2014/main" id="{FFF7FEBD-DC05-4243-8288-65567FB9B1FC}"/>
              </a:ext>
            </a:extLst>
          </p:cNvPr>
          <p:cNvSpPr/>
          <p:nvPr/>
        </p:nvSpPr>
        <p:spPr>
          <a:xfrm>
            <a:off x="11494017" y="4414474"/>
            <a:ext cx="330930" cy="358896"/>
          </a:xfrm>
          <a:custGeom>
            <a:avLst/>
            <a:gdLst>
              <a:gd name="connsiteX0" fmla="*/ 151482 w 330930"/>
              <a:gd name="connsiteY0" fmla="*/ 358896 h 358896"/>
              <a:gd name="connsiteX1" fmla="*/ 0 w 330930"/>
              <a:gd name="connsiteY1" fmla="*/ 358896 h 358896"/>
              <a:gd name="connsiteX2" fmla="*/ 177118 w 330930"/>
              <a:gd name="connsiteY2" fmla="*/ 180613 h 358896"/>
              <a:gd name="connsiteX3" fmla="*/ 0 w 330930"/>
              <a:gd name="connsiteY3" fmla="*/ 0 h 358896"/>
              <a:gd name="connsiteX4" fmla="*/ 154979 w 330930"/>
              <a:gd name="connsiteY4" fmla="*/ 0 h 358896"/>
              <a:gd name="connsiteX5" fmla="*/ 330931 w 330930"/>
              <a:gd name="connsiteY5" fmla="*/ 175952 h 358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930" h="358896">
                <a:moveTo>
                  <a:pt x="151482" y="358896"/>
                </a:moveTo>
                <a:lnTo>
                  <a:pt x="0" y="358896"/>
                </a:lnTo>
                <a:lnTo>
                  <a:pt x="177118" y="180613"/>
                </a:lnTo>
                <a:lnTo>
                  <a:pt x="0" y="0"/>
                </a:lnTo>
                <a:lnTo>
                  <a:pt x="154979" y="0"/>
                </a:lnTo>
                <a:lnTo>
                  <a:pt x="330931" y="175952"/>
                </a:lnTo>
                <a:close/>
              </a:path>
            </a:pathLst>
          </a:custGeom>
          <a:solidFill>
            <a:srgbClr val="EEF2F5"/>
          </a:solidFill>
          <a:ln w="11643" cap="flat">
            <a:noFill/>
            <a:prstDash val="solid"/>
            <a:miter/>
          </a:ln>
        </p:spPr>
        <p:txBody>
          <a:bodyPr rtlCol="0" anchor="ctr"/>
          <a:lstStyle/>
          <a:p>
            <a:pPr rtl="0"/>
            <a:endParaRPr lang="en-US"/>
          </a:p>
        </p:txBody>
      </p:sp>
      <p:sp>
        <p:nvSpPr>
          <p:cNvPr id="154" name="Freihandform: Form 153">
            <a:extLst>
              <a:ext uri="{FF2B5EF4-FFF2-40B4-BE49-F238E27FC236}">
                <a16:creationId xmlns:a16="http://schemas.microsoft.com/office/drawing/2014/main" id="{46119847-314D-4401-B853-7CDAC232D928}"/>
              </a:ext>
            </a:extLst>
          </p:cNvPr>
          <p:cNvSpPr/>
          <p:nvPr/>
        </p:nvSpPr>
        <p:spPr>
          <a:xfrm>
            <a:off x="11494017" y="4768709"/>
            <a:ext cx="330930" cy="360061"/>
          </a:xfrm>
          <a:custGeom>
            <a:avLst/>
            <a:gdLst>
              <a:gd name="connsiteX0" fmla="*/ 151482 w 330930"/>
              <a:gd name="connsiteY0" fmla="*/ 360062 h 360061"/>
              <a:gd name="connsiteX1" fmla="*/ 0 w 330930"/>
              <a:gd name="connsiteY1" fmla="*/ 360062 h 360061"/>
              <a:gd name="connsiteX2" fmla="*/ 177118 w 330930"/>
              <a:gd name="connsiteY2" fmla="*/ 181779 h 360061"/>
              <a:gd name="connsiteX3" fmla="*/ 0 w 330930"/>
              <a:gd name="connsiteY3" fmla="*/ 0 h 360061"/>
              <a:gd name="connsiteX4" fmla="*/ 154979 w 330930"/>
              <a:gd name="connsiteY4" fmla="*/ 0 h 360061"/>
              <a:gd name="connsiteX5" fmla="*/ 330931 w 330930"/>
              <a:gd name="connsiteY5" fmla="*/ 177118 h 360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930" h="360061">
                <a:moveTo>
                  <a:pt x="151482" y="360062"/>
                </a:moveTo>
                <a:lnTo>
                  <a:pt x="0" y="360062"/>
                </a:lnTo>
                <a:lnTo>
                  <a:pt x="177118" y="181779"/>
                </a:lnTo>
                <a:lnTo>
                  <a:pt x="0" y="0"/>
                </a:lnTo>
                <a:lnTo>
                  <a:pt x="154979" y="0"/>
                </a:lnTo>
                <a:lnTo>
                  <a:pt x="330931" y="177118"/>
                </a:lnTo>
                <a:close/>
              </a:path>
            </a:pathLst>
          </a:custGeom>
          <a:solidFill>
            <a:srgbClr val="EEF2F5"/>
          </a:solidFill>
          <a:ln w="11643" cap="flat">
            <a:noFill/>
            <a:prstDash val="solid"/>
            <a:miter/>
          </a:ln>
        </p:spPr>
        <p:txBody>
          <a:bodyPr rtlCol="0" anchor="ctr"/>
          <a:lstStyle/>
          <a:p>
            <a:pPr rtl="0"/>
            <a:endParaRPr lang="en-US"/>
          </a:p>
        </p:txBody>
      </p:sp>
      <p:sp>
        <p:nvSpPr>
          <p:cNvPr id="88" name="Freihandform: Form 87">
            <a:extLst>
              <a:ext uri="{FF2B5EF4-FFF2-40B4-BE49-F238E27FC236}">
                <a16:creationId xmlns:a16="http://schemas.microsoft.com/office/drawing/2014/main" id="{021EABD8-89C7-4331-9946-CAAC34E3DC2D}"/>
              </a:ext>
            </a:extLst>
          </p:cNvPr>
          <p:cNvSpPr/>
          <p:nvPr/>
        </p:nvSpPr>
        <p:spPr>
          <a:xfrm>
            <a:off x="11147939" y="3358759"/>
            <a:ext cx="314616" cy="341417"/>
          </a:xfrm>
          <a:custGeom>
            <a:avLst/>
            <a:gdLst>
              <a:gd name="connsiteX0" fmla="*/ 143325 w 314616"/>
              <a:gd name="connsiteY0" fmla="*/ 341418 h 341417"/>
              <a:gd name="connsiteX1" fmla="*/ 0 w 314616"/>
              <a:gd name="connsiteY1" fmla="*/ 341418 h 341417"/>
              <a:gd name="connsiteX2" fmla="*/ 167795 w 314616"/>
              <a:gd name="connsiteY2" fmla="*/ 172457 h 341417"/>
              <a:gd name="connsiteX3" fmla="*/ 0 w 314616"/>
              <a:gd name="connsiteY3" fmla="*/ 0 h 341417"/>
              <a:gd name="connsiteX4" fmla="*/ 146821 w 314616"/>
              <a:gd name="connsiteY4" fmla="*/ 0 h 341417"/>
              <a:gd name="connsiteX5" fmla="*/ 314617 w 314616"/>
              <a:gd name="connsiteY5" fmla="*/ 167796 h 341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4616" h="341417">
                <a:moveTo>
                  <a:pt x="143325" y="341418"/>
                </a:moveTo>
                <a:lnTo>
                  <a:pt x="0" y="341418"/>
                </a:lnTo>
                <a:lnTo>
                  <a:pt x="167795" y="172457"/>
                </a:lnTo>
                <a:lnTo>
                  <a:pt x="0" y="0"/>
                </a:lnTo>
                <a:lnTo>
                  <a:pt x="146821" y="0"/>
                </a:lnTo>
                <a:lnTo>
                  <a:pt x="314617" y="167796"/>
                </a:lnTo>
                <a:close/>
              </a:path>
            </a:pathLst>
          </a:custGeom>
          <a:solidFill>
            <a:srgbClr val="EEF2F5"/>
          </a:solidFill>
          <a:ln w="11643" cap="flat">
            <a:noFill/>
            <a:prstDash val="solid"/>
            <a:miter/>
          </a:ln>
        </p:spPr>
        <p:txBody>
          <a:bodyPr rtlCol="0" anchor="ctr"/>
          <a:lstStyle/>
          <a:p>
            <a:pPr rtl="0"/>
            <a:endParaRPr lang="en-US"/>
          </a:p>
        </p:txBody>
      </p:sp>
      <p:sp>
        <p:nvSpPr>
          <p:cNvPr id="104" name="Freihandform: Form 103">
            <a:extLst>
              <a:ext uri="{FF2B5EF4-FFF2-40B4-BE49-F238E27FC236}">
                <a16:creationId xmlns:a16="http://schemas.microsoft.com/office/drawing/2014/main" id="{2DAD8994-DFB7-4D8A-B3A1-95AEBE830246}"/>
              </a:ext>
            </a:extLst>
          </p:cNvPr>
          <p:cNvSpPr/>
          <p:nvPr/>
        </p:nvSpPr>
        <p:spPr>
          <a:xfrm>
            <a:off x="11147939" y="3714159"/>
            <a:ext cx="314616" cy="340252"/>
          </a:xfrm>
          <a:custGeom>
            <a:avLst/>
            <a:gdLst>
              <a:gd name="connsiteX0" fmla="*/ 143325 w 314616"/>
              <a:gd name="connsiteY0" fmla="*/ 340252 h 340252"/>
              <a:gd name="connsiteX1" fmla="*/ 0 w 314616"/>
              <a:gd name="connsiteY1" fmla="*/ 340252 h 340252"/>
              <a:gd name="connsiteX2" fmla="*/ 167795 w 314616"/>
              <a:gd name="connsiteY2" fmla="*/ 171291 h 340252"/>
              <a:gd name="connsiteX3" fmla="*/ 0 w 314616"/>
              <a:gd name="connsiteY3" fmla="*/ 0 h 340252"/>
              <a:gd name="connsiteX4" fmla="*/ 146821 w 314616"/>
              <a:gd name="connsiteY4" fmla="*/ 0 h 340252"/>
              <a:gd name="connsiteX5" fmla="*/ 314617 w 314616"/>
              <a:gd name="connsiteY5" fmla="*/ 166631 h 340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4616" h="340252">
                <a:moveTo>
                  <a:pt x="143325" y="340252"/>
                </a:moveTo>
                <a:lnTo>
                  <a:pt x="0" y="340252"/>
                </a:lnTo>
                <a:lnTo>
                  <a:pt x="167795" y="171291"/>
                </a:lnTo>
                <a:lnTo>
                  <a:pt x="0" y="0"/>
                </a:lnTo>
                <a:lnTo>
                  <a:pt x="146821" y="0"/>
                </a:lnTo>
                <a:lnTo>
                  <a:pt x="314617" y="166631"/>
                </a:lnTo>
                <a:close/>
              </a:path>
            </a:pathLst>
          </a:custGeom>
          <a:solidFill>
            <a:srgbClr val="EEF2F5"/>
          </a:solidFill>
          <a:ln w="11643" cap="flat">
            <a:noFill/>
            <a:prstDash val="solid"/>
            <a:miter/>
          </a:ln>
        </p:spPr>
        <p:txBody>
          <a:bodyPr rtlCol="0" anchor="ctr"/>
          <a:lstStyle/>
          <a:p>
            <a:pPr rtl="0"/>
            <a:endParaRPr lang="en-US"/>
          </a:p>
        </p:txBody>
      </p:sp>
      <p:sp>
        <p:nvSpPr>
          <p:cNvPr id="120" name="Freihandform: Form 119">
            <a:extLst>
              <a:ext uri="{FF2B5EF4-FFF2-40B4-BE49-F238E27FC236}">
                <a16:creationId xmlns:a16="http://schemas.microsoft.com/office/drawing/2014/main" id="{9CAC8A30-61AB-4046-B8E4-22F4EC6F7681}"/>
              </a:ext>
            </a:extLst>
          </p:cNvPr>
          <p:cNvSpPr/>
          <p:nvPr/>
        </p:nvSpPr>
        <p:spPr>
          <a:xfrm>
            <a:off x="11147939" y="4068395"/>
            <a:ext cx="314616" cy="341417"/>
          </a:xfrm>
          <a:custGeom>
            <a:avLst/>
            <a:gdLst>
              <a:gd name="connsiteX0" fmla="*/ 143325 w 314616"/>
              <a:gd name="connsiteY0" fmla="*/ 341418 h 341417"/>
              <a:gd name="connsiteX1" fmla="*/ 0 w 314616"/>
              <a:gd name="connsiteY1" fmla="*/ 341418 h 341417"/>
              <a:gd name="connsiteX2" fmla="*/ 167795 w 314616"/>
              <a:gd name="connsiteY2" fmla="*/ 172457 h 341417"/>
              <a:gd name="connsiteX3" fmla="*/ 0 w 314616"/>
              <a:gd name="connsiteY3" fmla="*/ 0 h 341417"/>
              <a:gd name="connsiteX4" fmla="*/ 146821 w 314616"/>
              <a:gd name="connsiteY4" fmla="*/ 0 h 341417"/>
              <a:gd name="connsiteX5" fmla="*/ 314617 w 314616"/>
              <a:gd name="connsiteY5" fmla="*/ 167796 h 341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4616" h="341417">
                <a:moveTo>
                  <a:pt x="143325" y="341418"/>
                </a:moveTo>
                <a:lnTo>
                  <a:pt x="0" y="341418"/>
                </a:lnTo>
                <a:lnTo>
                  <a:pt x="167795" y="172457"/>
                </a:lnTo>
                <a:lnTo>
                  <a:pt x="0" y="0"/>
                </a:lnTo>
                <a:lnTo>
                  <a:pt x="146821" y="0"/>
                </a:lnTo>
                <a:lnTo>
                  <a:pt x="314617" y="167796"/>
                </a:lnTo>
                <a:close/>
              </a:path>
            </a:pathLst>
          </a:custGeom>
          <a:solidFill>
            <a:srgbClr val="EEF2F5"/>
          </a:solidFill>
          <a:ln w="11643" cap="flat">
            <a:noFill/>
            <a:prstDash val="solid"/>
            <a:miter/>
          </a:ln>
        </p:spPr>
        <p:txBody>
          <a:bodyPr rtlCol="0" anchor="ctr"/>
          <a:lstStyle/>
          <a:p>
            <a:pPr rtl="0"/>
            <a:endParaRPr lang="en-US"/>
          </a:p>
        </p:txBody>
      </p:sp>
      <p:sp>
        <p:nvSpPr>
          <p:cNvPr id="136" name="Freihandform: Form 135">
            <a:extLst>
              <a:ext uri="{FF2B5EF4-FFF2-40B4-BE49-F238E27FC236}">
                <a16:creationId xmlns:a16="http://schemas.microsoft.com/office/drawing/2014/main" id="{514370C7-4CF6-451C-90DF-3B79CA5A0A59}"/>
              </a:ext>
            </a:extLst>
          </p:cNvPr>
          <p:cNvSpPr/>
          <p:nvPr/>
        </p:nvSpPr>
        <p:spPr>
          <a:xfrm>
            <a:off x="11147939" y="4423796"/>
            <a:ext cx="314616" cy="340252"/>
          </a:xfrm>
          <a:custGeom>
            <a:avLst/>
            <a:gdLst>
              <a:gd name="connsiteX0" fmla="*/ 143325 w 314616"/>
              <a:gd name="connsiteY0" fmla="*/ 340252 h 340252"/>
              <a:gd name="connsiteX1" fmla="*/ 0 w 314616"/>
              <a:gd name="connsiteY1" fmla="*/ 340252 h 340252"/>
              <a:gd name="connsiteX2" fmla="*/ 167795 w 314616"/>
              <a:gd name="connsiteY2" fmla="*/ 171291 h 340252"/>
              <a:gd name="connsiteX3" fmla="*/ 0 w 314616"/>
              <a:gd name="connsiteY3" fmla="*/ 0 h 340252"/>
              <a:gd name="connsiteX4" fmla="*/ 146821 w 314616"/>
              <a:gd name="connsiteY4" fmla="*/ 0 h 340252"/>
              <a:gd name="connsiteX5" fmla="*/ 314617 w 314616"/>
              <a:gd name="connsiteY5" fmla="*/ 167796 h 340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4616" h="340252">
                <a:moveTo>
                  <a:pt x="143325" y="340252"/>
                </a:moveTo>
                <a:lnTo>
                  <a:pt x="0" y="340252"/>
                </a:lnTo>
                <a:lnTo>
                  <a:pt x="167795" y="171291"/>
                </a:lnTo>
                <a:lnTo>
                  <a:pt x="0" y="0"/>
                </a:lnTo>
                <a:lnTo>
                  <a:pt x="146821" y="0"/>
                </a:lnTo>
                <a:lnTo>
                  <a:pt x="314617" y="167796"/>
                </a:lnTo>
                <a:close/>
              </a:path>
            </a:pathLst>
          </a:custGeom>
          <a:solidFill>
            <a:srgbClr val="EEF2F5"/>
          </a:solidFill>
          <a:ln w="11643" cap="flat">
            <a:noFill/>
            <a:prstDash val="solid"/>
            <a:miter/>
          </a:ln>
        </p:spPr>
        <p:txBody>
          <a:bodyPr rtlCol="0" anchor="ctr"/>
          <a:lstStyle/>
          <a:p>
            <a:pPr rtl="0"/>
            <a:endParaRPr lang="en-US"/>
          </a:p>
        </p:txBody>
      </p:sp>
      <p:sp>
        <p:nvSpPr>
          <p:cNvPr id="153" name="Freihandform: Form 152">
            <a:extLst>
              <a:ext uri="{FF2B5EF4-FFF2-40B4-BE49-F238E27FC236}">
                <a16:creationId xmlns:a16="http://schemas.microsoft.com/office/drawing/2014/main" id="{6D62BA37-26ED-4588-AD4A-3F0CC1E972FD}"/>
              </a:ext>
            </a:extLst>
          </p:cNvPr>
          <p:cNvSpPr/>
          <p:nvPr/>
        </p:nvSpPr>
        <p:spPr>
          <a:xfrm>
            <a:off x="11147939" y="4778031"/>
            <a:ext cx="314616" cy="341417"/>
          </a:xfrm>
          <a:custGeom>
            <a:avLst/>
            <a:gdLst>
              <a:gd name="connsiteX0" fmla="*/ 143325 w 314616"/>
              <a:gd name="connsiteY0" fmla="*/ 341418 h 341417"/>
              <a:gd name="connsiteX1" fmla="*/ 0 w 314616"/>
              <a:gd name="connsiteY1" fmla="*/ 341418 h 341417"/>
              <a:gd name="connsiteX2" fmla="*/ 167795 w 314616"/>
              <a:gd name="connsiteY2" fmla="*/ 172457 h 341417"/>
              <a:gd name="connsiteX3" fmla="*/ 0 w 314616"/>
              <a:gd name="connsiteY3" fmla="*/ 0 h 341417"/>
              <a:gd name="connsiteX4" fmla="*/ 146821 w 314616"/>
              <a:gd name="connsiteY4" fmla="*/ 0 h 341417"/>
              <a:gd name="connsiteX5" fmla="*/ 314617 w 314616"/>
              <a:gd name="connsiteY5" fmla="*/ 167796 h 341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4616" h="341417">
                <a:moveTo>
                  <a:pt x="143325" y="341418"/>
                </a:moveTo>
                <a:lnTo>
                  <a:pt x="0" y="341418"/>
                </a:lnTo>
                <a:lnTo>
                  <a:pt x="167795" y="172457"/>
                </a:lnTo>
                <a:lnTo>
                  <a:pt x="0" y="0"/>
                </a:lnTo>
                <a:lnTo>
                  <a:pt x="146821" y="0"/>
                </a:lnTo>
                <a:lnTo>
                  <a:pt x="314617" y="167796"/>
                </a:lnTo>
                <a:close/>
              </a:path>
            </a:pathLst>
          </a:custGeom>
          <a:solidFill>
            <a:srgbClr val="EEF2F5"/>
          </a:solidFill>
          <a:ln w="11643" cap="flat">
            <a:noFill/>
            <a:prstDash val="solid"/>
            <a:miter/>
          </a:ln>
        </p:spPr>
        <p:txBody>
          <a:bodyPr rtlCol="0" anchor="ctr"/>
          <a:lstStyle/>
          <a:p>
            <a:pPr rtl="0"/>
            <a:endParaRPr lang="en-US"/>
          </a:p>
        </p:txBody>
      </p:sp>
      <p:sp>
        <p:nvSpPr>
          <p:cNvPr id="170" name="Freihandform: Form 169">
            <a:extLst>
              <a:ext uri="{FF2B5EF4-FFF2-40B4-BE49-F238E27FC236}">
                <a16:creationId xmlns:a16="http://schemas.microsoft.com/office/drawing/2014/main" id="{6E70AB4A-6E36-4A08-8730-471DDB749A6F}"/>
              </a:ext>
            </a:extLst>
          </p:cNvPr>
          <p:cNvSpPr/>
          <p:nvPr/>
        </p:nvSpPr>
        <p:spPr>
          <a:xfrm>
            <a:off x="11147939" y="5133432"/>
            <a:ext cx="314616" cy="341417"/>
          </a:xfrm>
          <a:custGeom>
            <a:avLst/>
            <a:gdLst>
              <a:gd name="connsiteX0" fmla="*/ 143325 w 314616"/>
              <a:gd name="connsiteY0" fmla="*/ 341418 h 341417"/>
              <a:gd name="connsiteX1" fmla="*/ 0 w 314616"/>
              <a:gd name="connsiteY1" fmla="*/ 341418 h 341417"/>
              <a:gd name="connsiteX2" fmla="*/ 167795 w 314616"/>
              <a:gd name="connsiteY2" fmla="*/ 171292 h 341417"/>
              <a:gd name="connsiteX3" fmla="*/ 0 w 314616"/>
              <a:gd name="connsiteY3" fmla="*/ 0 h 341417"/>
              <a:gd name="connsiteX4" fmla="*/ 146821 w 314616"/>
              <a:gd name="connsiteY4" fmla="*/ 0 h 341417"/>
              <a:gd name="connsiteX5" fmla="*/ 314617 w 314616"/>
              <a:gd name="connsiteY5" fmla="*/ 167796 h 341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4616" h="341417">
                <a:moveTo>
                  <a:pt x="143325" y="341418"/>
                </a:moveTo>
                <a:lnTo>
                  <a:pt x="0" y="341418"/>
                </a:lnTo>
                <a:lnTo>
                  <a:pt x="167795" y="171292"/>
                </a:lnTo>
                <a:lnTo>
                  <a:pt x="0" y="0"/>
                </a:lnTo>
                <a:lnTo>
                  <a:pt x="146821" y="0"/>
                </a:lnTo>
                <a:lnTo>
                  <a:pt x="314617" y="167796"/>
                </a:lnTo>
                <a:close/>
              </a:path>
            </a:pathLst>
          </a:custGeom>
          <a:solidFill>
            <a:srgbClr val="EEF2F5"/>
          </a:solidFill>
          <a:ln w="11643" cap="flat">
            <a:noFill/>
            <a:prstDash val="solid"/>
            <a:miter/>
          </a:ln>
        </p:spPr>
        <p:txBody>
          <a:bodyPr rtlCol="0" anchor="ctr"/>
          <a:lstStyle/>
          <a:p>
            <a:pPr rtl="0"/>
            <a:endParaRPr lang="en-US"/>
          </a:p>
        </p:txBody>
      </p:sp>
      <p:sp>
        <p:nvSpPr>
          <p:cNvPr id="71" name="Freihandform: Form 70">
            <a:extLst>
              <a:ext uri="{FF2B5EF4-FFF2-40B4-BE49-F238E27FC236}">
                <a16:creationId xmlns:a16="http://schemas.microsoft.com/office/drawing/2014/main" id="{EC37F69B-71A5-4B22-89E2-2B86538897C6}"/>
              </a:ext>
            </a:extLst>
          </p:cNvPr>
          <p:cNvSpPr/>
          <p:nvPr/>
        </p:nvSpPr>
        <p:spPr>
          <a:xfrm>
            <a:off x="10801860" y="3012680"/>
            <a:ext cx="297138" cy="323938"/>
          </a:xfrm>
          <a:custGeom>
            <a:avLst/>
            <a:gdLst>
              <a:gd name="connsiteX0" fmla="*/ 135168 w 297138"/>
              <a:gd name="connsiteY0" fmla="*/ 323939 h 323938"/>
              <a:gd name="connsiteX1" fmla="*/ 0 w 297138"/>
              <a:gd name="connsiteY1" fmla="*/ 323939 h 323938"/>
              <a:gd name="connsiteX2" fmla="*/ 158473 w 297138"/>
              <a:gd name="connsiteY2" fmla="*/ 163135 h 323938"/>
              <a:gd name="connsiteX3" fmla="*/ 0 w 297138"/>
              <a:gd name="connsiteY3" fmla="*/ 0 h 323938"/>
              <a:gd name="connsiteX4" fmla="*/ 138664 w 297138"/>
              <a:gd name="connsiteY4" fmla="*/ 0 h 323938"/>
              <a:gd name="connsiteX5" fmla="*/ 297138 w 297138"/>
              <a:gd name="connsiteY5" fmla="*/ 159639 h 323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3938">
                <a:moveTo>
                  <a:pt x="135168" y="323939"/>
                </a:moveTo>
                <a:lnTo>
                  <a:pt x="0" y="323939"/>
                </a:lnTo>
                <a:lnTo>
                  <a:pt x="158473" y="163135"/>
                </a:lnTo>
                <a:lnTo>
                  <a:pt x="0" y="0"/>
                </a:lnTo>
                <a:lnTo>
                  <a:pt x="138664" y="0"/>
                </a:lnTo>
                <a:lnTo>
                  <a:pt x="297138" y="159639"/>
                </a:lnTo>
                <a:close/>
              </a:path>
            </a:pathLst>
          </a:custGeom>
          <a:solidFill>
            <a:srgbClr val="EEF2F5"/>
          </a:solidFill>
          <a:ln w="11643" cap="flat">
            <a:noFill/>
            <a:prstDash val="solid"/>
            <a:miter/>
          </a:ln>
        </p:spPr>
        <p:txBody>
          <a:bodyPr rtlCol="0" anchor="ctr"/>
          <a:lstStyle/>
          <a:p>
            <a:pPr rtl="0"/>
            <a:endParaRPr lang="en-US"/>
          </a:p>
        </p:txBody>
      </p:sp>
      <p:sp>
        <p:nvSpPr>
          <p:cNvPr id="87" name="Freihandform: Form 86">
            <a:extLst>
              <a:ext uri="{FF2B5EF4-FFF2-40B4-BE49-F238E27FC236}">
                <a16:creationId xmlns:a16="http://schemas.microsoft.com/office/drawing/2014/main" id="{6027B9E1-4632-4B82-9FA3-1E60661DE0B8}"/>
              </a:ext>
            </a:extLst>
          </p:cNvPr>
          <p:cNvSpPr/>
          <p:nvPr/>
        </p:nvSpPr>
        <p:spPr>
          <a:xfrm>
            <a:off x="10801860" y="3368081"/>
            <a:ext cx="297138" cy="322773"/>
          </a:xfrm>
          <a:custGeom>
            <a:avLst/>
            <a:gdLst>
              <a:gd name="connsiteX0" fmla="*/ 135168 w 297138"/>
              <a:gd name="connsiteY0" fmla="*/ 322774 h 322773"/>
              <a:gd name="connsiteX1" fmla="*/ 0 w 297138"/>
              <a:gd name="connsiteY1" fmla="*/ 322774 h 322773"/>
              <a:gd name="connsiteX2" fmla="*/ 158473 w 297138"/>
              <a:gd name="connsiteY2" fmla="*/ 163135 h 322773"/>
              <a:gd name="connsiteX3" fmla="*/ 0 w 297138"/>
              <a:gd name="connsiteY3" fmla="*/ 0 h 322773"/>
              <a:gd name="connsiteX4" fmla="*/ 138664 w 297138"/>
              <a:gd name="connsiteY4" fmla="*/ 0 h 322773"/>
              <a:gd name="connsiteX5" fmla="*/ 297138 w 297138"/>
              <a:gd name="connsiteY5" fmla="*/ 158474 h 322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2773">
                <a:moveTo>
                  <a:pt x="135168" y="322774"/>
                </a:moveTo>
                <a:lnTo>
                  <a:pt x="0" y="322774"/>
                </a:lnTo>
                <a:lnTo>
                  <a:pt x="158473" y="163135"/>
                </a:lnTo>
                <a:lnTo>
                  <a:pt x="0" y="0"/>
                </a:lnTo>
                <a:lnTo>
                  <a:pt x="138664" y="0"/>
                </a:lnTo>
                <a:lnTo>
                  <a:pt x="297138" y="158474"/>
                </a:lnTo>
                <a:close/>
              </a:path>
            </a:pathLst>
          </a:custGeom>
          <a:solidFill>
            <a:srgbClr val="EEF2F5"/>
          </a:solidFill>
          <a:ln w="11643" cap="flat">
            <a:noFill/>
            <a:prstDash val="solid"/>
            <a:miter/>
          </a:ln>
        </p:spPr>
        <p:txBody>
          <a:bodyPr rtlCol="0" anchor="ctr"/>
          <a:lstStyle/>
          <a:p>
            <a:pPr rtl="0"/>
            <a:endParaRPr lang="en-US"/>
          </a:p>
        </p:txBody>
      </p:sp>
      <p:sp>
        <p:nvSpPr>
          <p:cNvPr id="103" name="Freihandform: Form 102">
            <a:extLst>
              <a:ext uri="{FF2B5EF4-FFF2-40B4-BE49-F238E27FC236}">
                <a16:creationId xmlns:a16="http://schemas.microsoft.com/office/drawing/2014/main" id="{A133033E-1247-4F36-9A54-C51B13CBD1CE}"/>
              </a:ext>
            </a:extLst>
          </p:cNvPr>
          <p:cNvSpPr/>
          <p:nvPr/>
        </p:nvSpPr>
        <p:spPr>
          <a:xfrm>
            <a:off x="10801860" y="3722316"/>
            <a:ext cx="297138" cy="323938"/>
          </a:xfrm>
          <a:custGeom>
            <a:avLst/>
            <a:gdLst>
              <a:gd name="connsiteX0" fmla="*/ 135168 w 297138"/>
              <a:gd name="connsiteY0" fmla="*/ 323939 h 323938"/>
              <a:gd name="connsiteX1" fmla="*/ 0 w 297138"/>
              <a:gd name="connsiteY1" fmla="*/ 323939 h 323938"/>
              <a:gd name="connsiteX2" fmla="*/ 158473 w 297138"/>
              <a:gd name="connsiteY2" fmla="*/ 163135 h 323938"/>
              <a:gd name="connsiteX3" fmla="*/ 0 w 297138"/>
              <a:gd name="connsiteY3" fmla="*/ 0 h 323938"/>
              <a:gd name="connsiteX4" fmla="*/ 138664 w 297138"/>
              <a:gd name="connsiteY4" fmla="*/ 0 h 323938"/>
              <a:gd name="connsiteX5" fmla="*/ 297138 w 297138"/>
              <a:gd name="connsiteY5" fmla="*/ 159639 h 323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3938">
                <a:moveTo>
                  <a:pt x="135168" y="323939"/>
                </a:moveTo>
                <a:lnTo>
                  <a:pt x="0" y="323939"/>
                </a:lnTo>
                <a:lnTo>
                  <a:pt x="158473" y="163135"/>
                </a:lnTo>
                <a:lnTo>
                  <a:pt x="0" y="0"/>
                </a:lnTo>
                <a:lnTo>
                  <a:pt x="138664" y="0"/>
                </a:lnTo>
                <a:lnTo>
                  <a:pt x="297138" y="159639"/>
                </a:lnTo>
                <a:close/>
              </a:path>
            </a:pathLst>
          </a:custGeom>
          <a:solidFill>
            <a:srgbClr val="EEF2F5"/>
          </a:solidFill>
          <a:ln w="11643" cap="flat">
            <a:noFill/>
            <a:prstDash val="solid"/>
            <a:miter/>
          </a:ln>
        </p:spPr>
        <p:txBody>
          <a:bodyPr rtlCol="0" anchor="ctr"/>
          <a:lstStyle/>
          <a:p>
            <a:pPr rtl="0"/>
            <a:endParaRPr lang="en-US"/>
          </a:p>
        </p:txBody>
      </p:sp>
      <p:sp>
        <p:nvSpPr>
          <p:cNvPr id="119" name="Freihandform: Form 118">
            <a:extLst>
              <a:ext uri="{FF2B5EF4-FFF2-40B4-BE49-F238E27FC236}">
                <a16:creationId xmlns:a16="http://schemas.microsoft.com/office/drawing/2014/main" id="{48E055C3-701A-4F5A-8DFA-C4FA735748CE}"/>
              </a:ext>
            </a:extLst>
          </p:cNvPr>
          <p:cNvSpPr/>
          <p:nvPr/>
        </p:nvSpPr>
        <p:spPr>
          <a:xfrm>
            <a:off x="10801860" y="4077717"/>
            <a:ext cx="297138" cy="322773"/>
          </a:xfrm>
          <a:custGeom>
            <a:avLst/>
            <a:gdLst>
              <a:gd name="connsiteX0" fmla="*/ 135168 w 297138"/>
              <a:gd name="connsiteY0" fmla="*/ 322774 h 322773"/>
              <a:gd name="connsiteX1" fmla="*/ 0 w 297138"/>
              <a:gd name="connsiteY1" fmla="*/ 322774 h 322773"/>
              <a:gd name="connsiteX2" fmla="*/ 158473 w 297138"/>
              <a:gd name="connsiteY2" fmla="*/ 163135 h 322773"/>
              <a:gd name="connsiteX3" fmla="*/ 0 w 297138"/>
              <a:gd name="connsiteY3" fmla="*/ 0 h 322773"/>
              <a:gd name="connsiteX4" fmla="*/ 138664 w 297138"/>
              <a:gd name="connsiteY4" fmla="*/ 0 h 322773"/>
              <a:gd name="connsiteX5" fmla="*/ 297138 w 297138"/>
              <a:gd name="connsiteY5" fmla="*/ 158474 h 322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2773">
                <a:moveTo>
                  <a:pt x="135168" y="322774"/>
                </a:moveTo>
                <a:lnTo>
                  <a:pt x="0" y="322774"/>
                </a:lnTo>
                <a:lnTo>
                  <a:pt x="158473" y="163135"/>
                </a:lnTo>
                <a:lnTo>
                  <a:pt x="0" y="0"/>
                </a:lnTo>
                <a:lnTo>
                  <a:pt x="138664" y="0"/>
                </a:lnTo>
                <a:lnTo>
                  <a:pt x="297138" y="158474"/>
                </a:lnTo>
                <a:close/>
              </a:path>
            </a:pathLst>
          </a:custGeom>
          <a:solidFill>
            <a:srgbClr val="EEF2F5"/>
          </a:solidFill>
          <a:ln w="11643" cap="flat">
            <a:noFill/>
            <a:prstDash val="solid"/>
            <a:miter/>
          </a:ln>
        </p:spPr>
        <p:txBody>
          <a:bodyPr rtlCol="0" anchor="ctr"/>
          <a:lstStyle/>
          <a:p>
            <a:pPr rtl="0"/>
            <a:endParaRPr lang="en-US"/>
          </a:p>
        </p:txBody>
      </p:sp>
      <p:sp>
        <p:nvSpPr>
          <p:cNvPr id="135" name="Freihandform: Form 134">
            <a:extLst>
              <a:ext uri="{FF2B5EF4-FFF2-40B4-BE49-F238E27FC236}">
                <a16:creationId xmlns:a16="http://schemas.microsoft.com/office/drawing/2014/main" id="{BCADBC01-33BC-4B7C-9DB7-FA73F490E349}"/>
              </a:ext>
            </a:extLst>
          </p:cNvPr>
          <p:cNvSpPr/>
          <p:nvPr/>
        </p:nvSpPr>
        <p:spPr>
          <a:xfrm>
            <a:off x="10801860" y="4431952"/>
            <a:ext cx="297138" cy="323938"/>
          </a:xfrm>
          <a:custGeom>
            <a:avLst/>
            <a:gdLst>
              <a:gd name="connsiteX0" fmla="*/ 135168 w 297138"/>
              <a:gd name="connsiteY0" fmla="*/ 323939 h 323938"/>
              <a:gd name="connsiteX1" fmla="*/ 0 w 297138"/>
              <a:gd name="connsiteY1" fmla="*/ 323939 h 323938"/>
              <a:gd name="connsiteX2" fmla="*/ 158473 w 297138"/>
              <a:gd name="connsiteY2" fmla="*/ 163135 h 323938"/>
              <a:gd name="connsiteX3" fmla="*/ 0 w 297138"/>
              <a:gd name="connsiteY3" fmla="*/ 0 h 323938"/>
              <a:gd name="connsiteX4" fmla="*/ 138664 w 297138"/>
              <a:gd name="connsiteY4" fmla="*/ 0 h 323938"/>
              <a:gd name="connsiteX5" fmla="*/ 297138 w 297138"/>
              <a:gd name="connsiteY5" fmla="*/ 159639 h 323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3938">
                <a:moveTo>
                  <a:pt x="135168" y="323939"/>
                </a:moveTo>
                <a:lnTo>
                  <a:pt x="0" y="323939"/>
                </a:lnTo>
                <a:lnTo>
                  <a:pt x="158473" y="163135"/>
                </a:lnTo>
                <a:lnTo>
                  <a:pt x="0" y="0"/>
                </a:lnTo>
                <a:lnTo>
                  <a:pt x="138664" y="0"/>
                </a:lnTo>
                <a:lnTo>
                  <a:pt x="297138" y="159639"/>
                </a:lnTo>
                <a:close/>
              </a:path>
            </a:pathLst>
          </a:custGeom>
          <a:solidFill>
            <a:srgbClr val="EEF2F5"/>
          </a:solidFill>
          <a:ln w="11643" cap="flat">
            <a:noFill/>
            <a:prstDash val="solid"/>
            <a:miter/>
          </a:ln>
        </p:spPr>
        <p:txBody>
          <a:bodyPr rtlCol="0" anchor="ctr"/>
          <a:lstStyle/>
          <a:p>
            <a:pPr rtl="0"/>
            <a:endParaRPr lang="en-US"/>
          </a:p>
        </p:txBody>
      </p:sp>
      <p:sp>
        <p:nvSpPr>
          <p:cNvPr id="152" name="Freihandform: Form 151">
            <a:extLst>
              <a:ext uri="{FF2B5EF4-FFF2-40B4-BE49-F238E27FC236}">
                <a16:creationId xmlns:a16="http://schemas.microsoft.com/office/drawing/2014/main" id="{5F12261A-EADD-41CA-AC37-DF4EAA94F5DA}"/>
              </a:ext>
            </a:extLst>
          </p:cNvPr>
          <p:cNvSpPr/>
          <p:nvPr/>
        </p:nvSpPr>
        <p:spPr>
          <a:xfrm>
            <a:off x="10801860" y="4787353"/>
            <a:ext cx="297138" cy="322773"/>
          </a:xfrm>
          <a:custGeom>
            <a:avLst/>
            <a:gdLst>
              <a:gd name="connsiteX0" fmla="*/ 135168 w 297138"/>
              <a:gd name="connsiteY0" fmla="*/ 322774 h 322773"/>
              <a:gd name="connsiteX1" fmla="*/ 0 w 297138"/>
              <a:gd name="connsiteY1" fmla="*/ 322774 h 322773"/>
              <a:gd name="connsiteX2" fmla="*/ 158473 w 297138"/>
              <a:gd name="connsiteY2" fmla="*/ 163135 h 322773"/>
              <a:gd name="connsiteX3" fmla="*/ 0 w 297138"/>
              <a:gd name="connsiteY3" fmla="*/ 0 h 322773"/>
              <a:gd name="connsiteX4" fmla="*/ 138664 w 297138"/>
              <a:gd name="connsiteY4" fmla="*/ 0 h 322773"/>
              <a:gd name="connsiteX5" fmla="*/ 297138 w 297138"/>
              <a:gd name="connsiteY5" fmla="*/ 158474 h 322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2773">
                <a:moveTo>
                  <a:pt x="135168" y="322774"/>
                </a:moveTo>
                <a:lnTo>
                  <a:pt x="0" y="322774"/>
                </a:lnTo>
                <a:lnTo>
                  <a:pt x="158473" y="163135"/>
                </a:lnTo>
                <a:lnTo>
                  <a:pt x="0" y="0"/>
                </a:lnTo>
                <a:lnTo>
                  <a:pt x="138664" y="0"/>
                </a:lnTo>
                <a:lnTo>
                  <a:pt x="297138" y="158474"/>
                </a:lnTo>
                <a:close/>
              </a:path>
            </a:pathLst>
          </a:custGeom>
          <a:solidFill>
            <a:srgbClr val="EEF2F5"/>
          </a:solidFill>
          <a:ln w="11643" cap="flat">
            <a:noFill/>
            <a:prstDash val="solid"/>
            <a:miter/>
          </a:ln>
        </p:spPr>
        <p:txBody>
          <a:bodyPr rtlCol="0" anchor="ctr"/>
          <a:lstStyle/>
          <a:p>
            <a:pPr rtl="0"/>
            <a:endParaRPr lang="en-US"/>
          </a:p>
        </p:txBody>
      </p:sp>
      <p:sp>
        <p:nvSpPr>
          <p:cNvPr id="169" name="Freihandform: Form 168">
            <a:extLst>
              <a:ext uri="{FF2B5EF4-FFF2-40B4-BE49-F238E27FC236}">
                <a16:creationId xmlns:a16="http://schemas.microsoft.com/office/drawing/2014/main" id="{2684278A-133A-44B1-BD42-3154900841C6}"/>
              </a:ext>
            </a:extLst>
          </p:cNvPr>
          <p:cNvSpPr/>
          <p:nvPr/>
        </p:nvSpPr>
        <p:spPr>
          <a:xfrm>
            <a:off x="10801860" y="5141588"/>
            <a:ext cx="297138" cy="323938"/>
          </a:xfrm>
          <a:custGeom>
            <a:avLst/>
            <a:gdLst>
              <a:gd name="connsiteX0" fmla="*/ 135168 w 297138"/>
              <a:gd name="connsiteY0" fmla="*/ 323939 h 323938"/>
              <a:gd name="connsiteX1" fmla="*/ 0 w 297138"/>
              <a:gd name="connsiteY1" fmla="*/ 323939 h 323938"/>
              <a:gd name="connsiteX2" fmla="*/ 158473 w 297138"/>
              <a:gd name="connsiteY2" fmla="*/ 163135 h 323938"/>
              <a:gd name="connsiteX3" fmla="*/ 0 w 297138"/>
              <a:gd name="connsiteY3" fmla="*/ 0 h 323938"/>
              <a:gd name="connsiteX4" fmla="*/ 138664 w 297138"/>
              <a:gd name="connsiteY4" fmla="*/ 0 h 323938"/>
              <a:gd name="connsiteX5" fmla="*/ 297138 w 297138"/>
              <a:gd name="connsiteY5" fmla="*/ 159639 h 323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3938">
                <a:moveTo>
                  <a:pt x="135168" y="323939"/>
                </a:moveTo>
                <a:lnTo>
                  <a:pt x="0" y="323939"/>
                </a:lnTo>
                <a:lnTo>
                  <a:pt x="158473" y="163135"/>
                </a:lnTo>
                <a:lnTo>
                  <a:pt x="0" y="0"/>
                </a:lnTo>
                <a:lnTo>
                  <a:pt x="138664" y="0"/>
                </a:lnTo>
                <a:lnTo>
                  <a:pt x="297138" y="159639"/>
                </a:lnTo>
                <a:close/>
              </a:path>
            </a:pathLst>
          </a:custGeom>
          <a:solidFill>
            <a:srgbClr val="EEF2F5"/>
          </a:solidFill>
          <a:ln w="11643" cap="flat">
            <a:noFill/>
            <a:prstDash val="solid"/>
            <a:miter/>
          </a:ln>
        </p:spPr>
        <p:txBody>
          <a:bodyPr rtlCol="0" anchor="ctr"/>
          <a:lstStyle/>
          <a:p>
            <a:pPr rtl="0"/>
            <a:endParaRPr lang="en-US"/>
          </a:p>
        </p:txBody>
      </p:sp>
      <p:sp>
        <p:nvSpPr>
          <p:cNvPr id="186" name="Freihandform: Form 185">
            <a:extLst>
              <a:ext uri="{FF2B5EF4-FFF2-40B4-BE49-F238E27FC236}">
                <a16:creationId xmlns:a16="http://schemas.microsoft.com/office/drawing/2014/main" id="{51341657-6CDA-48E4-A038-7E086040DA70}"/>
              </a:ext>
            </a:extLst>
          </p:cNvPr>
          <p:cNvSpPr/>
          <p:nvPr/>
        </p:nvSpPr>
        <p:spPr>
          <a:xfrm>
            <a:off x="10801860" y="5496989"/>
            <a:ext cx="297138" cy="322773"/>
          </a:xfrm>
          <a:custGeom>
            <a:avLst/>
            <a:gdLst>
              <a:gd name="connsiteX0" fmla="*/ 135168 w 297138"/>
              <a:gd name="connsiteY0" fmla="*/ 322773 h 322773"/>
              <a:gd name="connsiteX1" fmla="*/ 0 w 297138"/>
              <a:gd name="connsiteY1" fmla="*/ 322773 h 322773"/>
              <a:gd name="connsiteX2" fmla="*/ 158473 w 297138"/>
              <a:gd name="connsiteY2" fmla="*/ 163135 h 322773"/>
              <a:gd name="connsiteX3" fmla="*/ 0 w 297138"/>
              <a:gd name="connsiteY3" fmla="*/ 0 h 322773"/>
              <a:gd name="connsiteX4" fmla="*/ 138664 w 297138"/>
              <a:gd name="connsiteY4" fmla="*/ 0 h 322773"/>
              <a:gd name="connsiteX5" fmla="*/ 297138 w 297138"/>
              <a:gd name="connsiteY5" fmla="*/ 158473 h 322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2773">
                <a:moveTo>
                  <a:pt x="135168" y="322773"/>
                </a:moveTo>
                <a:lnTo>
                  <a:pt x="0" y="322773"/>
                </a:lnTo>
                <a:lnTo>
                  <a:pt x="158473" y="163135"/>
                </a:lnTo>
                <a:lnTo>
                  <a:pt x="0" y="0"/>
                </a:lnTo>
                <a:lnTo>
                  <a:pt x="138664" y="0"/>
                </a:lnTo>
                <a:lnTo>
                  <a:pt x="297138" y="158473"/>
                </a:lnTo>
                <a:close/>
              </a:path>
            </a:pathLst>
          </a:custGeom>
          <a:solidFill>
            <a:srgbClr val="EEF2F5"/>
          </a:solidFill>
          <a:ln w="11643" cap="flat">
            <a:noFill/>
            <a:prstDash val="solid"/>
            <a:miter/>
          </a:ln>
        </p:spPr>
        <p:txBody>
          <a:bodyPr rtlCol="0" anchor="ctr"/>
          <a:lstStyle/>
          <a:p>
            <a:pPr rtl="0"/>
            <a:endParaRPr lang="en-US"/>
          </a:p>
        </p:txBody>
      </p:sp>
      <p:sp>
        <p:nvSpPr>
          <p:cNvPr id="54" name="Freihandform: Form 53">
            <a:extLst>
              <a:ext uri="{FF2B5EF4-FFF2-40B4-BE49-F238E27FC236}">
                <a16:creationId xmlns:a16="http://schemas.microsoft.com/office/drawing/2014/main" id="{7C58B8B7-C0D0-45C0-A524-368D9D8EC1A1}"/>
              </a:ext>
            </a:extLst>
          </p:cNvPr>
          <p:cNvSpPr/>
          <p:nvPr/>
        </p:nvSpPr>
        <p:spPr>
          <a:xfrm>
            <a:off x="10454616" y="2667767"/>
            <a:ext cx="280824" cy="304129"/>
          </a:xfrm>
          <a:custGeom>
            <a:avLst/>
            <a:gdLst>
              <a:gd name="connsiteX0" fmla="*/ 129343 w 280824"/>
              <a:gd name="connsiteY0" fmla="*/ 304130 h 304129"/>
              <a:gd name="connsiteX1" fmla="*/ 0 w 280824"/>
              <a:gd name="connsiteY1" fmla="*/ 304130 h 304129"/>
              <a:gd name="connsiteX2" fmla="*/ 150317 w 280824"/>
              <a:gd name="connsiteY2" fmla="*/ 153813 h 304129"/>
              <a:gd name="connsiteX3" fmla="*/ 0 w 280824"/>
              <a:gd name="connsiteY3" fmla="*/ 0 h 304129"/>
              <a:gd name="connsiteX4" fmla="*/ 131673 w 280824"/>
              <a:gd name="connsiteY4" fmla="*/ 0 h 304129"/>
              <a:gd name="connsiteX5" fmla="*/ 280825 w 280824"/>
              <a:gd name="connsiteY5" fmla="*/ 149152 h 304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4129">
                <a:moveTo>
                  <a:pt x="129343" y="304130"/>
                </a:moveTo>
                <a:lnTo>
                  <a:pt x="0" y="304130"/>
                </a:lnTo>
                <a:lnTo>
                  <a:pt x="150317" y="153813"/>
                </a:lnTo>
                <a:lnTo>
                  <a:pt x="0" y="0"/>
                </a:lnTo>
                <a:lnTo>
                  <a:pt x="131673" y="0"/>
                </a:lnTo>
                <a:lnTo>
                  <a:pt x="280825" y="149152"/>
                </a:lnTo>
                <a:close/>
              </a:path>
            </a:pathLst>
          </a:custGeom>
          <a:solidFill>
            <a:srgbClr val="EEF2F5"/>
          </a:solidFill>
          <a:ln w="11643" cap="flat">
            <a:noFill/>
            <a:prstDash val="solid"/>
            <a:miter/>
          </a:ln>
        </p:spPr>
        <p:txBody>
          <a:bodyPr rtlCol="0" anchor="ctr"/>
          <a:lstStyle/>
          <a:p>
            <a:pPr rtl="0"/>
            <a:endParaRPr lang="en-US"/>
          </a:p>
        </p:txBody>
      </p:sp>
      <p:sp>
        <p:nvSpPr>
          <p:cNvPr id="70" name="Freihandform: Form 69">
            <a:extLst>
              <a:ext uri="{FF2B5EF4-FFF2-40B4-BE49-F238E27FC236}">
                <a16:creationId xmlns:a16="http://schemas.microsoft.com/office/drawing/2014/main" id="{B108D00B-F584-45AE-88D7-637B206C908C}"/>
              </a:ext>
            </a:extLst>
          </p:cNvPr>
          <p:cNvSpPr/>
          <p:nvPr/>
        </p:nvSpPr>
        <p:spPr>
          <a:xfrm>
            <a:off x="10454616" y="3022002"/>
            <a:ext cx="280824" cy="305294"/>
          </a:xfrm>
          <a:custGeom>
            <a:avLst/>
            <a:gdLst>
              <a:gd name="connsiteX0" fmla="*/ 129343 w 280824"/>
              <a:gd name="connsiteY0" fmla="*/ 305295 h 305294"/>
              <a:gd name="connsiteX1" fmla="*/ 0 w 280824"/>
              <a:gd name="connsiteY1" fmla="*/ 305295 h 305294"/>
              <a:gd name="connsiteX2" fmla="*/ 150317 w 280824"/>
              <a:gd name="connsiteY2" fmla="*/ 153813 h 305294"/>
              <a:gd name="connsiteX3" fmla="*/ 0 w 280824"/>
              <a:gd name="connsiteY3" fmla="*/ 0 h 305294"/>
              <a:gd name="connsiteX4" fmla="*/ 131673 w 280824"/>
              <a:gd name="connsiteY4" fmla="*/ 0 h 305294"/>
              <a:gd name="connsiteX5" fmla="*/ 280825 w 280824"/>
              <a:gd name="connsiteY5" fmla="*/ 150317 h 305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5294">
                <a:moveTo>
                  <a:pt x="129343" y="305295"/>
                </a:moveTo>
                <a:lnTo>
                  <a:pt x="0" y="305295"/>
                </a:lnTo>
                <a:lnTo>
                  <a:pt x="150317" y="153813"/>
                </a:lnTo>
                <a:lnTo>
                  <a:pt x="0" y="0"/>
                </a:lnTo>
                <a:lnTo>
                  <a:pt x="131673" y="0"/>
                </a:lnTo>
                <a:lnTo>
                  <a:pt x="280825" y="150317"/>
                </a:lnTo>
                <a:close/>
              </a:path>
            </a:pathLst>
          </a:custGeom>
          <a:solidFill>
            <a:srgbClr val="EEF2F5"/>
          </a:solidFill>
          <a:ln w="11643" cap="flat">
            <a:noFill/>
            <a:prstDash val="solid"/>
            <a:miter/>
          </a:ln>
        </p:spPr>
        <p:txBody>
          <a:bodyPr rtlCol="0" anchor="ctr"/>
          <a:lstStyle/>
          <a:p>
            <a:pPr rtl="0"/>
            <a:endParaRPr lang="en-US"/>
          </a:p>
        </p:txBody>
      </p:sp>
      <p:sp>
        <p:nvSpPr>
          <p:cNvPr id="86" name="Freihandform: Form 85">
            <a:extLst>
              <a:ext uri="{FF2B5EF4-FFF2-40B4-BE49-F238E27FC236}">
                <a16:creationId xmlns:a16="http://schemas.microsoft.com/office/drawing/2014/main" id="{63D6ECD9-E964-4D15-AC74-F1865C75FC49}"/>
              </a:ext>
            </a:extLst>
          </p:cNvPr>
          <p:cNvSpPr/>
          <p:nvPr/>
        </p:nvSpPr>
        <p:spPr>
          <a:xfrm>
            <a:off x="10454616" y="3377403"/>
            <a:ext cx="280824" cy="304129"/>
          </a:xfrm>
          <a:custGeom>
            <a:avLst/>
            <a:gdLst>
              <a:gd name="connsiteX0" fmla="*/ 129343 w 280824"/>
              <a:gd name="connsiteY0" fmla="*/ 304130 h 304129"/>
              <a:gd name="connsiteX1" fmla="*/ 0 w 280824"/>
              <a:gd name="connsiteY1" fmla="*/ 304130 h 304129"/>
              <a:gd name="connsiteX2" fmla="*/ 150317 w 280824"/>
              <a:gd name="connsiteY2" fmla="*/ 153813 h 304129"/>
              <a:gd name="connsiteX3" fmla="*/ 0 w 280824"/>
              <a:gd name="connsiteY3" fmla="*/ 0 h 304129"/>
              <a:gd name="connsiteX4" fmla="*/ 131673 w 280824"/>
              <a:gd name="connsiteY4" fmla="*/ 0 h 304129"/>
              <a:gd name="connsiteX5" fmla="*/ 280825 w 280824"/>
              <a:gd name="connsiteY5" fmla="*/ 149152 h 304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4129">
                <a:moveTo>
                  <a:pt x="129343" y="304130"/>
                </a:moveTo>
                <a:lnTo>
                  <a:pt x="0" y="304130"/>
                </a:lnTo>
                <a:lnTo>
                  <a:pt x="150317" y="153813"/>
                </a:lnTo>
                <a:lnTo>
                  <a:pt x="0" y="0"/>
                </a:lnTo>
                <a:lnTo>
                  <a:pt x="131673" y="0"/>
                </a:lnTo>
                <a:lnTo>
                  <a:pt x="280825" y="149152"/>
                </a:lnTo>
                <a:close/>
              </a:path>
            </a:pathLst>
          </a:custGeom>
          <a:solidFill>
            <a:srgbClr val="EEF2F5"/>
          </a:solidFill>
          <a:ln w="11643" cap="flat">
            <a:noFill/>
            <a:prstDash val="solid"/>
            <a:miter/>
          </a:ln>
        </p:spPr>
        <p:txBody>
          <a:bodyPr rtlCol="0" anchor="ctr"/>
          <a:lstStyle/>
          <a:p>
            <a:pPr rtl="0"/>
            <a:endParaRPr lang="en-US"/>
          </a:p>
        </p:txBody>
      </p:sp>
      <p:sp>
        <p:nvSpPr>
          <p:cNvPr id="102" name="Freihandform: Form 101">
            <a:extLst>
              <a:ext uri="{FF2B5EF4-FFF2-40B4-BE49-F238E27FC236}">
                <a16:creationId xmlns:a16="http://schemas.microsoft.com/office/drawing/2014/main" id="{1A517635-BE85-4E6F-8720-FFD3AE9C8A9E}"/>
              </a:ext>
            </a:extLst>
          </p:cNvPr>
          <p:cNvSpPr/>
          <p:nvPr/>
        </p:nvSpPr>
        <p:spPr>
          <a:xfrm>
            <a:off x="10454616" y="3731638"/>
            <a:ext cx="280824" cy="305294"/>
          </a:xfrm>
          <a:custGeom>
            <a:avLst/>
            <a:gdLst>
              <a:gd name="connsiteX0" fmla="*/ 129343 w 280824"/>
              <a:gd name="connsiteY0" fmla="*/ 305295 h 305294"/>
              <a:gd name="connsiteX1" fmla="*/ 0 w 280824"/>
              <a:gd name="connsiteY1" fmla="*/ 305295 h 305294"/>
              <a:gd name="connsiteX2" fmla="*/ 150317 w 280824"/>
              <a:gd name="connsiteY2" fmla="*/ 153813 h 305294"/>
              <a:gd name="connsiteX3" fmla="*/ 0 w 280824"/>
              <a:gd name="connsiteY3" fmla="*/ 0 h 305294"/>
              <a:gd name="connsiteX4" fmla="*/ 131673 w 280824"/>
              <a:gd name="connsiteY4" fmla="*/ 0 h 305294"/>
              <a:gd name="connsiteX5" fmla="*/ 280825 w 280824"/>
              <a:gd name="connsiteY5" fmla="*/ 150317 h 305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5294">
                <a:moveTo>
                  <a:pt x="129343" y="305295"/>
                </a:moveTo>
                <a:lnTo>
                  <a:pt x="0" y="305295"/>
                </a:lnTo>
                <a:lnTo>
                  <a:pt x="150317" y="153813"/>
                </a:lnTo>
                <a:lnTo>
                  <a:pt x="0" y="0"/>
                </a:lnTo>
                <a:lnTo>
                  <a:pt x="131673" y="0"/>
                </a:lnTo>
                <a:lnTo>
                  <a:pt x="280825" y="150317"/>
                </a:lnTo>
                <a:close/>
              </a:path>
            </a:pathLst>
          </a:custGeom>
          <a:solidFill>
            <a:srgbClr val="EEF2F5"/>
          </a:solidFill>
          <a:ln w="11643" cap="flat">
            <a:noFill/>
            <a:prstDash val="solid"/>
            <a:miter/>
          </a:ln>
        </p:spPr>
        <p:txBody>
          <a:bodyPr rtlCol="0" anchor="ctr"/>
          <a:lstStyle/>
          <a:p>
            <a:pPr rtl="0"/>
            <a:endParaRPr lang="en-US"/>
          </a:p>
        </p:txBody>
      </p:sp>
      <p:sp>
        <p:nvSpPr>
          <p:cNvPr id="118" name="Freihandform: Form 117">
            <a:extLst>
              <a:ext uri="{FF2B5EF4-FFF2-40B4-BE49-F238E27FC236}">
                <a16:creationId xmlns:a16="http://schemas.microsoft.com/office/drawing/2014/main" id="{107FD09D-7EF2-4E43-8333-1BB41EE81E8C}"/>
              </a:ext>
            </a:extLst>
          </p:cNvPr>
          <p:cNvSpPr/>
          <p:nvPr/>
        </p:nvSpPr>
        <p:spPr>
          <a:xfrm>
            <a:off x="10454616" y="4087039"/>
            <a:ext cx="280824" cy="304129"/>
          </a:xfrm>
          <a:custGeom>
            <a:avLst/>
            <a:gdLst>
              <a:gd name="connsiteX0" fmla="*/ 129343 w 280824"/>
              <a:gd name="connsiteY0" fmla="*/ 304130 h 304129"/>
              <a:gd name="connsiteX1" fmla="*/ 0 w 280824"/>
              <a:gd name="connsiteY1" fmla="*/ 304130 h 304129"/>
              <a:gd name="connsiteX2" fmla="*/ 150317 w 280824"/>
              <a:gd name="connsiteY2" fmla="*/ 153813 h 304129"/>
              <a:gd name="connsiteX3" fmla="*/ 0 w 280824"/>
              <a:gd name="connsiteY3" fmla="*/ 0 h 304129"/>
              <a:gd name="connsiteX4" fmla="*/ 131673 w 280824"/>
              <a:gd name="connsiteY4" fmla="*/ 0 h 304129"/>
              <a:gd name="connsiteX5" fmla="*/ 280825 w 280824"/>
              <a:gd name="connsiteY5" fmla="*/ 149152 h 304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4129">
                <a:moveTo>
                  <a:pt x="129343" y="304130"/>
                </a:moveTo>
                <a:lnTo>
                  <a:pt x="0" y="304130"/>
                </a:lnTo>
                <a:lnTo>
                  <a:pt x="150317" y="153813"/>
                </a:lnTo>
                <a:lnTo>
                  <a:pt x="0" y="0"/>
                </a:lnTo>
                <a:lnTo>
                  <a:pt x="131673" y="0"/>
                </a:lnTo>
                <a:lnTo>
                  <a:pt x="280825" y="149152"/>
                </a:lnTo>
                <a:close/>
              </a:path>
            </a:pathLst>
          </a:custGeom>
          <a:solidFill>
            <a:srgbClr val="EEF2F5"/>
          </a:solidFill>
          <a:ln w="11643" cap="flat">
            <a:noFill/>
            <a:prstDash val="solid"/>
            <a:miter/>
          </a:ln>
        </p:spPr>
        <p:txBody>
          <a:bodyPr rtlCol="0" anchor="ctr"/>
          <a:lstStyle/>
          <a:p>
            <a:pPr rtl="0"/>
            <a:endParaRPr lang="en-US"/>
          </a:p>
        </p:txBody>
      </p:sp>
      <p:sp>
        <p:nvSpPr>
          <p:cNvPr id="134" name="Freihandform: Form 133">
            <a:extLst>
              <a:ext uri="{FF2B5EF4-FFF2-40B4-BE49-F238E27FC236}">
                <a16:creationId xmlns:a16="http://schemas.microsoft.com/office/drawing/2014/main" id="{D630C772-EA61-4CD9-88F3-B5A40C068A2C}"/>
              </a:ext>
            </a:extLst>
          </p:cNvPr>
          <p:cNvSpPr/>
          <p:nvPr/>
        </p:nvSpPr>
        <p:spPr>
          <a:xfrm>
            <a:off x="10454616" y="4441274"/>
            <a:ext cx="280824" cy="305294"/>
          </a:xfrm>
          <a:custGeom>
            <a:avLst/>
            <a:gdLst>
              <a:gd name="connsiteX0" fmla="*/ 129343 w 280824"/>
              <a:gd name="connsiteY0" fmla="*/ 305295 h 305294"/>
              <a:gd name="connsiteX1" fmla="*/ 0 w 280824"/>
              <a:gd name="connsiteY1" fmla="*/ 305295 h 305294"/>
              <a:gd name="connsiteX2" fmla="*/ 150317 w 280824"/>
              <a:gd name="connsiteY2" fmla="*/ 153813 h 305294"/>
              <a:gd name="connsiteX3" fmla="*/ 0 w 280824"/>
              <a:gd name="connsiteY3" fmla="*/ 0 h 305294"/>
              <a:gd name="connsiteX4" fmla="*/ 131673 w 280824"/>
              <a:gd name="connsiteY4" fmla="*/ 0 h 305294"/>
              <a:gd name="connsiteX5" fmla="*/ 280825 w 280824"/>
              <a:gd name="connsiteY5" fmla="*/ 150317 h 305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5294">
                <a:moveTo>
                  <a:pt x="129343" y="305295"/>
                </a:moveTo>
                <a:lnTo>
                  <a:pt x="0" y="305295"/>
                </a:lnTo>
                <a:lnTo>
                  <a:pt x="150317" y="153813"/>
                </a:lnTo>
                <a:lnTo>
                  <a:pt x="0" y="0"/>
                </a:lnTo>
                <a:lnTo>
                  <a:pt x="131673" y="0"/>
                </a:lnTo>
                <a:lnTo>
                  <a:pt x="280825" y="150317"/>
                </a:lnTo>
                <a:close/>
              </a:path>
            </a:pathLst>
          </a:custGeom>
          <a:solidFill>
            <a:srgbClr val="EEF2F5"/>
          </a:solidFill>
          <a:ln w="11643" cap="flat">
            <a:noFill/>
            <a:prstDash val="solid"/>
            <a:miter/>
          </a:ln>
        </p:spPr>
        <p:txBody>
          <a:bodyPr rtlCol="0" anchor="ctr"/>
          <a:lstStyle/>
          <a:p>
            <a:pPr rtl="0"/>
            <a:endParaRPr lang="en-US"/>
          </a:p>
        </p:txBody>
      </p:sp>
      <p:sp>
        <p:nvSpPr>
          <p:cNvPr id="151" name="Freihandform: Form 150">
            <a:extLst>
              <a:ext uri="{FF2B5EF4-FFF2-40B4-BE49-F238E27FC236}">
                <a16:creationId xmlns:a16="http://schemas.microsoft.com/office/drawing/2014/main" id="{B58FDE5A-4CC1-4494-B722-D4785E2E9E92}"/>
              </a:ext>
            </a:extLst>
          </p:cNvPr>
          <p:cNvSpPr/>
          <p:nvPr/>
        </p:nvSpPr>
        <p:spPr>
          <a:xfrm>
            <a:off x="10454616" y="4796675"/>
            <a:ext cx="280824" cy="304129"/>
          </a:xfrm>
          <a:custGeom>
            <a:avLst/>
            <a:gdLst>
              <a:gd name="connsiteX0" fmla="*/ 129343 w 280824"/>
              <a:gd name="connsiteY0" fmla="*/ 304130 h 304129"/>
              <a:gd name="connsiteX1" fmla="*/ 0 w 280824"/>
              <a:gd name="connsiteY1" fmla="*/ 304130 h 304129"/>
              <a:gd name="connsiteX2" fmla="*/ 150317 w 280824"/>
              <a:gd name="connsiteY2" fmla="*/ 153813 h 304129"/>
              <a:gd name="connsiteX3" fmla="*/ 0 w 280824"/>
              <a:gd name="connsiteY3" fmla="*/ 0 h 304129"/>
              <a:gd name="connsiteX4" fmla="*/ 131673 w 280824"/>
              <a:gd name="connsiteY4" fmla="*/ 0 h 304129"/>
              <a:gd name="connsiteX5" fmla="*/ 280825 w 280824"/>
              <a:gd name="connsiteY5" fmla="*/ 149152 h 304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4129">
                <a:moveTo>
                  <a:pt x="129343" y="304130"/>
                </a:moveTo>
                <a:lnTo>
                  <a:pt x="0" y="304130"/>
                </a:lnTo>
                <a:lnTo>
                  <a:pt x="150317" y="153813"/>
                </a:lnTo>
                <a:lnTo>
                  <a:pt x="0" y="0"/>
                </a:lnTo>
                <a:lnTo>
                  <a:pt x="131673" y="0"/>
                </a:lnTo>
                <a:lnTo>
                  <a:pt x="280825" y="149152"/>
                </a:lnTo>
                <a:close/>
              </a:path>
            </a:pathLst>
          </a:custGeom>
          <a:solidFill>
            <a:srgbClr val="EEF2F5"/>
          </a:solidFill>
          <a:ln w="11643" cap="flat">
            <a:noFill/>
            <a:prstDash val="solid"/>
            <a:miter/>
          </a:ln>
        </p:spPr>
        <p:txBody>
          <a:bodyPr rtlCol="0" anchor="ctr"/>
          <a:lstStyle/>
          <a:p>
            <a:pPr rtl="0"/>
            <a:endParaRPr lang="en-US"/>
          </a:p>
        </p:txBody>
      </p:sp>
      <p:sp>
        <p:nvSpPr>
          <p:cNvPr id="168" name="Freihandform: Form 167">
            <a:extLst>
              <a:ext uri="{FF2B5EF4-FFF2-40B4-BE49-F238E27FC236}">
                <a16:creationId xmlns:a16="http://schemas.microsoft.com/office/drawing/2014/main" id="{0AC8C872-76B8-4053-8B0A-1A7AAE0AA7A1}"/>
              </a:ext>
            </a:extLst>
          </p:cNvPr>
          <p:cNvSpPr/>
          <p:nvPr/>
        </p:nvSpPr>
        <p:spPr>
          <a:xfrm>
            <a:off x="10454616" y="5150910"/>
            <a:ext cx="280824" cy="305295"/>
          </a:xfrm>
          <a:custGeom>
            <a:avLst/>
            <a:gdLst>
              <a:gd name="connsiteX0" fmla="*/ 129343 w 280824"/>
              <a:gd name="connsiteY0" fmla="*/ 305295 h 305295"/>
              <a:gd name="connsiteX1" fmla="*/ 0 w 280824"/>
              <a:gd name="connsiteY1" fmla="*/ 305295 h 305295"/>
              <a:gd name="connsiteX2" fmla="*/ 150317 w 280824"/>
              <a:gd name="connsiteY2" fmla="*/ 153813 h 305295"/>
              <a:gd name="connsiteX3" fmla="*/ 0 w 280824"/>
              <a:gd name="connsiteY3" fmla="*/ 0 h 305295"/>
              <a:gd name="connsiteX4" fmla="*/ 131673 w 280824"/>
              <a:gd name="connsiteY4" fmla="*/ 0 h 305295"/>
              <a:gd name="connsiteX5" fmla="*/ 280825 w 280824"/>
              <a:gd name="connsiteY5" fmla="*/ 150317 h 305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5295">
                <a:moveTo>
                  <a:pt x="129343" y="305295"/>
                </a:moveTo>
                <a:lnTo>
                  <a:pt x="0" y="305295"/>
                </a:lnTo>
                <a:lnTo>
                  <a:pt x="150317" y="153813"/>
                </a:lnTo>
                <a:lnTo>
                  <a:pt x="0" y="0"/>
                </a:lnTo>
                <a:lnTo>
                  <a:pt x="131673" y="0"/>
                </a:lnTo>
                <a:lnTo>
                  <a:pt x="280825" y="150317"/>
                </a:lnTo>
                <a:close/>
              </a:path>
            </a:pathLst>
          </a:custGeom>
          <a:solidFill>
            <a:srgbClr val="EEF2F5"/>
          </a:solidFill>
          <a:ln w="11643" cap="flat">
            <a:noFill/>
            <a:prstDash val="solid"/>
            <a:miter/>
          </a:ln>
        </p:spPr>
        <p:txBody>
          <a:bodyPr rtlCol="0" anchor="ctr"/>
          <a:lstStyle/>
          <a:p>
            <a:pPr rtl="0"/>
            <a:endParaRPr lang="en-US"/>
          </a:p>
        </p:txBody>
      </p:sp>
      <p:sp>
        <p:nvSpPr>
          <p:cNvPr id="185" name="Freihandform: Form 184">
            <a:extLst>
              <a:ext uri="{FF2B5EF4-FFF2-40B4-BE49-F238E27FC236}">
                <a16:creationId xmlns:a16="http://schemas.microsoft.com/office/drawing/2014/main" id="{0A1E16EF-F3A1-4575-8F8F-D7FE734A79FD}"/>
              </a:ext>
            </a:extLst>
          </p:cNvPr>
          <p:cNvSpPr/>
          <p:nvPr/>
        </p:nvSpPr>
        <p:spPr>
          <a:xfrm>
            <a:off x="10454616" y="5506311"/>
            <a:ext cx="280824" cy="305295"/>
          </a:xfrm>
          <a:custGeom>
            <a:avLst/>
            <a:gdLst>
              <a:gd name="connsiteX0" fmla="*/ 129343 w 280824"/>
              <a:gd name="connsiteY0" fmla="*/ 305295 h 305295"/>
              <a:gd name="connsiteX1" fmla="*/ 0 w 280824"/>
              <a:gd name="connsiteY1" fmla="*/ 305295 h 305295"/>
              <a:gd name="connsiteX2" fmla="*/ 150317 w 280824"/>
              <a:gd name="connsiteY2" fmla="*/ 153813 h 305295"/>
              <a:gd name="connsiteX3" fmla="*/ 0 w 280824"/>
              <a:gd name="connsiteY3" fmla="*/ 0 h 305295"/>
              <a:gd name="connsiteX4" fmla="*/ 131673 w 280824"/>
              <a:gd name="connsiteY4" fmla="*/ 0 h 305295"/>
              <a:gd name="connsiteX5" fmla="*/ 280825 w 280824"/>
              <a:gd name="connsiteY5" fmla="*/ 149152 h 305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5295">
                <a:moveTo>
                  <a:pt x="129343" y="305295"/>
                </a:moveTo>
                <a:lnTo>
                  <a:pt x="0" y="305295"/>
                </a:lnTo>
                <a:lnTo>
                  <a:pt x="150317" y="153813"/>
                </a:lnTo>
                <a:lnTo>
                  <a:pt x="0" y="0"/>
                </a:lnTo>
                <a:lnTo>
                  <a:pt x="131673" y="0"/>
                </a:lnTo>
                <a:lnTo>
                  <a:pt x="280825" y="149152"/>
                </a:lnTo>
                <a:close/>
              </a:path>
            </a:pathLst>
          </a:custGeom>
          <a:solidFill>
            <a:srgbClr val="EEF2F5"/>
          </a:solidFill>
          <a:ln w="11643" cap="flat">
            <a:noFill/>
            <a:prstDash val="solid"/>
            <a:miter/>
          </a:ln>
        </p:spPr>
        <p:txBody>
          <a:bodyPr rtlCol="0" anchor="ctr"/>
          <a:lstStyle/>
          <a:p>
            <a:pPr rtl="0"/>
            <a:endParaRPr lang="en-US"/>
          </a:p>
        </p:txBody>
      </p:sp>
      <p:sp>
        <p:nvSpPr>
          <p:cNvPr id="202" name="Freihandform: Form 201">
            <a:extLst>
              <a:ext uri="{FF2B5EF4-FFF2-40B4-BE49-F238E27FC236}">
                <a16:creationId xmlns:a16="http://schemas.microsoft.com/office/drawing/2014/main" id="{C2091647-BDE3-4497-8513-4EEAA0FFCE88}"/>
              </a:ext>
            </a:extLst>
          </p:cNvPr>
          <p:cNvSpPr/>
          <p:nvPr/>
        </p:nvSpPr>
        <p:spPr>
          <a:xfrm>
            <a:off x="10454616" y="5860546"/>
            <a:ext cx="280824" cy="305295"/>
          </a:xfrm>
          <a:custGeom>
            <a:avLst/>
            <a:gdLst>
              <a:gd name="connsiteX0" fmla="*/ 129343 w 280824"/>
              <a:gd name="connsiteY0" fmla="*/ 305295 h 305295"/>
              <a:gd name="connsiteX1" fmla="*/ 0 w 280824"/>
              <a:gd name="connsiteY1" fmla="*/ 305295 h 305295"/>
              <a:gd name="connsiteX2" fmla="*/ 150317 w 280824"/>
              <a:gd name="connsiteY2" fmla="*/ 153813 h 305295"/>
              <a:gd name="connsiteX3" fmla="*/ 0 w 280824"/>
              <a:gd name="connsiteY3" fmla="*/ 0 h 305295"/>
              <a:gd name="connsiteX4" fmla="*/ 131673 w 280824"/>
              <a:gd name="connsiteY4" fmla="*/ 0 h 305295"/>
              <a:gd name="connsiteX5" fmla="*/ 280825 w 280824"/>
              <a:gd name="connsiteY5" fmla="*/ 150317 h 305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5295">
                <a:moveTo>
                  <a:pt x="129343" y="305295"/>
                </a:moveTo>
                <a:lnTo>
                  <a:pt x="0" y="305295"/>
                </a:lnTo>
                <a:lnTo>
                  <a:pt x="150317" y="153813"/>
                </a:lnTo>
                <a:lnTo>
                  <a:pt x="0" y="0"/>
                </a:lnTo>
                <a:lnTo>
                  <a:pt x="131673" y="0"/>
                </a:lnTo>
                <a:lnTo>
                  <a:pt x="280825" y="150317"/>
                </a:lnTo>
                <a:close/>
              </a:path>
            </a:pathLst>
          </a:custGeom>
          <a:solidFill>
            <a:srgbClr val="EEF2F5"/>
          </a:solidFill>
          <a:ln w="11643" cap="flat">
            <a:noFill/>
            <a:prstDash val="solid"/>
            <a:miter/>
          </a:ln>
        </p:spPr>
        <p:txBody>
          <a:bodyPr rtlCol="0" anchor="ctr"/>
          <a:lstStyle/>
          <a:p>
            <a:pPr rtl="0"/>
            <a:endParaRPr lang="en-US"/>
          </a:p>
        </p:txBody>
      </p:sp>
      <p:sp>
        <p:nvSpPr>
          <p:cNvPr id="37" name="Freihandform: Form 36">
            <a:extLst>
              <a:ext uri="{FF2B5EF4-FFF2-40B4-BE49-F238E27FC236}">
                <a16:creationId xmlns:a16="http://schemas.microsoft.com/office/drawing/2014/main" id="{0197700D-5496-490A-8DC7-CB8C17414912}"/>
              </a:ext>
            </a:extLst>
          </p:cNvPr>
          <p:cNvSpPr/>
          <p:nvPr/>
        </p:nvSpPr>
        <p:spPr>
          <a:xfrm>
            <a:off x="10108537" y="2321688"/>
            <a:ext cx="264511" cy="286650"/>
          </a:xfrm>
          <a:custGeom>
            <a:avLst/>
            <a:gdLst>
              <a:gd name="connsiteX0" fmla="*/ 121186 w 264511"/>
              <a:gd name="connsiteY0" fmla="*/ 286651 h 286650"/>
              <a:gd name="connsiteX1" fmla="*/ 0 w 264511"/>
              <a:gd name="connsiteY1" fmla="*/ 286651 h 286650"/>
              <a:gd name="connsiteX2" fmla="*/ 140995 w 264511"/>
              <a:gd name="connsiteY2" fmla="*/ 144491 h 286650"/>
              <a:gd name="connsiteX3" fmla="*/ 0 w 264511"/>
              <a:gd name="connsiteY3" fmla="*/ 0 h 286650"/>
              <a:gd name="connsiteX4" fmla="*/ 123516 w 264511"/>
              <a:gd name="connsiteY4" fmla="*/ 0 h 286650"/>
              <a:gd name="connsiteX5" fmla="*/ 264511 w 264511"/>
              <a:gd name="connsiteY5" fmla="*/ 140995 h 28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0">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pPr rtl="0"/>
            <a:endParaRPr lang="en-US"/>
          </a:p>
        </p:txBody>
      </p:sp>
      <p:sp>
        <p:nvSpPr>
          <p:cNvPr id="53" name="Freihandform: Form 52">
            <a:extLst>
              <a:ext uri="{FF2B5EF4-FFF2-40B4-BE49-F238E27FC236}">
                <a16:creationId xmlns:a16="http://schemas.microsoft.com/office/drawing/2014/main" id="{76A9C547-A085-4B5D-B3A0-6461D8694E0B}"/>
              </a:ext>
            </a:extLst>
          </p:cNvPr>
          <p:cNvSpPr/>
          <p:nvPr/>
        </p:nvSpPr>
        <p:spPr>
          <a:xfrm>
            <a:off x="10108537" y="2675924"/>
            <a:ext cx="264511" cy="286650"/>
          </a:xfrm>
          <a:custGeom>
            <a:avLst/>
            <a:gdLst>
              <a:gd name="connsiteX0" fmla="*/ 121186 w 264511"/>
              <a:gd name="connsiteY0" fmla="*/ 286651 h 286650"/>
              <a:gd name="connsiteX1" fmla="*/ 0 w 264511"/>
              <a:gd name="connsiteY1" fmla="*/ 286651 h 286650"/>
              <a:gd name="connsiteX2" fmla="*/ 140995 w 264511"/>
              <a:gd name="connsiteY2" fmla="*/ 144491 h 286650"/>
              <a:gd name="connsiteX3" fmla="*/ 0 w 264511"/>
              <a:gd name="connsiteY3" fmla="*/ 0 h 286650"/>
              <a:gd name="connsiteX4" fmla="*/ 123516 w 264511"/>
              <a:gd name="connsiteY4" fmla="*/ 0 h 286650"/>
              <a:gd name="connsiteX5" fmla="*/ 264511 w 264511"/>
              <a:gd name="connsiteY5" fmla="*/ 140995 h 28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0">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pPr rtl="0"/>
            <a:endParaRPr lang="en-US"/>
          </a:p>
        </p:txBody>
      </p:sp>
      <p:sp>
        <p:nvSpPr>
          <p:cNvPr id="69" name="Freihandform: Form 68">
            <a:extLst>
              <a:ext uri="{FF2B5EF4-FFF2-40B4-BE49-F238E27FC236}">
                <a16:creationId xmlns:a16="http://schemas.microsoft.com/office/drawing/2014/main" id="{60D25080-D9B9-4692-9129-2C6183DC021A}"/>
              </a:ext>
            </a:extLst>
          </p:cNvPr>
          <p:cNvSpPr/>
          <p:nvPr/>
        </p:nvSpPr>
        <p:spPr>
          <a:xfrm>
            <a:off x="10108537" y="3031324"/>
            <a:ext cx="264511" cy="286650"/>
          </a:xfrm>
          <a:custGeom>
            <a:avLst/>
            <a:gdLst>
              <a:gd name="connsiteX0" fmla="*/ 121186 w 264511"/>
              <a:gd name="connsiteY0" fmla="*/ 286651 h 286650"/>
              <a:gd name="connsiteX1" fmla="*/ 0 w 264511"/>
              <a:gd name="connsiteY1" fmla="*/ 286651 h 286650"/>
              <a:gd name="connsiteX2" fmla="*/ 140995 w 264511"/>
              <a:gd name="connsiteY2" fmla="*/ 144491 h 286650"/>
              <a:gd name="connsiteX3" fmla="*/ 0 w 264511"/>
              <a:gd name="connsiteY3" fmla="*/ 0 h 286650"/>
              <a:gd name="connsiteX4" fmla="*/ 123516 w 264511"/>
              <a:gd name="connsiteY4" fmla="*/ 0 h 286650"/>
              <a:gd name="connsiteX5" fmla="*/ 264511 w 264511"/>
              <a:gd name="connsiteY5" fmla="*/ 140995 h 28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0">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pPr rtl="0"/>
            <a:endParaRPr lang="en-US"/>
          </a:p>
        </p:txBody>
      </p:sp>
      <p:sp>
        <p:nvSpPr>
          <p:cNvPr id="85" name="Freihandform: Form 84">
            <a:extLst>
              <a:ext uri="{FF2B5EF4-FFF2-40B4-BE49-F238E27FC236}">
                <a16:creationId xmlns:a16="http://schemas.microsoft.com/office/drawing/2014/main" id="{2A48DA5F-5A65-4484-99B7-06DB28D0E54D}"/>
              </a:ext>
            </a:extLst>
          </p:cNvPr>
          <p:cNvSpPr/>
          <p:nvPr/>
        </p:nvSpPr>
        <p:spPr>
          <a:xfrm>
            <a:off x="10108537" y="3385560"/>
            <a:ext cx="264511" cy="287816"/>
          </a:xfrm>
          <a:custGeom>
            <a:avLst/>
            <a:gdLst>
              <a:gd name="connsiteX0" fmla="*/ 121186 w 264511"/>
              <a:gd name="connsiteY0" fmla="*/ 287816 h 287816"/>
              <a:gd name="connsiteX1" fmla="*/ 0 w 264511"/>
              <a:gd name="connsiteY1" fmla="*/ 287816 h 287816"/>
              <a:gd name="connsiteX2" fmla="*/ 140995 w 264511"/>
              <a:gd name="connsiteY2" fmla="*/ 145656 h 287816"/>
              <a:gd name="connsiteX3" fmla="*/ 0 w 264511"/>
              <a:gd name="connsiteY3" fmla="*/ 0 h 287816"/>
              <a:gd name="connsiteX4" fmla="*/ 123516 w 264511"/>
              <a:gd name="connsiteY4" fmla="*/ 0 h 287816"/>
              <a:gd name="connsiteX5" fmla="*/ 264511 w 264511"/>
              <a:gd name="connsiteY5" fmla="*/ 140995 h 287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7816">
                <a:moveTo>
                  <a:pt x="121186" y="287816"/>
                </a:moveTo>
                <a:lnTo>
                  <a:pt x="0" y="287816"/>
                </a:lnTo>
                <a:lnTo>
                  <a:pt x="140995" y="145656"/>
                </a:lnTo>
                <a:lnTo>
                  <a:pt x="0" y="0"/>
                </a:lnTo>
                <a:lnTo>
                  <a:pt x="123516" y="0"/>
                </a:lnTo>
                <a:lnTo>
                  <a:pt x="264511" y="140995"/>
                </a:lnTo>
                <a:close/>
              </a:path>
            </a:pathLst>
          </a:custGeom>
          <a:solidFill>
            <a:srgbClr val="EEF2F5"/>
          </a:solidFill>
          <a:ln w="11643" cap="flat">
            <a:noFill/>
            <a:prstDash val="solid"/>
            <a:miter/>
          </a:ln>
        </p:spPr>
        <p:txBody>
          <a:bodyPr rtlCol="0" anchor="ctr"/>
          <a:lstStyle/>
          <a:p>
            <a:pPr rtl="0"/>
            <a:endParaRPr lang="en-US"/>
          </a:p>
        </p:txBody>
      </p:sp>
      <p:sp>
        <p:nvSpPr>
          <p:cNvPr id="101" name="Freihandform: Form 100">
            <a:extLst>
              <a:ext uri="{FF2B5EF4-FFF2-40B4-BE49-F238E27FC236}">
                <a16:creationId xmlns:a16="http://schemas.microsoft.com/office/drawing/2014/main" id="{44A6A546-5137-4093-9C59-F32093CD42C4}"/>
              </a:ext>
            </a:extLst>
          </p:cNvPr>
          <p:cNvSpPr/>
          <p:nvPr/>
        </p:nvSpPr>
        <p:spPr>
          <a:xfrm>
            <a:off x="10108537" y="3740960"/>
            <a:ext cx="264511" cy="286651"/>
          </a:xfrm>
          <a:custGeom>
            <a:avLst/>
            <a:gdLst>
              <a:gd name="connsiteX0" fmla="*/ 121186 w 264511"/>
              <a:gd name="connsiteY0" fmla="*/ 286651 h 286651"/>
              <a:gd name="connsiteX1" fmla="*/ 0 w 264511"/>
              <a:gd name="connsiteY1" fmla="*/ 286651 h 286651"/>
              <a:gd name="connsiteX2" fmla="*/ 140995 w 264511"/>
              <a:gd name="connsiteY2" fmla="*/ 144491 h 286651"/>
              <a:gd name="connsiteX3" fmla="*/ 0 w 264511"/>
              <a:gd name="connsiteY3" fmla="*/ 0 h 286651"/>
              <a:gd name="connsiteX4" fmla="*/ 123516 w 264511"/>
              <a:gd name="connsiteY4" fmla="*/ 0 h 286651"/>
              <a:gd name="connsiteX5" fmla="*/ 264511 w 264511"/>
              <a:gd name="connsiteY5" fmla="*/ 140995 h 286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1">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pPr rtl="0"/>
            <a:endParaRPr lang="en-US"/>
          </a:p>
        </p:txBody>
      </p:sp>
      <p:sp>
        <p:nvSpPr>
          <p:cNvPr id="117" name="Freihandform: Form 116">
            <a:extLst>
              <a:ext uri="{FF2B5EF4-FFF2-40B4-BE49-F238E27FC236}">
                <a16:creationId xmlns:a16="http://schemas.microsoft.com/office/drawing/2014/main" id="{AB7F8976-AA8B-4089-A252-6E621A6336A0}"/>
              </a:ext>
            </a:extLst>
          </p:cNvPr>
          <p:cNvSpPr/>
          <p:nvPr/>
        </p:nvSpPr>
        <p:spPr>
          <a:xfrm>
            <a:off x="10108537" y="4095195"/>
            <a:ext cx="264511" cy="287816"/>
          </a:xfrm>
          <a:custGeom>
            <a:avLst/>
            <a:gdLst>
              <a:gd name="connsiteX0" fmla="*/ 121186 w 264511"/>
              <a:gd name="connsiteY0" fmla="*/ 287816 h 287816"/>
              <a:gd name="connsiteX1" fmla="*/ 0 w 264511"/>
              <a:gd name="connsiteY1" fmla="*/ 287816 h 287816"/>
              <a:gd name="connsiteX2" fmla="*/ 140995 w 264511"/>
              <a:gd name="connsiteY2" fmla="*/ 145656 h 287816"/>
              <a:gd name="connsiteX3" fmla="*/ 0 w 264511"/>
              <a:gd name="connsiteY3" fmla="*/ 0 h 287816"/>
              <a:gd name="connsiteX4" fmla="*/ 123516 w 264511"/>
              <a:gd name="connsiteY4" fmla="*/ 0 h 287816"/>
              <a:gd name="connsiteX5" fmla="*/ 264511 w 264511"/>
              <a:gd name="connsiteY5" fmla="*/ 140995 h 287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7816">
                <a:moveTo>
                  <a:pt x="121186" y="287816"/>
                </a:moveTo>
                <a:lnTo>
                  <a:pt x="0" y="287816"/>
                </a:lnTo>
                <a:lnTo>
                  <a:pt x="140995" y="145656"/>
                </a:lnTo>
                <a:lnTo>
                  <a:pt x="0" y="0"/>
                </a:lnTo>
                <a:lnTo>
                  <a:pt x="123516" y="0"/>
                </a:lnTo>
                <a:lnTo>
                  <a:pt x="264511" y="140995"/>
                </a:lnTo>
                <a:close/>
              </a:path>
            </a:pathLst>
          </a:custGeom>
          <a:solidFill>
            <a:srgbClr val="EEF2F5"/>
          </a:solidFill>
          <a:ln w="11643" cap="flat">
            <a:noFill/>
            <a:prstDash val="solid"/>
            <a:miter/>
          </a:ln>
        </p:spPr>
        <p:txBody>
          <a:bodyPr rtlCol="0" anchor="ctr"/>
          <a:lstStyle/>
          <a:p>
            <a:pPr rtl="0"/>
            <a:endParaRPr lang="en-US"/>
          </a:p>
        </p:txBody>
      </p:sp>
      <p:sp>
        <p:nvSpPr>
          <p:cNvPr id="133" name="Freihandform: Form 132">
            <a:extLst>
              <a:ext uri="{FF2B5EF4-FFF2-40B4-BE49-F238E27FC236}">
                <a16:creationId xmlns:a16="http://schemas.microsoft.com/office/drawing/2014/main" id="{83F4FE5F-E30B-4C91-B22F-C67DA72E3DB6}"/>
              </a:ext>
            </a:extLst>
          </p:cNvPr>
          <p:cNvSpPr/>
          <p:nvPr/>
        </p:nvSpPr>
        <p:spPr>
          <a:xfrm>
            <a:off x="10108537" y="4450596"/>
            <a:ext cx="264511" cy="286651"/>
          </a:xfrm>
          <a:custGeom>
            <a:avLst/>
            <a:gdLst>
              <a:gd name="connsiteX0" fmla="*/ 121186 w 264511"/>
              <a:gd name="connsiteY0" fmla="*/ 286651 h 286651"/>
              <a:gd name="connsiteX1" fmla="*/ 0 w 264511"/>
              <a:gd name="connsiteY1" fmla="*/ 286651 h 286651"/>
              <a:gd name="connsiteX2" fmla="*/ 140995 w 264511"/>
              <a:gd name="connsiteY2" fmla="*/ 144491 h 286651"/>
              <a:gd name="connsiteX3" fmla="*/ 0 w 264511"/>
              <a:gd name="connsiteY3" fmla="*/ 0 h 286651"/>
              <a:gd name="connsiteX4" fmla="*/ 123516 w 264511"/>
              <a:gd name="connsiteY4" fmla="*/ 0 h 286651"/>
              <a:gd name="connsiteX5" fmla="*/ 264511 w 264511"/>
              <a:gd name="connsiteY5" fmla="*/ 140995 h 286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1">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pPr rtl="0"/>
            <a:endParaRPr lang="en-US"/>
          </a:p>
        </p:txBody>
      </p:sp>
      <p:sp>
        <p:nvSpPr>
          <p:cNvPr id="150" name="Freihandform: Form 149">
            <a:extLst>
              <a:ext uri="{FF2B5EF4-FFF2-40B4-BE49-F238E27FC236}">
                <a16:creationId xmlns:a16="http://schemas.microsoft.com/office/drawing/2014/main" id="{A0F76902-2111-4900-A1DA-A0A919DABDFD}"/>
              </a:ext>
            </a:extLst>
          </p:cNvPr>
          <p:cNvSpPr/>
          <p:nvPr/>
        </p:nvSpPr>
        <p:spPr>
          <a:xfrm>
            <a:off x="10108537" y="4805997"/>
            <a:ext cx="264511" cy="286651"/>
          </a:xfrm>
          <a:custGeom>
            <a:avLst/>
            <a:gdLst>
              <a:gd name="connsiteX0" fmla="*/ 121186 w 264511"/>
              <a:gd name="connsiteY0" fmla="*/ 286651 h 286651"/>
              <a:gd name="connsiteX1" fmla="*/ 0 w 264511"/>
              <a:gd name="connsiteY1" fmla="*/ 286651 h 286651"/>
              <a:gd name="connsiteX2" fmla="*/ 140995 w 264511"/>
              <a:gd name="connsiteY2" fmla="*/ 144491 h 286651"/>
              <a:gd name="connsiteX3" fmla="*/ 0 w 264511"/>
              <a:gd name="connsiteY3" fmla="*/ 0 h 286651"/>
              <a:gd name="connsiteX4" fmla="*/ 123516 w 264511"/>
              <a:gd name="connsiteY4" fmla="*/ 0 h 286651"/>
              <a:gd name="connsiteX5" fmla="*/ 264511 w 264511"/>
              <a:gd name="connsiteY5" fmla="*/ 139830 h 286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1">
                <a:moveTo>
                  <a:pt x="121186" y="286651"/>
                </a:moveTo>
                <a:lnTo>
                  <a:pt x="0" y="286651"/>
                </a:lnTo>
                <a:lnTo>
                  <a:pt x="140995" y="144491"/>
                </a:lnTo>
                <a:lnTo>
                  <a:pt x="0" y="0"/>
                </a:lnTo>
                <a:lnTo>
                  <a:pt x="123516" y="0"/>
                </a:lnTo>
                <a:lnTo>
                  <a:pt x="264511" y="139830"/>
                </a:lnTo>
                <a:close/>
              </a:path>
            </a:pathLst>
          </a:custGeom>
          <a:solidFill>
            <a:srgbClr val="EEF2F5"/>
          </a:solidFill>
          <a:ln w="11643" cap="flat">
            <a:noFill/>
            <a:prstDash val="solid"/>
            <a:miter/>
          </a:ln>
        </p:spPr>
        <p:txBody>
          <a:bodyPr rtlCol="0" anchor="ctr"/>
          <a:lstStyle/>
          <a:p>
            <a:pPr rtl="0"/>
            <a:endParaRPr lang="en-US"/>
          </a:p>
        </p:txBody>
      </p:sp>
      <p:sp>
        <p:nvSpPr>
          <p:cNvPr id="167" name="Freihandform: Form 166">
            <a:extLst>
              <a:ext uri="{FF2B5EF4-FFF2-40B4-BE49-F238E27FC236}">
                <a16:creationId xmlns:a16="http://schemas.microsoft.com/office/drawing/2014/main" id="{9C3904EA-5E6B-4F77-8FB0-BFFAE9C65946}"/>
              </a:ext>
            </a:extLst>
          </p:cNvPr>
          <p:cNvSpPr/>
          <p:nvPr/>
        </p:nvSpPr>
        <p:spPr>
          <a:xfrm>
            <a:off x="10108537" y="5160232"/>
            <a:ext cx="264511" cy="286651"/>
          </a:xfrm>
          <a:custGeom>
            <a:avLst/>
            <a:gdLst>
              <a:gd name="connsiteX0" fmla="*/ 121186 w 264511"/>
              <a:gd name="connsiteY0" fmla="*/ 286651 h 286651"/>
              <a:gd name="connsiteX1" fmla="*/ 0 w 264511"/>
              <a:gd name="connsiteY1" fmla="*/ 286651 h 286651"/>
              <a:gd name="connsiteX2" fmla="*/ 140995 w 264511"/>
              <a:gd name="connsiteY2" fmla="*/ 144491 h 286651"/>
              <a:gd name="connsiteX3" fmla="*/ 0 w 264511"/>
              <a:gd name="connsiteY3" fmla="*/ 0 h 286651"/>
              <a:gd name="connsiteX4" fmla="*/ 123516 w 264511"/>
              <a:gd name="connsiteY4" fmla="*/ 0 h 286651"/>
              <a:gd name="connsiteX5" fmla="*/ 264511 w 264511"/>
              <a:gd name="connsiteY5" fmla="*/ 140995 h 286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1">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pPr rtl="0"/>
            <a:endParaRPr lang="en-US"/>
          </a:p>
        </p:txBody>
      </p:sp>
      <p:sp>
        <p:nvSpPr>
          <p:cNvPr id="184" name="Freihandform: Form 183">
            <a:extLst>
              <a:ext uri="{FF2B5EF4-FFF2-40B4-BE49-F238E27FC236}">
                <a16:creationId xmlns:a16="http://schemas.microsoft.com/office/drawing/2014/main" id="{99280CAD-3553-4542-850A-90F0AD935DFE}"/>
              </a:ext>
            </a:extLst>
          </p:cNvPr>
          <p:cNvSpPr/>
          <p:nvPr/>
        </p:nvSpPr>
        <p:spPr>
          <a:xfrm>
            <a:off x="10108537" y="5515633"/>
            <a:ext cx="264511" cy="286651"/>
          </a:xfrm>
          <a:custGeom>
            <a:avLst/>
            <a:gdLst>
              <a:gd name="connsiteX0" fmla="*/ 121186 w 264511"/>
              <a:gd name="connsiteY0" fmla="*/ 286651 h 286651"/>
              <a:gd name="connsiteX1" fmla="*/ 0 w 264511"/>
              <a:gd name="connsiteY1" fmla="*/ 286651 h 286651"/>
              <a:gd name="connsiteX2" fmla="*/ 140995 w 264511"/>
              <a:gd name="connsiteY2" fmla="*/ 144491 h 286651"/>
              <a:gd name="connsiteX3" fmla="*/ 0 w 264511"/>
              <a:gd name="connsiteY3" fmla="*/ 0 h 286651"/>
              <a:gd name="connsiteX4" fmla="*/ 123516 w 264511"/>
              <a:gd name="connsiteY4" fmla="*/ 0 h 286651"/>
              <a:gd name="connsiteX5" fmla="*/ 264511 w 264511"/>
              <a:gd name="connsiteY5" fmla="*/ 140995 h 286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1">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pPr rtl="0"/>
            <a:endParaRPr lang="en-US"/>
          </a:p>
        </p:txBody>
      </p:sp>
      <p:sp>
        <p:nvSpPr>
          <p:cNvPr id="201" name="Freihandform: Form 200">
            <a:extLst>
              <a:ext uri="{FF2B5EF4-FFF2-40B4-BE49-F238E27FC236}">
                <a16:creationId xmlns:a16="http://schemas.microsoft.com/office/drawing/2014/main" id="{E8A013AF-F105-4965-95B7-AC96F227E824}"/>
              </a:ext>
            </a:extLst>
          </p:cNvPr>
          <p:cNvSpPr/>
          <p:nvPr/>
        </p:nvSpPr>
        <p:spPr>
          <a:xfrm>
            <a:off x="10108537" y="5869868"/>
            <a:ext cx="264511" cy="286650"/>
          </a:xfrm>
          <a:custGeom>
            <a:avLst/>
            <a:gdLst>
              <a:gd name="connsiteX0" fmla="*/ 121186 w 264511"/>
              <a:gd name="connsiteY0" fmla="*/ 286651 h 286650"/>
              <a:gd name="connsiteX1" fmla="*/ 0 w 264511"/>
              <a:gd name="connsiteY1" fmla="*/ 286651 h 286650"/>
              <a:gd name="connsiteX2" fmla="*/ 140995 w 264511"/>
              <a:gd name="connsiteY2" fmla="*/ 144491 h 286650"/>
              <a:gd name="connsiteX3" fmla="*/ 0 w 264511"/>
              <a:gd name="connsiteY3" fmla="*/ 0 h 286650"/>
              <a:gd name="connsiteX4" fmla="*/ 123516 w 264511"/>
              <a:gd name="connsiteY4" fmla="*/ 0 h 286650"/>
              <a:gd name="connsiteX5" fmla="*/ 264511 w 264511"/>
              <a:gd name="connsiteY5" fmla="*/ 140995 h 28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0">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pPr rtl="0"/>
            <a:endParaRPr lang="en-US"/>
          </a:p>
        </p:txBody>
      </p:sp>
      <p:sp>
        <p:nvSpPr>
          <p:cNvPr id="218" name="Freihandform: Form 217">
            <a:extLst>
              <a:ext uri="{FF2B5EF4-FFF2-40B4-BE49-F238E27FC236}">
                <a16:creationId xmlns:a16="http://schemas.microsoft.com/office/drawing/2014/main" id="{7F42F650-844E-4C84-9059-2EC117988F05}"/>
              </a:ext>
            </a:extLst>
          </p:cNvPr>
          <p:cNvSpPr/>
          <p:nvPr/>
        </p:nvSpPr>
        <p:spPr>
          <a:xfrm>
            <a:off x="10108537" y="6225269"/>
            <a:ext cx="264511" cy="286650"/>
          </a:xfrm>
          <a:custGeom>
            <a:avLst/>
            <a:gdLst>
              <a:gd name="connsiteX0" fmla="*/ 121186 w 264511"/>
              <a:gd name="connsiteY0" fmla="*/ 286651 h 286650"/>
              <a:gd name="connsiteX1" fmla="*/ 0 w 264511"/>
              <a:gd name="connsiteY1" fmla="*/ 286651 h 286650"/>
              <a:gd name="connsiteX2" fmla="*/ 140995 w 264511"/>
              <a:gd name="connsiteY2" fmla="*/ 144491 h 286650"/>
              <a:gd name="connsiteX3" fmla="*/ 0 w 264511"/>
              <a:gd name="connsiteY3" fmla="*/ 0 h 286650"/>
              <a:gd name="connsiteX4" fmla="*/ 123516 w 264511"/>
              <a:gd name="connsiteY4" fmla="*/ 0 h 286650"/>
              <a:gd name="connsiteX5" fmla="*/ 264511 w 264511"/>
              <a:gd name="connsiteY5" fmla="*/ 140995 h 28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0">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pPr rtl="0"/>
            <a:endParaRPr lang="en-US"/>
          </a:p>
        </p:txBody>
      </p:sp>
      <p:sp>
        <p:nvSpPr>
          <p:cNvPr id="5" name="Freihandform: Form 4">
            <a:extLst>
              <a:ext uri="{FF2B5EF4-FFF2-40B4-BE49-F238E27FC236}">
                <a16:creationId xmlns:a16="http://schemas.microsoft.com/office/drawing/2014/main" id="{37FF9268-487B-457F-B2C7-1E1C142BF17B}"/>
              </a:ext>
            </a:extLst>
          </p:cNvPr>
          <p:cNvSpPr/>
          <p:nvPr/>
        </p:nvSpPr>
        <p:spPr>
          <a:xfrm>
            <a:off x="4909201" y="2101456"/>
            <a:ext cx="16313" cy="17478"/>
          </a:xfrm>
          <a:custGeom>
            <a:avLst/>
            <a:gdLst>
              <a:gd name="connsiteX0" fmla="*/ 8157 w 16313"/>
              <a:gd name="connsiteY0" fmla="*/ 17479 h 17478"/>
              <a:gd name="connsiteX1" fmla="*/ 0 w 16313"/>
              <a:gd name="connsiteY1" fmla="*/ 17479 h 17478"/>
              <a:gd name="connsiteX2" fmla="*/ 9322 w 16313"/>
              <a:gd name="connsiteY2" fmla="*/ 8157 h 17478"/>
              <a:gd name="connsiteX3" fmla="*/ 0 w 16313"/>
              <a:gd name="connsiteY3" fmla="*/ 0 h 17478"/>
              <a:gd name="connsiteX4" fmla="*/ 8157 w 16313"/>
              <a:gd name="connsiteY4" fmla="*/ 0 h 17478"/>
              <a:gd name="connsiteX5" fmla="*/ 16313 w 16313"/>
              <a:gd name="connsiteY5" fmla="*/ 8157 h 17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13" h="17478">
                <a:moveTo>
                  <a:pt x="8157" y="17479"/>
                </a:moveTo>
                <a:lnTo>
                  <a:pt x="0" y="17479"/>
                </a:lnTo>
                <a:lnTo>
                  <a:pt x="9322" y="8157"/>
                </a:lnTo>
                <a:lnTo>
                  <a:pt x="0" y="0"/>
                </a:lnTo>
                <a:lnTo>
                  <a:pt x="8157" y="0"/>
                </a:lnTo>
                <a:lnTo>
                  <a:pt x="16313" y="8157"/>
                </a:lnTo>
                <a:close/>
              </a:path>
            </a:pathLst>
          </a:custGeom>
          <a:solidFill>
            <a:srgbClr val="EEF2F5"/>
          </a:solidFill>
          <a:ln w="11643" cap="flat">
            <a:noFill/>
            <a:prstDash val="solid"/>
            <a:miter/>
          </a:ln>
        </p:spPr>
        <p:txBody>
          <a:bodyPr rtlCol="0" anchor="ctr"/>
          <a:lstStyle/>
          <a:p>
            <a:pPr rtl="0"/>
            <a:endParaRPr lang="en-US"/>
          </a:p>
        </p:txBody>
      </p:sp>
      <p:sp>
        <p:nvSpPr>
          <p:cNvPr id="22" name="Freihandform: Form 21">
            <a:extLst>
              <a:ext uri="{FF2B5EF4-FFF2-40B4-BE49-F238E27FC236}">
                <a16:creationId xmlns:a16="http://schemas.microsoft.com/office/drawing/2014/main" id="{67427BC4-9149-4C28-A507-8AD1464E8243}"/>
              </a:ext>
            </a:extLst>
          </p:cNvPr>
          <p:cNvSpPr/>
          <p:nvPr/>
        </p:nvSpPr>
        <p:spPr>
          <a:xfrm>
            <a:off x="4909201" y="2455692"/>
            <a:ext cx="16313" cy="18643"/>
          </a:xfrm>
          <a:custGeom>
            <a:avLst/>
            <a:gdLst>
              <a:gd name="connsiteX0" fmla="*/ 8157 w 16313"/>
              <a:gd name="connsiteY0" fmla="*/ 18644 h 18643"/>
              <a:gd name="connsiteX1" fmla="*/ 0 w 16313"/>
              <a:gd name="connsiteY1" fmla="*/ 18644 h 18643"/>
              <a:gd name="connsiteX2" fmla="*/ 9322 w 16313"/>
              <a:gd name="connsiteY2" fmla="*/ 9322 h 18643"/>
              <a:gd name="connsiteX3" fmla="*/ 0 w 16313"/>
              <a:gd name="connsiteY3" fmla="*/ 0 h 18643"/>
              <a:gd name="connsiteX4" fmla="*/ 8157 w 16313"/>
              <a:gd name="connsiteY4" fmla="*/ 0 h 18643"/>
              <a:gd name="connsiteX5" fmla="*/ 16313 w 16313"/>
              <a:gd name="connsiteY5" fmla="*/ 9322 h 18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13" h="18643">
                <a:moveTo>
                  <a:pt x="8157" y="18644"/>
                </a:moveTo>
                <a:lnTo>
                  <a:pt x="0" y="18644"/>
                </a:lnTo>
                <a:lnTo>
                  <a:pt x="9322" y="9322"/>
                </a:lnTo>
                <a:lnTo>
                  <a:pt x="0" y="0"/>
                </a:lnTo>
                <a:lnTo>
                  <a:pt x="8157" y="0"/>
                </a:lnTo>
                <a:lnTo>
                  <a:pt x="16313" y="9322"/>
                </a:lnTo>
                <a:close/>
              </a:path>
            </a:pathLst>
          </a:custGeom>
          <a:solidFill>
            <a:srgbClr val="EEF2F5"/>
          </a:solidFill>
          <a:ln w="11643" cap="flat">
            <a:noFill/>
            <a:prstDash val="solid"/>
            <a:miter/>
          </a:ln>
        </p:spPr>
        <p:txBody>
          <a:bodyPr rtlCol="0" anchor="ctr"/>
          <a:lstStyle/>
          <a:p>
            <a:pPr rtl="0"/>
            <a:endParaRPr lang="en-US"/>
          </a:p>
        </p:txBody>
      </p:sp>
      <p:sp>
        <p:nvSpPr>
          <p:cNvPr id="38" name="Freihandform: Form 37">
            <a:extLst>
              <a:ext uri="{FF2B5EF4-FFF2-40B4-BE49-F238E27FC236}">
                <a16:creationId xmlns:a16="http://schemas.microsoft.com/office/drawing/2014/main" id="{86AC6BBB-1E60-4206-8581-A22FBBC2FD4E}"/>
              </a:ext>
            </a:extLst>
          </p:cNvPr>
          <p:cNvSpPr/>
          <p:nvPr/>
        </p:nvSpPr>
        <p:spPr>
          <a:xfrm>
            <a:off x="4909201" y="2811092"/>
            <a:ext cx="16313" cy="17478"/>
          </a:xfrm>
          <a:custGeom>
            <a:avLst/>
            <a:gdLst>
              <a:gd name="connsiteX0" fmla="*/ 8157 w 16313"/>
              <a:gd name="connsiteY0" fmla="*/ 17479 h 17478"/>
              <a:gd name="connsiteX1" fmla="*/ 0 w 16313"/>
              <a:gd name="connsiteY1" fmla="*/ 17479 h 17478"/>
              <a:gd name="connsiteX2" fmla="*/ 9322 w 16313"/>
              <a:gd name="connsiteY2" fmla="*/ 8157 h 17478"/>
              <a:gd name="connsiteX3" fmla="*/ 0 w 16313"/>
              <a:gd name="connsiteY3" fmla="*/ 0 h 17478"/>
              <a:gd name="connsiteX4" fmla="*/ 8157 w 16313"/>
              <a:gd name="connsiteY4" fmla="*/ 0 h 17478"/>
              <a:gd name="connsiteX5" fmla="*/ 16313 w 16313"/>
              <a:gd name="connsiteY5" fmla="*/ 8157 h 17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13" h="17478">
                <a:moveTo>
                  <a:pt x="8157" y="17479"/>
                </a:moveTo>
                <a:lnTo>
                  <a:pt x="0" y="17479"/>
                </a:lnTo>
                <a:lnTo>
                  <a:pt x="9322" y="8157"/>
                </a:lnTo>
                <a:lnTo>
                  <a:pt x="0" y="0"/>
                </a:lnTo>
                <a:lnTo>
                  <a:pt x="8157" y="0"/>
                </a:lnTo>
                <a:lnTo>
                  <a:pt x="16313" y="8157"/>
                </a:lnTo>
                <a:close/>
              </a:path>
            </a:pathLst>
          </a:custGeom>
          <a:solidFill>
            <a:srgbClr val="EEF2F5"/>
          </a:solidFill>
          <a:ln w="11643" cap="flat">
            <a:noFill/>
            <a:prstDash val="solid"/>
            <a:miter/>
          </a:ln>
        </p:spPr>
        <p:txBody>
          <a:bodyPr rtlCol="0" anchor="ctr"/>
          <a:lstStyle/>
          <a:p>
            <a:pPr rtl="0"/>
            <a:endParaRPr lang="en-US"/>
          </a:p>
        </p:txBody>
      </p:sp>
      <p:sp>
        <p:nvSpPr>
          <p:cNvPr id="203" name="Freihandform: Form 202">
            <a:extLst>
              <a:ext uri="{FF2B5EF4-FFF2-40B4-BE49-F238E27FC236}">
                <a16:creationId xmlns:a16="http://schemas.microsoft.com/office/drawing/2014/main" id="{A954D734-5BDB-4F7E-8A7B-09593EE1C30A}"/>
              </a:ext>
            </a:extLst>
          </p:cNvPr>
          <p:cNvSpPr/>
          <p:nvPr/>
        </p:nvSpPr>
        <p:spPr>
          <a:xfrm>
            <a:off x="4909201" y="6359273"/>
            <a:ext cx="16313" cy="18643"/>
          </a:xfrm>
          <a:custGeom>
            <a:avLst/>
            <a:gdLst>
              <a:gd name="connsiteX0" fmla="*/ 8157 w 16313"/>
              <a:gd name="connsiteY0" fmla="*/ 18644 h 18643"/>
              <a:gd name="connsiteX1" fmla="*/ 0 w 16313"/>
              <a:gd name="connsiteY1" fmla="*/ 18644 h 18643"/>
              <a:gd name="connsiteX2" fmla="*/ 9322 w 16313"/>
              <a:gd name="connsiteY2" fmla="*/ 9322 h 18643"/>
              <a:gd name="connsiteX3" fmla="*/ 0 w 16313"/>
              <a:gd name="connsiteY3" fmla="*/ 0 h 18643"/>
              <a:gd name="connsiteX4" fmla="*/ 8157 w 16313"/>
              <a:gd name="connsiteY4" fmla="*/ 0 h 18643"/>
              <a:gd name="connsiteX5" fmla="*/ 16313 w 16313"/>
              <a:gd name="connsiteY5" fmla="*/ 9322 h 18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13" h="18643">
                <a:moveTo>
                  <a:pt x="8157" y="18644"/>
                </a:moveTo>
                <a:lnTo>
                  <a:pt x="0" y="18644"/>
                </a:lnTo>
                <a:lnTo>
                  <a:pt x="9322" y="9322"/>
                </a:lnTo>
                <a:lnTo>
                  <a:pt x="0" y="0"/>
                </a:lnTo>
                <a:lnTo>
                  <a:pt x="8157" y="0"/>
                </a:lnTo>
                <a:lnTo>
                  <a:pt x="16313" y="9322"/>
                </a:lnTo>
                <a:close/>
              </a:path>
            </a:pathLst>
          </a:custGeom>
          <a:solidFill>
            <a:srgbClr val="EEF2F5"/>
          </a:solidFill>
          <a:ln w="11643" cap="flat">
            <a:noFill/>
            <a:prstDash val="solid"/>
            <a:miter/>
          </a:ln>
        </p:spPr>
        <p:txBody>
          <a:bodyPr rtlCol="0" anchor="ctr"/>
          <a:lstStyle/>
          <a:p>
            <a:pPr rtl="0"/>
            <a:endParaRPr lang="en-US"/>
          </a:p>
        </p:txBody>
      </p:sp>
      <p:sp>
        <p:nvSpPr>
          <p:cNvPr id="219" name="Freihandform: Form 218">
            <a:extLst>
              <a:ext uri="{FF2B5EF4-FFF2-40B4-BE49-F238E27FC236}">
                <a16:creationId xmlns:a16="http://schemas.microsoft.com/office/drawing/2014/main" id="{11ACA275-0A27-41DD-8AD0-A37EF069B3DC}"/>
              </a:ext>
            </a:extLst>
          </p:cNvPr>
          <p:cNvSpPr/>
          <p:nvPr/>
        </p:nvSpPr>
        <p:spPr>
          <a:xfrm>
            <a:off x="4909201" y="6714673"/>
            <a:ext cx="16313" cy="17478"/>
          </a:xfrm>
          <a:custGeom>
            <a:avLst/>
            <a:gdLst>
              <a:gd name="connsiteX0" fmla="*/ 8157 w 16313"/>
              <a:gd name="connsiteY0" fmla="*/ 17479 h 17478"/>
              <a:gd name="connsiteX1" fmla="*/ 0 w 16313"/>
              <a:gd name="connsiteY1" fmla="*/ 17479 h 17478"/>
              <a:gd name="connsiteX2" fmla="*/ 9322 w 16313"/>
              <a:gd name="connsiteY2" fmla="*/ 8157 h 17478"/>
              <a:gd name="connsiteX3" fmla="*/ 0 w 16313"/>
              <a:gd name="connsiteY3" fmla="*/ 0 h 17478"/>
              <a:gd name="connsiteX4" fmla="*/ 8157 w 16313"/>
              <a:gd name="connsiteY4" fmla="*/ 0 h 17478"/>
              <a:gd name="connsiteX5" fmla="*/ 16313 w 16313"/>
              <a:gd name="connsiteY5" fmla="*/ 8157 h 17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13" h="17478">
                <a:moveTo>
                  <a:pt x="8157" y="17479"/>
                </a:moveTo>
                <a:lnTo>
                  <a:pt x="0" y="17479"/>
                </a:lnTo>
                <a:lnTo>
                  <a:pt x="9322" y="8157"/>
                </a:lnTo>
                <a:lnTo>
                  <a:pt x="0" y="0"/>
                </a:lnTo>
                <a:lnTo>
                  <a:pt x="8157" y="0"/>
                </a:lnTo>
                <a:lnTo>
                  <a:pt x="16313" y="8157"/>
                </a:lnTo>
                <a:close/>
              </a:path>
            </a:pathLst>
          </a:custGeom>
          <a:solidFill>
            <a:srgbClr val="EEF2F5"/>
          </a:solidFill>
          <a:ln w="11643" cap="flat">
            <a:noFill/>
            <a:prstDash val="solid"/>
            <a:miter/>
          </a:ln>
        </p:spPr>
        <p:txBody>
          <a:bodyPr rtlCol="0" anchor="ctr"/>
          <a:lstStyle/>
          <a:p>
            <a:pPr rtl="0"/>
            <a:endParaRPr lang="en-US"/>
          </a:p>
        </p:txBody>
      </p:sp>
      <p:sp>
        <p:nvSpPr>
          <p:cNvPr id="6" name="Freihandform: Form 5">
            <a:extLst>
              <a:ext uri="{FF2B5EF4-FFF2-40B4-BE49-F238E27FC236}">
                <a16:creationId xmlns:a16="http://schemas.microsoft.com/office/drawing/2014/main" id="{8A4E51D5-9A40-4C2C-A7AF-1757E2BA77A0}"/>
              </a:ext>
            </a:extLst>
          </p:cNvPr>
          <p:cNvSpPr/>
          <p:nvPr/>
        </p:nvSpPr>
        <p:spPr>
          <a:xfrm>
            <a:off x="5255279" y="2092134"/>
            <a:ext cx="33792" cy="36122"/>
          </a:xfrm>
          <a:custGeom>
            <a:avLst/>
            <a:gdLst>
              <a:gd name="connsiteX0" fmla="*/ 15148 w 33792"/>
              <a:gd name="connsiteY0" fmla="*/ 36123 h 36122"/>
              <a:gd name="connsiteX1" fmla="*/ 0 w 33792"/>
              <a:gd name="connsiteY1" fmla="*/ 36123 h 36122"/>
              <a:gd name="connsiteX2" fmla="*/ 18644 w 33792"/>
              <a:gd name="connsiteY2" fmla="*/ 17479 h 36122"/>
              <a:gd name="connsiteX3" fmla="*/ 0 w 33792"/>
              <a:gd name="connsiteY3" fmla="*/ 0 h 36122"/>
              <a:gd name="connsiteX4" fmla="*/ 16313 w 33792"/>
              <a:gd name="connsiteY4" fmla="*/ 0 h 36122"/>
              <a:gd name="connsiteX5" fmla="*/ 33792 w 33792"/>
              <a:gd name="connsiteY5" fmla="*/ 17479 h 3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92" h="36122">
                <a:moveTo>
                  <a:pt x="15148" y="36123"/>
                </a:moveTo>
                <a:lnTo>
                  <a:pt x="0" y="36123"/>
                </a:lnTo>
                <a:lnTo>
                  <a:pt x="18644" y="17479"/>
                </a:lnTo>
                <a:lnTo>
                  <a:pt x="0" y="0"/>
                </a:lnTo>
                <a:lnTo>
                  <a:pt x="16313" y="0"/>
                </a:lnTo>
                <a:lnTo>
                  <a:pt x="33792" y="17479"/>
                </a:lnTo>
                <a:close/>
              </a:path>
            </a:pathLst>
          </a:custGeom>
          <a:solidFill>
            <a:srgbClr val="EEF2F5"/>
          </a:solidFill>
          <a:ln w="11643" cap="flat">
            <a:noFill/>
            <a:prstDash val="solid"/>
            <a:miter/>
          </a:ln>
        </p:spPr>
        <p:txBody>
          <a:bodyPr rtlCol="0" anchor="ctr"/>
          <a:lstStyle/>
          <a:p>
            <a:pPr rtl="0"/>
            <a:endParaRPr lang="en-US"/>
          </a:p>
        </p:txBody>
      </p:sp>
      <p:sp>
        <p:nvSpPr>
          <p:cNvPr id="23" name="Freihandform: Form 22">
            <a:extLst>
              <a:ext uri="{FF2B5EF4-FFF2-40B4-BE49-F238E27FC236}">
                <a16:creationId xmlns:a16="http://schemas.microsoft.com/office/drawing/2014/main" id="{EFF8D231-0526-443F-B572-FBC0C0A7C2F2}"/>
              </a:ext>
            </a:extLst>
          </p:cNvPr>
          <p:cNvSpPr/>
          <p:nvPr/>
        </p:nvSpPr>
        <p:spPr>
          <a:xfrm>
            <a:off x="5255279" y="2446370"/>
            <a:ext cx="33792" cy="36122"/>
          </a:xfrm>
          <a:custGeom>
            <a:avLst/>
            <a:gdLst>
              <a:gd name="connsiteX0" fmla="*/ 15148 w 33792"/>
              <a:gd name="connsiteY0" fmla="*/ 36123 h 36122"/>
              <a:gd name="connsiteX1" fmla="*/ 0 w 33792"/>
              <a:gd name="connsiteY1" fmla="*/ 36123 h 36122"/>
              <a:gd name="connsiteX2" fmla="*/ 18644 w 33792"/>
              <a:gd name="connsiteY2" fmla="*/ 18644 h 36122"/>
              <a:gd name="connsiteX3" fmla="*/ 0 w 33792"/>
              <a:gd name="connsiteY3" fmla="*/ 0 h 36122"/>
              <a:gd name="connsiteX4" fmla="*/ 16313 w 33792"/>
              <a:gd name="connsiteY4" fmla="*/ 0 h 36122"/>
              <a:gd name="connsiteX5" fmla="*/ 33792 w 33792"/>
              <a:gd name="connsiteY5" fmla="*/ 18644 h 3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92" h="36122">
                <a:moveTo>
                  <a:pt x="15148" y="36123"/>
                </a:moveTo>
                <a:lnTo>
                  <a:pt x="0" y="36123"/>
                </a:lnTo>
                <a:lnTo>
                  <a:pt x="18644" y="18644"/>
                </a:lnTo>
                <a:lnTo>
                  <a:pt x="0" y="0"/>
                </a:lnTo>
                <a:lnTo>
                  <a:pt x="16313" y="0"/>
                </a:lnTo>
                <a:lnTo>
                  <a:pt x="33792" y="18644"/>
                </a:lnTo>
                <a:close/>
              </a:path>
            </a:pathLst>
          </a:custGeom>
          <a:solidFill>
            <a:srgbClr val="EEF2F5"/>
          </a:solidFill>
          <a:ln w="11643" cap="flat">
            <a:noFill/>
            <a:prstDash val="solid"/>
            <a:miter/>
          </a:ln>
        </p:spPr>
        <p:txBody>
          <a:bodyPr rtlCol="0" anchor="ctr"/>
          <a:lstStyle/>
          <a:p>
            <a:pPr rtl="0"/>
            <a:endParaRPr lang="en-US"/>
          </a:p>
        </p:txBody>
      </p:sp>
      <p:sp>
        <p:nvSpPr>
          <p:cNvPr id="39" name="Freihandform: Form 38">
            <a:extLst>
              <a:ext uri="{FF2B5EF4-FFF2-40B4-BE49-F238E27FC236}">
                <a16:creationId xmlns:a16="http://schemas.microsoft.com/office/drawing/2014/main" id="{4663B524-8E70-411B-AF82-46000FF0D969}"/>
              </a:ext>
            </a:extLst>
          </p:cNvPr>
          <p:cNvSpPr/>
          <p:nvPr/>
        </p:nvSpPr>
        <p:spPr>
          <a:xfrm>
            <a:off x="5255279" y="2801770"/>
            <a:ext cx="33792" cy="36122"/>
          </a:xfrm>
          <a:custGeom>
            <a:avLst/>
            <a:gdLst>
              <a:gd name="connsiteX0" fmla="*/ 15148 w 33792"/>
              <a:gd name="connsiteY0" fmla="*/ 36123 h 36122"/>
              <a:gd name="connsiteX1" fmla="*/ 0 w 33792"/>
              <a:gd name="connsiteY1" fmla="*/ 36123 h 36122"/>
              <a:gd name="connsiteX2" fmla="*/ 18644 w 33792"/>
              <a:gd name="connsiteY2" fmla="*/ 17479 h 36122"/>
              <a:gd name="connsiteX3" fmla="*/ 0 w 33792"/>
              <a:gd name="connsiteY3" fmla="*/ 0 h 36122"/>
              <a:gd name="connsiteX4" fmla="*/ 16313 w 33792"/>
              <a:gd name="connsiteY4" fmla="*/ 0 h 36122"/>
              <a:gd name="connsiteX5" fmla="*/ 33792 w 33792"/>
              <a:gd name="connsiteY5" fmla="*/ 17479 h 3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92" h="36122">
                <a:moveTo>
                  <a:pt x="15148" y="36123"/>
                </a:moveTo>
                <a:lnTo>
                  <a:pt x="0" y="36123"/>
                </a:lnTo>
                <a:lnTo>
                  <a:pt x="18644" y="17479"/>
                </a:lnTo>
                <a:lnTo>
                  <a:pt x="0" y="0"/>
                </a:lnTo>
                <a:lnTo>
                  <a:pt x="16313" y="0"/>
                </a:lnTo>
                <a:lnTo>
                  <a:pt x="33792" y="17479"/>
                </a:lnTo>
                <a:close/>
              </a:path>
            </a:pathLst>
          </a:custGeom>
          <a:solidFill>
            <a:srgbClr val="EEF2F5"/>
          </a:solidFill>
          <a:ln w="11643" cap="flat">
            <a:noFill/>
            <a:prstDash val="solid"/>
            <a:miter/>
          </a:ln>
        </p:spPr>
        <p:txBody>
          <a:bodyPr rtlCol="0" anchor="ctr"/>
          <a:lstStyle/>
          <a:p>
            <a:pPr rtl="0"/>
            <a:endParaRPr lang="en-US"/>
          </a:p>
        </p:txBody>
      </p:sp>
      <p:sp>
        <p:nvSpPr>
          <p:cNvPr id="55" name="Freihandform: Form 54">
            <a:extLst>
              <a:ext uri="{FF2B5EF4-FFF2-40B4-BE49-F238E27FC236}">
                <a16:creationId xmlns:a16="http://schemas.microsoft.com/office/drawing/2014/main" id="{F4D09A89-D99B-46C8-9144-5A77F64C551B}"/>
              </a:ext>
            </a:extLst>
          </p:cNvPr>
          <p:cNvSpPr/>
          <p:nvPr/>
        </p:nvSpPr>
        <p:spPr>
          <a:xfrm>
            <a:off x="5255279" y="3156006"/>
            <a:ext cx="33792" cy="36122"/>
          </a:xfrm>
          <a:custGeom>
            <a:avLst/>
            <a:gdLst>
              <a:gd name="connsiteX0" fmla="*/ 15148 w 33792"/>
              <a:gd name="connsiteY0" fmla="*/ 36123 h 36122"/>
              <a:gd name="connsiteX1" fmla="*/ 0 w 33792"/>
              <a:gd name="connsiteY1" fmla="*/ 36123 h 36122"/>
              <a:gd name="connsiteX2" fmla="*/ 18644 w 33792"/>
              <a:gd name="connsiteY2" fmla="*/ 18644 h 36122"/>
              <a:gd name="connsiteX3" fmla="*/ 0 w 33792"/>
              <a:gd name="connsiteY3" fmla="*/ 0 h 36122"/>
              <a:gd name="connsiteX4" fmla="*/ 16313 w 33792"/>
              <a:gd name="connsiteY4" fmla="*/ 0 h 36122"/>
              <a:gd name="connsiteX5" fmla="*/ 33792 w 33792"/>
              <a:gd name="connsiteY5" fmla="*/ 18644 h 3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92" h="36122">
                <a:moveTo>
                  <a:pt x="15148" y="36123"/>
                </a:moveTo>
                <a:lnTo>
                  <a:pt x="0" y="36123"/>
                </a:lnTo>
                <a:lnTo>
                  <a:pt x="18644" y="18644"/>
                </a:lnTo>
                <a:lnTo>
                  <a:pt x="0" y="0"/>
                </a:lnTo>
                <a:lnTo>
                  <a:pt x="16313" y="0"/>
                </a:lnTo>
                <a:lnTo>
                  <a:pt x="33792" y="18644"/>
                </a:lnTo>
                <a:close/>
              </a:path>
            </a:pathLst>
          </a:custGeom>
          <a:solidFill>
            <a:srgbClr val="EEF2F5"/>
          </a:solidFill>
          <a:ln w="11643" cap="flat">
            <a:noFill/>
            <a:prstDash val="solid"/>
            <a:miter/>
          </a:ln>
        </p:spPr>
        <p:txBody>
          <a:bodyPr rtlCol="0" anchor="ctr"/>
          <a:lstStyle/>
          <a:p>
            <a:pPr rtl="0"/>
            <a:endParaRPr lang="en-US"/>
          </a:p>
        </p:txBody>
      </p:sp>
      <p:sp>
        <p:nvSpPr>
          <p:cNvPr id="187" name="Freihandform: Form 186">
            <a:extLst>
              <a:ext uri="{FF2B5EF4-FFF2-40B4-BE49-F238E27FC236}">
                <a16:creationId xmlns:a16="http://schemas.microsoft.com/office/drawing/2014/main" id="{9405F1EC-B6AA-4E71-9517-3317B5730FD9}"/>
              </a:ext>
            </a:extLst>
          </p:cNvPr>
          <p:cNvSpPr/>
          <p:nvPr/>
        </p:nvSpPr>
        <p:spPr>
          <a:xfrm>
            <a:off x="5255279" y="5995715"/>
            <a:ext cx="33792" cy="36122"/>
          </a:xfrm>
          <a:custGeom>
            <a:avLst/>
            <a:gdLst>
              <a:gd name="connsiteX0" fmla="*/ 15148 w 33792"/>
              <a:gd name="connsiteY0" fmla="*/ 36123 h 36122"/>
              <a:gd name="connsiteX1" fmla="*/ 0 w 33792"/>
              <a:gd name="connsiteY1" fmla="*/ 36123 h 36122"/>
              <a:gd name="connsiteX2" fmla="*/ 18644 w 33792"/>
              <a:gd name="connsiteY2" fmla="*/ 17479 h 36122"/>
              <a:gd name="connsiteX3" fmla="*/ 0 w 33792"/>
              <a:gd name="connsiteY3" fmla="*/ 0 h 36122"/>
              <a:gd name="connsiteX4" fmla="*/ 16313 w 33792"/>
              <a:gd name="connsiteY4" fmla="*/ 0 h 36122"/>
              <a:gd name="connsiteX5" fmla="*/ 33792 w 33792"/>
              <a:gd name="connsiteY5" fmla="*/ 17479 h 3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92" h="36122">
                <a:moveTo>
                  <a:pt x="15148" y="36123"/>
                </a:moveTo>
                <a:lnTo>
                  <a:pt x="0" y="36123"/>
                </a:lnTo>
                <a:lnTo>
                  <a:pt x="18644" y="17479"/>
                </a:lnTo>
                <a:lnTo>
                  <a:pt x="0" y="0"/>
                </a:lnTo>
                <a:lnTo>
                  <a:pt x="16313" y="0"/>
                </a:lnTo>
                <a:lnTo>
                  <a:pt x="33792" y="17479"/>
                </a:lnTo>
                <a:close/>
              </a:path>
            </a:pathLst>
          </a:custGeom>
          <a:solidFill>
            <a:srgbClr val="EEF2F5"/>
          </a:solidFill>
          <a:ln w="11643" cap="flat">
            <a:noFill/>
            <a:prstDash val="solid"/>
            <a:miter/>
          </a:ln>
        </p:spPr>
        <p:txBody>
          <a:bodyPr rtlCol="0" anchor="ctr"/>
          <a:lstStyle/>
          <a:p>
            <a:pPr rtl="0"/>
            <a:endParaRPr lang="en-US"/>
          </a:p>
        </p:txBody>
      </p:sp>
      <p:sp>
        <p:nvSpPr>
          <p:cNvPr id="204" name="Freihandform: Form 203">
            <a:extLst>
              <a:ext uri="{FF2B5EF4-FFF2-40B4-BE49-F238E27FC236}">
                <a16:creationId xmlns:a16="http://schemas.microsoft.com/office/drawing/2014/main" id="{455ED072-A29F-4FE5-8724-C330B2893FE8}"/>
              </a:ext>
            </a:extLst>
          </p:cNvPr>
          <p:cNvSpPr/>
          <p:nvPr/>
        </p:nvSpPr>
        <p:spPr>
          <a:xfrm>
            <a:off x="5255279" y="6349950"/>
            <a:ext cx="33792" cy="36122"/>
          </a:xfrm>
          <a:custGeom>
            <a:avLst/>
            <a:gdLst>
              <a:gd name="connsiteX0" fmla="*/ 15148 w 33792"/>
              <a:gd name="connsiteY0" fmla="*/ 36123 h 36122"/>
              <a:gd name="connsiteX1" fmla="*/ 0 w 33792"/>
              <a:gd name="connsiteY1" fmla="*/ 36123 h 36122"/>
              <a:gd name="connsiteX2" fmla="*/ 18644 w 33792"/>
              <a:gd name="connsiteY2" fmla="*/ 18644 h 36122"/>
              <a:gd name="connsiteX3" fmla="*/ 0 w 33792"/>
              <a:gd name="connsiteY3" fmla="*/ 0 h 36122"/>
              <a:gd name="connsiteX4" fmla="*/ 16313 w 33792"/>
              <a:gd name="connsiteY4" fmla="*/ 0 h 36122"/>
              <a:gd name="connsiteX5" fmla="*/ 33792 w 33792"/>
              <a:gd name="connsiteY5" fmla="*/ 17479 h 3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92" h="36122">
                <a:moveTo>
                  <a:pt x="15148" y="36123"/>
                </a:moveTo>
                <a:lnTo>
                  <a:pt x="0" y="36123"/>
                </a:lnTo>
                <a:lnTo>
                  <a:pt x="18644" y="18644"/>
                </a:lnTo>
                <a:lnTo>
                  <a:pt x="0" y="0"/>
                </a:lnTo>
                <a:lnTo>
                  <a:pt x="16313" y="0"/>
                </a:lnTo>
                <a:lnTo>
                  <a:pt x="33792" y="17479"/>
                </a:lnTo>
                <a:close/>
              </a:path>
            </a:pathLst>
          </a:custGeom>
          <a:solidFill>
            <a:srgbClr val="EEF2F5"/>
          </a:solidFill>
          <a:ln w="11643" cap="flat">
            <a:noFill/>
            <a:prstDash val="solid"/>
            <a:miter/>
          </a:ln>
        </p:spPr>
        <p:txBody>
          <a:bodyPr rtlCol="0" anchor="ctr"/>
          <a:lstStyle/>
          <a:p>
            <a:pPr rtl="0"/>
            <a:endParaRPr lang="en-US"/>
          </a:p>
        </p:txBody>
      </p:sp>
      <p:sp>
        <p:nvSpPr>
          <p:cNvPr id="220" name="Freihandform: Form 219">
            <a:extLst>
              <a:ext uri="{FF2B5EF4-FFF2-40B4-BE49-F238E27FC236}">
                <a16:creationId xmlns:a16="http://schemas.microsoft.com/office/drawing/2014/main" id="{99942471-7679-49B5-9D52-AEDAA896BBEA}"/>
              </a:ext>
            </a:extLst>
          </p:cNvPr>
          <p:cNvSpPr/>
          <p:nvPr/>
        </p:nvSpPr>
        <p:spPr>
          <a:xfrm>
            <a:off x="5255279" y="6705351"/>
            <a:ext cx="33792" cy="36122"/>
          </a:xfrm>
          <a:custGeom>
            <a:avLst/>
            <a:gdLst>
              <a:gd name="connsiteX0" fmla="*/ 15148 w 33792"/>
              <a:gd name="connsiteY0" fmla="*/ 36123 h 36122"/>
              <a:gd name="connsiteX1" fmla="*/ 0 w 33792"/>
              <a:gd name="connsiteY1" fmla="*/ 36123 h 36122"/>
              <a:gd name="connsiteX2" fmla="*/ 18644 w 33792"/>
              <a:gd name="connsiteY2" fmla="*/ 17479 h 36122"/>
              <a:gd name="connsiteX3" fmla="*/ 0 w 33792"/>
              <a:gd name="connsiteY3" fmla="*/ 0 h 36122"/>
              <a:gd name="connsiteX4" fmla="*/ 16313 w 33792"/>
              <a:gd name="connsiteY4" fmla="*/ 0 h 36122"/>
              <a:gd name="connsiteX5" fmla="*/ 33792 w 33792"/>
              <a:gd name="connsiteY5" fmla="*/ 17479 h 3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92" h="36122">
                <a:moveTo>
                  <a:pt x="15148" y="36123"/>
                </a:moveTo>
                <a:lnTo>
                  <a:pt x="0" y="36123"/>
                </a:lnTo>
                <a:lnTo>
                  <a:pt x="18644" y="17479"/>
                </a:lnTo>
                <a:lnTo>
                  <a:pt x="0" y="0"/>
                </a:lnTo>
                <a:lnTo>
                  <a:pt x="16313" y="0"/>
                </a:lnTo>
                <a:lnTo>
                  <a:pt x="33792" y="17479"/>
                </a:lnTo>
                <a:close/>
              </a:path>
            </a:pathLst>
          </a:custGeom>
          <a:solidFill>
            <a:srgbClr val="EEF2F5"/>
          </a:solidFill>
          <a:ln w="11643" cap="flat">
            <a:noFill/>
            <a:prstDash val="solid"/>
            <a:miter/>
          </a:ln>
        </p:spPr>
        <p:txBody>
          <a:bodyPr rtlCol="0" anchor="ctr"/>
          <a:lstStyle/>
          <a:p>
            <a:pPr rtl="0"/>
            <a:endParaRPr lang="en-US"/>
          </a:p>
        </p:txBody>
      </p:sp>
      <p:sp>
        <p:nvSpPr>
          <p:cNvPr id="7" name="Freihandform: Form 6">
            <a:extLst>
              <a:ext uri="{FF2B5EF4-FFF2-40B4-BE49-F238E27FC236}">
                <a16:creationId xmlns:a16="http://schemas.microsoft.com/office/drawing/2014/main" id="{4036A95C-4698-466B-86BD-E5C4BEBC8F14}"/>
              </a:ext>
            </a:extLst>
          </p:cNvPr>
          <p:cNvSpPr/>
          <p:nvPr/>
        </p:nvSpPr>
        <p:spPr>
          <a:xfrm>
            <a:off x="5602523" y="2082812"/>
            <a:ext cx="50105" cy="54766"/>
          </a:xfrm>
          <a:custGeom>
            <a:avLst/>
            <a:gdLst>
              <a:gd name="connsiteX0" fmla="*/ 22140 w 50105"/>
              <a:gd name="connsiteY0" fmla="*/ 54767 h 54766"/>
              <a:gd name="connsiteX1" fmla="*/ 0 w 50105"/>
              <a:gd name="connsiteY1" fmla="*/ 54767 h 54766"/>
              <a:gd name="connsiteX2" fmla="*/ 26801 w 50105"/>
              <a:gd name="connsiteY2" fmla="*/ 27966 h 54766"/>
              <a:gd name="connsiteX3" fmla="*/ 0 w 50105"/>
              <a:gd name="connsiteY3" fmla="*/ 0 h 54766"/>
              <a:gd name="connsiteX4" fmla="*/ 23305 w 50105"/>
              <a:gd name="connsiteY4" fmla="*/ 0 h 54766"/>
              <a:gd name="connsiteX5" fmla="*/ 50106 w 50105"/>
              <a:gd name="connsiteY5" fmla="*/ 26801 h 5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4765">
                <a:moveTo>
                  <a:pt x="22140" y="54767"/>
                </a:moveTo>
                <a:lnTo>
                  <a:pt x="0" y="54767"/>
                </a:lnTo>
                <a:lnTo>
                  <a:pt x="26801" y="27966"/>
                </a:lnTo>
                <a:lnTo>
                  <a:pt x="0" y="0"/>
                </a:lnTo>
                <a:lnTo>
                  <a:pt x="23305" y="0"/>
                </a:lnTo>
                <a:lnTo>
                  <a:pt x="50106" y="26801"/>
                </a:lnTo>
                <a:close/>
              </a:path>
            </a:pathLst>
          </a:custGeom>
          <a:solidFill>
            <a:srgbClr val="EEF2F5"/>
          </a:solidFill>
          <a:ln w="11643" cap="flat">
            <a:noFill/>
            <a:prstDash val="solid"/>
            <a:miter/>
          </a:ln>
        </p:spPr>
        <p:txBody>
          <a:bodyPr rtlCol="0" anchor="ctr"/>
          <a:lstStyle/>
          <a:p>
            <a:pPr rtl="0"/>
            <a:endParaRPr lang="en-US"/>
          </a:p>
        </p:txBody>
      </p:sp>
      <p:sp>
        <p:nvSpPr>
          <p:cNvPr id="24" name="Freihandform: Form 23">
            <a:extLst>
              <a:ext uri="{FF2B5EF4-FFF2-40B4-BE49-F238E27FC236}">
                <a16:creationId xmlns:a16="http://schemas.microsoft.com/office/drawing/2014/main" id="{BF542F85-6793-447F-ABC7-4DD68400D714}"/>
              </a:ext>
            </a:extLst>
          </p:cNvPr>
          <p:cNvSpPr/>
          <p:nvPr/>
        </p:nvSpPr>
        <p:spPr>
          <a:xfrm>
            <a:off x="5602523" y="2438213"/>
            <a:ext cx="50105" cy="53601"/>
          </a:xfrm>
          <a:custGeom>
            <a:avLst/>
            <a:gdLst>
              <a:gd name="connsiteX0" fmla="*/ 22140 w 50105"/>
              <a:gd name="connsiteY0" fmla="*/ 53601 h 53601"/>
              <a:gd name="connsiteX1" fmla="*/ 0 w 50105"/>
              <a:gd name="connsiteY1" fmla="*/ 53601 h 53601"/>
              <a:gd name="connsiteX2" fmla="*/ 26801 w 50105"/>
              <a:gd name="connsiteY2" fmla="*/ 26801 h 53601"/>
              <a:gd name="connsiteX3" fmla="*/ 0 w 50105"/>
              <a:gd name="connsiteY3" fmla="*/ 0 h 53601"/>
              <a:gd name="connsiteX4" fmla="*/ 23305 w 50105"/>
              <a:gd name="connsiteY4" fmla="*/ 0 h 53601"/>
              <a:gd name="connsiteX5" fmla="*/ 50106 w 50105"/>
              <a:gd name="connsiteY5" fmla="*/ 25635 h 53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3601">
                <a:moveTo>
                  <a:pt x="22140" y="53601"/>
                </a:moveTo>
                <a:lnTo>
                  <a:pt x="0" y="53601"/>
                </a:lnTo>
                <a:lnTo>
                  <a:pt x="26801" y="26801"/>
                </a:lnTo>
                <a:lnTo>
                  <a:pt x="0" y="0"/>
                </a:lnTo>
                <a:lnTo>
                  <a:pt x="23305" y="0"/>
                </a:lnTo>
                <a:lnTo>
                  <a:pt x="50106" y="25635"/>
                </a:lnTo>
                <a:close/>
              </a:path>
            </a:pathLst>
          </a:custGeom>
          <a:solidFill>
            <a:srgbClr val="EEF2F5"/>
          </a:solidFill>
          <a:ln w="11643" cap="flat">
            <a:noFill/>
            <a:prstDash val="solid"/>
            <a:miter/>
          </a:ln>
        </p:spPr>
        <p:txBody>
          <a:bodyPr rtlCol="0" anchor="ctr"/>
          <a:lstStyle/>
          <a:p>
            <a:pPr rtl="0"/>
            <a:endParaRPr lang="en-US"/>
          </a:p>
        </p:txBody>
      </p:sp>
      <p:sp>
        <p:nvSpPr>
          <p:cNvPr id="40" name="Freihandform: Form 39">
            <a:extLst>
              <a:ext uri="{FF2B5EF4-FFF2-40B4-BE49-F238E27FC236}">
                <a16:creationId xmlns:a16="http://schemas.microsoft.com/office/drawing/2014/main" id="{740F153C-C05E-494B-8276-37D3E8653A98}"/>
              </a:ext>
            </a:extLst>
          </p:cNvPr>
          <p:cNvSpPr/>
          <p:nvPr/>
        </p:nvSpPr>
        <p:spPr>
          <a:xfrm>
            <a:off x="5602523" y="2792448"/>
            <a:ext cx="50105" cy="54766"/>
          </a:xfrm>
          <a:custGeom>
            <a:avLst/>
            <a:gdLst>
              <a:gd name="connsiteX0" fmla="*/ 22140 w 50105"/>
              <a:gd name="connsiteY0" fmla="*/ 54767 h 54766"/>
              <a:gd name="connsiteX1" fmla="*/ 0 w 50105"/>
              <a:gd name="connsiteY1" fmla="*/ 54767 h 54766"/>
              <a:gd name="connsiteX2" fmla="*/ 26801 w 50105"/>
              <a:gd name="connsiteY2" fmla="*/ 27966 h 54766"/>
              <a:gd name="connsiteX3" fmla="*/ 0 w 50105"/>
              <a:gd name="connsiteY3" fmla="*/ 0 h 54766"/>
              <a:gd name="connsiteX4" fmla="*/ 23305 w 50105"/>
              <a:gd name="connsiteY4" fmla="*/ 0 h 54766"/>
              <a:gd name="connsiteX5" fmla="*/ 50106 w 50105"/>
              <a:gd name="connsiteY5" fmla="*/ 26801 h 5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4765">
                <a:moveTo>
                  <a:pt x="22140" y="54767"/>
                </a:moveTo>
                <a:lnTo>
                  <a:pt x="0" y="54767"/>
                </a:lnTo>
                <a:lnTo>
                  <a:pt x="26801" y="27966"/>
                </a:lnTo>
                <a:lnTo>
                  <a:pt x="0" y="0"/>
                </a:lnTo>
                <a:lnTo>
                  <a:pt x="23305" y="0"/>
                </a:lnTo>
                <a:lnTo>
                  <a:pt x="50106" y="26801"/>
                </a:lnTo>
                <a:close/>
              </a:path>
            </a:pathLst>
          </a:custGeom>
          <a:solidFill>
            <a:srgbClr val="EEF2F5"/>
          </a:solidFill>
          <a:ln w="11643" cap="flat">
            <a:noFill/>
            <a:prstDash val="solid"/>
            <a:miter/>
          </a:ln>
        </p:spPr>
        <p:txBody>
          <a:bodyPr rtlCol="0" anchor="ctr"/>
          <a:lstStyle/>
          <a:p>
            <a:pPr rtl="0"/>
            <a:endParaRPr lang="en-US"/>
          </a:p>
        </p:txBody>
      </p:sp>
      <p:sp>
        <p:nvSpPr>
          <p:cNvPr id="56" name="Freihandform: Form 55">
            <a:extLst>
              <a:ext uri="{FF2B5EF4-FFF2-40B4-BE49-F238E27FC236}">
                <a16:creationId xmlns:a16="http://schemas.microsoft.com/office/drawing/2014/main" id="{6DC9BB73-A50E-4E7E-85F9-1EC71DEC332C}"/>
              </a:ext>
            </a:extLst>
          </p:cNvPr>
          <p:cNvSpPr/>
          <p:nvPr/>
        </p:nvSpPr>
        <p:spPr>
          <a:xfrm>
            <a:off x="5602523" y="3147849"/>
            <a:ext cx="50105" cy="53601"/>
          </a:xfrm>
          <a:custGeom>
            <a:avLst/>
            <a:gdLst>
              <a:gd name="connsiteX0" fmla="*/ 22140 w 50105"/>
              <a:gd name="connsiteY0" fmla="*/ 53601 h 53601"/>
              <a:gd name="connsiteX1" fmla="*/ 0 w 50105"/>
              <a:gd name="connsiteY1" fmla="*/ 53601 h 53601"/>
              <a:gd name="connsiteX2" fmla="*/ 26801 w 50105"/>
              <a:gd name="connsiteY2" fmla="*/ 26801 h 53601"/>
              <a:gd name="connsiteX3" fmla="*/ 0 w 50105"/>
              <a:gd name="connsiteY3" fmla="*/ 0 h 53601"/>
              <a:gd name="connsiteX4" fmla="*/ 23305 w 50105"/>
              <a:gd name="connsiteY4" fmla="*/ 0 h 53601"/>
              <a:gd name="connsiteX5" fmla="*/ 50106 w 50105"/>
              <a:gd name="connsiteY5" fmla="*/ 26801 h 53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3601">
                <a:moveTo>
                  <a:pt x="22140" y="53601"/>
                </a:moveTo>
                <a:lnTo>
                  <a:pt x="0" y="53601"/>
                </a:lnTo>
                <a:lnTo>
                  <a:pt x="26801" y="26801"/>
                </a:lnTo>
                <a:lnTo>
                  <a:pt x="0" y="0"/>
                </a:lnTo>
                <a:lnTo>
                  <a:pt x="23305" y="0"/>
                </a:lnTo>
                <a:lnTo>
                  <a:pt x="50106" y="26801"/>
                </a:lnTo>
                <a:close/>
              </a:path>
            </a:pathLst>
          </a:custGeom>
          <a:solidFill>
            <a:srgbClr val="EEF2F5"/>
          </a:solidFill>
          <a:ln w="11643" cap="flat">
            <a:noFill/>
            <a:prstDash val="solid"/>
            <a:miter/>
          </a:ln>
        </p:spPr>
        <p:txBody>
          <a:bodyPr rtlCol="0" anchor="ctr"/>
          <a:lstStyle/>
          <a:p>
            <a:pPr rtl="0"/>
            <a:endParaRPr lang="en-US"/>
          </a:p>
        </p:txBody>
      </p:sp>
      <p:sp>
        <p:nvSpPr>
          <p:cNvPr id="72" name="Freihandform: Form 71">
            <a:extLst>
              <a:ext uri="{FF2B5EF4-FFF2-40B4-BE49-F238E27FC236}">
                <a16:creationId xmlns:a16="http://schemas.microsoft.com/office/drawing/2014/main" id="{15AE0A81-8164-4015-8158-36F576D4E31D}"/>
              </a:ext>
            </a:extLst>
          </p:cNvPr>
          <p:cNvSpPr/>
          <p:nvPr/>
        </p:nvSpPr>
        <p:spPr>
          <a:xfrm>
            <a:off x="5602523" y="3502084"/>
            <a:ext cx="50105" cy="54766"/>
          </a:xfrm>
          <a:custGeom>
            <a:avLst/>
            <a:gdLst>
              <a:gd name="connsiteX0" fmla="*/ 22140 w 50105"/>
              <a:gd name="connsiteY0" fmla="*/ 54767 h 54766"/>
              <a:gd name="connsiteX1" fmla="*/ 0 w 50105"/>
              <a:gd name="connsiteY1" fmla="*/ 54767 h 54766"/>
              <a:gd name="connsiteX2" fmla="*/ 26801 w 50105"/>
              <a:gd name="connsiteY2" fmla="*/ 27966 h 54766"/>
              <a:gd name="connsiteX3" fmla="*/ 0 w 50105"/>
              <a:gd name="connsiteY3" fmla="*/ 0 h 54766"/>
              <a:gd name="connsiteX4" fmla="*/ 23305 w 50105"/>
              <a:gd name="connsiteY4" fmla="*/ 0 h 54766"/>
              <a:gd name="connsiteX5" fmla="*/ 50106 w 50105"/>
              <a:gd name="connsiteY5" fmla="*/ 26801 h 5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4765">
                <a:moveTo>
                  <a:pt x="22140" y="54767"/>
                </a:moveTo>
                <a:lnTo>
                  <a:pt x="0" y="54767"/>
                </a:lnTo>
                <a:lnTo>
                  <a:pt x="26801" y="27966"/>
                </a:lnTo>
                <a:lnTo>
                  <a:pt x="0" y="0"/>
                </a:lnTo>
                <a:lnTo>
                  <a:pt x="23305" y="0"/>
                </a:lnTo>
                <a:lnTo>
                  <a:pt x="50106" y="26801"/>
                </a:lnTo>
                <a:close/>
              </a:path>
            </a:pathLst>
          </a:custGeom>
          <a:solidFill>
            <a:srgbClr val="EEF2F5"/>
          </a:solidFill>
          <a:ln w="11643" cap="flat">
            <a:noFill/>
            <a:prstDash val="solid"/>
            <a:miter/>
          </a:ln>
        </p:spPr>
        <p:txBody>
          <a:bodyPr rtlCol="0" anchor="ctr"/>
          <a:lstStyle/>
          <a:p>
            <a:pPr rtl="0"/>
            <a:endParaRPr lang="en-US"/>
          </a:p>
        </p:txBody>
      </p:sp>
      <p:sp>
        <p:nvSpPr>
          <p:cNvPr id="171" name="Freihandform: Form 170">
            <a:extLst>
              <a:ext uri="{FF2B5EF4-FFF2-40B4-BE49-F238E27FC236}">
                <a16:creationId xmlns:a16="http://schemas.microsoft.com/office/drawing/2014/main" id="{F7E7E68A-1C17-4FA5-88E2-BA53C7F9EC18}"/>
              </a:ext>
            </a:extLst>
          </p:cNvPr>
          <p:cNvSpPr/>
          <p:nvPr/>
        </p:nvSpPr>
        <p:spPr>
          <a:xfrm>
            <a:off x="5602523" y="5630993"/>
            <a:ext cx="50105" cy="54766"/>
          </a:xfrm>
          <a:custGeom>
            <a:avLst/>
            <a:gdLst>
              <a:gd name="connsiteX0" fmla="*/ 22140 w 50105"/>
              <a:gd name="connsiteY0" fmla="*/ 54766 h 54766"/>
              <a:gd name="connsiteX1" fmla="*/ 0 w 50105"/>
              <a:gd name="connsiteY1" fmla="*/ 54766 h 54766"/>
              <a:gd name="connsiteX2" fmla="*/ 26801 w 50105"/>
              <a:gd name="connsiteY2" fmla="*/ 27966 h 54766"/>
              <a:gd name="connsiteX3" fmla="*/ 0 w 50105"/>
              <a:gd name="connsiteY3" fmla="*/ 0 h 54766"/>
              <a:gd name="connsiteX4" fmla="*/ 23305 w 50105"/>
              <a:gd name="connsiteY4" fmla="*/ 0 h 54766"/>
              <a:gd name="connsiteX5" fmla="*/ 50106 w 50105"/>
              <a:gd name="connsiteY5" fmla="*/ 26801 h 5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4765">
                <a:moveTo>
                  <a:pt x="22140" y="54766"/>
                </a:moveTo>
                <a:lnTo>
                  <a:pt x="0" y="54766"/>
                </a:lnTo>
                <a:lnTo>
                  <a:pt x="26801" y="27966"/>
                </a:lnTo>
                <a:lnTo>
                  <a:pt x="0" y="0"/>
                </a:lnTo>
                <a:lnTo>
                  <a:pt x="23305" y="0"/>
                </a:lnTo>
                <a:lnTo>
                  <a:pt x="50106" y="26801"/>
                </a:lnTo>
                <a:close/>
              </a:path>
            </a:pathLst>
          </a:custGeom>
          <a:solidFill>
            <a:srgbClr val="EEF2F5"/>
          </a:solidFill>
          <a:ln w="11643" cap="flat">
            <a:noFill/>
            <a:prstDash val="solid"/>
            <a:miter/>
          </a:ln>
        </p:spPr>
        <p:txBody>
          <a:bodyPr rtlCol="0" anchor="ctr"/>
          <a:lstStyle/>
          <a:p>
            <a:pPr rtl="0"/>
            <a:endParaRPr lang="en-US"/>
          </a:p>
        </p:txBody>
      </p:sp>
      <p:sp>
        <p:nvSpPr>
          <p:cNvPr id="188" name="Freihandform: Form 187">
            <a:extLst>
              <a:ext uri="{FF2B5EF4-FFF2-40B4-BE49-F238E27FC236}">
                <a16:creationId xmlns:a16="http://schemas.microsoft.com/office/drawing/2014/main" id="{D858DCE1-2FBD-4D17-8C06-66D6048D5493}"/>
              </a:ext>
            </a:extLst>
          </p:cNvPr>
          <p:cNvSpPr/>
          <p:nvPr/>
        </p:nvSpPr>
        <p:spPr>
          <a:xfrm>
            <a:off x="5602523" y="5986393"/>
            <a:ext cx="50105" cy="54766"/>
          </a:xfrm>
          <a:custGeom>
            <a:avLst/>
            <a:gdLst>
              <a:gd name="connsiteX0" fmla="*/ 22140 w 50105"/>
              <a:gd name="connsiteY0" fmla="*/ 54766 h 54766"/>
              <a:gd name="connsiteX1" fmla="*/ 0 w 50105"/>
              <a:gd name="connsiteY1" fmla="*/ 54766 h 54766"/>
              <a:gd name="connsiteX2" fmla="*/ 26801 w 50105"/>
              <a:gd name="connsiteY2" fmla="*/ 26801 h 54766"/>
              <a:gd name="connsiteX3" fmla="*/ 0 w 50105"/>
              <a:gd name="connsiteY3" fmla="*/ 0 h 54766"/>
              <a:gd name="connsiteX4" fmla="*/ 23305 w 50105"/>
              <a:gd name="connsiteY4" fmla="*/ 0 h 54766"/>
              <a:gd name="connsiteX5" fmla="*/ 50106 w 50105"/>
              <a:gd name="connsiteY5" fmla="*/ 26801 h 5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4765">
                <a:moveTo>
                  <a:pt x="22140" y="54766"/>
                </a:moveTo>
                <a:lnTo>
                  <a:pt x="0" y="54766"/>
                </a:lnTo>
                <a:lnTo>
                  <a:pt x="26801" y="26801"/>
                </a:lnTo>
                <a:lnTo>
                  <a:pt x="0" y="0"/>
                </a:lnTo>
                <a:lnTo>
                  <a:pt x="23305" y="0"/>
                </a:lnTo>
                <a:lnTo>
                  <a:pt x="50106" y="26801"/>
                </a:lnTo>
                <a:close/>
              </a:path>
            </a:pathLst>
          </a:custGeom>
          <a:solidFill>
            <a:srgbClr val="EEF2F5"/>
          </a:solidFill>
          <a:ln w="11643" cap="flat">
            <a:noFill/>
            <a:prstDash val="solid"/>
            <a:miter/>
          </a:ln>
        </p:spPr>
        <p:txBody>
          <a:bodyPr rtlCol="0" anchor="ctr"/>
          <a:lstStyle/>
          <a:p>
            <a:pPr rtl="0"/>
            <a:endParaRPr lang="en-US"/>
          </a:p>
        </p:txBody>
      </p:sp>
      <p:sp>
        <p:nvSpPr>
          <p:cNvPr id="205" name="Freihandform: Form 204">
            <a:extLst>
              <a:ext uri="{FF2B5EF4-FFF2-40B4-BE49-F238E27FC236}">
                <a16:creationId xmlns:a16="http://schemas.microsoft.com/office/drawing/2014/main" id="{A776D8C8-F6BD-495D-AE14-B62B445F9D30}"/>
              </a:ext>
            </a:extLst>
          </p:cNvPr>
          <p:cNvSpPr/>
          <p:nvPr/>
        </p:nvSpPr>
        <p:spPr>
          <a:xfrm>
            <a:off x="5602523" y="6340628"/>
            <a:ext cx="50105" cy="54766"/>
          </a:xfrm>
          <a:custGeom>
            <a:avLst/>
            <a:gdLst>
              <a:gd name="connsiteX0" fmla="*/ 22140 w 50105"/>
              <a:gd name="connsiteY0" fmla="*/ 54766 h 54766"/>
              <a:gd name="connsiteX1" fmla="*/ 0 w 50105"/>
              <a:gd name="connsiteY1" fmla="*/ 54766 h 54766"/>
              <a:gd name="connsiteX2" fmla="*/ 26801 w 50105"/>
              <a:gd name="connsiteY2" fmla="*/ 27966 h 54766"/>
              <a:gd name="connsiteX3" fmla="*/ 0 w 50105"/>
              <a:gd name="connsiteY3" fmla="*/ 0 h 54766"/>
              <a:gd name="connsiteX4" fmla="*/ 23305 w 50105"/>
              <a:gd name="connsiteY4" fmla="*/ 0 h 54766"/>
              <a:gd name="connsiteX5" fmla="*/ 50106 w 50105"/>
              <a:gd name="connsiteY5" fmla="*/ 26801 h 5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4765">
                <a:moveTo>
                  <a:pt x="22140" y="54766"/>
                </a:moveTo>
                <a:lnTo>
                  <a:pt x="0" y="54766"/>
                </a:lnTo>
                <a:lnTo>
                  <a:pt x="26801" y="27966"/>
                </a:lnTo>
                <a:lnTo>
                  <a:pt x="0" y="0"/>
                </a:lnTo>
                <a:lnTo>
                  <a:pt x="23305" y="0"/>
                </a:lnTo>
                <a:lnTo>
                  <a:pt x="50106" y="26801"/>
                </a:lnTo>
                <a:close/>
              </a:path>
            </a:pathLst>
          </a:custGeom>
          <a:solidFill>
            <a:srgbClr val="EEF2F5"/>
          </a:solidFill>
          <a:ln w="11643" cap="flat">
            <a:noFill/>
            <a:prstDash val="solid"/>
            <a:miter/>
          </a:ln>
        </p:spPr>
        <p:txBody>
          <a:bodyPr rtlCol="0" anchor="ctr"/>
          <a:lstStyle/>
          <a:p>
            <a:pPr rtl="0"/>
            <a:endParaRPr lang="en-US"/>
          </a:p>
        </p:txBody>
      </p:sp>
      <p:sp>
        <p:nvSpPr>
          <p:cNvPr id="221" name="Freihandform: Form 220">
            <a:extLst>
              <a:ext uri="{FF2B5EF4-FFF2-40B4-BE49-F238E27FC236}">
                <a16:creationId xmlns:a16="http://schemas.microsoft.com/office/drawing/2014/main" id="{335AC205-F15B-44A8-85C9-E62E3F81F25D}"/>
              </a:ext>
            </a:extLst>
          </p:cNvPr>
          <p:cNvSpPr/>
          <p:nvPr/>
        </p:nvSpPr>
        <p:spPr>
          <a:xfrm>
            <a:off x="5602523" y="6696029"/>
            <a:ext cx="50105" cy="54766"/>
          </a:xfrm>
          <a:custGeom>
            <a:avLst/>
            <a:gdLst>
              <a:gd name="connsiteX0" fmla="*/ 22140 w 50105"/>
              <a:gd name="connsiteY0" fmla="*/ 54766 h 54766"/>
              <a:gd name="connsiteX1" fmla="*/ 0 w 50105"/>
              <a:gd name="connsiteY1" fmla="*/ 54766 h 54766"/>
              <a:gd name="connsiteX2" fmla="*/ 26801 w 50105"/>
              <a:gd name="connsiteY2" fmla="*/ 27966 h 54766"/>
              <a:gd name="connsiteX3" fmla="*/ 0 w 50105"/>
              <a:gd name="connsiteY3" fmla="*/ 0 h 54766"/>
              <a:gd name="connsiteX4" fmla="*/ 23305 w 50105"/>
              <a:gd name="connsiteY4" fmla="*/ 0 h 54766"/>
              <a:gd name="connsiteX5" fmla="*/ 50106 w 50105"/>
              <a:gd name="connsiteY5" fmla="*/ 26801 h 5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4765">
                <a:moveTo>
                  <a:pt x="22140" y="54766"/>
                </a:moveTo>
                <a:lnTo>
                  <a:pt x="0" y="54766"/>
                </a:lnTo>
                <a:lnTo>
                  <a:pt x="26801" y="27966"/>
                </a:lnTo>
                <a:lnTo>
                  <a:pt x="0" y="0"/>
                </a:lnTo>
                <a:lnTo>
                  <a:pt x="23305" y="0"/>
                </a:lnTo>
                <a:lnTo>
                  <a:pt x="50106" y="26801"/>
                </a:lnTo>
                <a:close/>
              </a:path>
            </a:pathLst>
          </a:custGeom>
          <a:solidFill>
            <a:srgbClr val="EEF2F5"/>
          </a:solidFill>
          <a:ln w="11643" cap="flat">
            <a:noFill/>
            <a:prstDash val="solid"/>
            <a:miter/>
          </a:ln>
        </p:spPr>
        <p:txBody>
          <a:bodyPr rtlCol="0" anchor="ctr"/>
          <a:lstStyle/>
          <a:p>
            <a:pPr rtl="0"/>
            <a:endParaRPr lang="en-US"/>
          </a:p>
        </p:txBody>
      </p:sp>
      <p:sp>
        <p:nvSpPr>
          <p:cNvPr id="8" name="Freihandform: Form 7">
            <a:extLst>
              <a:ext uri="{FF2B5EF4-FFF2-40B4-BE49-F238E27FC236}">
                <a16:creationId xmlns:a16="http://schemas.microsoft.com/office/drawing/2014/main" id="{D0D01710-DC2E-4828-86F6-D324528021A5}"/>
              </a:ext>
            </a:extLst>
          </p:cNvPr>
          <p:cNvSpPr/>
          <p:nvPr/>
        </p:nvSpPr>
        <p:spPr>
          <a:xfrm>
            <a:off x="5948602" y="2073490"/>
            <a:ext cx="66419" cy="72245"/>
          </a:xfrm>
          <a:custGeom>
            <a:avLst/>
            <a:gdLst>
              <a:gd name="connsiteX0" fmla="*/ 30297 w 66419"/>
              <a:gd name="connsiteY0" fmla="*/ 72245 h 72245"/>
              <a:gd name="connsiteX1" fmla="*/ 0 w 66419"/>
              <a:gd name="connsiteY1" fmla="*/ 72245 h 72245"/>
              <a:gd name="connsiteX2" fmla="*/ 36123 w 66419"/>
              <a:gd name="connsiteY2" fmla="*/ 37288 h 72245"/>
              <a:gd name="connsiteX3" fmla="*/ 0 w 66419"/>
              <a:gd name="connsiteY3" fmla="*/ 0 h 72245"/>
              <a:gd name="connsiteX4" fmla="*/ 31462 w 66419"/>
              <a:gd name="connsiteY4" fmla="*/ 0 h 72245"/>
              <a:gd name="connsiteX5" fmla="*/ 66419 w 66419"/>
              <a:gd name="connsiteY5" fmla="*/ 36123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5"/>
                </a:moveTo>
                <a:lnTo>
                  <a:pt x="0" y="72245"/>
                </a:lnTo>
                <a:lnTo>
                  <a:pt x="36123" y="37288"/>
                </a:lnTo>
                <a:lnTo>
                  <a:pt x="0" y="0"/>
                </a:lnTo>
                <a:lnTo>
                  <a:pt x="31462" y="0"/>
                </a:lnTo>
                <a:lnTo>
                  <a:pt x="66419" y="36123"/>
                </a:lnTo>
                <a:close/>
              </a:path>
            </a:pathLst>
          </a:custGeom>
          <a:solidFill>
            <a:srgbClr val="EEF2F5"/>
          </a:solidFill>
          <a:ln w="11643" cap="flat">
            <a:noFill/>
            <a:prstDash val="solid"/>
            <a:miter/>
          </a:ln>
        </p:spPr>
        <p:txBody>
          <a:bodyPr rtlCol="0" anchor="ctr"/>
          <a:lstStyle/>
          <a:p>
            <a:pPr rtl="0"/>
            <a:endParaRPr lang="en-US"/>
          </a:p>
        </p:txBody>
      </p:sp>
      <p:sp>
        <p:nvSpPr>
          <p:cNvPr id="25" name="Freihandform: Form 24">
            <a:extLst>
              <a:ext uri="{FF2B5EF4-FFF2-40B4-BE49-F238E27FC236}">
                <a16:creationId xmlns:a16="http://schemas.microsoft.com/office/drawing/2014/main" id="{31123F88-1002-4B81-B9C6-413FE13BBA3A}"/>
              </a:ext>
            </a:extLst>
          </p:cNvPr>
          <p:cNvSpPr/>
          <p:nvPr/>
        </p:nvSpPr>
        <p:spPr>
          <a:xfrm>
            <a:off x="5948602" y="2428891"/>
            <a:ext cx="66419" cy="72245"/>
          </a:xfrm>
          <a:custGeom>
            <a:avLst/>
            <a:gdLst>
              <a:gd name="connsiteX0" fmla="*/ 30297 w 66419"/>
              <a:gd name="connsiteY0" fmla="*/ 72245 h 72245"/>
              <a:gd name="connsiteX1" fmla="*/ 0 w 66419"/>
              <a:gd name="connsiteY1" fmla="*/ 72245 h 72245"/>
              <a:gd name="connsiteX2" fmla="*/ 36123 w 66419"/>
              <a:gd name="connsiteY2" fmla="*/ 36123 h 72245"/>
              <a:gd name="connsiteX3" fmla="*/ 0 w 66419"/>
              <a:gd name="connsiteY3" fmla="*/ 0 h 72245"/>
              <a:gd name="connsiteX4" fmla="*/ 31462 w 66419"/>
              <a:gd name="connsiteY4" fmla="*/ 0 h 72245"/>
              <a:gd name="connsiteX5" fmla="*/ 66419 w 66419"/>
              <a:gd name="connsiteY5" fmla="*/ 34957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5"/>
                </a:moveTo>
                <a:lnTo>
                  <a:pt x="0" y="72245"/>
                </a:lnTo>
                <a:lnTo>
                  <a:pt x="36123" y="36123"/>
                </a:lnTo>
                <a:lnTo>
                  <a:pt x="0" y="0"/>
                </a:lnTo>
                <a:lnTo>
                  <a:pt x="31462" y="0"/>
                </a:lnTo>
                <a:lnTo>
                  <a:pt x="66419" y="34957"/>
                </a:lnTo>
                <a:close/>
              </a:path>
            </a:pathLst>
          </a:custGeom>
          <a:solidFill>
            <a:srgbClr val="EEF2F5"/>
          </a:solidFill>
          <a:ln w="11643" cap="flat">
            <a:noFill/>
            <a:prstDash val="solid"/>
            <a:miter/>
          </a:ln>
        </p:spPr>
        <p:txBody>
          <a:bodyPr rtlCol="0" anchor="ctr"/>
          <a:lstStyle/>
          <a:p>
            <a:pPr rtl="0"/>
            <a:endParaRPr lang="en-US"/>
          </a:p>
        </p:txBody>
      </p:sp>
      <p:sp>
        <p:nvSpPr>
          <p:cNvPr id="41" name="Freihandform: Form 40">
            <a:extLst>
              <a:ext uri="{FF2B5EF4-FFF2-40B4-BE49-F238E27FC236}">
                <a16:creationId xmlns:a16="http://schemas.microsoft.com/office/drawing/2014/main" id="{BA5C8D95-A4B2-4EE7-814A-A5E3649F4137}"/>
              </a:ext>
            </a:extLst>
          </p:cNvPr>
          <p:cNvSpPr/>
          <p:nvPr/>
        </p:nvSpPr>
        <p:spPr>
          <a:xfrm>
            <a:off x="5948602" y="2783126"/>
            <a:ext cx="66419" cy="72245"/>
          </a:xfrm>
          <a:custGeom>
            <a:avLst/>
            <a:gdLst>
              <a:gd name="connsiteX0" fmla="*/ 30297 w 66419"/>
              <a:gd name="connsiteY0" fmla="*/ 72245 h 72245"/>
              <a:gd name="connsiteX1" fmla="*/ 0 w 66419"/>
              <a:gd name="connsiteY1" fmla="*/ 72245 h 72245"/>
              <a:gd name="connsiteX2" fmla="*/ 36123 w 66419"/>
              <a:gd name="connsiteY2" fmla="*/ 37288 h 72245"/>
              <a:gd name="connsiteX3" fmla="*/ 0 w 66419"/>
              <a:gd name="connsiteY3" fmla="*/ 0 h 72245"/>
              <a:gd name="connsiteX4" fmla="*/ 31462 w 66419"/>
              <a:gd name="connsiteY4" fmla="*/ 0 h 72245"/>
              <a:gd name="connsiteX5" fmla="*/ 66419 w 66419"/>
              <a:gd name="connsiteY5" fmla="*/ 36123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5"/>
                </a:moveTo>
                <a:lnTo>
                  <a:pt x="0" y="72245"/>
                </a:lnTo>
                <a:lnTo>
                  <a:pt x="36123" y="37288"/>
                </a:lnTo>
                <a:lnTo>
                  <a:pt x="0" y="0"/>
                </a:lnTo>
                <a:lnTo>
                  <a:pt x="31462" y="0"/>
                </a:lnTo>
                <a:lnTo>
                  <a:pt x="66419" y="36123"/>
                </a:lnTo>
                <a:close/>
              </a:path>
            </a:pathLst>
          </a:custGeom>
          <a:solidFill>
            <a:srgbClr val="EEF2F5"/>
          </a:solidFill>
          <a:ln w="11643" cap="flat">
            <a:noFill/>
            <a:prstDash val="solid"/>
            <a:miter/>
          </a:ln>
        </p:spPr>
        <p:txBody>
          <a:bodyPr rtlCol="0" anchor="ctr"/>
          <a:lstStyle/>
          <a:p>
            <a:pPr rtl="0"/>
            <a:endParaRPr lang="en-US"/>
          </a:p>
        </p:txBody>
      </p:sp>
      <p:sp>
        <p:nvSpPr>
          <p:cNvPr id="57" name="Freihandform: Form 56">
            <a:extLst>
              <a:ext uri="{FF2B5EF4-FFF2-40B4-BE49-F238E27FC236}">
                <a16:creationId xmlns:a16="http://schemas.microsoft.com/office/drawing/2014/main" id="{636D7BF9-1E35-425E-994B-CE960B642C82}"/>
              </a:ext>
            </a:extLst>
          </p:cNvPr>
          <p:cNvSpPr/>
          <p:nvPr/>
        </p:nvSpPr>
        <p:spPr>
          <a:xfrm>
            <a:off x="5948602" y="3138527"/>
            <a:ext cx="66419" cy="72245"/>
          </a:xfrm>
          <a:custGeom>
            <a:avLst/>
            <a:gdLst>
              <a:gd name="connsiteX0" fmla="*/ 30297 w 66419"/>
              <a:gd name="connsiteY0" fmla="*/ 72245 h 72245"/>
              <a:gd name="connsiteX1" fmla="*/ 0 w 66419"/>
              <a:gd name="connsiteY1" fmla="*/ 72245 h 72245"/>
              <a:gd name="connsiteX2" fmla="*/ 36123 w 66419"/>
              <a:gd name="connsiteY2" fmla="*/ 36123 h 72245"/>
              <a:gd name="connsiteX3" fmla="*/ 0 w 66419"/>
              <a:gd name="connsiteY3" fmla="*/ 0 h 72245"/>
              <a:gd name="connsiteX4" fmla="*/ 31462 w 66419"/>
              <a:gd name="connsiteY4" fmla="*/ 0 h 72245"/>
              <a:gd name="connsiteX5" fmla="*/ 66419 w 66419"/>
              <a:gd name="connsiteY5" fmla="*/ 34957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5"/>
                </a:moveTo>
                <a:lnTo>
                  <a:pt x="0" y="72245"/>
                </a:lnTo>
                <a:lnTo>
                  <a:pt x="36123" y="36123"/>
                </a:lnTo>
                <a:lnTo>
                  <a:pt x="0" y="0"/>
                </a:lnTo>
                <a:lnTo>
                  <a:pt x="31462" y="0"/>
                </a:lnTo>
                <a:lnTo>
                  <a:pt x="66419" y="34957"/>
                </a:lnTo>
                <a:close/>
              </a:path>
            </a:pathLst>
          </a:custGeom>
          <a:solidFill>
            <a:srgbClr val="EEF2F5"/>
          </a:solidFill>
          <a:ln w="11643" cap="flat">
            <a:noFill/>
            <a:prstDash val="solid"/>
            <a:miter/>
          </a:ln>
        </p:spPr>
        <p:txBody>
          <a:bodyPr rtlCol="0" anchor="ctr"/>
          <a:lstStyle/>
          <a:p>
            <a:pPr rtl="0"/>
            <a:endParaRPr lang="en-US"/>
          </a:p>
        </p:txBody>
      </p:sp>
      <p:sp>
        <p:nvSpPr>
          <p:cNvPr id="73" name="Freihandform: Form 72">
            <a:extLst>
              <a:ext uri="{FF2B5EF4-FFF2-40B4-BE49-F238E27FC236}">
                <a16:creationId xmlns:a16="http://schemas.microsoft.com/office/drawing/2014/main" id="{DFBDD53B-EB0E-4F44-B437-1C679A10EA5C}"/>
              </a:ext>
            </a:extLst>
          </p:cNvPr>
          <p:cNvSpPr/>
          <p:nvPr/>
        </p:nvSpPr>
        <p:spPr>
          <a:xfrm>
            <a:off x="5948602" y="3492762"/>
            <a:ext cx="66419" cy="73410"/>
          </a:xfrm>
          <a:custGeom>
            <a:avLst/>
            <a:gdLst>
              <a:gd name="connsiteX0" fmla="*/ 30297 w 66419"/>
              <a:gd name="connsiteY0" fmla="*/ 73411 h 73410"/>
              <a:gd name="connsiteX1" fmla="*/ 0 w 66419"/>
              <a:gd name="connsiteY1" fmla="*/ 73411 h 73410"/>
              <a:gd name="connsiteX2" fmla="*/ 36123 w 66419"/>
              <a:gd name="connsiteY2" fmla="*/ 37288 h 73410"/>
              <a:gd name="connsiteX3" fmla="*/ 0 w 66419"/>
              <a:gd name="connsiteY3" fmla="*/ 0 h 73410"/>
              <a:gd name="connsiteX4" fmla="*/ 31462 w 66419"/>
              <a:gd name="connsiteY4" fmla="*/ 0 h 73410"/>
              <a:gd name="connsiteX5" fmla="*/ 66419 w 66419"/>
              <a:gd name="connsiteY5" fmla="*/ 36123 h 73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3410">
                <a:moveTo>
                  <a:pt x="30297" y="73411"/>
                </a:moveTo>
                <a:lnTo>
                  <a:pt x="0" y="73411"/>
                </a:lnTo>
                <a:lnTo>
                  <a:pt x="36123" y="37288"/>
                </a:lnTo>
                <a:lnTo>
                  <a:pt x="0" y="0"/>
                </a:lnTo>
                <a:lnTo>
                  <a:pt x="31462" y="0"/>
                </a:lnTo>
                <a:lnTo>
                  <a:pt x="66419" y="36123"/>
                </a:lnTo>
                <a:close/>
              </a:path>
            </a:pathLst>
          </a:custGeom>
          <a:solidFill>
            <a:srgbClr val="EEF2F5"/>
          </a:solidFill>
          <a:ln w="11643" cap="flat">
            <a:noFill/>
            <a:prstDash val="solid"/>
            <a:miter/>
          </a:ln>
        </p:spPr>
        <p:txBody>
          <a:bodyPr rtlCol="0" anchor="ctr"/>
          <a:lstStyle/>
          <a:p>
            <a:pPr rtl="0"/>
            <a:endParaRPr lang="en-US"/>
          </a:p>
        </p:txBody>
      </p:sp>
      <p:sp>
        <p:nvSpPr>
          <p:cNvPr id="89" name="Freihandform: Form 88">
            <a:extLst>
              <a:ext uri="{FF2B5EF4-FFF2-40B4-BE49-F238E27FC236}">
                <a16:creationId xmlns:a16="http://schemas.microsoft.com/office/drawing/2014/main" id="{3107BFD1-BB04-45D5-9901-72F67CE0736C}"/>
              </a:ext>
            </a:extLst>
          </p:cNvPr>
          <p:cNvSpPr/>
          <p:nvPr/>
        </p:nvSpPr>
        <p:spPr>
          <a:xfrm>
            <a:off x="5948602" y="3848163"/>
            <a:ext cx="66419" cy="72245"/>
          </a:xfrm>
          <a:custGeom>
            <a:avLst/>
            <a:gdLst>
              <a:gd name="connsiteX0" fmla="*/ 30297 w 66419"/>
              <a:gd name="connsiteY0" fmla="*/ 72245 h 72245"/>
              <a:gd name="connsiteX1" fmla="*/ 0 w 66419"/>
              <a:gd name="connsiteY1" fmla="*/ 72245 h 72245"/>
              <a:gd name="connsiteX2" fmla="*/ 36123 w 66419"/>
              <a:gd name="connsiteY2" fmla="*/ 36123 h 72245"/>
              <a:gd name="connsiteX3" fmla="*/ 0 w 66419"/>
              <a:gd name="connsiteY3" fmla="*/ 0 h 72245"/>
              <a:gd name="connsiteX4" fmla="*/ 31462 w 66419"/>
              <a:gd name="connsiteY4" fmla="*/ 0 h 72245"/>
              <a:gd name="connsiteX5" fmla="*/ 66419 w 66419"/>
              <a:gd name="connsiteY5" fmla="*/ 34957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5"/>
                </a:moveTo>
                <a:lnTo>
                  <a:pt x="0" y="72245"/>
                </a:lnTo>
                <a:lnTo>
                  <a:pt x="36123" y="36123"/>
                </a:lnTo>
                <a:lnTo>
                  <a:pt x="0" y="0"/>
                </a:lnTo>
                <a:lnTo>
                  <a:pt x="31462" y="0"/>
                </a:lnTo>
                <a:lnTo>
                  <a:pt x="66419" y="34957"/>
                </a:lnTo>
                <a:close/>
              </a:path>
            </a:pathLst>
          </a:custGeom>
          <a:solidFill>
            <a:srgbClr val="EEF2F5"/>
          </a:solidFill>
          <a:ln w="11643" cap="flat">
            <a:noFill/>
            <a:prstDash val="solid"/>
            <a:miter/>
          </a:ln>
        </p:spPr>
        <p:txBody>
          <a:bodyPr rtlCol="0" anchor="ctr"/>
          <a:lstStyle/>
          <a:p>
            <a:pPr rtl="0"/>
            <a:endParaRPr lang="en-US"/>
          </a:p>
        </p:txBody>
      </p:sp>
      <p:sp>
        <p:nvSpPr>
          <p:cNvPr id="155" name="Freihandform: Form 154">
            <a:extLst>
              <a:ext uri="{FF2B5EF4-FFF2-40B4-BE49-F238E27FC236}">
                <a16:creationId xmlns:a16="http://schemas.microsoft.com/office/drawing/2014/main" id="{0476C6FA-89C7-4150-9910-3BE37EF8061B}"/>
              </a:ext>
            </a:extLst>
          </p:cNvPr>
          <p:cNvSpPr/>
          <p:nvPr/>
        </p:nvSpPr>
        <p:spPr>
          <a:xfrm>
            <a:off x="5948602" y="5267435"/>
            <a:ext cx="66419" cy="72245"/>
          </a:xfrm>
          <a:custGeom>
            <a:avLst/>
            <a:gdLst>
              <a:gd name="connsiteX0" fmla="*/ 30297 w 66419"/>
              <a:gd name="connsiteY0" fmla="*/ 72246 h 72245"/>
              <a:gd name="connsiteX1" fmla="*/ 0 w 66419"/>
              <a:gd name="connsiteY1" fmla="*/ 72246 h 72245"/>
              <a:gd name="connsiteX2" fmla="*/ 36123 w 66419"/>
              <a:gd name="connsiteY2" fmla="*/ 36123 h 72245"/>
              <a:gd name="connsiteX3" fmla="*/ 0 w 66419"/>
              <a:gd name="connsiteY3" fmla="*/ 0 h 72245"/>
              <a:gd name="connsiteX4" fmla="*/ 31462 w 66419"/>
              <a:gd name="connsiteY4" fmla="*/ 0 h 72245"/>
              <a:gd name="connsiteX5" fmla="*/ 66419 w 66419"/>
              <a:gd name="connsiteY5" fmla="*/ 36123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6"/>
                </a:moveTo>
                <a:lnTo>
                  <a:pt x="0" y="72246"/>
                </a:lnTo>
                <a:lnTo>
                  <a:pt x="36123" y="36123"/>
                </a:lnTo>
                <a:lnTo>
                  <a:pt x="0" y="0"/>
                </a:lnTo>
                <a:lnTo>
                  <a:pt x="31462" y="0"/>
                </a:lnTo>
                <a:lnTo>
                  <a:pt x="66419" y="36123"/>
                </a:lnTo>
                <a:close/>
              </a:path>
            </a:pathLst>
          </a:custGeom>
          <a:solidFill>
            <a:srgbClr val="EEF2F5"/>
          </a:solidFill>
          <a:ln w="11643" cap="flat">
            <a:noFill/>
            <a:prstDash val="solid"/>
            <a:miter/>
          </a:ln>
        </p:spPr>
        <p:txBody>
          <a:bodyPr rtlCol="0" anchor="ctr"/>
          <a:lstStyle/>
          <a:p>
            <a:pPr rtl="0"/>
            <a:endParaRPr lang="en-US"/>
          </a:p>
        </p:txBody>
      </p:sp>
      <p:sp>
        <p:nvSpPr>
          <p:cNvPr id="172" name="Freihandform: Form 171">
            <a:extLst>
              <a:ext uri="{FF2B5EF4-FFF2-40B4-BE49-F238E27FC236}">
                <a16:creationId xmlns:a16="http://schemas.microsoft.com/office/drawing/2014/main" id="{B7EA1921-A21C-4EEA-AF29-44E0ABBF486B}"/>
              </a:ext>
            </a:extLst>
          </p:cNvPr>
          <p:cNvSpPr/>
          <p:nvPr/>
        </p:nvSpPr>
        <p:spPr>
          <a:xfrm>
            <a:off x="5948602" y="5622836"/>
            <a:ext cx="66419" cy="72245"/>
          </a:xfrm>
          <a:custGeom>
            <a:avLst/>
            <a:gdLst>
              <a:gd name="connsiteX0" fmla="*/ 30297 w 66419"/>
              <a:gd name="connsiteY0" fmla="*/ 72246 h 72245"/>
              <a:gd name="connsiteX1" fmla="*/ 0 w 66419"/>
              <a:gd name="connsiteY1" fmla="*/ 72246 h 72245"/>
              <a:gd name="connsiteX2" fmla="*/ 36123 w 66419"/>
              <a:gd name="connsiteY2" fmla="*/ 36123 h 72245"/>
              <a:gd name="connsiteX3" fmla="*/ 0 w 66419"/>
              <a:gd name="connsiteY3" fmla="*/ 0 h 72245"/>
              <a:gd name="connsiteX4" fmla="*/ 31462 w 66419"/>
              <a:gd name="connsiteY4" fmla="*/ 0 h 72245"/>
              <a:gd name="connsiteX5" fmla="*/ 66419 w 66419"/>
              <a:gd name="connsiteY5" fmla="*/ 34957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6"/>
                </a:moveTo>
                <a:lnTo>
                  <a:pt x="0" y="72246"/>
                </a:lnTo>
                <a:lnTo>
                  <a:pt x="36123" y="36123"/>
                </a:lnTo>
                <a:lnTo>
                  <a:pt x="0" y="0"/>
                </a:lnTo>
                <a:lnTo>
                  <a:pt x="31462" y="0"/>
                </a:lnTo>
                <a:lnTo>
                  <a:pt x="66419" y="34957"/>
                </a:lnTo>
                <a:close/>
              </a:path>
            </a:pathLst>
          </a:custGeom>
          <a:solidFill>
            <a:srgbClr val="EEF2F5"/>
          </a:solidFill>
          <a:ln w="11643" cap="flat">
            <a:noFill/>
            <a:prstDash val="solid"/>
            <a:miter/>
          </a:ln>
        </p:spPr>
        <p:txBody>
          <a:bodyPr rtlCol="0" anchor="ctr"/>
          <a:lstStyle/>
          <a:p>
            <a:pPr rtl="0"/>
            <a:endParaRPr lang="en-US"/>
          </a:p>
        </p:txBody>
      </p:sp>
      <p:sp>
        <p:nvSpPr>
          <p:cNvPr id="189" name="Freihandform: Form 188">
            <a:extLst>
              <a:ext uri="{FF2B5EF4-FFF2-40B4-BE49-F238E27FC236}">
                <a16:creationId xmlns:a16="http://schemas.microsoft.com/office/drawing/2014/main" id="{4B73D56C-9773-4937-82D9-0C129B27FB09}"/>
              </a:ext>
            </a:extLst>
          </p:cNvPr>
          <p:cNvSpPr/>
          <p:nvPr/>
        </p:nvSpPr>
        <p:spPr>
          <a:xfrm>
            <a:off x="5948602" y="5977071"/>
            <a:ext cx="66419" cy="72245"/>
          </a:xfrm>
          <a:custGeom>
            <a:avLst/>
            <a:gdLst>
              <a:gd name="connsiteX0" fmla="*/ 30297 w 66419"/>
              <a:gd name="connsiteY0" fmla="*/ 72246 h 72245"/>
              <a:gd name="connsiteX1" fmla="*/ 0 w 66419"/>
              <a:gd name="connsiteY1" fmla="*/ 72246 h 72245"/>
              <a:gd name="connsiteX2" fmla="*/ 36123 w 66419"/>
              <a:gd name="connsiteY2" fmla="*/ 36123 h 72245"/>
              <a:gd name="connsiteX3" fmla="*/ 0 w 66419"/>
              <a:gd name="connsiteY3" fmla="*/ 0 h 72245"/>
              <a:gd name="connsiteX4" fmla="*/ 31462 w 66419"/>
              <a:gd name="connsiteY4" fmla="*/ 0 h 72245"/>
              <a:gd name="connsiteX5" fmla="*/ 66419 w 66419"/>
              <a:gd name="connsiteY5" fmla="*/ 36123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6"/>
                </a:moveTo>
                <a:lnTo>
                  <a:pt x="0" y="72246"/>
                </a:lnTo>
                <a:lnTo>
                  <a:pt x="36123" y="36123"/>
                </a:lnTo>
                <a:lnTo>
                  <a:pt x="0" y="0"/>
                </a:lnTo>
                <a:lnTo>
                  <a:pt x="31462" y="0"/>
                </a:lnTo>
                <a:lnTo>
                  <a:pt x="66419" y="36123"/>
                </a:lnTo>
                <a:close/>
              </a:path>
            </a:pathLst>
          </a:custGeom>
          <a:solidFill>
            <a:srgbClr val="EEF2F5"/>
          </a:solidFill>
          <a:ln w="11643" cap="flat">
            <a:noFill/>
            <a:prstDash val="solid"/>
            <a:miter/>
          </a:ln>
        </p:spPr>
        <p:txBody>
          <a:bodyPr rtlCol="0" anchor="ctr"/>
          <a:lstStyle/>
          <a:p>
            <a:pPr rtl="0"/>
            <a:endParaRPr lang="en-US"/>
          </a:p>
        </p:txBody>
      </p:sp>
      <p:sp>
        <p:nvSpPr>
          <p:cNvPr id="206" name="Freihandform: Form 205">
            <a:extLst>
              <a:ext uri="{FF2B5EF4-FFF2-40B4-BE49-F238E27FC236}">
                <a16:creationId xmlns:a16="http://schemas.microsoft.com/office/drawing/2014/main" id="{A2EEDBB3-F918-4A6E-A412-B8C8B911DDD3}"/>
              </a:ext>
            </a:extLst>
          </p:cNvPr>
          <p:cNvSpPr/>
          <p:nvPr/>
        </p:nvSpPr>
        <p:spPr>
          <a:xfrm>
            <a:off x="5948602" y="6332472"/>
            <a:ext cx="66419" cy="72245"/>
          </a:xfrm>
          <a:custGeom>
            <a:avLst/>
            <a:gdLst>
              <a:gd name="connsiteX0" fmla="*/ 30297 w 66419"/>
              <a:gd name="connsiteY0" fmla="*/ 72246 h 72245"/>
              <a:gd name="connsiteX1" fmla="*/ 0 w 66419"/>
              <a:gd name="connsiteY1" fmla="*/ 72246 h 72245"/>
              <a:gd name="connsiteX2" fmla="*/ 36123 w 66419"/>
              <a:gd name="connsiteY2" fmla="*/ 36123 h 72245"/>
              <a:gd name="connsiteX3" fmla="*/ 0 w 66419"/>
              <a:gd name="connsiteY3" fmla="*/ 0 h 72245"/>
              <a:gd name="connsiteX4" fmla="*/ 31462 w 66419"/>
              <a:gd name="connsiteY4" fmla="*/ 0 h 72245"/>
              <a:gd name="connsiteX5" fmla="*/ 66419 w 66419"/>
              <a:gd name="connsiteY5" fmla="*/ 34957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6"/>
                </a:moveTo>
                <a:lnTo>
                  <a:pt x="0" y="72246"/>
                </a:lnTo>
                <a:lnTo>
                  <a:pt x="36123" y="36123"/>
                </a:lnTo>
                <a:lnTo>
                  <a:pt x="0" y="0"/>
                </a:lnTo>
                <a:lnTo>
                  <a:pt x="31462" y="0"/>
                </a:lnTo>
                <a:lnTo>
                  <a:pt x="66419" y="34957"/>
                </a:lnTo>
                <a:close/>
              </a:path>
            </a:pathLst>
          </a:custGeom>
          <a:solidFill>
            <a:srgbClr val="EEF2F5"/>
          </a:solidFill>
          <a:ln w="11643" cap="flat">
            <a:noFill/>
            <a:prstDash val="solid"/>
            <a:miter/>
          </a:ln>
        </p:spPr>
        <p:txBody>
          <a:bodyPr rtlCol="0" anchor="ctr"/>
          <a:lstStyle/>
          <a:p>
            <a:pPr rtl="0"/>
            <a:endParaRPr lang="en-US"/>
          </a:p>
        </p:txBody>
      </p:sp>
      <p:sp>
        <p:nvSpPr>
          <p:cNvPr id="222" name="Freihandform: Form 221">
            <a:extLst>
              <a:ext uri="{FF2B5EF4-FFF2-40B4-BE49-F238E27FC236}">
                <a16:creationId xmlns:a16="http://schemas.microsoft.com/office/drawing/2014/main" id="{E783B07A-D7A5-49D0-8D6F-D0064E121D70}"/>
              </a:ext>
            </a:extLst>
          </p:cNvPr>
          <p:cNvSpPr/>
          <p:nvPr/>
        </p:nvSpPr>
        <p:spPr>
          <a:xfrm>
            <a:off x="5948602" y="6686707"/>
            <a:ext cx="66419" cy="72245"/>
          </a:xfrm>
          <a:custGeom>
            <a:avLst/>
            <a:gdLst>
              <a:gd name="connsiteX0" fmla="*/ 30297 w 66419"/>
              <a:gd name="connsiteY0" fmla="*/ 72246 h 72245"/>
              <a:gd name="connsiteX1" fmla="*/ 0 w 66419"/>
              <a:gd name="connsiteY1" fmla="*/ 72246 h 72245"/>
              <a:gd name="connsiteX2" fmla="*/ 36123 w 66419"/>
              <a:gd name="connsiteY2" fmla="*/ 37288 h 72245"/>
              <a:gd name="connsiteX3" fmla="*/ 0 w 66419"/>
              <a:gd name="connsiteY3" fmla="*/ 0 h 72245"/>
              <a:gd name="connsiteX4" fmla="*/ 31462 w 66419"/>
              <a:gd name="connsiteY4" fmla="*/ 0 h 72245"/>
              <a:gd name="connsiteX5" fmla="*/ 66419 w 66419"/>
              <a:gd name="connsiteY5" fmla="*/ 36123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6"/>
                </a:moveTo>
                <a:lnTo>
                  <a:pt x="0" y="72246"/>
                </a:lnTo>
                <a:lnTo>
                  <a:pt x="36123" y="37288"/>
                </a:lnTo>
                <a:lnTo>
                  <a:pt x="0" y="0"/>
                </a:lnTo>
                <a:lnTo>
                  <a:pt x="31462" y="0"/>
                </a:lnTo>
                <a:lnTo>
                  <a:pt x="66419" y="36123"/>
                </a:lnTo>
                <a:close/>
              </a:path>
            </a:pathLst>
          </a:custGeom>
          <a:solidFill>
            <a:srgbClr val="EEF2F5"/>
          </a:solidFill>
          <a:ln w="11643" cap="flat">
            <a:noFill/>
            <a:prstDash val="solid"/>
            <a:miter/>
          </a:ln>
        </p:spPr>
        <p:txBody>
          <a:bodyPr rtlCol="0" anchor="ctr"/>
          <a:lstStyle/>
          <a:p>
            <a:pPr rtl="0"/>
            <a:endParaRPr lang="en-US"/>
          </a:p>
        </p:txBody>
      </p:sp>
      <p:sp>
        <p:nvSpPr>
          <p:cNvPr id="11" name="Freihandform: Form 10">
            <a:extLst>
              <a:ext uri="{FF2B5EF4-FFF2-40B4-BE49-F238E27FC236}">
                <a16:creationId xmlns:a16="http://schemas.microsoft.com/office/drawing/2014/main" id="{75FBD411-81D5-40D9-85F5-17F8ADC51855}"/>
              </a:ext>
            </a:extLst>
          </p:cNvPr>
          <p:cNvSpPr/>
          <p:nvPr/>
        </p:nvSpPr>
        <p:spPr>
          <a:xfrm>
            <a:off x="6294680" y="2064168"/>
            <a:ext cx="83897" cy="90889"/>
          </a:xfrm>
          <a:custGeom>
            <a:avLst/>
            <a:gdLst>
              <a:gd name="connsiteX0" fmla="*/ 38453 w 83897"/>
              <a:gd name="connsiteY0" fmla="*/ 90889 h 90889"/>
              <a:gd name="connsiteX1" fmla="*/ 0 w 83897"/>
              <a:gd name="connsiteY1" fmla="*/ 90889 h 90889"/>
              <a:gd name="connsiteX2" fmla="*/ 45445 w 83897"/>
              <a:gd name="connsiteY2" fmla="*/ 46610 h 90889"/>
              <a:gd name="connsiteX3" fmla="*/ 0 w 83897"/>
              <a:gd name="connsiteY3" fmla="*/ 0 h 90889"/>
              <a:gd name="connsiteX4" fmla="*/ 39618 w 83897"/>
              <a:gd name="connsiteY4" fmla="*/ 0 h 90889"/>
              <a:gd name="connsiteX5" fmla="*/ 83898 w 83897"/>
              <a:gd name="connsiteY5" fmla="*/ 45445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6610"/>
                </a:lnTo>
                <a:lnTo>
                  <a:pt x="0" y="0"/>
                </a:lnTo>
                <a:lnTo>
                  <a:pt x="39618" y="0"/>
                </a:lnTo>
                <a:lnTo>
                  <a:pt x="83898" y="45445"/>
                </a:lnTo>
                <a:close/>
              </a:path>
            </a:pathLst>
          </a:custGeom>
          <a:solidFill>
            <a:srgbClr val="EEF2F5"/>
          </a:solidFill>
          <a:ln w="11643" cap="flat">
            <a:noFill/>
            <a:prstDash val="solid"/>
            <a:miter/>
          </a:ln>
        </p:spPr>
        <p:txBody>
          <a:bodyPr rtlCol="0" anchor="ctr"/>
          <a:lstStyle/>
          <a:p>
            <a:pPr rtl="0"/>
            <a:endParaRPr lang="en-US"/>
          </a:p>
        </p:txBody>
      </p:sp>
      <p:sp>
        <p:nvSpPr>
          <p:cNvPr id="26" name="Freihandform: Form 25">
            <a:extLst>
              <a:ext uri="{FF2B5EF4-FFF2-40B4-BE49-F238E27FC236}">
                <a16:creationId xmlns:a16="http://schemas.microsoft.com/office/drawing/2014/main" id="{1BE891D4-79E8-4F6F-87F1-0D4367D86BBB}"/>
              </a:ext>
            </a:extLst>
          </p:cNvPr>
          <p:cNvSpPr/>
          <p:nvPr/>
        </p:nvSpPr>
        <p:spPr>
          <a:xfrm>
            <a:off x="6294680" y="2419569"/>
            <a:ext cx="83897" cy="90889"/>
          </a:xfrm>
          <a:custGeom>
            <a:avLst/>
            <a:gdLst>
              <a:gd name="connsiteX0" fmla="*/ 38453 w 83897"/>
              <a:gd name="connsiteY0" fmla="*/ 90889 h 90889"/>
              <a:gd name="connsiteX1" fmla="*/ 0 w 83897"/>
              <a:gd name="connsiteY1" fmla="*/ 90889 h 90889"/>
              <a:gd name="connsiteX2" fmla="*/ 45445 w 83897"/>
              <a:gd name="connsiteY2" fmla="*/ 45445 h 90889"/>
              <a:gd name="connsiteX3" fmla="*/ 0 w 83897"/>
              <a:gd name="connsiteY3" fmla="*/ 0 h 90889"/>
              <a:gd name="connsiteX4" fmla="*/ 39618 w 83897"/>
              <a:gd name="connsiteY4" fmla="*/ 0 h 90889"/>
              <a:gd name="connsiteX5" fmla="*/ 83898 w 83897"/>
              <a:gd name="connsiteY5" fmla="*/ 44279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pPr rtl="0"/>
            <a:endParaRPr lang="en-US"/>
          </a:p>
        </p:txBody>
      </p:sp>
      <p:sp>
        <p:nvSpPr>
          <p:cNvPr id="42" name="Freihandform: Form 41">
            <a:extLst>
              <a:ext uri="{FF2B5EF4-FFF2-40B4-BE49-F238E27FC236}">
                <a16:creationId xmlns:a16="http://schemas.microsoft.com/office/drawing/2014/main" id="{3840402F-0CB7-4700-AB86-312936B9375A}"/>
              </a:ext>
            </a:extLst>
          </p:cNvPr>
          <p:cNvSpPr/>
          <p:nvPr/>
        </p:nvSpPr>
        <p:spPr>
          <a:xfrm>
            <a:off x="6294680" y="2773804"/>
            <a:ext cx="83897" cy="90889"/>
          </a:xfrm>
          <a:custGeom>
            <a:avLst/>
            <a:gdLst>
              <a:gd name="connsiteX0" fmla="*/ 38453 w 83897"/>
              <a:gd name="connsiteY0" fmla="*/ 90889 h 90889"/>
              <a:gd name="connsiteX1" fmla="*/ 0 w 83897"/>
              <a:gd name="connsiteY1" fmla="*/ 90889 h 90889"/>
              <a:gd name="connsiteX2" fmla="*/ 45445 w 83897"/>
              <a:gd name="connsiteY2" fmla="*/ 46610 h 90889"/>
              <a:gd name="connsiteX3" fmla="*/ 0 w 83897"/>
              <a:gd name="connsiteY3" fmla="*/ 0 h 90889"/>
              <a:gd name="connsiteX4" fmla="*/ 39618 w 83897"/>
              <a:gd name="connsiteY4" fmla="*/ 0 h 90889"/>
              <a:gd name="connsiteX5" fmla="*/ 83898 w 83897"/>
              <a:gd name="connsiteY5" fmla="*/ 45445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6610"/>
                </a:lnTo>
                <a:lnTo>
                  <a:pt x="0" y="0"/>
                </a:lnTo>
                <a:lnTo>
                  <a:pt x="39618" y="0"/>
                </a:lnTo>
                <a:lnTo>
                  <a:pt x="83898" y="45445"/>
                </a:lnTo>
                <a:close/>
              </a:path>
            </a:pathLst>
          </a:custGeom>
          <a:solidFill>
            <a:srgbClr val="EEF2F5"/>
          </a:solidFill>
          <a:ln w="11643" cap="flat">
            <a:noFill/>
            <a:prstDash val="solid"/>
            <a:miter/>
          </a:ln>
        </p:spPr>
        <p:txBody>
          <a:bodyPr rtlCol="0" anchor="ctr"/>
          <a:lstStyle/>
          <a:p>
            <a:pPr rtl="0"/>
            <a:endParaRPr lang="en-US"/>
          </a:p>
        </p:txBody>
      </p:sp>
      <p:sp>
        <p:nvSpPr>
          <p:cNvPr id="58" name="Freihandform: Form 57">
            <a:extLst>
              <a:ext uri="{FF2B5EF4-FFF2-40B4-BE49-F238E27FC236}">
                <a16:creationId xmlns:a16="http://schemas.microsoft.com/office/drawing/2014/main" id="{C92817E7-21F5-4822-9D42-BC3A22B20F43}"/>
              </a:ext>
            </a:extLst>
          </p:cNvPr>
          <p:cNvSpPr/>
          <p:nvPr/>
        </p:nvSpPr>
        <p:spPr>
          <a:xfrm>
            <a:off x="6294680" y="3129205"/>
            <a:ext cx="83897" cy="90889"/>
          </a:xfrm>
          <a:custGeom>
            <a:avLst/>
            <a:gdLst>
              <a:gd name="connsiteX0" fmla="*/ 38453 w 83897"/>
              <a:gd name="connsiteY0" fmla="*/ 90889 h 90889"/>
              <a:gd name="connsiteX1" fmla="*/ 0 w 83897"/>
              <a:gd name="connsiteY1" fmla="*/ 90889 h 90889"/>
              <a:gd name="connsiteX2" fmla="*/ 45445 w 83897"/>
              <a:gd name="connsiteY2" fmla="*/ 45445 h 90889"/>
              <a:gd name="connsiteX3" fmla="*/ 0 w 83897"/>
              <a:gd name="connsiteY3" fmla="*/ 0 h 90889"/>
              <a:gd name="connsiteX4" fmla="*/ 39618 w 83897"/>
              <a:gd name="connsiteY4" fmla="*/ 0 h 90889"/>
              <a:gd name="connsiteX5" fmla="*/ 83898 w 83897"/>
              <a:gd name="connsiteY5" fmla="*/ 44279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pPr rtl="0"/>
            <a:endParaRPr lang="en-US"/>
          </a:p>
        </p:txBody>
      </p:sp>
      <p:sp>
        <p:nvSpPr>
          <p:cNvPr id="74" name="Freihandform: Form 73">
            <a:extLst>
              <a:ext uri="{FF2B5EF4-FFF2-40B4-BE49-F238E27FC236}">
                <a16:creationId xmlns:a16="http://schemas.microsoft.com/office/drawing/2014/main" id="{B9D0716B-8D9A-4338-AEA4-79A7EEDD478B}"/>
              </a:ext>
            </a:extLst>
          </p:cNvPr>
          <p:cNvSpPr/>
          <p:nvPr/>
        </p:nvSpPr>
        <p:spPr>
          <a:xfrm>
            <a:off x="6294680" y="3484606"/>
            <a:ext cx="83897" cy="89724"/>
          </a:xfrm>
          <a:custGeom>
            <a:avLst/>
            <a:gdLst>
              <a:gd name="connsiteX0" fmla="*/ 38453 w 83897"/>
              <a:gd name="connsiteY0" fmla="*/ 89724 h 89724"/>
              <a:gd name="connsiteX1" fmla="*/ 0 w 83897"/>
              <a:gd name="connsiteY1" fmla="*/ 89724 h 89724"/>
              <a:gd name="connsiteX2" fmla="*/ 45445 w 83897"/>
              <a:gd name="connsiteY2" fmla="*/ 45445 h 89724"/>
              <a:gd name="connsiteX3" fmla="*/ 0 w 83897"/>
              <a:gd name="connsiteY3" fmla="*/ 0 h 89724"/>
              <a:gd name="connsiteX4" fmla="*/ 39618 w 83897"/>
              <a:gd name="connsiteY4" fmla="*/ 0 h 89724"/>
              <a:gd name="connsiteX5" fmla="*/ 83898 w 83897"/>
              <a:gd name="connsiteY5" fmla="*/ 44279 h 89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89724">
                <a:moveTo>
                  <a:pt x="38453" y="89724"/>
                </a:moveTo>
                <a:lnTo>
                  <a:pt x="0" y="89724"/>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pPr rtl="0"/>
            <a:endParaRPr lang="en-US"/>
          </a:p>
        </p:txBody>
      </p:sp>
      <p:sp>
        <p:nvSpPr>
          <p:cNvPr id="90" name="Freihandform: Form 89">
            <a:extLst>
              <a:ext uri="{FF2B5EF4-FFF2-40B4-BE49-F238E27FC236}">
                <a16:creationId xmlns:a16="http://schemas.microsoft.com/office/drawing/2014/main" id="{9161924B-A7F2-4DF3-B909-33BF43FA25EF}"/>
              </a:ext>
            </a:extLst>
          </p:cNvPr>
          <p:cNvSpPr/>
          <p:nvPr/>
        </p:nvSpPr>
        <p:spPr>
          <a:xfrm>
            <a:off x="6294680" y="3838841"/>
            <a:ext cx="83897" cy="90889"/>
          </a:xfrm>
          <a:custGeom>
            <a:avLst/>
            <a:gdLst>
              <a:gd name="connsiteX0" fmla="*/ 38453 w 83897"/>
              <a:gd name="connsiteY0" fmla="*/ 90889 h 90889"/>
              <a:gd name="connsiteX1" fmla="*/ 0 w 83897"/>
              <a:gd name="connsiteY1" fmla="*/ 90889 h 90889"/>
              <a:gd name="connsiteX2" fmla="*/ 45445 w 83897"/>
              <a:gd name="connsiteY2" fmla="*/ 45445 h 90889"/>
              <a:gd name="connsiteX3" fmla="*/ 0 w 83897"/>
              <a:gd name="connsiteY3" fmla="*/ 0 h 90889"/>
              <a:gd name="connsiteX4" fmla="*/ 39618 w 83897"/>
              <a:gd name="connsiteY4" fmla="*/ 0 h 90889"/>
              <a:gd name="connsiteX5" fmla="*/ 83898 w 83897"/>
              <a:gd name="connsiteY5" fmla="*/ 44279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pPr rtl="0"/>
            <a:endParaRPr lang="en-US"/>
          </a:p>
        </p:txBody>
      </p:sp>
      <p:sp>
        <p:nvSpPr>
          <p:cNvPr id="106" name="Freihandform: Form 105">
            <a:extLst>
              <a:ext uri="{FF2B5EF4-FFF2-40B4-BE49-F238E27FC236}">
                <a16:creationId xmlns:a16="http://schemas.microsoft.com/office/drawing/2014/main" id="{9F04DFFC-EA40-46F4-8195-B5F7E353EE2A}"/>
              </a:ext>
            </a:extLst>
          </p:cNvPr>
          <p:cNvSpPr/>
          <p:nvPr/>
        </p:nvSpPr>
        <p:spPr>
          <a:xfrm>
            <a:off x="6294680" y="4194242"/>
            <a:ext cx="83897" cy="89724"/>
          </a:xfrm>
          <a:custGeom>
            <a:avLst/>
            <a:gdLst>
              <a:gd name="connsiteX0" fmla="*/ 38453 w 83897"/>
              <a:gd name="connsiteY0" fmla="*/ 89724 h 89724"/>
              <a:gd name="connsiteX1" fmla="*/ 0 w 83897"/>
              <a:gd name="connsiteY1" fmla="*/ 89724 h 89724"/>
              <a:gd name="connsiteX2" fmla="*/ 45445 w 83897"/>
              <a:gd name="connsiteY2" fmla="*/ 45445 h 89724"/>
              <a:gd name="connsiteX3" fmla="*/ 0 w 83897"/>
              <a:gd name="connsiteY3" fmla="*/ 0 h 89724"/>
              <a:gd name="connsiteX4" fmla="*/ 39618 w 83897"/>
              <a:gd name="connsiteY4" fmla="*/ 0 h 89724"/>
              <a:gd name="connsiteX5" fmla="*/ 83898 w 83897"/>
              <a:gd name="connsiteY5" fmla="*/ 44279 h 89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89724">
                <a:moveTo>
                  <a:pt x="38453" y="89724"/>
                </a:moveTo>
                <a:lnTo>
                  <a:pt x="0" y="89724"/>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pPr rtl="0"/>
            <a:endParaRPr lang="en-US"/>
          </a:p>
        </p:txBody>
      </p:sp>
      <p:sp>
        <p:nvSpPr>
          <p:cNvPr id="139" name="Freihandform: Form 138">
            <a:extLst>
              <a:ext uri="{FF2B5EF4-FFF2-40B4-BE49-F238E27FC236}">
                <a16:creationId xmlns:a16="http://schemas.microsoft.com/office/drawing/2014/main" id="{5362CBB1-E50A-41B7-8ED0-9FCFE213E9A5}"/>
              </a:ext>
            </a:extLst>
          </p:cNvPr>
          <p:cNvSpPr/>
          <p:nvPr/>
        </p:nvSpPr>
        <p:spPr>
          <a:xfrm>
            <a:off x="6294680" y="4903878"/>
            <a:ext cx="83897" cy="89724"/>
          </a:xfrm>
          <a:custGeom>
            <a:avLst/>
            <a:gdLst>
              <a:gd name="connsiteX0" fmla="*/ 38453 w 83897"/>
              <a:gd name="connsiteY0" fmla="*/ 89724 h 89724"/>
              <a:gd name="connsiteX1" fmla="*/ 0 w 83897"/>
              <a:gd name="connsiteY1" fmla="*/ 89724 h 89724"/>
              <a:gd name="connsiteX2" fmla="*/ 45445 w 83897"/>
              <a:gd name="connsiteY2" fmla="*/ 45445 h 89724"/>
              <a:gd name="connsiteX3" fmla="*/ 0 w 83897"/>
              <a:gd name="connsiteY3" fmla="*/ 0 h 89724"/>
              <a:gd name="connsiteX4" fmla="*/ 39618 w 83897"/>
              <a:gd name="connsiteY4" fmla="*/ 0 h 89724"/>
              <a:gd name="connsiteX5" fmla="*/ 83898 w 83897"/>
              <a:gd name="connsiteY5" fmla="*/ 44279 h 89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89724">
                <a:moveTo>
                  <a:pt x="38453" y="89724"/>
                </a:moveTo>
                <a:lnTo>
                  <a:pt x="0" y="89724"/>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pPr rtl="0"/>
            <a:endParaRPr lang="en-US"/>
          </a:p>
        </p:txBody>
      </p:sp>
      <p:sp>
        <p:nvSpPr>
          <p:cNvPr id="156" name="Freihandform: Form 155">
            <a:extLst>
              <a:ext uri="{FF2B5EF4-FFF2-40B4-BE49-F238E27FC236}">
                <a16:creationId xmlns:a16="http://schemas.microsoft.com/office/drawing/2014/main" id="{2508847B-61E4-41D1-A3A0-A411189F6767}"/>
              </a:ext>
            </a:extLst>
          </p:cNvPr>
          <p:cNvSpPr/>
          <p:nvPr/>
        </p:nvSpPr>
        <p:spPr>
          <a:xfrm>
            <a:off x="6294680" y="5258113"/>
            <a:ext cx="83897" cy="90889"/>
          </a:xfrm>
          <a:custGeom>
            <a:avLst/>
            <a:gdLst>
              <a:gd name="connsiteX0" fmla="*/ 38453 w 83897"/>
              <a:gd name="connsiteY0" fmla="*/ 90889 h 90889"/>
              <a:gd name="connsiteX1" fmla="*/ 0 w 83897"/>
              <a:gd name="connsiteY1" fmla="*/ 90889 h 90889"/>
              <a:gd name="connsiteX2" fmla="*/ 45445 w 83897"/>
              <a:gd name="connsiteY2" fmla="*/ 45445 h 90889"/>
              <a:gd name="connsiteX3" fmla="*/ 0 w 83897"/>
              <a:gd name="connsiteY3" fmla="*/ 0 h 90889"/>
              <a:gd name="connsiteX4" fmla="*/ 39618 w 83897"/>
              <a:gd name="connsiteY4" fmla="*/ 0 h 90889"/>
              <a:gd name="connsiteX5" fmla="*/ 83898 w 83897"/>
              <a:gd name="connsiteY5" fmla="*/ 44279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pPr rtl="0"/>
            <a:endParaRPr lang="en-US"/>
          </a:p>
        </p:txBody>
      </p:sp>
      <p:sp>
        <p:nvSpPr>
          <p:cNvPr id="173" name="Freihandform: Form 172">
            <a:extLst>
              <a:ext uri="{FF2B5EF4-FFF2-40B4-BE49-F238E27FC236}">
                <a16:creationId xmlns:a16="http://schemas.microsoft.com/office/drawing/2014/main" id="{E2A7CA26-A6FF-4830-89D6-0AE49ECECB52}"/>
              </a:ext>
            </a:extLst>
          </p:cNvPr>
          <p:cNvSpPr/>
          <p:nvPr/>
        </p:nvSpPr>
        <p:spPr>
          <a:xfrm>
            <a:off x="6294680" y="5613514"/>
            <a:ext cx="83897" cy="90889"/>
          </a:xfrm>
          <a:custGeom>
            <a:avLst/>
            <a:gdLst>
              <a:gd name="connsiteX0" fmla="*/ 38453 w 83897"/>
              <a:gd name="connsiteY0" fmla="*/ 90889 h 90889"/>
              <a:gd name="connsiteX1" fmla="*/ 0 w 83897"/>
              <a:gd name="connsiteY1" fmla="*/ 90889 h 90889"/>
              <a:gd name="connsiteX2" fmla="*/ 45445 w 83897"/>
              <a:gd name="connsiteY2" fmla="*/ 45445 h 90889"/>
              <a:gd name="connsiteX3" fmla="*/ 0 w 83897"/>
              <a:gd name="connsiteY3" fmla="*/ 0 h 90889"/>
              <a:gd name="connsiteX4" fmla="*/ 39618 w 83897"/>
              <a:gd name="connsiteY4" fmla="*/ 0 h 90889"/>
              <a:gd name="connsiteX5" fmla="*/ 83898 w 83897"/>
              <a:gd name="connsiteY5" fmla="*/ 44279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pPr rtl="0"/>
            <a:endParaRPr lang="en-US"/>
          </a:p>
        </p:txBody>
      </p:sp>
      <p:sp>
        <p:nvSpPr>
          <p:cNvPr id="190" name="Freihandform: Form 189">
            <a:extLst>
              <a:ext uri="{FF2B5EF4-FFF2-40B4-BE49-F238E27FC236}">
                <a16:creationId xmlns:a16="http://schemas.microsoft.com/office/drawing/2014/main" id="{0D910AA1-D94C-4927-9F7F-6AE33C84B359}"/>
              </a:ext>
            </a:extLst>
          </p:cNvPr>
          <p:cNvSpPr/>
          <p:nvPr/>
        </p:nvSpPr>
        <p:spPr>
          <a:xfrm>
            <a:off x="6294680" y="5967749"/>
            <a:ext cx="83897" cy="90889"/>
          </a:xfrm>
          <a:custGeom>
            <a:avLst/>
            <a:gdLst>
              <a:gd name="connsiteX0" fmla="*/ 38453 w 83897"/>
              <a:gd name="connsiteY0" fmla="*/ 90889 h 90889"/>
              <a:gd name="connsiteX1" fmla="*/ 0 w 83897"/>
              <a:gd name="connsiteY1" fmla="*/ 90889 h 90889"/>
              <a:gd name="connsiteX2" fmla="*/ 45445 w 83897"/>
              <a:gd name="connsiteY2" fmla="*/ 46610 h 90889"/>
              <a:gd name="connsiteX3" fmla="*/ 0 w 83897"/>
              <a:gd name="connsiteY3" fmla="*/ 0 h 90889"/>
              <a:gd name="connsiteX4" fmla="*/ 39618 w 83897"/>
              <a:gd name="connsiteY4" fmla="*/ 0 h 90889"/>
              <a:gd name="connsiteX5" fmla="*/ 83898 w 83897"/>
              <a:gd name="connsiteY5" fmla="*/ 45445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6610"/>
                </a:lnTo>
                <a:lnTo>
                  <a:pt x="0" y="0"/>
                </a:lnTo>
                <a:lnTo>
                  <a:pt x="39618" y="0"/>
                </a:lnTo>
                <a:lnTo>
                  <a:pt x="83898" y="45445"/>
                </a:lnTo>
                <a:close/>
              </a:path>
            </a:pathLst>
          </a:custGeom>
          <a:solidFill>
            <a:srgbClr val="EEF2F5"/>
          </a:solidFill>
          <a:ln w="11643" cap="flat">
            <a:noFill/>
            <a:prstDash val="solid"/>
            <a:miter/>
          </a:ln>
        </p:spPr>
        <p:txBody>
          <a:bodyPr rtlCol="0" anchor="ctr"/>
          <a:lstStyle/>
          <a:p>
            <a:pPr rtl="0"/>
            <a:endParaRPr lang="en-US"/>
          </a:p>
        </p:txBody>
      </p:sp>
      <p:sp>
        <p:nvSpPr>
          <p:cNvPr id="207" name="Freihandform: Form 206">
            <a:extLst>
              <a:ext uri="{FF2B5EF4-FFF2-40B4-BE49-F238E27FC236}">
                <a16:creationId xmlns:a16="http://schemas.microsoft.com/office/drawing/2014/main" id="{21DCF3C4-698C-4A65-960C-FC9526795073}"/>
              </a:ext>
            </a:extLst>
          </p:cNvPr>
          <p:cNvSpPr/>
          <p:nvPr/>
        </p:nvSpPr>
        <p:spPr>
          <a:xfrm>
            <a:off x="6294680" y="6323150"/>
            <a:ext cx="83897" cy="90889"/>
          </a:xfrm>
          <a:custGeom>
            <a:avLst/>
            <a:gdLst>
              <a:gd name="connsiteX0" fmla="*/ 38453 w 83897"/>
              <a:gd name="connsiteY0" fmla="*/ 90889 h 90889"/>
              <a:gd name="connsiteX1" fmla="*/ 0 w 83897"/>
              <a:gd name="connsiteY1" fmla="*/ 90889 h 90889"/>
              <a:gd name="connsiteX2" fmla="*/ 45445 w 83897"/>
              <a:gd name="connsiteY2" fmla="*/ 45445 h 90889"/>
              <a:gd name="connsiteX3" fmla="*/ 0 w 83897"/>
              <a:gd name="connsiteY3" fmla="*/ 0 h 90889"/>
              <a:gd name="connsiteX4" fmla="*/ 39618 w 83897"/>
              <a:gd name="connsiteY4" fmla="*/ 0 h 90889"/>
              <a:gd name="connsiteX5" fmla="*/ 83898 w 83897"/>
              <a:gd name="connsiteY5" fmla="*/ 44279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pPr rtl="0"/>
            <a:endParaRPr lang="en-US"/>
          </a:p>
        </p:txBody>
      </p:sp>
      <p:sp>
        <p:nvSpPr>
          <p:cNvPr id="223" name="Freihandform: Form 222">
            <a:extLst>
              <a:ext uri="{FF2B5EF4-FFF2-40B4-BE49-F238E27FC236}">
                <a16:creationId xmlns:a16="http://schemas.microsoft.com/office/drawing/2014/main" id="{E38105B6-8D3F-48F3-9F5F-2328382B7C38}"/>
              </a:ext>
            </a:extLst>
          </p:cNvPr>
          <p:cNvSpPr/>
          <p:nvPr/>
        </p:nvSpPr>
        <p:spPr>
          <a:xfrm>
            <a:off x="6294680" y="6677385"/>
            <a:ext cx="83897" cy="90889"/>
          </a:xfrm>
          <a:custGeom>
            <a:avLst/>
            <a:gdLst>
              <a:gd name="connsiteX0" fmla="*/ 38453 w 83897"/>
              <a:gd name="connsiteY0" fmla="*/ 90889 h 90889"/>
              <a:gd name="connsiteX1" fmla="*/ 0 w 83897"/>
              <a:gd name="connsiteY1" fmla="*/ 90889 h 90889"/>
              <a:gd name="connsiteX2" fmla="*/ 45445 w 83897"/>
              <a:gd name="connsiteY2" fmla="*/ 46610 h 90889"/>
              <a:gd name="connsiteX3" fmla="*/ 0 w 83897"/>
              <a:gd name="connsiteY3" fmla="*/ 0 h 90889"/>
              <a:gd name="connsiteX4" fmla="*/ 39618 w 83897"/>
              <a:gd name="connsiteY4" fmla="*/ 0 h 90889"/>
              <a:gd name="connsiteX5" fmla="*/ 83898 w 83897"/>
              <a:gd name="connsiteY5" fmla="*/ 45445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6610"/>
                </a:lnTo>
                <a:lnTo>
                  <a:pt x="0" y="0"/>
                </a:lnTo>
                <a:lnTo>
                  <a:pt x="39618" y="0"/>
                </a:lnTo>
                <a:lnTo>
                  <a:pt x="83898" y="45445"/>
                </a:lnTo>
                <a:close/>
              </a:path>
            </a:pathLst>
          </a:custGeom>
          <a:solidFill>
            <a:srgbClr val="EEF2F5"/>
          </a:solidFill>
          <a:ln w="11643" cap="flat">
            <a:noFill/>
            <a:prstDash val="solid"/>
            <a:miter/>
          </a:ln>
        </p:spPr>
        <p:txBody>
          <a:bodyPr rtlCol="0" anchor="ctr"/>
          <a:lstStyle/>
          <a:p>
            <a:pPr rtl="0"/>
            <a:endParaRPr lang="en-US"/>
          </a:p>
        </p:txBody>
      </p:sp>
      <p:sp>
        <p:nvSpPr>
          <p:cNvPr id="12" name="Freihandform: Form 11">
            <a:extLst>
              <a:ext uri="{FF2B5EF4-FFF2-40B4-BE49-F238E27FC236}">
                <a16:creationId xmlns:a16="http://schemas.microsoft.com/office/drawing/2014/main" id="{583AB347-5EFD-45EC-837F-436640EC31BF}"/>
              </a:ext>
            </a:extLst>
          </p:cNvPr>
          <p:cNvSpPr/>
          <p:nvPr/>
        </p:nvSpPr>
        <p:spPr>
          <a:xfrm>
            <a:off x="6641924" y="2056012"/>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3601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pPr rtl="0"/>
            <a:endParaRPr lang="en-US"/>
          </a:p>
        </p:txBody>
      </p:sp>
      <p:sp>
        <p:nvSpPr>
          <p:cNvPr id="27" name="Freihandform: Form 26">
            <a:extLst>
              <a:ext uri="{FF2B5EF4-FFF2-40B4-BE49-F238E27FC236}">
                <a16:creationId xmlns:a16="http://schemas.microsoft.com/office/drawing/2014/main" id="{2C9F6191-45F4-4549-838F-728D0F86DCCC}"/>
              </a:ext>
            </a:extLst>
          </p:cNvPr>
          <p:cNvSpPr/>
          <p:nvPr/>
        </p:nvSpPr>
        <p:spPr>
          <a:xfrm>
            <a:off x="6641924" y="2410247"/>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3601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pPr rtl="0"/>
            <a:endParaRPr lang="en-US"/>
          </a:p>
        </p:txBody>
      </p:sp>
      <p:sp>
        <p:nvSpPr>
          <p:cNvPr id="43" name="Freihandform: Form 42">
            <a:extLst>
              <a:ext uri="{FF2B5EF4-FFF2-40B4-BE49-F238E27FC236}">
                <a16:creationId xmlns:a16="http://schemas.microsoft.com/office/drawing/2014/main" id="{58997C67-D006-44A2-AD3D-33F34BD464B4}"/>
              </a:ext>
            </a:extLst>
          </p:cNvPr>
          <p:cNvSpPr/>
          <p:nvPr/>
        </p:nvSpPr>
        <p:spPr>
          <a:xfrm>
            <a:off x="6641924" y="2765648"/>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3601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pPr rtl="0"/>
            <a:endParaRPr lang="en-US"/>
          </a:p>
        </p:txBody>
      </p:sp>
      <p:sp>
        <p:nvSpPr>
          <p:cNvPr id="59" name="Freihandform: Form 58">
            <a:extLst>
              <a:ext uri="{FF2B5EF4-FFF2-40B4-BE49-F238E27FC236}">
                <a16:creationId xmlns:a16="http://schemas.microsoft.com/office/drawing/2014/main" id="{C4E89A45-8CD6-4F72-A3FF-464AD5125F97}"/>
              </a:ext>
            </a:extLst>
          </p:cNvPr>
          <p:cNvSpPr/>
          <p:nvPr/>
        </p:nvSpPr>
        <p:spPr>
          <a:xfrm>
            <a:off x="6641924" y="3119883"/>
            <a:ext cx="100211" cy="109533"/>
          </a:xfrm>
          <a:custGeom>
            <a:avLst/>
            <a:gdLst>
              <a:gd name="connsiteX0" fmla="*/ 45445 w 100211"/>
              <a:gd name="connsiteY0" fmla="*/ 109533 h 109533"/>
              <a:gd name="connsiteX1" fmla="*/ 0 w 100211"/>
              <a:gd name="connsiteY1" fmla="*/ 109533 h 109533"/>
              <a:gd name="connsiteX2" fmla="*/ 53601 w 100211"/>
              <a:gd name="connsiteY2" fmla="*/ 54767 h 109533"/>
              <a:gd name="connsiteX3" fmla="*/ 0 w 100211"/>
              <a:gd name="connsiteY3" fmla="*/ 0 h 109533"/>
              <a:gd name="connsiteX4" fmla="*/ 46610 w 100211"/>
              <a:gd name="connsiteY4" fmla="*/ 0 h 109533"/>
              <a:gd name="connsiteX5" fmla="*/ 100211 w 100211"/>
              <a:gd name="connsiteY5" fmla="*/ 53601 h 109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9533">
                <a:moveTo>
                  <a:pt x="45445" y="109533"/>
                </a:moveTo>
                <a:lnTo>
                  <a:pt x="0" y="109533"/>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pPr rtl="0"/>
            <a:endParaRPr lang="en-US"/>
          </a:p>
        </p:txBody>
      </p:sp>
      <p:sp>
        <p:nvSpPr>
          <p:cNvPr id="75" name="Freihandform: Form 74">
            <a:extLst>
              <a:ext uri="{FF2B5EF4-FFF2-40B4-BE49-F238E27FC236}">
                <a16:creationId xmlns:a16="http://schemas.microsoft.com/office/drawing/2014/main" id="{B9D7B804-0A3A-4555-AA49-BAAC4D841F25}"/>
              </a:ext>
            </a:extLst>
          </p:cNvPr>
          <p:cNvSpPr/>
          <p:nvPr/>
        </p:nvSpPr>
        <p:spPr>
          <a:xfrm>
            <a:off x="6641924" y="3475284"/>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3601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pPr rtl="0"/>
            <a:endParaRPr lang="en-US"/>
          </a:p>
        </p:txBody>
      </p:sp>
      <p:sp>
        <p:nvSpPr>
          <p:cNvPr id="91" name="Freihandform: Form 90">
            <a:extLst>
              <a:ext uri="{FF2B5EF4-FFF2-40B4-BE49-F238E27FC236}">
                <a16:creationId xmlns:a16="http://schemas.microsoft.com/office/drawing/2014/main" id="{E186CBFA-7613-4BC9-8990-21E472FC7476}"/>
              </a:ext>
            </a:extLst>
          </p:cNvPr>
          <p:cNvSpPr/>
          <p:nvPr/>
        </p:nvSpPr>
        <p:spPr>
          <a:xfrm>
            <a:off x="6641924" y="3829519"/>
            <a:ext cx="100211" cy="109533"/>
          </a:xfrm>
          <a:custGeom>
            <a:avLst/>
            <a:gdLst>
              <a:gd name="connsiteX0" fmla="*/ 45445 w 100211"/>
              <a:gd name="connsiteY0" fmla="*/ 109533 h 109533"/>
              <a:gd name="connsiteX1" fmla="*/ 0 w 100211"/>
              <a:gd name="connsiteY1" fmla="*/ 109533 h 109533"/>
              <a:gd name="connsiteX2" fmla="*/ 53601 w 100211"/>
              <a:gd name="connsiteY2" fmla="*/ 54767 h 109533"/>
              <a:gd name="connsiteX3" fmla="*/ 0 w 100211"/>
              <a:gd name="connsiteY3" fmla="*/ 0 h 109533"/>
              <a:gd name="connsiteX4" fmla="*/ 46610 w 100211"/>
              <a:gd name="connsiteY4" fmla="*/ 0 h 109533"/>
              <a:gd name="connsiteX5" fmla="*/ 100211 w 100211"/>
              <a:gd name="connsiteY5" fmla="*/ 53601 h 109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9533">
                <a:moveTo>
                  <a:pt x="45445" y="109533"/>
                </a:moveTo>
                <a:lnTo>
                  <a:pt x="0" y="109533"/>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pPr rtl="0"/>
            <a:endParaRPr lang="en-US"/>
          </a:p>
        </p:txBody>
      </p:sp>
      <p:sp>
        <p:nvSpPr>
          <p:cNvPr id="107" name="Freihandform: Form 106">
            <a:extLst>
              <a:ext uri="{FF2B5EF4-FFF2-40B4-BE49-F238E27FC236}">
                <a16:creationId xmlns:a16="http://schemas.microsoft.com/office/drawing/2014/main" id="{431E1B18-1EEB-4090-9700-F9FE3C0FED51}"/>
              </a:ext>
            </a:extLst>
          </p:cNvPr>
          <p:cNvSpPr/>
          <p:nvPr/>
        </p:nvSpPr>
        <p:spPr>
          <a:xfrm>
            <a:off x="6641924" y="4184920"/>
            <a:ext cx="100211" cy="108367"/>
          </a:xfrm>
          <a:custGeom>
            <a:avLst/>
            <a:gdLst>
              <a:gd name="connsiteX0" fmla="*/ 45445 w 100211"/>
              <a:gd name="connsiteY0" fmla="*/ 108368 h 108367"/>
              <a:gd name="connsiteX1" fmla="*/ 0 w 100211"/>
              <a:gd name="connsiteY1" fmla="*/ 108368 h 108367"/>
              <a:gd name="connsiteX2" fmla="*/ 53601 w 100211"/>
              <a:gd name="connsiteY2" fmla="*/ 54767 h 108367"/>
              <a:gd name="connsiteX3" fmla="*/ 0 w 100211"/>
              <a:gd name="connsiteY3" fmla="*/ 0 h 108367"/>
              <a:gd name="connsiteX4" fmla="*/ 46610 w 100211"/>
              <a:gd name="connsiteY4" fmla="*/ 0 h 108367"/>
              <a:gd name="connsiteX5" fmla="*/ 100211 w 100211"/>
              <a:gd name="connsiteY5" fmla="*/ 53601 h 108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7">
                <a:moveTo>
                  <a:pt x="45445" y="108368"/>
                </a:moveTo>
                <a:lnTo>
                  <a:pt x="0" y="108368"/>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pPr rtl="0"/>
            <a:endParaRPr lang="en-US"/>
          </a:p>
        </p:txBody>
      </p:sp>
      <p:sp>
        <p:nvSpPr>
          <p:cNvPr id="123" name="Freihandform: Form 122">
            <a:extLst>
              <a:ext uri="{FF2B5EF4-FFF2-40B4-BE49-F238E27FC236}">
                <a16:creationId xmlns:a16="http://schemas.microsoft.com/office/drawing/2014/main" id="{DC2F5F31-D8DD-48D9-A875-60890175F7E1}"/>
              </a:ext>
            </a:extLst>
          </p:cNvPr>
          <p:cNvSpPr/>
          <p:nvPr/>
        </p:nvSpPr>
        <p:spPr>
          <a:xfrm>
            <a:off x="6641924" y="4539155"/>
            <a:ext cx="100211" cy="109533"/>
          </a:xfrm>
          <a:custGeom>
            <a:avLst/>
            <a:gdLst>
              <a:gd name="connsiteX0" fmla="*/ 45445 w 100211"/>
              <a:gd name="connsiteY0" fmla="*/ 109533 h 109533"/>
              <a:gd name="connsiteX1" fmla="*/ 0 w 100211"/>
              <a:gd name="connsiteY1" fmla="*/ 109533 h 109533"/>
              <a:gd name="connsiteX2" fmla="*/ 53601 w 100211"/>
              <a:gd name="connsiteY2" fmla="*/ 54767 h 109533"/>
              <a:gd name="connsiteX3" fmla="*/ 0 w 100211"/>
              <a:gd name="connsiteY3" fmla="*/ 0 h 109533"/>
              <a:gd name="connsiteX4" fmla="*/ 46610 w 100211"/>
              <a:gd name="connsiteY4" fmla="*/ 0 h 109533"/>
              <a:gd name="connsiteX5" fmla="*/ 100211 w 100211"/>
              <a:gd name="connsiteY5" fmla="*/ 53601 h 109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9533">
                <a:moveTo>
                  <a:pt x="45445" y="109533"/>
                </a:moveTo>
                <a:lnTo>
                  <a:pt x="0" y="109533"/>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pPr rtl="0"/>
            <a:endParaRPr lang="en-US"/>
          </a:p>
        </p:txBody>
      </p:sp>
      <p:sp>
        <p:nvSpPr>
          <p:cNvPr id="140" name="Freihandform: Form 139">
            <a:extLst>
              <a:ext uri="{FF2B5EF4-FFF2-40B4-BE49-F238E27FC236}">
                <a16:creationId xmlns:a16="http://schemas.microsoft.com/office/drawing/2014/main" id="{76442F10-6EC9-4E34-AAE4-0D75456E4698}"/>
              </a:ext>
            </a:extLst>
          </p:cNvPr>
          <p:cNvSpPr/>
          <p:nvPr/>
        </p:nvSpPr>
        <p:spPr>
          <a:xfrm>
            <a:off x="6641924" y="4894556"/>
            <a:ext cx="100211" cy="108367"/>
          </a:xfrm>
          <a:custGeom>
            <a:avLst/>
            <a:gdLst>
              <a:gd name="connsiteX0" fmla="*/ 45445 w 100211"/>
              <a:gd name="connsiteY0" fmla="*/ 108368 h 108367"/>
              <a:gd name="connsiteX1" fmla="*/ 0 w 100211"/>
              <a:gd name="connsiteY1" fmla="*/ 108368 h 108367"/>
              <a:gd name="connsiteX2" fmla="*/ 53601 w 100211"/>
              <a:gd name="connsiteY2" fmla="*/ 54767 h 108367"/>
              <a:gd name="connsiteX3" fmla="*/ 0 w 100211"/>
              <a:gd name="connsiteY3" fmla="*/ 0 h 108367"/>
              <a:gd name="connsiteX4" fmla="*/ 46610 w 100211"/>
              <a:gd name="connsiteY4" fmla="*/ 0 h 108367"/>
              <a:gd name="connsiteX5" fmla="*/ 100211 w 100211"/>
              <a:gd name="connsiteY5" fmla="*/ 53601 h 108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7">
                <a:moveTo>
                  <a:pt x="45445" y="108368"/>
                </a:moveTo>
                <a:lnTo>
                  <a:pt x="0" y="108368"/>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pPr rtl="0"/>
            <a:endParaRPr lang="en-US"/>
          </a:p>
        </p:txBody>
      </p:sp>
      <p:sp>
        <p:nvSpPr>
          <p:cNvPr id="157" name="Freihandform: Form 156">
            <a:extLst>
              <a:ext uri="{FF2B5EF4-FFF2-40B4-BE49-F238E27FC236}">
                <a16:creationId xmlns:a16="http://schemas.microsoft.com/office/drawing/2014/main" id="{3F3DF7DA-74D8-4504-A71D-F774354EAB93}"/>
              </a:ext>
            </a:extLst>
          </p:cNvPr>
          <p:cNvSpPr/>
          <p:nvPr/>
        </p:nvSpPr>
        <p:spPr>
          <a:xfrm>
            <a:off x="6641924" y="5249956"/>
            <a:ext cx="100211" cy="108367"/>
          </a:xfrm>
          <a:custGeom>
            <a:avLst/>
            <a:gdLst>
              <a:gd name="connsiteX0" fmla="*/ 45445 w 100211"/>
              <a:gd name="connsiteY0" fmla="*/ 108368 h 108367"/>
              <a:gd name="connsiteX1" fmla="*/ 0 w 100211"/>
              <a:gd name="connsiteY1" fmla="*/ 108368 h 108367"/>
              <a:gd name="connsiteX2" fmla="*/ 53601 w 100211"/>
              <a:gd name="connsiteY2" fmla="*/ 54767 h 108367"/>
              <a:gd name="connsiteX3" fmla="*/ 0 w 100211"/>
              <a:gd name="connsiteY3" fmla="*/ 0 h 108367"/>
              <a:gd name="connsiteX4" fmla="*/ 46610 w 100211"/>
              <a:gd name="connsiteY4" fmla="*/ 0 h 108367"/>
              <a:gd name="connsiteX5" fmla="*/ 100211 w 100211"/>
              <a:gd name="connsiteY5" fmla="*/ 52436 h 108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7">
                <a:moveTo>
                  <a:pt x="45445" y="108368"/>
                </a:moveTo>
                <a:lnTo>
                  <a:pt x="0" y="108368"/>
                </a:lnTo>
                <a:lnTo>
                  <a:pt x="53601" y="54767"/>
                </a:lnTo>
                <a:lnTo>
                  <a:pt x="0" y="0"/>
                </a:lnTo>
                <a:lnTo>
                  <a:pt x="46610" y="0"/>
                </a:lnTo>
                <a:lnTo>
                  <a:pt x="100211" y="52436"/>
                </a:lnTo>
                <a:close/>
              </a:path>
            </a:pathLst>
          </a:custGeom>
          <a:solidFill>
            <a:srgbClr val="EEF2F5"/>
          </a:solidFill>
          <a:ln w="11643" cap="flat">
            <a:noFill/>
            <a:prstDash val="solid"/>
            <a:miter/>
          </a:ln>
        </p:spPr>
        <p:txBody>
          <a:bodyPr rtlCol="0" anchor="ctr"/>
          <a:lstStyle/>
          <a:p>
            <a:pPr rtl="0"/>
            <a:endParaRPr lang="en-US"/>
          </a:p>
        </p:txBody>
      </p:sp>
      <p:sp>
        <p:nvSpPr>
          <p:cNvPr id="174" name="Freihandform: Form 173">
            <a:extLst>
              <a:ext uri="{FF2B5EF4-FFF2-40B4-BE49-F238E27FC236}">
                <a16:creationId xmlns:a16="http://schemas.microsoft.com/office/drawing/2014/main" id="{89F7D4C0-B771-4BD2-8BB9-46691BD63CD6}"/>
              </a:ext>
            </a:extLst>
          </p:cNvPr>
          <p:cNvSpPr/>
          <p:nvPr/>
        </p:nvSpPr>
        <p:spPr>
          <a:xfrm>
            <a:off x="6641924" y="5604192"/>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3601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pPr rtl="0"/>
            <a:endParaRPr lang="en-US"/>
          </a:p>
        </p:txBody>
      </p:sp>
      <p:sp>
        <p:nvSpPr>
          <p:cNvPr id="191" name="Freihandform: Form 190">
            <a:extLst>
              <a:ext uri="{FF2B5EF4-FFF2-40B4-BE49-F238E27FC236}">
                <a16:creationId xmlns:a16="http://schemas.microsoft.com/office/drawing/2014/main" id="{5A593B9A-6E44-429E-AEBA-35E20D56B0CE}"/>
              </a:ext>
            </a:extLst>
          </p:cNvPr>
          <p:cNvSpPr/>
          <p:nvPr/>
        </p:nvSpPr>
        <p:spPr>
          <a:xfrm>
            <a:off x="6641924" y="5959592"/>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2436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2436"/>
                </a:lnTo>
                <a:close/>
              </a:path>
            </a:pathLst>
          </a:custGeom>
          <a:solidFill>
            <a:srgbClr val="EEF2F5"/>
          </a:solidFill>
          <a:ln w="11643" cap="flat">
            <a:noFill/>
            <a:prstDash val="solid"/>
            <a:miter/>
          </a:ln>
        </p:spPr>
        <p:txBody>
          <a:bodyPr rtlCol="0" anchor="ctr"/>
          <a:lstStyle/>
          <a:p>
            <a:pPr rtl="0"/>
            <a:endParaRPr lang="en-US"/>
          </a:p>
        </p:txBody>
      </p:sp>
      <p:sp>
        <p:nvSpPr>
          <p:cNvPr id="208" name="Freihandform: Form 207">
            <a:extLst>
              <a:ext uri="{FF2B5EF4-FFF2-40B4-BE49-F238E27FC236}">
                <a16:creationId xmlns:a16="http://schemas.microsoft.com/office/drawing/2014/main" id="{DF218C48-5CF6-4B07-AF60-4DE0F6FD1BC1}"/>
              </a:ext>
            </a:extLst>
          </p:cNvPr>
          <p:cNvSpPr/>
          <p:nvPr/>
        </p:nvSpPr>
        <p:spPr>
          <a:xfrm>
            <a:off x="6641924" y="6313828"/>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3601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pPr rtl="0"/>
            <a:endParaRPr lang="en-US"/>
          </a:p>
        </p:txBody>
      </p:sp>
      <p:sp>
        <p:nvSpPr>
          <p:cNvPr id="224" name="Freihandform: Form 223">
            <a:extLst>
              <a:ext uri="{FF2B5EF4-FFF2-40B4-BE49-F238E27FC236}">
                <a16:creationId xmlns:a16="http://schemas.microsoft.com/office/drawing/2014/main" id="{AA5BC021-58DD-4FE3-BDC3-0802A56E539C}"/>
              </a:ext>
            </a:extLst>
          </p:cNvPr>
          <p:cNvSpPr/>
          <p:nvPr/>
        </p:nvSpPr>
        <p:spPr>
          <a:xfrm>
            <a:off x="6641924" y="6669228"/>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2436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2436"/>
                </a:lnTo>
                <a:close/>
              </a:path>
            </a:pathLst>
          </a:custGeom>
          <a:solidFill>
            <a:srgbClr val="EEF2F5"/>
          </a:solidFill>
          <a:ln w="11643" cap="flat">
            <a:noFill/>
            <a:prstDash val="solid"/>
            <a:miter/>
          </a:ln>
        </p:spPr>
        <p:txBody>
          <a:bodyPr rtlCol="0" anchor="ctr"/>
          <a:lstStyle/>
          <a:p>
            <a:pPr rtl="0"/>
            <a:endParaRPr lang="en-US"/>
          </a:p>
        </p:txBody>
      </p:sp>
      <p:sp>
        <p:nvSpPr>
          <p:cNvPr id="13" name="Freihandform: Form 12">
            <a:extLst>
              <a:ext uri="{FF2B5EF4-FFF2-40B4-BE49-F238E27FC236}">
                <a16:creationId xmlns:a16="http://schemas.microsoft.com/office/drawing/2014/main" id="{41B3CD6E-4668-431E-B52B-BEFAFA264BED}"/>
              </a:ext>
            </a:extLst>
          </p:cNvPr>
          <p:cNvSpPr/>
          <p:nvPr/>
        </p:nvSpPr>
        <p:spPr>
          <a:xfrm>
            <a:off x="6988003" y="2046690"/>
            <a:ext cx="117690" cy="127012"/>
          </a:xfrm>
          <a:custGeom>
            <a:avLst/>
            <a:gdLst>
              <a:gd name="connsiteX0" fmla="*/ 53601 w 117690"/>
              <a:gd name="connsiteY0" fmla="*/ 127012 h 127012"/>
              <a:gd name="connsiteX1" fmla="*/ 0 w 117690"/>
              <a:gd name="connsiteY1" fmla="*/ 127012 h 127012"/>
              <a:gd name="connsiteX2" fmla="*/ 62924 w 117690"/>
              <a:gd name="connsiteY2" fmla="*/ 64089 h 127012"/>
              <a:gd name="connsiteX3" fmla="*/ 0 w 117690"/>
              <a:gd name="connsiteY3" fmla="*/ 0 h 127012"/>
              <a:gd name="connsiteX4" fmla="*/ 54767 w 117690"/>
              <a:gd name="connsiteY4" fmla="*/ 0 h 127012"/>
              <a:gd name="connsiteX5" fmla="*/ 117690 w 117690"/>
              <a:gd name="connsiteY5" fmla="*/ 61758 h 12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2">
                <a:moveTo>
                  <a:pt x="53601" y="127012"/>
                </a:moveTo>
                <a:lnTo>
                  <a:pt x="0" y="127012"/>
                </a:lnTo>
                <a:lnTo>
                  <a:pt x="62924" y="64089"/>
                </a:lnTo>
                <a:lnTo>
                  <a:pt x="0" y="0"/>
                </a:lnTo>
                <a:lnTo>
                  <a:pt x="54767" y="0"/>
                </a:lnTo>
                <a:lnTo>
                  <a:pt x="117690" y="61758"/>
                </a:lnTo>
                <a:close/>
              </a:path>
            </a:pathLst>
          </a:custGeom>
          <a:solidFill>
            <a:srgbClr val="EEF2F5"/>
          </a:solidFill>
          <a:ln w="11643" cap="flat">
            <a:noFill/>
            <a:prstDash val="solid"/>
            <a:miter/>
          </a:ln>
        </p:spPr>
        <p:txBody>
          <a:bodyPr rtlCol="0" anchor="ctr"/>
          <a:lstStyle/>
          <a:p>
            <a:pPr rtl="0"/>
            <a:endParaRPr lang="en-US"/>
          </a:p>
        </p:txBody>
      </p:sp>
      <p:sp>
        <p:nvSpPr>
          <p:cNvPr id="28" name="Freihandform: Form 27">
            <a:extLst>
              <a:ext uri="{FF2B5EF4-FFF2-40B4-BE49-F238E27FC236}">
                <a16:creationId xmlns:a16="http://schemas.microsoft.com/office/drawing/2014/main" id="{44ADAD78-1959-4CDE-A14A-2F7982F10CE6}"/>
              </a:ext>
            </a:extLst>
          </p:cNvPr>
          <p:cNvSpPr/>
          <p:nvPr/>
        </p:nvSpPr>
        <p:spPr>
          <a:xfrm>
            <a:off x="6988003" y="2400925"/>
            <a:ext cx="117690" cy="127012"/>
          </a:xfrm>
          <a:custGeom>
            <a:avLst/>
            <a:gdLst>
              <a:gd name="connsiteX0" fmla="*/ 53601 w 117690"/>
              <a:gd name="connsiteY0" fmla="*/ 127012 h 127012"/>
              <a:gd name="connsiteX1" fmla="*/ 0 w 117690"/>
              <a:gd name="connsiteY1" fmla="*/ 127012 h 127012"/>
              <a:gd name="connsiteX2" fmla="*/ 62924 w 117690"/>
              <a:gd name="connsiteY2" fmla="*/ 64089 h 127012"/>
              <a:gd name="connsiteX3" fmla="*/ 0 w 117690"/>
              <a:gd name="connsiteY3" fmla="*/ 0 h 127012"/>
              <a:gd name="connsiteX4" fmla="*/ 54767 w 117690"/>
              <a:gd name="connsiteY4" fmla="*/ 0 h 127012"/>
              <a:gd name="connsiteX5" fmla="*/ 117690 w 117690"/>
              <a:gd name="connsiteY5" fmla="*/ 62923 h 12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2">
                <a:moveTo>
                  <a:pt x="53601" y="127012"/>
                </a:moveTo>
                <a:lnTo>
                  <a:pt x="0" y="127012"/>
                </a:lnTo>
                <a:lnTo>
                  <a:pt x="62924" y="64089"/>
                </a:lnTo>
                <a:lnTo>
                  <a:pt x="0" y="0"/>
                </a:lnTo>
                <a:lnTo>
                  <a:pt x="54767" y="0"/>
                </a:lnTo>
                <a:lnTo>
                  <a:pt x="117690" y="62923"/>
                </a:lnTo>
                <a:close/>
              </a:path>
            </a:pathLst>
          </a:custGeom>
          <a:solidFill>
            <a:srgbClr val="EEF2F5"/>
          </a:solidFill>
          <a:ln w="11643" cap="flat">
            <a:noFill/>
            <a:prstDash val="solid"/>
            <a:miter/>
          </a:ln>
        </p:spPr>
        <p:txBody>
          <a:bodyPr rtlCol="0" anchor="ctr"/>
          <a:lstStyle/>
          <a:p>
            <a:pPr rtl="0"/>
            <a:endParaRPr lang="en-US"/>
          </a:p>
        </p:txBody>
      </p:sp>
      <p:sp>
        <p:nvSpPr>
          <p:cNvPr id="44" name="Freihandform: Form 43">
            <a:extLst>
              <a:ext uri="{FF2B5EF4-FFF2-40B4-BE49-F238E27FC236}">
                <a16:creationId xmlns:a16="http://schemas.microsoft.com/office/drawing/2014/main" id="{187A0A4D-77CA-456F-91F4-F6F8704B8154}"/>
              </a:ext>
            </a:extLst>
          </p:cNvPr>
          <p:cNvSpPr/>
          <p:nvPr/>
        </p:nvSpPr>
        <p:spPr>
          <a:xfrm>
            <a:off x="6988003" y="2756326"/>
            <a:ext cx="117690" cy="127012"/>
          </a:xfrm>
          <a:custGeom>
            <a:avLst/>
            <a:gdLst>
              <a:gd name="connsiteX0" fmla="*/ 53601 w 117690"/>
              <a:gd name="connsiteY0" fmla="*/ 127012 h 127012"/>
              <a:gd name="connsiteX1" fmla="*/ 0 w 117690"/>
              <a:gd name="connsiteY1" fmla="*/ 127012 h 127012"/>
              <a:gd name="connsiteX2" fmla="*/ 62924 w 117690"/>
              <a:gd name="connsiteY2" fmla="*/ 64089 h 127012"/>
              <a:gd name="connsiteX3" fmla="*/ 0 w 117690"/>
              <a:gd name="connsiteY3" fmla="*/ 0 h 127012"/>
              <a:gd name="connsiteX4" fmla="*/ 54767 w 117690"/>
              <a:gd name="connsiteY4" fmla="*/ 0 h 127012"/>
              <a:gd name="connsiteX5" fmla="*/ 117690 w 117690"/>
              <a:gd name="connsiteY5" fmla="*/ 61758 h 12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2">
                <a:moveTo>
                  <a:pt x="53601" y="127012"/>
                </a:moveTo>
                <a:lnTo>
                  <a:pt x="0" y="127012"/>
                </a:lnTo>
                <a:lnTo>
                  <a:pt x="62924" y="64089"/>
                </a:lnTo>
                <a:lnTo>
                  <a:pt x="0" y="0"/>
                </a:lnTo>
                <a:lnTo>
                  <a:pt x="54767" y="0"/>
                </a:lnTo>
                <a:lnTo>
                  <a:pt x="117690" y="61758"/>
                </a:lnTo>
                <a:close/>
              </a:path>
            </a:pathLst>
          </a:custGeom>
          <a:solidFill>
            <a:srgbClr val="EEF2F5"/>
          </a:solidFill>
          <a:ln w="11643" cap="flat">
            <a:noFill/>
            <a:prstDash val="solid"/>
            <a:miter/>
          </a:ln>
        </p:spPr>
        <p:txBody>
          <a:bodyPr rtlCol="0" anchor="ctr"/>
          <a:lstStyle/>
          <a:p>
            <a:pPr rtl="0"/>
            <a:endParaRPr lang="en-US"/>
          </a:p>
        </p:txBody>
      </p:sp>
      <p:sp>
        <p:nvSpPr>
          <p:cNvPr id="60" name="Freihandform: Form 59">
            <a:extLst>
              <a:ext uri="{FF2B5EF4-FFF2-40B4-BE49-F238E27FC236}">
                <a16:creationId xmlns:a16="http://schemas.microsoft.com/office/drawing/2014/main" id="{CB07603B-B3CF-406B-8F49-C88DDBDF26D2}"/>
              </a:ext>
            </a:extLst>
          </p:cNvPr>
          <p:cNvSpPr/>
          <p:nvPr/>
        </p:nvSpPr>
        <p:spPr>
          <a:xfrm>
            <a:off x="6988003" y="3111726"/>
            <a:ext cx="117690" cy="125846"/>
          </a:xfrm>
          <a:custGeom>
            <a:avLst/>
            <a:gdLst>
              <a:gd name="connsiteX0" fmla="*/ 53601 w 117690"/>
              <a:gd name="connsiteY0" fmla="*/ 125847 h 125846"/>
              <a:gd name="connsiteX1" fmla="*/ 0 w 117690"/>
              <a:gd name="connsiteY1" fmla="*/ 125847 h 125846"/>
              <a:gd name="connsiteX2" fmla="*/ 62924 w 117690"/>
              <a:gd name="connsiteY2" fmla="*/ 62923 h 125846"/>
              <a:gd name="connsiteX3" fmla="*/ 0 w 117690"/>
              <a:gd name="connsiteY3" fmla="*/ 0 h 125846"/>
              <a:gd name="connsiteX4" fmla="*/ 54767 w 117690"/>
              <a:gd name="connsiteY4" fmla="*/ 0 h 125846"/>
              <a:gd name="connsiteX5" fmla="*/ 117690 w 117690"/>
              <a:gd name="connsiteY5" fmla="*/ 61758 h 125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5846">
                <a:moveTo>
                  <a:pt x="53601" y="125847"/>
                </a:moveTo>
                <a:lnTo>
                  <a:pt x="0" y="125847"/>
                </a:lnTo>
                <a:lnTo>
                  <a:pt x="62924" y="62923"/>
                </a:lnTo>
                <a:lnTo>
                  <a:pt x="0" y="0"/>
                </a:lnTo>
                <a:lnTo>
                  <a:pt x="54767" y="0"/>
                </a:lnTo>
                <a:lnTo>
                  <a:pt x="117690" y="61758"/>
                </a:lnTo>
                <a:close/>
              </a:path>
            </a:pathLst>
          </a:custGeom>
          <a:solidFill>
            <a:srgbClr val="EEF2F5"/>
          </a:solidFill>
          <a:ln w="11643" cap="flat">
            <a:noFill/>
            <a:prstDash val="solid"/>
            <a:miter/>
          </a:ln>
        </p:spPr>
        <p:txBody>
          <a:bodyPr rtlCol="0" anchor="ctr"/>
          <a:lstStyle/>
          <a:p>
            <a:pPr rtl="0"/>
            <a:endParaRPr lang="en-US"/>
          </a:p>
        </p:txBody>
      </p:sp>
      <p:sp>
        <p:nvSpPr>
          <p:cNvPr id="76" name="Freihandform: Form 75">
            <a:extLst>
              <a:ext uri="{FF2B5EF4-FFF2-40B4-BE49-F238E27FC236}">
                <a16:creationId xmlns:a16="http://schemas.microsoft.com/office/drawing/2014/main" id="{C87C0BBB-E201-45AD-A8CC-B6DF36C9BFCA}"/>
              </a:ext>
            </a:extLst>
          </p:cNvPr>
          <p:cNvSpPr/>
          <p:nvPr/>
        </p:nvSpPr>
        <p:spPr>
          <a:xfrm>
            <a:off x="6988003" y="3465962"/>
            <a:ext cx="117690" cy="127012"/>
          </a:xfrm>
          <a:custGeom>
            <a:avLst/>
            <a:gdLst>
              <a:gd name="connsiteX0" fmla="*/ 53601 w 117690"/>
              <a:gd name="connsiteY0" fmla="*/ 127012 h 127012"/>
              <a:gd name="connsiteX1" fmla="*/ 0 w 117690"/>
              <a:gd name="connsiteY1" fmla="*/ 127012 h 127012"/>
              <a:gd name="connsiteX2" fmla="*/ 62924 w 117690"/>
              <a:gd name="connsiteY2" fmla="*/ 64089 h 127012"/>
              <a:gd name="connsiteX3" fmla="*/ 0 w 117690"/>
              <a:gd name="connsiteY3" fmla="*/ 0 h 127012"/>
              <a:gd name="connsiteX4" fmla="*/ 54767 w 117690"/>
              <a:gd name="connsiteY4" fmla="*/ 0 h 127012"/>
              <a:gd name="connsiteX5" fmla="*/ 117690 w 117690"/>
              <a:gd name="connsiteY5" fmla="*/ 62923 h 12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2">
                <a:moveTo>
                  <a:pt x="53601" y="127012"/>
                </a:moveTo>
                <a:lnTo>
                  <a:pt x="0" y="127012"/>
                </a:lnTo>
                <a:lnTo>
                  <a:pt x="62924" y="64089"/>
                </a:lnTo>
                <a:lnTo>
                  <a:pt x="0" y="0"/>
                </a:lnTo>
                <a:lnTo>
                  <a:pt x="54767" y="0"/>
                </a:lnTo>
                <a:lnTo>
                  <a:pt x="117690" y="62923"/>
                </a:lnTo>
                <a:close/>
              </a:path>
            </a:pathLst>
          </a:custGeom>
          <a:solidFill>
            <a:srgbClr val="EEF2F5"/>
          </a:solidFill>
          <a:ln w="11643" cap="flat">
            <a:noFill/>
            <a:prstDash val="solid"/>
            <a:miter/>
          </a:ln>
        </p:spPr>
        <p:txBody>
          <a:bodyPr rtlCol="0" anchor="ctr"/>
          <a:lstStyle/>
          <a:p>
            <a:pPr rtl="0"/>
            <a:endParaRPr lang="en-US"/>
          </a:p>
        </p:txBody>
      </p:sp>
      <p:sp>
        <p:nvSpPr>
          <p:cNvPr id="92" name="Freihandform: Form 91">
            <a:extLst>
              <a:ext uri="{FF2B5EF4-FFF2-40B4-BE49-F238E27FC236}">
                <a16:creationId xmlns:a16="http://schemas.microsoft.com/office/drawing/2014/main" id="{E84E584C-AD1A-4283-9393-9ADAC5705999}"/>
              </a:ext>
            </a:extLst>
          </p:cNvPr>
          <p:cNvSpPr/>
          <p:nvPr/>
        </p:nvSpPr>
        <p:spPr>
          <a:xfrm>
            <a:off x="6988003" y="3821362"/>
            <a:ext cx="117690" cy="125846"/>
          </a:xfrm>
          <a:custGeom>
            <a:avLst/>
            <a:gdLst>
              <a:gd name="connsiteX0" fmla="*/ 53601 w 117690"/>
              <a:gd name="connsiteY0" fmla="*/ 125847 h 125846"/>
              <a:gd name="connsiteX1" fmla="*/ 0 w 117690"/>
              <a:gd name="connsiteY1" fmla="*/ 125847 h 125846"/>
              <a:gd name="connsiteX2" fmla="*/ 62924 w 117690"/>
              <a:gd name="connsiteY2" fmla="*/ 62923 h 125846"/>
              <a:gd name="connsiteX3" fmla="*/ 0 w 117690"/>
              <a:gd name="connsiteY3" fmla="*/ 0 h 125846"/>
              <a:gd name="connsiteX4" fmla="*/ 54767 w 117690"/>
              <a:gd name="connsiteY4" fmla="*/ 0 h 125846"/>
              <a:gd name="connsiteX5" fmla="*/ 117690 w 117690"/>
              <a:gd name="connsiteY5" fmla="*/ 61758 h 125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5846">
                <a:moveTo>
                  <a:pt x="53601" y="125847"/>
                </a:moveTo>
                <a:lnTo>
                  <a:pt x="0" y="125847"/>
                </a:lnTo>
                <a:lnTo>
                  <a:pt x="62924" y="62923"/>
                </a:lnTo>
                <a:lnTo>
                  <a:pt x="0" y="0"/>
                </a:lnTo>
                <a:lnTo>
                  <a:pt x="54767" y="0"/>
                </a:lnTo>
                <a:lnTo>
                  <a:pt x="117690" y="61758"/>
                </a:lnTo>
                <a:close/>
              </a:path>
            </a:pathLst>
          </a:custGeom>
          <a:solidFill>
            <a:srgbClr val="EEF2F5"/>
          </a:solidFill>
          <a:ln w="11643" cap="flat">
            <a:noFill/>
            <a:prstDash val="solid"/>
            <a:miter/>
          </a:ln>
        </p:spPr>
        <p:txBody>
          <a:bodyPr rtlCol="0" anchor="ctr"/>
          <a:lstStyle/>
          <a:p>
            <a:pPr rtl="0"/>
            <a:endParaRPr lang="en-US"/>
          </a:p>
        </p:txBody>
      </p:sp>
      <p:sp>
        <p:nvSpPr>
          <p:cNvPr id="108" name="Freihandform: Form 107">
            <a:extLst>
              <a:ext uri="{FF2B5EF4-FFF2-40B4-BE49-F238E27FC236}">
                <a16:creationId xmlns:a16="http://schemas.microsoft.com/office/drawing/2014/main" id="{821A23CA-DB65-474C-8F4A-71EDD9066EAA}"/>
              </a:ext>
            </a:extLst>
          </p:cNvPr>
          <p:cNvSpPr/>
          <p:nvPr/>
        </p:nvSpPr>
        <p:spPr>
          <a:xfrm>
            <a:off x="6988003" y="4175598"/>
            <a:ext cx="117690" cy="127011"/>
          </a:xfrm>
          <a:custGeom>
            <a:avLst/>
            <a:gdLst>
              <a:gd name="connsiteX0" fmla="*/ 53601 w 117690"/>
              <a:gd name="connsiteY0" fmla="*/ 127012 h 127011"/>
              <a:gd name="connsiteX1" fmla="*/ 0 w 117690"/>
              <a:gd name="connsiteY1" fmla="*/ 127012 h 127011"/>
              <a:gd name="connsiteX2" fmla="*/ 62924 w 117690"/>
              <a:gd name="connsiteY2" fmla="*/ 64089 h 127011"/>
              <a:gd name="connsiteX3" fmla="*/ 0 w 117690"/>
              <a:gd name="connsiteY3" fmla="*/ 0 h 127011"/>
              <a:gd name="connsiteX4" fmla="*/ 54767 w 117690"/>
              <a:gd name="connsiteY4" fmla="*/ 0 h 127011"/>
              <a:gd name="connsiteX5" fmla="*/ 117690 w 117690"/>
              <a:gd name="connsiteY5" fmla="*/ 62923 h 12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1">
                <a:moveTo>
                  <a:pt x="53601" y="127012"/>
                </a:moveTo>
                <a:lnTo>
                  <a:pt x="0" y="127012"/>
                </a:lnTo>
                <a:lnTo>
                  <a:pt x="62924" y="64089"/>
                </a:lnTo>
                <a:lnTo>
                  <a:pt x="0" y="0"/>
                </a:lnTo>
                <a:lnTo>
                  <a:pt x="54767" y="0"/>
                </a:lnTo>
                <a:lnTo>
                  <a:pt x="117690" y="62923"/>
                </a:lnTo>
                <a:close/>
              </a:path>
            </a:pathLst>
          </a:custGeom>
          <a:solidFill>
            <a:srgbClr val="EEF2F5"/>
          </a:solidFill>
          <a:ln w="11643" cap="flat">
            <a:noFill/>
            <a:prstDash val="solid"/>
            <a:miter/>
          </a:ln>
        </p:spPr>
        <p:txBody>
          <a:bodyPr rtlCol="0" anchor="ctr"/>
          <a:lstStyle/>
          <a:p>
            <a:pPr rtl="0"/>
            <a:endParaRPr lang="en-US"/>
          </a:p>
        </p:txBody>
      </p:sp>
      <p:sp>
        <p:nvSpPr>
          <p:cNvPr id="124" name="Freihandform: Form 123">
            <a:extLst>
              <a:ext uri="{FF2B5EF4-FFF2-40B4-BE49-F238E27FC236}">
                <a16:creationId xmlns:a16="http://schemas.microsoft.com/office/drawing/2014/main" id="{A21B059E-24B7-45F6-86CA-657F48380E87}"/>
              </a:ext>
            </a:extLst>
          </p:cNvPr>
          <p:cNvSpPr/>
          <p:nvPr/>
        </p:nvSpPr>
        <p:spPr>
          <a:xfrm>
            <a:off x="6988003" y="4530998"/>
            <a:ext cx="117690" cy="125846"/>
          </a:xfrm>
          <a:custGeom>
            <a:avLst/>
            <a:gdLst>
              <a:gd name="connsiteX0" fmla="*/ 53601 w 117690"/>
              <a:gd name="connsiteY0" fmla="*/ 125847 h 125846"/>
              <a:gd name="connsiteX1" fmla="*/ 0 w 117690"/>
              <a:gd name="connsiteY1" fmla="*/ 125847 h 125846"/>
              <a:gd name="connsiteX2" fmla="*/ 62924 w 117690"/>
              <a:gd name="connsiteY2" fmla="*/ 64089 h 125846"/>
              <a:gd name="connsiteX3" fmla="*/ 0 w 117690"/>
              <a:gd name="connsiteY3" fmla="*/ 0 h 125846"/>
              <a:gd name="connsiteX4" fmla="*/ 54767 w 117690"/>
              <a:gd name="connsiteY4" fmla="*/ 0 h 125846"/>
              <a:gd name="connsiteX5" fmla="*/ 117690 w 117690"/>
              <a:gd name="connsiteY5" fmla="*/ 61758 h 125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5846">
                <a:moveTo>
                  <a:pt x="53601" y="125847"/>
                </a:moveTo>
                <a:lnTo>
                  <a:pt x="0" y="125847"/>
                </a:lnTo>
                <a:lnTo>
                  <a:pt x="62924" y="64089"/>
                </a:lnTo>
                <a:lnTo>
                  <a:pt x="0" y="0"/>
                </a:lnTo>
                <a:lnTo>
                  <a:pt x="54767" y="0"/>
                </a:lnTo>
                <a:lnTo>
                  <a:pt x="117690" y="61758"/>
                </a:lnTo>
                <a:close/>
              </a:path>
            </a:pathLst>
          </a:custGeom>
          <a:solidFill>
            <a:srgbClr val="EEF2F5"/>
          </a:solidFill>
          <a:ln w="11643" cap="flat">
            <a:noFill/>
            <a:prstDash val="solid"/>
            <a:miter/>
          </a:ln>
        </p:spPr>
        <p:txBody>
          <a:bodyPr rtlCol="0" anchor="ctr"/>
          <a:lstStyle/>
          <a:p>
            <a:pPr rtl="0"/>
            <a:endParaRPr lang="en-US"/>
          </a:p>
        </p:txBody>
      </p:sp>
      <p:sp>
        <p:nvSpPr>
          <p:cNvPr id="141" name="Freihandform: Form 140">
            <a:extLst>
              <a:ext uri="{FF2B5EF4-FFF2-40B4-BE49-F238E27FC236}">
                <a16:creationId xmlns:a16="http://schemas.microsoft.com/office/drawing/2014/main" id="{B826AAAD-4F78-48CC-8D7F-6FF66CB56257}"/>
              </a:ext>
            </a:extLst>
          </p:cNvPr>
          <p:cNvSpPr/>
          <p:nvPr/>
        </p:nvSpPr>
        <p:spPr>
          <a:xfrm>
            <a:off x="6988003" y="4885234"/>
            <a:ext cx="117690" cy="127012"/>
          </a:xfrm>
          <a:custGeom>
            <a:avLst/>
            <a:gdLst>
              <a:gd name="connsiteX0" fmla="*/ 53601 w 117690"/>
              <a:gd name="connsiteY0" fmla="*/ 127012 h 127012"/>
              <a:gd name="connsiteX1" fmla="*/ 0 w 117690"/>
              <a:gd name="connsiteY1" fmla="*/ 127012 h 127012"/>
              <a:gd name="connsiteX2" fmla="*/ 62924 w 117690"/>
              <a:gd name="connsiteY2" fmla="*/ 64089 h 127012"/>
              <a:gd name="connsiteX3" fmla="*/ 0 w 117690"/>
              <a:gd name="connsiteY3" fmla="*/ 0 h 127012"/>
              <a:gd name="connsiteX4" fmla="*/ 54767 w 117690"/>
              <a:gd name="connsiteY4" fmla="*/ 0 h 127012"/>
              <a:gd name="connsiteX5" fmla="*/ 117690 w 117690"/>
              <a:gd name="connsiteY5" fmla="*/ 62923 h 12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2">
                <a:moveTo>
                  <a:pt x="53601" y="127012"/>
                </a:moveTo>
                <a:lnTo>
                  <a:pt x="0" y="127012"/>
                </a:lnTo>
                <a:lnTo>
                  <a:pt x="62924" y="64089"/>
                </a:lnTo>
                <a:lnTo>
                  <a:pt x="0" y="0"/>
                </a:lnTo>
                <a:lnTo>
                  <a:pt x="54767" y="0"/>
                </a:lnTo>
                <a:lnTo>
                  <a:pt x="117690" y="62923"/>
                </a:lnTo>
                <a:close/>
              </a:path>
            </a:pathLst>
          </a:custGeom>
          <a:solidFill>
            <a:srgbClr val="EEF2F5"/>
          </a:solidFill>
          <a:ln w="11643" cap="flat">
            <a:noFill/>
            <a:prstDash val="solid"/>
            <a:miter/>
          </a:ln>
        </p:spPr>
        <p:txBody>
          <a:bodyPr rtlCol="0" anchor="ctr"/>
          <a:lstStyle/>
          <a:p>
            <a:pPr rtl="0"/>
            <a:endParaRPr lang="en-US"/>
          </a:p>
        </p:txBody>
      </p:sp>
      <p:sp>
        <p:nvSpPr>
          <p:cNvPr id="158" name="Freihandform: Form 157">
            <a:extLst>
              <a:ext uri="{FF2B5EF4-FFF2-40B4-BE49-F238E27FC236}">
                <a16:creationId xmlns:a16="http://schemas.microsoft.com/office/drawing/2014/main" id="{52E552E0-7863-4113-BBA5-301C77EAF452}"/>
              </a:ext>
            </a:extLst>
          </p:cNvPr>
          <p:cNvSpPr/>
          <p:nvPr/>
        </p:nvSpPr>
        <p:spPr>
          <a:xfrm>
            <a:off x="6988003" y="5240634"/>
            <a:ext cx="117690" cy="127011"/>
          </a:xfrm>
          <a:custGeom>
            <a:avLst/>
            <a:gdLst>
              <a:gd name="connsiteX0" fmla="*/ 53601 w 117690"/>
              <a:gd name="connsiteY0" fmla="*/ 127012 h 127011"/>
              <a:gd name="connsiteX1" fmla="*/ 0 w 117690"/>
              <a:gd name="connsiteY1" fmla="*/ 127012 h 127011"/>
              <a:gd name="connsiteX2" fmla="*/ 62924 w 117690"/>
              <a:gd name="connsiteY2" fmla="*/ 64089 h 127011"/>
              <a:gd name="connsiteX3" fmla="*/ 0 w 117690"/>
              <a:gd name="connsiteY3" fmla="*/ 0 h 127011"/>
              <a:gd name="connsiteX4" fmla="*/ 54767 w 117690"/>
              <a:gd name="connsiteY4" fmla="*/ 0 h 127011"/>
              <a:gd name="connsiteX5" fmla="*/ 117690 w 117690"/>
              <a:gd name="connsiteY5" fmla="*/ 61758 h 12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1">
                <a:moveTo>
                  <a:pt x="53601" y="127012"/>
                </a:moveTo>
                <a:lnTo>
                  <a:pt x="0" y="127012"/>
                </a:lnTo>
                <a:lnTo>
                  <a:pt x="62924" y="64089"/>
                </a:lnTo>
                <a:lnTo>
                  <a:pt x="0" y="0"/>
                </a:lnTo>
                <a:lnTo>
                  <a:pt x="54767" y="0"/>
                </a:lnTo>
                <a:lnTo>
                  <a:pt x="117690" y="61758"/>
                </a:lnTo>
                <a:close/>
              </a:path>
            </a:pathLst>
          </a:custGeom>
          <a:solidFill>
            <a:srgbClr val="EEF2F5"/>
          </a:solidFill>
          <a:ln w="11643" cap="flat">
            <a:noFill/>
            <a:prstDash val="solid"/>
            <a:miter/>
          </a:ln>
        </p:spPr>
        <p:txBody>
          <a:bodyPr rtlCol="0" anchor="ctr"/>
          <a:lstStyle/>
          <a:p>
            <a:pPr rtl="0"/>
            <a:endParaRPr lang="en-US"/>
          </a:p>
        </p:txBody>
      </p:sp>
      <p:sp>
        <p:nvSpPr>
          <p:cNvPr id="175" name="Freihandform: Form 174">
            <a:extLst>
              <a:ext uri="{FF2B5EF4-FFF2-40B4-BE49-F238E27FC236}">
                <a16:creationId xmlns:a16="http://schemas.microsoft.com/office/drawing/2014/main" id="{B682B6CF-0860-48B1-8C00-95D42CF736E9}"/>
              </a:ext>
            </a:extLst>
          </p:cNvPr>
          <p:cNvSpPr/>
          <p:nvPr/>
        </p:nvSpPr>
        <p:spPr>
          <a:xfrm>
            <a:off x="6988003" y="5594870"/>
            <a:ext cx="117690" cy="127011"/>
          </a:xfrm>
          <a:custGeom>
            <a:avLst/>
            <a:gdLst>
              <a:gd name="connsiteX0" fmla="*/ 53601 w 117690"/>
              <a:gd name="connsiteY0" fmla="*/ 127012 h 127011"/>
              <a:gd name="connsiteX1" fmla="*/ 0 w 117690"/>
              <a:gd name="connsiteY1" fmla="*/ 127012 h 127011"/>
              <a:gd name="connsiteX2" fmla="*/ 62924 w 117690"/>
              <a:gd name="connsiteY2" fmla="*/ 64089 h 127011"/>
              <a:gd name="connsiteX3" fmla="*/ 0 w 117690"/>
              <a:gd name="connsiteY3" fmla="*/ 0 h 127011"/>
              <a:gd name="connsiteX4" fmla="*/ 54767 w 117690"/>
              <a:gd name="connsiteY4" fmla="*/ 0 h 127011"/>
              <a:gd name="connsiteX5" fmla="*/ 117690 w 117690"/>
              <a:gd name="connsiteY5" fmla="*/ 62923 h 12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1">
                <a:moveTo>
                  <a:pt x="53601" y="127012"/>
                </a:moveTo>
                <a:lnTo>
                  <a:pt x="0" y="127012"/>
                </a:lnTo>
                <a:lnTo>
                  <a:pt x="62924" y="64089"/>
                </a:lnTo>
                <a:lnTo>
                  <a:pt x="0" y="0"/>
                </a:lnTo>
                <a:lnTo>
                  <a:pt x="54767" y="0"/>
                </a:lnTo>
                <a:lnTo>
                  <a:pt x="117690" y="62923"/>
                </a:lnTo>
                <a:close/>
              </a:path>
            </a:pathLst>
          </a:custGeom>
          <a:solidFill>
            <a:srgbClr val="EEF2F5"/>
          </a:solidFill>
          <a:ln w="11643" cap="flat">
            <a:noFill/>
            <a:prstDash val="solid"/>
            <a:miter/>
          </a:ln>
        </p:spPr>
        <p:txBody>
          <a:bodyPr rtlCol="0" anchor="ctr"/>
          <a:lstStyle/>
          <a:p>
            <a:pPr rtl="0"/>
            <a:endParaRPr lang="en-US"/>
          </a:p>
        </p:txBody>
      </p:sp>
      <p:sp>
        <p:nvSpPr>
          <p:cNvPr id="192" name="Freihandform: Form 191">
            <a:extLst>
              <a:ext uri="{FF2B5EF4-FFF2-40B4-BE49-F238E27FC236}">
                <a16:creationId xmlns:a16="http://schemas.microsoft.com/office/drawing/2014/main" id="{454B7B92-8F20-486A-A2F6-3D352B2C3337}"/>
              </a:ext>
            </a:extLst>
          </p:cNvPr>
          <p:cNvSpPr/>
          <p:nvPr/>
        </p:nvSpPr>
        <p:spPr>
          <a:xfrm>
            <a:off x="6988003" y="5950270"/>
            <a:ext cx="117690" cy="127011"/>
          </a:xfrm>
          <a:custGeom>
            <a:avLst/>
            <a:gdLst>
              <a:gd name="connsiteX0" fmla="*/ 53601 w 117690"/>
              <a:gd name="connsiteY0" fmla="*/ 127012 h 127011"/>
              <a:gd name="connsiteX1" fmla="*/ 0 w 117690"/>
              <a:gd name="connsiteY1" fmla="*/ 127012 h 127011"/>
              <a:gd name="connsiteX2" fmla="*/ 62924 w 117690"/>
              <a:gd name="connsiteY2" fmla="*/ 64089 h 127011"/>
              <a:gd name="connsiteX3" fmla="*/ 0 w 117690"/>
              <a:gd name="connsiteY3" fmla="*/ 0 h 127011"/>
              <a:gd name="connsiteX4" fmla="*/ 54767 w 117690"/>
              <a:gd name="connsiteY4" fmla="*/ 0 h 127011"/>
              <a:gd name="connsiteX5" fmla="*/ 117690 w 117690"/>
              <a:gd name="connsiteY5" fmla="*/ 61758 h 12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1">
                <a:moveTo>
                  <a:pt x="53601" y="127012"/>
                </a:moveTo>
                <a:lnTo>
                  <a:pt x="0" y="127012"/>
                </a:lnTo>
                <a:lnTo>
                  <a:pt x="62924" y="64089"/>
                </a:lnTo>
                <a:lnTo>
                  <a:pt x="0" y="0"/>
                </a:lnTo>
                <a:lnTo>
                  <a:pt x="54767" y="0"/>
                </a:lnTo>
                <a:lnTo>
                  <a:pt x="117690" y="61758"/>
                </a:lnTo>
                <a:close/>
              </a:path>
            </a:pathLst>
          </a:custGeom>
          <a:solidFill>
            <a:srgbClr val="EEF2F5"/>
          </a:solidFill>
          <a:ln w="11643" cap="flat">
            <a:noFill/>
            <a:prstDash val="solid"/>
            <a:miter/>
          </a:ln>
        </p:spPr>
        <p:txBody>
          <a:bodyPr rtlCol="0" anchor="ctr"/>
          <a:lstStyle/>
          <a:p>
            <a:pPr rtl="0"/>
            <a:endParaRPr lang="en-US"/>
          </a:p>
        </p:txBody>
      </p:sp>
      <p:sp>
        <p:nvSpPr>
          <p:cNvPr id="209" name="Freihandform: Form 208">
            <a:extLst>
              <a:ext uri="{FF2B5EF4-FFF2-40B4-BE49-F238E27FC236}">
                <a16:creationId xmlns:a16="http://schemas.microsoft.com/office/drawing/2014/main" id="{731C9EF6-821F-43D3-AF27-A0A6EE4233B2}"/>
              </a:ext>
            </a:extLst>
          </p:cNvPr>
          <p:cNvSpPr/>
          <p:nvPr/>
        </p:nvSpPr>
        <p:spPr>
          <a:xfrm>
            <a:off x="6988003" y="6304506"/>
            <a:ext cx="117690" cy="127011"/>
          </a:xfrm>
          <a:custGeom>
            <a:avLst/>
            <a:gdLst>
              <a:gd name="connsiteX0" fmla="*/ 53601 w 117690"/>
              <a:gd name="connsiteY0" fmla="*/ 127012 h 127011"/>
              <a:gd name="connsiteX1" fmla="*/ 0 w 117690"/>
              <a:gd name="connsiteY1" fmla="*/ 127012 h 127011"/>
              <a:gd name="connsiteX2" fmla="*/ 62924 w 117690"/>
              <a:gd name="connsiteY2" fmla="*/ 64089 h 127011"/>
              <a:gd name="connsiteX3" fmla="*/ 0 w 117690"/>
              <a:gd name="connsiteY3" fmla="*/ 0 h 127011"/>
              <a:gd name="connsiteX4" fmla="*/ 54767 w 117690"/>
              <a:gd name="connsiteY4" fmla="*/ 0 h 127011"/>
              <a:gd name="connsiteX5" fmla="*/ 117690 w 117690"/>
              <a:gd name="connsiteY5" fmla="*/ 62923 h 12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1">
                <a:moveTo>
                  <a:pt x="53601" y="127012"/>
                </a:moveTo>
                <a:lnTo>
                  <a:pt x="0" y="127012"/>
                </a:lnTo>
                <a:lnTo>
                  <a:pt x="62924" y="64089"/>
                </a:lnTo>
                <a:lnTo>
                  <a:pt x="0" y="0"/>
                </a:lnTo>
                <a:lnTo>
                  <a:pt x="54767" y="0"/>
                </a:lnTo>
                <a:lnTo>
                  <a:pt x="117690" y="62923"/>
                </a:lnTo>
                <a:close/>
              </a:path>
            </a:pathLst>
          </a:custGeom>
          <a:solidFill>
            <a:srgbClr val="EEF2F5"/>
          </a:solidFill>
          <a:ln w="11643" cap="flat">
            <a:noFill/>
            <a:prstDash val="solid"/>
            <a:miter/>
          </a:ln>
        </p:spPr>
        <p:txBody>
          <a:bodyPr rtlCol="0" anchor="ctr"/>
          <a:lstStyle/>
          <a:p>
            <a:pPr rtl="0"/>
            <a:endParaRPr lang="en-US"/>
          </a:p>
        </p:txBody>
      </p:sp>
      <p:sp>
        <p:nvSpPr>
          <p:cNvPr id="225" name="Freihandform: Form 224">
            <a:extLst>
              <a:ext uri="{FF2B5EF4-FFF2-40B4-BE49-F238E27FC236}">
                <a16:creationId xmlns:a16="http://schemas.microsoft.com/office/drawing/2014/main" id="{E9AB3220-DE9C-44AE-ADC2-AF15E390E82D}"/>
              </a:ext>
            </a:extLst>
          </p:cNvPr>
          <p:cNvSpPr/>
          <p:nvPr/>
        </p:nvSpPr>
        <p:spPr>
          <a:xfrm>
            <a:off x="6988003" y="6659906"/>
            <a:ext cx="117690" cy="127011"/>
          </a:xfrm>
          <a:custGeom>
            <a:avLst/>
            <a:gdLst>
              <a:gd name="connsiteX0" fmla="*/ 53601 w 117690"/>
              <a:gd name="connsiteY0" fmla="*/ 127012 h 127011"/>
              <a:gd name="connsiteX1" fmla="*/ 0 w 117690"/>
              <a:gd name="connsiteY1" fmla="*/ 127012 h 127011"/>
              <a:gd name="connsiteX2" fmla="*/ 62924 w 117690"/>
              <a:gd name="connsiteY2" fmla="*/ 64089 h 127011"/>
              <a:gd name="connsiteX3" fmla="*/ 0 w 117690"/>
              <a:gd name="connsiteY3" fmla="*/ 0 h 127011"/>
              <a:gd name="connsiteX4" fmla="*/ 54767 w 117690"/>
              <a:gd name="connsiteY4" fmla="*/ 0 h 127011"/>
              <a:gd name="connsiteX5" fmla="*/ 117690 w 117690"/>
              <a:gd name="connsiteY5" fmla="*/ 61758 h 12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1">
                <a:moveTo>
                  <a:pt x="53601" y="127012"/>
                </a:moveTo>
                <a:lnTo>
                  <a:pt x="0" y="127012"/>
                </a:lnTo>
                <a:lnTo>
                  <a:pt x="62924" y="64089"/>
                </a:lnTo>
                <a:lnTo>
                  <a:pt x="0" y="0"/>
                </a:lnTo>
                <a:lnTo>
                  <a:pt x="54767" y="0"/>
                </a:lnTo>
                <a:lnTo>
                  <a:pt x="117690" y="61758"/>
                </a:lnTo>
                <a:close/>
              </a:path>
            </a:pathLst>
          </a:custGeom>
          <a:solidFill>
            <a:srgbClr val="EEF2F5"/>
          </a:solidFill>
          <a:ln w="11643" cap="flat">
            <a:noFill/>
            <a:prstDash val="solid"/>
            <a:miter/>
          </a:ln>
        </p:spPr>
        <p:txBody>
          <a:bodyPr rtlCol="0" anchor="ctr"/>
          <a:lstStyle/>
          <a:p>
            <a:pPr rtl="0"/>
            <a:endParaRPr lang="en-US"/>
          </a:p>
        </p:txBody>
      </p:sp>
      <p:sp>
        <p:nvSpPr>
          <p:cNvPr id="14" name="Freihandform: Form 13">
            <a:extLst>
              <a:ext uri="{FF2B5EF4-FFF2-40B4-BE49-F238E27FC236}">
                <a16:creationId xmlns:a16="http://schemas.microsoft.com/office/drawing/2014/main" id="{EFAF6EFC-5984-485E-8562-F3C5B1286F10}"/>
              </a:ext>
            </a:extLst>
          </p:cNvPr>
          <p:cNvSpPr/>
          <p:nvPr/>
        </p:nvSpPr>
        <p:spPr>
          <a:xfrm>
            <a:off x="7335247" y="2038533"/>
            <a:ext cx="132838" cy="143325"/>
          </a:xfrm>
          <a:custGeom>
            <a:avLst/>
            <a:gdLst>
              <a:gd name="connsiteX0" fmla="*/ 60593 w 132838"/>
              <a:gd name="connsiteY0" fmla="*/ 143326 h 143325"/>
              <a:gd name="connsiteX1" fmla="*/ 0 w 132838"/>
              <a:gd name="connsiteY1" fmla="*/ 143326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6"/>
                </a:moveTo>
                <a:lnTo>
                  <a:pt x="0" y="143326"/>
                </a:lnTo>
                <a:lnTo>
                  <a:pt x="71080" y="72245"/>
                </a:lnTo>
                <a:lnTo>
                  <a:pt x="0" y="0"/>
                </a:lnTo>
                <a:lnTo>
                  <a:pt x="61758" y="0"/>
                </a:lnTo>
                <a:lnTo>
                  <a:pt x="132838" y="69915"/>
                </a:lnTo>
                <a:close/>
              </a:path>
            </a:pathLst>
          </a:custGeom>
          <a:solidFill>
            <a:srgbClr val="EEF2F5"/>
          </a:solidFill>
          <a:ln w="11643" cap="flat">
            <a:noFill/>
            <a:prstDash val="solid"/>
            <a:miter/>
          </a:ln>
        </p:spPr>
        <p:txBody>
          <a:bodyPr rtlCol="0" anchor="ctr"/>
          <a:lstStyle/>
          <a:p>
            <a:pPr rtl="0"/>
            <a:endParaRPr lang="en-US"/>
          </a:p>
        </p:txBody>
      </p:sp>
      <p:sp>
        <p:nvSpPr>
          <p:cNvPr id="29" name="Freihandform: Form 28">
            <a:extLst>
              <a:ext uri="{FF2B5EF4-FFF2-40B4-BE49-F238E27FC236}">
                <a16:creationId xmlns:a16="http://schemas.microsoft.com/office/drawing/2014/main" id="{C38B5C98-4ABA-4DD0-92EE-6AE4E7466D1F}"/>
              </a:ext>
            </a:extLst>
          </p:cNvPr>
          <p:cNvSpPr/>
          <p:nvPr/>
        </p:nvSpPr>
        <p:spPr>
          <a:xfrm>
            <a:off x="7335247" y="2392768"/>
            <a:ext cx="132838" cy="143325"/>
          </a:xfrm>
          <a:custGeom>
            <a:avLst/>
            <a:gdLst>
              <a:gd name="connsiteX0" fmla="*/ 60593 w 132838"/>
              <a:gd name="connsiteY0" fmla="*/ 143325 h 143325"/>
              <a:gd name="connsiteX1" fmla="*/ 0 w 132838"/>
              <a:gd name="connsiteY1" fmla="*/ 143325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71080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5"/>
                </a:moveTo>
                <a:lnTo>
                  <a:pt x="0" y="143325"/>
                </a:lnTo>
                <a:lnTo>
                  <a:pt x="71080" y="72245"/>
                </a:lnTo>
                <a:lnTo>
                  <a:pt x="0" y="0"/>
                </a:lnTo>
                <a:lnTo>
                  <a:pt x="61758" y="0"/>
                </a:lnTo>
                <a:lnTo>
                  <a:pt x="132838" y="71080"/>
                </a:lnTo>
                <a:close/>
              </a:path>
            </a:pathLst>
          </a:custGeom>
          <a:solidFill>
            <a:srgbClr val="EEF2F5"/>
          </a:solidFill>
          <a:ln w="11643" cap="flat">
            <a:noFill/>
            <a:prstDash val="solid"/>
            <a:miter/>
          </a:ln>
        </p:spPr>
        <p:txBody>
          <a:bodyPr rtlCol="0" anchor="ctr"/>
          <a:lstStyle/>
          <a:p>
            <a:pPr rtl="0"/>
            <a:endParaRPr lang="en-US"/>
          </a:p>
        </p:txBody>
      </p:sp>
      <p:sp>
        <p:nvSpPr>
          <p:cNvPr id="45" name="Freihandform: Form 44">
            <a:extLst>
              <a:ext uri="{FF2B5EF4-FFF2-40B4-BE49-F238E27FC236}">
                <a16:creationId xmlns:a16="http://schemas.microsoft.com/office/drawing/2014/main" id="{79F3C30E-5951-4096-8825-BA1A1F523534}"/>
              </a:ext>
            </a:extLst>
          </p:cNvPr>
          <p:cNvSpPr/>
          <p:nvPr/>
        </p:nvSpPr>
        <p:spPr>
          <a:xfrm>
            <a:off x="7335247" y="2748169"/>
            <a:ext cx="132838" cy="143325"/>
          </a:xfrm>
          <a:custGeom>
            <a:avLst/>
            <a:gdLst>
              <a:gd name="connsiteX0" fmla="*/ 60593 w 132838"/>
              <a:gd name="connsiteY0" fmla="*/ 143325 h 143325"/>
              <a:gd name="connsiteX1" fmla="*/ 0 w 132838"/>
              <a:gd name="connsiteY1" fmla="*/ 143325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5"/>
                </a:moveTo>
                <a:lnTo>
                  <a:pt x="0" y="143325"/>
                </a:lnTo>
                <a:lnTo>
                  <a:pt x="71080" y="72245"/>
                </a:lnTo>
                <a:lnTo>
                  <a:pt x="0" y="0"/>
                </a:lnTo>
                <a:lnTo>
                  <a:pt x="61758" y="0"/>
                </a:lnTo>
                <a:lnTo>
                  <a:pt x="132838" y="69915"/>
                </a:lnTo>
                <a:close/>
              </a:path>
            </a:pathLst>
          </a:custGeom>
          <a:solidFill>
            <a:srgbClr val="EEF2F5"/>
          </a:solidFill>
          <a:ln w="11643" cap="flat">
            <a:noFill/>
            <a:prstDash val="solid"/>
            <a:miter/>
          </a:ln>
        </p:spPr>
        <p:txBody>
          <a:bodyPr rtlCol="0" anchor="ctr"/>
          <a:lstStyle/>
          <a:p>
            <a:pPr rtl="0"/>
            <a:endParaRPr lang="en-US"/>
          </a:p>
        </p:txBody>
      </p:sp>
      <p:sp>
        <p:nvSpPr>
          <p:cNvPr id="61" name="Freihandform: Form 60">
            <a:extLst>
              <a:ext uri="{FF2B5EF4-FFF2-40B4-BE49-F238E27FC236}">
                <a16:creationId xmlns:a16="http://schemas.microsoft.com/office/drawing/2014/main" id="{72D38BC9-A038-42F1-84CC-8FE548646FD4}"/>
              </a:ext>
            </a:extLst>
          </p:cNvPr>
          <p:cNvSpPr/>
          <p:nvPr/>
        </p:nvSpPr>
        <p:spPr>
          <a:xfrm>
            <a:off x="7335247" y="3102404"/>
            <a:ext cx="132838" cy="143325"/>
          </a:xfrm>
          <a:custGeom>
            <a:avLst/>
            <a:gdLst>
              <a:gd name="connsiteX0" fmla="*/ 60593 w 132838"/>
              <a:gd name="connsiteY0" fmla="*/ 143326 h 143325"/>
              <a:gd name="connsiteX1" fmla="*/ 0 w 132838"/>
              <a:gd name="connsiteY1" fmla="*/ 143326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71080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6"/>
                </a:moveTo>
                <a:lnTo>
                  <a:pt x="0" y="143326"/>
                </a:lnTo>
                <a:lnTo>
                  <a:pt x="71080" y="72245"/>
                </a:lnTo>
                <a:lnTo>
                  <a:pt x="0" y="0"/>
                </a:lnTo>
                <a:lnTo>
                  <a:pt x="61758" y="0"/>
                </a:lnTo>
                <a:lnTo>
                  <a:pt x="132838" y="71080"/>
                </a:lnTo>
                <a:close/>
              </a:path>
            </a:pathLst>
          </a:custGeom>
          <a:solidFill>
            <a:srgbClr val="EEF2F5"/>
          </a:solidFill>
          <a:ln w="11643" cap="flat">
            <a:noFill/>
            <a:prstDash val="solid"/>
            <a:miter/>
          </a:ln>
        </p:spPr>
        <p:txBody>
          <a:bodyPr rtlCol="0" anchor="ctr"/>
          <a:lstStyle/>
          <a:p>
            <a:pPr rtl="0"/>
            <a:endParaRPr lang="en-US"/>
          </a:p>
        </p:txBody>
      </p:sp>
      <p:sp>
        <p:nvSpPr>
          <p:cNvPr id="77" name="Freihandform: Form 76">
            <a:extLst>
              <a:ext uri="{FF2B5EF4-FFF2-40B4-BE49-F238E27FC236}">
                <a16:creationId xmlns:a16="http://schemas.microsoft.com/office/drawing/2014/main" id="{4C23EFB8-6839-469E-BA4B-6EBF505449D2}"/>
              </a:ext>
            </a:extLst>
          </p:cNvPr>
          <p:cNvSpPr/>
          <p:nvPr/>
        </p:nvSpPr>
        <p:spPr>
          <a:xfrm>
            <a:off x="7335247" y="3457805"/>
            <a:ext cx="132838" cy="143325"/>
          </a:xfrm>
          <a:custGeom>
            <a:avLst/>
            <a:gdLst>
              <a:gd name="connsiteX0" fmla="*/ 60593 w 132838"/>
              <a:gd name="connsiteY0" fmla="*/ 143326 h 143325"/>
              <a:gd name="connsiteX1" fmla="*/ 0 w 132838"/>
              <a:gd name="connsiteY1" fmla="*/ 143326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6"/>
                </a:moveTo>
                <a:lnTo>
                  <a:pt x="0" y="143326"/>
                </a:lnTo>
                <a:lnTo>
                  <a:pt x="71080" y="72245"/>
                </a:lnTo>
                <a:lnTo>
                  <a:pt x="0" y="0"/>
                </a:lnTo>
                <a:lnTo>
                  <a:pt x="61758" y="0"/>
                </a:lnTo>
                <a:lnTo>
                  <a:pt x="132838" y="69915"/>
                </a:lnTo>
                <a:close/>
              </a:path>
            </a:pathLst>
          </a:custGeom>
          <a:solidFill>
            <a:srgbClr val="EEF2F5"/>
          </a:solidFill>
          <a:ln w="11643" cap="flat">
            <a:noFill/>
            <a:prstDash val="solid"/>
            <a:miter/>
          </a:ln>
        </p:spPr>
        <p:txBody>
          <a:bodyPr rtlCol="0" anchor="ctr"/>
          <a:lstStyle/>
          <a:p>
            <a:pPr rtl="0"/>
            <a:endParaRPr lang="en-US"/>
          </a:p>
        </p:txBody>
      </p:sp>
      <p:sp>
        <p:nvSpPr>
          <p:cNvPr id="93" name="Freihandform: Form 92">
            <a:extLst>
              <a:ext uri="{FF2B5EF4-FFF2-40B4-BE49-F238E27FC236}">
                <a16:creationId xmlns:a16="http://schemas.microsoft.com/office/drawing/2014/main" id="{45EE2EBC-AC9B-4F66-BE0E-F697842CD09A}"/>
              </a:ext>
            </a:extLst>
          </p:cNvPr>
          <p:cNvSpPr/>
          <p:nvPr/>
        </p:nvSpPr>
        <p:spPr>
          <a:xfrm>
            <a:off x="7335247" y="3812040"/>
            <a:ext cx="132838" cy="144490"/>
          </a:xfrm>
          <a:custGeom>
            <a:avLst/>
            <a:gdLst>
              <a:gd name="connsiteX0" fmla="*/ 60593 w 132838"/>
              <a:gd name="connsiteY0" fmla="*/ 144491 h 144490"/>
              <a:gd name="connsiteX1" fmla="*/ 0 w 132838"/>
              <a:gd name="connsiteY1" fmla="*/ 144491 h 144490"/>
              <a:gd name="connsiteX2" fmla="*/ 71080 w 132838"/>
              <a:gd name="connsiteY2" fmla="*/ 73410 h 144490"/>
              <a:gd name="connsiteX3" fmla="*/ 0 w 132838"/>
              <a:gd name="connsiteY3" fmla="*/ 0 h 144490"/>
              <a:gd name="connsiteX4" fmla="*/ 61758 w 132838"/>
              <a:gd name="connsiteY4" fmla="*/ 0 h 144490"/>
              <a:gd name="connsiteX5" fmla="*/ 132838 w 132838"/>
              <a:gd name="connsiteY5" fmla="*/ 71080 h 144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4490">
                <a:moveTo>
                  <a:pt x="60593" y="144491"/>
                </a:moveTo>
                <a:lnTo>
                  <a:pt x="0" y="144491"/>
                </a:lnTo>
                <a:lnTo>
                  <a:pt x="71080" y="73410"/>
                </a:lnTo>
                <a:lnTo>
                  <a:pt x="0" y="0"/>
                </a:lnTo>
                <a:lnTo>
                  <a:pt x="61758" y="0"/>
                </a:lnTo>
                <a:lnTo>
                  <a:pt x="132838" y="71080"/>
                </a:lnTo>
                <a:close/>
              </a:path>
            </a:pathLst>
          </a:custGeom>
          <a:solidFill>
            <a:srgbClr val="EEF2F5"/>
          </a:solidFill>
          <a:ln w="11643" cap="flat">
            <a:noFill/>
            <a:prstDash val="solid"/>
            <a:miter/>
          </a:ln>
        </p:spPr>
        <p:txBody>
          <a:bodyPr rtlCol="0" anchor="ctr"/>
          <a:lstStyle/>
          <a:p>
            <a:pPr rtl="0"/>
            <a:endParaRPr lang="en-US"/>
          </a:p>
        </p:txBody>
      </p:sp>
      <p:sp>
        <p:nvSpPr>
          <p:cNvPr id="109" name="Freihandform: Form 108">
            <a:extLst>
              <a:ext uri="{FF2B5EF4-FFF2-40B4-BE49-F238E27FC236}">
                <a16:creationId xmlns:a16="http://schemas.microsoft.com/office/drawing/2014/main" id="{23A8A58E-C664-472A-80B9-B34A798D133E}"/>
              </a:ext>
            </a:extLst>
          </p:cNvPr>
          <p:cNvSpPr/>
          <p:nvPr/>
        </p:nvSpPr>
        <p:spPr>
          <a:xfrm>
            <a:off x="7335247" y="4167441"/>
            <a:ext cx="132838" cy="143325"/>
          </a:xfrm>
          <a:custGeom>
            <a:avLst/>
            <a:gdLst>
              <a:gd name="connsiteX0" fmla="*/ 60593 w 132838"/>
              <a:gd name="connsiteY0" fmla="*/ 143325 h 143325"/>
              <a:gd name="connsiteX1" fmla="*/ 0 w 132838"/>
              <a:gd name="connsiteY1" fmla="*/ 143325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5"/>
                </a:moveTo>
                <a:lnTo>
                  <a:pt x="0" y="143325"/>
                </a:lnTo>
                <a:lnTo>
                  <a:pt x="71080" y="72245"/>
                </a:lnTo>
                <a:lnTo>
                  <a:pt x="0" y="0"/>
                </a:lnTo>
                <a:lnTo>
                  <a:pt x="61758" y="0"/>
                </a:lnTo>
                <a:lnTo>
                  <a:pt x="132838" y="69915"/>
                </a:lnTo>
                <a:close/>
              </a:path>
            </a:pathLst>
          </a:custGeom>
          <a:solidFill>
            <a:srgbClr val="EEF2F5"/>
          </a:solidFill>
          <a:ln w="11643" cap="flat">
            <a:noFill/>
            <a:prstDash val="solid"/>
            <a:miter/>
          </a:ln>
        </p:spPr>
        <p:txBody>
          <a:bodyPr rtlCol="0" anchor="ctr"/>
          <a:lstStyle/>
          <a:p>
            <a:pPr rtl="0"/>
            <a:endParaRPr lang="en-US"/>
          </a:p>
        </p:txBody>
      </p:sp>
      <p:sp>
        <p:nvSpPr>
          <p:cNvPr id="125" name="Freihandform: Form 124">
            <a:extLst>
              <a:ext uri="{FF2B5EF4-FFF2-40B4-BE49-F238E27FC236}">
                <a16:creationId xmlns:a16="http://schemas.microsoft.com/office/drawing/2014/main" id="{C3B2D139-38F0-4A0D-927D-BDFD81D0A329}"/>
              </a:ext>
            </a:extLst>
          </p:cNvPr>
          <p:cNvSpPr/>
          <p:nvPr/>
        </p:nvSpPr>
        <p:spPr>
          <a:xfrm>
            <a:off x="7335247" y="4522842"/>
            <a:ext cx="132838" cy="143325"/>
          </a:xfrm>
          <a:custGeom>
            <a:avLst/>
            <a:gdLst>
              <a:gd name="connsiteX0" fmla="*/ 60593 w 132838"/>
              <a:gd name="connsiteY0" fmla="*/ 143325 h 143325"/>
              <a:gd name="connsiteX1" fmla="*/ 0 w 132838"/>
              <a:gd name="connsiteY1" fmla="*/ 143325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5"/>
                </a:moveTo>
                <a:lnTo>
                  <a:pt x="0" y="143325"/>
                </a:lnTo>
                <a:lnTo>
                  <a:pt x="71080" y="72245"/>
                </a:lnTo>
                <a:lnTo>
                  <a:pt x="0" y="0"/>
                </a:lnTo>
                <a:lnTo>
                  <a:pt x="61758" y="0"/>
                </a:lnTo>
                <a:lnTo>
                  <a:pt x="132838" y="69915"/>
                </a:lnTo>
                <a:close/>
              </a:path>
            </a:pathLst>
          </a:custGeom>
          <a:solidFill>
            <a:srgbClr val="EEF2F5"/>
          </a:solidFill>
          <a:ln w="11643" cap="flat">
            <a:noFill/>
            <a:prstDash val="solid"/>
            <a:miter/>
          </a:ln>
        </p:spPr>
        <p:txBody>
          <a:bodyPr rtlCol="0" anchor="ctr"/>
          <a:lstStyle/>
          <a:p>
            <a:pPr rtl="0"/>
            <a:endParaRPr lang="en-US"/>
          </a:p>
        </p:txBody>
      </p:sp>
      <p:sp>
        <p:nvSpPr>
          <p:cNvPr id="142" name="Freihandform: Form 141">
            <a:extLst>
              <a:ext uri="{FF2B5EF4-FFF2-40B4-BE49-F238E27FC236}">
                <a16:creationId xmlns:a16="http://schemas.microsoft.com/office/drawing/2014/main" id="{B85C4BDF-6D64-4824-8953-A0E638E3F3C2}"/>
              </a:ext>
            </a:extLst>
          </p:cNvPr>
          <p:cNvSpPr/>
          <p:nvPr/>
        </p:nvSpPr>
        <p:spPr>
          <a:xfrm>
            <a:off x="7335247" y="4877077"/>
            <a:ext cx="132838" cy="143325"/>
          </a:xfrm>
          <a:custGeom>
            <a:avLst/>
            <a:gdLst>
              <a:gd name="connsiteX0" fmla="*/ 60593 w 132838"/>
              <a:gd name="connsiteY0" fmla="*/ 143325 h 143325"/>
              <a:gd name="connsiteX1" fmla="*/ 0 w 132838"/>
              <a:gd name="connsiteY1" fmla="*/ 143325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71080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5"/>
                </a:moveTo>
                <a:lnTo>
                  <a:pt x="0" y="143325"/>
                </a:lnTo>
                <a:lnTo>
                  <a:pt x="71080" y="72245"/>
                </a:lnTo>
                <a:lnTo>
                  <a:pt x="0" y="0"/>
                </a:lnTo>
                <a:lnTo>
                  <a:pt x="61758" y="0"/>
                </a:lnTo>
                <a:lnTo>
                  <a:pt x="132838" y="71080"/>
                </a:lnTo>
                <a:close/>
              </a:path>
            </a:pathLst>
          </a:custGeom>
          <a:solidFill>
            <a:srgbClr val="EEF2F5"/>
          </a:solidFill>
          <a:ln w="11643" cap="flat">
            <a:noFill/>
            <a:prstDash val="solid"/>
            <a:miter/>
          </a:ln>
        </p:spPr>
        <p:txBody>
          <a:bodyPr rtlCol="0" anchor="ctr"/>
          <a:lstStyle/>
          <a:p>
            <a:pPr rtl="0"/>
            <a:endParaRPr lang="en-US"/>
          </a:p>
        </p:txBody>
      </p:sp>
      <p:sp>
        <p:nvSpPr>
          <p:cNvPr id="159" name="Freihandform: Form 158">
            <a:extLst>
              <a:ext uri="{FF2B5EF4-FFF2-40B4-BE49-F238E27FC236}">
                <a16:creationId xmlns:a16="http://schemas.microsoft.com/office/drawing/2014/main" id="{847A43FF-6A21-4A02-A0F3-7A25CB4C4A3E}"/>
              </a:ext>
            </a:extLst>
          </p:cNvPr>
          <p:cNvSpPr/>
          <p:nvPr/>
        </p:nvSpPr>
        <p:spPr>
          <a:xfrm>
            <a:off x="7335247" y="5232478"/>
            <a:ext cx="132838" cy="143325"/>
          </a:xfrm>
          <a:custGeom>
            <a:avLst/>
            <a:gdLst>
              <a:gd name="connsiteX0" fmla="*/ 60593 w 132838"/>
              <a:gd name="connsiteY0" fmla="*/ 143325 h 143325"/>
              <a:gd name="connsiteX1" fmla="*/ 0 w 132838"/>
              <a:gd name="connsiteY1" fmla="*/ 143325 h 143325"/>
              <a:gd name="connsiteX2" fmla="*/ 71080 w 132838"/>
              <a:gd name="connsiteY2" fmla="*/ 72246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5"/>
                </a:moveTo>
                <a:lnTo>
                  <a:pt x="0" y="143325"/>
                </a:lnTo>
                <a:lnTo>
                  <a:pt x="71080" y="72246"/>
                </a:lnTo>
                <a:lnTo>
                  <a:pt x="0" y="0"/>
                </a:lnTo>
                <a:lnTo>
                  <a:pt x="61758" y="0"/>
                </a:lnTo>
                <a:lnTo>
                  <a:pt x="132838" y="69915"/>
                </a:lnTo>
                <a:close/>
              </a:path>
            </a:pathLst>
          </a:custGeom>
          <a:solidFill>
            <a:srgbClr val="EEF2F5"/>
          </a:solidFill>
          <a:ln w="11643" cap="flat">
            <a:noFill/>
            <a:prstDash val="solid"/>
            <a:miter/>
          </a:ln>
        </p:spPr>
        <p:txBody>
          <a:bodyPr rtlCol="0" anchor="ctr"/>
          <a:lstStyle/>
          <a:p>
            <a:pPr rtl="0"/>
            <a:endParaRPr lang="en-US"/>
          </a:p>
        </p:txBody>
      </p:sp>
      <p:sp>
        <p:nvSpPr>
          <p:cNvPr id="176" name="Freihandform: Form 175">
            <a:extLst>
              <a:ext uri="{FF2B5EF4-FFF2-40B4-BE49-F238E27FC236}">
                <a16:creationId xmlns:a16="http://schemas.microsoft.com/office/drawing/2014/main" id="{5F6F18CA-B559-43C7-A028-9927FEF76A9E}"/>
              </a:ext>
            </a:extLst>
          </p:cNvPr>
          <p:cNvSpPr/>
          <p:nvPr/>
        </p:nvSpPr>
        <p:spPr>
          <a:xfrm>
            <a:off x="7335247" y="5586713"/>
            <a:ext cx="132838" cy="143325"/>
          </a:xfrm>
          <a:custGeom>
            <a:avLst/>
            <a:gdLst>
              <a:gd name="connsiteX0" fmla="*/ 60593 w 132838"/>
              <a:gd name="connsiteY0" fmla="*/ 143326 h 143325"/>
              <a:gd name="connsiteX1" fmla="*/ 0 w 132838"/>
              <a:gd name="connsiteY1" fmla="*/ 143326 h 143325"/>
              <a:gd name="connsiteX2" fmla="*/ 71080 w 132838"/>
              <a:gd name="connsiteY2" fmla="*/ 72246 h 143325"/>
              <a:gd name="connsiteX3" fmla="*/ 0 w 132838"/>
              <a:gd name="connsiteY3" fmla="*/ 0 h 143325"/>
              <a:gd name="connsiteX4" fmla="*/ 61758 w 132838"/>
              <a:gd name="connsiteY4" fmla="*/ 0 h 143325"/>
              <a:gd name="connsiteX5" fmla="*/ 132838 w 132838"/>
              <a:gd name="connsiteY5" fmla="*/ 71080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6"/>
                </a:moveTo>
                <a:lnTo>
                  <a:pt x="0" y="143326"/>
                </a:lnTo>
                <a:lnTo>
                  <a:pt x="71080" y="72246"/>
                </a:lnTo>
                <a:lnTo>
                  <a:pt x="0" y="0"/>
                </a:lnTo>
                <a:lnTo>
                  <a:pt x="61758" y="0"/>
                </a:lnTo>
                <a:lnTo>
                  <a:pt x="132838" y="71080"/>
                </a:lnTo>
                <a:close/>
              </a:path>
            </a:pathLst>
          </a:custGeom>
          <a:solidFill>
            <a:srgbClr val="EEF2F5"/>
          </a:solidFill>
          <a:ln w="11643" cap="flat">
            <a:noFill/>
            <a:prstDash val="solid"/>
            <a:miter/>
          </a:ln>
        </p:spPr>
        <p:txBody>
          <a:bodyPr rtlCol="0" anchor="ctr"/>
          <a:lstStyle/>
          <a:p>
            <a:pPr rtl="0"/>
            <a:endParaRPr lang="en-US"/>
          </a:p>
        </p:txBody>
      </p:sp>
      <p:sp>
        <p:nvSpPr>
          <p:cNvPr id="193" name="Freihandform: Form 192">
            <a:extLst>
              <a:ext uri="{FF2B5EF4-FFF2-40B4-BE49-F238E27FC236}">
                <a16:creationId xmlns:a16="http://schemas.microsoft.com/office/drawing/2014/main" id="{CA0955FD-7B34-49C4-9B74-6CBFAD6AC0D2}"/>
              </a:ext>
            </a:extLst>
          </p:cNvPr>
          <p:cNvSpPr/>
          <p:nvPr/>
        </p:nvSpPr>
        <p:spPr>
          <a:xfrm>
            <a:off x="7335247" y="5942114"/>
            <a:ext cx="132838" cy="143325"/>
          </a:xfrm>
          <a:custGeom>
            <a:avLst/>
            <a:gdLst>
              <a:gd name="connsiteX0" fmla="*/ 60593 w 132838"/>
              <a:gd name="connsiteY0" fmla="*/ 143326 h 143325"/>
              <a:gd name="connsiteX1" fmla="*/ 0 w 132838"/>
              <a:gd name="connsiteY1" fmla="*/ 143326 h 143325"/>
              <a:gd name="connsiteX2" fmla="*/ 71080 w 132838"/>
              <a:gd name="connsiteY2" fmla="*/ 72246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6"/>
                </a:moveTo>
                <a:lnTo>
                  <a:pt x="0" y="143326"/>
                </a:lnTo>
                <a:lnTo>
                  <a:pt x="71080" y="72246"/>
                </a:lnTo>
                <a:lnTo>
                  <a:pt x="0" y="0"/>
                </a:lnTo>
                <a:lnTo>
                  <a:pt x="61758" y="0"/>
                </a:lnTo>
                <a:lnTo>
                  <a:pt x="132838" y="69915"/>
                </a:lnTo>
                <a:close/>
              </a:path>
            </a:pathLst>
          </a:custGeom>
          <a:solidFill>
            <a:srgbClr val="EEF2F5"/>
          </a:solidFill>
          <a:ln w="11643" cap="flat">
            <a:noFill/>
            <a:prstDash val="solid"/>
            <a:miter/>
          </a:ln>
        </p:spPr>
        <p:txBody>
          <a:bodyPr rtlCol="0" anchor="ctr"/>
          <a:lstStyle/>
          <a:p>
            <a:pPr rtl="0"/>
            <a:endParaRPr lang="en-US"/>
          </a:p>
        </p:txBody>
      </p:sp>
      <p:sp>
        <p:nvSpPr>
          <p:cNvPr id="210" name="Freihandform: Form 209">
            <a:extLst>
              <a:ext uri="{FF2B5EF4-FFF2-40B4-BE49-F238E27FC236}">
                <a16:creationId xmlns:a16="http://schemas.microsoft.com/office/drawing/2014/main" id="{D68D90D4-26AA-4477-A0C9-8263189B58F9}"/>
              </a:ext>
            </a:extLst>
          </p:cNvPr>
          <p:cNvSpPr/>
          <p:nvPr/>
        </p:nvSpPr>
        <p:spPr>
          <a:xfrm>
            <a:off x="7335247" y="6296349"/>
            <a:ext cx="132838" cy="143325"/>
          </a:xfrm>
          <a:custGeom>
            <a:avLst/>
            <a:gdLst>
              <a:gd name="connsiteX0" fmla="*/ 60593 w 132838"/>
              <a:gd name="connsiteY0" fmla="*/ 143326 h 143325"/>
              <a:gd name="connsiteX1" fmla="*/ 0 w 132838"/>
              <a:gd name="connsiteY1" fmla="*/ 143326 h 143325"/>
              <a:gd name="connsiteX2" fmla="*/ 71080 w 132838"/>
              <a:gd name="connsiteY2" fmla="*/ 72246 h 143325"/>
              <a:gd name="connsiteX3" fmla="*/ 0 w 132838"/>
              <a:gd name="connsiteY3" fmla="*/ 0 h 143325"/>
              <a:gd name="connsiteX4" fmla="*/ 61758 w 132838"/>
              <a:gd name="connsiteY4" fmla="*/ 0 h 143325"/>
              <a:gd name="connsiteX5" fmla="*/ 132838 w 132838"/>
              <a:gd name="connsiteY5" fmla="*/ 71080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6"/>
                </a:moveTo>
                <a:lnTo>
                  <a:pt x="0" y="143326"/>
                </a:lnTo>
                <a:lnTo>
                  <a:pt x="71080" y="72246"/>
                </a:lnTo>
                <a:lnTo>
                  <a:pt x="0" y="0"/>
                </a:lnTo>
                <a:lnTo>
                  <a:pt x="61758" y="0"/>
                </a:lnTo>
                <a:lnTo>
                  <a:pt x="132838" y="71080"/>
                </a:lnTo>
                <a:close/>
              </a:path>
            </a:pathLst>
          </a:custGeom>
          <a:solidFill>
            <a:srgbClr val="EEF2F5"/>
          </a:solidFill>
          <a:ln w="11643" cap="flat">
            <a:noFill/>
            <a:prstDash val="solid"/>
            <a:miter/>
          </a:ln>
        </p:spPr>
        <p:txBody>
          <a:bodyPr rtlCol="0" anchor="ctr"/>
          <a:lstStyle/>
          <a:p>
            <a:pPr rtl="0"/>
            <a:endParaRPr lang="en-US"/>
          </a:p>
        </p:txBody>
      </p:sp>
      <p:sp>
        <p:nvSpPr>
          <p:cNvPr id="226" name="Freihandform: Form 225">
            <a:extLst>
              <a:ext uri="{FF2B5EF4-FFF2-40B4-BE49-F238E27FC236}">
                <a16:creationId xmlns:a16="http://schemas.microsoft.com/office/drawing/2014/main" id="{97640BFA-E4AC-482E-B26E-9BE22B98A669}"/>
              </a:ext>
            </a:extLst>
          </p:cNvPr>
          <p:cNvSpPr/>
          <p:nvPr/>
        </p:nvSpPr>
        <p:spPr>
          <a:xfrm>
            <a:off x="7335247" y="6651749"/>
            <a:ext cx="132838" cy="143325"/>
          </a:xfrm>
          <a:custGeom>
            <a:avLst/>
            <a:gdLst>
              <a:gd name="connsiteX0" fmla="*/ 60593 w 132838"/>
              <a:gd name="connsiteY0" fmla="*/ 143326 h 143325"/>
              <a:gd name="connsiteX1" fmla="*/ 0 w 132838"/>
              <a:gd name="connsiteY1" fmla="*/ 143326 h 143325"/>
              <a:gd name="connsiteX2" fmla="*/ 71080 w 132838"/>
              <a:gd name="connsiteY2" fmla="*/ 72246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6"/>
                </a:moveTo>
                <a:lnTo>
                  <a:pt x="0" y="143326"/>
                </a:lnTo>
                <a:lnTo>
                  <a:pt x="71080" y="72246"/>
                </a:lnTo>
                <a:lnTo>
                  <a:pt x="0" y="0"/>
                </a:lnTo>
                <a:lnTo>
                  <a:pt x="61758" y="0"/>
                </a:lnTo>
                <a:lnTo>
                  <a:pt x="132838" y="69915"/>
                </a:lnTo>
                <a:close/>
              </a:path>
            </a:pathLst>
          </a:custGeom>
          <a:solidFill>
            <a:srgbClr val="EEF2F5"/>
          </a:solidFill>
          <a:ln w="11643" cap="flat">
            <a:noFill/>
            <a:prstDash val="solid"/>
            <a:miter/>
          </a:ln>
        </p:spPr>
        <p:txBody>
          <a:bodyPr rtlCol="0" anchor="ctr"/>
          <a:lstStyle/>
          <a:p>
            <a:pPr rtl="0"/>
            <a:endParaRPr lang="en-US"/>
          </a:p>
        </p:txBody>
      </p:sp>
      <p:sp>
        <p:nvSpPr>
          <p:cNvPr id="15" name="Freihandform: Form 14">
            <a:extLst>
              <a:ext uri="{FF2B5EF4-FFF2-40B4-BE49-F238E27FC236}">
                <a16:creationId xmlns:a16="http://schemas.microsoft.com/office/drawing/2014/main" id="{F336D4C3-F14F-4477-B07F-E766912B6926}"/>
              </a:ext>
            </a:extLst>
          </p:cNvPr>
          <p:cNvSpPr/>
          <p:nvPr/>
        </p:nvSpPr>
        <p:spPr>
          <a:xfrm>
            <a:off x="7682491" y="2029211"/>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pPr rtl="0"/>
            <a:endParaRPr lang="en-US"/>
          </a:p>
        </p:txBody>
      </p:sp>
      <p:sp>
        <p:nvSpPr>
          <p:cNvPr id="30" name="Freihandform: Form 29">
            <a:extLst>
              <a:ext uri="{FF2B5EF4-FFF2-40B4-BE49-F238E27FC236}">
                <a16:creationId xmlns:a16="http://schemas.microsoft.com/office/drawing/2014/main" id="{34D4DA1D-8EE2-4188-AE9C-9791ECBC66C5}"/>
              </a:ext>
            </a:extLst>
          </p:cNvPr>
          <p:cNvSpPr/>
          <p:nvPr/>
        </p:nvSpPr>
        <p:spPr>
          <a:xfrm>
            <a:off x="7682491" y="2384612"/>
            <a:ext cx="147986" cy="160804"/>
          </a:xfrm>
          <a:custGeom>
            <a:avLst/>
            <a:gdLst>
              <a:gd name="connsiteX0" fmla="*/ 67584 w 147986"/>
              <a:gd name="connsiteY0" fmla="*/ 160804 h 160804"/>
              <a:gd name="connsiteX1" fmla="*/ 0 w 147986"/>
              <a:gd name="connsiteY1" fmla="*/ 160804 h 160804"/>
              <a:gd name="connsiteX2" fmla="*/ 79237 w 147986"/>
              <a:gd name="connsiteY2" fmla="*/ 80402 h 160804"/>
              <a:gd name="connsiteX3" fmla="*/ 0 w 147986"/>
              <a:gd name="connsiteY3" fmla="*/ 0 h 160804"/>
              <a:gd name="connsiteX4" fmla="*/ 68750 w 147986"/>
              <a:gd name="connsiteY4" fmla="*/ 0 h 160804"/>
              <a:gd name="connsiteX5" fmla="*/ 147986 w 147986"/>
              <a:gd name="connsiteY5" fmla="*/ 79237 h 160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0804">
                <a:moveTo>
                  <a:pt x="67584" y="160804"/>
                </a:moveTo>
                <a:lnTo>
                  <a:pt x="0" y="160804"/>
                </a:lnTo>
                <a:lnTo>
                  <a:pt x="79237" y="80402"/>
                </a:lnTo>
                <a:lnTo>
                  <a:pt x="0" y="0"/>
                </a:lnTo>
                <a:lnTo>
                  <a:pt x="68750" y="0"/>
                </a:lnTo>
                <a:lnTo>
                  <a:pt x="147986" y="79237"/>
                </a:lnTo>
                <a:close/>
              </a:path>
            </a:pathLst>
          </a:custGeom>
          <a:solidFill>
            <a:srgbClr val="EEF2F5"/>
          </a:solidFill>
          <a:ln w="11643" cap="flat">
            <a:noFill/>
            <a:prstDash val="solid"/>
            <a:miter/>
          </a:ln>
        </p:spPr>
        <p:txBody>
          <a:bodyPr rtlCol="0" anchor="ctr"/>
          <a:lstStyle/>
          <a:p>
            <a:pPr rtl="0"/>
            <a:endParaRPr lang="en-US"/>
          </a:p>
        </p:txBody>
      </p:sp>
      <p:sp>
        <p:nvSpPr>
          <p:cNvPr id="46" name="Freihandform: Form 45">
            <a:extLst>
              <a:ext uri="{FF2B5EF4-FFF2-40B4-BE49-F238E27FC236}">
                <a16:creationId xmlns:a16="http://schemas.microsoft.com/office/drawing/2014/main" id="{ADAD204A-493D-4101-A53B-41343EE7F6DE}"/>
              </a:ext>
            </a:extLst>
          </p:cNvPr>
          <p:cNvSpPr/>
          <p:nvPr/>
        </p:nvSpPr>
        <p:spPr>
          <a:xfrm>
            <a:off x="7682491" y="2738847"/>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pPr rtl="0"/>
            <a:endParaRPr lang="en-US"/>
          </a:p>
        </p:txBody>
      </p:sp>
      <p:sp>
        <p:nvSpPr>
          <p:cNvPr id="62" name="Freihandform: Form 61">
            <a:extLst>
              <a:ext uri="{FF2B5EF4-FFF2-40B4-BE49-F238E27FC236}">
                <a16:creationId xmlns:a16="http://schemas.microsoft.com/office/drawing/2014/main" id="{0605F07B-22A0-4571-A9A8-F5DA3A1756E5}"/>
              </a:ext>
            </a:extLst>
          </p:cNvPr>
          <p:cNvSpPr/>
          <p:nvPr/>
        </p:nvSpPr>
        <p:spPr>
          <a:xfrm>
            <a:off x="7682491" y="3094248"/>
            <a:ext cx="147986" cy="160804"/>
          </a:xfrm>
          <a:custGeom>
            <a:avLst/>
            <a:gdLst>
              <a:gd name="connsiteX0" fmla="*/ 67584 w 147986"/>
              <a:gd name="connsiteY0" fmla="*/ 160804 h 160804"/>
              <a:gd name="connsiteX1" fmla="*/ 0 w 147986"/>
              <a:gd name="connsiteY1" fmla="*/ 160804 h 160804"/>
              <a:gd name="connsiteX2" fmla="*/ 79237 w 147986"/>
              <a:gd name="connsiteY2" fmla="*/ 81567 h 160804"/>
              <a:gd name="connsiteX3" fmla="*/ 0 w 147986"/>
              <a:gd name="connsiteY3" fmla="*/ 0 h 160804"/>
              <a:gd name="connsiteX4" fmla="*/ 68750 w 147986"/>
              <a:gd name="connsiteY4" fmla="*/ 0 h 160804"/>
              <a:gd name="connsiteX5" fmla="*/ 147986 w 147986"/>
              <a:gd name="connsiteY5" fmla="*/ 79237 h 160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0804">
                <a:moveTo>
                  <a:pt x="67584" y="160804"/>
                </a:moveTo>
                <a:lnTo>
                  <a:pt x="0" y="160804"/>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pPr rtl="0"/>
            <a:endParaRPr lang="en-US"/>
          </a:p>
        </p:txBody>
      </p:sp>
      <p:sp>
        <p:nvSpPr>
          <p:cNvPr id="78" name="Freihandform: Form 77">
            <a:extLst>
              <a:ext uri="{FF2B5EF4-FFF2-40B4-BE49-F238E27FC236}">
                <a16:creationId xmlns:a16="http://schemas.microsoft.com/office/drawing/2014/main" id="{3EC20671-A11E-46B3-BAE0-32B973030757}"/>
              </a:ext>
            </a:extLst>
          </p:cNvPr>
          <p:cNvSpPr/>
          <p:nvPr/>
        </p:nvSpPr>
        <p:spPr>
          <a:xfrm>
            <a:off x="7682491" y="3448483"/>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pPr rtl="0"/>
            <a:endParaRPr lang="en-US"/>
          </a:p>
        </p:txBody>
      </p:sp>
      <p:sp>
        <p:nvSpPr>
          <p:cNvPr id="94" name="Freihandform: Form 93">
            <a:extLst>
              <a:ext uri="{FF2B5EF4-FFF2-40B4-BE49-F238E27FC236}">
                <a16:creationId xmlns:a16="http://schemas.microsoft.com/office/drawing/2014/main" id="{A30F4723-63CF-4B8C-9113-E2531A8EBC72}"/>
              </a:ext>
            </a:extLst>
          </p:cNvPr>
          <p:cNvSpPr/>
          <p:nvPr/>
        </p:nvSpPr>
        <p:spPr>
          <a:xfrm>
            <a:off x="7682491" y="3803883"/>
            <a:ext cx="147986" cy="160804"/>
          </a:xfrm>
          <a:custGeom>
            <a:avLst/>
            <a:gdLst>
              <a:gd name="connsiteX0" fmla="*/ 67584 w 147986"/>
              <a:gd name="connsiteY0" fmla="*/ 160804 h 160804"/>
              <a:gd name="connsiteX1" fmla="*/ 0 w 147986"/>
              <a:gd name="connsiteY1" fmla="*/ 160804 h 160804"/>
              <a:gd name="connsiteX2" fmla="*/ 79237 w 147986"/>
              <a:gd name="connsiteY2" fmla="*/ 81567 h 160804"/>
              <a:gd name="connsiteX3" fmla="*/ 0 w 147986"/>
              <a:gd name="connsiteY3" fmla="*/ 0 h 160804"/>
              <a:gd name="connsiteX4" fmla="*/ 68750 w 147986"/>
              <a:gd name="connsiteY4" fmla="*/ 0 h 160804"/>
              <a:gd name="connsiteX5" fmla="*/ 147986 w 147986"/>
              <a:gd name="connsiteY5" fmla="*/ 79237 h 160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0804">
                <a:moveTo>
                  <a:pt x="67584" y="160804"/>
                </a:moveTo>
                <a:lnTo>
                  <a:pt x="0" y="160804"/>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pPr rtl="0"/>
            <a:endParaRPr lang="en-US"/>
          </a:p>
        </p:txBody>
      </p:sp>
      <p:sp>
        <p:nvSpPr>
          <p:cNvPr id="110" name="Freihandform: Form 109">
            <a:extLst>
              <a:ext uri="{FF2B5EF4-FFF2-40B4-BE49-F238E27FC236}">
                <a16:creationId xmlns:a16="http://schemas.microsoft.com/office/drawing/2014/main" id="{0B073543-0431-463D-BD2B-670537378FD9}"/>
              </a:ext>
            </a:extLst>
          </p:cNvPr>
          <p:cNvSpPr/>
          <p:nvPr/>
        </p:nvSpPr>
        <p:spPr>
          <a:xfrm>
            <a:off x="7682491" y="4158119"/>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pPr rtl="0"/>
            <a:endParaRPr lang="en-US"/>
          </a:p>
        </p:txBody>
      </p:sp>
      <p:sp>
        <p:nvSpPr>
          <p:cNvPr id="126" name="Freihandform: Form 125">
            <a:extLst>
              <a:ext uri="{FF2B5EF4-FFF2-40B4-BE49-F238E27FC236}">
                <a16:creationId xmlns:a16="http://schemas.microsoft.com/office/drawing/2014/main" id="{D645C434-6F6D-4B2F-9987-6BA4C184BDAD}"/>
              </a:ext>
            </a:extLst>
          </p:cNvPr>
          <p:cNvSpPr/>
          <p:nvPr/>
        </p:nvSpPr>
        <p:spPr>
          <a:xfrm>
            <a:off x="7682491" y="4513520"/>
            <a:ext cx="147986" cy="160804"/>
          </a:xfrm>
          <a:custGeom>
            <a:avLst/>
            <a:gdLst>
              <a:gd name="connsiteX0" fmla="*/ 67584 w 147986"/>
              <a:gd name="connsiteY0" fmla="*/ 160804 h 160804"/>
              <a:gd name="connsiteX1" fmla="*/ 0 w 147986"/>
              <a:gd name="connsiteY1" fmla="*/ 160804 h 160804"/>
              <a:gd name="connsiteX2" fmla="*/ 79237 w 147986"/>
              <a:gd name="connsiteY2" fmla="*/ 81567 h 160804"/>
              <a:gd name="connsiteX3" fmla="*/ 0 w 147986"/>
              <a:gd name="connsiteY3" fmla="*/ 0 h 160804"/>
              <a:gd name="connsiteX4" fmla="*/ 68750 w 147986"/>
              <a:gd name="connsiteY4" fmla="*/ 0 h 160804"/>
              <a:gd name="connsiteX5" fmla="*/ 147986 w 147986"/>
              <a:gd name="connsiteY5" fmla="*/ 79237 h 160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0804">
                <a:moveTo>
                  <a:pt x="67584" y="160804"/>
                </a:moveTo>
                <a:lnTo>
                  <a:pt x="0" y="160804"/>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pPr rtl="0"/>
            <a:endParaRPr lang="en-US"/>
          </a:p>
        </p:txBody>
      </p:sp>
      <p:sp>
        <p:nvSpPr>
          <p:cNvPr id="143" name="Freihandform: Form 142">
            <a:extLst>
              <a:ext uri="{FF2B5EF4-FFF2-40B4-BE49-F238E27FC236}">
                <a16:creationId xmlns:a16="http://schemas.microsoft.com/office/drawing/2014/main" id="{78C199F1-38D6-4003-B23F-FB1D901A96D0}"/>
              </a:ext>
            </a:extLst>
          </p:cNvPr>
          <p:cNvSpPr/>
          <p:nvPr/>
        </p:nvSpPr>
        <p:spPr>
          <a:xfrm>
            <a:off x="7682491" y="4867755"/>
            <a:ext cx="147986" cy="161969"/>
          </a:xfrm>
          <a:custGeom>
            <a:avLst/>
            <a:gdLst>
              <a:gd name="connsiteX0" fmla="*/ 67584 w 147986"/>
              <a:gd name="connsiteY0" fmla="*/ 161970 h 161969"/>
              <a:gd name="connsiteX1" fmla="*/ 0 w 147986"/>
              <a:gd name="connsiteY1" fmla="*/ 161970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70"/>
                </a:moveTo>
                <a:lnTo>
                  <a:pt x="0" y="161970"/>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pPr rtl="0"/>
            <a:endParaRPr lang="en-US"/>
          </a:p>
        </p:txBody>
      </p:sp>
      <p:sp>
        <p:nvSpPr>
          <p:cNvPr id="160" name="Freihandform: Form 159">
            <a:extLst>
              <a:ext uri="{FF2B5EF4-FFF2-40B4-BE49-F238E27FC236}">
                <a16:creationId xmlns:a16="http://schemas.microsoft.com/office/drawing/2014/main" id="{88794CE9-C4AD-447D-ADEB-D45D8252050B}"/>
              </a:ext>
            </a:extLst>
          </p:cNvPr>
          <p:cNvSpPr/>
          <p:nvPr/>
        </p:nvSpPr>
        <p:spPr>
          <a:xfrm>
            <a:off x="7682491" y="5223156"/>
            <a:ext cx="147986" cy="160804"/>
          </a:xfrm>
          <a:custGeom>
            <a:avLst/>
            <a:gdLst>
              <a:gd name="connsiteX0" fmla="*/ 67584 w 147986"/>
              <a:gd name="connsiteY0" fmla="*/ 160804 h 160804"/>
              <a:gd name="connsiteX1" fmla="*/ 0 w 147986"/>
              <a:gd name="connsiteY1" fmla="*/ 160804 h 160804"/>
              <a:gd name="connsiteX2" fmla="*/ 79237 w 147986"/>
              <a:gd name="connsiteY2" fmla="*/ 81567 h 160804"/>
              <a:gd name="connsiteX3" fmla="*/ 0 w 147986"/>
              <a:gd name="connsiteY3" fmla="*/ 0 h 160804"/>
              <a:gd name="connsiteX4" fmla="*/ 68750 w 147986"/>
              <a:gd name="connsiteY4" fmla="*/ 0 h 160804"/>
              <a:gd name="connsiteX5" fmla="*/ 147986 w 147986"/>
              <a:gd name="connsiteY5" fmla="*/ 79237 h 160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0804">
                <a:moveTo>
                  <a:pt x="67584" y="160804"/>
                </a:moveTo>
                <a:lnTo>
                  <a:pt x="0" y="160804"/>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pPr rtl="0"/>
            <a:endParaRPr lang="en-US"/>
          </a:p>
        </p:txBody>
      </p:sp>
      <p:sp>
        <p:nvSpPr>
          <p:cNvPr id="177" name="Freihandform: Form 176">
            <a:extLst>
              <a:ext uri="{FF2B5EF4-FFF2-40B4-BE49-F238E27FC236}">
                <a16:creationId xmlns:a16="http://schemas.microsoft.com/office/drawing/2014/main" id="{FB39A232-82A2-4ED2-B532-B8247CC2812D}"/>
              </a:ext>
            </a:extLst>
          </p:cNvPr>
          <p:cNvSpPr/>
          <p:nvPr/>
        </p:nvSpPr>
        <p:spPr>
          <a:xfrm>
            <a:off x="7682491" y="5577391"/>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pPr rtl="0"/>
            <a:endParaRPr lang="en-US"/>
          </a:p>
        </p:txBody>
      </p:sp>
      <p:sp>
        <p:nvSpPr>
          <p:cNvPr id="194" name="Freihandform: Form 193">
            <a:extLst>
              <a:ext uri="{FF2B5EF4-FFF2-40B4-BE49-F238E27FC236}">
                <a16:creationId xmlns:a16="http://schemas.microsoft.com/office/drawing/2014/main" id="{B5F8FABB-7522-42DB-BB0F-06A4420A79B1}"/>
              </a:ext>
            </a:extLst>
          </p:cNvPr>
          <p:cNvSpPr/>
          <p:nvPr/>
        </p:nvSpPr>
        <p:spPr>
          <a:xfrm>
            <a:off x="7682491" y="5932792"/>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pPr rtl="0"/>
            <a:endParaRPr lang="en-US"/>
          </a:p>
        </p:txBody>
      </p:sp>
      <p:sp>
        <p:nvSpPr>
          <p:cNvPr id="211" name="Freihandform: Form 210">
            <a:extLst>
              <a:ext uri="{FF2B5EF4-FFF2-40B4-BE49-F238E27FC236}">
                <a16:creationId xmlns:a16="http://schemas.microsoft.com/office/drawing/2014/main" id="{D1F73513-4E28-4A8A-BEBF-47911EDB513A}"/>
              </a:ext>
            </a:extLst>
          </p:cNvPr>
          <p:cNvSpPr/>
          <p:nvPr/>
        </p:nvSpPr>
        <p:spPr>
          <a:xfrm>
            <a:off x="7682491" y="6287027"/>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80402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80402"/>
                </a:lnTo>
                <a:close/>
              </a:path>
            </a:pathLst>
          </a:custGeom>
          <a:solidFill>
            <a:srgbClr val="EEF2F5"/>
          </a:solidFill>
          <a:ln w="11643" cap="flat">
            <a:noFill/>
            <a:prstDash val="solid"/>
            <a:miter/>
          </a:ln>
        </p:spPr>
        <p:txBody>
          <a:bodyPr rtlCol="0" anchor="ctr"/>
          <a:lstStyle/>
          <a:p>
            <a:pPr rtl="0"/>
            <a:endParaRPr lang="en-US"/>
          </a:p>
        </p:txBody>
      </p:sp>
      <p:sp>
        <p:nvSpPr>
          <p:cNvPr id="227" name="Freihandform: Form 226">
            <a:extLst>
              <a:ext uri="{FF2B5EF4-FFF2-40B4-BE49-F238E27FC236}">
                <a16:creationId xmlns:a16="http://schemas.microsoft.com/office/drawing/2014/main" id="{4D6DE079-31CD-44BD-8304-6E69A15E3218}"/>
              </a:ext>
            </a:extLst>
          </p:cNvPr>
          <p:cNvSpPr/>
          <p:nvPr/>
        </p:nvSpPr>
        <p:spPr>
          <a:xfrm>
            <a:off x="7682491" y="6642428"/>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pPr rtl="0"/>
            <a:endParaRPr lang="en-US"/>
          </a:p>
        </p:txBody>
      </p:sp>
      <p:sp>
        <p:nvSpPr>
          <p:cNvPr id="16" name="Freihandform: Form 15">
            <a:extLst>
              <a:ext uri="{FF2B5EF4-FFF2-40B4-BE49-F238E27FC236}">
                <a16:creationId xmlns:a16="http://schemas.microsoft.com/office/drawing/2014/main" id="{AA2702D7-FFC1-412B-9F48-632A7CE520AC}"/>
              </a:ext>
            </a:extLst>
          </p:cNvPr>
          <p:cNvSpPr/>
          <p:nvPr/>
        </p:nvSpPr>
        <p:spPr>
          <a:xfrm>
            <a:off x="8028570" y="2019889"/>
            <a:ext cx="165465" cy="179448"/>
          </a:xfrm>
          <a:custGeom>
            <a:avLst/>
            <a:gdLst>
              <a:gd name="connsiteX0" fmla="*/ 75741 w 165465"/>
              <a:gd name="connsiteY0" fmla="*/ 179448 h 179448"/>
              <a:gd name="connsiteX1" fmla="*/ 0 w 165465"/>
              <a:gd name="connsiteY1" fmla="*/ 179448 h 179448"/>
              <a:gd name="connsiteX2" fmla="*/ 88559 w 165465"/>
              <a:gd name="connsiteY2" fmla="*/ 90889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pPr rtl="0"/>
            <a:endParaRPr lang="en-US"/>
          </a:p>
        </p:txBody>
      </p:sp>
      <p:sp>
        <p:nvSpPr>
          <p:cNvPr id="31" name="Freihandform: Form 30">
            <a:extLst>
              <a:ext uri="{FF2B5EF4-FFF2-40B4-BE49-F238E27FC236}">
                <a16:creationId xmlns:a16="http://schemas.microsoft.com/office/drawing/2014/main" id="{648C99A7-3678-4CC0-AF16-855FE8DF6A83}"/>
              </a:ext>
            </a:extLst>
          </p:cNvPr>
          <p:cNvSpPr/>
          <p:nvPr/>
        </p:nvSpPr>
        <p:spPr>
          <a:xfrm>
            <a:off x="8028570" y="2375290"/>
            <a:ext cx="165465" cy="179448"/>
          </a:xfrm>
          <a:custGeom>
            <a:avLst/>
            <a:gdLst>
              <a:gd name="connsiteX0" fmla="*/ 75741 w 165465"/>
              <a:gd name="connsiteY0" fmla="*/ 179448 h 179448"/>
              <a:gd name="connsiteX1" fmla="*/ 0 w 165465"/>
              <a:gd name="connsiteY1" fmla="*/ 179448 h 179448"/>
              <a:gd name="connsiteX2" fmla="*/ 88559 w 165465"/>
              <a:gd name="connsiteY2" fmla="*/ 90889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pPr rtl="0"/>
            <a:endParaRPr lang="en-US"/>
          </a:p>
        </p:txBody>
      </p:sp>
      <p:sp>
        <p:nvSpPr>
          <p:cNvPr id="47" name="Freihandform: Form 46">
            <a:extLst>
              <a:ext uri="{FF2B5EF4-FFF2-40B4-BE49-F238E27FC236}">
                <a16:creationId xmlns:a16="http://schemas.microsoft.com/office/drawing/2014/main" id="{0E3F6CC1-3FE3-4CB0-8193-8A547CA4FB4E}"/>
              </a:ext>
            </a:extLst>
          </p:cNvPr>
          <p:cNvSpPr/>
          <p:nvPr/>
        </p:nvSpPr>
        <p:spPr>
          <a:xfrm>
            <a:off x="8028570" y="2729525"/>
            <a:ext cx="165465" cy="179448"/>
          </a:xfrm>
          <a:custGeom>
            <a:avLst/>
            <a:gdLst>
              <a:gd name="connsiteX0" fmla="*/ 75741 w 165465"/>
              <a:gd name="connsiteY0" fmla="*/ 179448 h 179448"/>
              <a:gd name="connsiteX1" fmla="*/ 0 w 165465"/>
              <a:gd name="connsiteY1" fmla="*/ 179448 h 179448"/>
              <a:gd name="connsiteX2" fmla="*/ 88559 w 165465"/>
              <a:gd name="connsiteY2" fmla="*/ 90889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pPr rtl="0"/>
            <a:endParaRPr lang="en-US"/>
          </a:p>
        </p:txBody>
      </p:sp>
      <p:sp>
        <p:nvSpPr>
          <p:cNvPr id="63" name="Freihandform: Form 62">
            <a:extLst>
              <a:ext uri="{FF2B5EF4-FFF2-40B4-BE49-F238E27FC236}">
                <a16:creationId xmlns:a16="http://schemas.microsoft.com/office/drawing/2014/main" id="{49D6FD09-D76C-4E44-8667-31EAE0B38FB7}"/>
              </a:ext>
            </a:extLst>
          </p:cNvPr>
          <p:cNvSpPr/>
          <p:nvPr/>
        </p:nvSpPr>
        <p:spPr>
          <a:xfrm>
            <a:off x="8028570" y="3084926"/>
            <a:ext cx="165465" cy="179448"/>
          </a:xfrm>
          <a:custGeom>
            <a:avLst/>
            <a:gdLst>
              <a:gd name="connsiteX0" fmla="*/ 75741 w 165465"/>
              <a:gd name="connsiteY0" fmla="*/ 179448 h 179448"/>
              <a:gd name="connsiteX1" fmla="*/ 0 w 165465"/>
              <a:gd name="connsiteY1" fmla="*/ 179448 h 179448"/>
              <a:gd name="connsiteX2" fmla="*/ 88559 w 165465"/>
              <a:gd name="connsiteY2" fmla="*/ 90889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pPr rtl="0"/>
            <a:endParaRPr lang="en-US"/>
          </a:p>
        </p:txBody>
      </p:sp>
      <p:sp>
        <p:nvSpPr>
          <p:cNvPr id="79" name="Freihandform: Form 78">
            <a:extLst>
              <a:ext uri="{FF2B5EF4-FFF2-40B4-BE49-F238E27FC236}">
                <a16:creationId xmlns:a16="http://schemas.microsoft.com/office/drawing/2014/main" id="{92A2F530-7C00-4840-A5DC-15FB5F070BFC}"/>
              </a:ext>
            </a:extLst>
          </p:cNvPr>
          <p:cNvSpPr/>
          <p:nvPr/>
        </p:nvSpPr>
        <p:spPr>
          <a:xfrm>
            <a:off x="8028570" y="3439161"/>
            <a:ext cx="165465" cy="180613"/>
          </a:xfrm>
          <a:custGeom>
            <a:avLst/>
            <a:gdLst>
              <a:gd name="connsiteX0" fmla="*/ 75741 w 165465"/>
              <a:gd name="connsiteY0" fmla="*/ 180614 h 180613"/>
              <a:gd name="connsiteX1" fmla="*/ 0 w 165465"/>
              <a:gd name="connsiteY1" fmla="*/ 180614 h 180613"/>
              <a:gd name="connsiteX2" fmla="*/ 88559 w 165465"/>
              <a:gd name="connsiteY2" fmla="*/ 90889 h 180613"/>
              <a:gd name="connsiteX3" fmla="*/ 0 w 165465"/>
              <a:gd name="connsiteY3" fmla="*/ 0 h 180613"/>
              <a:gd name="connsiteX4" fmla="*/ 76906 w 165465"/>
              <a:gd name="connsiteY4" fmla="*/ 0 h 180613"/>
              <a:gd name="connsiteX5" fmla="*/ 165465 w 165465"/>
              <a:gd name="connsiteY5" fmla="*/ 88559 h 180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80613">
                <a:moveTo>
                  <a:pt x="75741" y="180614"/>
                </a:moveTo>
                <a:lnTo>
                  <a:pt x="0" y="180614"/>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pPr rtl="0"/>
            <a:endParaRPr lang="en-US"/>
          </a:p>
        </p:txBody>
      </p:sp>
      <p:sp>
        <p:nvSpPr>
          <p:cNvPr id="95" name="Freihandform: Form 94">
            <a:extLst>
              <a:ext uri="{FF2B5EF4-FFF2-40B4-BE49-F238E27FC236}">
                <a16:creationId xmlns:a16="http://schemas.microsoft.com/office/drawing/2014/main" id="{6D26EBCB-8FC5-402E-8D7D-BBB49F3CFCC5}"/>
              </a:ext>
            </a:extLst>
          </p:cNvPr>
          <p:cNvSpPr/>
          <p:nvPr/>
        </p:nvSpPr>
        <p:spPr>
          <a:xfrm>
            <a:off x="8028570" y="3794562"/>
            <a:ext cx="165465" cy="179448"/>
          </a:xfrm>
          <a:custGeom>
            <a:avLst/>
            <a:gdLst>
              <a:gd name="connsiteX0" fmla="*/ 75741 w 165465"/>
              <a:gd name="connsiteY0" fmla="*/ 179448 h 179448"/>
              <a:gd name="connsiteX1" fmla="*/ 0 w 165465"/>
              <a:gd name="connsiteY1" fmla="*/ 179448 h 179448"/>
              <a:gd name="connsiteX2" fmla="*/ 88559 w 165465"/>
              <a:gd name="connsiteY2" fmla="*/ 90889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pPr rtl="0"/>
            <a:endParaRPr lang="en-US"/>
          </a:p>
        </p:txBody>
      </p:sp>
      <p:sp>
        <p:nvSpPr>
          <p:cNvPr id="111" name="Freihandform: Form 110">
            <a:extLst>
              <a:ext uri="{FF2B5EF4-FFF2-40B4-BE49-F238E27FC236}">
                <a16:creationId xmlns:a16="http://schemas.microsoft.com/office/drawing/2014/main" id="{CCAAEEA3-A150-4712-ACA6-4E1DDCA0F471}"/>
              </a:ext>
            </a:extLst>
          </p:cNvPr>
          <p:cNvSpPr/>
          <p:nvPr/>
        </p:nvSpPr>
        <p:spPr>
          <a:xfrm>
            <a:off x="8028570" y="4148797"/>
            <a:ext cx="165465" cy="180613"/>
          </a:xfrm>
          <a:custGeom>
            <a:avLst/>
            <a:gdLst>
              <a:gd name="connsiteX0" fmla="*/ 75741 w 165465"/>
              <a:gd name="connsiteY0" fmla="*/ 180613 h 180613"/>
              <a:gd name="connsiteX1" fmla="*/ 0 w 165465"/>
              <a:gd name="connsiteY1" fmla="*/ 180613 h 180613"/>
              <a:gd name="connsiteX2" fmla="*/ 88559 w 165465"/>
              <a:gd name="connsiteY2" fmla="*/ 90889 h 180613"/>
              <a:gd name="connsiteX3" fmla="*/ 0 w 165465"/>
              <a:gd name="connsiteY3" fmla="*/ 0 h 180613"/>
              <a:gd name="connsiteX4" fmla="*/ 76906 w 165465"/>
              <a:gd name="connsiteY4" fmla="*/ 0 h 180613"/>
              <a:gd name="connsiteX5" fmla="*/ 165465 w 165465"/>
              <a:gd name="connsiteY5" fmla="*/ 88559 h 180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80613">
                <a:moveTo>
                  <a:pt x="75741" y="180613"/>
                </a:moveTo>
                <a:lnTo>
                  <a:pt x="0" y="180613"/>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pPr rtl="0"/>
            <a:endParaRPr lang="en-US"/>
          </a:p>
        </p:txBody>
      </p:sp>
      <p:sp>
        <p:nvSpPr>
          <p:cNvPr id="127" name="Freihandform: Form 126">
            <a:extLst>
              <a:ext uri="{FF2B5EF4-FFF2-40B4-BE49-F238E27FC236}">
                <a16:creationId xmlns:a16="http://schemas.microsoft.com/office/drawing/2014/main" id="{4836B90C-7140-46A6-8E06-F6F443FAF626}"/>
              </a:ext>
            </a:extLst>
          </p:cNvPr>
          <p:cNvSpPr/>
          <p:nvPr/>
        </p:nvSpPr>
        <p:spPr>
          <a:xfrm>
            <a:off x="8028570" y="4504198"/>
            <a:ext cx="165465" cy="179448"/>
          </a:xfrm>
          <a:custGeom>
            <a:avLst/>
            <a:gdLst>
              <a:gd name="connsiteX0" fmla="*/ 75741 w 165465"/>
              <a:gd name="connsiteY0" fmla="*/ 179448 h 179448"/>
              <a:gd name="connsiteX1" fmla="*/ 0 w 165465"/>
              <a:gd name="connsiteY1" fmla="*/ 179448 h 179448"/>
              <a:gd name="connsiteX2" fmla="*/ 88559 w 165465"/>
              <a:gd name="connsiteY2" fmla="*/ 90889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pPr rtl="0"/>
            <a:endParaRPr lang="en-US"/>
          </a:p>
        </p:txBody>
      </p:sp>
      <p:sp>
        <p:nvSpPr>
          <p:cNvPr id="144" name="Freihandform: Form 143">
            <a:extLst>
              <a:ext uri="{FF2B5EF4-FFF2-40B4-BE49-F238E27FC236}">
                <a16:creationId xmlns:a16="http://schemas.microsoft.com/office/drawing/2014/main" id="{3BBFE07D-6FDD-4238-9402-B3F281DCA33E}"/>
              </a:ext>
            </a:extLst>
          </p:cNvPr>
          <p:cNvSpPr/>
          <p:nvPr/>
        </p:nvSpPr>
        <p:spPr>
          <a:xfrm>
            <a:off x="8028570" y="4859598"/>
            <a:ext cx="165465" cy="179448"/>
          </a:xfrm>
          <a:custGeom>
            <a:avLst/>
            <a:gdLst>
              <a:gd name="connsiteX0" fmla="*/ 75741 w 165465"/>
              <a:gd name="connsiteY0" fmla="*/ 179448 h 179448"/>
              <a:gd name="connsiteX1" fmla="*/ 0 w 165465"/>
              <a:gd name="connsiteY1" fmla="*/ 179448 h 179448"/>
              <a:gd name="connsiteX2" fmla="*/ 88559 w 165465"/>
              <a:gd name="connsiteY2" fmla="*/ 89724 h 179448"/>
              <a:gd name="connsiteX3" fmla="*/ 0 w 165465"/>
              <a:gd name="connsiteY3" fmla="*/ 0 h 179448"/>
              <a:gd name="connsiteX4" fmla="*/ 76906 w 165465"/>
              <a:gd name="connsiteY4" fmla="*/ 0 h 179448"/>
              <a:gd name="connsiteX5" fmla="*/ 165465 w 165465"/>
              <a:gd name="connsiteY5" fmla="*/ 87394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89724"/>
                </a:lnTo>
                <a:lnTo>
                  <a:pt x="0" y="0"/>
                </a:lnTo>
                <a:lnTo>
                  <a:pt x="76906" y="0"/>
                </a:lnTo>
                <a:lnTo>
                  <a:pt x="165465" y="87394"/>
                </a:lnTo>
                <a:close/>
              </a:path>
            </a:pathLst>
          </a:custGeom>
          <a:solidFill>
            <a:srgbClr val="EEF2F5"/>
          </a:solidFill>
          <a:ln w="11643" cap="flat">
            <a:noFill/>
            <a:prstDash val="solid"/>
            <a:miter/>
          </a:ln>
        </p:spPr>
        <p:txBody>
          <a:bodyPr rtlCol="0" anchor="ctr"/>
          <a:lstStyle/>
          <a:p>
            <a:pPr rtl="0"/>
            <a:endParaRPr lang="en-US"/>
          </a:p>
        </p:txBody>
      </p:sp>
      <p:sp>
        <p:nvSpPr>
          <p:cNvPr id="161" name="Freihandform: Form 160">
            <a:extLst>
              <a:ext uri="{FF2B5EF4-FFF2-40B4-BE49-F238E27FC236}">
                <a16:creationId xmlns:a16="http://schemas.microsoft.com/office/drawing/2014/main" id="{9F4D763A-5B43-4FAB-9B68-52F7F446418E}"/>
              </a:ext>
            </a:extLst>
          </p:cNvPr>
          <p:cNvSpPr/>
          <p:nvPr/>
        </p:nvSpPr>
        <p:spPr>
          <a:xfrm>
            <a:off x="8028570" y="5213834"/>
            <a:ext cx="165465" cy="179448"/>
          </a:xfrm>
          <a:custGeom>
            <a:avLst/>
            <a:gdLst>
              <a:gd name="connsiteX0" fmla="*/ 75741 w 165465"/>
              <a:gd name="connsiteY0" fmla="*/ 179448 h 179448"/>
              <a:gd name="connsiteX1" fmla="*/ 0 w 165465"/>
              <a:gd name="connsiteY1" fmla="*/ 179448 h 179448"/>
              <a:gd name="connsiteX2" fmla="*/ 88559 w 165465"/>
              <a:gd name="connsiteY2" fmla="*/ 90890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90"/>
                </a:lnTo>
                <a:lnTo>
                  <a:pt x="0" y="0"/>
                </a:lnTo>
                <a:lnTo>
                  <a:pt x="76906" y="0"/>
                </a:lnTo>
                <a:lnTo>
                  <a:pt x="165465" y="88559"/>
                </a:lnTo>
                <a:close/>
              </a:path>
            </a:pathLst>
          </a:custGeom>
          <a:solidFill>
            <a:srgbClr val="EEF2F5"/>
          </a:solidFill>
          <a:ln w="11643" cap="flat">
            <a:noFill/>
            <a:prstDash val="solid"/>
            <a:miter/>
          </a:ln>
        </p:spPr>
        <p:txBody>
          <a:bodyPr rtlCol="0" anchor="ctr"/>
          <a:lstStyle/>
          <a:p>
            <a:pPr rtl="0"/>
            <a:endParaRPr lang="en-US"/>
          </a:p>
        </p:txBody>
      </p:sp>
      <p:sp>
        <p:nvSpPr>
          <p:cNvPr id="178" name="Freihandform: Form 177">
            <a:extLst>
              <a:ext uri="{FF2B5EF4-FFF2-40B4-BE49-F238E27FC236}">
                <a16:creationId xmlns:a16="http://schemas.microsoft.com/office/drawing/2014/main" id="{41FB849E-381E-41F8-9504-EDE13E3D8055}"/>
              </a:ext>
            </a:extLst>
          </p:cNvPr>
          <p:cNvSpPr/>
          <p:nvPr/>
        </p:nvSpPr>
        <p:spPr>
          <a:xfrm>
            <a:off x="8028570" y="5569234"/>
            <a:ext cx="165465" cy="179448"/>
          </a:xfrm>
          <a:custGeom>
            <a:avLst/>
            <a:gdLst>
              <a:gd name="connsiteX0" fmla="*/ 75741 w 165465"/>
              <a:gd name="connsiteY0" fmla="*/ 179448 h 179448"/>
              <a:gd name="connsiteX1" fmla="*/ 0 w 165465"/>
              <a:gd name="connsiteY1" fmla="*/ 179448 h 179448"/>
              <a:gd name="connsiteX2" fmla="*/ 88559 w 165465"/>
              <a:gd name="connsiteY2" fmla="*/ 89724 h 179448"/>
              <a:gd name="connsiteX3" fmla="*/ 0 w 165465"/>
              <a:gd name="connsiteY3" fmla="*/ 0 h 179448"/>
              <a:gd name="connsiteX4" fmla="*/ 76906 w 165465"/>
              <a:gd name="connsiteY4" fmla="*/ 0 h 179448"/>
              <a:gd name="connsiteX5" fmla="*/ 165465 w 165465"/>
              <a:gd name="connsiteY5" fmla="*/ 87394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89724"/>
                </a:lnTo>
                <a:lnTo>
                  <a:pt x="0" y="0"/>
                </a:lnTo>
                <a:lnTo>
                  <a:pt x="76906" y="0"/>
                </a:lnTo>
                <a:lnTo>
                  <a:pt x="165465" y="87394"/>
                </a:lnTo>
                <a:close/>
              </a:path>
            </a:pathLst>
          </a:custGeom>
          <a:solidFill>
            <a:srgbClr val="EEF2F5"/>
          </a:solidFill>
          <a:ln w="11643" cap="flat">
            <a:noFill/>
            <a:prstDash val="solid"/>
            <a:miter/>
          </a:ln>
        </p:spPr>
        <p:txBody>
          <a:bodyPr rtlCol="0" anchor="ctr"/>
          <a:lstStyle/>
          <a:p>
            <a:pPr rtl="0"/>
            <a:endParaRPr lang="en-US"/>
          </a:p>
        </p:txBody>
      </p:sp>
      <p:sp>
        <p:nvSpPr>
          <p:cNvPr id="195" name="Freihandform: Form 194">
            <a:extLst>
              <a:ext uri="{FF2B5EF4-FFF2-40B4-BE49-F238E27FC236}">
                <a16:creationId xmlns:a16="http://schemas.microsoft.com/office/drawing/2014/main" id="{5427778E-AAB9-42E1-BC64-75764828EDB0}"/>
              </a:ext>
            </a:extLst>
          </p:cNvPr>
          <p:cNvSpPr/>
          <p:nvPr/>
        </p:nvSpPr>
        <p:spPr>
          <a:xfrm>
            <a:off x="8028570" y="5923469"/>
            <a:ext cx="165465" cy="179448"/>
          </a:xfrm>
          <a:custGeom>
            <a:avLst/>
            <a:gdLst>
              <a:gd name="connsiteX0" fmla="*/ 75741 w 165465"/>
              <a:gd name="connsiteY0" fmla="*/ 179448 h 179448"/>
              <a:gd name="connsiteX1" fmla="*/ 0 w 165465"/>
              <a:gd name="connsiteY1" fmla="*/ 179448 h 179448"/>
              <a:gd name="connsiteX2" fmla="*/ 88559 w 165465"/>
              <a:gd name="connsiteY2" fmla="*/ 90890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90"/>
                </a:lnTo>
                <a:lnTo>
                  <a:pt x="0" y="0"/>
                </a:lnTo>
                <a:lnTo>
                  <a:pt x="76906" y="0"/>
                </a:lnTo>
                <a:lnTo>
                  <a:pt x="165465" y="88559"/>
                </a:lnTo>
                <a:close/>
              </a:path>
            </a:pathLst>
          </a:custGeom>
          <a:solidFill>
            <a:srgbClr val="EEF2F5"/>
          </a:solidFill>
          <a:ln w="11643" cap="flat">
            <a:noFill/>
            <a:prstDash val="solid"/>
            <a:miter/>
          </a:ln>
        </p:spPr>
        <p:txBody>
          <a:bodyPr rtlCol="0" anchor="ctr"/>
          <a:lstStyle/>
          <a:p>
            <a:pPr rtl="0"/>
            <a:endParaRPr lang="en-US"/>
          </a:p>
        </p:txBody>
      </p:sp>
      <p:sp>
        <p:nvSpPr>
          <p:cNvPr id="212" name="Freihandform: Form 211">
            <a:extLst>
              <a:ext uri="{FF2B5EF4-FFF2-40B4-BE49-F238E27FC236}">
                <a16:creationId xmlns:a16="http://schemas.microsoft.com/office/drawing/2014/main" id="{E72C56CD-8028-4274-A62F-5994CAF54FEF}"/>
              </a:ext>
            </a:extLst>
          </p:cNvPr>
          <p:cNvSpPr/>
          <p:nvPr/>
        </p:nvSpPr>
        <p:spPr>
          <a:xfrm>
            <a:off x="8028570" y="6278870"/>
            <a:ext cx="165465" cy="179448"/>
          </a:xfrm>
          <a:custGeom>
            <a:avLst/>
            <a:gdLst>
              <a:gd name="connsiteX0" fmla="*/ 75741 w 165465"/>
              <a:gd name="connsiteY0" fmla="*/ 179448 h 179448"/>
              <a:gd name="connsiteX1" fmla="*/ 0 w 165465"/>
              <a:gd name="connsiteY1" fmla="*/ 179448 h 179448"/>
              <a:gd name="connsiteX2" fmla="*/ 88559 w 165465"/>
              <a:gd name="connsiteY2" fmla="*/ 89724 h 179448"/>
              <a:gd name="connsiteX3" fmla="*/ 0 w 165465"/>
              <a:gd name="connsiteY3" fmla="*/ 0 h 179448"/>
              <a:gd name="connsiteX4" fmla="*/ 76906 w 165465"/>
              <a:gd name="connsiteY4" fmla="*/ 0 h 179448"/>
              <a:gd name="connsiteX5" fmla="*/ 165465 w 165465"/>
              <a:gd name="connsiteY5" fmla="*/ 87394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89724"/>
                </a:lnTo>
                <a:lnTo>
                  <a:pt x="0" y="0"/>
                </a:lnTo>
                <a:lnTo>
                  <a:pt x="76906" y="0"/>
                </a:lnTo>
                <a:lnTo>
                  <a:pt x="165465" y="87394"/>
                </a:lnTo>
                <a:close/>
              </a:path>
            </a:pathLst>
          </a:custGeom>
          <a:solidFill>
            <a:srgbClr val="EEF2F5"/>
          </a:solidFill>
          <a:ln w="11643" cap="flat">
            <a:noFill/>
            <a:prstDash val="solid"/>
            <a:miter/>
          </a:ln>
        </p:spPr>
        <p:txBody>
          <a:bodyPr rtlCol="0" anchor="ctr"/>
          <a:lstStyle/>
          <a:p>
            <a:pPr rtl="0"/>
            <a:endParaRPr lang="en-US"/>
          </a:p>
        </p:txBody>
      </p:sp>
      <p:sp>
        <p:nvSpPr>
          <p:cNvPr id="228" name="Freihandform: Form 227">
            <a:extLst>
              <a:ext uri="{FF2B5EF4-FFF2-40B4-BE49-F238E27FC236}">
                <a16:creationId xmlns:a16="http://schemas.microsoft.com/office/drawing/2014/main" id="{6D995F94-547B-4E8B-8F80-D2C01332D74E}"/>
              </a:ext>
            </a:extLst>
          </p:cNvPr>
          <p:cNvSpPr/>
          <p:nvPr/>
        </p:nvSpPr>
        <p:spPr>
          <a:xfrm>
            <a:off x="8028570" y="6633106"/>
            <a:ext cx="165465" cy="179448"/>
          </a:xfrm>
          <a:custGeom>
            <a:avLst/>
            <a:gdLst>
              <a:gd name="connsiteX0" fmla="*/ 75741 w 165465"/>
              <a:gd name="connsiteY0" fmla="*/ 179448 h 179448"/>
              <a:gd name="connsiteX1" fmla="*/ 0 w 165465"/>
              <a:gd name="connsiteY1" fmla="*/ 179448 h 179448"/>
              <a:gd name="connsiteX2" fmla="*/ 88559 w 165465"/>
              <a:gd name="connsiteY2" fmla="*/ 90889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pPr rtl="0"/>
            <a:endParaRPr lang="en-US"/>
          </a:p>
        </p:txBody>
      </p:sp>
      <p:sp>
        <p:nvSpPr>
          <p:cNvPr id="17" name="Freihandform: Form 16">
            <a:extLst>
              <a:ext uri="{FF2B5EF4-FFF2-40B4-BE49-F238E27FC236}">
                <a16:creationId xmlns:a16="http://schemas.microsoft.com/office/drawing/2014/main" id="{FBFA7DD1-6DE8-48E2-BB35-DCE366E698C5}"/>
              </a:ext>
            </a:extLst>
          </p:cNvPr>
          <p:cNvSpPr/>
          <p:nvPr/>
        </p:nvSpPr>
        <p:spPr>
          <a:xfrm>
            <a:off x="8375813" y="2011732"/>
            <a:ext cx="180613" cy="196926"/>
          </a:xfrm>
          <a:custGeom>
            <a:avLst/>
            <a:gdLst>
              <a:gd name="connsiteX0" fmla="*/ 82733 w 180613"/>
              <a:gd name="connsiteY0" fmla="*/ 196927 h 196926"/>
              <a:gd name="connsiteX1" fmla="*/ 0 w 180613"/>
              <a:gd name="connsiteY1" fmla="*/ 196927 h 196926"/>
              <a:gd name="connsiteX2" fmla="*/ 96715 w 180613"/>
              <a:gd name="connsiteY2" fmla="*/ 99046 h 196926"/>
              <a:gd name="connsiteX3" fmla="*/ 0 w 180613"/>
              <a:gd name="connsiteY3" fmla="*/ 0 h 196926"/>
              <a:gd name="connsiteX4" fmla="*/ 83898 w 180613"/>
              <a:gd name="connsiteY4" fmla="*/ 0 h 196926"/>
              <a:gd name="connsiteX5" fmla="*/ 180613 w 180613"/>
              <a:gd name="connsiteY5" fmla="*/ 96716 h 196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6926">
                <a:moveTo>
                  <a:pt x="82733" y="196927"/>
                </a:moveTo>
                <a:lnTo>
                  <a:pt x="0" y="196927"/>
                </a:lnTo>
                <a:lnTo>
                  <a:pt x="96715" y="99046"/>
                </a:lnTo>
                <a:lnTo>
                  <a:pt x="0" y="0"/>
                </a:lnTo>
                <a:lnTo>
                  <a:pt x="83898" y="0"/>
                </a:lnTo>
                <a:lnTo>
                  <a:pt x="180613" y="96716"/>
                </a:lnTo>
                <a:close/>
              </a:path>
            </a:pathLst>
          </a:custGeom>
          <a:solidFill>
            <a:srgbClr val="EEF2F5"/>
          </a:solidFill>
          <a:ln w="11643" cap="flat">
            <a:noFill/>
            <a:prstDash val="solid"/>
            <a:miter/>
          </a:ln>
        </p:spPr>
        <p:txBody>
          <a:bodyPr rtlCol="0" anchor="ctr"/>
          <a:lstStyle/>
          <a:p>
            <a:pPr rtl="0"/>
            <a:endParaRPr lang="en-US"/>
          </a:p>
        </p:txBody>
      </p:sp>
      <p:sp>
        <p:nvSpPr>
          <p:cNvPr id="32" name="Freihandform: Form 31">
            <a:extLst>
              <a:ext uri="{FF2B5EF4-FFF2-40B4-BE49-F238E27FC236}">
                <a16:creationId xmlns:a16="http://schemas.microsoft.com/office/drawing/2014/main" id="{7C08602B-27E1-4F5C-B2BA-86218542705A}"/>
              </a:ext>
            </a:extLst>
          </p:cNvPr>
          <p:cNvSpPr/>
          <p:nvPr/>
        </p:nvSpPr>
        <p:spPr>
          <a:xfrm>
            <a:off x="8375813" y="2367133"/>
            <a:ext cx="180613" cy="195761"/>
          </a:xfrm>
          <a:custGeom>
            <a:avLst/>
            <a:gdLst>
              <a:gd name="connsiteX0" fmla="*/ 82733 w 180613"/>
              <a:gd name="connsiteY0" fmla="*/ 195762 h 195761"/>
              <a:gd name="connsiteX1" fmla="*/ 0 w 180613"/>
              <a:gd name="connsiteY1" fmla="*/ 195762 h 195761"/>
              <a:gd name="connsiteX2" fmla="*/ 96715 w 180613"/>
              <a:gd name="connsiteY2" fmla="*/ 99046 h 195761"/>
              <a:gd name="connsiteX3" fmla="*/ 0 w 180613"/>
              <a:gd name="connsiteY3" fmla="*/ 0 h 195761"/>
              <a:gd name="connsiteX4" fmla="*/ 83898 w 180613"/>
              <a:gd name="connsiteY4" fmla="*/ 0 h 195761"/>
              <a:gd name="connsiteX5" fmla="*/ 180613 w 180613"/>
              <a:gd name="connsiteY5" fmla="*/ 95550 h 19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5761">
                <a:moveTo>
                  <a:pt x="82733" y="195762"/>
                </a:moveTo>
                <a:lnTo>
                  <a:pt x="0" y="195762"/>
                </a:lnTo>
                <a:lnTo>
                  <a:pt x="96715" y="99046"/>
                </a:lnTo>
                <a:lnTo>
                  <a:pt x="0" y="0"/>
                </a:lnTo>
                <a:lnTo>
                  <a:pt x="83898" y="0"/>
                </a:lnTo>
                <a:lnTo>
                  <a:pt x="180613" y="95550"/>
                </a:lnTo>
                <a:close/>
              </a:path>
            </a:pathLst>
          </a:custGeom>
          <a:solidFill>
            <a:srgbClr val="EEF2F5"/>
          </a:solidFill>
          <a:ln w="11643" cap="flat">
            <a:noFill/>
            <a:prstDash val="solid"/>
            <a:miter/>
          </a:ln>
        </p:spPr>
        <p:txBody>
          <a:bodyPr rtlCol="0" anchor="ctr"/>
          <a:lstStyle/>
          <a:p>
            <a:pPr rtl="0"/>
            <a:endParaRPr lang="en-US"/>
          </a:p>
        </p:txBody>
      </p:sp>
      <p:sp>
        <p:nvSpPr>
          <p:cNvPr id="48" name="Freihandform: Form 47">
            <a:extLst>
              <a:ext uri="{FF2B5EF4-FFF2-40B4-BE49-F238E27FC236}">
                <a16:creationId xmlns:a16="http://schemas.microsoft.com/office/drawing/2014/main" id="{B3543F06-832E-4301-879E-B06B3D8A1139}"/>
              </a:ext>
            </a:extLst>
          </p:cNvPr>
          <p:cNvSpPr/>
          <p:nvPr/>
        </p:nvSpPr>
        <p:spPr>
          <a:xfrm>
            <a:off x="8375813" y="2721368"/>
            <a:ext cx="180613" cy="196926"/>
          </a:xfrm>
          <a:custGeom>
            <a:avLst/>
            <a:gdLst>
              <a:gd name="connsiteX0" fmla="*/ 82733 w 180613"/>
              <a:gd name="connsiteY0" fmla="*/ 196927 h 196926"/>
              <a:gd name="connsiteX1" fmla="*/ 0 w 180613"/>
              <a:gd name="connsiteY1" fmla="*/ 196927 h 196926"/>
              <a:gd name="connsiteX2" fmla="*/ 96715 w 180613"/>
              <a:gd name="connsiteY2" fmla="*/ 99046 h 196926"/>
              <a:gd name="connsiteX3" fmla="*/ 0 w 180613"/>
              <a:gd name="connsiteY3" fmla="*/ 0 h 196926"/>
              <a:gd name="connsiteX4" fmla="*/ 83898 w 180613"/>
              <a:gd name="connsiteY4" fmla="*/ 0 h 196926"/>
              <a:gd name="connsiteX5" fmla="*/ 180613 w 180613"/>
              <a:gd name="connsiteY5" fmla="*/ 96716 h 196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6926">
                <a:moveTo>
                  <a:pt x="82733" y="196927"/>
                </a:moveTo>
                <a:lnTo>
                  <a:pt x="0" y="196927"/>
                </a:lnTo>
                <a:lnTo>
                  <a:pt x="96715" y="99046"/>
                </a:lnTo>
                <a:lnTo>
                  <a:pt x="0" y="0"/>
                </a:lnTo>
                <a:lnTo>
                  <a:pt x="83898" y="0"/>
                </a:lnTo>
                <a:lnTo>
                  <a:pt x="180613" y="96716"/>
                </a:lnTo>
                <a:close/>
              </a:path>
            </a:pathLst>
          </a:custGeom>
          <a:solidFill>
            <a:srgbClr val="EEF2F5"/>
          </a:solidFill>
          <a:ln w="11643" cap="flat">
            <a:noFill/>
            <a:prstDash val="solid"/>
            <a:miter/>
          </a:ln>
        </p:spPr>
        <p:txBody>
          <a:bodyPr rtlCol="0" anchor="ctr"/>
          <a:lstStyle/>
          <a:p>
            <a:pPr rtl="0"/>
            <a:endParaRPr lang="en-US"/>
          </a:p>
        </p:txBody>
      </p:sp>
      <p:sp>
        <p:nvSpPr>
          <p:cNvPr id="64" name="Freihandform: Form 63">
            <a:extLst>
              <a:ext uri="{FF2B5EF4-FFF2-40B4-BE49-F238E27FC236}">
                <a16:creationId xmlns:a16="http://schemas.microsoft.com/office/drawing/2014/main" id="{448857AA-F125-42A1-8BA3-8AC5BA3389BB}"/>
              </a:ext>
            </a:extLst>
          </p:cNvPr>
          <p:cNvSpPr/>
          <p:nvPr/>
        </p:nvSpPr>
        <p:spPr>
          <a:xfrm>
            <a:off x="8375813" y="3076769"/>
            <a:ext cx="180613" cy="195761"/>
          </a:xfrm>
          <a:custGeom>
            <a:avLst/>
            <a:gdLst>
              <a:gd name="connsiteX0" fmla="*/ 82733 w 180613"/>
              <a:gd name="connsiteY0" fmla="*/ 195762 h 195761"/>
              <a:gd name="connsiteX1" fmla="*/ 0 w 180613"/>
              <a:gd name="connsiteY1" fmla="*/ 195762 h 195761"/>
              <a:gd name="connsiteX2" fmla="*/ 96715 w 180613"/>
              <a:gd name="connsiteY2" fmla="*/ 99046 h 195761"/>
              <a:gd name="connsiteX3" fmla="*/ 0 w 180613"/>
              <a:gd name="connsiteY3" fmla="*/ 0 h 195761"/>
              <a:gd name="connsiteX4" fmla="*/ 83898 w 180613"/>
              <a:gd name="connsiteY4" fmla="*/ 0 h 195761"/>
              <a:gd name="connsiteX5" fmla="*/ 180613 w 180613"/>
              <a:gd name="connsiteY5" fmla="*/ 95550 h 19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5761">
                <a:moveTo>
                  <a:pt x="82733" y="195762"/>
                </a:moveTo>
                <a:lnTo>
                  <a:pt x="0" y="195762"/>
                </a:lnTo>
                <a:lnTo>
                  <a:pt x="96715" y="99046"/>
                </a:lnTo>
                <a:lnTo>
                  <a:pt x="0" y="0"/>
                </a:lnTo>
                <a:lnTo>
                  <a:pt x="83898" y="0"/>
                </a:lnTo>
                <a:lnTo>
                  <a:pt x="180613" y="95550"/>
                </a:lnTo>
                <a:close/>
              </a:path>
            </a:pathLst>
          </a:custGeom>
          <a:solidFill>
            <a:srgbClr val="EEF2F5"/>
          </a:solidFill>
          <a:ln w="11643" cap="flat">
            <a:noFill/>
            <a:prstDash val="solid"/>
            <a:miter/>
          </a:ln>
        </p:spPr>
        <p:txBody>
          <a:bodyPr rtlCol="0" anchor="ctr"/>
          <a:lstStyle/>
          <a:p>
            <a:pPr rtl="0"/>
            <a:endParaRPr lang="en-US"/>
          </a:p>
        </p:txBody>
      </p:sp>
      <p:sp>
        <p:nvSpPr>
          <p:cNvPr id="80" name="Freihandform: Form 79">
            <a:extLst>
              <a:ext uri="{FF2B5EF4-FFF2-40B4-BE49-F238E27FC236}">
                <a16:creationId xmlns:a16="http://schemas.microsoft.com/office/drawing/2014/main" id="{4D03B1F2-B454-4805-B554-BE60EE27F881}"/>
              </a:ext>
            </a:extLst>
          </p:cNvPr>
          <p:cNvSpPr/>
          <p:nvPr/>
        </p:nvSpPr>
        <p:spPr>
          <a:xfrm>
            <a:off x="8375813" y="3431004"/>
            <a:ext cx="180613" cy="196926"/>
          </a:xfrm>
          <a:custGeom>
            <a:avLst/>
            <a:gdLst>
              <a:gd name="connsiteX0" fmla="*/ 82733 w 180613"/>
              <a:gd name="connsiteY0" fmla="*/ 196927 h 196926"/>
              <a:gd name="connsiteX1" fmla="*/ 0 w 180613"/>
              <a:gd name="connsiteY1" fmla="*/ 196927 h 196926"/>
              <a:gd name="connsiteX2" fmla="*/ 96715 w 180613"/>
              <a:gd name="connsiteY2" fmla="*/ 99046 h 196926"/>
              <a:gd name="connsiteX3" fmla="*/ 0 w 180613"/>
              <a:gd name="connsiteY3" fmla="*/ 0 h 196926"/>
              <a:gd name="connsiteX4" fmla="*/ 83898 w 180613"/>
              <a:gd name="connsiteY4" fmla="*/ 0 h 196926"/>
              <a:gd name="connsiteX5" fmla="*/ 180613 w 180613"/>
              <a:gd name="connsiteY5" fmla="*/ 96716 h 196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6926">
                <a:moveTo>
                  <a:pt x="82733" y="196927"/>
                </a:moveTo>
                <a:lnTo>
                  <a:pt x="0" y="196927"/>
                </a:lnTo>
                <a:lnTo>
                  <a:pt x="96715" y="99046"/>
                </a:lnTo>
                <a:lnTo>
                  <a:pt x="0" y="0"/>
                </a:lnTo>
                <a:lnTo>
                  <a:pt x="83898" y="0"/>
                </a:lnTo>
                <a:lnTo>
                  <a:pt x="180613" y="96716"/>
                </a:lnTo>
                <a:close/>
              </a:path>
            </a:pathLst>
          </a:custGeom>
          <a:solidFill>
            <a:srgbClr val="EEF2F5"/>
          </a:solidFill>
          <a:ln w="11643" cap="flat">
            <a:noFill/>
            <a:prstDash val="solid"/>
            <a:miter/>
          </a:ln>
        </p:spPr>
        <p:txBody>
          <a:bodyPr rtlCol="0" anchor="ctr"/>
          <a:lstStyle/>
          <a:p>
            <a:pPr rtl="0"/>
            <a:endParaRPr lang="en-US"/>
          </a:p>
        </p:txBody>
      </p:sp>
      <p:sp>
        <p:nvSpPr>
          <p:cNvPr id="96" name="Freihandform: Form 95">
            <a:extLst>
              <a:ext uri="{FF2B5EF4-FFF2-40B4-BE49-F238E27FC236}">
                <a16:creationId xmlns:a16="http://schemas.microsoft.com/office/drawing/2014/main" id="{FFDA75BC-562C-4970-A5BF-655AB3F5011C}"/>
              </a:ext>
            </a:extLst>
          </p:cNvPr>
          <p:cNvSpPr/>
          <p:nvPr/>
        </p:nvSpPr>
        <p:spPr>
          <a:xfrm>
            <a:off x="8375813" y="3786405"/>
            <a:ext cx="180613" cy="195761"/>
          </a:xfrm>
          <a:custGeom>
            <a:avLst/>
            <a:gdLst>
              <a:gd name="connsiteX0" fmla="*/ 82733 w 180613"/>
              <a:gd name="connsiteY0" fmla="*/ 195762 h 195761"/>
              <a:gd name="connsiteX1" fmla="*/ 0 w 180613"/>
              <a:gd name="connsiteY1" fmla="*/ 195762 h 195761"/>
              <a:gd name="connsiteX2" fmla="*/ 96715 w 180613"/>
              <a:gd name="connsiteY2" fmla="*/ 99046 h 195761"/>
              <a:gd name="connsiteX3" fmla="*/ 0 w 180613"/>
              <a:gd name="connsiteY3" fmla="*/ 0 h 195761"/>
              <a:gd name="connsiteX4" fmla="*/ 83898 w 180613"/>
              <a:gd name="connsiteY4" fmla="*/ 0 h 195761"/>
              <a:gd name="connsiteX5" fmla="*/ 180613 w 180613"/>
              <a:gd name="connsiteY5" fmla="*/ 96716 h 19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5761">
                <a:moveTo>
                  <a:pt x="82733" y="195762"/>
                </a:moveTo>
                <a:lnTo>
                  <a:pt x="0" y="195762"/>
                </a:lnTo>
                <a:lnTo>
                  <a:pt x="96715" y="99046"/>
                </a:lnTo>
                <a:lnTo>
                  <a:pt x="0" y="0"/>
                </a:lnTo>
                <a:lnTo>
                  <a:pt x="83898" y="0"/>
                </a:lnTo>
                <a:lnTo>
                  <a:pt x="180613" y="96716"/>
                </a:lnTo>
                <a:close/>
              </a:path>
            </a:pathLst>
          </a:custGeom>
          <a:solidFill>
            <a:srgbClr val="EEF2F5"/>
          </a:solidFill>
          <a:ln w="11643" cap="flat">
            <a:noFill/>
            <a:prstDash val="solid"/>
            <a:miter/>
          </a:ln>
        </p:spPr>
        <p:txBody>
          <a:bodyPr rtlCol="0" anchor="ctr"/>
          <a:lstStyle/>
          <a:p>
            <a:pPr rtl="0"/>
            <a:endParaRPr lang="en-US"/>
          </a:p>
        </p:txBody>
      </p:sp>
      <p:sp>
        <p:nvSpPr>
          <p:cNvPr id="112" name="Freihandform: Form 111">
            <a:extLst>
              <a:ext uri="{FF2B5EF4-FFF2-40B4-BE49-F238E27FC236}">
                <a16:creationId xmlns:a16="http://schemas.microsoft.com/office/drawing/2014/main" id="{D5FBE564-C560-47E5-B3B3-465A98E51447}"/>
              </a:ext>
            </a:extLst>
          </p:cNvPr>
          <p:cNvSpPr/>
          <p:nvPr/>
        </p:nvSpPr>
        <p:spPr>
          <a:xfrm>
            <a:off x="8375813" y="4140640"/>
            <a:ext cx="180613" cy="196926"/>
          </a:xfrm>
          <a:custGeom>
            <a:avLst/>
            <a:gdLst>
              <a:gd name="connsiteX0" fmla="*/ 82733 w 180613"/>
              <a:gd name="connsiteY0" fmla="*/ 196927 h 196926"/>
              <a:gd name="connsiteX1" fmla="*/ 0 w 180613"/>
              <a:gd name="connsiteY1" fmla="*/ 196927 h 196926"/>
              <a:gd name="connsiteX2" fmla="*/ 96715 w 180613"/>
              <a:gd name="connsiteY2" fmla="*/ 99046 h 196926"/>
              <a:gd name="connsiteX3" fmla="*/ 0 w 180613"/>
              <a:gd name="connsiteY3" fmla="*/ 0 h 196926"/>
              <a:gd name="connsiteX4" fmla="*/ 83898 w 180613"/>
              <a:gd name="connsiteY4" fmla="*/ 0 h 196926"/>
              <a:gd name="connsiteX5" fmla="*/ 180613 w 180613"/>
              <a:gd name="connsiteY5" fmla="*/ 96716 h 196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6926">
                <a:moveTo>
                  <a:pt x="82733" y="196927"/>
                </a:moveTo>
                <a:lnTo>
                  <a:pt x="0" y="196927"/>
                </a:lnTo>
                <a:lnTo>
                  <a:pt x="96715" y="99046"/>
                </a:lnTo>
                <a:lnTo>
                  <a:pt x="0" y="0"/>
                </a:lnTo>
                <a:lnTo>
                  <a:pt x="83898" y="0"/>
                </a:lnTo>
                <a:lnTo>
                  <a:pt x="180613" y="96716"/>
                </a:lnTo>
                <a:close/>
              </a:path>
            </a:pathLst>
          </a:custGeom>
          <a:solidFill>
            <a:srgbClr val="EEF2F5"/>
          </a:solidFill>
          <a:ln w="11643" cap="flat">
            <a:noFill/>
            <a:prstDash val="solid"/>
            <a:miter/>
          </a:ln>
        </p:spPr>
        <p:txBody>
          <a:bodyPr rtlCol="0" anchor="ctr"/>
          <a:lstStyle/>
          <a:p>
            <a:pPr rtl="0"/>
            <a:endParaRPr lang="en-US"/>
          </a:p>
        </p:txBody>
      </p:sp>
      <p:sp>
        <p:nvSpPr>
          <p:cNvPr id="128" name="Freihandform: Form 127">
            <a:extLst>
              <a:ext uri="{FF2B5EF4-FFF2-40B4-BE49-F238E27FC236}">
                <a16:creationId xmlns:a16="http://schemas.microsoft.com/office/drawing/2014/main" id="{CF51EF18-4B1E-42D2-850F-FFA6C258A83C}"/>
              </a:ext>
            </a:extLst>
          </p:cNvPr>
          <p:cNvSpPr/>
          <p:nvPr/>
        </p:nvSpPr>
        <p:spPr>
          <a:xfrm>
            <a:off x="8375813" y="4496041"/>
            <a:ext cx="180613" cy="195761"/>
          </a:xfrm>
          <a:custGeom>
            <a:avLst/>
            <a:gdLst>
              <a:gd name="connsiteX0" fmla="*/ 82733 w 180613"/>
              <a:gd name="connsiteY0" fmla="*/ 195762 h 195761"/>
              <a:gd name="connsiteX1" fmla="*/ 0 w 180613"/>
              <a:gd name="connsiteY1" fmla="*/ 195762 h 195761"/>
              <a:gd name="connsiteX2" fmla="*/ 96715 w 180613"/>
              <a:gd name="connsiteY2" fmla="*/ 99046 h 195761"/>
              <a:gd name="connsiteX3" fmla="*/ 0 w 180613"/>
              <a:gd name="connsiteY3" fmla="*/ 0 h 195761"/>
              <a:gd name="connsiteX4" fmla="*/ 83898 w 180613"/>
              <a:gd name="connsiteY4" fmla="*/ 0 h 195761"/>
              <a:gd name="connsiteX5" fmla="*/ 180613 w 180613"/>
              <a:gd name="connsiteY5" fmla="*/ 96716 h 19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5761">
                <a:moveTo>
                  <a:pt x="82733" y="195762"/>
                </a:moveTo>
                <a:lnTo>
                  <a:pt x="0" y="195762"/>
                </a:lnTo>
                <a:lnTo>
                  <a:pt x="96715" y="99046"/>
                </a:lnTo>
                <a:lnTo>
                  <a:pt x="0" y="0"/>
                </a:lnTo>
                <a:lnTo>
                  <a:pt x="83898" y="0"/>
                </a:lnTo>
                <a:lnTo>
                  <a:pt x="180613" y="96716"/>
                </a:lnTo>
                <a:close/>
              </a:path>
            </a:pathLst>
          </a:custGeom>
          <a:solidFill>
            <a:srgbClr val="EEF2F5"/>
          </a:solidFill>
          <a:ln w="11643" cap="flat">
            <a:noFill/>
            <a:prstDash val="solid"/>
            <a:miter/>
          </a:ln>
        </p:spPr>
        <p:txBody>
          <a:bodyPr rtlCol="0" anchor="ctr"/>
          <a:lstStyle/>
          <a:p>
            <a:pPr rtl="0"/>
            <a:endParaRPr lang="en-US"/>
          </a:p>
        </p:txBody>
      </p:sp>
      <p:sp>
        <p:nvSpPr>
          <p:cNvPr id="145" name="Freihandform: Form 144">
            <a:extLst>
              <a:ext uri="{FF2B5EF4-FFF2-40B4-BE49-F238E27FC236}">
                <a16:creationId xmlns:a16="http://schemas.microsoft.com/office/drawing/2014/main" id="{56E41581-3FC6-4323-9C89-CF91773848F3}"/>
              </a:ext>
            </a:extLst>
          </p:cNvPr>
          <p:cNvSpPr/>
          <p:nvPr/>
        </p:nvSpPr>
        <p:spPr>
          <a:xfrm>
            <a:off x="8375813" y="4850276"/>
            <a:ext cx="180613" cy="196927"/>
          </a:xfrm>
          <a:custGeom>
            <a:avLst/>
            <a:gdLst>
              <a:gd name="connsiteX0" fmla="*/ 82733 w 180613"/>
              <a:gd name="connsiteY0" fmla="*/ 196927 h 196927"/>
              <a:gd name="connsiteX1" fmla="*/ 0 w 180613"/>
              <a:gd name="connsiteY1" fmla="*/ 196927 h 196927"/>
              <a:gd name="connsiteX2" fmla="*/ 96715 w 180613"/>
              <a:gd name="connsiteY2" fmla="*/ 99046 h 196927"/>
              <a:gd name="connsiteX3" fmla="*/ 0 w 180613"/>
              <a:gd name="connsiteY3" fmla="*/ 0 h 196927"/>
              <a:gd name="connsiteX4" fmla="*/ 83898 w 180613"/>
              <a:gd name="connsiteY4" fmla="*/ 0 h 196927"/>
              <a:gd name="connsiteX5" fmla="*/ 180613 w 180613"/>
              <a:gd name="connsiteY5" fmla="*/ 96716 h 196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6927">
                <a:moveTo>
                  <a:pt x="82733" y="196927"/>
                </a:moveTo>
                <a:lnTo>
                  <a:pt x="0" y="196927"/>
                </a:lnTo>
                <a:lnTo>
                  <a:pt x="96715" y="99046"/>
                </a:lnTo>
                <a:lnTo>
                  <a:pt x="0" y="0"/>
                </a:lnTo>
                <a:lnTo>
                  <a:pt x="83898" y="0"/>
                </a:lnTo>
                <a:lnTo>
                  <a:pt x="180613" y="96716"/>
                </a:lnTo>
                <a:close/>
              </a:path>
            </a:pathLst>
          </a:custGeom>
          <a:solidFill>
            <a:srgbClr val="EEF2F5"/>
          </a:solidFill>
          <a:ln w="11643" cap="flat">
            <a:noFill/>
            <a:prstDash val="solid"/>
            <a:miter/>
          </a:ln>
        </p:spPr>
        <p:txBody>
          <a:bodyPr rtlCol="0" anchor="ctr"/>
          <a:lstStyle/>
          <a:p>
            <a:pPr rtl="0"/>
            <a:endParaRPr lang="en-US"/>
          </a:p>
        </p:txBody>
      </p:sp>
      <p:sp>
        <p:nvSpPr>
          <p:cNvPr id="162" name="Freihandform: Form 161">
            <a:extLst>
              <a:ext uri="{FF2B5EF4-FFF2-40B4-BE49-F238E27FC236}">
                <a16:creationId xmlns:a16="http://schemas.microsoft.com/office/drawing/2014/main" id="{D57C87CD-CA7C-4C12-80C4-9130A88B17BE}"/>
              </a:ext>
            </a:extLst>
          </p:cNvPr>
          <p:cNvSpPr/>
          <p:nvPr/>
        </p:nvSpPr>
        <p:spPr>
          <a:xfrm>
            <a:off x="8375813" y="5205677"/>
            <a:ext cx="180613" cy="195761"/>
          </a:xfrm>
          <a:custGeom>
            <a:avLst/>
            <a:gdLst>
              <a:gd name="connsiteX0" fmla="*/ 82733 w 180613"/>
              <a:gd name="connsiteY0" fmla="*/ 195762 h 195761"/>
              <a:gd name="connsiteX1" fmla="*/ 0 w 180613"/>
              <a:gd name="connsiteY1" fmla="*/ 195762 h 195761"/>
              <a:gd name="connsiteX2" fmla="*/ 96715 w 180613"/>
              <a:gd name="connsiteY2" fmla="*/ 99046 h 195761"/>
              <a:gd name="connsiteX3" fmla="*/ 0 w 180613"/>
              <a:gd name="connsiteY3" fmla="*/ 0 h 195761"/>
              <a:gd name="connsiteX4" fmla="*/ 83898 w 180613"/>
              <a:gd name="connsiteY4" fmla="*/ 0 h 195761"/>
              <a:gd name="connsiteX5" fmla="*/ 180613 w 180613"/>
              <a:gd name="connsiteY5" fmla="*/ 96715 h 19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5761">
                <a:moveTo>
                  <a:pt x="82733" y="195762"/>
                </a:moveTo>
                <a:lnTo>
                  <a:pt x="0" y="195762"/>
                </a:lnTo>
                <a:lnTo>
                  <a:pt x="96715" y="99046"/>
                </a:lnTo>
                <a:lnTo>
                  <a:pt x="0" y="0"/>
                </a:lnTo>
                <a:lnTo>
                  <a:pt x="83898" y="0"/>
                </a:lnTo>
                <a:lnTo>
                  <a:pt x="180613" y="96715"/>
                </a:lnTo>
                <a:close/>
              </a:path>
            </a:pathLst>
          </a:custGeom>
          <a:solidFill>
            <a:srgbClr val="EEF2F5"/>
          </a:solidFill>
          <a:ln w="11643" cap="flat">
            <a:noFill/>
            <a:prstDash val="solid"/>
            <a:miter/>
          </a:ln>
        </p:spPr>
        <p:txBody>
          <a:bodyPr rtlCol="0" anchor="ctr"/>
          <a:lstStyle/>
          <a:p>
            <a:pPr rtl="0"/>
            <a:endParaRPr lang="en-US"/>
          </a:p>
        </p:txBody>
      </p:sp>
      <p:sp>
        <p:nvSpPr>
          <p:cNvPr id="179" name="Freihandform: Form 178">
            <a:extLst>
              <a:ext uri="{FF2B5EF4-FFF2-40B4-BE49-F238E27FC236}">
                <a16:creationId xmlns:a16="http://schemas.microsoft.com/office/drawing/2014/main" id="{DB846A0F-C8EB-418A-9689-60A3F1E0344D}"/>
              </a:ext>
            </a:extLst>
          </p:cNvPr>
          <p:cNvSpPr/>
          <p:nvPr/>
        </p:nvSpPr>
        <p:spPr>
          <a:xfrm>
            <a:off x="8375813" y="5559912"/>
            <a:ext cx="180613" cy="196926"/>
          </a:xfrm>
          <a:custGeom>
            <a:avLst/>
            <a:gdLst>
              <a:gd name="connsiteX0" fmla="*/ 82733 w 180613"/>
              <a:gd name="connsiteY0" fmla="*/ 196927 h 196926"/>
              <a:gd name="connsiteX1" fmla="*/ 0 w 180613"/>
              <a:gd name="connsiteY1" fmla="*/ 196927 h 196926"/>
              <a:gd name="connsiteX2" fmla="*/ 96715 w 180613"/>
              <a:gd name="connsiteY2" fmla="*/ 99046 h 196926"/>
              <a:gd name="connsiteX3" fmla="*/ 0 w 180613"/>
              <a:gd name="connsiteY3" fmla="*/ 0 h 196926"/>
              <a:gd name="connsiteX4" fmla="*/ 83898 w 180613"/>
              <a:gd name="connsiteY4" fmla="*/ 0 h 196926"/>
              <a:gd name="connsiteX5" fmla="*/ 180613 w 180613"/>
              <a:gd name="connsiteY5" fmla="*/ 96715 h 196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6926">
                <a:moveTo>
                  <a:pt x="82733" y="196927"/>
                </a:moveTo>
                <a:lnTo>
                  <a:pt x="0" y="196927"/>
                </a:lnTo>
                <a:lnTo>
                  <a:pt x="96715" y="99046"/>
                </a:lnTo>
                <a:lnTo>
                  <a:pt x="0" y="0"/>
                </a:lnTo>
                <a:lnTo>
                  <a:pt x="83898" y="0"/>
                </a:lnTo>
                <a:lnTo>
                  <a:pt x="180613" y="96715"/>
                </a:lnTo>
                <a:close/>
              </a:path>
            </a:pathLst>
          </a:custGeom>
          <a:solidFill>
            <a:srgbClr val="EEF2F5"/>
          </a:solidFill>
          <a:ln w="11643" cap="flat">
            <a:noFill/>
            <a:prstDash val="solid"/>
            <a:miter/>
          </a:ln>
        </p:spPr>
        <p:txBody>
          <a:bodyPr rtlCol="0" anchor="ctr"/>
          <a:lstStyle/>
          <a:p>
            <a:pPr rtl="0"/>
            <a:endParaRPr lang="en-US"/>
          </a:p>
        </p:txBody>
      </p:sp>
      <p:sp>
        <p:nvSpPr>
          <p:cNvPr id="196" name="Freihandform: Form 195">
            <a:extLst>
              <a:ext uri="{FF2B5EF4-FFF2-40B4-BE49-F238E27FC236}">
                <a16:creationId xmlns:a16="http://schemas.microsoft.com/office/drawing/2014/main" id="{4CB58DF8-2ADA-40F9-A585-F61E28EAC1FD}"/>
              </a:ext>
            </a:extLst>
          </p:cNvPr>
          <p:cNvSpPr/>
          <p:nvPr/>
        </p:nvSpPr>
        <p:spPr>
          <a:xfrm>
            <a:off x="8375813" y="5915313"/>
            <a:ext cx="180613" cy="195761"/>
          </a:xfrm>
          <a:custGeom>
            <a:avLst/>
            <a:gdLst>
              <a:gd name="connsiteX0" fmla="*/ 82733 w 180613"/>
              <a:gd name="connsiteY0" fmla="*/ 195762 h 195761"/>
              <a:gd name="connsiteX1" fmla="*/ 0 w 180613"/>
              <a:gd name="connsiteY1" fmla="*/ 195762 h 195761"/>
              <a:gd name="connsiteX2" fmla="*/ 96715 w 180613"/>
              <a:gd name="connsiteY2" fmla="*/ 99046 h 195761"/>
              <a:gd name="connsiteX3" fmla="*/ 0 w 180613"/>
              <a:gd name="connsiteY3" fmla="*/ 0 h 195761"/>
              <a:gd name="connsiteX4" fmla="*/ 83898 w 180613"/>
              <a:gd name="connsiteY4" fmla="*/ 0 h 195761"/>
              <a:gd name="connsiteX5" fmla="*/ 180613 w 180613"/>
              <a:gd name="connsiteY5" fmla="*/ 96715 h 19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5761">
                <a:moveTo>
                  <a:pt x="82733" y="195762"/>
                </a:moveTo>
                <a:lnTo>
                  <a:pt x="0" y="195762"/>
                </a:lnTo>
                <a:lnTo>
                  <a:pt x="96715" y="99046"/>
                </a:lnTo>
                <a:lnTo>
                  <a:pt x="0" y="0"/>
                </a:lnTo>
                <a:lnTo>
                  <a:pt x="83898" y="0"/>
                </a:lnTo>
                <a:lnTo>
                  <a:pt x="180613" y="96715"/>
                </a:lnTo>
                <a:close/>
              </a:path>
            </a:pathLst>
          </a:custGeom>
          <a:solidFill>
            <a:srgbClr val="EEF2F5"/>
          </a:solidFill>
          <a:ln w="11643" cap="flat">
            <a:noFill/>
            <a:prstDash val="solid"/>
            <a:miter/>
          </a:ln>
        </p:spPr>
        <p:txBody>
          <a:bodyPr rtlCol="0" anchor="ctr"/>
          <a:lstStyle/>
          <a:p>
            <a:pPr rtl="0"/>
            <a:endParaRPr lang="en-US"/>
          </a:p>
        </p:txBody>
      </p:sp>
      <p:sp>
        <p:nvSpPr>
          <p:cNvPr id="213" name="Freihandform: Form 212">
            <a:extLst>
              <a:ext uri="{FF2B5EF4-FFF2-40B4-BE49-F238E27FC236}">
                <a16:creationId xmlns:a16="http://schemas.microsoft.com/office/drawing/2014/main" id="{57028041-D229-4433-B39C-C3F33483B647}"/>
              </a:ext>
            </a:extLst>
          </p:cNvPr>
          <p:cNvSpPr/>
          <p:nvPr/>
        </p:nvSpPr>
        <p:spPr>
          <a:xfrm>
            <a:off x="8375813" y="6270714"/>
            <a:ext cx="180613" cy="195761"/>
          </a:xfrm>
          <a:custGeom>
            <a:avLst/>
            <a:gdLst>
              <a:gd name="connsiteX0" fmla="*/ 82733 w 180613"/>
              <a:gd name="connsiteY0" fmla="*/ 195762 h 195761"/>
              <a:gd name="connsiteX1" fmla="*/ 0 w 180613"/>
              <a:gd name="connsiteY1" fmla="*/ 195762 h 195761"/>
              <a:gd name="connsiteX2" fmla="*/ 96715 w 180613"/>
              <a:gd name="connsiteY2" fmla="*/ 97881 h 195761"/>
              <a:gd name="connsiteX3" fmla="*/ 0 w 180613"/>
              <a:gd name="connsiteY3" fmla="*/ 0 h 195761"/>
              <a:gd name="connsiteX4" fmla="*/ 83898 w 180613"/>
              <a:gd name="connsiteY4" fmla="*/ 0 h 195761"/>
              <a:gd name="connsiteX5" fmla="*/ 180613 w 180613"/>
              <a:gd name="connsiteY5" fmla="*/ 95550 h 19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5761">
                <a:moveTo>
                  <a:pt x="82733" y="195762"/>
                </a:moveTo>
                <a:lnTo>
                  <a:pt x="0" y="195762"/>
                </a:lnTo>
                <a:lnTo>
                  <a:pt x="96715" y="97881"/>
                </a:lnTo>
                <a:lnTo>
                  <a:pt x="0" y="0"/>
                </a:lnTo>
                <a:lnTo>
                  <a:pt x="83898" y="0"/>
                </a:lnTo>
                <a:lnTo>
                  <a:pt x="180613" y="95550"/>
                </a:lnTo>
                <a:close/>
              </a:path>
            </a:pathLst>
          </a:custGeom>
          <a:solidFill>
            <a:srgbClr val="EEF2F5"/>
          </a:solidFill>
          <a:ln w="11643" cap="flat">
            <a:noFill/>
            <a:prstDash val="solid"/>
            <a:miter/>
          </a:ln>
        </p:spPr>
        <p:txBody>
          <a:bodyPr rtlCol="0" anchor="ctr"/>
          <a:lstStyle/>
          <a:p>
            <a:pPr rtl="0"/>
            <a:endParaRPr lang="en-US"/>
          </a:p>
        </p:txBody>
      </p:sp>
      <p:sp>
        <p:nvSpPr>
          <p:cNvPr id="229" name="Freihandform: Form 228">
            <a:extLst>
              <a:ext uri="{FF2B5EF4-FFF2-40B4-BE49-F238E27FC236}">
                <a16:creationId xmlns:a16="http://schemas.microsoft.com/office/drawing/2014/main" id="{9B8DB432-5722-4DDC-9DA4-82611DB7AF21}"/>
              </a:ext>
            </a:extLst>
          </p:cNvPr>
          <p:cNvSpPr/>
          <p:nvPr/>
        </p:nvSpPr>
        <p:spPr>
          <a:xfrm>
            <a:off x="8375813" y="6624949"/>
            <a:ext cx="180613" cy="196926"/>
          </a:xfrm>
          <a:custGeom>
            <a:avLst/>
            <a:gdLst>
              <a:gd name="connsiteX0" fmla="*/ 82733 w 180613"/>
              <a:gd name="connsiteY0" fmla="*/ 196927 h 196926"/>
              <a:gd name="connsiteX1" fmla="*/ 0 w 180613"/>
              <a:gd name="connsiteY1" fmla="*/ 196927 h 196926"/>
              <a:gd name="connsiteX2" fmla="*/ 96715 w 180613"/>
              <a:gd name="connsiteY2" fmla="*/ 99046 h 196926"/>
              <a:gd name="connsiteX3" fmla="*/ 0 w 180613"/>
              <a:gd name="connsiteY3" fmla="*/ 0 h 196926"/>
              <a:gd name="connsiteX4" fmla="*/ 83898 w 180613"/>
              <a:gd name="connsiteY4" fmla="*/ 0 h 196926"/>
              <a:gd name="connsiteX5" fmla="*/ 180613 w 180613"/>
              <a:gd name="connsiteY5" fmla="*/ 96715 h 196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6926">
                <a:moveTo>
                  <a:pt x="82733" y="196927"/>
                </a:moveTo>
                <a:lnTo>
                  <a:pt x="0" y="196927"/>
                </a:lnTo>
                <a:lnTo>
                  <a:pt x="96715" y="99046"/>
                </a:lnTo>
                <a:lnTo>
                  <a:pt x="0" y="0"/>
                </a:lnTo>
                <a:lnTo>
                  <a:pt x="83898" y="0"/>
                </a:lnTo>
                <a:lnTo>
                  <a:pt x="180613" y="96715"/>
                </a:lnTo>
                <a:close/>
              </a:path>
            </a:pathLst>
          </a:custGeom>
          <a:solidFill>
            <a:srgbClr val="EEF2F5"/>
          </a:solidFill>
          <a:ln w="11643" cap="flat">
            <a:noFill/>
            <a:prstDash val="solid"/>
            <a:miter/>
          </a:ln>
        </p:spPr>
        <p:txBody>
          <a:bodyPr rtlCol="0" anchor="ctr"/>
          <a:lstStyle/>
          <a:p>
            <a:pPr rtl="0"/>
            <a:endParaRPr lang="en-US"/>
          </a:p>
        </p:txBody>
      </p:sp>
      <p:sp>
        <p:nvSpPr>
          <p:cNvPr id="18" name="Freihandform: Form 17">
            <a:extLst>
              <a:ext uri="{FF2B5EF4-FFF2-40B4-BE49-F238E27FC236}">
                <a16:creationId xmlns:a16="http://schemas.microsoft.com/office/drawing/2014/main" id="{5D717E25-D335-4E65-A411-45D9057ED87F}"/>
              </a:ext>
            </a:extLst>
          </p:cNvPr>
          <p:cNvSpPr/>
          <p:nvPr/>
        </p:nvSpPr>
        <p:spPr>
          <a:xfrm>
            <a:off x="8721892" y="2002410"/>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6038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6038"/>
                </a:lnTo>
                <a:close/>
              </a:path>
            </a:pathLst>
          </a:custGeom>
          <a:solidFill>
            <a:srgbClr val="EEF2F5"/>
          </a:solidFill>
          <a:ln w="11643" cap="flat">
            <a:noFill/>
            <a:prstDash val="solid"/>
            <a:miter/>
          </a:ln>
        </p:spPr>
        <p:txBody>
          <a:bodyPr rtlCol="0" anchor="ctr"/>
          <a:lstStyle/>
          <a:p>
            <a:pPr rtl="0"/>
            <a:endParaRPr lang="en-US"/>
          </a:p>
        </p:txBody>
      </p:sp>
      <p:sp>
        <p:nvSpPr>
          <p:cNvPr id="33" name="Freihandform: Form 32">
            <a:extLst>
              <a:ext uri="{FF2B5EF4-FFF2-40B4-BE49-F238E27FC236}">
                <a16:creationId xmlns:a16="http://schemas.microsoft.com/office/drawing/2014/main" id="{8191837C-2D2D-4E7E-BB7B-2C536FE31ED3}"/>
              </a:ext>
            </a:extLst>
          </p:cNvPr>
          <p:cNvSpPr/>
          <p:nvPr/>
        </p:nvSpPr>
        <p:spPr>
          <a:xfrm>
            <a:off x="8721892" y="2357811"/>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4872"/>
                </a:lnTo>
                <a:close/>
              </a:path>
            </a:pathLst>
          </a:custGeom>
          <a:solidFill>
            <a:srgbClr val="EEF2F5"/>
          </a:solidFill>
          <a:ln w="11643" cap="flat">
            <a:noFill/>
            <a:prstDash val="solid"/>
            <a:miter/>
          </a:ln>
        </p:spPr>
        <p:txBody>
          <a:bodyPr rtlCol="0" anchor="ctr"/>
          <a:lstStyle/>
          <a:p>
            <a:pPr rtl="0"/>
            <a:endParaRPr lang="en-US"/>
          </a:p>
        </p:txBody>
      </p:sp>
      <p:sp>
        <p:nvSpPr>
          <p:cNvPr id="49" name="Freihandform: Form 48">
            <a:extLst>
              <a:ext uri="{FF2B5EF4-FFF2-40B4-BE49-F238E27FC236}">
                <a16:creationId xmlns:a16="http://schemas.microsoft.com/office/drawing/2014/main" id="{7C3E3047-07A6-44AE-A863-B14D0E91E9D2}"/>
              </a:ext>
            </a:extLst>
          </p:cNvPr>
          <p:cNvSpPr/>
          <p:nvPr/>
        </p:nvSpPr>
        <p:spPr>
          <a:xfrm>
            <a:off x="8721892" y="2712046"/>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6038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6038"/>
                </a:lnTo>
                <a:close/>
              </a:path>
            </a:pathLst>
          </a:custGeom>
          <a:solidFill>
            <a:srgbClr val="EEF2F5"/>
          </a:solidFill>
          <a:ln w="11643" cap="flat">
            <a:noFill/>
            <a:prstDash val="solid"/>
            <a:miter/>
          </a:ln>
        </p:spPr>
        <p:txBody>
          <a:bodyPr rtlCol="0" anchor="ctr"/>
          <a:lstStyle/>
          <a:p>
            <a:pPr rtl="0"/>
            <a:endParaRPr lang="en-US"/>
          </a:p>
        </p:txBody>
      </p:sp>
      <p:sp>
        <p:nvSpPr>
          <p:cNvPr id="65" name="Freihandform: Form 64">
            <a:extLst>
              <a:ext uri="{FF2B5EF4-FFF2-40B4-BE49-F238E27FC236}">
                <a16:creationId xmlns:a16="http://schemas.microsoft.com/office/drawing/2014/main" id="{A33D910C-FE80-4271-80EB-43FB226FC311}"/>
              </a:ext>
            </a:extLst>
          </p:cNvPr>
          <p:cNvSpPr/>
          <p:nvPr/>
        </p:nvSpPr>
        <p:spPr>
          <a:xfrm>
            <a:off x="8721892" y="3067447"/>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4872"/>
                </a:lnTo>
                <a:close/>
              </a:path>
            </a:pathLst>
          </a:custGeom>
          <a:solidFill>
            <a:srgbClr val="EEF2F5"/>
          </a:solidFill>
          <a:ln w="11643" cap="flat">
            <a:noFill/>
            <a:prstDash val="solid"/>
            <a:miter/>
          </a:ln>
        </p:spPr>
        <p:txBody>
          <a:bodyPr rtlCol="0" anchor="ctr"/>
          <a:lstStyle/>
          <a:p>
            <a:pPr rtl="0"/>
            <a:endParaRPr lang="en-US"/>
          </a:p>
        </p:txBody>
      </p:sp>
      <p:sp>
        <p:nvSpPr>
          <p:cNvPr id="81" name="Freihandform: Form 80">
            <a:extLst>
              <a:ext uri="{FF2B5EF4-FFF2-40B4-BE49-F238E27FC236}">
                <a16:creationId xmlns:a16="http://schemas.microsoft.com/office/drawing/2014/main" id="{3C2ACAE0-E8A8-4FC5-919A-02F70B7D5438}"/>
              </a:ext>
            </a:extLst>
          </p:cNvPr>
          <p:cNvSpPr/>
          <p:nvPr/>
        </p:nvSpPr>
        <p:spPr>
          <a:xfrm>
            <a:off x="8721892" y="3421682"/>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6038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6038"/>
                </a:lnTo>
                <a:close/>
              </a:path>
            </a:pathLst>
          </a:custGeom>
          <a:solidFill>
            <a:srgbClr val="EEF2F5"/>
          </a:solidFill>
          <a:ln w="11643" cap="flat">
            <a:noFill/>
            <a:prstDash val="solid"/>
            <a:miter/>
          </a:ln>
        </p:spPr>
        <p:txBody>
          <a:bodyPr rtlCol="0" anchor="ctr"/>
          <a:lstStyle/>
          <a:p>
            <a:pPr rtl="0"/>
            <a:endParaRPr lang="en-US"/>
          </a:p>
        </p:txBody>
      </p:sp>
      <p:sp>
        <p:nvSpPr>
          <p:cNvPr id="97" name="Freihandform: Form 96">
            <a:extLst>
              <a:ext uri="{FF2B5EF4-FFF2-40B4-BE49-F238E27FC236}">
                <a16:creationId xmlns:a16="http://schemas.microsoft.com/office/drawing/2014/main" id="{49C7B20E-CBCC-427C-8257-9EDB4B177C6A}"/>
              </a:ext>
            </a:extLst>
          </p:cNvPr>
          <p:cNvSpPr/>
          <p:nvPr/>
        </p:nvSpPr>
        <p:spPr>
          <a:xfrm>
            <a:off x="8721892" y="3777083"/>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4872"/>
                </a:lnTo>
                <a:close/>
              </a:path>
            </a:pathLst>
          </a:custGeom>
          <a:solidFill>
            <a:srgbClr val="EEF2F5"/>
          </a:solidFill>
          <a:ln w="11643" cap="flat">
            <a:noFill/>
            <a:prstDash val="solid"/>
            <a:miter/>
          </a:ln>
        </p:spPr>
        <p:txBody>
          <a:bodyPr rtlCol="0" anchor="ctr"/>
          <a:lstStyle/>
          <a:p>
            <a:pPr rtl="0"/>
            <a:endParaRPr lang="en-US"/>
          </a:p>
        </p:txBody>
      </p:sp>
      <p:sp>
        <p:nvSpPr>
          <p:cNvPr id="113" name="Freihandform: Form 112">
            <a:extLst>
              <a:ext uri="{FF2B5EF4-FFF2-40B4-BE49-F238E27FC236}">
                <a16:creationId xmlns:a16="http://schemas.microsoft.com/office/drawing/2014/main" id="{AA929FBA-3B60-4B90-A12C-EEB1A0A8CF38}"/>
              </a:ext>
            </a:extLst>
          </p:cNvPr>
          <p:cNvSpPr/>
          <p:nvPr/>
        </p:nvSpPr>
        <p:spPr>
          <a:xfrm>
            <a:off x="8721892" y="4132484"/>
            <a:ext cx="198092" cy="214405"/>
          </a:xfrm>
          <a:custGeom>
            <a:avLst/>
            <a:gdLst>
              <a:gd name="connsiteX0" fmla="*/ 90889 w 198092"/>
              <a:gd name="connsiteY0" fmla="*/ 214406 h 214405"/>
              <a:gd name="connsiteX1" fmla="*/ 0 w 198092"/>
              <a:gd name="connsiteY1" fmla="*/ 214406 h 214405"/>
              <a:gd name="connsiteX2" fmla="*/ 106037 w 198092"/>
              <a:gd name="connsiteY2" fmla="*/ 107203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7203"/>
                </a:lnTo>
                <a:lnTo>
                  <a:pt x="0" y="0"/>
                </a:lnTo>
                <a:lnTo>
                  <a:pt x="92055" y="0"/>
                </a:lnTo>
                <a:lnTo>
                  <a:pt x="198092" y="104872"/>
                </a:lnTo>
                <a:close/>
              </a:path>
            </a:pathLst>
          </a:custGeom>
          <a:solidFill>
            <a:srgbClr val="EEF2F5"/>
          </a:solidFill>
          <a:ln w="11643" cap="flat">
            <a:noFill/>
            <a:prstDash val="solid"/>
            <a:miter/>
          </a:ln>
        </p:spPr>
        <p:txBody>
          <a:bodyPr rtlCol="0" anchor="ctr"/>
          <a:lstStyle/>
          <a:p>
            <a:pPr rtl="0"/>
            <a:endParaRPr lang="en-US"/>
          </a:p>
        </p:txBody>
      </p:sp>
      <p:sp>
        <p:nvSpPr>
          <p:cNvPr id="129" name="Freihandform: Form 128">
            <a:extLst>
              <a:ext uri="{FF2B5EF4-FFF2-40B4-BE49-F238E27FC236}">
                <a16:creationId xmlns:a16="http://schemas.microsoft.com/office/drawing/2014/main" id="{2A2E02AC-BFFD-44C8-869B-053E6C74FD2B}"/>
              </a:ext>
            </a:extLst>
          </p:cNvPr>
          <p:cNvSpPr/>
          <p:nvPr/>
        </p:nvSpPr>
        <p:spPr>
          <a:xfrm>
            <a:off x="8721892" y="4486719"/>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4872"/>
                </a:lnTo>
                <a:close/>
              </a:path>
            </a:pathLst>
          </a:custGeom>
          <a:solidFill>
            <a:srgbClr val="EEF2F5"/>
          </a:solidFill>
          <a:ln w="11643" cap="flat">
            <a:noFill/>
            <a:prstDash val="solid"/>
            <a:miter/>
          </a:ln>
        </p:spPr>
        <p:txBody>
          <a:bodyPr rtlCol="0" anchor="ctr"/>
          <a:lstStyle/>
          <a:p>
            <a:pPr rtl="0"/>
            <a:endParaRPr lang="en-US"/>
          </a:p>
        </p:txBody>
      </p:sp>
      <p:sp>
        <p:nvSpPr>
          <p:cNvPr id="146" name="Freihandform: Form 145">
            <a:extLst>
              <a:ext uri="{FF2B5EF4-FFF2-40B4-BE49-F238E27FC236}">
                <a16:creationId xmlns:a16="http://schemas.microsoft.com/office/drawing/2014/main" id="{05AC39C3-CD17-42BE-BFB8-C8A94809F9BF}"/>
              </a:ext>
            </a:extLst>
          </p:cNvPr>
          <p:cNvSpPr/>
          <p:nvPr/>
        </p:nvSpPr>
        <p:spPr>
          <a:xfrm>
            <a:off x="8721892" y="4842120"/>
            <a:ext cx="198092" cy="214405"/>
          </a:xfrm>
          <a:custGeom>
            <a:avLst/>
            <a:gdLst>
              <a:gd name="connsiteX0" fmla="*/ 90889 w 198092"/>
              <a:gd name="connsiteY0" fmla="*/ 214406 h 214405"/>
              <a:gd name="connsiteX1" fmla="*/ 0 w 198092"/>
              <a:gd name="connsiteY1" fmla="*/ 214406 h 214405"/>
              <a:gd name="connsiteX2" fmla="*/ 106037 w 198092"/>
              <a:gd name="connsiteY2" fmla="*/ 107203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7203"/>
                </a:lnTo>
                <a:lnTo>
                  <a:pt x="0" y="0"/>
                </a:lnTo>
                <a:lnTo>
                  <a:pt x="92055" y="0"/>
                </a:lnTo>
                <a:lnTo>
                  <a:pt x="198092" y="104872"/>
                </a:lnTo>
                <a:close/>
              </a:path>
            </a:pathLst>
          </a:custGeom>
          <a:solidFill>
            <a:srgbClr val="EEF2F5"/>
          </a:solidFill>
          <a:ln w="11643" cap="flat">
            <a:noFill/>
            <a:prstDash val="solid"/>
            <a:miter/>
          </a:ln>
        </p:spPr>
        <p:txBody>
          <a:bodyPr rtlCol="0" anchor="ctr"/>
          <a:lstStyle/>
          <a:p>
            <a:pPr rtl="0"/>
            <a:endParaRPr lang="en-US"/>
          </a:p>
        </p:txBody>
      </p:sp>
      <p:sp>
        <p:nvSpPr>
          <p:cNvPr id="163" name="Freihandform: Form 162">
            <a:extLst>
              <a:ext uri="{FF2B5EF4-FFF2-40B4-BE49-F238E27FC236}">
                <a16:creationId xmlns:a16="http://schemas.microsoft.com/office/drawing/2014/main" id="{88E84DF2-6EB7-427E-A4CB-C71E9DB80B42}"/>
              </a:ext>
            </a:extLst>
          </p:cNvPr>
          <p:cNvSpPr/>
          <p:nvPr/>
        </p:nvSpPr>
        <p:spPr>
          <a:xfrm>
            <a:off x="8721892" y="5196355"/>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6038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6038"/>
                </a:lnTo>
                <a:close/>
              </a:path>
            </a:pathLst>
          </a:custGeom>
          <a:solidFill>
            <a:srgbClr val="EEF2F5"/>
          </a:solidFill>
          <a:ln w="11643" cap="flat">
            <a:noFill/>
            <a:prstDash val="solid"/>
            <a:miter/>
          </a:ln>
        </p:spPr>
        <p:txBody>
          <a:bodyPr rtlCol="0" anchor="ctr"/>
          <a:lstStyle/>
          <a:p>
            <a:pPr rtl="0"/>
            <a:endParaRPr lang="en-US"/>
          </a:p>
        </p:txBody>
      </p:sp>
      <p:sp>
        <p:nvSpPr>
          <p:cNvPr id="180" name="Freihandform: Form 179">
            <a:extLst>
              <a:ext uri="{FF2B5EF4-FFF2-40B4-BE49-F238E27FC236}">
                <a16:creationId xmlns:a16="http://schemas.microsoft.com/office/drawing/2014/main" id="{73606A8C-ADFE-479C-B34E-C91AE8F14BDF}"/>
              </a:ext>
            </a:extLst>
          </p:cNvPr>
          <p:cNvSpPr/>
          <p:nvPr/>
        </p:nvSpPr>
        <p:spPr>
          <a:xfrm>
            <a:off x="8721892" y="5551755"/>
            <a:ext cx="198092" cy="214405"/>
          </a:xfrm>
          <a:custGeom>
            <a:avLst/>
            <a:gdLst>
              <a:gd name="connsiteX0" fmla="*/ 90889 w 198092"/>
              <a:gd name="connsiteY0" fmla="*/ 214406 h 214405"/>
              <a:gd name="connsiteX1" fmla="*/ 0 w 198092"/>
              <a:gd name="connsiteY1" fmla="*/ 214406 h 214405"/>
              <a:gd name="connsiteX2" fmla="*/ 106037 w 198092"/>
              <a:gd name="connsiteY2" fmla="*/ 107203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7203"/>
                </a:lnTo>
                <a:lnTo>
                  <a:pt x="0" y="0"/>
                </a:lnTo>
                <a:lnTo>
                  <a:pt x="92055" y="0"/>
                </a:lnTo>
                <a:lnTo>
                  <a:pt x="198092" y="104872"/>
                </a:lnTo>
                <a:close/>
              </a:path>
            </a:pathLst>
          </a:custGeom>
          <a:solidFill>
            <a:srgbClr val="EEF2F5"/>
          </a:solidFill>
          <a:ln w="11643" cap="flat">
            <a:noFill/>
            <a:prstDash val="solid"/>
            <a:miter/>
          </a:ln>
        </p:spPr>
        <p:txBody>
          <a:bodyPr rtlCol="0" anchor="ctr"/>
          <a:lstStyle/>
          <a:p>
            <a:pPr rtl="0"/>
            <a:endParaRPr lang="en-US"/>
          </a:p>
        </p:txBody>
      </p:sp>
      <p:sp>
        <p:nvSpPr>
          <p:cNvPr id="197" name="Freihandform: Form 196">
            <a:extLst>
              <a:ext uri="{FF2B5EF4-FFF2-40B4-BE49-F238E27FC236}">
                <a16:creationId xmlns:a16="http://schemas.microsoft.com/office/drawing/2014/main" id="{FC296AC6-E750-4BE9-BDD1-981A05C08FF5}"/>
              </a:ext>
            </a:extLst>
          </p:cNvPr>
          <p:cNvSpPr/>
          <p:nvPr/>
        </p:nvSpPr>
        <p:spPr>
          <a:xfrm>
            <a:off x="8721892" y="5905991"/>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6038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6038"/>
                </a:lnTo>
                <a:close/>
              </a:path>
            </a:pathLst>
          </a:custGeom>
          <a:solidFill>
            <a:srgbClr val="EEF2F5"/>
          </a:solidFill>
          <a:ln w="11643" cap="flat">
            <a:noFill/>
            <a:prstDash val="solid"/>
            <a:miter/>
          </a:ln>
        </p:spPr>
        <p:txBody>
          <a:bodyPr rtlCol="0" anchor="ctr"/>
          <a:lstStyle/>
          <a:p>
            <a:pPr rtl="0"/>
            <a:endParaRPr lang="en-US"/>
          </a:p>
        </p:txBody>
      </p:sp>
      <p:sp>
        <p:nvSpPr>
          <p:cNvPr id="214" name="Freihandform: Form 213">
            <a:extLst>
              <a:ext uri="{FF2B5EF4-FFF2-40B4-BE49-F238E27FC236}">
                <a16:creationId xmlns:a16="http://schemas.microsoft.com/office/drawing/2014/main" id="{C03E7333-2F83-4C83-832A-36CD5A0C1B61}"/>
              </a:ext>
            </a:extLst>
          </p:cNvPr>
          <p:cNvSpPr/>
          <p:nvPr/>
        </p:nvSpPr>
        <p:spPr>
          <a:xfrm>
            <a:off x="8721892" y="6261391"/>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4872"/>
                </a:lnTo>
                <a:close/>
              </a:path>
            </a:pathLst>
          </a:custGeom>
          <a:solidFill>
            <a:srgbClr val="EEF2F5"/>
          </a:solidFill>
          <a:ln w="11643" cap="flat">
            <a:noFill/>
            <a:prstDash val="solid"/>
            <a:miter/>
          </a:ln>
        </p:spPr>
        <p:txBody>
          <a:bodyPr rtlCol="0" anchor="ctr"/>
          <a:lstStyle/>
          <a:p>
            <a:pPr rtl="0"/>
            <a:endParaRPr lang="en-US"/>
          </a:p>
        </p:txBody>
      </p:sp>
      <p:sp>
        <p:nvSpPr>
          <p:cNvPr id="230" name="Freihandform: Form 229">
            <a:extLst>
              <a:ext uri="{FF2B5EF4-FFF2-40B4-BE49-F238E27FC236}">
                <a16:creationId xmlns:a16="http://schemas.microsoft.com/office/drawing/2014/main" id="{83AA4FB9-F340-4ECE-A8B5-BF0225383456}"/>
              </a:ext>
            </a:extLst>
          </p:cNvPr>
          <p:cNvSpPr/>
          <p:nvPr/>
        </p:nvSpPr>
        <p:spPr>
          <a:xfrm>
            <a:off x="8721892" y="6615627"/>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6037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6037"/>
                </a:lnTo>
                <a:close/>
              </a:path>
            </a:pathLst>
          </a:custGeom>
          <a:solidFill>
            <a:srgbClr val="EEF2F5"/>
          </a:solidFill>
          <a:ln w="11643" cap="flat">
            <a:noFill/>
            <a:prstDash val="solid"/>
            <a:miter/>
          </a:ln>
        </p:spPr>
        <p:txBody>
          <a:bodyPr rtlCol="0" anchor="ctr"/>
          <a:lstStyle/>
          <a:p>
            <a:pPr rtl="0"/>
            <a:endParaRPr lang="en-US"/>
          </a:p>
        </p:txBody>
      </p:sp>
      <p:sp>
        <p:nvSpPr>
          <p:cNvPr id="19" name="Freihandform: Form 18">
            <a:extLst>
              <a:ext uri="{FF2B5EF4-FFF2-40B4-BE49-F238E27FC236}">
                <a16:creationId xmlns:a16="http://schemas.microsoft.com/office/drawing/2014/main" id="{9DB76664-FCBB-4E4F-B5E6-C249AA6B44D0}"/>
              </a:ext>
            </a:extLst>
          </p:cNvPr>
          <p:cNvSpPr/>
          <p:nvPr/>
        </p:nvSpPr>
        <p:spPr>
          <a:xfrm>
            <a:off x="9069136" y="1994253"/>
            <a:ext cx="214405" cy="231884"/>
          </a:xfrm>
          <a:custGeom>
            <a:avLst/>
            <a:gdLst>
              <a:gd name="connsiteX0" fmla="*/ 97881 w 214405"/>
              <a:gd name="connsiteY0" fmla="*/ 231884 h 231884"/>
              <a:gd name="connsiteX1" fmla="*/ 0 w 214405"/>
              <a:gd name="connsiteY1" fmla="*/ 231884 h 231884"/>
              <a:gd name="connsiteX2" fmla="*/ 114194 w 214405"/>
              <a:gd name="connsiteY2" fmla="*/ 116525 h 231884"/>
              <a:gd name="connsiteX3" fmla="*/ 0 w 214405"/>
              <a:gd name="connsiteY3" fmla="*/ 0 h 231884"/>
              <a:gd name="connsiteX4" fmla="*/ 100211 w 214405"/>
              <a:gd name="connsiteY4" fmla="*/ 0 h 231884"/>
              <a:gd name="connsiteX5" fmla="*/ 214406 w 214405"/>
              <a:gd name="connsiteY5" fmla="*/ 114194 h 23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1884">
                <a:moveTo>
                  <a:pt x="97881" y="231884"/>
                </a:moveTo>
                <a:lnTo>
                  <a:pt x="0" y="231884"/>
                </a:lnTo>
                <a:lnTo>
                  <a:pt x="114194" y="116525"/>
                </a:lnTo>
                <a:lnTo>
                  <a:pt x="0" y="0"/>
                </a:lnTo>
                <a:lnTo>
                  <a:pt x="100211" y="0"/>
                </a:lnTo>
                <a:lnTo>
                  <a:pt x="214406" y="114194"/>
                </a:lnTo>
                <a:close/>
              </a:path>
            </a:pathLst>
          </a:custGeom>
          <a:solidFill>
            <a:srgbClr val="EEF2F5"/>
          </a:solidFill>
          <a:ln w="11643" cap="flat">
            <a:noFill/>
            <a:prstDash val="solid"/>
            <a:miter/>
          </a:ln>
        </p:spPr>
        <p:txBody>
          <a:bodyPr rtlCol="0" anchor="ctr"/>
          <a:lstStyle/>
          <a:p>
            <a:pPr rtl="0"/>
            <a:endParaRPr lang="en-US"/>
          </a:p>
        </p:txBody>
      </p:sp>
      <p:sp>
        <p:nvSpPr>
          <p:cNvPr id="34" name="Freihandform: Form 33">
            <a:extLst>
              <a:ext uri="{FF2B5EF4-FFF2-40B4-BE49-F238E27FC236}">
                <a16:creationId xmlns:a16="http://schemas.microsoft.com/office/drawing/2014/main" id="{1C9E837E-20C0-4E65-AB7F-E12A38184389}"/>
              </a:ext>
            </a:extLst>
          </p:cNvPr>
          <p:cNvSpPr/>
          <p:nvPr/>
        </p:nvSpPr>
        <p:spPr>
          <a:xfrm>
            <a:off x="9069136" y="2348489"/>
            <a:ext cx="214405" cy="233049"/>
          </a:xfrm>
          <a:custGeom>
            <a:avLst/>
            <a:gdLst>
              <a:gd name="connsiteX0" fmla="*/ 97881 w 214405"/>
              <a:gd name="connsiteY0" fmla="*/ 233050 h 233049"/>
              <a:gd name="connsiteX1" fmla="*/ 0 w 214405"/>
              <a:gd name="connsiteY1" fmla="*/ 233050 h 233049"/>
              <a:gd name="connsiteX2" fmla="*/ 114194 w 214405"/>
              <a:gd name="connsiteY2" fmla="*/ 117690 h 233049"/>
              <a:gd name="connsiteX3" fmla="*/ 0 w 214405"/>
              <a:gd name="connsiteY3" fmla="*/ 0 h 233049"/>
              <a:gd name="connsiteX4" fmla="*/ 100211 w 214405"/>
              <a:gd name="connsiteY4" fmla="*/ 0 h 233049"/>
              <a:gd name="connsiteX5" fmla="*/ 214406 w 214405"/>
              <a:gd name="connsiteY5" fmla="*/ 114194 h 23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3047">
                <a:moveTo>
                  <a:pt x="97881" y="233050"/>
                </a:moveTo>
                <a:lnTo>
                  <a:pt x="0" y="233050"/>
                </a:lnTo>
                <a:lnTo>
                  <a:pt x="114194" y="117690"/>
                </a:lnTo>
                <a:lnTo>
                  <a:pt x="0" y="0"/>
                </a:lnTo>
                <a:lnTo>
                  <a:pt x="100211" y="0"/>
                </a:lnTo>
                <a:lnTo>
                  <a:pt x="214406" y="114194"/>
                </a:lnTo>
                <a:close/>
              </a:path>
            </a:pathLst>
          </a:custGeom>
          <a:solidFill>
            <a:srgbClr val="EEF2F5"/>
          </a:solidFill>
          <a:ln w="11643" cap="flat">
            <a:noFill/>
            <a:prstDash val="solid"/>
            <a:miter/>
          </a:ln>
        </p:spPr>
        <p:txBody>
          <a:bodyPr rtlCol="0" anchor="ctr"/>
          <a:lstStyle/>
          <a:p>
            <a:pPr rtl="0"/>
            <a:endParaRPr lang="en-US"/>
          </a:p>
        </p:txBody>
      </p:sp>
      <p:sp>
        <p:nvSpPr>
          <p:cNvPr id="50" name="Freihandform: Form 49">
            <a:extLst>
              <a:ext uri="{FF2B5EF4-FFF2-40B4-BE49-F238E27FC236}">
                <a16:creationId xmlns:a16="http://schemas.microsoft.com/office/drawing/2014/main" id="{8113F30E-6E8E-4B5D-82C9-BD00E85422E7}"/>
              </a:ext>
            </a:extLst>
          </p:cNvPr>
          <p:cNvSpPr/>
          <p:nvPr/>
        </p:nvSpPr>
        <p:spPr>
          <a:xfrm>
            <a:off x="9069136" y="2703889"/>
            <a:ext cx="214405" cy="231884"/>
          </a:xfrm>
          <a:custGeom>
            <a:avLst/>
            <a:gdLst>
              <a:gd name="connsiteX0" fmla="*/ 97881 w 214405"/>
              <a:gd name="connsiteY0" fmla="*/ 231884 h 231884"/>
              <a:gd name="connsiteX1" fmla="*/ 0 w 214405"/>
              <a:gd name="connsiteY1" fmla="*/ 231884 h 231884"/>
              <a:gd name="connsiteX2" fmla="*/ 114194 w 214405"/>
              <a:gd name="connsiteY2" fmla="*/ 116525 h 231884"/>
              <a:gd name="connsiteX3" fmla="*/ 0 w 214405"/>
              <a:gd name="connsiteY3" fmla="*/ 0 h 231884"/>
              <a:gd name="connsiteX4" fmla="*/ 100211 w 214405"/>
              <a:gd name="connsiteY4" fmla="*/ 0 h 231884"/>
              <a:gd name="connsiteX5" fmla="*/ 214406 w 214405"/>
              <a:gd name="connsiteY5" fmla="*/ 114194 h 23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1884">
                <a:moveTo>
                  <a:pt x="97881" y="231884"/>
                </a:moveTo>
                <a:lnTo>
                  <a:pt x="0" y="231884"/>
                </a:lnTo>
                <a:lnTo>
                  <a:pt x="114194" y="116525"/>
                </a:lnTo>
                <a:lnTo>
                  <a:pt x="0" y="0"/>
                </a:lnTo>
                <a:lnTo>
                  <a:pt x="100211" y="0"/>
                </a:lnTo>
                <a:lnTo>
                  <a:pt x="214406" y="114194"/>
                </a:lnTo>
                <a:close/>
              </a:path>
            </a:pathLst>
          </a:custGeom>
          <a:solidFill>
            <a:srgbClr val="EEF2F5"/>
          </a:solidFill>
          <a:ln w="11643" cap="flat">
            <a:noFill/>
            <a:prstDash val="solid"/>
            <a:miter/>
          </a:ln>
        </p:spPr>
        <p:txBody>
          <a:bodyPr rtlCol="0" anchor="ctr"/>
          <a:lstStyle/>
          <a:p>
            <a:pPr rtl="0"/>
            <a:endParaRPr lang="en-US"/>
          </a:p>
        </p:txBody>
      </p:sp>
      <p:sp>
        <p:nvSpPr>
          <p:cNvPr id="66" name="Freihandform: Form 65">
            <a:extLst>
              <a:ext uri="{FF2B5EF4-FFF2-40B4-BE49-F238E27FC236}">
                <a16:creationId xmlns:a16="http://schemas.microsoft.com/office/drawing/2014/main" id="{83CF9041-D1BF-47E7-A660-B0728CA7416C}"/>
              </a:ext>
            </a:extLst>
          </p:cNvPr>
          <p:cNvSpPr/>
          <p:nvPr/>
        </p:nvSpPr>
        <p:spPr>
          <a:xfrm>
            <a:off x="9069136" y="3058125"/>
            <a:ext cx="214405" cy="233049"/>
          </a:xfrm>
          <a:custGeom>
            <a:avLst/>
            <a:gdLst>
              <a:gd name="connsiteX0" fmla="*/ 97881 w 214405"/>
              <a:gd name="connsiteY0" fmla="*/ 233050 h 233049"/>
              <a:gd name="connsiteX1" fmla="*/ 0 w 214405"/>
              <a:gd name="connsiteY1" fmla="*/ 233050 h 233049"/>
              <a:gd name="connsiteX2" fmla="*/ 114194 w 214405"/>
              <a:gd name="connsiteY2" fmla="*/ 117690 h 233049"/>
              <a:gd name="connsiteX3" fmla="*/ 0 w 214405"/>
              <a:gd name="connsiteY3" fmla="*/ 0 h 233049"/>
              <a:gd name="connsiteX4" fmla="*/ 100211 w 214405"/>
              <a:gd name="connsiteY4" fmla="*/ 0 h 233049"/>
              <a:gd name="connsiteX5" fmla="*/ 214406 w 214405"/>
              <a:gd name="connsiteY5" fmla="*/ 114194 h 23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3047">
                <a:moveTo>
                  <a:pt x="97881" y="233050"/>
                </a:moveTo>
                <a:lnTo>
                  <a:pt x="0" y="233050"/>
                </a:lnTo>
                <a:lnTo>
                  <a:pt x="114194" y="117690"/>
                </a:lnTo>
                <a:lnTo>
                  <a:pt x="0" y="0"/>
                </a:lnTo>
                <a:lnTo>
                  <a:pt x="100211" y="0"/>
                </a:lnTo>
                <a:lnTo>
                  <a:pt x="214406" y="114194"/>
                </a:lnTo>
                <a:close/>
              </a:path>
            </a:pathLst>
          </a:custGeom>
          <a:solidFill>
            <a:srgbClr val="EEF2F5"/>
          </a:solidFill>
          <a:ln w="11643" cap="flat">
            <a:noFill/>
            <a:prstDash val="solid"/>
            <a:miter/>
          </a:ln>
        </p:spPr>
        <p:txBody>
          <a:bodyPr rtlCol="0" anchor="ctr"/>
          <a:lstStyle/>
          <a:p>
            <a:pPr rtl="0"/>
            <a:endParaRPr lang="en-US"/>
          </a:p>
        </p:txBody>
      </p:sp>
      <p:sp>
        <p:nvSpPr>
          <p:cNvPr id="82" name="Freihandform: Form 81">
            <a:extLst>
              <a:ext uri="{FF2B5EF4-FFF2-40B4-BE49-F238E27FC236}">
                <a16:creationId xmlns:a16="http://schemas.microsoft.com/office/drawing/2014/main" id="{5E3A187E-D2FD-43A2-AA3C-854C35701E6E}"/>
              </a:ext>
            </a:extLst>
          </p:cNvPr>
          <p:cNvSpPr/>
          <p:nvPr/>
        </p:nvSpPr>
        <p:spPr>
          <a:xfrm>
            <a:off x="9069136" y="3413526"/>
            <a:ext cx="214405" cy="231884"/>
          </a:xfrm>
          <a:custGeom>
            <a:avLst/>
            <a:gdLst>
              <a:gd name="connsiteX0" fmla="*/ 97881 w 214405"/>
              <a:gd name="connsiteY0" fmla="*/ 231884 h 231884"/>
              <a:gd name="connsiteX1" fmla="*/ 0 w 214405"/>
              <a:gd name="connsiteY1" fmla="*/ 231884 h 231884"/>
              <a:gd name="connsiteX2" fmla="*/ 114194 w 214405"/>
              <a:gd name="connsiteY2" fmla="*/ 116525 h 231884"/>
              <a:gd name="connsiteX3" fmla="*/ 0 w 214405"/>
              <a:gd name="connsiteY3" fmla="*/ 0 h 231884"/>
              <a:gd name="connsiteX4" fmla="*/ 100211 w 214405"/>
              <a:gd name="connsiteY4" fmla="*/ 0 h 231884"/>
              <a:gd name="connsiteX5" fmla="*/ 214406 w 214405"/>
              <a:gd name="connsiteY5" fmla="*/ 114194 h 23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1884">
                <a:moveTo>
                  <a:pt x="97881" y="231884"/>
                </a:moveTo>
                <a:lnTo>
                  <a:pt x="0" y="231884"/>
                </a:lnTo>
                <a:lnTo>
                  <a:pt x="114194" y="116525"/>
                </a:lnTo>
                <a:lnTo>
                  <a:pt x="0" y="0"/>
                </a:lnTo>
                <a:lnTo>
                  <a:pt x="100211" y="0"/>
                </a:lnTo>
                <a:lnTo>
                  <a:pt x="214406" y="114194"/>
                </a:lnTo>
                <a:close/>
              </a:path>
            </a:pathLst>
          </a:custGeom>
          <a:solidFill>
            <a:srgbClr val="EEF2F5"/>
          </a:solidFill>
          <a:ln w="11643" cap="flat">
            <a:noFill/>
            <a:prstDash val="solid"/>
            <a:miter/>
          </a:ln>
        </p:spPr>
        <p:txBody>
          <a:bodyPr rtlCol="0" anchor="ctr"/>
          <a:lstStyle/>
          <a:p>
            <a:pPr rtl="0"/>
            <a:endParaRPr lang="en-US"/>
          </a:p>
        </p:txBody>
      </p:sp>
      <p:sp>
        <p:nvSpPr>
          <p:cNvPr id="98" name="Freihandform: Form 97">
            <a:extLst>
              <a:ext uri="{FF2B5EF4-FFF2-40B4-BE49-F238E27FC236}">
                <a16:creationId xmlns:a16="http://schemas.microsoft.com/office/drawing/2014/main" id="{D3A81AAA-9E9E-4B15-AAC7-1E1DC2995BB7}"/>
              </a:ext>
            </a:extLst>
          </p:cNvPr>
          <p:cNvSpPr/>
          <p:nvPr/>
        </p:nvSpPr>
        <p:spPr>
          <a:xfrm>
            <a:off x="9069136" y="3767761"/>
            <a:ext cx="214405" cy="233049"/>
          </a:xfrm>
          <a:custGeom>
            <a:avLst/>
            <a:gdLst>
              <a:gd name="connsiteX0" fmla="*/ 97881 w 214405"/>
              <a:gd name="connsiteY0" fmla="*/ 233050 h 233049"/>
              <a:gd name="connsiteX1" fmla="*/ 0 w 214405"/>
              <a:gd name="connsiteY1" fmla="*/ 233050 h 233049"/>
              <a:gd name="connsiteX2" fmla="*/ 114194 w 214405"/>
              <a:gd name="connsiteY2" fmla="*/ 117690 h 233049"/>
              <a:gd name="connsiteX3" fmla="*/ 0 w 214405"/>
              <a:gd name="connsiteY3" fmla="*/ 0 h 233049"/>
              <a:gd name="connsiteX4" fmla="*/ 100211 w 214405"/>
              <a:gd name="connsiteY4" fmla="*/ 0 h 233049"/>
              <a:gd name="connsiteX5" fmla="*/ 214406 w 214405"/>
              <a:gd name="connsiteY5" fmla="*/ 114194 h 23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3047">
                <a:moveTo>
                  <a:pt x="97881" y="233050"/>
                </a:moveTo>
                <a:lnTo>
                  <a:pt x="0" y="233050"/>
                </a:lnTo>
                <a:lnTo>
                  <a:pt x="114194" y="117690"/>
                </a:lnTo>
                <a:lnTo>
                  <a:pt x="0" y="0"/>
                </a:lnTo>
                <a:lnTo>
                  <a:pt x="100211" y="0"/>
                </a:lnTo>
                <a:lnTo>
                  <a:pt x="214406" y="114194"/>
                </a:lnTo>
                <a:close/>
              </a:path>
            </a:pathLst>
          </a:custGeom>
          <a:solidFill>
            <a:srgbClr val="EEF2F5"/>
          </a:solidFill>
          <a:ln w="11643" cap="flat">
            <a:noFill/>
            <a:prstDash val="solid"/>
            <a:miter/>
          </a:ln>
        </p:spPr>
        <p:txBody>
          <a:bodyPr rtlCol="0" anchor="ctr"/>
          <a:lstStyle/>
          <a:p>
            <a:pPr rtl="0"/>
            <a:endParaRPr lang="en-US"/>
          </a:p>
        </p:txBody>
      </p:sp>
      <p:sp>
        <p:nvSpPr>
          <p:cNvPr id="114" name="Freihandform: Form 113">
            <a:extLst>
              <a:ext uri="{FF2B5EF4-FFF2-40B4-BE49-F238E27FC236}">
                <a16:creationId xmlns:a16="http://schemas.microsoft.com/office/drawing/2014/main" id="{D7414768-9244-413F-B790-A52513170C11}"/>
              </a:ext>
            </a:extLst>
          </p:cNvPr>
          <p:cNvSpPr/>
          <p:nvPr/>
        </p:nvSpPr>
        <p:spPr>
          <a:xfrm>
            <a:off x="9069136" y="4123162"/>
            <a:ext cx="214405" cy="231884"/>
          </a:xfrm>
          <a:custGeom>
            <a:avLst/>
            <a:gdLst>
              <a:gd name="connsiteX0" fmla="*/ 97881 w 214405"/>
              <a:gd name="connsiteY0" fmla="*/ 231884 h 231884"/>
              <a:gd name="connsiteX1" fmla="*/ 0 w 214405"/>
              <a:gd name="connsiteY1" fmla="*/ 231884 h 231884"/>
              <a:gd name="connsiteX2" fmla="*/ 114194 w 214405"/>
              <a:gd name="connsiteY2" fmla="*/ 116525 h 231884"/>
              <a:gd name="connsiteX3" fmla="*/ 0 w 214405"/>
              <a:gd name="connsiteY3" fmla="*/ 0 h 231884"/>
              <a:gd name="connsiteX4" fmla="*/ 100211 w 214405"/>
              <a:gd name="connsiteY4" fmla="*/ 0 h 231884"/>
              <a:gd name="connsiteX5" fmla="*/ 214406 w 214405"/>
              <a:gd name="connsiteY5" fmla="*/ 114194 h 23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1884">
                <a:moveTo>
                  <a:pt x="97881" y="231884"/>
                </a:moveTo>
                <a:lnTo>
                  <a:pt x="0" y="231884"/>
                </a:lnTo>
                <a:lnTo>
                  <a:pt x="114194" y="116525"/>
                </a:lnTo>
                <a:lnTo>
                  <a:pt x="0" y="0"/>
                </a:lnTo>
                <a:lnTo>
                  <a:pt x="100211" y="0"/>
                </a:lnTo>
                <a:lnTo>
                  <a:pt x="214406" y="114194"/>
                </a:lnTo>
                <a:close/>
              </a:path>
            </a:pathLst>
          </a:custGeom>
          <a:solidFill>
            <a:srgbClr val="EEF2F5"/>
          </a:solidFill>
          <a:ln w="11643" cap="flat">
            <a:noFill/>
            <a:prstDash val="solid"/>
            <a:miter/>
          </a:ln>
        </p:spPr>
        <p:txBody>
          <a:bodyPr rtlCol="0" anchor="ctr"/>
          <a:lstStyle/>
          <a:p>
            <a:pPr rtl="0"/>
            <a:endParaRPr lang="en-US"/>
          </a:p>
        </p:txBody>
      </p:sp>
      <p:sp>
        <p:nvSpPr>
          <p:cNvPr id="130" name="Freihandform: Form 129">
            <a:extLst>
              <a:ext uri="{FF2B5EF4-FFF2-40B4-BE49-F238E27FC236}">
                <a16:creationId xmlns:a16="http://schemas.microsoft.com/office/drawing/2014/main" id="{401AC1C2-779B-43DF-BA19-77977887DF48}"/>
              </a:ext>
            </a:extLst>
          </p:cNvPr>
          <p:cNvSpPr/>
          <p:nvPr/>
        </p:nvSpPr>
        <p:spPr>
          <a:xfrm>
            <a:off x="9069136" y="4477397"/>
            <a:ext cx="214405" cy="233049"/>
          </a:xfrm>
          <a:custGeom>
            <a:avLst/>
            <a:gdLst>
              <a:gd name="connsiteX0" fmla="*/ 97881 w 214405"/>
              <a:gd name="connsiteY0" fmla="*/ 233050 h 233049"/>
              <a:gd name="connsiteX1" fmla="*/ 0 w 214405"/>
              <a:gd name="connsiteY1" fmla="*/ 233050 h 233049"/>
              <a:gd name="connsiteX2" fmla="*/ 114194 w 214405"/>
              <a:gd name="connsiteY2" fmla="*/ 117690 h 233049"/>
              <a:gd name="connsiteX3" fmla="*/ 0 w 214405"/>
              <a:gd name="connsiteY3" fmla="*/ 0 h 233049"/>
              <a:gd name="connsiteX4" fmla="*/ 100211 w 214405"/>
              <a:gd name="connsiteY4" fmla="*/ 0 h 233049"/>
              <a:gd name="connsiteX5" fmla="*/ 214406 w 214405"/>
              <a:gd name="connsiteY5" fmla="*/ 114194 h 23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3047">
                <a:moveTo>
                  <a:pt x="97881" y="233050"/>
                </a:moveTo>
                <a:lnTo>
                  <a:pt x="0" y="233050"/>
                </a:lnTo>
                <a:lnTo>
                  <a:pt x="114194" y="117690"/>
                </a:lnTo>
                <a:lnTo>
                  <a:pt x="0" y="0"/>
                </a:lnTo>
                <a:lnTo>
                  <a:pt x="100211" y="0"/>
                </a:lnTo>
                <a:lnTo>
                  <a:pt x="214406" y="114194"/>
                </a:lnTo>
                <a:close/>
              </a:path>
            </a:pathLst>
          </a:custGeom>
          <a:solidFill>
            <a:srgbClr val="EEF2F5"/>
          </a:solidFill>
          <a:ln w="11643" cap="flat">
            <a:noFill/>
            <a:prstDash val="solid"/>
            <a:miter/>
          </a:ln>
        </p:spPr>
        <p:txBody>
          <a:bodyPr rtlCol="0" anchor="ctr"/>
          <a:lstStyle/>
          <a:p>
            <a:pPr rtl="0"/>
            <a:endParaRPr lang="en-US"/>
          </a:p>
        </p:txBody>
      </p:sp>
      <p:sp>
        <p:nvSpPr>
          <p:cNvPr id="147" name="Freihandform: Form 146">
            <a:extLst>
              <a:ext uri="{FF2B5EF4-FFF2-40B4-BE49-F238E27FC236}">
                <a16:creationId xmlns:a16="http://schemas.microsoft.com/office/drawing/2014/main" id="{828616FB-ED5E-4EBB-AE8B-F4FB143D7DA7}"/>
              </a:ext>
            </a:extLst>
          </p:cNvPr>
          <p:cNvSpPr/>
          <p:nvPr/>
        </p:nvSpPr>
        <p:spPr>
          <a:xfrm>
            <a:off x="9069136" y="4832797"/>
            <a:ext cx="214405" cy="231884"/>
          </a:xfrm>
          <a:custGeom>
            <a:avLst/>
            <a:gdLst>
              <a:gd name="connsiteX0" fmla="*/ 97881 w 214405"/>
              <a:gd name="connsiteY0" fmla="*/ 231884 h 231884"/>
              <a:gd name="connsiteX1" fmla="*/ 0 w 214405"/>
              <a:gd name="connsiteY1" fmla="*/ 231884 h 231884"/>
              <a:gd name="connsiteX2" fmla="*/ 114194 w 214405"/>
              <a:gd name="connsiteY2" fmla="*/ 116525 h 231884"/>
              <a:gd name="connsiteX3" fmla="*/ 0 w 214405"/>
              <a:gd name="connsiteY3" fmla="*/ 0 h 231884"/>
              <a:gd name="connsiteX4" fmla="*/ 100211 w 214405"/>
              <a:gd name="connsiteY4" fmla="*/ 0 h 231884"/>
              <a:gd name="connsiteX5" fmla="*/ 214406 w 214405"/>
              <a:gd name="connsiteY5" fmla="*/ 114194 h 23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1884">
                <a:moveTo>
                  <a:pt x="97881" y="231884"/>
                </a:moveTo>
                <a:lnTo>
                  <a:pt x="0" y="231884"/>
                </a:lnTo>
                <a:lnTo>
                  <a:pt x="114194" y="116525"/>
                </a:lnTo>
                <a:lnTo>
                  <a:pt x="0" y="0"/>
                </a:lnTo>
                <a:lnTo>
                  <a:pt x="100211" y="0"/>
                </a:lnTo>
                <a:lnTo>
                  <a:pt x="214406" y="114194"/>
                </a:lnTo>
                <a:close/>
              </a:path>
            </a:pathLst>
          </a:custGeom>
          <a:solidFill>
            <a:srgbClr val="EEF2F5"/>
          </a:solidFill>
          <a:ln w="11643" cap="flat">
            <a:noFill/>
            <a:prstDash val="solid"/>
            <a:miter/>
          </a:ln>
        </p:spPr>
        <p:txBody>
          <a:bodyPr rtlCol="0" anchor="ctr"/>
          <a:lstStyle/>
          <a:p>
            <a:pPr rtl="0"/>
            <a:endParaRPr lang="en-US"/>
          </a:p>
        </p:txBody>
      </p:sp>
      <p:sp>
        <p:nvSpPr>
          <p:cNvPr id="164" name="Freihandform: Form 163">
            <a:extLst>
              <a:ext uri="{FF2B5EF4-FFF2-40B4-BE49-F238E27FC236}">
                <a16:creationId xmlns:a16="http://schemas.microsoft.com/office/drawing/2014/main" id="{1552BFC2-885E-488D-9178-E4EF0A480D27}"/>
              </a:ext>
            </a:extLst>
          </p:cNvPr>
          <p:cNvSpPr/>
          <p:nvPr/>
        </p:nvSpPr>
        <p:spPr>
          <a:xfrm>
            <a:off x="9069136" y="5187033"/>
            <a:ext cx="214405" cy="233049"/>
          </a:xfrm>
          <a:custGeom>
            <a:avLst/>
            <a:gdLst>
              <a:gd name="connsiteX0" fmla="*/ 97881 w 214405"/>
              <a:gd name="connsiteY0" fmla="*/ 233050 h 233049"/>
              <a:gd name="connsiteX1" fmla="*/ 0 w 214405"/>
              <a:gd name="connsiteY1" fmla="*/ 233050 h 233049"/>
              <a:gd name="connsiteX2" fmla="*/ 114194 w 214405"/>
              <a:gd name="connsiteY2" fmla="*/ 117690 h 233049"/>
              <a:gd name="connsiteX3" fmla="*/ 0 w 214405"/>
              <a:gd name="connsiteY3" fmla="*/ 0 h 233049"/>
              <a:gd name="connsiteX4" fmla="*/ 100211 w 214405"/>
              <a:gd name="connsiteY4" fmla="*/ 0 h 233049"/>
              <a:gd name="connsiteX5" fmla="*/ 214406 w 214405"/>
              <a:gd name="connsiteY5" fmla="*/ 114194 h 23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3047">
                <a:moveTo>
                  <a:pt x="97881" y="233050"/>
                </a:moveTo>
                <a:lnTo>
                  <a:pt x="0" y="233050"/>
                </a:lnTo>
                <a:lnTo>
                  <a:pt x="114194" y="117690"/>
                </a:lnTo>
                <a:lnTo>
                  <a:pt x="0" y="0"/>
                </a:lnTo>
                <a:lnTo>
                  <a:pt x="100211" y="0"/>
                </a:lnTo>
                <a:lnTo>
                  <a:pt x="214406" y="114194"/>
                </a:lnTo>
                <a:close/>
              </a:path>
            </a:pathLst>
          </a:custGeom>
          <a:solidFill>
            <a:srgbClr val="EEF2F5"/>
          </a:solidFill>
          <a:ln w="11643" cap="flat">
            <a:noFill/>
            <a:prstDash val="solid"/>
            <a:miter/>
          </a:ln>
        </p:spPr>
        <p:txBody>
          <a:bodyPr rtlCol="0" anchor="ctr"/>
          <a:lstStyle/>
          <a:p>
            <a:pPr rtl="0"/>
            <a:endParaRPr lang="en-US"/>
          </a:p>
        </p:txBody>
      </p:sp>
      <p:sp>
        <p:nvSpPr>
          <p:cNvPr id="181" name="Freihandform: Form 180">
            <a:extLst>
              <a:ext uri="{FF2B5EF4-FFF2-40B4-BE49-F238E27FC236}">
                <a16:creationId xmlns:a16="http://schemas.microsoft.com/office/drawing/2014/main" id="{80648966-F9E2-4B5F-ABE6-533E21207054}"/>
              </a:ext>
            </a:extLst>
          </p:cNvPr>
          <p:cNvSpPr/>
          <p:nvPr/>
        </p:nvSpPr>
        <p:spPr>
          <a:xfrm>
            <a:off x="9069136" y="5542434"/>
            <a:ext cx="214405" cy="231884"/>
          </a:xfrm>
          <a:custGeom>
            <a:avLst/>
            <a:gdLst>
              <a:gd name="connsiteX0" fmla="*/ 97881 w 214405"/>
              <a:gd name="connsiteY0" fmla="*/ 231884 h 231884"/>
              <a:gd name="connsiteX1" fmla="*/ 0 w 214405"/>
              <a:gd name="connsiteY1" fmla="*/ 231884 h 231884"/>
              <a:gd name="connsiteX2" fmla="*/ 114194 w 214405"/>
              <a:gd name="connsiteY2" fmla="*/ 117690 h 231884"/>
              <a:gd name="connsiteX3" fmla="*/ 0 w 214405"/>
              <a:gd name="connsiteY3" fmla="*/ 0 h 231884"/>
              <a:gd name="connsiteX4" fmla="*/ 100211 w 214405"/>
              <a:gd name="connsiteY4" fmla="*/ 0 h 231884"/>
              <a:gd name="connsiteX5" fmla="*/ 214406 w 214405"/>
              <a:gd name="connsiteY5" fmla="*/ 114194 h 23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1884">
                <a:moveTo>
                  <a:pt x="97881" y="231884"/>
                </a:moveTo>
                <a:lnTo>
                  <a:pt x="0" y="231884"/>
                </a:lnTo>
                <a:lnTo>
                  <a:pt x="114194" y="117690"/>
                </a:lnTo>
                <a:lnTo>
                  <a:pt x="0" y="0"/>
                </a:lnTo>
                <a:lnTo>
                  <a:pt x="100211" y="0"/>
                </a:lnTo>
                <a:lnTo>
                  <a:pt x="214406" y="114194"/>
                </a:lnTo>
                <a:close/>
              </a:path>
            </a:pathLst>
          </a:custGeom>
          <a:solidFill>
            <a:srgbClr val="EEF2F5"/>
          </a:solidFill>
          <a:ln w="11643" cap="flat">
            <a:noFill/>
            <a:prstDash val="solid"/>
            <a:miter/>
          </a:ln>
        </p:spPr>
        <p:txBody>
          <a:bodyPr rtlCol="0" anchor="ctr"/>
          <a:lstStyle/>
          <a:p>
            <a:pPr rtl="0"/>
            <a:endParaRPr lang="en-US"/>
          </a:p>
        </p:txBody>
      </p:sp>
      <p:sp>
        <p:nvSpPr>
          <p:cNvPr id="198" name="Freihandform: Form 197">
            <a:extLst>
              <a:ext uri="{FF2B5EF4-FFF2-40B4-BE49-F238E27FC236}">
                <a16:creationId xmlns:a16="http://schemas.microsoft.com/office/drawing/2014/main" id="{8C7041C5-0B5B-4AF4-9E5A-19A8C4C12F42}"/>
              </a:ext>
            </a:extLst>
          </p:cNvPr>
          <p:cNvSpPr/>
          <p:nvPr/>
        </p:nvSpPr>
        <p:spPr>
          <a:xfrm>
            <a:off x="9069136" y="5896669"/>
            <a:ext cx="214405" cy="233049"/>
          </a:xfrm>
          <a:custGeom>
            <a:avLst/>
            <a:gdLst>
              <a:gd name="connsiteX0" fmla="*/ 97881 w 214405"/>
              <a:gd name="connsiteY0" fmla="*/ 233050 h 233049"/>
              <a:gd name="connsiteX1" fmla="*/ 0 w 214405"/>
              <a:gd name="connsiteY1" fmla="*/ 233050 h 233049"/>
              <a:gd name="connsiteX2" fmla="*/ 114194 w 214405"/>
              <a:gd name="connsiteY2" fmla="*/ 117690 h 233049"/>
              <a:gd name="connsiteX3" fmla="*/ 0 w 214405"/>
              <a:gd name="connsiteY3" fmla="*/ 0 h 233049"/>
              <a:gd name="connsiteX4" fmla="*/ 100211 w 214405"/>
              <a:gd name="connsiteY4" fmla="*/ 0 h 233049"/>
              <a:gd name="connsiteX5" fmla="*/ 214406 w 214405"/>
              <a:gd name="connsiteY5" fmla="*/ 114194 h 23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3047">
                <a:moveTo>
                  <a:pt x="97881" y="233050"/>
                </a:moveTo>
                <a:lnTo>
                  <a:pt x="0" y="233050"/>
                </a:lnTo>
                <a:lnTo>
                  <a:pt x="114194" y="117690"/>
                </a:lnTo>
                <a:lnTo>
                  <a:pt x="0" y="0"/>
                </a:lnTo>
                <a:lnTo>
                  <a:pt x="100211" y="0"/>
                </a:lnTo>
                <a:lnTo>
                  <a:pt x="214406" y="114194"/>
                </a:lnTo>
                <a:close/>
              </a:path>
            </a:pathLst>
          </a:custGeom>
          <a:solidFill>
            <a:srgbClr val="EEF2F5"/>
          </a:solidFill>
          <a:ln w="11643" cap="flat">
            <a:noFill/>
            <a:prstDash val="solid"/>
            <a:miter/>
          </a:ln>
        </p:spPr>
        <p:txBody>
          <a:bodyPr rtlCol="0" anchor="ctr"/>
          <a:lstStyle/>
          <a:p>
            <a:pPr rtl="0"/>
            <a:endParaRPr lang="en-US"/>
          </a:p>
        </p:txBody>
      </p:sp>
      <p:sp>
        <p:nvSpPr>
          <p:cNvPr id="215" name="Freihandform: Form 214">
            <a:extLst>
              <a:ext uri="{FF2B5EF4-FFF2-40B4-BE49-F238E27FC236}">
                <a16:creationId xmlns:a16="http://schemas.microsoft.com/office/drawing/2014/main" id="{DC129505-58A5-42E7-B349-A205FB83331A}"/>
              </a:ext>
            </a:extLst>
          </p:cNvPr>
          <p:cNvSpPr/>
          <p:nvPr/>
        </p:nvSpPr>
        <p:spPr>
          <a:xfrm>
            <a:off x="9069136" y="6252070"/>
            <a:ext cx="214405" cy="233049"/>
          </a:xfrm>
          <a:custGeom>
            <a:avLst/>
            <a:gdLst>
              <a:gd name="connsiteX0" fmla="*/ 97881 w 214405"/>
              <a:gd name="connsiteY0" fmla="*/ 233050 h 233049"/>
              <a:gd name="connsiteX1" fmla="*/ 0 w 214405"/>
              <a:gd name="connsiteY1" fmla="*/ 233050 h 233049"/>
              <a:gd name="connsiteX2" fmla="*/ 114194 w 214405"/>
              <a:gd name="connsiteY2" fmla="*/ 117690 h 233049"/>
              <a:gd name="connsiteX3" fmla="*/ 0 w 214405"/>
              <a:gd name="connsiteY3" fmla="*/ 0 h 233049"/>
              <a:gd name="connsiteX4" fmla="*/ 100211 w 214405"/>
              <a:gd name="connsiteY4" fmla="*/ 0 h 233049"/>
              <a:gd name="connsiteX5" fmla="*/ 214406 w 214405"/>
              <a:gd name="connsiteY5" fmla="*/ 114194 h 23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3047">
                <a:moveTo>
                  <a:pt x="97881" y="233050"/>
                </a:moveTo>
                <a:lnTo>
                  <a:pt x="0" y="233050"/>
                </a:lnTo>
                <a:lnTo>
                  <a:pt x="114194" y="117690"/>
                </a:lnTo>
                <a:lnTo>
                  <a:pt x="0" y="0"/>
                </a:lnTo>
                <a:lnTo>
                  <a:pt x="100211" y="0"/>
                </a:lnTo>
                <a:lnTo>
                  <a:pt x="214406" y="114194"/>
                </a:lnTo>
                <a:close/>
              </a:path>
            </a:pathLst>
          </a:custGeom>
          <a:solidFill>
            <a:srgbClr val="EEF2F5"/>
          </a:solidFill>
          <a:ln w="11643" cap="flat">
            <a:noFill/>
            <a:prstDash val="solid"/>
            <a:miter/>
          </a:ln>
        </p:spPr>
        <p:txBody>
          <a:bodyPr rtlCol="0" anchor="ctr"/>
          <a:lstStyle/>
          <a:p>
            <a:pPr rtl="0"/>
            <a:endParaRPr lang="en-US"/>
          </a:p>
        </p:txBody>
      </p:sp>
      <p:sp>
        <p:nvSpPr>
          <p:cNvPr id="231" name="Freihandform: Form 230">
            <a:extLst>
              <a:ext uri="{FF2B5EF4-FFF2-40B4-BE49-F238E27FC236}">
                <a16:creationId xmlns:a16="http://schemas.microsoft.com/office/drawing/2014/main" id="{7D437321-278E-41CD-A64F-B829FA8D7F6A}"/>
              </a:ext>
            </a:extLst>
          </p:cNvPr>
          <p:cNvSpPr/>
          <p:nvPr/>
        </p:nvSpPr>
        <p:spPr>
          <a:xfrm>
            <a:off x="9069136" y="6607470"/>
            <a:ext cx="214405" cy="231884"/>
          </a:xfrm>
          <a:custGeom>
            <a:avLst/>
            <a:gdLst>
              <a:gd name="connsiteX0" fmla="*/ 97881 w 214405"/>
              <a:gd name="connsiteY0" fmla="*/ 231884 h 231884"/>
              <a:gd name="connsiteX1" fmla="*/ 0 w 214405"/>
              <a:gd name="connsiteY1" fmla="*/ 231884 h 231884"/>
              <a:gd name="connsiteX2" fmla="*/ 114194 w 214405"/>
              <a:gd name="connsiteY2" fmla="*/ 116525 h 231884"/>
              <a:gd name="connsiteX3" fmla="*/ 0 w 214405"/>
              <a:gd name="connsiteY3" fmla="*/ 0 h 231884"/>
              <a:gd name="connsiteX4" fmla="*/ 100211 w 214405"/>
              <a:gd name="connsiteY4" fmla="*/ 0 h 231884"/>
              <a:gd name="connsiteX5" fmla="*/ 214406 w 214405"/>
              <a:gd name="connsiteY5" fmla="*/ 114194 h 23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1884">
                <a:moveTo>
                  <a:pt x="97881" y="231884"/>
                </a:moveTo>
                <a:lnTo>
                  <a:pt x="0" y="231884"/>
                </a:lnTo>
                <a:lnTo>
                  <a:pt x="114194" y="116525"/>
                </a:lnTo>
                <a:lnTo>
                  <a:pt x="0" y="0"/>
                </a:lnTo>
                <a:lnTo>
                  <a:pt x="100211" y="0"/>
                </a:lnTo>
                <a:lnTo>
                  <a:pt x="214406" y="114194"/>
                </a:lnTo>
                <a:close/>
              </a:path>
            </a:pathLst>
          </a:custGeom>
          <a:solidFill>
            <a:srgbClr val="EEF2F5"/>
          </a:solidFill>
          <a:ln w="11643" cap="flat">
            <a:noFill/>
            <a:prstDash val="solid"/>
            <a:miter/>
          </a:ln>
        </p:spPr>
        <p:txBody>
          <a:bodyPr rtlCol="0" anchor="ctr"/>
          <a:lstStyle/>
          <a:p>
            <a:pPr rtl="0"/>
            <a:endParaRPr lang="en-US"/>
          </a:p>
        </p:txBody>
      </p:sp>
      <p:sp>
        <p:nvSpPr>
          <p:cNvPr id="20" name="Freihandform: Form 19">
            <a:extLst>
              <a:ext uri="{FF2B5EF4-FFF2-40B4-BE49-F238E27FC236}">
                <a16:creationId xmlns:a16="http://schemas.microsoft.com/office/drawing/2014/main" id="{59C6ABB5-FB82-4897-A910-6DBB4D07120E}"/>
              </a:ext>
            </a:extLst>
          </p:cNvPr>
          <p:cNvSpPr/>
          <p:nvPr/>
        </p:nvSpPr>
        <p:spPr>
          <a:xfrm>
            <a:off x="9415215" y="1984931"/>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2351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6">
                <a:moveTo>
                  <a:pt x="106037" y="250528"/>
                </a:moveTo>
                <a:lnTo>
                  <a:pt x="0" y="250528"/>
                </a:lnTo>
                <a:lnTo>
                  <a:pt x="123516" y="125847"/>
                </a:lnTo>
                <a:lnTo>
                  <a:pt x="0" y="0"/>
                </a:lnTo>
                <a:lnTo>
                  <a:pt x="108368" y="0"/>
                </a:lnTo>
                <a:lnTo>
                  <a:pt x="230719" y="122351"/>
                </a:lnTo>
                <a:close/>
              </a:path>
            </a:pathLst>
          </a:custGeom>
          <a:solidFill>
            <a:srgbClr val="EEF2F5"/>
          </a:solidFill>
          <a:ln w="11643" cap="flat">
            <a:noFill/>
            <a:prstDash val="solid"/>
            <a:miter/>
          </a:ln>
        </p:spPr>
        <p:txBody>
          <a:bodyPr rtlCol="0" anchor="ctr"/>
          <a:lstStyle/>
          <a:p>
            <a:pPr rtl="0"/>
            <a:endParaRPr lang="en-US"/>
          </a:p>
        </p:txBody>
      </p:sp>
      <p:sp>
        <p:nvSpPr>
          <p:cNvPr id="35" name="Freihandform: Form 34">
            <a:extLst>
              <a:ext uri="{FF2B5EF4-FFF2-40B4-BE49-F238E27FC236}">
                <a16:creationId xmlns:a16="http://schemas.microsoft.com/office/drawing/2014/main" id="{4B50BF8D-98A0-4C91-8957-BC9FDA550D32}"/>
              </a:ext>
            </a:extLst>
          </p:cNvPr>
          <p:cNvSpPr/>
          <p:nvPr/>
        </p:nvSpPr>
        <p:spPr>
          <a:xfrm>
            <a:off x="9415215" y="2339167"/>
            <a:ext cx="230718" cy="250528"/>
          </a:xfrm>
          <a:custGeom>
            <a:avLst/>
            <a:gdLst>
              <a:gd name="connsiteX0" fmla="*/ 106037 w 230718"/>
              <a:gd name="connsiteY0" fmla="*/ 250528 h 250528"/>
              <a:gd name="connsiteX1" fmla="*/ 0 w 230718"/>
              <a:gd name="connsiteY1" fmla="*/ 250528 h 250528"/>
              <a:gd name="connsiteX2" fmla="*/ 123516 w 230718"/>
              <a:gd name="connsiteY2" fmla="*/ 127012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6">
                <a:moveTo>
                  <a:pt x="106037" y="250528"/>
                </a:moveTo>
                <a:lnTo>
                  <a:pt x="0" y="250528"/>
                </a:lnTo>
                <a:lnTo>
                  <a:pt x="123516" y="127012"/>
                </a:lnTo>
                <a:lnTo>
                  <a:pt x="0" y="0"/>
                </a:lnTo>
                <a:lnTo>
                  <a:pt x="108368" y="0"/>
                </a:lnTo>
                <a:lnTo>
                  <a:pt x="230719" y="123516"/>
                </a:lnTo>
                <a:close/>
              </a:path>
            </a:pathLst>
          </a:custGeom>
          <a:solidFill>
            <a:srgbClr val="EEF2F5"/>
          </a:solidFill>
          <a:ln w="11643" cap="flat">
            <a:noFill/>
            <a:prstDash val="solid"/>
            <a:miter/>
          </a:ln>
        </p:spPr>
        <p:txBody>
          <a:bodyPr rtlCol="0" anchor="ctr"/>
          <a:lstStyle/>
          <a:p>
            <a:pPr rtl="0"/>
            <a:endParaRPr lang="en-US"/>
          </a:p>
        </p:txBody>
      </p:sp>
      <p:sp>
        <p:nvSpPr>
          <p:cNvPr id="51" name="Freihandform: Form 50">
            <a:extLst>
              <a:ext uri="{FF2B5EF4-FFF2-40B4-BE49-F238E27FC236}">
                <a16:creationId xmlns:a16="http://schemas.microsoft.com/office/drawing/2014/main" id="{D1B3B4E3-CEF5-496B-A094-E4A3B0CD5519}"/>
              </a:ext>
            </a:extLst>
          </p:cNvPr>
          <p:cNvSpPr/>
          <p:nvPr/>
        </p:nvSpPr>
        <p:spPr>
          <a:xfrm>
            <a:off x="9415215" y="2694568"/>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6">
                <a:moveTo>
                  <a:pt x="106037" y="250528"/>
                </a:moveTo>
                <a:lnTo>
                  <a:pt x="0" y="250528"/>
                </a:lnTo>
                <a:lnTo>
                  <a:pt x="123516" y="125847"/>
                </a:lnTo>
                <a:lnTo>
                  <a:pt x="0" y="0"/>
                </a:lnTo>
                <a:lnTo>
                  <a:pt x="108368" y="0"/>
                </a:lnTo>
                <a:lnTo>
                  <a:pt x="230719" y="123516"/>
                </a:lnTo>
                <a:close/>
              </a:path>
            </a:pathLst>
          </a:custGeom>
          <a:solidFill>
            <a:srgbClr val="EEF2F5"/>
          </a:solidFill>
          <a:ln w="11643" cap="flat">
            <a:noFill/>
            <a:prstDash val="solid"/>
            <a:miter/>
          </a:ln>
        </p:spPr>
        <p:txBody>
          <a:bodyPr rtlCol="0" anchor="ctr"/>
          <a:lstStyle/>
          <a:p>
            <a:pPr rtl="0"/>
            <a:endParaRPr lang="en-US"/>
          </a:p>
        </p:txBody>
      </p:sp>
      <p:sp>
        <p:nvSpPr>
          <p:cNvPr id="67" name="Freihandform: Form 66">
            <a:extLst>
              <a:ext uri="{FF2B5EF4-FFF2-40B4-BE49-F238E27FC236}">
                <a16:creationId xmlns:a16="http://schemas.microsoft.com/office/drawing/2014/main" id="{03766B2F-D62E-4376-B19A-E9A0137C9FF8}"/>
              </a:ext>
            </a:extLst>
          </p:cNvPr>
          <p:cNvSpPr/>
          <p:nvPr/>
        </p:nvSpPr>
        <p:spPr>
          <a:xfrm>
            <a:off x="9415215" y="3048803"/>
            <a:ext cx="230718" cy="250528"/>
          </a:xfrm>
          <a:custGeom>
            <a:avLst/>
            <a:gdLst>
              <a:gd name="connsiteX0" fmla="*/ 106037 w 230718"/>
              <a:gd name="connsiteY0" fmla="*/ 250528 h 250528"/>
              <a:gd name="connsiteX1" fmla="*/ 0 w 230718"/>
              <a:gd name="connsiteY1" fmla="*/ 250528 h 250528"/>
              <a:gd name="connsiteX2" fmla="*/ 123516 w 230718"/>
              <a:gd name="connsiteY2" fmla="*/ 127012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6">
                <a:moveTo>
                  <a:pt x="106037" y="250528"/>
                </a:moveTo>
                <a:lnTo>
                  <a:pt x="0" y="250528"/>
                </a:lnTo>
                <a:lnTo>
                  <a:pt x="123516" y="127012"/>
                </a:lnTo>
                <a:lnTo>
                  <a:pt x="0" y="0"/>
                </a:lnTo>
                <a:lnTo>
                  <a:pt x="108368" y="0"/>
                </a:lnTo>
                <a:lnTo>
                  <a:pt x="230719" y="123516"/>
                </a:lnTo>
                <a:close/>
              </a:path>
            </a:pathLst>
          </a:custGeom>
          <a:solidFill>
            <a:srgbClr val="EEF2F5"/>
          </a:solidFill>
          <a:ln w="11643" cap="flat">
            <a:noFill/>
            <a:prstDash val="solid"/>
            <a:miter/>
          </a:ln>
        </p:spPr>
        <p:txBody>
          <a:bodyPr rtlCol="0" anchor="ctr"/>
          <a:lstStyle/>
          <a:p>
            <a:pPr rtl="0"/>
            <a:endParaRPr lang="en-US"/>
          </a:p>
        </p:txBody>
      </p:sp>
      <p:sp>
        <p:nvSpPr>
          <p:cNvPr id="83" name="Freihandform: Form 82">
            <a:extLst>
              <a:ext uri="{FF2B5EF4-FFF2-40B4-BE49-F238E27FC236}">
                <a16:creationId xmlns:a16="http://schemas.microsoft.com/office/drawing/2014/main" id="{AF30F1BC-BAAD-4C43-8F77-BAF589EBE37F}"/>
              </a:ext>
            </a:extLst>
          </p:cNvPr>
          <p:cNvSpPr/>
          <p:nvPr/>
        </p:nvSpPr>
        <p:spPr>
          <a:xfrm>
            <a:off x="9415215" y="3404203"/>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6">
                <a:moveTo>
                  <a:pt x="106037" y="250528"/>
                </a:moveTo>
                <a:lnTo>
                  <a:pt x="0" y="250528"/>
                </a:lnTo>
                <a:lnTo>
                  <a:pt x="123516" y="125847"/>
                </a:lnTo>
                <a:lnTo>
                  <a:pt x="0" y="0"/>
                </a:lnTo>
                <a:lnTo>
                  <a:pt x="108368" y="0"/>
                </a:lnTo>
                <a:lnTo>
                  <a:pt x="230719" y="123516"/>
                </a:lnTo>
                <a:close/>
              </a:path>
            </a:pathLst>
          </a:custGeom>
          <a:solidFill>
            <a:srgbClr val="EEF2F5"/>
          </a:solidFill>
          <a:ln w="11643" cap="flat">
            <a:noFill/>
            <a:prstDash val="solid"/>
            <a:miter/>
          </a:ln>
        </p:spPr>
        <p:txBody>
          <a:bodyPr rtlCol="0" anchor="ctr"/>
          <a:lstStyle/>
          <a:p>
            <a:pPr rtl="0"/>
            <a:endParaRPr lang="en-US"/>
          </a:p>
        </p:txBody>
      </p:sp>
      <p:sp>
        <p:nvSpPr>
          <p:cNvPr id="99" name="Freihandform: Form 98">
            <a:extLst>
              <a:ext uri="{FF2B5EF4-FFF2-40B4-BE49-F238E27FC236}">
                <a16:creationId xmlns:a16="http://schemas.microsoft.com/office/drawing/2014/main" id="{EB01FE63-3ABC-4A0B-B6A7-BC06FBCD3820}"/>
              </a:ext>
            </a:extLst>
          </p:cNvPr>
          <p:cNvSpPr/>
          <p:nvPr/>
        </p:nvSpPr>
        <p:spPr>
          <a:xfrm>
            <a:off x="9415215" y="3758439"/>
            <a:ext cx="230718" cy="251693"/>
          </a:xfrm>
          <a:custGeom>
            <a:avLst/>
            <a:gdLst>
              <a:gd name="connsiteX0" fmla="*/ 106037 w 230718"/>
              <a:gd name="connsiteY0" fmla="*/ 251694 h 251693"/>
              <a:gd name="connsiteX1" fmla="*/ 0 w 230718"/>
              <a:gd name="connsiteY1" fmla="*/ 251694 h 251693"/>
              <a:gd name="connsiteX2" fmla="*/ 123516 w 230718"/>
              <a:gd name="connsiteY2" fmla="*/ 127012 h 251693"/>
              <a:gd name="connsiteX3" fmla="*/ 0 w 230718"/>
              <a:gd name="connsiteY3" fmla="*/ 0 h 251693"/>
              <a:gd name="connsiteX4" fmla="*/ 108368 w 230718"/>
              <a:gd name="connsiteY4" fmla="*/ 0 h 251693"/>
              <a:gd name="connsiteX5" fmla="*/ 230719 w 230718"/>
              <a:gd name="connsiteY5" fmla="*/ 123516 h 251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1693">
                <a:moveTo>
                  <a:pt x="106037" y="251694"/>
                </a:moveTo>
                <a:lnTo>
                  <a:pt x="0" y="251694"/>
                </a:lnTo>
                <a:lnTo>
                  <a:pt x="123516" y="127012"/>
                </a:lnTo>
                <a:lnTo>
                  <a:pt x="0" y="0"/>
                </a:lnTo>
                <a:lnTo>
                  <a:pt x="108368" y="0"/>
                </a:lnTo>
                <a:lnTo>
                  <a:pt x="230719" y="123516"/>
                </a:lnTo>
                <a:close/>
              </a:path>
            </a:pathLst>
          </a:custGeom>
          <a:solidFill>
            <a:srgbClr val="EEF2F5"/>
          </a:solidFill>
          <a:ln w="11643" cap="flat">
            <a:noFill/>
            <a:prstDash val="solid"/>
            <a:miter/>
          </a:ln>
        </p:spPr>
        <p:txBody>
          <a:bodyPr rtlCol="0" anchor="ctr"/>
          <a:lstStyle/>
          <a:p>
            <a:pPr rtl="0"/>
            <a:endParaRPr lang="en-US"/>
          </a:p>
        </p:txBody>
      </p:sp>
      <p:sp>
        <p:nvSpPr>
          <p:cNvPr id="115" name="Freihandform: Form 114">
            <a:extLst>
              <a:ext uri="{FF2B5EF4-FFF2-40B4-BE49-F238E27FC236}">
                <a16:creationId xmlns:a16="http://schemas.microsoft.com/office/drawing/2014/main" id="{A88CE84F-0A79-46B8-839D-DEE0DC50B30B}"/>
              </a:ext>
            </a:extLst>
          </p:cNvPr>
          <p:cNvSpPr/>
          <p:nvPr/>
        </p:nvSpPr>
        <p:spPr>
          <a:xfrm>
            <a:off x="9415215" y="4113840"/>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6">
                <a:moveTo>
                  <a:pt x="106037" y="250528"/>
                </a:moveTo>
                <a:lnTo>
                  <a:pt x="0" y="250528"/>
                </a:lnTo>
                <a:lnTo>
                  <a:pt x="123516" y="125847"/>
                </a:lnTo>
                <a:lnTo>
                  <a:pt x="0" y="0"/>
                </a:lnTo>
                <a:lnTo>
                  <a:pt x="108368" y="0"/>
                </a:lnTo>
                <a:lnTo>
                  <a:pt x="230719" y="123516"/>
                </a:lnTo>
                <a:close/>
              </a:path>
            </a:pathLst>
          </a:custGeom>
          <a:solidFill>
            <a:srgbClr val="EEF2F5"/>
          </a:solidFill>
          <a:ln w="11643" cap="flat">
            <a:noFill/>
            <a:prstDash val="solid"/>
            <a:miter/>
          </a:ln>
        </p:spPr>
        <p:txBody>
          <a:bodyPr rtlCol="0" anchor="ctr"/>
          <a:lstStyle/>
          <a:p>
            <a:pPr rtl="0"/>
            <a:endParaRPr lang="en-US"/>
          </a:p>
        </p:txBody>
      </p:sp>
      <p:sp>
        <p:nvSpPr>
          <p:cNvPr id="131" name="Freihandform: Form 130">
            <a:extLst>
              <a:ext uri="{FF2B5EF4-FFF2-40B4-BE49-F238E27FC236}">
                <a16:creationId xmlns:a16="http://schemas.microsoft.com/office/drawing/2014/main" id="{F56B8540-4A40-448B-96CE-F13FEB89FE24}"/>
              </a:ext>
            </a:extLst>
          </p:cNvPr>
          <p:cNvSpPr/>
          <p:nvPr/>
        </p:nvSpPr>
        <p:spPr>
          <a:xfrm>
            <a:off x="9415215" y="4469240"/>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2351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6">
                <a:moveTo>
                  <a:pt x="106037" y="250528"/>
                </a:moveTo>
                <a:lnTo>
                  <a:pt x="0" y="250528"/>
                </a:lnTo>
                <a:lnTo>
                  <a:pt x="123516" y="125847"/>
                </a:lnTo>
                <a:lnTo>
                  <a:pt x="0" y="0"/>
                </a:lnTo>
                <a:lnTo>
                  <a:pt x="108368" y="0"/>
                </a:lnTo>
                <a:lnTo>
                  <a:pt x="230719" y="122351"/>
                </a:lnTo>
                <a:close/>
              </a:path>
            </a:pathLst>
          </a:custGeom>
          <a:solidFill>
            <a:srgbClr val="EEF2F5"/>
          </a:solidFill>
          <a:ln w="11643" cap="flat">
            <a:noFill/>
            <a:prstDash val="solid"/>
            <a:miter/>
          </a:ln>
        </p:spPr>
        <p:txBody>
          <a:bodyPr rtlCol="0" anchor="ctr"/>
          <a:lstStyle/>
          <a:p>
            <a:pPr rtl="0"/>
            <a:endParaRPr lang="en-US"/>
          </a:p>
        </p:txBody>
      </p:sp>
      <p:sp>
        <p:nvSpPr>
          <p:cNvPr id="148" name="Freihandform: Form 147">
            <a:extLst>
              <a:ext uri="{FF2B5EF4-FFF2-40B4-BE49-F238E27FC236}">
                <a16:creationId xmlns:a16="http://schemas.microsoft.com/office/drawing/2014/main" id="{FA4D92A2-824B-4123-BA21-136199CED582}"/>
              </a:ext>
            </a:extLst>
          </p:cNvPr>
          <p:cNvSpPr/>
          <p:nvPr/>
        </p:nvSpPr>
        <p:spPr>
          <a:xfrm>
            <a:off x="9415215" y="4823475"/>
            <a:ext cx="230718" cy="250528"/>
          </a:xfrm>
          <a:custGeom>
            <a:avLst/>
            <a:gdLst>
              <a:gd name="connsiteX0" fmla="*/ 106037 w 230718"/>
              <a:gd name="connsiteY0" fmla="*/ 250528 h 250528"/>
              <a:gd name="connsiteX1" fmla="*/ 0 w 230718"/>
              <a:gd name="connsiteY1" fmla="*/ 250528 h 250528"/>
              <a:gd name="connsiteX2" fmla="*/ 123516 w 230718"/>
              <a:gd name="connsiteY2" fmla="*/ 127012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6">
                <a:moveTo>
                  <a:pt x="106037" y="250528"/>
                </a:moveTo>
                <a:lnTo>
                  <a:pt x="0" y="250528"/>
                </a:lnTo>
                <a:lnTo>
                  <a:pt x="123516" y="127012"/>
                </a:lnTo>
                <a:lnTo>
                  <a:pt x="0" y="0"/>
                </a:lnTo>
                <a:lnTo>
                  <a:pt x="108368" y="0"/>
                </a:lnTo>
                <a:lnTo>
                  <a:pt x="230719" y="123516"/>
                </a:lnTo>
                <a:close/>
              </a:path>
            </a:pathLst>
          </a:custGeom>
          <a:solidFill>
            <a:srgbClr val="EEF2F5"/>
          </a:solidFill>
          <a:ln w="11643" cap="flat">
            <a:noFill/>
            <a:prstDash val="solid"/>
            <a:miter/>
          </a:ln>
        </p:spPr>
        <p:txBody>
          <a:bodyPr rtlCol="0" anchor="ctr"/>
          <a:lstStyle/>
          <a:p>
            <a:pPr rtl="0"/>
            <a:endParaRPr lang="en-US"/>
          </a:p>
        </p:txBody>
      </p:sp>
      <p:sp>
        <p:nvSpPr>
          <p:cNvPr id="165" name="Freihandform: Form 164">
            <a:extLst>
              <a:ext uri="{FF2B5EF4-FFF2-40B4-BE49-F238E27FC236}">
                <a16:creationId xmlns:a16="http://schemas.microsoft.com/office/drawing/2014/main" id="{B480051A-E4BB-4D8D-9463-F9DC0CB12BA8}"/>
              </a:ext>
            </a:extLst>
          </p:cNvPr>
          <p:cNvSpPr/>
          <p:nvPr/>
        </p:nvSpPr>
        <p:spPr>
          <a:xfrm>
            <a:off x="9415215" y="5178876"/>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2351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6">
                <a:moveTo>
                  <a:pt x="106037" y="250528"/>
                </a:moveTo>
                <a:lnTo>
                  <a:pt x="0" y="250528"/>
                </a:lnTo>
                <a:lnTo>
                  <a:pt x="123516" y="125847"/>
                </a:lnTo>
                <a:lnTo>
                  <a:pt x="0" y="0"/>
                </a:lnTo>
                <a:lnTo>
                  <a:pt x="108368" y="0"/>
                </a:lnTo>
                <a:lnTo>
                  <a:pt x="230719" y="122351"/>
                </a:lnTo>
                <a:close/>
              </a:path>
            </a:pathLst>
          </a:custGeom>
          <a:solidFill>
            <a:srgbClr val="EEF2F5"/>
          </a:solidFill>
          <a:ln w="11643" cap="flat">
            <a:noFill/>
            <a:prstDash val="solid"/>
            <a:miter/>
          </a:ln>
        </p:spPr>
        <p:txBody>
          <a:bodyPr rtlCol="0" anchor="ctr"/>
          <a:lstStyle/>
          <a:p>
            <a:pPr rtl="0"/>
            <a:endParaRPr lang="en-US"/>
          </a:p>
        </p:txBody>
      </p:sp>
      <p:sp>
        <p:nvSpPr>
          <p:cNvPr id="182" name="Freihandform: Form 181">
            <a:extLst>
              <a:ext uri="{FF2B5EF4-FFF2-40B4-BE49-F238E27FC236}">
                <a16:creationId xmlns:a16="http://schemas.microsoft.com/office/drawing/2014/main" id="{8B9C7922-A46C-4300-8536-75C60F1BDA2A}"/>
              </a:ext>
            </a:extLst>
          </p:cNvPr>
          <p:cNvSpPr/>
          <p:nvPr/>
        </p:nvSpPr>
        <p:spPr>
          <a:xfrm>
            <a:off x="9415215" y="5533111"/>
            <a:ext cx="230718" cy="250528"/>
          </a:xfrm>
          <a:custGeom>
            <a:avLst/>
            <a:gdLst>
              <a:gd name="connsiteX0" fmla="*/ 106037 w 230718"/>
              <a:gd name="connsiteY0" fmla="*/ 250528 h 250528"/>
              <a:gd name="connsiteX1" fmla="*/ 0 w 230718"/>
              <a:gd name="connsiteY1" fmla="*/ 250528 h 250528"/>
              <a:gd name="connsiteX2" fmla="*/ 123516 w 230718"/>
              <a:gd name="connsiteY2" fmla="*/ 127012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6">
                <a:moveTo>
                  <a:pt x="106037" y="250528"/>
                </a:moveTo>
                <a:lnTo>
                  <a:pt x="0" y="250528"/>
                </a:lnTo>
                <a:lnTo>
                  <a:pt x="123516" y="127012"/>
                </a:lnTo>
                <a:lnTo>
                  <a:pt x="0" y="0"/>
                </a:lnTo>
                <a:lnTo>
                  <a:pt x="108368" y="0"/>
                </a:lnTo>
                <a:lnTo>
                  <a:pt x="230719" y="123516"/>
                </a:lnTo>
                <a:close/>
              </a:path>
            </a:pathLst>
          </a:custGeom>
          <a:solidFill>
            <a:srgbClr val="EEF2F5"/>
          </a:solidFill>
          <a:ln w="11643" cap="flat">
            <a:noFill/>
            <a:prstDash val="solid"/>
            <a:miter/>
          </a:ln>
        </p:spPr>
        <p:txBody>
          <a:bodyPr rtlCol="0" anchor="ctr"/>
          <a:lstStyle/>
          <a:p>
            <a:pPr rtl="0"/>
            <a:endParaRPr lang="en-US"/>
          </a:p>
        </p:txBody>
      </p:sp>
      <p:sp>
        <p:nvSpPr>
          <p:cNvPr id="199" name="Freihandform: Form 198">
            <a:extLst>
              <a:ext uri="{FF2B5EF4-FFF2-40B4-BE49-F238E27FC236}">
                <a16:creationId xmlns:a16="http://schemas.microsoft.com/office/drawing/2014/main" id="{808E1183-99E4-4B7F-B544-06366CD89D96}"/>
              </a:ext>
            </a:extLst>
          </p:cNvPr>
          <p:cNvSpPr/>
          <p:nvPr/>
        </p:nvSpPr>
        <p:spPr>
          <a:xfrm>
            <a:off x="9415215" y="5888512"/>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2351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6">
                <a:moveTo>
                  <a:pt x="106037" y="250528"/>
                </a:moveTo>
                <a:lnTo>
                  <a:pt x="0" y="250528"/>
                </a:lnTo>
                <a:lnTo>
                  <a:pt x="123516" y="125847"/>
                </a:lnTo>
                <a:lnTo>
                  <a:pt x="0" y="0"/>
                </a:lnTo>
                <a:lnTo>
                  <a:pt x="108368" y="0"/>
                </a:lnTo>
                <a:lnTo>
                  <a:pt x="230719" y="122351"/>
                </a:lnTo>
                <a:close/>
              </a:path>
            </a:pathLst>
          </a:custGeom>
          <a:solidFill>
            <a:srgbClr val="EEF2F5"/>
          </a:solidFill>
          <a:ln w="11643" cap="flat">
            <a:noFill/>
            <a:prstDash val="solid"/>
            <a:miter/>
          </a:ln>
        </p:spPr>
        <p:txBody>
          <a:bodyPr rtlCol="0" anchor="ctr"/>
          <a:lstStyle/>
          <a:p>
            <a:pPr rtl="0"/>
            <a:endParaRPr lang="en-US"/>
          </a:p>
        </p:txBody>
      </p:sp>
      <p:sp>
        <p:nvSpPr>
          <p:cNvPr id="216" name="Freihandform: Form 215">
            <a:extLst>
              <a:ext uri="{FF2B5EF4-FFF2-40B4-BE49-F238E27FC236}">
                <a16:creationId xmlns:a16="http://schemas.microsoft.com/office/drawing/2014/main" id="{CD034923-4C0A-4423-8672-AB74CD3F1B7B}"/>
              </a:ext>
            </a:extLst>
          </p:cNvPr>
          <p:cNvSpPr/>
          <p:nvPr/>
        </p:nvSpPr>
        <p:spPr>
          <a:xfrm>
            <a:off x="9415215" y="6242748"/>
            <a:ext cx="230718" cy="250528"/>
          </a:xfrm>
          <a:custGeom>
            <a:avLst/>
            <a:gdLst>
              <a:gd name="connsiteX0" fmla="*/ 106037 w 230718"/>
              <a:gd name="connsiteY0" fmla="*/ 250528 h 250528"/>
              <a:gd name="connsiteX1" fmla="*/ 0 w 230718"/>
              <a:gd name="connsiteY1" fmla="*/ 250528 h 250528"/>
              <a:gd name="connsiteX2" fmla="*/ 123516 w 230718"/>
              <a:gd name="connsiteY2" fmla="*/ 127012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6">
                <a:moveTo>
                  <a:pt x="106037" y="250528"/>
                </a:moveTo>
                <a:lnTo>
                  <a:pt x="0" y="250528"/>
                </a:lnTo>
                <a:lnTo>
                  <a:pt x="123516" y="127012"/>
                </a:lnTo>
                <a:lnTo>
                  <a:pt x="0" y="0"/>
                </a:lnTo>
                <a:lnTo>
                  <a:pt x="108368" y="0"/>
                </a:lnTo>
                <a:lnTo>
                  <a:pt x="230719" y="123516"/>
                </a:lnTo>
                <a:close/>
              </a:path>
            </a:pathLst>
          </a:custGeom>
          <a:solidFill>
            <a:srgbClr val="EEF2F5"/>
          </a:solidFill>
          <a:ln w="11643" cap="flat">
            <a:noFill/>
            <a:prstDash val="solid"/>
            <a:miter/>
          </a:ln>
        </p:spPr>
        <p:txBody>
          <a:bodyPr rtlCol="0" anchor="ctr"/>
          <a:lstStyle/>
          <a:p>
            <a:pPr rtl="0"/>
            <a:endParaRPr lang="en-US"/>
          </a:p>
        </p:txBody>
      </p:sp>
      <p:sp>
        <p:nvSpPr>
          <p:cNvPr id="232" name="Freihandform: Form 231">
            <a:extLst>
              <a:ext uri="{FF2B5EF4-FFF2-40B4-BE49-F238E27FC236}">
                <a16:creationId xmlns:a16="http://schemas.microsoft.com/office/drawing/2014/main" id="{B9006F61-C8F9-435F-8E25-867EF66AB2C0}"/>
              </a:ext>
            </a:extLst>
          </p:cNvPr>
          <p:cNvSpPr/>
          <p:nvPr/>
        </p:nvSpPr>
        <p:spPr>
          <a:xfrm>
            <a:off x="9415215" y="6598148"/>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2351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6">
                <a:moveTo>
                  <a:pt x="106037" y="250528"/>
                </a:moveTo>
                <a:lnTo>
                  <a:pt x="0" y="250528"/>
                </a:lnTo>
                <a:lnTo>
                  <a:pt x="123516" y="125847"/>
                </a:lnTo>
                <a:lnTo>
                  <a:pt x="0" y="0"/>
                </a:lnTo>
                <a:lnTo>
                  <a:pt x="108368" y="0"/>
                </a:lnTo>
                <a:lnTo>
                  <a:pt x="230719" y="122351"/>
                </a:lnTo>
                <a:close/>
              </a:path>
            </a:pathLst>
          </a:custGeom>
          <a:solidFill>
            <a:srgbClr val="EEF2F5"/>
          </a:solidFill>
          <a:ln w="11643" cap="flat">
            <a:noFill/>
            <a:prstDash val="solid"/>
            <a:miter/>
          </a:ln>
        </p:spPr>
        <p:txBody>
          <a:bodyPr rtlCol="0" anchor="ctr"/>
          <a:lstStyle/>
          <a:p>
            <a:pPr rtl="0"/>
            <a:endParaRPr lang="en-US"/>
          </a:p>
        </p:txBody>
      </p:sp>
      <p:sp>
        <p:nvSpPr>
          <p:cNvPr id="21" name="Freihandform: Form 20">
            <a:extLst>
              <a:ext uri="{FF2B5EF4-FFF2-40B4-BE49-F238E27FC236}">
                <a16:creationId xmlns:a16="http://schemas.microsoft.com/office/drawing/2014/main" id="{FA010AB3-93D2-478F-82A2-79D3EAB3E973}"/>
              </a:ext>
            </a:extLst>
          </p:cNvPr>
          <p:cNvSpPr/>
          <p:nvPr/>
        </p:nvSpPr>
        <p:spPr>
          <a:xfrm>
            <a:off x="9761293" y="1975610"/>
            <a:ext cx="248198" cy="269172"/>
          </a:xfrm>
          <a:custGeom>
            <a:avLst/>
            <a:gdLst>
              <a:gd name="connsiteX0" fmla="*/ 114195 w 248198"/>
              <a:gd name="connsiteY0" fmla="*/ 269172 h 269172"/>
              <a:gd name="connsiteX1" fmla="*/ 0 w 248198"/>
              <a:gd name="connsiteY1" fmla="*/ 269172 h 269172"/>
              <a:gd name="connsiteX2" fmla="*/ 132838 w 248198"/>
              <a:gd name="connsiteY2" fmla="*/ 135169 h 269172"/>
              <a:gd name="connsiteX3" fmla="*/ 0 w 248198"/>
              <a:gd name="connsiteY3" fmla="*/ 0 h 269172"/>
              <a:gd name="connsiteX4" fmla="*/ 116525 w 248198"/>
              <a:gd name="connsiteY4" fmla="*/ 0 h 269172"/>
              <a:gd name="connsiteX5" fmla="*/ 248198 w 248198"/>
              <a:gd name="connsiteY5" fmla="*/ 131673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pPr rtl="0"/>
            <a:endParaRPr lang="en-US"/>
          </a:p>
        </p:txBody>
      </p:sp>
      <p:sp>
        <p:nvSpPr>
          <p:cNvPr id="36" name="Freihandform: Form 35">
            <a:extLst>
              <a:ext uri="{FF2B5EF4-FFF2-40B4-BE49-F238E27FC236}">
                <a16:creationId xmlns:a16="http://schemas.microsoft.com/office/drawing/2014/main" id="{E7957182-0D78-447E-AD11-155CFFA4EFCF}"/>
              </a:ext>
            </a:extLst>
          </p:cNvPr>
          <p:cNvSpPr/>
          <p:nvPr/>
        </p:nvSpPr>
        <p:spPr>
          <a:xfrm>
            <a:off x="9761293" y="2331010"/>
            <a:ext cx="248198" cy="268007"/>
          </a:xfrm>
          <a:custGeom>
            <a:avLst/>
            <a:gdLst>
              <a:gd name="connsiteX0" fmla="*/ 114195 w 248198"/>
              <a:gd name="connsiteY0" fmla="*/ 268007 h 268007"/>
              <a:gd name="connsiteX1" fmla="*/ 0 w 248198"/>
              <a:gd name="connsiteY1" fmla="*/ 268007 h 268007"/>
              <a:gd name="connsiteX2" fmla="*/ 132838 w 248198"/>
              <a:gd name="connsiteY2" fmla="*/ 135169 h 268007"/>
              <a:gd name="connsiteX3" fmla="*/ 0 w 248198"/>
              <a:gd name="connsiteY3" fmla="*/ 0 h 268007"/>
              <a:gd name="connsiteX4" fmla="*/ 116525 w 248198"/>
              <a:gd name="connsiteY4" fmla="*/ 0 h 268007"/>
              <a:gd name="connsiteX5" fmla="*/ 248198 w 248198"/>
              <a:gd name="connsiteY5" fmla="*/ 131673 h 268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8007">
                <a:moveTo>
                  <a:pt x="114195" y="268007"/>
                </a:moveTo>
                <a:lnTo>
                  <a:pt x="0" y="268007"/>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pPr rtl="0"/>
            <a:endParaRPr lang="en-US"/>
          </a:p>
        </p:txBody>
      </p:sp>
      <p:sp>
        <p:nvSpPr>
          <p:cNvPr id="52" name="Freihandform: Form 51">
            <a:extLst>
              <a:ext uri="{FF2B5EF4-FFF2-40B4-BE49-F238E27FC236}">
                <a16:creationId xmlns:a16="http://schemas.microsoft.com/office/drawing/2014/main" id="{D00B278C-4E10-45E8-A202-B55CBB4B885E}"/>
              </a:ext>
            </a:extLst>
          </p:cNvPr>
          <p:cNvSpPr/>
          <p:nvPr/>
        </p:nvSpPr>
        <p:spPr>
          <a:xfrm>
            <a:off x="9761293" y="2685246"/>
            <a:ext cx="248198" cy="269172"/>
          </a:xfrm>
          <a:custGeom>
            <a:avLst/>
            <a:gdLst>
              <a:gd name="connsiteX0" fmla="*/ 114195 w 248198"/>
              <a:gd name="connsiteY0" fmla="*/ 269172 h 269172"/>
              <a:gd name="connsiteX1" fmla="*/ 0 w 248198"/>
              <a:gd name="connsiteY1" fmla="*/ 269172 h 269172"/>
              <a:gd name="connsiteX2" fmla="*/ 132838 w 248198"/>
              <a:gd name="connsiteY2" fmla="*/ 135169 h 269172"/>
              <a:gd name="connsiteX3" fmla="*/ 0 w 248198"/>
              <a:gd name="connsiteY3" fmla="*/ 0 h 269172"/>
              <a:gd name="connsiteX4" fmla="*/ 116525 w 248198"/>
              <a:gd name="connsiteY4" fmla="*/ 0 h 269172"/>
              <a:gd name="connsiteX5" fmla="*/ 248198 w 248198"/>
              <a:gd name="connsiteY5" fmla="*/ 131673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pPr rtl="0"/>
            <a:endParaRPr lang="en-US"/>
          </a:p>
        </p:txBody>
      </p:sp>
      <p:sp>
        <p:nvSpPr>
          <p:cNvPr id="68" name="Freihandform: Form 67">
            <a:extLst>
              <a:ext uri="{FF2B5EF4-FFF2-40B4-BE49-F238E27FC236}">
                <a16:creationId xmlns:a16="http://schemas.microsoft.com/office/drawing/2014/main" id="{0496EBBE-CFB1-46AA-A6F5-690502856668}"/>
              </a:ext>
            </a:extLst>
          </p:cNvPr>
          <p:cNvSpPr/>
          <p:nvPr/>
        </p:nvSpPr>
        <p:spPr>
          <a:xfrm>
            <a:off x="9761293" y="3040646"/>
            <a:ext cx="248198" cy="268007"/>
          </a:xfrm>
          <a:custGeom>
            <a:avLst/>
            <a:gdLst>
              <a:gd name="connsiteX0" fmla="*/ 114195 w 248198"/>
              <a:gd name="connsiteY0" fmla="*/ 268007 h 268007"/>
              <a:gd name="connsiteX1" fmla="*/ 0 w 248198"/>
              <a:gd name="connsiteY1" fmla="*/ 268007 h 268007"/>
              <a:gd name="connsiteX2" fmla="*/ 132838 w 248198"/>
              <a:gd name="connsiteY2" fmla="*/ 135169 h 268007"/>
              <a:gd name="connsiteX3" fmla="*/ 0 w 248198"/>
              <a:gd name="connsiteY3" fmla="*/ 0 h 268007"/>
              <a:gd name="connsiteX4" fmla="*/ 116525 w 248198"/>
              <a:gd name="connsiteY4" fmla="*/ 0 h 268007"/>
              <a:gd name="connsiteX5" fmla="*/ 248198 w 248198"/>
              <a:gd name="connsiteY5" fmla="*/ 131673 h 268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8007">
                <a:moveTo>
                  <a:pt x="114195" y="268007"/>
                </a:moveTo>
                <a:lnTo>
                  <a:pt x="0" y="268007"/>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pPr rtl="0"/>
            <a:endParaRPr lang="en-US"/>
          </a:p>
        </p:txBody>
      </p:sp>
      <p:sp>
        <p:nvSpPr>
          <p:cNvPr id="84" name="Freihandform: Form 83">
            <a:extLst>
              <a:ext uri="{FF2B5EF4-FFF2-40B4-BE49-F238E27FC236}">
                <a16:creationId xmlns:a16="http://schemas.microsoft.com/office/drawing/2014/main" id="{A40B40D6-E2B0-405B-8866-4C365074F335}"/>
              </a:ext>
            </a:extLst>
          </p:cNvPr>
          <p:cNvSpPr/>
          <p:nvPr/>
        </p:nvSpPr>
        <p:spPr>
          <a:xfrm>
            <a:off x="9761293" y="3394882"/>
            <a:ext cx="248198" cy="269172"/>
          </a:xfrm>
          <a:custGeom>
            <a:avLst/>
            <a:gdLst>
              <a:gd name="connsiteX0" fmla="*/ 114195 w 248198"/>
              <a:gd name="connsiteY0" fmla="*/ 269172 h 269172"/>
              <a:gd name="connsiteX1" fmla="*/ 0 w 248198"/>
              <a:gd name="connsiteY1" fmla="*/ 269172 h 269172"/>
              <a:gd name="connsiteX2" fmla="*/ 132838 w 248198"/>
              <a:gd name="connsiteY2" fmla="*/ 135169 h 269172"/>
              <a:gd name="connsiteX3" fmla="*/ 0 w 248198"/>
              <a:gd name="connsiteY3" fmla="*/ 0 h 269172"/>
              <a:gd name="connsiteX4" fmla="*/ 116525 w 248198"/>
              <a:gd name="connsiteY4" fmla="*/ 0 h 269172"/>
              <a:gd name="connsiteX5" fmla="*/ 248198 w 248198"/>
              <a:gd name="connsiteY5" fmla="*/ 131673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pPr rtl="0"/>
            <a:endParaRPr lang="en-US"/>
          </a:p>
        </p:txBody>
      </p:sp>
      <p:sp>
        <p:nvSpPr>
          <p:cNvPr id="100" name="Freihandform: Form 99">
            <a:extLst>
              <a:ext uri="{FF2B5EF4-FFF2-40B4-BE49-F238E27FC236}">
                <a16:creationId xmlns:a16="http://schemas.microsoft.com/office/drawing/2014/main" id="{B976F48C-00EC-49CD-AA95-7B3C97644278}"/>
              </a:ext>
            </a:extLst>
          </p:cNvPr>
          <p:cNvSpPr/>
          <p:nvPr/>
        </p:nvSpPr>
        <p:spPr>
          <a:xfrm>
            <a:off x="9761293" y="3750282"/>
            <a:ext cx="248198" cy="268007"/>
          </a:xfrm>
          <a:custGeom>
            <a:avLst/>
            <a:gdLst>
              <a:gd name="connsiteX0" fmla="*/ 114195 w 248198"/>
              <a:gd name="connsiteY0" fmla="*/ 268007 h 268007"/>
              <a:gd name="connsiteX1" fmla="*/ 0 w 248198"/>
              <a:gd name="connsiteY1" fmla="*/ 268007 h 268007"/>
              <a:gd name="connsiteX2" fmla="*/ 132838 w 248198"/>
              <a:gd name="connsiteY2" fmla="*/ 135169 h 268007"/>
              <a:gd name="connsiteX3" fmla="*/ 0 w 248198"/>
              <a:gd name="connsiteY3" fmla="*/ 0 h 268007"/>
              <a:gd name="connsiteX4" fmla="*/ 116525 w 248198"/>
              <a:gd name="connsiteY4" fmla="*/ 0 h 268007"/>
              <a:gd name="connsiteX5" fmla="*/ 248198 w 248198"/>
              <a:gd name="connsiteY5" fmla="*/ 131673 h 268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8007">
                <a:moveTo>
                  <a:pt x="114195" y="268007"/>
                </a:moveTo>
                <a:lnTo>
                  <a:pt x="0" y="268007"/>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pPr rtl="0"/>
            <a:endParaRPr lang="en-US"/>
          </a:p>
        </p:txBody>
      </p:sp>
      <p:sp>
        <p:nvSpPr>
          <p:cNvPr id="116" name="Freihandform: Form 115">
            <a:extLst>
              <a:ext uri="{FF2B5EF4-FFF2-40B4-BE49-F238E27FC236}">
                <a16:creationId xmlns:a16="http://schemas.microsoft.com/office/drawing/2014/main" id="{DFC41532-B3AB-4B18-A81F-7D2CA52826B2}"/>
              </a:ext>
            </a:extLst>
          </p:cNvPr>
          <p:cNvSpPr/>
          <p:nvPr/>
        </p:nvSpPr>
        <p:spPr>
          <a:xfrm>
            <a:off x="9761293" y="4104518"/>
            <a:ext cx="248198" cy="269172"/>
          </a:xfrm>
          <a:custGeom>
            <a:avLst/>
            <a:gdLst>
              <a:gd name="connsiteX0" fmla="*/ 114195 w 248198"/>
              <a:gd name="connsiteY0" fmla="*/ 269172 h 269172"/>
              <a:gd name="connsiteX1" fmla="*/ 0 w 248198"/>
              <a:gd name="connsiteY1" fmla="*/ 269172 h 269172"/>
              <a:gd name="connsiteX2" fmla="*/ 132838 w 248198"/>
              <a:gd name="connsiteY2" fmla="*/ 136334 h 269172"/>
              <a:gd name="connsiteX3" fmla="*/ 0 w 248198"/>
              <a:gd name="connsiteY3" fmla="*/ 0 h 269172"/>
              <a:gd name="connsiteX4" fmla="*/ 116525 w 248198"/>
              <a:gd name="connsiteY4" fmla="*/ 0 h 269172"/>
              <a:gd name="connsiteX5" fmla="*/ 248198 w 248198"/>
              <a:gd name="connsiteY5" fmla="*/ 132838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6334"/>
                </a:lnTo>
                <a:lnTo>
                  <a:pt x="0" y="0"/>
                </a:lnTo>
                <a:lnTo>
                  <a:pt x="116525" y="0"/>
                </a:lnTo>
                <a:lnTo>
                  <a:pt x="248198" y="132838"/>
                </a:lnTo>
                <a:close/>
              </a:path>
            </a:pathLst>
          </a:custGeom>
          <a:solidFill>
            <a:srgbClr val="EEF2F5"/>
          </a:solidFill>
          <a:ln w="11643" cap="flat">
            <a:noFill/>
            <a:prstDash val="solid"/>
            <a:miter/>
          </a:ln>
        </p:spPr>
        <p:txBody>
          <a:bodyPr rtlCol="0" anchor="ctr"/>
          <a:lstStyle/>
          <a:p>
            <a:pPr rtl="0"/>
            <a:endParaRPr lang="en-US"/>
          </a:p>
        </p:txBody>
      </p:sp>
      <p:sp>
        <p:nvSpPr>
          <p:cNvPr id="132" name="Freihandform: Form 131">
            <a:extLst>
              <a:ext uri="{FF2B5EF4-FFF2-40B4-BE49-F238E27FC236}">
                <a16:creationId xmlns:a16="http://schemas.microsoft.com/office/drawing/2014/main" id="{ADC8DAC7-8942-46EB-9D62-4E4C4662A9C7}"/>
              </a:ext>
            </a:extLst>
          </p:cNvPr>
          <p:cNvSpPr/>
          <p:nvPr/>
        </p:nvSpPr>
        <p:spPr>
          <a:xfrm>
            <a:off x="9761293" y="4459918"/>
            <a:ext cx="248198" cy="268007"/>
          </a:xfrm>
          <a:custGeom>
            <a:avLst/>
            <a:gdLst>
              <a:gd name="connsiteX0" fmla="*/ 114195 w 248198"/>
              <a:gd name="connsiteY0" fmla="*/ 268007 h 268007"/>
              <a:gd name="connsiteX1" fmla="*/ 0 w 248198"/>
              <a:gd name="connsiteY1" fmla="*/ 268007 h 268007"/>
              <a:gd name="connsiteX2" fmla="*/ 132838 w 248198"/>
              <a:gd name="connsiteY2" fmla="*/ 135169 h 268007"/>
              <a:gd name="connsiteX3" fmla="*/ 0 w 248198"/>
              <a:gd name="connsiteY3" fmla="*/ 0 h 268007"/>
              <a:gd name="connsiteX4" fmla="*/ 116525 w 248198"/>
              <a:gd name="connsiteY4" fmla="*/ 0 h 268007"/>
              <a:gd name="connsiteX5" fmla="*/ 248198 w 248198"/>
              <a:gd name="connsiteY5" fmla="*/ 131673 h 268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8007">
                <a:moveTo>
                  <a:pt x="114195" y="268007"/>
                </a:moveTo>
                <a:lnTo>
                  <a:pt x="0" y="268007"/>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pPr rtl="0"/>
            <a:endParaRPr lang="en-US"/>
          </a:p>
        </p:txBody>
      </p:sp>
      <p:sp>
        <p:nvSpPr>
          <p:cNvPr id="149" name="Freihandform: Form 148">
            <a:extLst>
              <a:ext uri="{FF2B5EF4-FFF2-40B4-BE49-F238E27FC236}">
                <a16:creationId xmlns:a16="http://schemas.microsoft.com/office/drawing/2014/main" id="{83716F88-9554-4FCB-B2C3-8BD6193695E2}"/>
              </a:ext>
            </a:extLst>
          </p:cNvPr>
          <p:cNvSpPr/>
          <p:nvPr/>
        </p:nvSpPr>
        <p:spPr>
          <a:xfrm>
            <a:off x="9761293" y="4814154"/>
            <a:ext cx="248198" cy="269172"/>
          </a:xfrm>
          <a:custGeom>
            <a:avLst/>
            <a:gdLst>
              <a:gd name="connsiteX0" fmla="*/ 114195 w 248198"/>
              <a:gd name="connsiteY0" fmla="*/ 269172 h 269172"/>
              <a:gd name="connsiteX1" fmla="*/ 0 w 248198"/>
              <a:gd name="connsiteY1" fmla="*/ 269172 h 269172"/>
              <a:gd name="connsiteX2" fmla="*/ 132838 w 248198"/>
              <a:gd name="connsiteY2" fmla="*/ 136334 h 269172"/>
              <a:gd name="connsiteX3" fmla="*/ 0 w 248198"/>
              <a:gd name="connsiteY3" fmla="*/ 0 h 269172"/>
              <a:gd name="connsiteX4" fmla="*/ 116525 w 248198"/>
              <a:gd name="connsiteY4" fmla="*/ 0 h 269172"/>
              <a:gd name="connsiteX5" fmla="*/ 248198 w 248198"/>
              <a:gd name="connsiteY5" fmla="*/ 132838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6334"/>
                </a:lnTo>
                <a:lnTo>
                  <a:pt x="0" y="0"/>
                </a:lnTo>
                <a:lnTo>
                  <a:pt x="116525" y="0"/>
                </a:lnTo>
                <a:lnTo>
                  <a:pt x="248198" y="132838"/>
                </a:lnTo>
                <a:close/>
              </a:path>
            </a:pathLst>
          </a:custGeom>
          <a:solidFill>
            <a:srgbClr val="EEF2F5"/>
          </a:solidFill>
          <a:ln w="11643" cap="flat">
            <a:noFill/>
            <a:prstDash val="solid"/>
            <a:miter/>
          </a:ln>
        </p:spPr>
        <p:txBody>
          <a:bodyPr rtlCol="0" anchor="ctr"/>
          <a:lstStyle/>
          <a:p>
            <a:pPr rtl="0"/>
            <a:endParaRPr lang="en-US"/>
          </a:p>
        </p:txBody>
      </p:sp>
      <p:sp>
        <p:nvSpPr>
          <p:cNvPr id="166" name="Freihandform: Form 165">
            <a:extLst>
              <a:ext uri="{FF2B5EF4-FFF2-40B4-BE49-F238E27FC236}">
                <a16:creationId xmlns:a16="http://schemas.microsoft.com/office/drawing/2014/main" id="{AEC95E7D-635D-425A-9F1A-DEBC1F5484DB}"/>
              </a:ext>
            </a:extLst>
          </p:cNvPr>
          <p:cNvSpPr/>
          <p:nvPr/>
        </p:nvSpPr>
        <p:spPr>
          <a:xfrm>
            <a:off x="9761293" y="5169554"/>
            <a:ext cx="248198" cy="268007"/>
          </a:xfrm>
          <a:custGeom>
            <a:avLst/>
            <a:gdLst>
              <a:gd name="connsiteX0" fmla="*/ 114195 w 248198"/>
              <a:gd name="connsiteY0" fmla="*/ 268007 h 268007"/>
              <a:gd name="connsiteX1" fmla="*/ 0 w 248198"/>
              <a:gd name="connsiteY1" fmla="*/ 268007 h 268007"/>
              <a:gd name="connsiteX2" fmla="*/ 132838 w 248198"/>
              <a:gd name="connsiteY2" fmla="*/ 135169 h 268007"/>
              <a:gd name="connsiteX3" fmla="*/ 0 w 248198"/>
              <a:gd name="connsiteY3" fmla="*/ 0 h 268007"/>
              <a:gd name="connsiteX4" fmla="*/ 116525 w 248198"/>
              <a:gd name="connsiteY4" fmla="*/ 0 h 268007"/>
              <a:gd name="connsiteX5" fmla="*/ 248198 w 248198"/>
              <a:gd name="connsiteY5" fmla="*/ 131673 h 268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8007">
                <a:moveTo>
                  <a:pt x="114195" y="268007"/>
                </a:moveTo>
                <a:lnTo>
                  <a:pt x="0" y="268007"/>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pPr rtl="0"/>
            <a:endParaRPr lang="en-US"/>
          </a:p>
        </p:txBody>
      </p:sp>
      <p:sp>
        <p:nvSpPr>
          <p:cNvPr id="183" name="Freihandform: Form 182">
            <a:extLst>
              <a:ext uri="{FF2B5EF4-FFF2-40B4-BE49-F238E27FC236}">
                <a16:creationId xmlns:a16="http://schemas.microsoft.com/office/drawing/2014/main" id="{C1CCBBCB-A182-4421-8619-C206846375DB}"/>
              </a:ext>
            </a:extLst>
          </p:cNvPr>
          <p:cNvSpPr/>
          <p:nvPr/>
        </p:nvSpPr>
        <p:spPr>
          <a:xfrm>
            <a:off x="9761293" y="5523790"/>
            <a:ext cx="248198" cy="269172"/>
          </a:xfrm>
          <a:custGeom>
            <a:avLst/>
            <a:gdLst>
              <a:gd name="connsiteX0" fmla="*/ 114195 w 248198"/>
              <a:gd name="connsiteY0" fmla="*/ 269172 h 269172"/>
              <a:gd name="connsiteX1" fmla="*/ 0 w 248198"/>
              <a:gd name="connsiteY1" fmla="*/ 269172 h 269172"/>
              <a:gd name="connsiteX2" fmla="*/ 132838 w 248198"/>
              <a:gd name="connsiteY2" fmla="*/ 136334 h 269172"/>
              <a:gd name="connsiteX3" fmla="*/ 0 w 248198"/>
              <a:gd name="connsiteY3" fmla="*/ 0 h 269172"/>
              <a:gd name="connsiteX4" fmla="*/ 116525 w 248198"/>
              <a:gd name="connsiteY4" fmla="*/ 0 h 269172"/>
              <a:gd name="connsiteX5" fmla="*/ 248198 w 248198"/>
              <a:gd name="connsiteY5" fmla="*/ 132838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6334"/>
                </a:lnTo>
                <a:lnTo>
                  <a:pt x="0" y="0"/>
                </a:lnTo>
                <a:lnTo>
                  <a:pt x="116525" y="0"/>
                </a:lnTo>
                <a:lnTo>
                  <a:pt x="248198" y="132838"/>
                </a:lnTo>
                <a:close/>
              </a:path>
            </a:pathLst>
          </a:custGeom>
          <a:solidFill>
            <a:srgbClr val="EEF2F5"/>
          </a:solidFill>
          <a:ln w="11643" cap="flat">
            <a:noFill/>
            <a:prstDash val="solid"/>
            <a:miter/>
          </a:ln>
        </p:spPr>
        <p:txBody>
          <a:bodyPr rtlCol="0" anchor="ctr"/>
          <a:lstStyle/>
          <a:p>
            <a:pPr rtl="0"/>
            <a:endParaRPr lang="en-US"/>
          </a:p>
        </p:txBody>
      </p:sp>
      <p:sp>
        <p:nvSpPr>
          <p:cNvPr id="200" name="Freihandform: Form 199">
            <a:extLst>
              <a:ext uri="{FF2B5EF4-FFF2-40B4-BE49-F238E27FC236}">
                <a16:creationId xmlns:a16="http://schemas.microsoft.com/office/drawing/2014/main" id="{D91A4514-348C-465D-A689-222304D82209}"/>
              </a:ext>
            </a:extLst>
          </p:cNvPr>
          <p:cNvSpPr/>
          <p:nvPr/>
        </p:nvSpPr>
        <p:spPr>
          <a:xfrm>
            <a:off x="9761293" y="5879190"/>
            <a:ext cx="248198" cy="269172"/>
          </a:xfrm>
          <a:custGeom>
            <a:avLst/>
            <a:gdLst>
              <a:gd name="connsiteX0" fmla="*/ 114195 w 248198"/>
              <a:gd name="connsiteY0" fmla="*/ 269172 h 269172"/>
              <a:gd name="connsiteX1" fmla="*/ 0 w 248198"/>
              <a:gd name="connsiteY1" fmla="*/ 269172 h 269172"/>
              <a:gd name="connsiteX2" fmla="*/ 132838 w 248198"/>
              <a:gd name="connsiteY2" fmla="*/ 135169 h 269172"/>
              <a:gd name="connsiteX3" fmla="*/ 0 w 248198"/>
              <a:gd name="connsiteY3" fmla="*/ 0 h 269172"/>
              <a:gd name="connsiteX4" fmla="*/ 116525 w 248198"/>
              <a:gd name="connsiteY4" fmla="*/ 0 h 269172"/>
              <a:gd name="connsiteX5" fmla="*/ 248198 w 248198"/>
              <a:gd name="connsiteY5" fmla="*/ 131673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pPr rtl="0"/>
            <a:endParaRPr lang="en-US"/>
          </a:p>
        </p:txBody>
      </p:sp>
      <p:sp>
        <p:nvSpPr>
          <p:cNvPr id="217" name="Freihandform: Form 216">
            <a:extLst>
              <a:ext uri="{FF2B5EF4-FFF2-40B4-BE49-F238E27FC236}">
                <a16:creationId xmlns:a16="http://schemas.microsoft.com/office/drawing/2014/main" id="{1B4C065C-ED4E-40BF-AA0C-B75D23AF7B43}"/>
              </a:ext>
            </a:extLst>
          </p:cNvPr>
          <p:cNvSpPr/>
          <p:nvPr/>
        </p:nvSpPr>
        <p:spPr>
          <a:xfrm>
            <a:off x="9761293" y="6233426"/>
            <a:ext cx="248198" cy="269172"/>
          </a:xfrm>
          <a:custGeom>
            <a:avLst/>
            <a:gdLst>
              <a:gd name="connsiteX0" fmla="*/ 114195 w 248198"/>
              <a:gd name="connsiteY0" fmla="*/ 269172 h 269172"/>
              <a:gd name="connsiteX1" fmla="*/ 0 w 248198"/>
              <a:gd name="connsiteY1" fmla="*/ 269172 h 269172"/>
              <a:gd name="connsiteX2" fmla="*/ 132838 w 248198"/>
              <a:gd name="connsiteY2" fmla="*/ 136334 h 269172"/>
              <a:gd name="connsiteX3" fmla="*/ 0 w 248198"/>
              <a:gd name="connsiteY3" fmla="*/ 0 h 269172"/>
              <a:gd name="connsiteX4" fmla="*/ 116525 w 248198"/>
              <a:gd name="connsiteY4" fmla="*/ 0 h 269172"/>
              <a:gd name="connsiteX5" fmla="*/ 248198 w 248198"/>
              <a:gd name="connsiteY5" fmla="*/ 132838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6334"/>
                </a:lnTo>
                <a:lnTo>
                  <a:pt x="0" y="0"/>
                </a:lnTo>
                <a:lnTo>
                  <a:pt x="116525" y="0"/>
                </a:lnTo>
                <a:lnTo>
                  <a:pt x="248198" y="132838"/>
                </a:lnTo>
                <a:close/>
              </a:path>
            </a:pathLst>
          </a:custGeom>
          <a:solidFill>
            <a:srgbClr val="EEF2F5"/>
          </a:solidFill>
          <a:ln w="11643" cap="flat">
            <a:noFill/>
            <a:prstDash val="solid"/>
            <a:miter/>
          </a:ln>
        </p:spPr>
        <p:txBody>
          <a:bodyPr rtlCol="0" anchor="ctr"/>
          <a:lstStyle/>
          <a:p>
            <a:pPr rtl="0"/>
            <a:endParaRPr lang="en-US"/>
          </a:p>
        </p:txBody>
      </p:sp>
      <p:sp>
        <p:nvSpPr>
          <p:cNvPr id="233" name="Freihandform: Form 232">
            <a:extLst>
              <a:ext uri="{FF2B5EF4-FFF2-40B4-BE49-F238E27FC236}">
                <a16:creationId xmlns:a16="http://schemas.microsoft.com/office/drawing/2014/main" id="{26A7552F-9339-4F13-B25C-D2F62499E1D6}"/>
              </a:ext>
            </a:extLst>
          </p:cNvPr>
          <p:cNvSpPr/>
          <p:nvPr/>
        </p:nvSpPr>
        <p:spPr>
          <a:xfrm>
            <a:off x="9761293" y="6588826"/>
            <a:ext cx="248198" cy="269172"/>
          </a:xfrm>
          <a:custGeom>
            <a:avLst/>
            <a:gdLst>
              <a:gd name="connsiteX0" fmla="*/ 114195 w 248198"/>
              <a:gd name="connsiteY0" fmla="*/ 269172 h 269172"/>
              <a:gd name="connsiteX1" fmla="*/ 0 w 248198"/>
              <a:gd name="connsiteY1" fmla="*/ 269172 h 269172"/>
              <a:gd name="connsiteX2" fmla="*/ 132838 w 248198"/>
              <a:gd name="connsiteY2" fmla="*/ 135169 h 269172"/>
              <a:gd name="connsiteX3" fmla="*/ 0 w 248198"/>
              <a:gd name="connsiteY3" fmla="*/ 0 h 269172"/>
              <a:gd name="connsiteX4" fmla="*/ 116525 w 248198"/>
              <a:gd name="connsiteY4" fmla="*/ 0 h 269172"/>
              <a:gd name="connsiteX5" fmla="*/ 248198 w 248198"/>
              <a:gd name="connsiteY5" fmla="*/ 131673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pPr rtl="0"/>
            <a:endParaRPr lang="en-US"/>
          </a:p>
        </p:txBody>
      </p:sp>
      <p:sp>
        <p:nvSpPr>
          <p:cNvPr id="10" name="Textplatzhalter 9">
            <a:extLst>
              <a:ext uri="{FF2B5EF4-FFF2-40B4-BE49-F238E27FC236}">
                <a16:creationId xmlns:a16="http://schemas.microsoft.com/office/drawing/2014/main" id="{87105EF2-AC01-455D-9C26-5D6999587D6D}"/>
              </a:ext>
            </a:extLst>
          </p:cNvPr>
          <p:cNvSpPr>
            <a:spLocks noGrp="1"/>
          </p:cNvSpPr>
          <p:nvPr userDrawn="1">
            <p:ph type="body" sz="quarter" idx="11"/>
          </p:nvPr>
        </p:nvSpPr>
        <p:spPr>
          <a:xfrm>
            <a:off x="815951" y="1979612"/>
            <a:ext cx="10560096" cy="4338638"/>
          </a:xfrm>
          <a:prstGeom prst="rect">
            <a:avLst/>
          </a:prstGeom>
        </p:spPr>
        <p:txBody>
          <a:bodyPr>
            <a:normAutofit/>
          </a:bodyPr>
          <a:lstStyle>
            <a:lvl1pPr marL="266700" indent="-266700" rtl="0">
              <a:buSzPct val="120000"/>
              <a:buFontTx/>
              <a:buBlip>
                <a:blip r:embed="rId5"/>
              </a:buBlip>
              <a:defRPr sz="1800"/>
            </a:lvl1pPr>
            <a:lvl2pPr marL="630238" indent="-268288" rtl="0">
              <a:buSzPct val="120000"/>
              <a:buFontTx/>
              <a:buBlip>
                <a:blip r:embed="rId5"/>
              </a:buBlip>
              <a:defRPr sz="1800"/>
            </a:lvl2pPr>
            <a:lvl3pPr marL="990600" indent="-274638" rtl="0">
              <a:buSzPct val="120000"/>
              <a:buFontTx/>
              <a:buBlip>
                <a:blip r:embed="rId5"/>
              </a:buBlip>
              <a:defRPr sz="1800"/>
            </a:lvl3pPr>
            <a:lvl4pPr marL="1343025" indent="-263525" rtl="0">
              <a:buSzPct val="120000"/>
              <a:buFontTx/>
              <a:buBlip>
                <a:blip r:embed="rId5"/>
              </a:buBlip>
              <a:defRPr sz="1800"/>
            </a:lvl4pPr>
            <a:lvl5pPr marL="1704975" indent="-271463" rtl="0">
              <a:buSzPct val="120000"/>
              <a:buFontTx/>
              <a:buBlip>
                <a:blip r:embed="rId5"/>
              </a:buBlip>
              <a:defRPr sz="1800"/>
            </a:lvl5pPr>
          </a:lstStyle>
          <a:p>
            <a:pPr lvl="0"/>
            <a:r>
              <a:rPr lang="en-US" err="1"/>
              <a:t>Mastertextformat bearbeiten</a:t>
            </a:r>
            <a:endParaRPr lang="en-US"/>
          </a:p>
          <a:p>
            <a:pPr lvl="1"/>
            <a:r>
              <a:rPr lang="en-US" err="1"/>
              <a:t>Zweite Ebene</a:t>
            </a:r>
          </a:p>
          <a:p>
            <a:pPr lvl="2"/>
            <a:r>
              <a:rPr lang="en-US" err="1"/>
              <a:t>Dritte Ebene</a:t>
            </a:r>
          </a:p>
          <a:p>
            <a:pPr lvl="3"/>
            <a:r>
              <a:rPr lang="en-US" err="1"/>
              <a:t>Vierte Ebene</a:t>
            </a:r>
          </a:p>
          <a:p>
            <a:pPr lvl="4"/>
            <a:r>
              <a:rPr lang="en-US" err="1"/>
              <a:t>Fünfte Ebene</a:t>
            </a:r>
          </a:p>
        </p:txBody>
      </p:sp>
      <p:sp>
        <p:nvSpPr>
          <p:cNvPr id="9" name="Titel 1">
            <a:extLst>
              <a:ext uri="{FF2B5EF4-FFF2-40B4-BE49-F238E27FC236}">
                <a16:creationId xmlns:a16="http://schemas.microsoft.com/office/drawing/2014/main" id="{768F8261-4469-5875-C389-5A888520530C}"/>
              </a:ext>
            </a:extLst>
          </p:cNvPr>
          <p:cNvSpPr>
            <a:spLocks noGrp="1"/>
          </p:cNvSpPr>
          <p:nvPr>
            <p:ph type="title"/>
          </p:nvPr>
        </p:nvSpPr>
        <p:spPr>
          <a:xfrm>
            <a:off x="815952" y="733402"/>
            <a:ext cx="10560096" cy="767737"/>
          </a:xfrm>
        </p:spPr>
        <p:txBody>
          <a:bodyPr vert="horz"/>
          <a:lstStyle>
            <a:lvl1pPr rtl="0">
              <a:defRPr/>
            </a:lvl1pPr>
          </a:lstStyle>
          <a:p>
            <a:r>
              <a:rPr lang="en-US" err="1"/>
              <a:t>Mastertitelformat bearbeiten</a:t>
            </a:r>
            <a:endParaRPr lang="en-US"/>
          </a:p>
        </p:txBody>
      </p:sp>
      <p:sp>
        <p:nvSpPr>
          <p:cNvPr id="4" name="Rectangle 3">
            <a:extLst>
              <a:ext uri="{FF2B5EF4-FFF2-40B4-BE49-F238E27FC236}">
                <a16:creationId xmlns:a16="http://schemas.microsoft.com/office/drawing/2014/main" id="{9C6BA784-439F-B2CF-E317-FFEFB65478DB}"/>
              </a:ext>
            </a:extLst>
          </p:cNvPr>
          <p:cNvSpPr/>
          <p:nvPr userDrawn="1"/>
        </p:nvSpPr>
        <p:spPr>
          <a:xfrm>
            <a:off x="0" y="0"/>
            <a:ext cx="12204000" cy="3608121"/>
          </a:xfrm>
          <a:prstGeom prst="rect">
            <a:avLst/>
          </a:prstGeom>
          <a:gradFill flip="none" rotWithShape="1">
            <a:gsLst>
              <a:gs pos="100000">
                <a:schemeClr val="tx1"/>
              </a:gs>
              <a:gs pos="0">
                <a:srgbClr val="262627"/>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856795511"/>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2" presetClass="entr" presetSubtype="8" dur="1000" decel="10000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1000" fill="hold"/>
                                        <p:tgtEl>
                                          <p:spTgt spid="10"/>
                                        </p:tgtEl>
                                        <p:attrNameLst>
                                          <p:attrName>ppt_x</p:attrName>
                                        </p:attrNameLst>
                                      </p:cBhvr>
                                      <p:tavLst>
                                        <p:tav tm="0">
                                          <p:val>
                                            <p:strVal val="0-#ppt_w/2"/>
                                          </p:val>
                                        </p:tav>
                                        <p:tav tm="100000">
                                          <p:val>
                                            <p:strVal val="#ppt_x"/>
                                          </p:val>
                                        </p:tav>
                                      </p:tavLst>
                                    </p:anim>
                                    <p:anim calcmode="lin" valueType="num">
                                      <p:cBhvr additive="base">
                                        <p:cTn id="8" dur="1000" fill="hold"/>
                                        <p:tgtEl>
                                          <p:spTgt spid="10"/>
                                        </p:tgtEl>
                                        <p:attrNameLst>
                                          <p:attrName>ppt_y</p:attrName>
                                        </p:attrNameLst>
                                      </p:cBhvr>
                                      <p:tavLst>
                                        <p:tav tm="0">
                                          <p:val>
                                            <p:strVal val="#ppt_y"/>
                                          </p:val>
                                        </p:tav>
                                        <p:tav tm="100000">
                                          <p:val>
                                            <p:strVal val="#ppt_y"/>
                                          </p:val>
                                        </p:tav>
                                      </p:tavLst>
                                    </p:anim>
                                  </p:childTnLst>
                                </p:cTn>
                              </p:par>
                              <p:par>
                                <p:cTn id="9" presetID="26" presetClass="emph" presetSubtype="0" dur="2000" repeatCount="indefinite" fill="hold" grpId="0" nodeType="withEffect">
                                  <p:stCondLst>
                                    <p:cond delay="0"/>
                                  </p:stCondLst>
                                  <p:childTnLst>
                                    <p:animEffect transition="out" filter="fade">
                                      <p:cBhvr>
                                        <p:cTn id="10" dur="2000" tmFilter="0, 0; .2, .5; .8, .5; 1, 0"/>
                                        <p:tgtEl>
                                          <p:spTgt spid="5"/>
                                        </p:tgtEl>
                                      </p:cBhvr>
                                    </p:animEffect>
                                    <p:animScale>
                                      <p:cBhvr>
                                        <p:cTn id="11" dur="1000" autoRev="1" fill="hold"/>
                                        <p:tgtEl>
                                          <p:spTgt spid="5"/>
                                        </p:tgtEl>
                                      </p:cBhvr>
                                      <p:by x="105000" y="105000"/>
                                    </p:animScale>
                                  </p:childTnLst>
                                </p:cTn>
                              </p:par>
                              <p:par>
                                <p:cTn id="12" presetID="26" presetClass="emph" presetSubtype="0" dur="2000" repeatCount="indefinite" fill="hold" grpId="0" nodeType="withEffect">
                                  <p:stCondLst>
                                    <p:cond delay="0"/>
                                  </p:stCondLst>
                                  <p:childTnLst>
                                    <p:animEffect transition="out" filter="fade">
                                      <p:cBhvr>
                                        <p:cTn id="13" dur="2000" tmFilter="0, 0; .2, .5; .8, .5; 1, 0"/>
                                        <p:tgtEl>
                                          <p:spTgt spid="22"/>
                                        </p:tgtEl>
                                      </p:cBhvr>
                                    </p:animEffect>
                                    <p:animScale>
                                      <p:cBhvr>
                                        <p:cTn id="14" dur="1000" autoRev="1" fill="hold"/>
                                        <p:tgtEl>
                                          <p:spTgt spid="22"/>
                                        </p:tgtEl>
                                      </p:cBhvr>
                                      <p:by x="105000" y="105000"/>
                                    </p:animScale>
                                  </p:childTnLst>
                                </p:cTn>
                              </p:par>
                              <p:par>
                                <p:cTn id="15" presetID="26" presetClass="emph" presetSubtype="0" dur="2000" repeatCount="indefinite" fill="hold" grpId="0" nodeType="withEffect">
                                  <p:stCondLst>
                                    <p:cond delay="0"/>
                                  </p:stCondLst>
                                  <p:childTnLst>
                                    <p:animEffect transition="out" filter="fade">
                                      <p:cBhvr>
                                        <p:cTn id="16" dur="2000" tmFilter="0, 0; .2, .5; .8, .5; 1, 0"/>
                                        <p:tgtEl>
                                          <p:spTgt spid="38"/>
                                        </p:tgtEl>
                                      </p:cBhvr>
                                    </p:animEffect>
                                    <p:animScale>
                                      <p:cBhvr>
                                        <p:cTn id="17" dur="1000" autoRev="1" fill="hold"/>
                                        <p:tgtEl>
                                          <p:spTgt spid="38"/>
                                        </p:tgtEl>
                                      </p:cBhvr>
                                      <p:by x="105000" y="105000"/>
                                    </p:animScale>
                                  </p:childTnLst>
                                </p:cTn>
                              </p:par>
                              <p:par>
                                <p:cTn id="18" presetID="26" presetClass="emph" presetSubtype="0" dur="2000" repeatCount="indefinite" fill="hold" grpId="0" nodeType="withEffect">
                                  <p:stCondLst>
                                    <p:cond delay="0"/>
                                  </p:stCondLst>
                                  <p:childTnLst>
                                    <p:animEffect transition="out" filter="fade">
                                      <p:cBhvr>
                                        <p:cTn id="19" dur="2000" tmFilter="0, 0; .2, .5; .8, .5; 1, 0"/>
                                        <p:tgtEl>
                                          <p:spTgt spid="203"/>
                                        </p:tgtEl>
                                      </p:cBhvr>
                                    </p:animEffect>
                                    <p:animScale>
                                      <p:cBhvr>
                                        <p:cTn id="20" dur="1000" autoRev="1" fill="hold"/>
                                        <p:tgtEl>
                                          <p:spTgt spid="203"/>
                                        </p:tgtEl>
                                      </p:cBhvr>
                                      <p:by x="105000" y="105000"/>
                                    </p:animScale>
                                  </p:childTnLst>
                                </p:cTn>
                              </p:par>
                              <p:par>
                                <p:cTn id="21" presetID="26" presetClass="emph" presetSubtype="0" dur="2000" repeatCount="indefinite" fill="hold" grpId="0" nodeType="withEffect">
                                  <p:stCondLst>
                                    <p:cond delay="0"/>
                                  </p:stCondLst>
                                  <p:childTnLst>
                                    <p:animEffect transition="out" filter="fade">
                                      <p:cBhvr>
                                        <p:cTn id="22" dur="2000" tmFilter="0, 0; .2, .5; .8, .5; 1, 0"/>
                                        <p:tgtEl>
                                          <p:spTgt spid="219"/>
                                        </p:tgtEl>
                                      </p:cBhvr>
                                    </p:animEffect>
                                    <p:animScale>
                                      <p:cBhvr>
                                        <p:cTn id="23" dur="1000" autoRev="1" fill="hold"/>
                                        <p:tgtEl>
                                          <p:spTgt spid="219"/>
                                        </p:tgtEl>
                                      </p:cBhvr>
                                      <p:by x="105000" y="105000"/>
                                    </p:animScale>
                                  </p:childTnLst>
                                </p:cTn>
                              </p:par>
                              <p:par>
                                <p:cTn id="24" presetID="26" presetClass="emph" presetSubtype="0" dur="2000" repeatCount="indefinite" fill="hold" grpId="0" nodeType="withEffect">
                                  <p:stCondLst>
                                    <p:cond delay="250"/>
                                  </p:stCondLst>
                                  <p:childTnLst>
                                    <p:animEffect transition="out" filter="fade">
                                      <p:cBhvr>
                                        <p:cTn id="25" dur="2000" tmFilter="0, 0; .2, .5; .8, .5; 1, 0"/>
                                        <p:tgtEl>
                                          <p:spTgt spid="6"/>
                                        </p:tgtEl>
                                      </p:cBhvr>
                                    </p:animEffect>
                                    <p:animScale>
                                      <p:cBhvr>
                                        <p:cTn id="26" dur="1000" autoRev="1" fill="hold"/>
                                        <p:tgtEl>
                                          <p:spTgt spid="6"/>
                                        </p:tgtEl>
                                      </p:cBhvr>
                                      <p:by x="105000" y="105000"/>
                                    </p:animScale>
                                  </p:childTnLst>
                                </p:cTn>
                              </p:par>
                              <p:par>
                                <p:cTn id="27" presetID="26" presetClass="emph" presetSubtype="0" dur="2000" repeatCount="indefinite" fill="hold" grpId="0" nodeType="withEffect">
                                  <p:stCondLst>
                                    <p:cond delay="250"/>
                                  </p:stCondLst>
                                  <p:childTnLst>
                                    <p:animEffect transition="out" filter="fade">
                                      <p:cBhvr>
                                        <p:cTn id="28" dur="2000" tmFilter="0, 0; .2, .5; .8, .5; 1, 0"/>
                                        <p:tgtEl>
                                          <p:spTgt spid="23"/>
                                        </p:tgtEl>
                                      </p:cBhvr>
                                    </p:animEffect>
                                    <p:animScale>
                                      <p:cBhvr>
                                        <p:cTn id="29" dur="1000" autoRev="1" fill="hold"/>
                                        <p:tgtEl>
                                          <p:spTgt spid="23"/>
                                        </p:tgtEl>
                                      </p:cBhvr>
                                      <p:by x="105000" y="105000"/>
                                    </p:animScale>
                                  </p:childTnLst>
                                </p:cTn>
                              </p:par>
                              <p:par>
                                <p:cTn id="30" presetID="26" presetClass="emph" presetSubtype="0" dur="2000" repeatCount="indefinite" fill="hold" grpId="0" nodeType="withEffect">
                                  <p:stCondLst>
                                    <p:cond delay="250"/>
                                  </p:stCondLst>
                                  <p:childTnLst>
                                    <p:animEffect transition="out" filter="fade">
                                      <p:cBhvr>
                                        <p:cTn id="31" dur="2000" tmFilter="0, 0; .2, .5; .8, .5; 1, 0"/>
                                        <p:tgtEl>
                                          <p:spTgt spid="39"/>
                                        </p:tgtEl>
                                      </p:cBhvr>
                                    </p:animEffect>
                                    <p:animScale>
                                      <p:cBhvr>
                                        <p:cTn id="32" dur="1000" autoRev="1" fill="hold"/>
                                        <p:tgtEl>
                                          <p:spTgt spid="39"/>
                                        </p:tgtEl>
                                      </p:cBhvr>
                                      <p:by x="105000" y="105000"/>
                                    </p:animScale>
                                  </p:childTnLst>
                                </p:cTn>
                              </p:par>
                              <p:par>
                                <p:cTn id="33" presetID="26" presetClass="emph" presetSubtype="0" dur="2000" repeatCount="indefinite" fill="hold" grpId="0" nodeType="withEffect">
                                  <p:stCondLst>
                                    <p:cond delay="250"/>
                                  </p:stCondLst>
                                  <p:childTnLst>
                                    <p:animEffect transition="out" filter="fade">
                                      <p:cBhvr>
                                        <p:cTn id="34" dur="2000" tmFilter="0, 0; .2, .5; .8, .5; 1, 0"/>
                                        <p:tgtEl>
                                          <p:spTgt spid="55"/>
                                        </p:tgtEl>
                                      </p:cBhvr>
                                    </p:animEffect>
                                    <p:animScale>
                                      <p:cBhvr>
                                        <p:cTn id="35" dur="1000" autoRev="1" fill="hold"/>
                                        <p:tgtEl>
                                          <p:spTgt spid="55"/>
                                        </p:tgtEl>
                                      </p:cBhvr>
                                      <p:by x="105000" y="105000"/>
                                    </p:animScale>
                                  </p:childTnLst>
                                </p:cTn>
                              </p:par>
                              <p:par>
                                <p:cTn id="36" presetID="26" presetClass="emph" presetSubtype="0" dur="2000" repeatCount="indefinite" fill="hold" grpId="0" nodeType="withEffect">
                                  <p:stCondLst>
                                    <p:cond delay="250"/>
                                  </p:stCondLst>
                                  <p:childTnLst>
                                    <p:animEffect transition="out" filter="fade">
                                      <p:cBhvr>
                                        <p:cTn id="37" dur="2000" tmFilter="0, 0; .2, .5; .8, .5; 1, 0"/>
                                        <p:tgtEl>
                                          <p:spTgt spid="187"/>
                                        </p:tgtEl>
                                      </p:cBhvr>
                                    </p:animEffect>
                                    <p:animScale>
                                      <p:cBhvr>
                                        <p:cTn id="38" dur="1000" autoRev="1" fill="hold"/>
                                        <p:tgtEl>
                                          <p:spTgt spid="187"/>
                                        </p:tgtEl>
                                      </p:cBhvr>
                                      <p:by x="105000" y="105000"/>
                                    </p:animScale>
                                  </p:childTnLst>
                                </p:cTn>
                              </p:par>
                              <p:par>
                                <p:cTn id="39" presetID="26" presetClass="emph" presetSubtype="0" dur="2000" repeatCount="indefinite" fill="hold" grpId="0" nodeType="withEffect">
                                  <p:stCondLst>
                                    <p:cond delay="250"/>
                                  </p:stCondLst>
                                  <p:childTnLst>
                                    <p:animEffect transition="out" filter="fade">
                                      <p:cBhvr>
                                        <p:cTn id="40" dur="2000" tmFilter="0, 0; .2, .5; .8, .5; 1, 0"/>
                                        <p:tgtEl>
                                          <p:spTgt spid="204"/>
                                        </p:tgtEl>
                                      </p:cBhvr>
                                    </p:animEffect>
                                    <p:animScale>
                                      <p:cBhvr>
                                        <p:cTn id="41" dur="1000" autoRev="1" fill="hold"/>
                                        <p:tgtEl>
                                          <p:spTgt spid="204"/>
                                        </p:tgtEl>
                                      </p:cBhvr>
                                      <p:by x="105000" y="105000"/>
                                    </p:animScale>
                                  </p:childTnLst>
                                </p:cTn>
                              </p:par>
                              <p:par>
                                <p:cTn id="42" presetID="26" presetClass="emph" presetSubtype="0" dur="2000" repeatCount="indefinite" fill="hold" grpId="0" nodeType="withEffect">
                                  <p:stCondLst>
                                    <p:cond delay="250"/>
                                  </p:stCondLst>
                                  <p:childTnLst>
                                    <p:animEffect transition="out" filter="fade">
                                      <p:cBhvr>
                                        <p:cTn id="43" dur="2000" tmFilter="0, 0; .2, .5; .8, .5; 1, 0"/>
                                        <p:tgtEl>
                                          <p:spTgt spid="220"/>
                                        </p:tgtEl>
                                      </p:cBhvr>
                                    </p:animEffect>
                                    <p:animScale>
                                      <p:cBhvr>
                                        <p:cTn id="44" dur="1000" autoRev="1" fill="hold"/>
                                        <p:tgtEl>
                                          <p:spTgt spid="220"/>
                                        </p:tgtEl>
                                      </p:cBhvr>
                                      <p:by x="105000" y="105000"/>
                                    </p:animScale>
                                  </p:childTnLst>
                                </p:cTn>
                              </p:par>
                              <p:par>
                                <p:cTn id="45" presetID="26" presetClass="emph" presetSubtype="0" dur="2000" repeatCount="indefinite" fill="hold" grpId="0" nodeType="withEffect">
                                  <p:stCondLst>
                                    <p:cond delay="500"/>
                                  </p:stCondLst>
                                  <p:childTnLst>
                                    <p:animEffect transition="out" filter="fade">
                                      <p:cBhvr>
                                        <p:cTn id="46" dur="2000" tmFilter="0, 0; .2, .5; .8, .5; 1, 0"/>
                                        <p:tgtEl>
                                          <p:spTgt spid="7"/>
                                        </p:tgtEl>
                                      </p:cBhvr>
                                    </p:animEffect>
                                    <p:animScale>
                                      <p:cBhvr>
                                        <p:cTn id="47" dur="1000" autoRev="1" fill="hold"/>
                                        <p:tgtEl>
                                          <p:spTgt spid="7"/>
                                        </p:tgtEl>
                                      </p:cBhvr>
                                      <p:by x="105000" y="105000"/>
                                    </p:animScale>
                                  </p:childTnLst>
                                </p:cTn>
                              </p:par>
                              <p:par>
                                <p:cTn id="48" presetID="26" presetClass="emph" presetSubtype="0" dur="2000" repeatCount="indefinite" fill="hold" grpId="0" nodeType="withEffect">
                                  <p:stCondLst>
                                    <p:cond delay="500"/>
                                  </p:stCondLst>
                                  <p:childTnLst>
                                    <p:animEffect transition="out" filter="fade">
                                      <p:cBhvr>
                                        <p:cTn id="49" dur="2000" tmFilter="0, 0; .2, .5; .8, .5; 1, 0"/>
                                        <p:tgtEl>
                                          <p:spTgt spid="24"/>
                                        </p:tgtEl>
                                      </p:cBhvr>
                                    </p:animEffect>
                                    <p:animScale>
                                      <p:cBhvr>
                                        <p:cTn id="50" dur="1000" autoRev="1" fill="hold"/>
                                        <p:tgtEl>
                                          <p:spTgt spid="24"/>
                                        </p:tgtEl>
                                      </p:cBhvr>
                                      <p:by x="105000" y="105000"/>
                                    </p:animScale>
                                  </p:childTnLst>
                                </p:cTn>
                              </p:par>
                              <p:par>
                                <p:cTn id="51" presetID="26" presetClass="emph" presetSubtype="0" dur="2000" repeatCount="indefinite" fill="hold" grpId="0" nodeType="withEffect">
                                  <p:stCondLst>
                                    <p:cond delay="500"/>
                                  </p:stCondLst>
                                  <p:childTnLst>
                                    <p:animEffect transition="out" filter="fade">
                                      <p:cBhvr>
                                        <p:cTn id="52" dur="2000" tmFilter="0, 0; .2, .5; .8, .5; 1, 0"/>
                                        <p:tgtEl>
                                          <p:spTgt spid="40"/>
                                        </p:tgtEl>
                                      </p:cBhvr>
                                    </p:animEffect>
                                    <p:animScale>
                                      <p:cBhvr>
                                        <p:cTn id="53" dur="1000" autoRev="1" fill="hold"/>
                                        <p:tgtEl>
                                          <p:spTgt spid="40"/>
                                        </p:tgtEl>
                                      </p:cBhvr>
                                      <p:by x="105000" y="105000"/>
                                    </p:animScale>
                                  </p:childTnLst>
                                </p:cTn>
                              </p:par>
                              <p:par>
                                <p:cTn id="54" presetID="26" presetClass="emph" presetSubtype="0" dur="2000" repeatCount="indefinite" fill="hold" grpId="0" nodeType="withEffect">
                                  <p:stCondLst>
                                    <p:cond delay="500"/>
                                  </p:stCondLst>
                                  <p:childTnLst>
                                    <p:animEffect transition="out" filter="fade">
                                      <p:cBhvr>
                                        <p:cTn id="55" dur="2000" tmFilter="0, 0; .2, .5; .8, .5; 1, 0"/>
                                        <p:tgtEl>
                                          <p:spTgt spid="56"/>
                                        </p:tgtEl>
                                      </p:cBhvr>
                                    </p:animEffect>
                                    <p:animScale>
                                      <p:cBhvr>
                                        <p:cTn id="56" dur="1000" autoRev="1" fill="hold"/>
                                        <p:tgtEl>
                                          <p:spTgt spid="56"/>
                                        </p:tgtEl>
                                      </p:cBhvr>
                                      <p:by x="105000" y="105000"/>
                                    </p:animScale>
                                  </p:childTnLst>
                                </p:cTn>
                              </p:par>
                              <p:par>
                                <p:cTn id="57" presetID="26" presetClass="emph" presetSubtype="0" dur="2000" repeatCount="indefinite" fill="hold" grpId="0" nodeType="withEffect">
                                  <p:stCondLst>
                                    <p:cond delay="500"/>
                                  </p:stCondLst>
                                  <p:childTnLst>
                                    <p:animEffect transition="out" filter="fade">
                                      <p:cBhvr>
                                        <p:cTn id="58" dur="2000" tmFilter="0, 0; .2, .5; .8, .5; 1, 0"/>
                                        <p:tgtEl>
                                          <p:spTgt spid="72"/>
                                        </p:tgtEl>
                                      </p:cBhvr>
                                    </p:animEffect>
                                    <p:animScale>
                                      <p:cBhvr>
                                        <p:cTn id="59" dur="1000" autoRev="1" fill="hold"/>
                                        <p:tgtEl>
                                          <p:spTgt spid="72"/>
                                        </p:tgtEl>
                                      </p:cBhvr>
                                      <p:by x="105000" y="105000"/>
                                    </p:animScale>
                                  </p:childTnLst>
                                </p:cTn>
                              </p:par>
                              <p:par>
                                <p:cTn id="60" presetID="26" presetClass="emph" presetSubtype="0" dur="2000" repeatCount="indefinite" fill="hold" grpId="0" nodeType="withEffect">
                                  <p:stCondLst>
                                    <p:cond delay="500"/>
                                  </p:stCondLst>
                                  <p:childTnLst>
                                    <p:animEffect transition="out" filter="fade">
                                      <p:cBhvr>
                                        <p:cTn id="61" dur="2000" tmFilter="0, 0; .2, .5; .8, .5; 1, 0"/>
                                        <p:tgtEl>
                                          <p:spTgt spid="171"/>
                                        </p:tgtEl>
                                      </p:cBhvr>
                                    </p:animEffect>
                                    <p:animScale>
                                      <p:cBhvr>
                                        <p:cTn id="62" dur="1000" autoRev="1" fill="hold"/>
                                        <p:tgtEl>
                                          <p:spTgt spid="171"/>
                                        </p:tgtEl>
                                      </p:cBhvr>
                                      <p:by x="105000" y="105000"/>
                                    </p:animScale>
                                  </p:childTnLst>
                                </p:cTn>
                              </p:par>
                              <p:par>
                                <p:cTn id="63" presetID="26" presetClass="emph" presetSubtype="0" dur="2000" repeatCount="indefinite" fill="hold" grpId="0" nodeType="withEffect">
                                  <p:stCondLst>
                                    <p:cond delay="500"/>
                                  </p:stCondLst>
                                  <p:childTnLst>
                                    <p:animEffect transition="out" filter="fade">
                                      <p:cBhvr>
                                        <p:cTn id="64" dur="2000" tmFilter="0, 0; .2, .5; .8, .5; 1, 0"/>
                                        <p:tgtEl>
                                          <p:spTgt spid="188"/>
                                        </p:tgtEl>
                                      </p:cBhvr>
                                    </p:animEffect>
                                    <p:animScale>
                                      <p:cBhvr>
                                        <p:cTn id="65" dur="1000" autoRev="1" fill="hold"/>
                                        <p:tgtEl>
                                          <p:spTgt spid="188"/>
                                        </p:tgtEl>
                                      </p:cBhvr>
                                      <p:by x="105000" y="105000"/>
                                    </p:animScale>
                                  </p:childTnLst>
                                </p:cTn>
                              </p:par>
                              <p:par>
                                <p:cTn id="66" presetID="26" presetClass="emph" presetSubtype="0" dur="2000" repeatCount="indefinite" fill="hold" grpId="0" nodeType="withEffect">
                                  <p:stCondLst>
                                    <p:cond delay="500"/>
                                  </p:stCondLst>
                                  <p:childTnLst>
                                    <p:animEffect transition="out" filter="fade">
                                      <p:cBhvr>
                                        <p:cTn id="67" dur="2000" tmFilter="0, 0; .2, .5; .8, .5; 1, 0"/>
                                        <p:tgtEl>
                                          <p:spTgt spid="205"/>
                                        </p:tgtEl>
                                      </p:cBhvr>
                                    </p:animEffect>
                                    <p:animScale>
                                      <p:cBhvr>
                                        <p:cTn id="68" dur="1000" autoRev="1" fill="hold"/>
                                        <p:tgtEl>
                                          <p:spTgt spid="205"/>
                                        </p:tgtEl>
                                      </p:cBhvr>
                                      <p:by x="105000" y="105000"/>
                                    </p:animScale>
                                  </p:childTnLst>
                                </p:cTn>
                              </p:par>
                              <p:par>
                                <p:cTn id="69" presetID="26" presetClass="emph" presetSubtype="0" dur="2000" repeatCount="indefinite" fill="hold" grpId="0" nodeType="withEffect">
                                  <p:stCondLst>
                                    <p:cond delay="500"/>
                                  </p:stCondLst>
                                  <p:childTnLst>
                                    <p:animEffect transition="out" filter="fade">
                                      <p:cBhvr>
                                        <p:cTn id="70" dur="2000" tmFilter="0, 0; .2, .5; .8, .5; 1, 0"/>
                                        <p:tgtEl>
                                          <p:spTgt spid="221"/>
                                        </p:tgtEl>
                                      </p:cBhvr>
                                    </p:animEffect>
                                    <p:animScale>
                                      <p:cBhvr>
                                        <p:cTn id="71" dur="1000" autoRev="1" fill="hold"/>
                                        <p:tgtEl>
                                          <p:spTgt spid="221"/>
                                        </p:tgtEl>
                                      </p:cBhvr>
                                      <p:by x="105000" y="105000"/>
                                    </p:animScale>
                                  </p:childTnLst>
                                </p:cTn>
                              </p:par>
                              <p:par>
                                <p:cTn id="72" presetID="26" presetClass="emph" presetSubtype="0" dur="2000" repeatCount="indefinite" fill="hold" grpId="0" nodeType="withEffect">
                                  <p:stCondLst>
                                    <p:cond delay="750"/>
                                  </p:stCondLst>
                                  <p:childTnLst>
                                    <p:animEffect transition="out" filter="fade">
                                      <p:cBhvr>
                                        <p:cTn id="73" dur="2000" tmFilter="0, 0; .2, .5; .8, .5; 1, 0"/>
                                        <p:tgtEl>
                                          <p:spTgt spid="8"/>
                                        </p:tgtEl>
                                      </p:cBhvr>
                                    </p:animEffect>
                                    <p:animScale>
                                      <p:cBhvr>
                                        <p:cTn id="74" dur="1000" autoRev="1" fill="hold"/>
                                        <p:tgtEl>
                                          <p:spTgt spid="8"/>
                                        </p:tgtEl>
                                      </p:cBhvr>
                                      <p:by x="105000" y="105000"/>
                                    </p:animScale>
                                  </p:childTnLst>
                                </p:cTn>
                              </p:par>
                              <p:par>
                                <p:cTn id="75" presetID="26" presetClass="emph" presetSubtype="0" dur="2000" repeatCount="indefinite" fill="hold" grpId="0" nodeType="withEffect">
                                  <p:stCondLst>
                                    <p:cond delay="750"/>
                                  </p:stCondLst>
                                  <p:childTnLst>
                                    <p:animEffect transition="out" filter="fade">
                                      <p:cBhvr>
                                        <p:cTn id="76" dur="2000" tmFilter="0, 0; .2, .5; .8, .5; 1, 0"/>
                                        <p:tgtEl>
                                          <p:spTgt spid="25"/>
                                        </p:tgtEl>
                                      </p:cBhvr>
                                    </p:animEffect>
                                    <p:animScale>
                                      <p:cBhvr>
                                        <p:cTn id="77" dur="1000" autoRev="1" fill="hold"/>
                                        <p:tgtEl>
                                          <p:spTgt spid="25"/>
                                        </p:tgtEl>
                                      </p:cBhvr>
                                      <p:by x="105000" y="105000"/>
                                    </p:animScale>
                                  </p:childTnLst>
                                </p:cTn>
                              </p:par>
                              <p:par>
                                <p:cTn id="78" presetID="26" presetClass="emph" presetSubtype="0" dur="2000" repeatCount="indefinite" fill="hold" grpId="0" nodeType="withEffect">
                                  <p:stCondLst>
                                    <p:cond delay="750"/>
                                  </p:stCondLst>
                                  <p:childTnLst>
                                    <p:animEffect transition="out" filter="fade">
                                      <p:cBhvr>
                                        <p:cTn id="79" dur="2000" tmFilter="0, 0; .2, .5; .8, .5; 1, 0"/>
                                        <p:tgtEl>
                                          <p:spTgt spid="41"/>
                                        </p:tgtEl>
                                      </p:cBhvr>
                                    </p:animEffect>
                                    <p:animScale>
                                      <p:cBhvr>
                                        <p:cTn id="80" dur="1000" autoRev="1" fill="hold"/>
                                        <p:tgtEl>
                                          <p:spTgt spid="41"/>
                                        </p:tgtEl>
                                      </p:cBhvr>
                                      <p:by x="105000" y="105000"/>
                                    </p:animScale>
                                  </p:childTnLst>
                                </p:cTn>
                              </p:par>
                              <p:par>
                                <p:cTn id="81" presetID="26" presetClass="emph" presetSubtype="0" dur="2000" repeatCount="indefinite" fill="hold" grpId="0" nodeType="withEffect">
                                  <p:stCondLst>
                                    <p:cond delay="750"/>
                                  </p:stCondLst>
                                  <p:childTnLst>
                                    <p:animEffect transition="out" filter="fade">
                                      <p:cBhvr>
                                        <p:cTn id="82" dur="2000" tmFilter="0, 0; .2, .5; .8, .5; 1, 0"/>
                                        <p:tgtEl>
                                          <p:spTgt spid="57"/>
                                        </p:tgtEl>
                                      </p:cBhvr>
                                    </p:animEffect>
                                    <p:animScale>
                                      <p:cBhvr>
                                        <p:cTn id="83" dur="1000" autoRev="1" fill="hold"/>
                                        <p:tgtEl>
                                          <p:spTgt spid="57"/>
                                        </p:tgtEl>
                                      </p:cBhvr>
                                      <p:by x="105000" y="105000"/>
                                    </p:animScale>
                                  </p:childTnLst>
                                </p:cTn>
                              </p:par>
                              <p:par>
                                <p:cTn id="84" presetID="26" presetClass="emph" presetSubtype="0" dur="2000" repeatCount="indefinite" fill="hold" grpId="0" nodeType="withEffect">
                                  <p:stCondLst>
                                    <p:cond delay="750"/>
                                  </p:stCondLst>
                                  <p:childTnLst>
                                    <p:animEffect transition="out" filter="fade">
                                      <p:cBhvr>
                                        <p:cTn id="85" dur="2000" tmFilter="0, 0; .2, .5; .8, .5; 1, 0"/>
                                        <p:tgtEl>
                                          <p:spTgt spid="73"/>
                                        </p:tgtEl>
                                      </p:cBhvr>
                                    </p:animEffect>
                                    <p:animScale>
                                      <p:cBhvr>
                                        <p:cTn id="86" dur="1000" autoRev="1" fill="hold"/>
                                        <p:tgtEl>
                                          <p:spTgt spid="73"/>
                                        </p:tgtEl>
                                      </p:cBhvr>
                                      <p:by x="105000" y="105000"/>
                                    </p:animScale>
                                  </p:childTnLst>
                                </p:cTn>
                              </p:par>
                              <p:par>
                                <p:cTn id="87" presetID="26" presetClass="emph" presetSubtype="0" dur="2000" repeatCount="indefinite" fill="hold" grpId="0" nodeType="withEffect">
                                  <p:stCondLst>
                                    <p:cond delay="750"/>
                                  </p:stCondLst>
                                  <p:childTnLst>
                                    <p:animEffect transition="out" filter="fade">
                                      <p:cBhvr>
                                        <p:cTn id="88" dur="2000" tmFilter="0, 0; .2, .5; .8, .5; 1, 0"/>
                                        <p:tgtEl>
                                          <p:spTgt spid="89"/>
                                        </p:tgtEl>
                                      </p:cBhvr>
                                    </p:animEffect>
                                    <p:animScale>
                                      <p:cBhvr>
                                        <p:cTn id="89" dur="1000" autoRev="1" fill="hold"/>
                                        <p:tgtEl>
                                          <p:spTgt spid="89"/>
                                        </p:tgtEl>
                                      </p:cBhvr>
                                      <p:by x="105000" y="105000"/>
                                    </p:animScale>
                                  </p:childTnLst>
                                </p:cTn>
                              </p:par>
                              <p:par>
                                <p:cTn id="90" presetID="26" presetClass="emph" presetSubtype="0" dur="2000" repeatCount="indefinite" fill="hold" grpId="0" nodeType="withEffect">
                                  <p:stCondLst>
                                    <p:cond delay="750"/>
                                  </p:stCondLst>
                                  <p:childTnLst>
                                    <p:animEffect transition="out" filter="fade">
                                      <p:cBhvr>
                                        <p:cTn id="91" dur="2000" tmFilter="0, 0; .2, .5; .8, .5; 1, 0"/>
                                        <p:tgtEl>
                                          <p:spTgt spid="155"/>
                                        </p:tgtEl>
                                      </p:cBhvr>
                                    </p:animEffect>
                                    <p:animScale>
                                      <p:cBhvr>
                                        <p:cTn id="92" dur="1000" autoRev="1" fill="hold"/>
                                        <p:tgtEl>
                                          <p:spTgt spid="155"/>
                                        </p:tgtEl>
                                      </p:cBhvr>
                                      <p:by x="105000" y="105000"/>
                                    </p:animScale>
                                  </p:childTnLst>
                                </p:cTn>
                              </p:par>
                              <p:par>
                                <p:cTn id="93" presetID="26" presetClass="emph" presetSubtype="0" dur="2000" repeatCount="indefinite" fill="hold" grpId="0" nodeType="withEffect">
                                  <p:stCondLst>
                                    <p:cond delay="750"/>
                                  </p:stCondLst>
                                  <p:childTnLst>
                                    <p:animEffect transition="out" filter="fade">
                                      <p:cBhvr>
                                        <p:cTn id="94" dur="2000" tmFilter="0, 0; .2, .5; .8, .5; 1, 0"/>
                                        <p:tgtEl>
                                          <p:spTgt spid="172"/>
                                        </p:tgtEl>
                                      </p:cBhvr>
                                    </p:animEffect>
                                    <p:animScale>
                                      <p:cBhvr>
                                        <p:cTn id="95" dur="1000" autoRev="1" fill="hold"/>
                                        <p:tgtEl>
                                          <p:spTgt spid="172"/>
                                        </p:tgtEl>
                                      </p:cBhvr>
                                      <p:by x="105000" y="105000"/>
                                    </p:animScale>
                                  </p:childTnLst>
                                </p:cTn>
                              </p:par>
                              <p:par>
                                <p:cTn id="96" presetID="26" presetClass="emph" presetSubtype="0" dur="2000" repeatCount="indefinite" fill="hold" grpId="0" nodeType="withEffect">
                                  <p:stCondLst>
                                    <p:cond delay="750"/>
                                  </p:stCondLst>
                                  <p:childTnLst>
                                    <p:animEffect transition="out" filter="fade">
                                      <p:cBhvr>
                                        <p:cTn id="97" dur="2000" tmFilter="0, 0; .2, .5; .8, .5; 1, 0"/>
                                        <p:tgtEl>
                                          <p:spTgt spid="189"/>
                                        </p:tgtEl>
                                      </p:cBhvr>
                                    </p:animEffect>
                                    <p:animScale>
                                      <p:cBhvr>
                                        <p:cTn id="98" dur="1000" autoRev="1" fill="hold"/>
                                        <p:tgtEl>
                                          <p:spTgt spid="189"/>
                                        </p:tgtEl>
                                      </p:cBhvr>
                                      <p:by x="105000" y="105000"/>
                                    </p:animScale>
                                  </p:childTnLst>
                                </p:cTn>
                              </p:par>
                              <p:par>
                                <p:cTn id="99" presetID="26" presetClass="emph" presetSubtype="0" dur="2000" repeatCount="indefinite" fill="hold" grpId="0" nodeType="withEffect">
                                  <p:stCondLst>
                                    <p:cond delay="750"/>
                                  </p:stCondLst>
                                  <p:childTnLst>
                                    <p:animEffect transition="out" filter="fade">
                                      <p:cBhvr>
                                        <p:cTn id="100" dur="2000" tmFilter="0, 0; .2, .5; .8, .5; 1, 0"/>
                                        <p:tgtEl>
                                          <p:spTgt spid="206"/>
                                        </p:tgtEl>
                                      </p:cBhvr>
                                    </p:animEffect>
                                    <p:animScale>
                                      <p:cBhvr>
                                        <p:cTn id="101" dur="1000" autoRev="1" fill="hold"/>
                                        <p:tgtEl>
                                          <p:spTgt spid="206"/>
                                        </p:tgtEl>
                                      </p:cBhvr>
                                      <p:by x="105000" y="105000"/>
                                    </p:animScale>
                                  </p:childTnLst>
                                </p:cTn>
                              </p:par>
                              <p:par>
                                <p:cTn id="102" presetID="26" presetClass="emph" presetSubtype="0" dur="2000" repeatCount="indefinite" fill="hold" grpId="0" nodeType="withEffect">
                                  <p:stCondLst>
                                    <p:cond delay="750"/>
                                  </p:stCondLst>
                                  <p:childTnLst>
                                    <p:animEffect transition="out" filter="fade">
                                      <p:cBhvr>
                                        <p:cTn id="103" dur="2000" tmFilter="0, 0; .2, .5; .8, .5; 1, 0"/>
                                        <p:tgtEl>
                                          <p:spTgt spid="222"/>
                                        </p:tgtEl>
                                      </p:cBhvr>
                                    </p:animEffect>
                                    <p:animScale>
                                      <p:cBhvr>
                                        <p:cTn id="104" dur="1000" autoRev="1" fill="hold"/>
                                        <p:tgtEl>
                                          <p:spTgt spid="222"/>
                                        </p:tgtEl>
                                      </p:cBhvr>
                                      <p:by x="105000" y="105000"/>
                                    </p:animScale>
                                  </p:childTnLst>
                                </p:cTn>
                              </p:par>
                              <p:par>
                                <p:cTn id="105" presetID="26" presetClass="emph" presetSubtype="0" dur="2000" repeatCount="indefinite" fill="hold" grpId="0" nodeType="withEffect">
                                  <p:stCondLst>
                                    <p:cond delay="1000"/>
                                  </p:stCondLst>
                                  <p:childTnLst>
                                    <p:animEffect transition="out" filter="fade">
                                      <p:cBhvr>
                                        <p:cTn id="106" dur="2000" tmFilter="0, 0; .2, .5; .8, .5; 1, 0"/>
                                        <p:tgtEl>
                                          <p:spTgt spid="11"/>
                                        </p:tgtEl>
                                      </p:cBhvr>
                                    </p:animEffect>
                                    <p:animScale>
                                      <p:cBhvr>
                                        <p:cTn id="107" dur="1000" autoRev="1" fill="hold"/>
                                        <p:tgtEl>
                                          <p:spTgt spid="11"/>
                                        </p:tgtEl>
                                      </p:cBhvr>
                                      <p:by x="105000" y="105000"/>
                                    </p:animScale>
                                  </p:childTnLst>
                                </p:cTn>
                              </p:par>
                              <p:par>
                                <p:cTn id="108" presetID="26" presetClass="emph" presetSubtype="0" dur="2000" repeatCount="indefinite" fill="hold" grpId="0" nodeType="withEffect">
                                  <p:stCondLst>
                                    <p:cond delay="1000"/>
                                  </p:stCondLst>
                                  <p:childTnLst>
                                    <p:animEffect transition="out" filter="fade">
                                      <p:cBhvr>
                                        <p:cTn id="109" dur="2000" tmFilter="0, 0; .2, .5; .8, .5; 1, 0"/>
                                        <p:tgtEl>
                                          <p:spTgt spid="26"/>
                                        </p:tgtEl>
                                      </p:cBhvr>
                                    </p:animEffect>
                                    <p:animScale>
                                      <p:cBhvr>
                                        <p:cTn id="110" dur="1000" autoRev="1" fill="hold"/>
                                        <p:tgtEl>
                                          <p:spTgt spid="26"/>
                                        </p:tgtEl>
                                      </p:cBhvr>
                                      <p:by x="105000" y="105000"/>
                                    </p:animScale>
                                  </p:childTnLst>
                                </p:cTn>
                              </p:par>
                              <p:par>
                                <p:cTn id="111" presetID="26" presetClass="emph" presetSubtype="0" dur="2000" repeatCount="indefinite" fill="hold" grpId="0" nodeType="withEffect">
                                  <p:stCondLst>
                                    <p:cond delay="1000"/>
                                  </p:stCondLst>
                                  <p:childTnLst>
                                    <p:animEffect transition="out" filter="fade">
                                      <p:cBhvr>
                                        <p:cTn id="112" dur="2000" tmFilter="0, 0; .2, .5; .8, .5; 1, 0"/>
                                        <p:tgtEl>
                                          <p:spTgt spid="42"/>
                                        </p:tgtEl>
                                      </p:cBhvr>
                                    </p:animEffect>
                                    <p:animScale>
                                      <p:cBhvr>
                                        <p:cTn id="113" dur="1000" autoRev="1" fill="hold"/>
                                        <p:tgtEl>
                                          <p:spTgt spid="42"/>
                                        </p:tgtEl>
                                      </p:cBhvr>
                                      <p:by x="105000" y="105000"/>
                                    </p:animScale>
                                  </p:childTnLst>
                                </p:cTn>
                              </p:par>
                              <p:par>
                                <p:cTn id="114" presetID="26" presetClass="emph" presetSubtype="0" dur="2000" repeatCount="indefinite" fill="hold" grpId="0" nodeType="withEffect">
                                  <p:stCondLst>
                                    <p:cond delay="1000"/>
                                  </p:stCondLst>
                                  <p:childTnLst>
                                    <p:animEffect transition="out" filter="fade">
                                      <p:cBhvr>
                                        <p:cTn id="115" dur="2000" tmFilter="0, 0; .2, .5; .8, .5; 1, 0"/>
                                        <p:tgtEl>
                                          <p:spTgt spid="58"/>
                                        </p:tgtEl>
                                      </p:cBhvr>
                                    </p:animEffect>
                                    <p:animScale>
                                      <p:cBhvr>
                                        <p:cTn id="116" dur="1000" autoRev="1" fill="hold"/>
                                        <p:tgtEl>
                                          <p:spTgt spid="58"/>
                                        </p:tgtEl>
                                      </p:cBhvr>
                                      <p:by x="105000" y="105000"/>
                                    </p:animScale>
                                  </p:childTnLst>
                                </p:cTn>
                              </p:par>
                              <p:par>
                                <p:cTn id="117" presetID="26" presetClass="emph" presetSubtype="0" dur="2000" repeatCount="indefinite" fill="hold" grpId="0" nodeType="withEffect">
                                  <p:stCondLst>
                                    <p:cond delay="1000"/>
                                  </p:stCondLst>
                                  <p:childTnLst>
                                    <p:animEffect transition="out" filter="fade">
                                      <p:cBhvr>
                                        <p:cTn id="118" dur="2000" tmFilter="0, 0; .2, .5; .8, .5; 1, 0"/>
                                        <p:tgtEl>
                                          <p:spTgt spid="74"/>
                                        </p:tgtEl>
                                      </p:cBhvr>
                                    </p:animEffect>
                                    <p:animScale>
                                      <p:cBhvr>
                                        <p:cTn id="119" dur="1000" autoRev="1" fill="hold"/>
                                        <p:tgtEl>
                                          <p:spTgt spid="74"/>
                                        </p:tgtEl>
                                      </p:cBhvr>
                                      <p:by x="105000" y="105000"/>
                                    </p:animScale>
                                  </p:childTnLst>
                                </p:cTn>
                              </p:par>
                              <p:par>
                                <p:cTn id="120" presetID="26" presetClass="emph" presetSubtype="0" dur="2000" repeatCount="indefinite" fill="hold" grpId="0" nodeType="withEffect">
                                  <p:stCondLst>
                                    <p:cond delay="1000"/>
                                  </p:stCondLst>
                                  <p:childTnLst>
                                    <p:animEffect transition="out" filter="fade">
                                      <p:cBhvr>
                                        <p:cTn id="121" dur="2000" tmFilter="0, 0; .2, .5; .8, .5; 1, 0"/>
                                        <p:tgtEl>
                                          <p:spTgt spid="90"/>
                                        </p:tgtEl>
                                      </p:cBhvr>
                                    </p:animEffect>
                                    <p:animScale>
                                      <p:cBhvr>
                                        <p:cTn id="122" dur="1000" autoRev="1" fill="hold"/>
                                        <p:tgtEl>
                                          <p:spTgt spid="90"/>
                                        </p:tgtEl>
                                      </p:cBhvr>
                                      <p:by x="105000" y="105000"/>
                                    </p:animScale>
                                  </p:childTnLst>
                                </p:cTn>
                              </p:par>
                              <p:par>
                                <p:cTn id="123" presetID="26" presetClass="emph" presetSubtype="0" dur="2000" repeatCount="indefinite" fill="hold" grpId="0" nodeType="withEffect">
                                  <p:stCondLst>
                                    <p:cond delay="1000"/>
                                  </p:stCondLst>
                                  <p:childTnLst>
                                    <p:animEffect transition="out" filter="fade">
                                      <p:cBhvr>
                                        <p:cTn id="124" dur="2000" tmFilter="0, 0; .2, .5; .8, .5; 1, 0"/>
                                        <p:tgtEl>
                                          <p:spTgt spid="106"/>
                                        </p:tgtEl>
                                      </p:cBhvr>
                                    </p:animEffect>
                                    <p:animScale>
                                      <p:cBhvr>
                                        <p:cTn id="125" dur="1000" autoRev="1" fill="hold"/>
                                        <p:tgtEl>
                                          <p:spTgt spid="106"/>
                                        </p:tgtEl>
                                      </p:cBhvr>
                                      <p:by x="105000" y="105000"/>
                                    </p:animScale>
                                  </p:childTnLst>
                                </p:cTn>
                              </p:par>
                              <p:par>
                                <p:cTn id="126" presetID="26" presetClass="emph" presetSubtype="0" dur="2000" repeatCount="indefinite" fill="hold" grpId="0" nodeType="withEffect">
                                  <p:stCondLst>
                                    <p:cond delay="1000"/>
                                  </p:stCondLst>
                                  <p:childTnLst>
                                    <p:animEffect transition="out" filter="fade">
                                      <p:cBhvr>
                                        <p:cTn id="127" dur="2000" tmFilter="0, 0; .2, .5; .8, .5; 1, 0"/>
                                        <p:tgtEl>
                                          <p:spTgt spid="139"/>
                                        </p:tgtEl>
                                      </p:cBhvr>
                                    </p:animEffect>
                                    <p:animScale>
                                      <p:cBhvr>
                                        <p:cTn id="128" dur="1000" autoRev="1" fill="hold"/>
                                        <p:tgtEl>
                                          <p:spTgt spid="139"/>
                                        </p:tgtEl>
                                      </p:cBhvr>
                                      <p:by x="105000" y="105000"/>
                                    </p:animScale>
                                  </p:childTnLst>
                                </p:cTn>
                              </p:par>
                              <p:par>
                                <p:cTn id="129" presetID="26" presetClass="emph" presetSubtype="0" dur="2000" repeatCount="indefinite" fill="hold" grpId="0" nodeType="withEffect">
                                  <p:stCondLst>
                                    <p:cond delay="1000"/>
                                  </p:stCondLst>
                                  <p:childTnLst>
                                    <p:animEffect transition="out" filter="fade">
                                      <p:cBhvr>
                                        <p:cTn id="130" dur="2000" tmFilter="0, 0; .2, .5; .8, .5; 1, 0"/>
                                        <p:tgtEl>
                                          <p:spTgt spid="156"/>
                                        </p:tgtEl>
                                      </p:cBhvr>
                                    </p:animEffect>
                                    <p:animScale>
                                      <p:cBhvr>
                                        <p:cTn id="131" dur="1000" autoRev="1" fill="hold"/>
                                        <p:tgtEl>
                                          <p:spTgt spid="156"/>
                                        </p:tgtEl>
                                      </p:cBhvr>
                                      <p:by x="105000" y="105000"/>
                                    </p:animScale>
                                  </p:childTnLst>
                                </p:cTn>
                              </p:par>
                              <p:par>
                                <p:cTn id="132" presetID="26" presetClass="emph" presetSubtype="0" dur="2000" repeatCount="indefinite" fill="hold" grpId="0" nodeType="withEffect">
                                  <p:stCondLst>
                                    <p:cond delay="1000"/>
                                  </p:stCondLst>
                                  <p:childTnLst>
                                    <p:animEffect transition="out" filter="fade">
                                      <p:cBhvr>
                                        <p:cTn id="133" dur="2000" tmFilter="0, 0; .2, .5; .8, .5; 1, 0"/>
                                        <p:tgtEl>
                                          <p:spTgt spid="173"/>
                                        </p:tgtEl>
                                      </p:cBhvr>
                                    </p:animEffect>
                                    <p:animScale>
                                      <p:cBhvr>
                                        <p:cTn id="134" dur="1000" autoRev="1" fill="hold"/>
                                        <p:tgtEl>
                                          <p:spTgt spid="173"/>
                                        </p:tgtEl>
                                      </p:cBhvr>
                                      <p:by x="105000" y="105000"/>
                                    </p:animScale>
                                  </p:childTnLst>
                                </p:cTn>
                              </p:par>
                              <p:par>
                                <p:cTn id="135" presetID="26" presetClass="emph" presetSubtype="0" dur="2000" repeatCount="indefinite" fill="hold" grpId="0" nodeType="withEffect">
                                  <p:stCondLst>
                                    <p:cond delay="1000"/>
                                  </p:stCondLst>
                                  <p:childTnLst>
                                    <p:animEffect transition="out" filter="fade">
                                      <p:cBhvr>
                                        <p:cTn id="136" dur="2000" tmFilter="0, 0; .2, .5; .8, .5; 1, 0"/>
                                        <p:tgtEl>
                                          <p:spTgt spid="190"/>
                                        </p:tgtEl>
                                      </p:cBhvr>
                                    </p:animEffect>
                                    <p:animScale>
                                      <p:cBhvr>
                                        <p:cTn id="137" dur="1000" autoRev="1" fill="hold"/>
                                        <p:tgtEl>
                                          <p:spTgt spid="190"/>
                                        </p:tgtEl>
                                      </p:cBhvr>
                                      <p:by x="105000" y="105000"/>
                                    </p:animScale>
                                  </p:childTnLst>
                                </p:cTn>
                              </p:par>
                              <p:par>
                                <p:cTn id="138" presetID="26" presetClass="emph" presetSubtype="0" dur="2000" repeatCount="indefinite" fill="hold" grpId="0" nodeType="withEffect">
                                  <p:stCondLst>
                                    <p:cond delay="1000"/>
                                  </p:stCondLst>
                                  <p:childTnLst>
                                    <p:animEffect transition="out" filter="fade">
                                      <p:cBhvr>
                                        <p:cTn id="139" dur="2000" tmFilter="0, 0; .2, .5; .8, .5; 1, 0"/>
                                        <p:tgtEl>
                                          <p:spTgt spid="207"/>
                                        </p:tgtEl>
                                      </p:cBhvr>
                                    </p:animEffect>
                                    <p:animScale>
                                      <p:cBhvr>
                                        <p:cTn id="140" dur="1000" autoRev="1" fill="hold"/>
                                        <p:tgtEl>
                                          <p:spTgt spid="207"/>
                                        </p:tgtEl>
                                      </p:cBhvr>
                                      <p:by x="105000" y="105000"/>
                                    </p:animScale>
                                  </p:childTnLst>
                                </p:cTn>
                              </p:par>
                              <p:par>
                                <p:cTn id="141" presetID="26" presetClass="emph" presetSubtype="0" dur="2000" repeatCount="indefinite" fill="hold" grpId="0" nodeType="withEffect">
                                  <p:stCondLst>
                                    <p:cond delay="1000"/>
                                  </p:stCondLst>
                                  <p:childTnLst>
                                    <p:animEffect transition="out" filter="fade">
                                      <p:cBhvr>
                                        <p:cTn id="142" dur="2000" tmFilter="0, 0; .2, .5; .8, .5; 1, 0"/>
                                        <p:tgtEl>
                                          <p:spTgt spid="223"/>
                                        </p:tgtEl>
                                      </p:cBhvr>
                                    </p:animEffect>
                                    <p:animScale>
                                      <p:cBhvr>
                                        <p:cTn id="143" dur="1000" autoRev="1" fill="hold"/>
                                        <p:tgtEl>
                                          <p:spTgt spid="223"/>
                                        </p:tgtEl>
                                      </p:cBhvr>
                                      <p:by x="105000" y="105000"/>
                                    </p:animScale>
                                  </p:childTnLst>
                                </p:cTn>
                              </p:par>
                              <p:par>
                                <p:cTn id="144" presetID="26" presetClass="emph" presetSubtype="0" dur="2000" repeatCount="indefinite" fill="hold" grpId="0" nodeType="withEffect">
                                  <p:stCondLst>
                                    <p:cond delay="1250"/>
                                  </p:stCondLst>
                                  <p:childTnLst>
                                    <p:animEffect transition="out" filter="fade">
                                      <p:cBhvr>
                                        <p:cTn id="145" dur="2000" tmFilter="0, 0; .2, .5; .8, .5; 1, 0"/>
                                        <p:tgtEl>
                                          <p:spTgt spid="12"/>
                                        </p:tgtEl>
                                      </p:cBhvr>
                                    </p:animEffect>
                                    <p:animScale>
                                      <p:cBhvr>
                                        <p:cTn id="146" dur="1000" autoRev="1" fill="hold"/>
                                        <p:tgtEl>
                                          <p:spTgt spid="12"/>
                                        </p:tgtEl>
                                      </p:cBhvr>
                                      <p:by x="105000" y="105000"/>
                                    </p:animScale>
                                  </p:childTnLst>
                                </p:cTn>
                              </p:par>
                              <p:par>
                                <p:cTn id="147" presetID="26" presetClass="emph" presetSubtype="0" dur="2000" repeatCount="indefinite" fill="hold" grpId="0" nodeType="withEffect">
                                  <p:stCondLst>
                                    <p:cond delay="1250"/>
                                  </p:stCondLst>
                                  <p:childTnLst>
                                    <p:animEffect transition="out" filter="fade">
                                      <p:cBhvr>
                                        <p:cTn id="148" dur="2000" tmFilter="0, 0; .2, .5; .8, .5; 1, 0"/>
                                        <p:tgtEl>
                                          <p:spTgt spid="27"/>
                                        </p:tgtEl>
                                      </p:cBhvr>
                                    </p:animEffect>
                                    <p:animScale>
                                      <p:cBhvr>
                                        <p:cTn id="149" dur="1000" autoRev="1" fill="hold"/>
                                        <p:tgtEl>
                                          <p:spTgt spid="27"/>
                                        </p:tgtEl>
                                      </p:cBhvr>
                                      <p:by x="105000" y="105000"/>
                                    </p:animScale>
                                  </p:childTnLst>
                                </p:cTn>
                              </p:par>
                              <p:par>
                                <p:cTn id="150" presetID="26" presetClass="emph" presetSubtype="0" dur="2000" repeatCount="indefinite" fill="hold" grpId="0" nodeType="withEffect">
                                  <p:stCondLst>
                                    <p:cond delay="1250"/>
                                  </p:stCondLst>
                                  <p:childTnLst>
                                    <p:animEffect transition="out" filter="fade">
                                      <p:cBhvr>
                                        <p:cTn id="151" dur="2000" tmFilter="0, 0; .2, .5; .8, .5; 1, 0"/>
                                        <p:tgtEl>
                                          <p:spTgt spid="43"/>
                                        </p:tgtEl>
                                      </p:cBhvr>
                                    </p:animEffect>
                                    <p:animScale>
                                      <p:cBhvr>
                                        <p:cTn id="152" dur="1000" autoRev="1" fill="hold"/>
                                        <p:tgtEl>
                                          <p:spTgt spid="43"/>
                                        </p:tgtEl>
                                      </p:cBhvr>
                                      <p:by x="105000" y="105000"/>
                                    </p:animScale>
                                  </p:childTnLst>
                                </p:cTn>
                              </p:par>
                              <p:par>
                                <p:cTn id="153" presetID="26" presetClass="emph" presetSubtype="0" dur="2000" repeatCount="indefinite" fill="hold" grpId="0" nodeType="withEffect">
                                  <p:stCondLst>
                                    <p:cond delay="1250"/>
                                  </p:stCondLst>
                                  <p:childTnLst>
                                    <p:animEffect transition="out" filter="fade">
                                      <p:cBhvr>
                                        <p:cTn id="154" dur="2000" tmFilter="0, 0; .2, .5; .8, .5; 1, 0"/>
                                        <p:tgtEl>
                                          <p:spTgt spid="59"/>
                                        </p:tgtEl>
                                      </p:cBhvr>
                                    </p:animEffect>
                                    <p:animScale>
                                      <p:cBhvr>
                                        <p:cTn id="155" dur="1000" autoRev="1" fill="hold"/>
                                        <p:tgtEl>
                                          <p:spTgt spid="59"/>
                                        </p:tgtEl>
                                      </p:cBhvr>
                                      <p:by x="105000" y="105000"/>
                                    </p:animScale>
                                  </p:childTnLst>
                                </p:cTn>
                              </p:par>
                              <p:par>
                                <p:cTn id="156" presetID="26" presetClass="emph" presetSubtype="0" dur="2000" repeatCount="indefinite" fill="hold" grpId="0" nodeType="withEffect">
                                  <p:stCondLst>
                                    <p:cond delay="1250"/>
                                  </p:stCondLst>
                                  <p:childTnLst>
                                    <p:animEffect transition="out" filter="fade">
                                      <p:cBhvr>
                                        <p:cTn id="157" dur="2000" tmFilter="0, 0; .2, .5; .8, .5; 1, 0"/>
                                        <p:tgtEl>
                                          <p:spTgt spid="75"/>
                                        </p:tgtEl>
                                      </p:cBhvr>
                                    </p:animEffect>
                                    <p:animScale>
                                      <p:cBhvr>
                                        <p:cTn id="158" dur="1000" autoRev="1" fill="hold"/>
                                        <p:tgtEl>
                                          <p:spTgt spid="75"/>
                                        </p:tgtEl>
                                      </p:cBhvr>
                                      <p:by x="105000" y="105000"/>
                                    </p:animScale>
                                  </p:childTnLst>
                                </p:cTn>
                              </p:par>
                              <p:par>
                                <p:cTn id="159" presetID="26" presetClass="emph" presetSubtype="0" dur="2000" repeatCount="indefinite" fill="hold" grpId="0" nodeType="withEffect">
                                  <p:stCondLst>
                                    <p:cond delay="1250"/>
                                  </p:stCondLst>
                                  <p:childTnLst>
                                    <p:animEffect transition="out" filter="fade">
                                      <p:cBhvr>
                                        <p:cTn id="160" dur="2000" tmFilter="0, 0; .2, .5; .8, .5; 1, 0"/>
                                        <p:tgtEl>
                                          <p:spTgt spid="91"/>
                                        </p:tgtEl>
                                      </p:cBhvr>
                                    </p:animEffect>
                                    <p:animScale>
                                      <p:cBhvr>
                                        <p:cTn id="161" dur="1000" autoRev="1" fill="hold"/>
                                        <p:tgtEl>
                                          <p:spTgt spid="91"/>
                                        </p:tgtEl>
                                      </p:cBhvr>
                                      <p:by x="105000" y="105000"/>
                                    </p:animScale>
                                  </p:childTnLst>
                                </p:cTn>
                              </p:par>
                              <p:par>
                                <p:cTn id="162" presetID="26" presetClass="emph" presetSubtype="0" dur="2000" repeatCount="indefinite" fill="hold" grpId="0" nodeType="withEffect">
                                  <p:stCondLst>
                                    <p:cond delay="1250"/>
                                  </p:stCondLst>
                                  <p:childTnLst>
                                    <p:animEffect transition="out" filter="fade">
                                      <p:cBhvr>
                                        <p:cTn id="163" dur="2000" tmFilter="0, 0; .2, .5; .8, .5; 1, 0"/>
                                        <p:tgtEl>
                                          <p:spTgt spid="107"/>
                                        </p:tgtEl>
                                      </p:cBhvr>
                                    </p:animEffect>
                                    <p:animScale>
                                      <p:cBhvr>
                                        <p:cTn id="164" dur="1000" autoRev="1" fill="hold"/>
                                        <p:tgtEl>
                                          <p:spTgt spid="107"/>
                                        </p:tgtEl>
                                      </p:cBhvr>
                                      <p:by x="105000" y="105000"/>
                                    </p:animScale>
                                  </p:childTnLst>
                                </p:cTn>
                              </p:par>
                              <p:par>
                                <p:cTn id="165" presetID="26" presetClass="emph" presetSubtype="0" dur="2000" repeatCount="indefinite" fill="hold" grpId="0" nodeType="withEffect">
                                  <p:stCondLst>
                                    <p:cond delay="1250"/>
                                  </p:stCondLst>
                                  <p:childTnLst>
                                    <p:animEffect transition="out" filter="fade">
                                      <p:cBhvr>
                                        <p:cTn id="166" dur="2000" tmFilter="0, 0; .2, .5; .8, .5; 1, 0"/>
                                        <p:tgtEl>
                                          <p:spTgt spid="123"/>
                                        </p:tgtEl>
                                      </p:cBhvr>
                                    </p:animEffect>
                                    <p:animScale>
                                      <p:cBhvr>
                                        <p:cTn id="167" dur="1000" autoRev="1" fill="hold"/>
                                        <p:tgtEl>
                                          <p:spTgt spid="123"/>
                                        </p:tgtEl>
                                      </p:cBhvr>
                                      <p:by x="105000" y="105000"/>
                                    </p:animScale>
                                  </p:childTnLst>
                                </p:cTn>
                              </p:par>
                              <p:par>
                                <p:cTn id="168" presetID="26" presetClass="emph" presetSubtype="0" dur="2000" repeatCount="indefinite" fill="hold" grpId="0" nodeType="withEffect">
                                  <p:stCondLst>
                                    <p:cond delay="1250"/>
                                  </p:stCondLst>
                                  <p:childTnLst>
                                    <p:animEffect transition="out" filter="fade">
                                      <p:cBhvr>
                                        <p:cTn id="169" dur="2000" tmFilter="0, 0; .2, .5; .8, .5; 1, 0"/>
                                        <p:tgtEl>
                                          <p:spTgt spid="140"/>
                                        </p:tgtEl>
                                      </p:cBhvr>
                                    </p:animEffect>
                                    <p:animScale>
                                      <p:cBhvr>
                                        <p:cTn id="170" dur="1000" autoRev="1" fill="hold"/>
                                        <p:tgtEl>
                                          <p:spTgt spid="140"/>
                                        </p:tgtEl>
                                      </p:cBhvr>
                                      <p:by x="105000" y="105000"/>
                                    </p:animScale>
                                  </p:childTnLst>
                                </p:cTn>
                              </p:par>
                              <p:par>
                                <p:cTn id="171" presetID="26" presetClass="emph" presetSubtype="0" dur="2000" repeatCount="indefinite" fill="hold" grpId="0" nodeType="withEffect">
                                  <p:stCondLst>
                                    <p:cond delay="1250"/>
                                  </p:stCondLst>
                                  <p:childTnLst>
                                    <p:animEffect transition="out" filter="fade">
                                      <p:cBhvr>
                                        <p:cTn id="172" dur="2000" tmFilter="0, 0; .2, .5; .8, .5; 1, 0"/>
                                        <p:tgtEl>
                                          <p:spTgt spid="157"/>
                                        </p:tgtEl>
                                      </p:cBhvr>
                                    </p:animEffect>
                                    <p:animScale>
                                      <p:cBhvr>
                                        <p:cTn id="173" dur="1000" autoRev="1" fill="hold"/>
                                        <p:tgtEl>
                                          <p:spTgt spid="157"/>
                                        </p:tgtEl>
                                      </p:cBhvr>
                                      <p:by x="105000" y="105000"/>
                                    </p:animScale>
                                  </p:childTnLst>
                                </p:cTn>
                              </p:par>
                              <p:par>
                                <p:cTn id="174" presetID="26" presetClass="emph" presetSubtype="0" dur="2000" repeatCount="indefinite" fill="hold" grpId="0" nodeType="withEffect">
                                  <p:stCondLst>
                                    <p:cond delay="1250"/>
                                  </p:stCondLst>
                                  <p:childTnLst>
                                    <p:animEffect transition="out" filter="fade">
                                      <p:cBhvr>
                                        <p:cTn id="175" dur="2000" tmFilter="0, 0; .2, .5; .8, .5; 1, 0"/>
                                        <p:tgtEl>
                                          <p:spTgt spid="174"/>
                                        </p:tgtEl>
                                      </p:cBhvr>
                                    </p:animEffect>
                                    <p:animScale>
                                      <p:cBhvr>
                                        <p:cTn id="176" dur="1000" autoRev="1" fill="hold"/>
                                        <p:tgtEl>
                                          <p:spTgt spid="174"/>
                                        </p:tgtEl>
                                      </p:cBhvr>
                                      <p:by x="105000" y="105000"/>
                                    </p:animScale>
                                  </p:childTnLst>
                                </p:cTn>
                              </p:par>
                              <p:par>
                                <p:cTn id="177" presetID="26" presetClass="emph" presetSubtype="0" dur="2000" repeatCount="indefinite" fill="hold" grpId="0" nodeType="withEffect">
                                  <p:stCondLst>
                                    <p:cond delay="1250"/>
                                  </p:stCondLst>
                                  <p:childTnLst>
                                    <p:animEffect transition="out" filter="fade">
                                      <p:cBhvr>
                                        <p:cTn id="178" dur="2000" tmFilter="0, 0; .2, .5; .8, .5; 1, 0"/>
                                        <p:tgtEl>
                                          <p:spTgt spid="191"/>
                                        </p:tgtEl>
                                      </p:cBhvr>
                                    </p:animEffect>
                                    <p:animScale>
                                      <p:cBhvr>
                                        <p:cTn id="179" dur="1000" autoRev="1" fill="hold"/>
                                        <p:tgtEl>
                                          <p:spTgt spid="191"/>
                                        </p:tgtEl>
                                      </p:cBhvr>
                                      <p:by x="105000" y="105000"/>
                                    </p:animScale>
                                  </p:childTnLst>
                                </p:cTn>
                              </p:par>
                              <p:par>
                                <p:cTn id="180" presetID="26" presetClass="emph" presetSubtype="0" dur="2000" repeatCount="indefinite" fill="hold" grpId="0" nodeType="withEffect">
                                  <p:stCondLst>
                                    <p:cond delay="1250"/>
                                  </p:stCondLst>
                                  <p:childTnLst>
                                    <p:animEffect transition="out" filter="fade">
                                      <p:cBhvr>
                                        <p:cTn id="181" dur="2000" tmFilter="0, 0; .2, .5; .8, .5; 1, 0"/>
                                        <p:tgtEl>
                                          <p:spTgt spid="208"/>
                                        </p:tgtEl>
                                      </p:cBhvr>
                                    </p:animEffect>
                                    <p:animScale>
                                      <p:cBhvr>
                                        <p:cTn id="182" dur="1000" autoRev="1" fill="hold"/>
                                        <p:tgtEl>
                                          <p:spTgt spid="208"/>
                                        </p:tgtEl>
                                      </p:cBhvr>
                                      <p:by x="105000" y="105000"/>
                                    </p:animScale>
                                  </p:childTnLst>
                                </p:cTn>
                              </p:par>
                              <p:par>
                                <p:cTn id="183" presetID="26" presetClass="emph" presetSubtype="0" dur="2000" repeatCount="indefinite" fill="hold" grpId="0" nodeType="withEffect">
                                  <p:stCondLst>
                                    <p:cond delay="1250"/>
                                  </p:stCondLst>
                                  <p:childTnLst>
                                    <p:animEffect transition="out" filter="fade">
                                      <p:cBhvr>
                                        <p:cTn id="184" dur="2000" tmFilter="0, 0; .2, .5; .8, .5; 1, 0"/>
                                        <p:tgtEl>
                                          <p:spTgt spid="224"/>
                                        </p:tgtEl>
                                      </p:cBhvr>
                                    </p:animEffect>
                                    <p:animScale>
                                      <p:cBhvr>
                                        <p:cTn id="185" dur="1000" autoRev="1" fill="hold"/>
                                        <p:tgtEl>
                                          <p:spTgt spid="224"/>
                                        </p:tgtEl>
                                      </p:cBhvr>
                                      <p:by x="105000" y="105000"/>
                                    </p:animScale>
                                  </p:childTnLst>
                                </p:cTn>
                              </p:par>
                              <p:par>
                                <p:cTn id="186" presetID="26" presetClass="emph" presetSubtype="0" dur="2000" repeatCount="indefinite" fill="hold" grpId="0" nodeType="withEffect">
                                  <p:stCondLst>
                                    <p:cond delay="1500"/>
                                  </p:stCondLst>
                                  <p:childTnLst>
                                    <p:animEffect transition="out" filter="fade">
                                      <p:cBhvr>
                                        <p:cTn id="187" dur="2000" tmFilter="0, 0; .2, .5; .8, .5; 1, 0"/>
                                        <p:tgtEl>
                                          <p:spTgt spid="13"/>
                                        </p:tgtEl>
                                      </p:cBhvr>
                                    </p:animEffect>
                                    <p:animScale>
                                      <p:cBhvr>
                                        <p:cTn id="188" dur="1000" autoRev="1" fill="hold"/>
                                        <p:tgtEl>
                                          <p:spTgt spid="13"/>
                                        </p:tgtEl>
                                      </p:cBhvr>
                                      <p:by x="105000" y="105000"/>
                                    </p:animScale>
                                  </p:childTnLst>
                                </p:cTn>
                              </p:par>
                              <p:par>
                                <p:cTn id="189" presetID="26" presetClass="emph" presetSubtype="0" dur="2000" repeatCount="indefinite" fill="hold" grpId="0" nodeType="withEffect">
                                  <p:stCondLst>
                                    <p:cond delay="1500"/>
                                  </p:stCondLst>
                                  <p:childTnLst>
                                    <p:animEffect transition="out" filter="fade">
                                      <p:cBhvr>
                                        <p:cTn id="190" dur="2000" tmFilter="0, 0; .2, .5; .8, .5; 1, 0"/>
                                        <p:tgtEl>
                                          <p:spTgt spid="28"/>
                                        </p:tgtEl>
                                      </p:cBhvr>
                                    </p:animEffect>
                                    <p:animScale>
                                      <p:cBhvr>
                                        <p:cTn id="191" dur="1000" autoRev="1" fill="hold"/>
                                        <p:tgtEl>
                                          <p:spTgt spid="28"/>
                                        </p:tgtEl>
                                      </p:cBhvr>
                                      <p:by x="105000" y="105000"/>
                                    </p:animScale>
                                  </p:childTnLst>
                                </p:cTn>
                              </p:par>
                              <p:par>
                                <p:cTn id="192" presetID="26" presetClass="emph" presetSubtype="0" dur="2000" repeatCount="indefinite" fill="hold" grpId="0" nodeType="withEffect">
                                  <p:stCondLst>
                                    <p:cond delay="1500"/>
                                  </p:stCondLst>
                                  <p:childTnLst>
                                    <p:animEffect transition="out" filter="fade">
                                      <p:cBhvr>
                                        <p:cTn id="193" dur="2000" tmFilter="0, 0; .2, .5; .8, .5; 1, 0"/>
                                        <p:tgtEl>
                                          <p:spTgt spid="44"/>
                                        </p:tgtEl>
                                      </p:cBhvr>
                                    </p:animEffect>
                                    <p:animScale>
                                      <p:cBhvr>
                                        <p:cTn id="194" dur="1000" autoRev="1" fill="hold"/>
                                        <p:tgtEl>
                                          <p:spTgt spid="44"/>
                                        </p:tgtEl>
                                      </p:cBhvr>
                                      <p:by x="105000" y="105000"/>
                                    </p:animScale>
                                  </p:childTnLst>
                                </p:cTn>
                              </p:par>
                              <p:par>
                                <p:cTn id="195" presetID="26" presetClass="emph" presetSubtype="0" dur="2000" repeatCount="indefinite" fill="hold" grpId="0" nodeType="withEffect">
                                  <p:stCondLst>
                                    <p:cond delay="1500"/>
                                  </p:stCondLst>
                                  <p:childTnLst>
                                    <p:animEffect transition="out" filter="fade">
                                      <p:cBhvr>
                                        <p:cTn id="196" dur="2000" tmFilter="0, 0; .2, .5; .8, .5; 1, 0"/>
                                        <p:tgtEl>
                                          <p:spTgt spid="60"/>
                                        </p:tgtEl>
                                      </p:cBhvr>
                                    </p:animEffect>
                                    <p:animScale>
                                      <p:cBhvr>
                                        <p:cTn id="197" dur="1000" autoRev="1" fill="hold"/>
                                        <p:tgtEl>
                                          <p:spTgt spid="60"/>
                                        </p:tgtEl>
                                      </p:cBhvr>
                                      <p:by x="105000" y="105000"/>
                                    </p:animScale>
                                  </p:childTnLst>
                                </p:cTn>
                              </p:par>
                              <p:par>
                                <p:cTn id="198" presetID="26" presetClass="emph" presetSubtype="0" dur="2000" repeatCount="indefinite" fill="hold" grpId="0" nodeType="withEffect">
                                  <p:stCondLst>
                                    <p:cond delay="1500"/>
                                  </p:stCondLst>
                                  <p:childTnLst>
                                    <p:animEffect transition="out" filter="fade">
                                      <p:cBhvr>
                                        <p:cTn id="199" dur="2000" tmFilter="0, 0; .2, .5; .8, .5; 1, 0"/>
                                        <p:tgtEl>
                                          <p:spTgt spid="76"/>
                                        </p:tgtEl>
                                      </p:cBhvr>
                                    </p:animEffect>
                                    <p:animScale>
                                      <p:cBhvr>
                                        <p:cTn id="200" dur="1000" autoRev="1" fill="hold"/>
                                        <p:tgtEl>
                                          <p:spTgt spid="76"/>
                                        </p:tgtEl>
                                      </p:cBhvr>
                                      <p:by x="105000" y="105000"/>
                                    </p:animScale>
                                  </p:childTnLst>
                                </p:cTn>
                              </p:par>
                              <p:par>
                                <p:cTn id="201" presetID="26" presetClass="emph" presetSubtype="0" dur="2000" repeatCount="indefinite" fill="hold" grpId="0" nodeType="withEffect">
                                  <p:stCondLst>
                                    <p:cond delay="1500"/>
                                  </p:stCondLst>
                                  <p:childTnLst>
                                    <p:animEffect transition="out" filter="fade">
                                      <p:cBhvr>
                                        <p:cTn id="202" dur="2000" tmFilter="0, 0; .2, .5; .8, .5; 1, 0"/>
                                        <p:tgtEl>
                                          <p:spTgt spid="92"/>
                                        </p:tgtEl>
                                      </p:cBhvr>
                                    </p:animEffect>
                                    <p:animScale>
                                      <p:cBhvr>
                                        <p:cTn id="203" dur="1000" autoRev="1" fill="hold"/>
                                        <p:tgtEl>
                                          <p:spTgt spid="92"/>
                                        </p:tgtEl>
                                      </p:cBhvr>
                                      <p:by x="105000" y="105000"/>
                                    </p:animScale>
                                  </p:childTnLst>
                                </p:cTn>
                              </p:par>
                              <p:par>
                                <p:cTn id="204" presetID="26" presetClass="emph" presetSubtype="0" dur="2000" repeatCount="indefinite" fill="hold" grpId="0" nodeType="withEffect">
                                  <p:stCondLst>
                                    <p:cond delay="1500"/>
                                  </p:stCondLst>
                                  <p:childTnLst>
                                    <p:animEffect transition="out" filter="fade">
                                      <p:cBhvr>
                                        <p:cTn id="205" dur="2000" tmFilter="0, 0; .2, .5; .8, .5; 1, 0"/>
                                        <p:tgtEl>
                                          <p:spTgt spid="108"/>
                                        </p:tgtEl>
                                      </p:cBhvr>
                                    </p:animEffect>
                                    <p:animScale>
                                      <p:cBhvr>
                                        <p:cTn id="206" dur="1000" autoRev="1" fill="hold"/>
                                        <p:tgtEl>
                                          <p:spTgt spid="108"/>
                                        </p:tgtEl>
                                      </p:cBhvr>
                                      <p:by x="105000" y="105000"/>
                                    </p:animScale>
                                  </p:childTnLst>
                                </p:cTn>
                              </p:par>
                              <p:par>
                                <p:cTn id="207" presetID="26" presetClass="emph" presetSubtype="0" dur="2000" repeatCount="indefinite" fill="hold" grpId="0" nodeType="withEffect">
                                  <p:stCondLst>
                                    <p:cond delay="1500"/>
                                  </p:stCondLst>
                                  <p:childTnLst>
                                    <p:animEffect transition="out" filter="fade">
                                      <p:cBhvr>
                                        <p:cTn id="208" dur="2000" tmFilter="0, 0; .2, .5; .8, .5; 1, 0"/>
                                        <p:tgtEl>
                                          <p:spTgt spid="124"/>
                                        </p:tgtEl>
                                      </p:cBhvr>
                                    </p:animEffect>
                                    <p:animScale>
                                      <p:cBhvr>
                                        <p:cTn id="209" dur="1000" autoRev="1" fill="hold"/>
                                        <p:tgtEl>
                                          <p:spTgt spid="124"/>
                                        </p:tgtEl>
                                      </p:cBhvr>
                                      <p:by x="105000" y="105000"/>
                                    </p:animScale>
                                  </p:childTnLst>
                                </p:cTn>
                              </p:par>
                              <p:par>
                                <p:cTn id="210" presetID="26" presetClass="emph" presetSubtype="0" dur="2000" repeatCount="indefinite" fill="hold" grpId="0" nodeType="withEffect">
                                  <p:stCondLst>
                                    <p:cond delay="1500"/>
                                  </p:stCondLst>
                                  <p:childTnLst>
                                    <p:animEffect transition="out" filter="fade">
                                      <p:cBhvr>
                                        <p:cTn id="211" dur="2000" tmFilter="0, 0; .2, .5; .8, .5; 1, 0"/>
                                        <p:tgtEl>
                                          <p:spTgt spid="141"/>
                                        </p:tgtEl>
                                      </p:cBhvr>
                                    </p:animEffect>
                                    <p:animScale>
                                      <p:cBhvr>
                                        <p:cTn id="212" dur="1000" autoRev="1" fill="hold"/>
                                        <p:tgtEl>
                                          <p:spTgt spid="141"/>
                                        </p:tgtEl>
                                      </p:cBhvr>
                                      <p:by x="105000" y="105000"/>
                                    </p:animScale>
                                  </p:childTnLst>
                                </p:cTn>
                              </p:par>
                              <p:par>
                                <p:cTn id="213" presetID="26" presetClass="emph" presetSubtype="0" dur="2000" repeatCount="indefinite" fill="hold" grpId="0" nodeType="withEffect">
                                  <p:stCondLst>
                                    <p:cond delay="1500"/>
                                  </p:stCondLst>
                                  <p:childTnLst>
                                    <p:animEffect transition="out" filter="fade">
                                      <p:cBhvr>
                                        <p:cTn id="214" dur="2000" tmFilter="0, 0; .2, .5; .8, .5; 1, 0"/>
                                        <p:tgtEl>
                                          <p:spTgt spid="158"/>
                                        </p:tgtEl>
                                      </p:cBhvr>
                                    </p:animEffect>
                                    <p:animScale>
                                      <p:cBhvr>
                                        <p:cTn id="215" dur="1000" autoRev="1" fill="hold"/>
                                        <p:tgtEl>
                                          <p:spTgt spid="158"/>
                                        </p:tgtEl>
                                      </p:cBhvr>
                                      <p:by x="105000" y="105000"/>
                                    </p:animScale>
                                  </p:childTnLst>
                                </p:cTn>
                              </p:par>
                              <p:par>
                                <p:cTn id="216" presetID="26" presetClass="emph" presetSubtype="0" dur="2000" repeatCount="indefinite" fill="hold" grpId="0" nodeType="withEffect">
                                  <p:stCondLst>
                                    <p:cond delay="1500"/>
                                  </p:stCondLst>
                                  <p:childTnLst>
                                    <p:animEffect transition="out" filter="fade">
                                      <p:cBhvr>
                                        <p:cTn id="217" dur="2000" tmFilter="0, 0; .2, .5; .8, .5; 1, 0"/>
                                        <p:tgtEl>
                                          <p:spTgt spid="175"/>
                                        </p:tgtEl>
                                      </p:cBhvr>
                                    </p:animEffect>
                                    <p:animScale>
                                      <p:cBhvr>
                                        <p:cTn id="218" dur="1000" autoRev="1" fill="hold"/>
                                        <p:tgtEl>
                                          <p:spTgt spid="175"/>
                                        </p:tgtEl>
                                      </p:cBhvr>
                                      <p:by x="105000" y="105000"/>
                                    </p:animScale>
                                  </p:childTnLst>
                                </p:cTn>
                              </p:par>
                              <p:par>
                                <p:cTn id="219" presetID="26" presetClass="emph" presetSubtype="0" dur="2000" repeatCount="indefinite" fill="hold" grpId="0" nodeType="withEffect">
                                  <p:stCondLst>
                                    <p:cond delay="1500"/>
                                  </p:stCondLst>
                                  <p:childTnLst>
                                    <p:animEffect transition="out" filter="fade">
                                      <p:cBhvr>
                                        <p:cTn id="220" dur="2000" tmFilter="0, 0; .2, .5; .8, .5; 1, 0"/>
                                        <p:tgtEl>
                                          <p:spTgt spid="192"/>
                                        </p:tgtEl>
                                      </p:cBhvr>
                                    </p:animEffect>
                                    <p:animScale>
                                      <p:cBhvr>
                                        <p:cTn id="221" dur="1000" autoRev="1" fill="hold"/>
                                        <p:tgtEl>
                                          <p:spTgt spid="192"/>
                                        </p:tgtEl>
                                      </p:cBhvr>
                                      <p:by x="105000" y="105000"/>
                                    </p:animScale>
                                  </p:childTnLst>
                                </p:cTn>
                              </p:par>
                              <p:par>
                                <p:cTn id="222" presetID="26" presetClass="emph" presetSubtype="0" dur="2000" repeatCount="indefinite" fill="hold" grpId="0" nodeType="withEffect">
                                  <p:stCondLst>
                                    <p:cond delay="1500"/>
                                  </p:stCondLst>
                                  <p:childTnLst>
                                    <p:animEffect transition="out" filter="fade">
                                      <p:cBhvr>
                                        <p:cTn id="223" dur="2000" tmFilter="0, 0; .2, .5; .8, .5; 1, 0"/>
                                        <p:tgtEl>
                                          <p:spTgt spid="209"/>
                                        </p:tgtEl>
                                      </p:cBhvr>
                                    </p:animEffect>
                                    <p:animScale>
                                      <p:cBhvr>
                                        <p:cTn id="224" dur="1000" autoRev="1" fill="hold"/>
                                        <p:tgtEl>
                                          <p:spTgt spid="209"/>
                                        </p:tgtEl>
                                      </p:cBhvr>
                                      <p:by x="105000" y="105000"/>
                                    </p:animScale>
                                  </p:childTnLst>
                                </p:cTn>
                              </p:par>
                              <p:par>
                                <p:cTn id="225" presetID="26" presetClass="emph" presetSubtype="0" dur="2000" repeatCount="indefinite" fill="hold" grpId="0" nodeType="withEffect">
                                  <p:stCondLst>
                                    <p:cond delay="1500"/>
                                  </p:stCondLst>
                                  <p:childTnLst>
                                    <p:animEffect transition="out" filter="fade">
                                      <p:cBhvr>
                                        <p:cTn id="226" dur="2000" tmFilter="0, 0; .2, .5; .8, .5; 1, 0"/>
                                        <p:tgtEl>
                                          <p:spTgt spid="225"/>
                                        </p:tgtEl>
                                      </p:cBhvr>
                                    </p:animEffect>
                                    <p:animScale>
                                      <p:cBhvr>
                                        <p:cTn id="227" dur="1000" autoRev="1" fill="hold"/>
                                        <p:tgtEl>
                                          <p:spTgt spid="225"/>
                                        </p:tgtEl>
                                      </p:cBhvr>
                                      <p:by x="105000" y="105000"/>
                                    </p:animScale>
                                  </p:childTnLst>
                                </p:cTn>
                              </p:par>
                              <p:par>
                                <p:cTn id="228" presetID="26" presetClass="emph" presetSubtype="0" dur="2000" repeatCount="indefinite" fill="hold" grpId="0" nodeType="withEffect">
                                  <p:stCondLst>
                                    <p:cond delay="1750"/>
                                  </p:stCondLst>
                                  <p:childTnLst>
                                    <p:animEffect transition="out" filter="fade">
                                      <p:cBhvr>
                                        <p:cTn id="229" dur="2000" tmFilter="0, 0; .2, .5; .8, .5; 1, 0"/>
                                        <p:tgtEl>
                                          <p:spTgt spid="14"/>
                                        </p:tgtEl>
                                      </p:cBhvr>
                                    </p:animEffect>
                                    <p:animScale>
                                      <p:cBhvr>
                                        <p:cTn id="230" dur="1000" autoRev="1" fill="hold"/>
                                        <p:tgtEl>
                                          <p:spTgt spid="14"/>
                                        </p:tgtEl>
                                      </p:cBhvr>
                                      <p:by x="105000" y="105000"/>
                                    </p:animScale>
                                  </p:childTnLst>
                                </p:cTn>
                              </p:par>
                              <p:par>
                                <p:cTn id="231" presetID="26" presetClass="emph" presetSubtype="0" dur="2000" repeatCount="indefinite" fill="hold" grpId="0" nodeType="withEffect">
                                  <p:stCondLst>
                                    <p:cond delay="1750"/>
                                  </p:stCondLst>
                                  <p:childTnLst>
                                    <p:animEffect transition="out" filter="fade">
                                      <p:cBhvr>
                                        <p:cTn id="232" dur="2000" tmFilter="0, 0; .2, .5; .8, .5; 1, 0"/>
                                        <p:tgtEl>
                                          <p:spTgt spid="29"/>
                                        </p:tgtEl>
                                      </p:cBhvr>
                                    </p:animEffect>
                                    <p:animScale>
                                      <p:cBhvr>
                                        <p:cTn id="233" dur="1000" autoRev="1" fill="hold"/>
                                        <p:tgtEl>
                                          <p:spTgt spid="29"/>
                                        </p:tgtEl>
                                      </p:cBhvr>
                                      <p:by x="105000" y="105000"/>
                                    </p:animScale>
                                  </p:childTnLst>
                                </p:cTn>
                              </p:par>
                              <p:par>
                                <p:cTn id="234" presetID="26" presetClass="emph" presetSubtype="0" dur="2000" repeatCount="indefinite" fill="hold" grpId="0" nodeType="withEffect">
                                  <p:stCondLst>
                                    <p:cond delay="1750"/>
                                  </p:stCondLst>
                                  <p:childTnLst>
                                    <p:animEffect transition="out" filter="fade">
                                      <p:cBhvr>
                                        <p:cTn id="235" dur="2000" tmFilter="0, 0; .2, .5; .8, .5; 1, 0"/>
                                        <p:tgtEl>
                                          <p:spTgt spid="45"/>
                                        </p:tgtEl>
                                      </p:cBhvr>
                                    </p:animEffect>
                                    <p:animScale>
                                      <p:cBhvr>
                                        <p:cTn id="236" dur="1000" autoRev="1" fill="hold"/>
                                        <p:tgtEl>
                                          <p:spTgt spid="45"/>
                                        </p:tgtEl>
                                      </p:cBhvr>
                                      <p:by x="105000" y="105000"/>
                                    </p:animScale>
                                  </p:childTnLst>
                                </p:cTn>
                              </p:par>
                              <p:par>
                                <p:cTn id="237" presetID="26" presetClass="emph" presetSubtype="0" dur="2000" repeatCount="indefinite" fill="hold" grpId="0" nodeType="withEffect">
                                  <p:stCondLst>
                                    <p:cond delay="1750"/>
                                  </p:stCondLst>
                                  <p:childTnLst>
                                    <p:animEffect transition="out" filter="fade">
                                      <p:cBhvr>
                                        <p:cTn id="238" dur="2000" tmFilter="0, 0; .2, .5; .8, .5; 1, 0"/>
                                        <p:tgtEl>
                                          <p:spTgt spid="61"/>
                                        </p:tgtEl>
                                      </p:cBhvr>
                                    </p:animEffect>
                                    <p:animScale>
                                      <p:cBhvr>
                                        <p:cTn id="239" dur="1000" autoRev="1" fill="hold"/>
                                        <p:tgtEl>
                                          <p:spTgt spid="61"/>
                                        </p:tgtEl>
                                      </p:cBhvr>
                                      <p:by x="105000" y="105000"/>
                                    </p:animScale>
                                  </p:childTnLst>
                                </p:cTn>
                              </p:par>
                              <p:par>
                                <p:cTn id="240" presetID="26" presetClass="emph" presetSubtype="0" dur="2000" repeatCount="indefinite" fill="hold" grpId="0" nodeType="withEffect">
                                  <p:stCondLst>
                                    <p:cond delay="1750"/>
                                  </p:stCondLst>
                                  <p:childTnLst>
                                    <p:animEffect transition="out" filter="fade">
                                      <p:cBhvr>
                                        <p:cTn id="241" dur="2000" tmFilter="0, 0; .2, .5; .8, .5; 1, 0"/>
                                        <p:tgtEl>
                                          <p:spTgt spid="77"/>
                                        </p:tgtEl>
                                      </p:cBhvr>
                                    </p:animEffect>
                                    <p:animScale>
                                      <p:cBhvr>
                                        <p:cTn id="242" dur="1000" autoRev="1" fill="hold"/>
                                        <p:tgtEl>
                                          <p:spTgt spid="77"/>
                                        </p:tgtEl>
                                      </p:cBhvr>
                                      <p:by x="105000" y="105000"/>
                                    </p:animScale>
                                  </p:childTnLst>
                                </p:cTn>
                              </p:par>
                              <p:par>
                                <p:cTn id="243" presetID="26" presetClass="emph" presetSubtype="0" dur="2000" repeatCount="indefinite" fill="hold" grpId="0" nodeType="withEffect">
                                  <p:stCondLst>
                                    <p:cond delay="1750"/>
                                  </p:stCondLst>
                                  <p:childTnLst>
                                    <p:animEffect transition="out" filter="fade">
                                      <p:cBhvr>
                                        <p:cTn id="244" dur="2000" tmFilter="0, 0; .2, .5; .8, .5; 1, 0"/>
                                        <p:tgtEl>
                                          <p:spTgt spid="93"/>
                                        </p:tgtEl>
                                      </p:cBhvr>
                                    </p:animEffect>
                                    <p:animScale>
                                      <p:cBhvr>
                                        <p:cTn id="245" dur="1000" autoRev="1" fill="hold"/>
                                        <p:tgtEl>
                                          <p:spTgt spid="93"/>
                                        </p:tgtEl>
                                      </p:cBhvr>
                                      <p:by x="105000" y="105000"/>
                                    </p:animScale>
                                  </p:childTnLst>
                                </p:cTn>
                              </p:par>
                              <p:par>
                                <p:cTn id="246" presetID="26" presetClass="emph" presetSubtype="0" dur="2000" repeatCount="indefinite" fill="hold" grpId="0" nodeType="withEffect">
                                  <p:stCondLst>
                                    <p:cond delay="1750"/>
                                  </p:stCondLst>
                                  <p:childTnLst>
                                    <p:animEffect transition="out" filter="fade">
                                      <p:cBhvr>
                                        <p:cTn id="247" dur="2000" tmFilter="0, 0; .2, .5; .8, .5; 1, 0"/>
                                        <p:tgtEl>
                                          <p:spTgt spid="109"/>
                                        </p:tgtEl>
                                      </p:cBhvr>
                                    </p:animEffect>
                                    <p:animScale>
                                      <p:cBhvr>
                                        <p:cTn id="248" dur="1000" autoRev="1" fill="hold"/>
                                        <p:tgtEl>
                                          <p:spTgt spid="109"/>
                                        </p:tgtEl>
                                      </p:cBhvr>
                                      <p:by x="105000" y="105000"/>
                                    </p:animScale>
                                  </p:childTnLst>
                                </p:cTn>
                              </p:par>
                              <p:par>
                                <p:cTn id="249" presetID="26" presetClass="emph" presetSubtype="0" dur="2000" repeatCount="indefinite" fill="hold" grpId="0" nodeType="withEffect">
                                  <p:stCondLst>
                                    <p:cond delay="1750"/>
                                  </p:stCondLst>
                                  <p:childTnLst>
                                    <p:animEffect transition="out" filter="fade">
                                      <p:cBhvr>
                                        <p:cTn id="250" dur="2000" tmFilter="0, 0; .2, .5; .8, .5; 1, 0"/>
                                        <p:tgtEl>
                                          <p:spTgt spid="125"/>
                                        </p:tgtEl>
                                      </p:cBhvr>
                                    </p:animEffect>
                                    <p:animScale>
                                      <p:cBhvr>
                                        <p:cTn id="251" dur="1000" autoRev="1" fill="hold"/>
                                        <p:tgtEl>
                                          <p:spTgt spid="125"/>
                                        </p:tgtEl>
                                      </p:cBhvr>
                                      <p:by x="105000" y="105000"/>
                                    </p:animScale>
                                  </p:childTnLst>
                                </p:cTn>
                              </p:par>
                              <p:par>
                                <p:cTn id="252" presetID="26" presetClass="emph" presetSubtype="0" dur="2000" repeatCount="indefinite" fill="hold" grpId="0" nodeType="withEffect">
                                  <p:stCondLst>
                                    <p:cond delay="1750"/>
                                  </p:stCondLst>
                                  <p:childTnLst>
                                    <p:animEffect transition="out" filter="fade">
                                      <p:cBhvr>
                                        <p:cTn id="253" dur="2000" tmFilter="0, 0; .2, .5; .8, .5; 1, 0"/>
                                        <p:tgtEl>
                                          <p:spTgt spid="142"/>
                                        </p:tgtEl>
                                      </p:cBhvr>
                                    </p:animEffect>
                                    <p:animScale>
                                      <p:cBhvr>
                                        <p:cTn id="254" dur="1000" autoRev="1" fill="hold"/>
                                        <p:tgtEl>
                                          <p:spTgt spid="142"/>
                                        </p:tgtEl>
                                      </p:cBhvr>
                                      <p:by x="105000" y="105000"/>
                                    </p:animScale>
                                  </p:childTnLst>
                                </p:cTn>
                              </p:par>
                              <p:par>
                                <p:cTn id="255" presetID="26" presetClass="emph" presetSubtype="0" dur="2000" repeatCount="indefinite" fill="hold" grpId="0" nodeType="withEffect">
                                  <p:stCondLst>
                                    <p:cond delay="1750"/>
                                  </p:stCondLst>
                                  <p:childTnLst>
                                    <p:animEffect transition="out" filter="fade">
                                      <p:cBhvr>
                                        <p:cTn id="256" dur="2000" tmFilter="0, 0; .2, .5; .8, .5; 1, 0"/>
                                        <p:tgtEl>
                                          <p:spTgt spid="159"/>
                                        </p:tgtEl>
                                      </p:cBhvr>
                                    </p:animEffect>
                                    <p:animScale>
                                      <p:cBhvr>
                                        <p:cTn id="257" dur="1000" autoRev="1" fill="hold"/>
                                        <p:tgtEl>
                                          <p:spTgt spid="159"/>
                                        </p:tgtEl>
                                      </p:cBhvr>
                                      <p:by x="105000" y="105000"/>
                                    </p:animScale>
                                  </p:childTnLst>
                                </p:cTn>
                              </p:par>
                              <p:par>
                                <p:cTn id="258" presetID="26" presetClass="emph" presetSubtype="0" dur="2000" repeatCount="indefinite" fill="hold" grpId="0" nodeType="withEffect">
                                  <p:stCondLst>
                                    <p:cond delay="1750"/>
                                  </p:stCondLst>
                                  <p:childTnLst>
                                    <p:animEffect transition="out" filter="fade">
                                      <p:cBhvr>
                                        <p:cTn id="259" dur="2000" tmFilter="0, 0; .2, .5; .8, .5; 1, 0"/>
                                        <p:tgtEl>
                                          <p:spTgt spid="176"/>
                                        </p:tgtEl>
                                      </p:cBhvr>
                                    </p:animEffect>
                                    <p:animScale>
                                      <p:cBhvr>
                                        <p:cTn id="260" dur="1000" autoRev="1" fill="hold"/>
                                        <p:tgtEl>
                                          <p:spTgt spid="176"/>
                                        </p:tgtEl>
                                      </p:cBhvr>
                                      <p:by x="105000" y="105000"/>
                                    </p:animScale>
                                  </p:childTnLst>
                                </p:cTn>
                              </p:par>
                              <p:par>
                                <p:cTn id="261" presetID="26" presetClass="emph" presetSubtype="0" dur="2000" repeatCount="indefinite" fill="hold" grpId="0" nodeType="withEffect">
                                  <p:stCondLst>
                                    <p:cond delay="1750"/>
                                  </p:stCondLst>
                                  <p:childTnLst>
                                    <p:animEffect transition="out" filter="fade">
                                      <p:cBhvr>
                                        <p:cTn id="262" dur="2000" tmFilter="0, 0; .2, .5; .8, .5; 1, 0"/>
                                        <p:tgtEl>
                                          <p:spTgt spid="193"/>
                                        </p:tgtEl>
                                      </p:cBhvr>
                                    </p:animEffect>
                                    <p:animScale>
                                      <p:cBhvr>
                                        <p:cTn id="263" dur="1000" autoRev="1" fill="hold"/>
                                        <p:tgtEl>
                                          <p:spTgt spid="193"/>
                                        </p:tgtEl>
                                      </p:cBhvr>
                                      <p:by x="105000" y="105000"/>
                                    </p:animScale>
                                  </p:childTnLst>
                                </p:cTn>
                              </p:par>
                              <p:par>
                                <p:cTn id="264" presetID="26" presetClass="emph" presetSubtype="0" dur="2000" repeatCount="indefinite" fill="hold" grpId="0" nodeType="withEffect">
                                  <p:stCondLst>
                                    <p:cond delay="1750"/>
                                  </p:stCondLst>
                                  <p:childTnLst>
                                    <p:animEffect transition="out" filter="fade">
                                      <p:cBhvr>
                                        <p:cTn id="265" dur="2000" tmFilter="0, 0; .2, .5; .8, .5; 1, 0"/>
                                        <p:tgtEl>
                                          <p:spTgt spid="210"/>
                                        </p:tgtEl>
                                      </p:cBhvr>
                                    </p:animEffect>
                                    <p:animScale>
                                      <p:cBhvr>
                                        <p:cTn id="266" dur="1000" autoRev="1" fill="hold"/>
                                        <p:tgtEl>
                                          <p:spTgt spid="210"/>
                                        </p:tgtEl>
                                      </p:cBhvr>
                                      <p:by x="105000" y="105000"/>
                                    </p:animScale>
                                  </p:childTnLst>
                                </p:cTn>
                              </p:par>
                              <p:par>
                                <p:cTn id="267" presetID="26" presetClass="emph" presetSubtype="0" dur="2000" repeatCount="indefinite" fill="hold" grpId="0" nodeType="withEffect">
                                  <p:stCondLst>
                                    <p:cond delay="1750"/>
                                  </p:stCondLst>
                                  <p:childTnLst>
                                    <p:animEffect transition="out" filter="fade">
                                      <p:cBhvr>
                                        <p:cTn id="268" dur="2000" tmFilter="0, 0; .2, .5; .8, .5; 1, 0"/>
                                        <p:tgtEl>
                                          <p:spTgt spid="226"/>
                                        </p:tgtEl>
                                      </p:cBhvr>
                                    </p:animEffect>
                                    <p:animScale>
                                      <p:cBhvr>
                                        <p:cTn id="269" dur="1000" autoRev="1" fill="hold"/>
                                        <p:tgtEl>
                                          <p:spTgt spid="226"/>
                                        </p:tgtEl>
                                      </p:cBhvr>
                                      <p:by x="105000" y="105000"/>
                                    </p:animScale>
                                  </p:childTnLst>
                                </p:cTn>
                              </p:par>
                              <p:par>
                                <p:cTn id="270" presetID="26" presetClass="emph" presetSubtype="0" dur="2000" repeatCount="indefinite" fill="hold" grpId="0" nodeType="withEffect">
                                  <p:stCondLst>
                                    <p:cond delay="2000"/>
                                  </p:stCondLst>
                                  <p:childTnLst>
                                    <p:animEffect transition="out" filter="fade">
                                      <p:cBhvr>
                                        <p:cTn id="271" dur="2000" tmFilter="0, 0; .2, .5; .8, .5; 1, 0"/>
                                        <p:tgtEl>
                                          <p:spTgt spid="15"/>
                                        </p:tgtEl>
                                      </p:cBhvr>
                                    </p:animEffect>
                                    <p:animScale>
                                      <p:cBhvr>
                                        <p:cTn id="272" dur="1000" autoRev="1" fill="hold"/>
                                        <p:tgtEl>
                                          <p:spTgt spid="15"/>
                                        </p:tgtEl>
                                      </p:cBhvr>
                                      <p:by x="105000" y="105000"/>
                                    </p:animScale>
                                  </p:childTnLst>
                                </p:cTn>
                              </p:par>
                              <p:par>
                                <p:cTn id="273" presetID="26" presetClass="emph" presetSubtype="0" dur="2000" repeatCount="indefinite" fill="hold" grpId="0" nodeType="withEffect">
                                  <p:stCondLst>
                                    <p:cond delay="2000"/>
                                  </p:stCondLst>
                                  <p:childTnLst>
                                    <p:animEffect transition="out" filter="fade">
                                      <p:cBhvr>
                                        <p:cTn id="274" dur="2000" tmFilter="0, 0; .2, .5; .8, .5; 1, 0"/>
                                        <p:tgtEl>
                                          <p:spTgt spid="30"/>
                                        </p:tgtEl>
                                      </p:cBhvr>
                                    </p:animEffect>
                                    <p:animScale>
                                      <p:cBhvr>
                                        <p:cTn id="275" dur="1000" autoRev="1" fill="hold"/>
                                        <p:tgtEl>
                                          <p:spTgt spid="30"/>
                                        </p:tgtEl>
                                      </p:cBhvr>
                                      <p:by x="105000" y="105000"/>
                                    </p:animScale>
                                  </p:childTnLst>
                                </p:cTn>
                              </p:par>
                              <p:par>
                                <p:cTn id="276" presetID="26" presetClass="emph" presetSubtype="0" dur="2000" repeatCount="indefinite" fill="hold" grpId="0" nodeType="withEffect">
                                  <p:stCondLst>
                                    <p:cond delay="2000"/>
                                  </p:stCondLst>
                                  <p:childTnLst>
                                    <p:animEffect transition="out" filter="fade">
                                      <p:cBhvr>
                                        <p:cTn id="277" dur="2000" tmFilter="0, 0; .2, .5; .8, .5; 1, 0"/>
                                        <p:tgtEl>
                                          <p:spTgt spid="46"/>
                                        </p:tgtEl>
                                      </p:cBhvr>
                                    </p:animEffect>
                                    <p:animScale>
                                      <p:cBhvr>
                                        <p:cTn id="278" dur="1000" autoRev="1" fill="hold"/>
                                        <p:tgtEl>
                                          <p:spTgt spid="46"/>
                                        </p:tgtEl>
                                      </p:cBhvr>
                                      <p:by x="105000" y="105000"/>
                                    </p:animScale>
                                  </p:childTnLst>
                                </p:cTn>
                              </p:par>
                              <p:par>
                                <p:cTn id="279" presetID="26" presetClass="emph" presetSubtype="0" dur="2000" repeatCount="indefinite" fill="hold" grpId="0" nodeType="withEffect">
                                  <p:stCondLst>
                                    <p:cond delay="2000"/>
                                  </p:stCondLst>
                                  <p:childTnLst>
                                    <p:animEffect transition="out" filter="fade">
                                      <p:cBhvr>
                                        <p:cTn id="280" dur="2000" tmFilter="0, 0; .2, .5; .8, .5; 1, 0"/>
                                        <p:tgtEl>
                                          <p:spTgt spid="62"/>
                                        </p:tgtEl>
                                      </p:cBhvr>
                                    </p:animEffect>
                                    <p:animScale>
                                      <p:cBhvr>
                                        <p:cTn id="281" dur="1000" autoRev="1" fill="hold"/>
                                        <p:tgtEl>
                                          <p:spTgt spid="62"/>
                                        </p:tgtEl>
                                      </p:cBhvr>
                                      <p:by x="105000" y="105000"/>
                                    </p:animScale>
                                  </p:childTnLst>
                                </p:cTn>
                              </p:par>
                              <p:par>
                                <p:cTn id="282" presetID="26" presetClass="emph" presetSubtype="0" dur="2000" repeatCount="indefinite" fill="hold" grpId="0" nodeType="withEffect">
                                  <p:stCondLst>
                                    <p:cond delay="2000"/>
                                  </p:stCondLst>
                                  <p:childTnLst>
                                    <p:animEffect transition="out" filter="fade">
                                      <p:cBhvr>
                                        <p:cTn id="283" dur="2000" tmFilter="0, 0; .2, .5; .8, .5; 1, 0"/>
                                        <p:tgtEl>
                                          <p:spTgt spid="78"/>
                                        </p:tgtEl>
                                      </p:cBhvr>
                                    </p:animEffect>
                                    <p:animScale>
                                      <p:cBhvr>
                                        <p:cTn id="284" dur="1000" autoRev="1" fill="hold"/>
                                        <p:tgtEl>
                                          <p:spTgt spid="78"/>
                                        </p:tgtEl>
                                      </p:cBhvr>
                                      <p:by x="105000" y="105000"/>
                                    </p:animScale>
                                  </p:childTnLst>
                                </p:cTn>
                              </p:par>
                              <p:par>
                                <p:cTn id="285" presetID="26" presetClass="emph" presetSubtype="0" dur="2000" repeatCount="indefinite" fill="hold" grpId="0" nodeType="withEffect">
                                  <p:stCondLst>
                                    <p:cond delay="2000"/>
                                  </p:stCondLst>
                                  <p:childTnLst>
                                    <p:animEffect transition="out" filter="fade">
                                      <p:cBhvr>
                                        <p:cTn id="286" dur="2000" tmFilter="0, 0; .2, .5; .8, .5; 1, 0"/>
                                        <p:tgtEl>
                                          <p:spTgt spid="94"/>
                                        </p:tgtEl>
                                      </p:cBhvr>
                                    </p:animEffect>
                                    <p:animScale>
                                      <p:cBhvr>
                                        <p:cTn id="287" dur="1000" autoRev="1" fill="hold"/>
                                        <p:tgtEl>
                                          <p:spTgt spid="94"/>
                                        </p:tgtEl>
                                      </p:cBhvr>
                                      <p:by x="105000" y="105000"/>
                                    </p:animScale>
                                  </p:childTnLst>
                                </p:cTn>
                              </p:par>
                              <p:par>
                                <p:cTn id="288" presetID="26" presetClass="emph" presetSubtype="0" dur="2000" repeatCount="indefinite" fill="hold" grpId="0" nodeType="withEffect">
                                  <p:stCondLst>
                                    <p:cond delay="2000"/>
                                  </p:stCondLst>
                                  <p:childTnLst>
                                    <p:animEffect transition="out" filter="fade">
                                      <p:cBhvr>
                                        <p:cTn id="289" dur="2000" tmFilter="0, 0; .2, .5; .8, .5; 1, 0"/>
                                        <p:tgtEl>
                                          <p:spTgt spid="110"/>
                                        </p:tgtEl>
                                      </p:cBhvr>
                                    </p:animEffect>
                                    <p:animScale>
                                      <p:cBhvr>
                                        <p:cTn id="290" dur="1000" autoRev="1" fill="hold"/>
                                        <p:tgtEl>
                                          <p:spTgt spid="110"/>
                                        </p:tgtEl>
                                      </p:cBhvr>
                                      <p:by x="105000" y="105000"/>
                                    </p:animScale>
                                  </p:childTnLst>
                                </p:cTn>
                              </p:par>
                              <p:par>
                                <p:cTn id="291" presetID="26" presetClass="emph" presetSubtype="0" dur="2000" repeatCount="indefinite" fill="hold" grpId="0" nodeType="withEffect">
                                  <p:stCondLst>
                                    <p:cond delay="2000"/>
                                  </p:stCondLst>
                                  <p:childTnLst>
                                    <p:animEffect transition="out" filter="fade">
                                      <p:cBhvr>
                                        <p:cTn id="292" dur="2000" tmFilter="0, 0; .2, .5; .8, .5; 1, 0"/>
                                        <p:tgtEl>
                                          <p:spTgt spid="126"/>
                                        </p:tgtEl>
                                      </p:cBhvr>
                                    </p:animEffect>
                                    <p:animScale>
                                      <p:cBhvr>
                                        <p:cTn id="293" dur="1000" autoRev="1" fill="hold"/>
                                        <p:tgtEl>
                                          <p:spTgt spid="126"/>
                                        </p:tgtEl>
                                      </p:cBhvr>
                                      <p:by x="105000" y="105000"/>
                                    </p:animScale>
                                  </p:childTnLst>
                                </p:cTn>
                              </p:par>
                              <p:par>
                                <p:cTn id="294" presetID="26" presetClass="emph" presetSubtype="0" dur="2000" repeatCount="indefinite" fill="hold" grpId="0" nodeType="withEffect">
                                  <p:stCondLst>
                                    <p:cond delay="2000"/>
                                  </p:stCondLst>
                                  <p:childTnLst>
                                    <p:animEffect transition="out" filter="fade">
                                      <p:cBhvr>
                                        <p:cTn id="295" dur="2000" tmFilter="0, 0; .2, .5; .8, .5; 1, 0"/>
                                        <p:tgtEl>
                                          <p:spTgt spid="143"/>
                                        </p:tgtEl>
                                      </p:cBhvr>
                                    </p:animEffect>
                                    <p:animScale>
                                      <p:cBhvr>
                                        <p:cTn id="296" dur="1000" autoRev="1" fill="hold"/>
                                        <p:tgtEl>
                                          <p:spTgt spid="143"/>
                                        </p:tgtEl>
                                      </p:cBhvr>
                                      <p:by x="105000" y="105000"/>
                                    </p:animScale>
                                  </p:childTnLst>
                                </p:cTn>
                              </p:par>
                              <p:par>
                                <p:cTn id="297" presetID="26" presetClass="emph" presetSubtype="0" dur="2000" repeatCount="indefinite" fill="hold" grpId="0" nodeType="withEffect">
                                  <p:stCondLst>
                                    <p:cond delay="2000"/>
                                  </p:stCondLst>
                                  <p:childTnLst>
                                    <p:animEffect transition="out" filter="fade">
                                      <p:cBhvr>
                                        <p:cTn id="298" dur="2000" tmFilter="0, 0; .2, .5; .8, .5; 1, 0"/>
                                        <p:tgtEl>
                                          <p:spTgt spid="160"/>
                                        </p:tgtEl>
                                      </p:cBhvr>
                                    </p:animEffect>
                                    <p:animScale>
                                      <p:cBhvr>
                                        <p:cTn id="299" dur="1000" autoRev="1" fill="hold"/>
                                        <p:tgtEl>
                                          <p:spTgt spid="160"/>
                                        </p:tgtEl>
                                      </p:cBhvr>
                                      <p:by x="105000" y="105000"/>
                                    </p:animScale>
                                  </p:childTnLst>
                                </p:cTn>
                              </p:par>
                              <p:par>
                                <p:cTn id="300" presetID="26" presetClass="emph" presetSubtype="0" dur="2000" repeatCount="indefinite" fill="hold" grpId="0" nodeType="withEffect">
                                  <p:stCondLst>
                                    <p:cond delay="2000"/>
                                  </p:stCondLst>
                                  <p:childTnLst>
                                    <p:animEffect transition="out" filter="fade">
                                      <p:cBhvr>
                                        <p:cTn id="301" dur="2000" tmFilter="0, 0; .2, .5; .8, .5; 1, 0"/>
                                        <p:tgtEl>
                                          <p:spTgt spid="177"/>
                                        </p:tgtEl>
                                      </p:cBhvr>
                                    </p:animEffect>
                                    <p:animScale>
                                      <p:cBhvr>
                                        <p:cTn id="302" dur="1000" autoRev="1" fill="hold"/>
                                        <p:tgtEl>
                                          <p:spTgt spid="177"/>
                                        </p:tgtEl>
                                      </p:cBhvr>
                                      <p:by x="105000" y="105000"/>
                                    </p:animScale>
                                  </p:childTnLst>
                                </p:cTn>
                              </p:par>
                              <p:par>
                                <p:cTn id="303" presetID="26" presetClass="emph" presetSubtype="0" dur="2000" repeatCount="indefinite" fill="hold" grpId="0" nodeType="withEffect">
                                  <p:stCondLst>
                                    <p:cond delay="2000"/>
                                  </p:stCondLst>
                                  <p:childTnLst>
                                    <p:animEffect transition="out" filter="fade">
                                      <p:cBhvr>
                                        <p:cTn id="304" dur="2000" tmFilter="0, 0; .2, .5; .8, .5; 1, 0"/>
                                        <p:tgtEl>
                                          <p:spTgt spid="194"/>
                                        </p:tgtEl>
                                      </p:cBhvr>
                                    </p:animEffect>
                                    <p:animScale>
                                      <p:cBhvr>
                                        <p:cTn id="305" dur="1000" autoRev="1" fill="hold"/>
                                        <p:tgtEl>
                                          <p:spTgt spid="194"/>
                                        </p:tgtEl>
                                      </p:cBhvr>
                                      <p:by x="105000" y="105000"/>
                                    </p:animScale>
                                  </p:childTnLst>
                                </p:cTn>
                              </p:par>
                              <p:par>
                                <p:cTn id="306" presetID="26" presetClass="emph" presetSubtype="0" dur="2000" repeatCount="indefinite" fill="hold" grpId="0" nodeType="withEffect">
                                  <p:stCondLst>
                                    <p:cond delay="2000"/>
                                  </p:stCondLst>
                                  <p:childTnLst>
                                    <p:animEffect transition="out" filter="fade">
                                      <p:cBhvr>
                                        <p:cTn id="307" dur="2000" tmFilter="0, 0; .2, .5; .8, .5; 1, 0"/>
                                        <p:tgtEl>
                                          <p:spTgt spid="211"/>
                                        </p:tgtEl>
                                      </p:cBhvr>
                                    </p:animEffect>
                                    <p:animScale>
                                      <p:cBhvr>
                                        <p:cTn id="308" dur="1000" autoRev="1" fill="hold"/>
                                        <p:tgtEl>
                                          <p:spTgt spid="211"/>
                                        </p:tgtEl>
                                      </p:cBhvr>
                                      <p:by x="105000" y="105000"/>
                                    </p:animScale>
                                  </p:childTnLst>
                                </p:cTn>
                              </p:par>
                              <p:par>
                                <p:cTn id="309" presetID="26" presetClass="emph" presetSubtype="0" dur="2000" repeatCount="indefinite" fill="hold" grpId="0" nodeType="withEffect">
                                  <p:stCondLst>
                                    <p:cond delay="2000"/>
                                  </p:stCondLst>
                                  <p:childTnLst>
                                    <p:animEffect transition="out" filter="fade">
                                      <p:cBhvr>
                                        <p:cTn id="310" dur="2000" tmFilter="0, 0; .2, .5; .8, .5; 1, 0"/>
                                        <p:tgtEl>
                                          <p:spTgt spid="227"/>
                                        </p:tgtEl>
                                      </p:cBhvr>
                                    </p:animEffect>
                                    <p:animScale>
                                      <p:cBhvr>
                                        <p:cTn id="311" dur="1000" autoRev="1" fill="hold"/>
                                        <p:tgtEl>
                                          <p:spTgt spid="227"/>
                                        </p:tgtEl>
                                      </p:cBhvr>
                                      <p:by x="105000" y="105000"/>
                                    </p:animScale>
                                  </p:childTnLst>
                                </p:cTn>
                              </p:par>
                              <p:par>
                                <p:cTn id="312" presetID="26" presetClass="emph" presetSubtype="0" dur="2000" repeatCount="indefinite" fill="hold" grpId="0" nodeType="withEffect">
                                  <p:stCondLst>
                                    <p:cond delay="2250"/>
                                  </p:stCondLst>
                                  <p:childTnLst>
                                    <p:animEffect transition="out" filter="fade">
                                      <p:cBhvr>
                                        <p:cTn id="313" dur="2000" tmFilter="0, 0; .2, .5; .8, .5; 1, 0"/>
                                        <p:tgtEl>
                                          <p:spTgt spid="16"/>
                                        </p:tgtEl>
                                      </p:cBhvr>
                                    </p:animEffect>
                                    <p:animScale>
                                      <p:cBhvr>
                                        <p:cTn id="314" dur="1000" autoRev="1" fill="hold"/>
                                        <p:tgtEl>
                                          <p:spTgt spid="16"/>
                                        </p:tgtEl>
                                      </p:cBhvr>
                                      <p:by x="105000" y="105000"/>
                                    </p:animScale>
                                  </p:childTnLst>
                                </p:cTn>
                              </p:par>
                              <p:par>
                                <p:cTn id="315" presetID="26" presetClass="emph" presetSubtype="0" dur="2000" repeatCount="indefinite" fill="hold" grpId="0" nodeType="withEffect">
                                  <p:stCondLst>
                                    <p:cond delay="2250"/>
                                  </p:stCondLst>
                                  <p:childTnLst>
                                    <p:animEffect transition="out" filter="fade">
                                      <p:cBhvr>
                                        <p:cTn id="316" dur="2000" tmFilter="0, 0; .2, .5; .8, .5; 1, 0"/>
                                        <p:tgtEl>
                                          <p:spTgt spid="31"/>
                                        </p:tgtEl>
                                      </p:cBhvr>
                                    </p:animEffect>
                                    <p:animScale>
                                      <p:cBhvr>
                                        <p:cTn id="317" dur="1000" autoRev="1" fill="hold"/>
                                        <p:tgtEl>
                                          <p:spTgt spid="31"/>
                                        </p:tgtEl>
                                      </p:cBhvr>
                                      <p:by x="105000" y="105000"/>
                                    </p:animScale>
                                  </p:childTnLst>
                                </p:cTn>
                              </p:par>
                              <p:par>
                                <p:cTn id="318" presetID="26" presetClass="emph" presetSubtype="0" dur="2000" repeatCount="indefinite" fill="hold" grpId="0" nodeType="withEffect">
                                  <p:stCondLst>
                                    <p:cond delay="2250"/>
                                  </p:stCondLst>
                                  <p:childTnLst>
                                    <p:animEffect transition="out" filter="fade">
                                      <p:cBhvr>
                                        <p:cTn id="319" dur="2000" tmFilter="0, 0; .2, .5; .8, .5; 1, 0"/>
                                        <p:tgtEl>
                                          <p:spTgt spid="47"/>
                                        </p:tgtEl>
                                      </p:cBhvr>
                                    </p:animEffect>
                                    <p:animScale>
                                      <p:cBhvr>
                                        <p:cTn id="320" dur="1000" autoRev="1" fill="hold"/>
                                        <p:tgtEl>
                                          <p:spTgt spid="47"/>
                                        </p:tgtEl>
                                      </p:cBhvr>
                                      <p:by x="105000" y="105000"/>
                                    </p:animScale>
                                  </p:childTnLst>
                                </p:cTn>
                              </p:par>
                              <p:par>
                                <p:cTn id="321" presetID="26" presetClass="emph" presetSubtype="0" dur="2000" repeatCount="indefinite" fill="hold" grpId="0" nodeType="withEffect">
                                  <p:stCondLst>
                                    <p:cond delay="2250"/>
                                  </p:stCondLst>
                                  <p:childTnLst>
                                    <p:animEffect transition="out" filter="fade">
                                      <p:cBhvr>
                                        <p:cTn id="322" dur="2000" tmFilter="0, 0; .2, .5; .8, .5; 1, 0"/>
                                        <p:tgtEl>
                                          <p:spTgt spid="63"/>
                                        </p:tgtEl>
                                      </p:cBhvr>
                                    </p:animEffect>
                                    <p:animScale>
                                      <p:cBhvr>
                                        <p:cTn id="323" dur="1000" autoRev="1" fill="hold"/>
                                        <p:tgtEl>
                                          <p:spTgt spid="63"/>
                                        </p:tgtEl>
                                      </p:cBhvr>
                                      <p:by x="105000" y="105000"/>
                                    </p:animScale>
                                  </p:childTnLst>
                                </p:cTn>
                              </p:par>
                              <p:par>
                                <p:cTn id="324" presetID="26" presetClass="emph" presetSubtype="0" dur="2000" repeatCount="indefinite" fill="hold" grpId="0" nodeType="withEffect">
                                  <p:stCondLst>
                                    <p:cond delay="2250"/>
                                  </p:stCondLst>
                                  <p:childTnLst>
                                    <p:animEffect transition="out" filter="fade">
                                      <p:cBhvr>
                                        <p:cTn id="325" dur="2000" tmFilter="0, 0; .2, .5; .8, .5; 1, 0"/>
                                        <p:tgtEl>
                                          <p:spTgt spid="79"/>
                                        </p:tgtEl>
                                      </p:cBhvr>
                                    </p:animEffect>
                                    <p:animScale>
                                      <p:cBhvr>
                                        <p:cTn id="326" dur="1000" autoRev="1" fill="hold"/>
                                        <p:tgtEl>
                                          <p:spTgt spid="79"/>
                                        </p:tgtEl>
                                      </p:cBhvr>
                                      <p:by x="105000" y="105000"/>
                                    </p:animScale>
                                  </p:childTnLst>
                                </p:cTn>
                              </p:par>
                              <p:par>
                                <p:cTn id="327" presetID="26" presetClass="emph" presetSubtype="0" dur="2000" repeatCount="indefinite" fill="hold" grpId="0" nodeType="withEffect">
                                  <p:stCondLst>
                                    <p:cond delay="2250"/>
                                  </p:stCondLst>
                                  <p:childTnLst>
                                    <p:animEffect transition="out" filter="fade">
                                      <p:cBhvr>
                                        <p:cTn id="328" dur="2000" tmFilter="0, 0; .2, .5; .8, .5; 1, 0"/>
                                        <p:tgtEl>
                                          <p:spTgt spid="95"/>
                                        </p:tgtEl>
                                      </p:cBhvr>
                                    </p:animEffect>
                                    <p:animScale>
                                      <p:cBhvr>
                                        <p:cTn id="329" dur="1000" autoRev="1" fill="hold"/>
                                        <p:tgtEl>
                                          <p:spTgt spid="95"/>
                                        </p:tgtEl>
                                      </p:cBhvr>
                                      <p:by x="105000" y="105000"/>
                                    </p:animScale>
                                  </p:childTnLst>
                                </p:cTn>
                              </p:par>
                              <p:par>
                                <p:cTn id="330" presetID="26" presetClass="emph" presetSubtype="0" dur="2000" repeatCount="indefinite" fill="hold" grpId="0" nodeType="withEffect">
                                  <p:stCondLst>
                                    <p:cond delay="2250"/>
                                  </p:stCondLst>
                                  <p:childTnLst>
                                    <p:animEffect transition="out" filter="fade">
                                      <p:cBhvr>
                                        <p:cTn id="331" dur="2000" tmFilter="0, 0; .2, .5; .8, .5; 1, 0"/>
                                        <p:tgtEl>
                                          <p:spTgt spid="111"/>
                                        </p:tgtEl>
                                      </p:cBhvr>
                                    </p:animEffect>
                                    <p:animScale>
                                      <p:cBhvr>
                                        <p:cTn id="332" dur="1000" autoRev="1" fill="hold"/>
                                        <p:tgtEl>
                                          <p:spTgt spid="111"/>
                                        </p:tgtEl>
                                      </p:cBhvr>
                                      <p:by x="105000" y="105000"/>
                                    </p:animScale>
                                  </p:childTnLst>
                                </p:cTn>
                              </p:par>
                              <p:par>
                                <p:cTn id="333" presetID="26" presetClass="emph" presetSubtype="0" dur="2000" repeatCount="indefinite" fill="hold" grpId="0" nodeType="withEffect">
                                  <p:stCondLst>
                                    <p:cond delay="2250"/>
                                  </p:stCondLst>
                                  <p:childTnLst>
                                    <p:animEffect transition="out" filter="fade">
                                      <p:cBhvr>
                                        <p:cTn id="334" dur="2000" tmFilter="0, 0; .2, .5; .8, .5; 1, 0"/>
                                        <p:tgtEl>
                                          <p:spTgt spid="127"/>
                                        </p:tgtEl>
                                      </p:cBhvr>
                                    </p:animEffect>
                                    <p:animScale>
                                      <p:cBhvr>
                                        <p:cTn id="335" dur="1000" autoRev="1" fill="hold"/>
                                        <p:tgtEl>
                                          <p:spTgt spid="127"/>
                                        </p:tgtEl>
                                      </p:cBhvr>
                                      <p:by x="105000" y="105000"/>
                                    </p:animScale>
                                  </p:childTnLst>
                                </p:cTn>
                              </p:par>
                              <p:par>
                                <p:cTn id="336" presetID="26" presetClass="emph" presetSubtype="0" dur="2000" repeatCount="indefinite" fill="hold" grpId="0" nodeType="withEffect">
                                  <p:stCondLst>
                                    <p:cond delay="2250"/>
                                  </p:stCondLst>
                                  <p:childTnLst>
                                    <p:animEffect transition="out" filter="fade">
                                      <p:cBhvr>
                                        <p:cTn id="337" dur="2000" tmFilter="0, 0; .2, .5; .8, .5; 1, 0"/>
                                        <p:tgtEl>
                                          <p:spTgt spid="144"/>
                                        </p:tgtEl>
                                      </p:cBhvr>
                                    </p:animEffect>
                                    <p:animScale>
                                      <p:cBhvr>
                                        <p:cTn id="338" dur="1000" autoRev="1" fill="hold"/>
                                        <p:tgtEl>
                                          <p:spTgt spid="144"/>
                                        </p:tgtEl>
                                      </p:cBhvr>
                                      <p:by x="105000" y="105000"/>
                                    </p:animScale>
                                  </p:childTnLst>
                                </p:cTn>
                              </p:par>
                              <p:par>
                                <p:cTn id="339" presetID="26" presetClass="emph" presetSubtype="0" dur="2000" repeatCount="indefinite" fill="hold" grpId="0" nodeType="withEffect">
                                  <p:stCondLst>
                                    <p:cond delay="2250"/>
                                  </p:stCondLst>
                                  <p:childTnLst>
                                    <p:animEffect transition="out" filter="fade">
                                      <p:cBhvr>
                                        <p:cTn id="340" dur="2000" tmFilter="0, 0; .2, .5; .8, .5; 1, 0"/>
                                        <p:tgtEl>
                                          <p:spTgt spid="161"/>
                                        </p:tgtEl>
                                      </p:cBhvr>
                                    </p:animEffect>
                                    <p:animScale>
                                      <p:cBhvr>
                                        <p:cTn id="341" dur="1000" autoRev="1" fill="hold"/>
                                        <p:tgtEl>
                                          <p:spTgt spid="161"/>
                                        </p:tgtEl>
                                      </p:cBhvr>
                                      <p:by x="105000" y="105000"/>
                                    </p:animScale>
                                  </p:childTnLst>
                                </p:cTn>
                              </p:par>
                              <p:par>
                                <p:cTn id="342" presetID="26" presetClass="emph" presetSubtype="0" dur="2000" repeatCount="indefinite" fill="hold" grpId="0" nodeType="withEffect">
                                  <p:stCondLst>
                                    <p:cond delay="2250"/>
                                  </p:stCondLst>
                                  <p:childTnLst>
                                    <p:animEffect transition="out" filter="fade">
                                      <p:cBhvr>
                                        <p:cTn id="343" dur="2000" tmFilter="0, 0; .2, .5; .8, .5; 1, 0"/>
                                        <p:tgtEl>
                                          <p:spTgt spid="178"/>
                                        </p:tgtEl>
                                      </p:cBhvr>
                                    </p:animEffect>
                                    <p:animScale>
                                      <p:cBhvr>
                                        <p:cTn id="344" dur="1000" autoRev="1" fill="hold"/>
                                        <p:tgtEl>
                                          <p:spTgt spid="178"/>
                                        </p:tgtEl>
                                      </p:cBhvr>
                                      <p:by x="105000" y="105000"/>
                                    </p:animScale>
                                  </p:childTnLst>
                                </p:cTn>
                              </p:par>
                              <p:par>
                                <p:cTn id="345" presetID="26" presetClass="emph" presetSubtype="0" dur="2000" repeatCount="indefinite" fill="hold" grpId="0" nodeType="withEffect">
                                  <p:stCondLst>
                                    <p:cond delay="2250"/>
                                  </p:stCondLst>
                                  <p:childTnLst>
                                    <p:animEffect transition="out" filter="fade">
                                      <p:cBhvr>
                                        <p:cTn id="346" dur="2000" tmFilter="0, 0; .2, .5; .8, .5; 1, 0"/>
                                        <p:tgtEl>
                                          <p:spTgt spid="195"/>
                                        </p:tgtEl>
                                      </p:cBhvr>
                                    </p:animEffect>
                                    <p:animScale>
                                      <p:cBhvr>
                                        <p:cTn id="347" dur="1000" autoRev="1" fill="hold"/>
                                        <p:tgtEl>
                                          <p:spTgt spid="195"/>
                                        </p:tgtEl>
                                      </p:cBhvr>
                                      <p:by x="105000" y="105000"/>
                                    </p:animScale>
                                  </p:childTnLst>
                                </p:cTn>
                              </p:par>
                              <p:par>
                                <p:cTn id="348" presetID="26" presetClass="emph" presetSubtype="0" dur="2000" repeatCount="indefinite" fill="hold" grpId="0" nodeType="withEffect">
                                  <p:stCondLst>
                                    <p:cond delay="2250"/>
                                  </p:stCondLst>
                                  <p:childTnLst>
                                    <p:animEffect transition="out" filter="fade">
                                      <p:cBhvr>
                                        <p:cTn id="349" dur="2000" tmFilter="0, 0; .2, .5; .8, .5; 1, 0"/>
                                        <p:tgtEl>
                                          <p:spTgt spid="212"/>
                                        </p:tgtEl>
                                      </p:cBhvr>
                                    </p:animEffect>
                                    <p:animScale>
                                      <p:cBhvr>
                                        <p:cTn id="350" dur="1000" autoRev="1" fill="hold"/>
                                        <p:tgtEl>
                                          <p:spTgt spid="212"/>
                                        </p:tgtEl>
                                      </p:cBhvr>
                                      <p:by x="105000" y="105000"/>
                                    </p:animScale>
                                  </p:childTnLst>
                                </p:cTn>
                              </p:par>
                              <p:par>
                                <p:cTn id="351" presetID="26" presetClass="emph" presetSubtype="0" dur="2000" repeatCount="indefinite" fill="hold" grpId="0" nodeType="withEffect">
                                  <p:stCondLst>
                                    <p:cond delay="2250"/>
                                  </p:stCondLst>
                                  <p:childTnLst>
                                    <p:animEffect transition="out" filter="fade">
                                      <p:cBhvr>
                                        <p:cTn id="352" dur="2000" tmFilter="0, 0; .2, .5; .8, .5; 1, 0"/>
                                        <p:tgtEl>
                                          <p:spTgt spid="228"/>
                                        </p:tgtEl>
                                      </p:cBhvr>
                                    </p:animEffect>
                                    <p:animScale>
                                      <p:cBhvr>
                                        <p:cTn id="353" dur="1000" autoRev="1" fill="hold"/>
                                        <p:tgtEl>
                                          <p:spTgt spid="228"/>
                                        </p:tgtEl>
                                      </p:cBhvr>
                                      <p:by x="105000" y="105000"/>
                                    </p:animScale>
                                  </p:childTnLst>
                                </p:cTn>
                              </p:par>
                              <p:par>
                                <p:cTn id="354" presetID="26" presetClass="emph" presetSubtype="0" dur="2000" repeatCount="indefinite" fill="hold" grpId="0" nodeType="withEffect">
                                  <p:stCondLst>
                                    <p:cond delay="2500"/>
                                  </p:stCondLst>
                                  <p:childTnLst>
                                    <p:animEffect transition="out" filter="fade">
                                      <p:cBhvr>
                                        <p:cTn id="355" dur="2000" tmFilter="0, 0; .2, .5; .8, .5; 1, 0"/>
                                        <p:tgtEl>
                                          <p:spTgt spid="17"/>
                                        </p:tgtEl>
                                      </p:cBhvr>
                                    </p:animEffect>
                                    <p:animScale>
                                      <p:cBhvr>
                                        <p:cTn id="356" dur="1000" autoRev="1" fill="hold"/>
                                        <p:tgtEl>
                                          <p:spTgt spid="17"/>
                                        </p:tgtEl>
                                      </p:cBhvr>
                                      <p:by x="105000" y="105000"/>
                                    </p:animScale>
                                  </p:childTnLst>
                                </p:cTn>
                              </p:par>
                              <p:par>
                                <p:cTn id="357" presetID="26" presetClass="emph" presetSubtype="0" dur="2000" repeatCount="indefinite" fill="hold" grpId="0" nodeType="withEffect">
                                  <p:stCondLst>
                                    <p:cond delay="2500"/>
                                  </p:stCondLst>
                                  <p:childTnLst>
                                    <p:animEffect transition="out" filter="fade">
                                      <p:cBhvr>
                                        <p:cTn id="358" dur="2000" tmFilter="0, 0; .2, .5; .8, .5; 1, 0"/>
                                        <p:tgtEl>
                                          <p:spTgt spid="32"/>
                                        </p:tgtEl>
                                      </p:cBhvr>
                                    </p:animEffect>
                                    <p:animScale>
                                      <p:cBhvr>
                                        <p:cTn id="359" dur="1000" autoRev="1" fill="hold"/>
                                        <p:tgtEl>
                                          <p:spTgt spid="32"/>
                                        </p:tgtEl>
                                      </p:cBhvr>
                                      <p:by x="105000" y="105000"/>
                                    </p:animScale>
                                  </p:childTnLst>
                                </p:cTn>
                              </p:par>
                              <p:par>
                                <p:cTn id="360" presetID="26" presetClass="emph" presetSubtype="0" dur="2000" repeatCount="indefinite" fill="hold" grpId="0" nodeType="withEffect">
                                  <p:stCondLst>
                                    <p:cond delay="2500"/>
                                  </p:stCondLst>
                                  <p:childTnLst>
                                    <p:animEffect transition="out" filter="fade">
                                      <p:cBhvr>
                                        <p:cTn id="361" dur="2000" tmFilter="0, 0; .2, .5; .8, .5; 1, 0"/>
                                        <p:tgtEl>
                                          <p:spTgt spid="48"/>
                                        </p:tgtEl>
                                      </p:cBhvr>
                                    </p:animEffect>
                                    <p:animScale>
                                      <p:cBhvr>
                                        <p:cTn id="362" dur="1000" autoRev="1" fill="hold"/>
                                        <p:tgtEl>
                                          <p:spTgt spid="48"/>
                                        </p:tgtEl>
                                      </p:cBhvr>
                                      <p:by x="105000" y="105000"/>
                                    </p:animScale>
                                  </p:childTnLst>
                                </p:cTn>
                              </p:par>
                              <p:par>
                                <p:cTn id="363" presetID="26" presetClass="emph" presetSubtype="0" dur="2000" repeatCount="indefinite" fill="hold" grpId="0" nodeType="withEffect">
                                  <p:stCondLst>
                                    <p:cond delay="2500"/>
                                  </p:stCondLst>
                                  <p:childTnLst>
                                    <p:animEffect transition="out" filter="fade">
                                      <p:cBhvr>
                                        <p:cTn id="364" dur="2000" tmFilter="0, 0; .2, .5; .8, .5; 1, 0"/>
                                        <p:tgtEl>
                                          <p:spTgt spid="64"/>
                                        </p:tgtEl>
                                      </p:cBhvr>
                                    </p:animEffect>
                                    <p:animScale>
                                      <p:cBhvr>
                                        <p:cTn id="365" dur="1000" autoRev="1" fill="hold"/>
                                        <p:tgtEl>
                                          <p:spTgt spid="64"/>
                                        </p:tgtEl>
                                      </p:cBhvr>
                                      <p:by x="105000" y="105000"/>
                                    </p:animScale>
                                  </p:childTnLst>
                                </p:cTn>
                              </p:par>
                              <p:par>
                                <p:cTn id="366" presetID="26" presetClass="emph" presetSubtype="0" dur="2000" repeatCount="indefinite" fill="hold" grpId="0" nodeType="withEffect">
                                  <p:stCondLst>
                                    <p:cond delay="2500"/>
                                  </p:stCondLst>
                                  <p:childTnLst>
                                    <p:animEffect transition="out" filter="fade">
                                      <p:cBhvr>
                                        <p:cTn id="367" dur="2000" tmFilter="0, 0; .2, .5; .8, .5; 1, 0"/>
                                        <p:tgtEl>
                                          <p:spTgt spid="80"/>
                                        </p:tgtEl>
                                      </p:cBhvr>
                                    </p:animEffect>
                                    <p:animScale>
                                      <p:cBhvr>
                                        <p:cTn id="368" dur="1000" autoRev="1" fill="hold"/>
                                        <p:tgtEl>
                                          <p:spTgt spid="80"/>
                                        </p:tgtEl>
                                      </p:cBhvr>
                                      <p:by x="105000" y="105000"/>
                                    </p:animScale>
                                  </p:childTnLst>
                                </p:cTn>
                              </p:par>
                              <p:par>
                                <p:cTn id="369" presetID="26" presetClass="emph" presetSubtype="0" dur="2000" repeatCount="indefinite" fill="hold" grpId="0" nodeType="withEffect">
                                  <p:stCondLst>
                                    <p:cond delay="2500"/>
                                  </p:stCondLst>
                                  <p:childTnLst>
                                    <p:animEffect transition="out" filter="fade">
                                      <p:cBhvr>
                                        <p:cTn id="370" dur="2000" tmFilter="0, 0; .2, .5; .8, .5; 1, 0"/>
                                        <p:tgtEl>
                                          <p:spTgt spid="96"/>
                                        </p:tgtEl>
                                      </p:cBhvr>
                                    </p:animEffect>
                                    <p:animScale>
                                      <p:cBhvr>
                                        <p:cTn id="371" dur="1000" autoRev="1" fill="hold"/>
                                        <p:tgtEl>
                                          <p:spTgt spid="96"/>
                                        </p:tgtEl>
                                      </p:cBhvr>
                                      <p:by x="105000" y="105000"/>
                                    </p:animScale>
                                  </p:childTnLst>
                                </p:cTn>
                              </p:par>
                              <p:par>
                                <p:cTn id="372" presetID="26" presetClass="emph" presetSubtype="0" dur="2000" repeatCount="indefinite" fill="hold" grpId="0" nodeType="withEffect">
                                  <p:stCondLst>
                                    <p:cond delay="2500"/>
                                  </p:stCondLst>
                                  <p:childTnLst>
                                    <p:animEffect transition="out" filter="fade">
                                      <p:cBhvr>
                                        <p:cTn id="373" dur="2000" tmFilter="0, 0; .2, .5; .8, .5; 1, 0"/>
                                        <p:tgtEl>
                                          <p:spTgt spid="112"/>
                                        </p:tgtEl>
                                      </p:cBhvr>
                                    </p:animEffect>
                                    <p:animScale>
                                      <p:cBhvr>
                                        <p:cTn id="374" dur="1000" autoRev="1" fill="hold"/>
                                        <p:tgtEl>
                                          <p:spTgt spid="112"/>
                                        </p:tgtEl>
                                      </p:cBhvr>
                                      <p:by x="105000" y="105000"/>
                                    </p:animScale>
                                  </p:childTnLst>
                                </p:cTn>
                              </p:par>
                              <p:par>
                                <p:cTn id="375" presetID="26" presetClass="emph" presetSubtype="0" dur="2000" repeatCount="indefinite" fill="hold" grpId="0" nodeType="withEffect">
                                  <p:stCondLst>
                                    <p:cond delay="2500"/>
                                  </p:stCondLst>
                                  <p:childTnLst>
                                    <p:animEffect transition="out" filter="fade">
                                      <p:cBhvr>
                                        <p:cTn id="376" dur="2000" tmFilter="0, 0; .2, .5; .8, .5; 1, 0"/>
                                        <p:tgtEl>
                                          <p:spTgt spid="128"/>
                                        </p:tgtEl>
                                      </p:cBhvr>
                                    </p:animEffect>
                                    <p:animScale>
                                      <p:cBhvr>
                                        <p:cTn id="377" dur="1000" autoRev="1" fill="hold"/>
                                        <p:tgtEl>
                                          <p:spTgt spid="128"/>
                                        </p:tgtEl>
                                      </p:cBhvr>
                                      <p:by x="105000" y="105000"/>
                                    </p:animScale>
                                  </p:childTnLst>
                                </p:cTn>
                              </p:par>
                              <p:par>
                                <p:cTn id="378" presetID="26" presetClass="emph" presetSubtype="0" dur="2000" repeatCount="indefinite" fill="hold" grpId="0" nodeType="withEffect">
                                  <p:stCondLst>
                                    <p:cond delay="2500"/>
                                  </p:stCondLst>
                                  <p:childTnLst>
                                    <p:animEffect transition="out" filter="fade">
                                      <p:cBhvr>
                                        <p:cTn id="379" dur="2000" tmFilter="0, 0; .2, .5; .8, .5; 1, 0"/>
                                        <p:tgtEl>
                                          <p:spTgt spid="145"/>
                                        </p:tgtEl>
                                      </p:cBhvr>
                                    </p:animEffect>
                                    <p:animScale>
                                      <p:cBhvr>
                                        <p:cTn id="380" dur="1000" autoRev="1" fill="hold"/>
                                        <p:tgtEl>
                                          <p:spTgt spid="145"/>
                                        </p:tgtEl>
                                      </p:cBhvr>
                                      <p:by x="105000" y="105000"/>
                                    </p:animScale>
                                  </p:childTnLst>
                                </p:cTn>
                              </p:par>
                              <p:par>
                                <p:cTn id="381" presetID="26" presetClass="emph" presetSubtype="0" dur="2000" repeatCount="indefinite" fill="hold" grpId="0" nodeType="withEffect">
                                  <p:stCondLst>
                                    <p:cond delay="2500"/>
                                  </p:stCondLst>
                                  <p:childTnLst>
                                    <p:animEffect transition="out" filter="fade">
                                      <p:cBhvr>
                                        <p:cTn id="382" dur="2000" tmFilter="0, 0; .2, .5; .8, .5; 1, 0"/>
                                        <p:tgtEl>
                                          <p:spTgt spid="162"/>
                                        </p:tgtEl>
                                      </p:cBhvr>
                                    </p:animEffect>
                                    <p:animScale>
                                      <p:cBhvr>
                                        <p:cTn id="383" dur="1000" autoRev="1" fill="hold"/>
                                        <p:tgtEl>
                                          <p:spTgt spid="162"/>
                                        </p:tgtEl>
                                      </p:cBhvr>
                                      <p:by x="105000" y="105000"/>
                                    </p:animScale>
                                  </p:childTnLst>
                                </p:cTn>
                              </p:par>
                              <p:par>
                                <p:cTn id="384" presetID="26" presetClass="emph" presetSubtype="0" dur="2000" repeatCount="indefinite" fill="hold" grpId="0" nodeType="withEffect">
                                  <p:stCondLst>
                                    <p:cond delay="2500"/>
                                  </p:stCondLst>
                                  <p:childTnLst>
                                    <p:animEffect transition="out" filter="fade">
                                      <p:cBhvr>
                                        <p:cTn id="385" dur="2000" tmFilter="0, 0; .2, .5; .8, .5; 1, 0"/>
                                        <p:tgtEl>
                                          <p:spTgt spid="179"/>
                                        </p:tgtEl>
                                      </p:cBhvr>
                                    </p:animEffect>
                                    <p:animScale>
                                      <p:cBhvr>
                                        <p:cTn id="386" dur="1000" autoRev="1" fill="hold"/>
                                        <p:tgtEl>
                                          <p:spTgt spid="179"/>
                                        </p:tgtEl>
                                      </p:cBhvr>
                                      <p:by x="105000" y="105000"/>
                                    </p:animScale>
                                  </p:childTnLst>
                                </p:cTn>
                              </p:par>
                              <p:par>
                                <p:cTn id="387" presetID="26" presetClass="emph" presetSubtype="0" dur="2000" repeatCount="indefinite" fill="hold" grpId="0" nodeType="withEffect">
                                  <p:stCondLst>
                                    <p:cond delay="2500"/>
                                  </p:stCondLst>
                                  <p:childTnLst>
                                    <p:animEffect transition="out" filter="fade">
                                      <p:cBhvr>
                                        <p:cTn id="388" dur="2000" tmFilter="0, 0; .2, .5; .8, .5; 1, 0"/>
                                        <p:tgtEl>
                                          <p:spTgt spid="196"/>
                                        </p:tgtEl>
                                      </p:cBhvr>
                                    </p:animEffect>
                                    <p:animScale>
                                      <p:cBhvr>
                                        <p:cTn id="389" dur="1000" autoRev="1" fill="hold"/>
                                        <p:tgtEl>
                                          <p:spTgt spid="196"/>
                                        </p:tgtEl>
                                      </p:cBhvr>
                                      <p:by x="105000" y="105000"/>
                                    </p:animScale>
                                  </p:childTnLst>
                                </p:cTn>
                              </p:par>
                              <p:par>
                                <p:cTn id="390" presetID="26" presetClass="emph" presetSubtype="0" dur="2000" repeatCount="indefinite" fill="hold" grpId="0" nodeType="withEffect">
                                  <p:stCondLst>
                                    <p:cond delay="2500"/>
                                  </p:stCondLst>
                                  <p:childTnLst>
                                    <p:animEffect transition="out" filter="fade">
                                      <p:cBhvr>
                                        <p:cTn id="391" dur="2000" tmFilter="0, 0; .2, .5; .8, .5; 1, 0"/>
                                        <p:tgtEl>
                                          <p:spTgt spid="213"/>
                                        </p:tgtEl>
                                      </p:cBhvr>
                                    </p:animEffect>
                                    <p:animScale>
                                      <p:cBhvr>
                                        <p:cTn id="392" dur="1000" autoRev="1" fill="hold"/>
                                        <p:tgtEl>
                                          <p:spTgt spid="213"/>
                                        </p:tgtEl>
                                      </p:cBhvr>
                                      <p:by x="105000" y="105000"/>
                                    </p:animScale>
                                  </p:childTnLst>
                                </p:cTn>
                              </p:par>
                              <p:par>
                                <p:cTn id="393" presetID="26" presetClass="emph" presetSubtype="0" dur="2000" repeatCount="indefinite" fill="hold" grpId="0" nodeType="withEffect">
                                  <p:stCondLst>
                                    <p:cond delay="2500"/>
                                  </p:stCondLst>
                                  <p:childTnLst>
                                    <p:animEffect transition="out" filter="fade">
                                      <p:cBhvr>
                                        <p:cTn id="394" dur="2000" tmFilter="0, 0; .2, .5; .8, .5; 1, 0"/>
                                        <p:tgtEl>
                                          <p:spTgt spid="229"/>
                                        </p:tgtEl>
                                      </p:cBhvr>
                                    </p:animEffect>
                                    <p:animScale>
                                      <p:cBhvr>
                                        <p:cTn id="395" dur="1000" autoRev="1" fill="hold"/>
                                        <p:tgtEl>
                                          <p:spTgt spid="229"/>
                                        </p:tgtEl>
                                      </p:cBhvr>
                                      <p:by x="105000" y="105000"/>
                                    </p:animScale>
                                  </p:childTnLst>
                                </p:cTn>
                              </p:par>
                              <p:par>
                                <p:cTn id="396" presetID="26" presetClass="emph" presetSubtype="0" dur="2000" repeatCount="indefinite" fill="hold" grpId="0" nodeType="withEffect">
                                  <p:stCondLst>
                                    <p:cond delay="2750"/>
                                  </p:stCondLst>
                                  <p:childTnLst>
                                    <p:animEffect transition="out" filter="fade">
                                      <p:cBhvr>
                                        <p:cTn id="397" dur="2000" tmFilter="0, 0; .2, .5; .8, .5; 1, 0"/>
                                        <p:tgtEl>
                                          <p:spTgt spid="18"/>
                                        </p:tgtEl>
                                      </p:cBhvr>
                                    </p:animEffect>
                                    <p:animScale>
                                      <p:cBhvr>
                                        <p:cTn id="398" dur="1000" autoRev="1" fill="hold"/>
                                        <p:tgtEl>
                                          <p:spTgt spid="18"/>
                                        </p:tgtEl>
                                      </p:cBhvr>
                                      <p:by x="105000" y="105000"/>
                                    </p:animScale>
                                  </p:childTnLst>
                                </p:cTn>
                              </p:par>
                              <p:par>
                                <p:cTn id="399" presetID="26" presetClass="emph" presetSubtype="0" dur="2000" repeatCount="indefinite" fill="hold" grpId="0" nodeType="withEffect">
                                  <p:stCondLst>
                                    <p:cond delay="2750"/>
                                  </p:stCondLst>
                                  <p:childTnLst>
                                    <p:animEffect transition="out" filter="fade">
                                      <p:cBhvr>
                                        <p:cTn id="400" dur="2000" tmFilter="0, 0; .2, .5; .8, .5; 1, 0"/>
                                        <p:tgtEl>
                                          <p:spTgt spid="33"/>
                                        </p:tgtEl>
                                      </p:cBhvr>
                                    </p:animEffect>
                                    <p:animScale>
                                      <p:cBhvr>
                                        <p:cTn id="401" dur="1000" autoRev="1" fill="hold"/>
                                        <p:tgtEl>
                                          <p:spTgt spid="33"/>
                                        </p:tgtEl>
                                      </p:cBhvr>
                                      <p:by x="105000" y="105000"/>
                                    </p:animScale>
                                  </p:childTnLst>
                                </p:cTn>
                              </p:par>
                              <p:par>
                                <p:cTn id="402" presetID="26" presetClass="emph" presetSubtype="0" dur="2000" repeatCount="indefinite" fill="hold" grpId="0" nodeType="withEffect">
                                  <p:stCondLst>
                                    <p:cond delay="2750"/>
                                  </p:stCondLst>
                                  <p:childTnLst>
                                    <p:animEffect transition="out" filter="fade">
                                      <p:cBhvr>
                                        <p:cTn id="403" dur="2000" tmFilter="0, 0; .2, .5; .8, .5; 1, 0"/>
                                        <p:tgtEl>
                                          <p:spTgt spid="49"/>
                                        </p:tgtEl>
                                      </p:cBhvr>
                                    </p:animEffect>
                                    <p:animScale>
                                      <p:cBhvr>
                                        <p:cTn id="404" dur="1000" autoRev="1" fill="hold"/>
                                        <p:tgtEl>
                                          <p:spTgt spid="49"/>
                                        </p:tgtEl>
                                      </p:cBhvr>
                                      <p:by x="105000" y="105000"/>
                                    </p:animScale>
                                  </p:childTnLst>
                                </p:cTn>
                              </p:par>
                              <p:par>
                                <p:cTn id="405" presetID="26" presetClass="emph" presetSubtype="0" dur="2000" repeatCount="indefinite" fill="hold" grpId="0" nodeType="withEffect">
                                  <p:stCondLst>
                                    <p:cond delay="2750"/>
                                  </p:stCondLst>
                                  <p:childTnLst>
                                    <p:animEffect transition="out" filter="fade">
                                      <p:cBhvr>
                                        <p:cTn id="406" dur="2000" tmFilter="0, 0; .2, .5; .8, .5; 1, 0"/>
                                        <p:tgtEl>
                                          <p:spTgt spid="65"/>
                                        </p:tgtEl>
                                      </p:cBhvr>
                                    </p:animEffect>
                                    <p:animScale>
                                      <p:cBhvr>
                                        <p:cTn id="407" dur="1000" autoRev="1" fill="hold"/>
                                        <p:tgtEl>
                                          <p:spTgt spid="65"/>
                                        </p:tgtEl>
                                      </p:cBhvr>
                                      <p:by x="105000" y="105000"/>
                                    </p:animScale>
                                  </p:childTnLst>
                                </p:cTn>
                              </p:par>
                              <p:par>
                                <p:cTn id="408" presetID="26" presetClass="emph" presetSubtype="0" dur="2000" repeatCount="indefinite" fill="hold" grpId="0" nodeType="withEffect">
                                  <p:stCondLst>
                                    <p:cond delay="2750"/>
                                  </p:stCondLst>
                                  <p:childTnLst>
                                    <p:animEffect transition="out" filter="fade">
                                      <p:cBhvr>
                                        <p:cTn id="409" dur="2000" tmFilter="0, 0; .2, .5; .8, .5; 1, 0"/>
                                        <p:tgtEl>
                                          <p:spTgt spid="81"/>
                                        </p:tgtEl>
                                      </p:cBhvr>
                                    </p:animEffect>
                                    <p:animScale>
                                      <p:cBhvr>
                                        <p:cTn id="410" dur="1000" autoRev="1" fill="hold"/>
                                        <p:tgtEl>
                                          <p:spTgt spid="81"/>
                                        </p:tgtEl>
                                      </p:cBhvr>
                                      <p:by x="105000" y="105000"/>
                                    </p:animScale>
                                  </p:childTnLst>
                                </p:cTn>
                              </p:par>
                              <p:par>
                                <p:cTn id="411" presetID="26" presetClass="emph" presetSubtype="0" dur="2000" repeatCount="indefinite" fill="hold" grpId="0" nodeType="withEffect">
                                  <p:stCondLst>
                                    <p:cond delay="2750"/>
                                  </p:stCondLst>
                                  <p:childTnLst>
                                    <p:animEffect transition="out" filter="fade">
                                      <p:cBhvr>
                                        <p:cTn id="412" dur="2000" tmFilter="0, 0; .2, .5; .8, .5; 1, 0"/>
                                        <p:tgtEl>
                                          <p:spTgt spid="97"/>
                                        </p:tgtEl>
                                      </p:cBhvr>
                                    </p:animEffect>
                                    <p:animScale>
                                      <p:cBhvr>
                                        <p:cTn id="413" dur="1000" autoRev="1" fill="hold"/>
                                        <p:tgtEl>
                                          <p:spTgt spid="97"/>
                                        </p:tgtEl>
                                      </p:cBhvr>
                                      <p:by x="105000" y="105000"/>
                                    </p:animScale>
                                  </p:childTnLst>
                                </p:cTn>
                              </p:par>
                              <p:par>
                                <p:cTn id="414" presetID="26" presetClass="emph" presetSubtype="0" dur="2000" repeatCount="indefinite" fill="hold" grpId="0" nodeType="withEffect">
                                  <p:stCondLst>
                                    <p:cond delay="2750"/>
                                  </p:stCondLst>
                                  <p:childTnLst>
                                    <p:animEffect transition="out" filter="fade">
                                      <p:cBhvr>
                                        <p:cTn id="415" dur="2000" tmFilter="0, 0; .2, .5; .8, .5; 1, 0"/>
                                        <p:tgtEl>
                                          <p:spTgt spid="113"/>
                                        </p:tgtEl>
                                      </p:cBhvr>
                                    </p:animEffect>
                                    <p:animScale>
                                      <p:cBhvr>
                                        <p:cTn id="416" dur="1000" autoRev="1" fill="hold"/>
                                        <p:tgtEl>
                                          <p:spTgt spid="113"/>
                                        </p:tgtEl>
                                      </p:cBhvr>
                                      <p:by x="105000" y="105000"/>
                                    </p:animScale>
                                  </p:childTnLst>
                                </p:cTn>
                              </p:par>
                              <p:par>
                                <p:cTn id="417" presetID="26" presetClass="emph" presetSubtype="0" dur="2000" repeatCount="indefinite" fill="hold" grpId="0" nodeType="withEffect">
                                  <p:stCondLst>
                                    <p:cond delay="2750"/>
                                  </p:stCondLst>
                                  <p:childTnLst>
                                    <p:animEffect transition="out" filter="fade">
                                      <p:cBhvr>
                                        <p:cTn id="418" dur="2000" tmFilter="0, 0; .2, .5; .8, .5; 1, 0"/>
                                        <p:tgtEl>
                                          <p:spTgt spid="129"/>
                                        </p:tgtEl>
                                      </p:cBhvr>
                                    </p:animEffect>
                                    <p:animScale>
                                      <p:cBhvr>
                                        <p:cTn id="419" dur="1000" autoRev="1" fill="hold"/>
                                        <p:tgtEl>
                                          <p:spTgt spid="129"/>
                                        </p:tgtEl>
                                      </p:cBhvr>
                                      <p:by x="105000" y="105000"/>
                                    </p:animScale>
                                  </p:childTnLst>
                                </p:cTn>
                              </p:par>
                              <p:par>
                                <p:cTn id="420" presetID="26" presetClass="emph" presetSubtype="0" dur="2000" repeatCount="indefinite" fill="hold" grpId="0" nodeType="withEffect">
                                  <p:stCondLst>
                                    <p:cond delay="2750"/>
                                  </p:stCondLst>
                                  <p:childTnLst>
                                    <p:animEffect transition="out" filter="fade">
                                      <p:cBhvr>
                                        <p:cTn id="421" dur="2000" tmFilter="0, 0; .2, .5; .8, .5; 1, 0"/>
                                        <p:tgtEl>
                                          <p:spTgt spid="146"/>
                                        </p:tgtEl>
                                      </p:cBhvr>
                                    </p:animEffect>
                                    <p:animScale>
                                      <p:cBhvr>
                                        <p:cTn id="422" dur="1000" autoRev="1" fill="hold"/>
                                        <p:tgtEl>
                                          <p:spTgt spid="146"/>
                                        </p:tgtEl>
                                      </p:cBhvr>
                                      <p:by x="105000" y="105000"/>
                                    </p:animScale>
                                  </p:childTnLst>
                                </p:cTn>
                              </p:par>
                              <p:par>
                                <p:cTn id="423" presetID="26" presetClass="emph" presetSubtype="0" dur="2000" repeatCount="indefinite" fill="hold" grpId="0" nodeType="withEffect">
                                  <p:stCondLst>
                                    <p:cond delay="2750"/>
                                  </p:stCondLst>
                                  <p:childTnLst>
                                    <p:animEffect transition="out" filter="fade">
                                      <p:cBhvr>
                                        <p:cTn id="424" dur="2000" tmFilter="0, 0; .2, .5; .8, .5; 1, 0"/>
                                        <p:tgtEl>
                                          <p:spTgt spid="163"/>
                                        </p:tgtEl>
                                      </p:cBhvr>
                                    </p:animEffect>
                                    <p:animScale>
                                      <p:cBhvr>
                                        <p:cTn id="425" dur="1000" autoRev="1" fill="hold"/>
                                        <p:tgtEl>
                                          <p:spTgt spid="163"/>
                                        </p:tgtEl>
                                      </p:cBhvr>
                                      <p:by x="105000" y="105000"/>
                                    </p:animScale>
                                  </p:childTnLst>
                                </p:cTn>
                              </p:par>
                              <p:par>
                                <p:cTn id="426" presetID="26" presetClass="emph" presetSubtype="0" dur="2000" repeatCount="indefinite" fill="hold" grpId="0" nodeType="withEffect">
                                  <p:stCondLst>
                                    <p:cond delay="2750"/>
                                  </p:stCondLst>
                                  <p:childTnLst>
                                    <p:animEffect transition="out" filter="fade">
                                      <p:cBhvr>
                                        <p:cTn id="427" dur="2000" tmFilter="0, 0; .2, .5; .8, .5; 1, 0"/>
                                        <p:tgtEl>
                                          <p:spTgt spid="180"/>
                                        </p:tgtEl>
                                      </p:cBhvr>
                                    </p:animEffect>
                                    <p:animScale>
                                      <p:cBhvr>
                                        <p:cTn id="428" dur="1000" autoRev="1" fill="hold"/>
                                        <p:tgtEl>
                                          <p:spTgt spid="180"/>
                                        </p:tgtEl>
                                      </p:cBhvr>
                                      <p:by x="105000" y="105000"/>
                                    </p:animScale>
                                  </p:childTnLst>
                                </p:cTn>
                              </p:par>
                              <p:par>
                                <p:cTn id="429" presetID="26" presetClass="emph" presetSubtype="0" dur="2000" repeatCount="indefinite" fill="hold" grpId="0" nodeType="withEffect">
                                  <p:stCondLst>
                                    <p:cond delay="2750"/>
                                  </p:stCondLst>
                                  <p:childTnLst>
                                    <p:animEffect transition="out" filter="fade">
                                      <p:cBhvr>
                                        <p:cTn id="430" dur="2000" tmFilter="0, 0; .2, .5; .8, .5; 1, 0"/>
                                        <p:tgtEl>
                                          <p:spTgt spid="197"/>
                                        </p:tgtEl>
                                      </p:cBhvr>
                                    </p:animEffect>
                                    <p:animScale>
                                      <p:cBhvr>
                                        <p:cTn id="431" dur="1000" autoRev="1" fill="hold"/>
                                        <p:tgtEl>
                                          <p:spTgt spid="197"/>
                                        </p:tgtEl>
                                      </p:cBhvr>
                                      <p:by x="105000" y="105000"/>
                                    </p:animScale>
                                  </p:childTnLst>
                                </p:cTn>
                              </p:par>
                              <p:par>
                                <p:cTn id="432" presetID="26" presetClass="emph" presetSubtype="0" dur="2000" repeatCount="indefinite" fill="hold" grpId="0" nodeType="withEffect">
                                  <p:stCondLst>
                                    <p:cond delay="2750"/>
                                  </p:stCondLst>
                                  <p:childTnLst>
                                    <p:animEffect transition="out" filter="fade">
                                      <p:cBhvr>
                                        <p:cTn id="433" dur="2000" tmFilter="0, 0; .2, .5; .8, .5; 1, 0"/>
                                        <p:tgtEl>
                                          <p:spTgt spid="214"/>
                                        </p:tgtEl>
                                      </p:cBhvr>
                                    </p:animEffect>
                                    <p:animScale>
                                      <p:cBhvr>
                                        <p:cTn id="434" dur="1000" autoRev="1" fill="hold"/>
                                        <p:tgtEl>
                                          <p:spTgt spid="214"/>
                                        </p:tgtEl>
                                      </p:cBhvr>
                                      <p:by x="105000" y="105000"/>
                                    </p:animScale>
                                  </p:childTnLst>
                                </p:cTn>
                              </p:par>
                              <p:par>
                                <p:cTn id="435" presetID="26" presetClass="emph" presetSubtype="0" dur="2000" repeatCount="indefinite" fill="hold" grpId="0" nodeType="withEffect">
                                  <p:stCondLst>
                                    <p:cond delay="2750"/>
                                  </p:stCondLst>
                                  <p:childTnLst>
                                    <p:animEffect transition="out" filter="fade">
                                      <p:cBhvr>
                                        <p:cTn id="436" dur="2000" tmFilter="0, 0; .2, .5; .8, .5; 1, 0"/>
                                        <p:tgtEl>
                                          <p:spTgt spid="230"/>
                                        </p:tgtEl>
                                      </p:cBhvr>
                                    </p:animEffect>
                                    <p:animScale>
                                      <p:cBhvr>
                                        <p:cTn id="437" dur="1000" autoRev="1" fill="hold"/>
                                        <p:tgtEl>
                                          <p:spTgt spid="230"/>
                                        </p:tgtEl>
                                      </p:cBhvr>
                                      <p:by x="105000" y="105000"/>
                                    </p:animScale>
                                  </p:childTnLst>
                                </p:cTn>
                              </p:par>
                              <p:par>
                                <p:cTn id="438" presetID="26" presetClass="emph" presetSubtype="0" dur="2000" repeatCount="indefinite" fill="hold" grpId="0" nodeType="withEffect">
                                  <p:stCondLst>
                                    <p:cond delay="3000"/>
                                  </p:stCondLst>
                                  <p:childTnLst>
                                    <p:animEffect transition="out" filter="fade">
                                      <p:cBhvr>
                                        <p:cTn id="439" dur="2000" tmFilter="0, 0; .2, .5; .8, .5; 1, 0"/>
                                        <p:tgtEl>
                                          <p:spTgt spid="19"/>
                                        </p:tgtEl>
                                      </p:cBhvr>
                                    </p:animEffect>
                                    <p:animScale>
                                      <p:cBhvr>
                                        <p:cTn id="440" dur="1000" autoRev="1" fill="hold"/>
                                        <p:tgtEl>
                                          <p:spTgt spid="19"/>
                                        </p:tgtEl>
                                      </p:cBhvr>
                                      <p:by x="105000" y="105000"/>
                                    </p:animScale>
                                  </p:childTnLst>
                                </p:cTn>
                              </p:par>
                              <p:par>
                                <p:cTn id="441" presetID="26" presetClass="emph" presetSubtype="0" dur="2000" repeatCount="indefinite" fill="hold" grpId="0" nodeType="withEffect">
                                  <p:stCondLst>
                                    <p:cond delay="3000"/>
                                  </p:stCondLst>
                                  <p:childTnLst>
                                    <p:animEffect transition="out" filter="fade">
                                      <p:cBhvr>
                                        <p:cTn id="442" dur="2000" tmFilter="0, 0; .2, .5; .8, .5; 1, 0"/>
                                        <p:tgtEl>
                                          <p:spTgt spid="34"/>
                                        </p:tgtEl>
                                      </p:cBhvr>
                                    </p:animEffect>
                                    <p:animScale>
                                      <p:cBhvr>
                                        <p:cTn id="443" dur="1000" autoRev="1" fill="hold"/>
                                        <p:tgtEl>
                                          <p:spTgt spid="34"/>
                                        </p:tgtEl>
                                      </p:cBhvr>
                                      <p:by x="105000" y="105000"/>
                                    </p:animScale>
                                  </p:childTnLst>
                                </p:cTn>
                              </p:par>
                              <p:par>
                                <p:cTn id="444" presetID="26" presetClass="emph" presetSubtype="0" dur="2000" repeatCount="indefinite" fill="hold" grpId="0" nodeType="withEffect">
                                  <p:stCondLst>
                                    <p:cond delay="3000"/>
                                  </p:stCondLst>
                                  <p:childTnLst>
                                    <p:animEffect transition="out" filter="fade">
                                      <p:cBhvr>
                                        <p:cTn id="445" dur="2000" tmFilter="0, 0; .2, .5; .8, .5; 1, 0"/>
                                        <p:tgtEl>
                                          <p:spTgt spid="50"/>
                                        </p:tgtEl>
                                      </p:cBhvr>
                                    </p:animEffect>
                                    <p:animScale>
                                      <p:cBhvr>
                                        <p:cTn id="446" dur="1000" autoRev="1" fill="hold"/>
                                        <p:tgtEl>
                                          <p:spTgt spid="50"/>
                                        </p:tgtEl>
                                      </p:cBhvr>
                                      <p:by x="105000" y="105000"/>
                                    </p:animScale>
                                  </p:childTnLst>
                                </p:cTn>
                              </p:par>
                              <p:par>
                                <p:cTn id="447" presetID="26" presetClass="emph" presetSubtype="0" dur="2000" repeatCount="indefinite" fill="hold" grpId="0" nodeType="withEffect">
                                  <p:stCondLst>
                                    <p:cond delay="3000"/>
                                  </p:stCondLst>
                                  <p:childTnLst>
                                    <p:animEffect transition="out" filter="fade">
                                      <p:cBhvr>
                                        <p:cTn id="448" dur="2000" tmFilter="0, 0; .2, .5; .8, .5; 1, 0"/>
                                        <p:tgtEl>
                                          <p:spTgt spid="66"/>
                                        </p:tgtEl>
                                      </p:cBhvr>
                                    </p:animEffect>
                                    <p:animScale>
                                      <p:cBhvr>
                                        <p:cTn id="449" dur="1000" autoRev="1" fill="hold"/>
                                        <p:tgtEl>
                                          <p:spTgt spid="66"/>
                                        </p:tgtEl>
                                      </p:cBhvr>
                                      <p:by x="105000" y="105000"/>
                                    </p:animScale>
                                  </p:childTnLst>
                                </p:cTn>
                              </p:par>
                              <p:par>
                                <p:cTn id="450" presetID="26" presetClass="emph" presetSubtype="0" dur="2000" repeatCount="indefinite" fill="hold" grpId="0" nodeType="withEffect">
                                  <p:stCondLst>
                                    <p:cond delay="3000"/>
                                  </p:stCondLst>
                                  <p:childTnLst>
                                    <p:animEffect transition="out" filter="fade">
                                      <p:cBhvr>
                                        <p:cTn id="451" dur="2000" tmFilter="0, 0; .2, .5; .8, .5; 1, 0"/>
                                        <p:tgtEl>
                                          <p:spTgt spid="82"/>
                                        </p:tgtEl>
                                      </p:cBhvr>
                                    </p:animEffect>
                                    <p:animScale>
                                      <p:cBhvr>
                                        <p:cTn id="452" dur="1000" autoRev="1" fill="hold"/>
                                        <p:tgtEl>
                                          <p:spTgt spid="82"/>
                                        </p:tgtEl>
                                      </p:cBhvr>
                                      <p:by x="105000" y="105000"/>
                                    </p:animScale>
                                  </p:childTnLst>
                                </p:cTn>
                              </p:par>
                              <p:par>
                                <p:cTn id="453" presetID="26" presetClass="emph" presetSubtype="0" dur="2000" repeatCount="indefinite" fill="hold" grpId="0" nodeType="withEffect">
                                  <p:stCondLst>
                                    <p:cond delay="3000"/>
                                  </p:stCondLst>
                                  <p:childTnLst>
                                    <p:animEffect transition="out" filter="fade">
                                      <p:cBhvr>
                                        <p:cTn id="454" dur="2000" tmFilter="0, 0; .2, .5; .8, .5; 1, 0"/>
                                        <p:tgtEl>
                                          <p:spTgt spid="98"/>
                                        </p:tgtEl>
                                      </p:cBhvr>
                                    </p:animEffect>
                                    <p:animScale>
                                      <p:cBhvr>
                                        <p:cTn id="455" dur="1000" autoRev="1" fill="hold"/>
                                        <p:tgtEl>
                                          <p:spTgt spid="98"/>
                                        </p:tgtEl>
                                      </p:cBhvr>
                                      <p:by x="105000" y="105000"/>
                                    </p:animScale>
                                  </p:childTnLst>
                                </p:cTn>
                              </p:par>
                              <p:par>
                                <p:cTn id="456" presetID="26" presetClass="emph" presetSubtype="0" dur="2000" repeatCount="indefinite" fill="hold" grpId="0" nodeType="withEffect">
                                  <p:stCondLst>
                                    <p:cond delay="3000"/>
                                  </p:stCondLst>
                                  <p:childTnLst>
                                    <p:animEffect transition="out" filter="fade">
                                      <p:cBhvr>
                                        <p:cTn id="457" dur="2000" tmFilter="0, 0; .2, .5; .8, .5; 1, 0"/>
                                        <p:tgtEl>
                                          <p:spTgt spid="114"/>
                                        </p:tgtEl>
                                      </p:cBhvr>
                                    </p:animEffect>
                                    <p:animScale>
                                      <p:cBhvr>
                                        <p:cTn id="458" dur="1000" autoRev="1" fill="hold"/>
                                        <p:tgtEl>
                                          <p:spTgt spid="114"/>
                                        </p:tgtEl>
                                      </p:cBhvr>
                                      <p:by x="105000" y="105000"/>
                                    </p:animScale>
                                  </p:childTnLst>
                                </p:cTn>
                              </p:par>
                              <p:par>
                                <p:cTn id="459" presetID="26" presetClass="emph" presetSubtype="0" dur="2000" repeatCount="indefinite" fill="hold" grpId="0" nodeType="withEffect">
                                  <p:stCondLst>
                                    <p:cond delay="3000"/>
                                  </p:stCondLst>
                                  <p:childTnLst>
                                    <p:animEffect transition="out" filter="fade">
                                      <p:cBhvr>
                                        <p:cTn id="460" dur="2000" tmFilter="0, 0; .2, .5; .8, .5; 1, 0"/>
                                        <p:tgtEl>
                                          <p:spTgt spid="130"/>
                                        </p:tgtEl>
                                      </p:cBhvr>
                                    </p:animEffect>
                                    <p:animScale>
                                      <p:cBhvr>
                                        <p:cTn id="461" dur="1000" autoRev="1" fill="hold"/>
                                        <p:tgtEl>
                                          <p:spTgt spid="130"/>
                                        </p:tgtEl>
                                      </p:cBhvr>
                                      <p:by x="105000" y="105000"/>
                                    </p:animScale>
                                  </p:childTnLst>
                                </p:cTn>
                              </p:par>
                              <p:par>
                                <p:cTn id="462" presetID="26" presetClass="emph" presetSubtype="0" dur="2000" repeatCount="indefinite" fill="hold" grpId="0" nodeType="withEffect">
                                  <p:stCondLst>
                                    <p:cond delay="3000"/>
                                  </p:stCondLst>
                                  <p:childTnLst>
                                    <p:animEffect transition="out" filter="fade">
                                      <p:cBhvr>
                                        <p:cTn id="463" dur="2000" tmFilter="0, 0; .2, .5; .8, .5; 1, 0"/>
                                        <p:tgtEl>
                                          <p:spTgt spid="147"/>
                                        </p:tgtEl>
                                      </p:cBhvr>
                                    </p:animEffect>
                                    <p:animScale>
                                      <p:cBhvr>
                                        <p:cTn id="464" dur="1000" autoRev="1" fill="hold"/>
                                        <p:tgtEl>
                                          <p:spTgt spid="147"/>
                                        </p:tgtEl>
                                      </p:cBhvr>
                                      <p:by x="105000" y="105000"/>
                                    </p:animScale>
                                  </p:childTnLst>
                                </p:cTn>
                              </p:par>
                              <p:par>
                                <p:cTn id="465" presetID="26" presetClass="emph" presetSubtype="0" dur="2000" repeatCount="indefinite" fill="hold" grpId="0" nodeType="withEffect">
                                  <p:stCondLst>
                                    <p:cond delay="3000"/>
                                  </p:stCondLst>
                                  <p:childTnLst>
                                    <p:animEffect transition="out" filter="fade">
                                      <p:cBhvr>
                                        <p:cTn id="466" dur="2000" tmFilter="0, 0; .2, .5; .8, .5; 1, 0"/>
                                        <p:tgtEl>
                                          <p:spTgt spid="164"/>
                                        </p:tgtEl>
                                      </p:cBhvr>
                                    </p:animEffect>
                                    <p:animScale>
                                      <p:cBhvr>
                                        <p:cTn id="467" dur="1000" autoRev="1" fill="hold"/>
                                        <p:tgtEl>
                                          <p:spTgt spid="164"/>
                                        </p:tgtEl>
                                      </p:cBhvr>
                                      <p:by x="105000" y="105000"/>
                                    </p:animScale>
                                  </p:childTnLst>
                                </p:cTn>
                              </p:par>
                              <p:par>
                                <p:cTn id="468" presetID="26" presetClass="emph" presetSubtype="0" dur="2000" repeatCount="indefinite" fill="hold" grpId="0" nodeType="withEffect">
                                  <p:stCondLst>
                                    <p:cond delay="3000"/>
                                  </p:stCondLst>
                                  <p:childTnLst>
                                    <p:animEffect transition="out" filter="fade">
                                      <p:cBhvr>
                                        <p:cTn id="469" dur="2000" tmFilter="0, 0; .2, .5; .8, .5; 1, 0"/>
                                        <p:tgtEl>
                                          <p:spTgt spid="181"/>
                                        </p:tgtEl>
                                      </p:cBhvr>
                                    </p:animEffect>
                                    <p:animScale>
                                      <p:cBhvr>
                                        <p:cTn id="470" dur="1000" autoRev="1" fill="hold"/>
                                        <p:tgtEl>
                                          <p:spTgt spid="181"/>
                                        </p:tgtEl>
                                      </p:cBhvr>
                                      <p:by x="105000" y="105000"/>
                                    </p:animScale>
                                  </p:childTnLst>
                                </p:cTn>
                              </p:par>
                              <p:par>
                                <p:cTn id="471" presetID="26" presetClass="emph" presetSubtype="0" dur="2000" repeatCount="indefinite" fill="hold" grpId="0" nodeType="withEffect">
                                  <p:stCondLst>
                                    <p:cond delay="3000"/>
                                  </p:stCondLst>
                                  <p:childTnLst>
                                    <p:animEffect transition="out" filter="fade">
                                      <p:cBhvr>
                                        <p:cTn id="472" dur="2000" tmFilter="0, 0; .2, .5; .8, .5; 1, 0"/>
                                        <p:tgtEl>
                                          <p:spTgt spid="198"/>
                                        </p:tgtEl>
                                      </p:cBhvr>
                                    </p:animEffect>
                                    <p:animScale>
                                      <p:cBhvr>
                                        <p:cTn id="473" dur="1000" autoRev="1" fill="hold"/>
                                        <p:tgtEl>
                                          <p:spTgt spid="198"/>
                                        </p:tgtEl>
                                      </p:cBhvr>
                                      <p:by x="105000" y="105000"/>
                                    </p:animScale>
                                  </p:childTnLst>
                                </p:cTn>
                              </p:par>
                              <p:par>
                                <p:cTn id="474" presetID="26" presetClass="emph" presetSubtype="0" dur="2000" repeatCount="indefinite" fill="hold" grpId="0" nodeType="withEffect">
                                  <p:stCondLst>
                                    <p:cond delay="3000"/>
                                  </p:stCondLst>
                                  <p:childTnLst>
                                    <p:animEffect transition="out" filter="fade">
                                      <p:cBhvr>
                                        <p:cTn id="475" dur="2000" tmFilter="0, 0; .2, .5; .8, .5; 1, 0"/>
                                        <p:tgtEl>
                                          <p:spTgt spid="215"/>
                                        </p:tgtEl>
                                      </p:cBhvr>
                                    </p:animEffect>
                                    <p:animScale>
                                      <p:cBhvr>
                                        <p:cTn id="476" dur="1000" autoRev="1" fill="hold"/>
                                        <p:tgtEl>
                                          <p:spTgt spid="215"/>
                                        </p:tgtEl>
                                      </p:cBhvr>
                                      <p:by x="105000" y="105000"/>
                                    </p:animScale>
                                  </p:childTnLst>
                                </p:cTn>
                              </p:par>
                              <p:par>
                                <p:cTn id="477" presetID="26" presetClass="emph" presetSubtype="0" dur="2000" repeatCount="indefinite" fill="hold" grpId="0" nodeType="withEffect">
                                  <p:stCondLst>
                                    <p:cond delay="3000"/>
                                  </p:stCondLst>
                                  <p:childTnLst>
                                    <p:animEffect transition="out" filter="fade">
                                      <p:cBhvr>
                                        <p:cTn id="478" dur="2000" tmFilter="0, 0; .2, .5; .8, .5; 1, 0"/>
                                        <p:tgtEl>
                                          <p:spTgt spid="231"/>
                                        </p:tgtEl>
                                      </p:cBhvr>
                                    </p:animEffect>
                                    <p:animScale>
                                      <p:cBhvr>
                                        <p:cTn id="479" dur="1000" autoRev="1" fill="hold"/>
                                        <p:tgtEl>
                                          <p:spTgt spid="231"/>
                                        </p:tgtEl>
                                      </p:cBhvr>
                                      <p:by x="105000" y="105000"/>
                                    </p:animScale>
                                  </p:childTnLst>
                                </p:cTn>
                              </p:par>
                              <p:par>
                                <p:cTn id="480" presetID="26" presetClass="emph" presetSubtype="0" dur="2000" repeatCount="indefinite" fill="hold" grpId="0" nodeType="withEffect">
                                  <p:stCondLst>
                                    <p:cond delay="3250"/>
                                  </p:stCondLst>
                                  <p:childTnLst>
                                    <p:animEffect transition="out" filter="fade">
                                      <p:cBhvr>
                                        <p:cTn id="481" dur="2000" tmFilter="0, 0; .2, .5; .8, .5; 1, 0"/>
                                        <p:tgtEl>
                                          <p:spTgt spid="20"/>
                                        </p:tgtEl>
                                      </p:cBhvr>
                                    </p:animEffect>
                                    <p:animScale>
                                      <p:cBhvr>
                                        <p:cTn id="482" dur="1000" autoRev="1" fill="hold"/>
                                        <p:tgtEl>
                                          <p:spTgt spid="20"/>
                                        </p:tgtEl>
                                      </p:cBhvr>
                                      <p:by x="105000" y="105000"/>
                                    </p:animScale>
                                  </p:childTnLst>
                                </p:cTn>
                              </p:par>
                              <p:par>
                                <p:cTn id="483" presetID="26" presetClass="emph" presetSubtype="0" dur="2000" repeatCount="indefinite" fill="hold" grpId="0" nodeType="withEffect">
                                  <p:stCondLst>
                                    <p:cond delay="3250"/>
                                  </p:stCondLst>
                                  <p:childTnLst>
                                    <p:animEffect transition="out" filter="fade">
                                      <p:cBhvr>
                                        <p:cTn id="484" dur="2000" tmFilter="0, 0; .2, .5; .8, .5; 1, 0"/>
                                        <p:tgtEl>
                                          <p:spTgt spid="35"/>
                                        </p:tgtEl>
                                      </p:cBhvr>
                                    </p:animEffect>
                                    <p:animScale>
                                      <p:cBhvr>
                                        <p:cTn id="485" dur="1000" autoRev="1" fill="hold"/>
                                        <p:tgtEl>
                                          <p:spTgt spid="35"/>
                                        </p:tgtEl>
                                      </p:cBhvr>
                                      <p:by x="105000" y="105000"/>
                                    </p:animScale>
                                  </p:childTnLst>
                                </p:cTn>
                              </p:par>
                              <p:par>
                                <p:cTn id="486" presetID="26" presetClass="emph" presetSubtype="0" dur="2000" repeatCount="indefinite" fill="hold" grpId="0" nodeType="withEffect">
                                  <p:stCondLst>
                                    <p:cond delay="3250"/>
                                  </p:stCondLst>
                                  <p:childTnLst>
                                    <p:animEffect transition="out" filter="fade">
                                      <p:cBhvr>
                                        <p:cTn id="487" dur="2000" tmFilter="0, 0; .2, .5; .8, .5; 1, 0"/>
                                        <p:tgtEl>
                                          <p:spTgt spid="51"/>
                                        </p:tgtEl>
                                      </p:cBhvr>
                                    </p:animEffect>
                                    <p:animScale>
                                      <p:cBhvr>
                                        <p:cTn id="488" dur="1000" autoRev="1" fill="hold"/>
                                        <p:tgtEl>
                                          <p:spTgt spid="51"/>
                                        </p:tgtEl>
                                      </p:cBhvr>
                                      <p:by x="105000" y="105000"/>
                                    </p:animScale>
                                  </p:childTnLst>
                                </p:cTn>
                              </p:par>
                              <p:par>
                                <p:cTn id="489" presetID="26" presetClass="emph" presetSubtype="0" dur="2000" repeatCount="indefinite" fill="hold" grpId="0" nodeType="withEffect">
                                  <p:stCondLst>
                                    <p:cond delay="3250"/>
                                  </p:stCondLst>
                                  <p:childTnLst>
                                    <p:animEffect transition="out" filter="fade">
                                      <p:cBhvr>
                                        <p:cTn id="490" dur="2000" tmFilter="0, 0; .2, .5; .8, .5; 1, 0"/>
                                        <p:tgtEl>
                                          <p:spTgt spid="67"/>
                                        </p:tgtEl>
                                      </p:cBhvr>
                                    </p:animEffect>
                                    <p:animScale>
                                      <p:cBhvr>
                                        <p:cTn id="491" dur="1000" autoRev="1" fill="hold"/>
                                        <p:tgtEl>
                                          <p:spTgt spid="67"/>
                                        </p:tgtEl>
                                      </p:cBhvr>
                                      <p:by x="105000" y="105000"/>
                                    </p:animScale>
                                  </p:childTnLst>
                                </p:cTn>
                              </p:par>
                              <p:par>
                                <p:cTn id="492" presetID="26" presetClass="emph" presetSubtype="0" dur="2000" repeatCount="indefinite" fill="hold" grpId="0" nodeType="withEffect">
                                  <p:stCondLst>
                                    <p:cond delay="3250"/>
                                  </p:stCondLst>
                                  <p:childTnLst>
                                    <p:animEffect transition="out" filter="fade">
                                      <p:cBhvr>
                                        <p:cTn id="493" dur="2000" tmFilter="0, 0; .2, .5; .8, .5; 1, 0"/>
                                        <p:tgtEl>
                                          <p:spTgt spid="83"/>
                                        </p:tgtEl>
                                      </p:cBhvr>
                                    </p:animEffect>
                                    <p:animScale>
                                      <p:cBhvr>
                                        <p:cTn id="494" dur="1000" autoRev="1" fill="hold"/>
                                        <p:tgtEl>
                                          <p:spTgt spid="83"/>
                                        </p:tgtEl>
                                      </p:cBhvr>
                                      <p:by x="105000" y="105000"/>
                                    </p:animScale>
                                  </p:childTnLst>
                                </p:cTn>
                              </p:par>
                              <p:par>
                                <p:cTn id="495" presetID="26" presetClass="emph" presetSubtype="0" dur="2000" repeatCount="indefinite" fill="hold" grpId="0" nodeType="withEffect">
                                  <p:stCondLst>
                                    <p:cond delay="3250"/>
                                  </p:stCondLst>
                                  <p:childTnLst>
                                    <p:animEffect transition="out" filter="fade">
                                      <p:cBhvr>
                                        <p:cTn id="496" dur="2000" tmFilter="0, 0; .2, .5; .8, .5; 1, 0"/>
                                        <p:tgtEl>
                                          <p:spTgt spid="99"/>
                                        </p:tgtEl>
                                      </p:cBhvr>
                                    </p:animEffect>
                                    <p:animScale>
                                      <p:cBhvr>
                                        <p:cTn id="497" dur="1000" autoRev="1" fill="hold"/>
                                        <p:tgtEl>
                                          <p:spTgt spid="99"/>
                                        </p:tgtEl>
                                      </p:cBhvr>
                                      <p:by x="105000" y="105000"/>
                                    </p:animScale>
                                  </p:childTnLst>
                                </p:cTn>
                              </p:par>
                              <p:par>
                                <p:cTn id="498" presetID="26" presetClass="emph" presetSubtype="0" dur="2000" repeatCount="indefinite" fill="hold" grpId="0" nodeType="withEffect">
                                  <p:stCondLst>
                                    <p:cond delay="3250"/>
                                  </p:stCondLst>
                                  <p:childTnLst>
                                    <p:animEffect transition="out" filter="fade">
                                      <p:cBhvr>
                                        <p:cTn id="499" dur="2000" tmFilter="0, 0; .2, .5; .8, .5; 1, 0"/>
                                        <p:tgtEl>
                                          <p:spTgt spid="115"/>
                                        </p:tgtEl>
                                      </p:cBhvr>
                                    </p:animEffect>
                                    <p:animScale>
                                      <p:cBhvr>
                                        <p:cTn id="500" dur="1000" autoRev="1" fill="hold"/>
                                        <p:tgtEl>
                                          <p:spTgt spid="115"/>
                                        </p:tgtEl>
                                      </p:cBhvr>
                                      <p:by x="105000" y="105000"/>
                                    </p:animScale>
                                  </p:childTnLst>
                                </p:cTn>
                              </p:par>
                              <p:par>
                                <p:cTn id="501" presetID="26" presetClass="emph" presetSubtype="0" dur="2000" repeatCount="indefinite" fill="hold" grpId="0" nodeType="withEffect">
                                  <p:stCondLst>
                                    <p:cond delay="3250"/>
                                  </p:stCondLst>
                                  <p:childTnLst>
                                    <p:animEffect transition="out" filter="fade">
                                      <p:cBhvr>
                                        <p:cTn id="502" dur="2000" tmFilter="0, 0; .2, .5; .8, .5; 1, 0"/>
                                        <p:tgtEl>
                                          <p:spTgt spid="131"/>
                                        </p:tgtEl>
                                      </p:cBhvr>
                                    </p:animEffect>
                                    <p:animScale>
                                      <p:cBhvr>
                                        <p:cTn id="503" dur="1000" autoRev="1" fill="hold"/>
                                        <p:tgtEl>
                                          <p:spTgt spid="131"/>
                                        </p:tgtEl>
                                      </p:cBhvr>
                                      <p:by x="105000" y="105000"/>
                                    </p:animScale>
                                  </p:childTnLst>
                                </p:cTn>
                              </p:par>
                              <p:par>
                                <p:cTn id="504" presetID="26" presetClass="emph" presetSubtype="0" dur="2000" repeatCount="indefinite" fill="hold" grpId="0" nodeType="withEffect">
                                  <p:stCondLst>
                                    <p:cond delay="3250"/>
                                  </p:stCondLst>
                                  <p:childTnLst>
                                    <p:animEffect transition="out" filter="fade">
                                      <p:cBhvr>
                                        <p:cTn id="505" dur="2000" tmFilter="0, 0; .2, .5; .8, .5; 1, 0"/>
                                        <p:tgtEl>
                                          <p:spTgt spid="148"/>
                                        </p:tgtEl>
                                      </p:cBhvr>
                                    </p:animEffect>
                                    <p:animScale>
                                      <p:cBhvr>
                                        <p:cTn id="506" dur="1000" autoRev="1" fill="hold"/>
                                        <p:tgtEl>
                                          <p:spTgt spid="148"/>
                                        </p:tgtEl>
                                      </p:cBhvr>
                                      <p:by x="105000" y="105000"/>
                                    </p:animScale>
                                  </p:childTnLst>
                                </p:cTn>
                              </p:par>
                              <p:par>
                                <p:cTn id="507" presetID="26" presetClass="emph" presetSubtype="0" dur="2000" repeatCount="indefinite" fill="hold" grpId="0" nodeType="withEffect">
                                  <p:stCondLst>
                                    <p:cond delay="3250"/>
                                  </p:stCondLst>
                                  <p:childTnLst>
                                    <p:animEffect transition="out" filter="fade">
                                      <p:cBhvr>
                                        <p:cTn id="508" dur="2000" tmFilter="0, 0; .2, .5; .8, .5; 1, 0"/>
                                        <p:tgtEl>
                                          <p:spTgt spid="165"/>
                                        </p:tgtEl>
                                      </p:cBhvr>
                                    </p:animEffect>
                                    <p:animScale>
                                      <p:cBhvr>
                                        <p:cTn id="509" dur="1000" autoRev="1" fill="hold"/>
                                        <p:tgtEl>
                                          <p:spTgt spid="165"/>
                                        </p:tgtEl>
                                      </p:cBhvr>
                                      <p:by x="105000" y="105000"/>
                                    </p:animScale>
                                  </p:childTnLst>
                                </p:cTn>
                              </p:par>
                              <p:par>
                                <p:cTn id="510" presetID="26" presetClass="emph" presetSubtype="0" dur="2000" repeatCount="indefinite" fill="hold" grpId="0" nodeType="withEffect">
                                  <p:stCondLst>
                                    <p:cond delay="3250"/>
                                  </p:stCondLst>
                                  <p:childTnLst>
                                    <p:animEffect transition="out" filter="fade">
                                      <p:cBhvr>
                                        <p:cTn id="511" dur="2000" tmFilter="0, 0; .2, .5; .8, .5; 1, 0"/>
                                        <p:tgtEl>
                                          <p:spTgt spid="182"/>
                                        </p:tgtEl>
                                      </p:cBhvr>
                                    </p:animEffect>
                                    <p:animScale>
                                      <p:cBhvr>
                                        <p:cTn id="512" dur="1000" autoRev="1" fill="hold"/>
                                        <p:tgtEl>
                                          <p:spTgt spid="182"/>
                                        </p:tgtEl>
                                      </p:cBhvr>
                                      <p:by x="105000" y="105000"/>
                                    </p:animScale>
                                  </p:childTnLst>
                                </p:cTn>
                              </p:par>
                              <p:par>
                                <p:cTn id="513" presetID="26" presetClass="emph" presetSubtype="0" dur="2000" repeatCount="indefinite" fill="hold" grpId="0" nodeType="withEffect">
                                  <p:stCondLst>
                                    <p:cond delay="3250"/>
                                  </p:stCondLst>
                                  <p:childTnLst>
                                    <p:animEffect transition="out" filter="fade">
                                      <p:cBhvr>
                                        <p:cTn id="514" dur="2000" tmFilter="0, 0; .2, .5; .8, .5; 1, 0"/>
                                        <p:tgtEl>
                                          <p:spTgt spid="199"/>
                                        </p:tgtEl>
                                      </p:cBhvr>
                                    </p:animEffect>
                                    <p:animScale>
                                      <p:cBhvr>
                                        <p:cTn id="515" dur="1000" autoRev="1" fill="hold"/>
                                        <p:tgtEl>
                                          <p:spTgt spid="199"/>
                                        </p:tgtEl>
                                      </p:cBhvr>
                                      <p:by x="105000" y="105000"/>
                                    </p:animScale>
                                  </p:childTnLst>
                                </p:cTn>
                              </p:par>
                              <p:par>
                                <p:cTn id="516" presetID="26" presetClass="emph" presetSubtype="0" dur="2000" repeatCount="indefinite" fill="hold" grpId="0" nodeType="withEffect">
                                  <p:stCondLst>
                                    <p:cond delay="3250"/>
                                  </p:stCondLst>
                                  <p:childTnLst>
                                    <p:animEffect transition="out" filter="fade">
                                      <p:cBhvr>
                                        <p:cTn id="517" dur="2000" tmFilter="0, 0; .2, .5; .8, .5; 1, 0"/>
                                        <p:tgtEl>
                                          <p:spTgt spid="216"/>
                                        </p:tgtEl>
                                      </p:cBhvr>
                                    </p:animEffect>
                                    <p:animScale>
                                      <p:cBhvr>
                                        <p:cTn id="518" dur="1000" autoRev="1" fill="hold"/>
                                        <p:tgtEl>
                                          <p:spTgt spid="216"/>
                                        </p:tgtEl>
                                      </p:cBhvr>
                                      <p:by x="105000" y="105000"/>
                                    </p:animScale>
                                  </p:childTnLst>
                                </p:cTn>
                              </p:par>
                              <p:par>
                                <p:cTn id="519" presetID="26" presetClass="emph" presetSubtype="0" dur="2000" repeatCount="indefinite" fill="hold" grpId="0" nodeType="withEffect">
                                  <p:stCondLst>
                                    <p:cond delay="3250"/>
                                  </p:stCondLst>
                                  <p:childTnLst>
                                    <p:animEffect transition="out" filter="fade">
                                      <p:cBhvr>
                                        <p:cTn id="520" dur="2000" tmFilter="0, 0; .2, .5; .8, .5; 1, 0"/>
                                        <p:tgtEl>
                                          <p:spTgt spid="232"/>
                                        </p:tgtEl>
                                      </p:cBhvr>
                                    </p:animEffect>
                                    <p:animScale>
                                      <p:cBhvr>
                                        <p:cTn id="521" dur="1000" autoRev="1" fill="hold"/>
                                        <p:tgtEl>
                                          <p:spTgt spid="232"/>
                                        </p:tgtEl>
                                      </p:cBhvr>
                                      <p:by x="105000" y="105000"/>
                                    </p:animScale>
                                  </p:childTnLst>
                                </p:cTn>
                              </p:par>
                              <p:par>
                                <p:cTn id="522" presetID="26" presetClass="emph" presetSubtype="0" dur="2000" repeatCount="indefinite" fill="hold" grpId="0" nodeType="withEffect">
                                  <p:stCondLst>
                                    <p:cond delay="3500"/>
                                  </p:stCondLst>
                                  <p:childTnLst>
                                    <p:animEffect transition="out" filter="fade">
                                      <p:cBhvr>
                                        <p:cTn id="523" dur="2000" tmFilter="0, 0; .2, .5; .8, .5; 1, 0"/>
                                        <p:tgtEl>
                                          <p:spTgt spid="21"/>
                                        </p:tgtEl>
                                      </p:cBhvr>
                                    </p:animEffect>
                                    <p:animScale>
                                      <p:cBhvr>
                                        <p:cTn id="524" dur="1000" autoRev="1" fill="hold"/>
                                        <p:tgtEl>
                                          <p:spTgt spid="21"/>
                                        </p:tgtEl>
                                      </p:cBhvr>
                                      <p:by x="105000" y="105000"/>
                                    </p:animScale>
                                  </p:childTnLst>
                                </p:cTn>
                              </p:par>
                              <p:par>
                                <p:cTn id="525" presetID="26" presetClass="emph" presetSubtype="0" dur="2000" repeatCount="indefinite" fill="hold" grpId="0" nodeType="withEffect">
                                  <p:stCondLst>
                                    <p:cond delay="3500"/>
                                  </p:stCondLst>
                                  <p:childTnLst>
                                    <p:animEffect transition="out" filter="fade">
                                      <p:cBhvr>
                                        <p:cTn id="526" dur="2000" tmFilter="0, 0; .2, .5; .8, .5; 1, 0"/>
                                        <p:tgtEl>
                                          <p:spTgt spid="36"/>
                                        </p:tgtEl>
                                      </p:cBhvr>
                                    </p:animEffect>
                                    <p:animScale>
                                      <p:cBhvr>
                                        <p:cTn id="527" dur="1000" autoRev="1" fill="hold"/>
                                        <p:tgtEl>
                                          <p:spTgt spid="36"/>
                                        </p:tgtEl>
                                      </p:cBhvr>
                                      <p:by x="105000" y="105000"/>
                                    </p:animScale>
                                  </p:childTnLst>
                                </p:cTn>
                              </p:par>
                              <p:par>
                                <p:cTn id="528" presetID="26" presetClass="emph" presetSubtype="0" dur="2000" repeatCount="indefinite" fill="hold" grpId="0" nodeType="withEffect">
                                  <p:stCondLst>
                                    <p:cond delay="3500"/>
                                  </p:stCondLst>
                                  <p:childTnLst>
                                    <p:animEffect transition="out" filter="fade">
                                      <p:cBhvr>
                                        <p:cTn id="529" dur="2000" tmFilter="0, 0; .2, .5; .8, .5; 1, 0"/>
                                        <p:tgtEl>
                                          <p:spTgt spid="52"/>
                                        </p:tgtEl>
                                      </p:cBhvr>
                                    </p:animEffect>
                                    <p:animScale>
                                      <p:cBhvr>
                                        <p:cTn id="530" dur="1000" autoRev="1" fill="hold"/>
                                        <p:tgtEl>
                                          <p:spTgt spid="52"/>
                                        </p:tgtEl>
                                      </p:cBhvr>
                                      <p:by x="105000" y="105000"/>
                                    </p:animScale>
                                  </p:childTnLst>
                                </p:cTn>
                              </p:par>
                              <p:par>
                                <p:cTn id="531" presetID="26" presetClass="emph" presetSubtype="0" dur="2000" repeatCount="indefinite" fill="hold" grpId="0" nodeType="withEffect">
                                  <p:stCondLst>
                                    <p:cond delay="3500"/>
                                  </p:stCondLst>
                                  <p:childTnLst>
                                    <p:animEffect transition="out" filter="fade">
                                      <p:cBhvr>
                                        <p:cTn id="532" dur="2000" tmFilter="0, 0; .2, .5; .8, .5; 1, 0"/>
                                        <p:tgtEl>
                                          <p:spTgt spid="68"/>
                                        </p:tgtEl>
                                      </p:cBhvr>
                                    </p:animEffect>
                                    <p:animScale>
                                      <p:cBhvr>
                                        <p:cTn id="533" dur="1000" autoRev="1" fill="hold"/>
                                        <p:tgtEl>
                                          <p:spTgt spid="68"/>
                                        </p:tgtEl>
                                      </p:cBhvr>
                                      <p:by x="105000" y="105000"/>
                                    </p:animScale>
                                  </p:childTnLst>
                                </p:cTn>
                              </p:par>
                              <p:par>
                                <p:cTn id="534" presetID="26" presetClass="emph" presetSubtype="0" dur="2000" repeatCount="indefinite" fill="hold" grpId="0" nodeType="withEffect">
                                  <p:stCondLst>
                                    <p:cond delay="3500"/>
                                  </p:stCondLst>
                                  <p:childTnLst>
                                    <p:animEffect transition="out" filter="fade">
                                      <p:cBhvr>
                                        <p:cTn id="535" dur="2000" tmFilter="0, 0; .2, .5; .8, .5; 1, 0"/>
                                        <p:tgtEl>
                                          <p:spTgt spid="84"/>
                                        </p:tgtEl>
                                      </p:cBhvr>
                                    </p:animEffect>
                                    <p:animScale>
                                      <p:cBhvr>
                                        <p:cTn id="536" dur="1000" autoRev="1" fill="hold"/>
                                        <p:tgtEl>
                                          <p:spTgt spid="84"/>
                                        </p:tgtEl>
                                      </p:cBhvr>
                                      <p:by x="105000" y="105000"/>
                                    </p:animScale>
                                  </p:childTnLst>
                                </p:cTn>
                              </p:par>
                              <p:par>
                                <p:cTn id="537" presetID="26" presetClass="emph" presetSubtype="0" dur="2000" repeatCount="indefinite" fill="hold" grpId="0" nodeType="withEffect">
                                  <p:stCondLst>
                                    <p:cond delay="3500"/>
                                  </p:stCondLst>
                                  <p:childTnLst>
                                    <p:animEffect transition="out" filter="fade">
                                      <p:cBhvr>
                                        <p:cTn id="538" dur="2000" tmFilter="0, 0; .2, .5; .8, .5; 1, 0"/>
                                        <p:tgtEl>
                                          <p:spTgt spid="100"/>
                                        </p:tgtEl>
                                      </p:cBhvr>
                                    </p:animEffect>
                                    <p:animScale>
                                      <p:cBhvr>
                                        <p:cTn id="539" dur="1000" autoRev="1" fill="hold"/>
                                        <p:tgtEl>
                                          <p:spTgt spid="100"/>
                                        </p:tgtEl>
                                      </p:cBhvr>
                                      <p:by x="105000" y="105000"/>
                                    </p:animScale>
                                  </p:childTnLst>
                                </p:cTn>
                              </p:par>
                              <p:par>
                                <p:cTn id="540" presetID="26" presetClass="emph" presetSubtype="0" dur="2000" repeatCount="indefinite" fill="hold" grpId="0" nodeType="withEffect">
                                  <p:stCondLst>
                                    <p:cond delay="3500"/>
                                  </p:stCondLst>
                                  <p:childTnLst>
                                    <p:animEffect transition="out" filter="fade">
                                      <p:cBhvr>
                                        <p:cTn id="541" dur="2000" tmFilter="0, 0; .2, .5; .8, .5; 1, 0"/>
                                        <p:tgtEl>
                                          <p:spTgt spid="116"/>
                                        </p:tgtEl>
                                      </p:cBhvr>
                                    </p:animEffect>
                                    <p:animScale>
                                      <p:cBhvr>
                                        <p:cTn id="542" dur="1000" autoRev="1" fill="hold"/>
                                        <p:tgtEl>
                                          <p:spTgt spid="116"/>
                                        </p:tgtEl>
                                      </p:cBhvr>
                                      <p:by x="105000" y="105000"/>
                                    </p:animScale>
                                  </p:childTnLst>
                                </p:cTn>
                              </p:par>
                              <p:par>
                                <p:cTn id="543" presetID="26" presetClass="emph" presetSubtype="0" dur="2000" repeatCount="indefinite" fill="hold" grpId="0" nodeType="withEffect">
                                  <p:stCondLst>
                                    <p:cond delay="3500"/>
                                  </p:stCondLst>
                                  <p:childTnLst>
                                    <p:animEffect transition="out" filter="fade">
                                      <p:cBhvr>
                                        <p:cTn id="544" dur="2000" tmFilter="0, 0; .2, .5; .8, .5; 1, 0"/>
                                        <p:tgtEl>
                                          <p:spTgt spid="132"/>
                                        </p:tgtEl>
                                      </p:cBhvr>
                                    </p:animEffect>
                                    <p:animScale>
                                      <p:cBhvr>
                                        <p:cTn id="545" dur="1000" autoRev="1" fill="hold"/>
                                        <p:tgtEl>
                                          <p:spTgt spid="132"/>
                                        </p:tgtEl>
                                      </p:cBhvr>
                                      <p:by x="105000" y="105000"/>
                                    </p:animScale>
                                  </p:childTnLst>
                                </p:cTn>
                              </p:par>
                              <p:par>
                                <p:cTn id="546" presetID="26" presetClass="emph" presetSubtype="0" dur="2000" repeatCount="indefinite" fill="hold" grpId="0" nodeType="withEffect">
                                  <p:stCondLst>
                                    <p:cond delay="3500"/>
                                  </p:stCondLst>
                                  <p:childTnLst>
                                    <p:animEffect transition="out" filter="fade">
                                      <p:cBhvr>
                                        <p:cTn id="547" dur="2000" tmFilter="0, 0; .2, .5; .8, .5; 1, 0"/>
                                        <p:tgtEl>
                                          <p:spTgt spid="149"/>
                                        </p:tgtEl>
                                      </p:cBhvr>
                                    </p:animEffect>
                                    <p:animScale>
                                      <p:cBhvr>
                                        <p:cTn id="548" dur="1000" autoRev="1" fill="hold"/>
                                        <p:tgtEl>
                                          <p:spTgt spid="149"/>
                                        </p:tgtEl>
                                      </p:cBhvr>
                                      <p:by x="105000" y="105000"/>
                                    </p:animScale>
                                  </p:childTnLst>
                                </p:cTn>
                              </p:par>
                              <p:par>
                                <p:cTn id="549" presetID="26" presetClass="emph" presetSubtype="0" dur="2000" repeatCount="indefinite" fill="hold" grpId="0" nodeType="withEffect">
                                  <p:stCondLst>
                                    <p:cond delay="3500"/>
                                  </p:stCondLst>
                                  <p:childTnLst>
                                    <p:animEffect transition="out" filter="fade">
                                      <p:cBhvr>
                                        <p:cTn id="550" dur="2000" tmFilter="0, 0; .2, .5; .8, .5; 1, 0"/>
                                        <p:tgtEl>
                                          <p:spTgt spid="166"/>
                                        </p:tgtEl>
                                      </p:cBhvr>
                                    </p:animEffect>
                                    <p:animScale>
                                      <p:cBhvr>
                                        <p:cTn id="551" dur="1000" autoRev="1" fill="hold"/>
                                        <p:tgtEl>
                                          <p:spTgt spid="166"/>
                                        </p:tgtEl>
                                      </p:cBhvr>
                                      <p:by x="105000" y="105000"/>
                                    </p:animScale>
                                  </p:childTnLst>
                                </p:cTn>
                              </p:par>
                              <p:par>
                                <p:cTn id="552" presetID="26" presetClass="emph" presetSubtype="0" dur="2000" repeatCount="indefinite" fill="hold" grpId="0" nodeType="withEffect">
                                  <p:stCondLst>
                                    <p:cond delay="3500"/>
                                  </p:stCondLst>
                                  <p:childTnLst>
                                    <p:animEffect transition="out" filter="fade">
                                      <p:cBhvr>
                                        <p:cTn id="553" dur="2000" tmFilter="0, 0; .2, .5; .8, .5; 1, 0"/>
                                        <p:tgtEl>
                                          <p:spTgt spid="183"/>
                                        </p:tgtEl>
                                      </p:cBhvr>
                                    </p:animEffect>
                                    <p:animScale>
                                      <p:cBhvr>
                                        <p:cTn id="554" dur="1000" autoRev="1" fill="hold"/>
                                        <p:tgtEl>
                                          <p:spTgt spid="183"/>
                                        </p:tgtEl>
                                      </p:cBhvr>
                                      <p:by x="105000" y="105000"/>
                                    </p:animScale>
                                  </p:childTnLst>
                                </p:cTn>
                              </p:par>
                              <p:par>
                                <p:cTn id="555" presetID="26" presetClass="emph" presetSubtype="0" dur="2000" repeatCount="indefinite" fill="hold" grpId="0" nodeType="withEffect">
                                  <p:stCondLst>
                                    <p:cond delay="3500"/>
                                  </p:stCondLst>
                                  <p:childTnLst>
                                    <p:animEffect transition="out" filter="fade">
                                      <p:cBhvr>
                                        <p:cTn id="556" dur="2000" tmFilter="0, 0; .2, .5; .8, .5; 1, 0"/>
                                        <p:tgtEl>
                                          <p:spTgt spid="200"/>
                                        </p:tgtEl>
                                      </p:cBhvr>
                                    </p:animEffect>
                                    <p:animScale>
                                      <p:cBhvr>
                                        <p:cTn id="557" dur="1000" autoRev="1" fill="hold"/>
                                        <p:tgtEl>
                                          <p:spTgt spid="200"/>
                                        </p:tgtEl>
                                      </p:cBhvr>
                                      <p:by x="105000" y="105000"/>
                                    </p:animScale>
                                  </p:childTnLst>
                                </p:cTn>
                              </p:par>
                              <p:par>
                                <p:cTn id="558" presetID="26" presetClass="emph" presetSubtype="0" dur="2000" repeatCount="indefinite" fill="hold" grpId="0" nodeType="withEffect">
                                  <p:stCondLst>
                                    <p:cond delay="3500"/>
                                  </p:stCondLst>
                                  <p:childTnLst>
                                    <p:animEffect transition="out" filter="fade">
                                      <p:cBhvr>
                                        <p:cTn id="559" dur="2000" tmFilter="0, 0; .2, .5; .8, .5; 1, 0"/>
                                        <p:tgtEl>
                                          <p:spTgt spid="217"/>
                                        </p:tgtEl>
                                      </p:cBhvr>
                                    </p:animEffect>
                                    <p:animScale>
                                      <p:cBhvr>
                                        <p:cTn id="560" dur="1000" autoRev="1" fill="hold"/>
                                        <p:tgtEl>
                                          <p:spTgt spid="217"/>
                                        </p:tgtEl>
                                      </p:cBhvr>
                                      <p:by x="105000" y="105000"/>
                                    </p:animScale>
                                  </p:childTnLst>
                                </p:cTn>
                              </p:par>
                              <p:par>
                                <p:cTn id="561" presetID="26" presetClass="emph" presetSubtype="0" dur="2000" repeatCount="indefinite" fill="hold" grpId="0" nodeType="withEffect">
                                  <p:stCondLst>
                                    <p:cond delay="3500"/>
                                  </p:stCondLst>
                                  <p:childTnLst>
                                    <p:animEffect transition="out" filter="fade">
                                      <p:cBhvr>
                                        <p:cTn id="562" dur="2000" tmFilter="0, 0; .2, .5; .8, .5; 1, 0"/>
                                        <p:tgtEl>
                                          <p:spTgt spid="233"/>
                                        </p:tgtEl>
                                      </p:cBhvr>
                                    </p:animEffect>
                                    <p:animScale>
                                      <p:cBhvr>
                                        <p:cTn id="563" dur="1000" autoRev="1" fill="hold"/>
                                        <p:tgtEl>
                                          <p:spTgt spid="233"/>
                                        </p:tgtEl>
                                      </p:cBhvr>
                                      <p:by x="105000" y="105000"/>
                                    </p:animScale>
                                  </p:childTnLst>
                                </p:cTn>
                              </p:par>
                              <p:par>
                                <p:cTn id="564" presetID="26" presetClass="emph" presetSubtype="0" dur="2000" repeatCount="indefinite" fill="hold" grpId="0" nodeType="withEffect">
                                  <p:stCondLst>
                                    <p:cond delay="3750"/>
                                  </p:stCondLst>
                                  <p:childTnLst>
                                    <p:animEffect transition="out" filter="fade">
                                      <p:cBhvr>
                                        <p:cTn id="565" dur="2000" tmFilter="0, 0; .2, .5; .8, .5; 1, 0"/>
                                        <p:tgtEl>
                                          <p:spTgt spid="37"/>
                                        </p:tgtEl>
                                      </p:cBhvr>
                                    </p:animEffect>
                                    <p:animScale>
                                      <p:cBhvr>
                                        <p:cTn id="566" dur="1000" autoRev="1" fill="hold"/>
                                        <p:tgtEl>
                                          <p:spTgt spid="37"/>
                                        </p:tgtEl>
                                      </p:cBhvr>
                                      <p:by x="105000" y="105000"/>
                                    </p:animScale>
                                  </p:childTnLst>
                                </p:cTn>
                              </p:par>
                              <p:par>
                                <p:cTn id="567" presetID="26" presetClass="emph" presetSubtype="0" dur="2000" repeatCount="indefinite" fill="hold" grpId="0" nodeType="withEffect">
                                  <p:stCondLst>
                                    <p:cond delay="3750"/>
                                  </p:stCondLst>
                                  <p:childTnLst>
                                    <p:animEffect transition="out" filter="fade">
                                      <p:cBhvr>
                                        <p:cTn id="568" dur="2000" tmFilter="0, 0; .2, .5; .8, .5; 1, 0"/>
                                        <p:tgtEl>
                                          <p:spTgt spid="53"/>
                                        </p:tgtEl>
                                      </p:cBhvr>
                                    </p:animEffect>
                                    <p:animScale>
                                      <p:cBhvr>
                                        <p:cTn id="569" dur="1000" autoRev="1" fill="hold"/>
                                        <p:tgtEl>
                                          <p:spTgt spid="53"/>
                                        </p:tgtEl>
                                      </p:cBhvr>
                                      <p:by x="105000" y="105000"/>
                                    </p:animScale>
                                  </p:childTnLst>
                                </p:cTn>
                              </p:par>
                              <p:par>
                                <p:cTn id="570" presetID="26" presetClass="emph" presetSubtype="0" dur="2000" repeatCount="indefinite" fill="hold" grpId="0" nodeType="withEffect">
                                  <p:stCondLst>
                                    <p:cond delay="3750"/>
                                  </p:stCondLst>
                                  <p:childTnLst>
                                    <p:animEffect transition="out" filter="fade">
                                      <p:cBhvr>
                                        <p:cTn id="571" dur="2000" tmFilter="0, 0; .2, .5; .8, .5; 1, 0"/>
                                        <p:tgtEl>
                                          <p:spTgt spid="69"/>
                                        </p:tgtEl>
                                      </p:cBhvr>
                                    </p:animEffect>
                                    <p:animScale>
                                      <p:cBhvr>
                                        <p:cTn id="572" dur="1000" autoRev="1" fill="hold"/>
                                        <p:tgtEl>
                                          <p:spTgt spid="69"/>
                                        </p:tgtEl>
                                      </p:cBhvr>
                                      <p:by x="105000" y="105000"/>
                                    </p:animScale>
                                  </p:childTnLst>
                                </p:cTn>
                              </p:par>
                              <p:par>
                                <p:cTn id="573" presetID="26" presetClass="emph" presetSubtype="0" dur="2000" repeatCount="indefinite" fill="hold" grpId="0" nodeType="withEffect">
                                  <p:stCondLst>
                                    <p:cond delay="3750"/>
                                  </p:stCondLst>
                                  <p:childTnLst>
                                    <p:animEffect transition="out" filter="fade">
                                      <p:cBhvr>
                                        <p:cTn id="574" dur="2000" tmFilter="0, 0; .2, .5; .8, .5; 1, 0"/>
                                        <p:tgtEl>
                                          <p:spTgt spid="85"/>
                                        </p:tgtEl>
                                      </p:cBhvr>
                                    </p:animEffect>
                                    <p:animScale>
                                      <p:cBhvr>
                                        <p:cTn id="575" dur="1000" autoRev="1" fill="hold"/>
                                        <p:tgtEl>
                                          <p:spTgt spid="85"/>
                                        </p:tgtEl>
                                      </p:cBhvr>
                                      <p:by x="105000" y="105000"/>
                                    </p:animScale>
                                  </p:childTnLst>
                                </p:cTn>
                              </p:par>
                              <p:par>
                                <p:cTn id="576" presetID="26" presetClass="emph" presetSubtype="0" dur="2000" repeatCount="indefinite" fill="hold" grpId="0" nodeType="withEffect">
                                  <p:stCondLst>
                                    <p:cond delay="3750"/>
                                  </p:stCondLst>
                                  <p:childTnLst>
                                    <p:animEffect transition="out" filter="fade">
                                      <p:cBhvr>
                                        <p:cTn id="577" dur="2000" tmFilter="0, 0; .2, .5; .8, .5; 1, 0"/>
                                        <p:tgtEl>
                                          <p:spTgt spid="101"/>
                                        </p:tgtEl>
                                      </p:cBhvr>
                                    </p:animEffect>
                                    <p:animScale>
                                      <p:cBhvr>
                                        <p:cTn id="578" dur="1000" autoRev="1" fill="hold"/>
                                        <p:tgtEl>
                                          <p:spTgt spid="101"/>
                                        </p:tgtEl>
                                      </p:cBhvr>
                                      <p:by x="105000" y="105000"/>
                                    </p:animScale>
                                  </p:childTnLst>
                                </p:cTn>
                              </p:par>
                              <p:par>
                                <p:cTn id="579" presetID="26" presetClass="emph" presetSubtype="0" dur="2000" repeatCount="indefinite" fill="hold" grpId="0" nodeType="withEffect">
                                  <p:stCondLst>
                                    <p:cond delay="3750"/>
                                  </p:stCondLst>
                                  <p:childTnLst>
                                    <p:animEffect transition="out" filter="fade">
                                      <p:cBhvr>
                                        <p:cTn id="580" dur="2000" tmFilter="0, 0; .2, .5; .8, .5; 1, 0"/>
                                        <p:tgtEl>
                                          <p:spTgt spid="117"/>
                                        </p:tgtEl>
                                      </p:cBhvr>
                                    </p:animEffect>
                                    <p:animScale>
                                      <p:cBhvr>
                                        <p:cTn id="581" dur="1000" autoRev="1" fill="hold"/>
                                        <p:tgtEl>
                                          <p:spTgt spid="117"/>
                                        </p:tgtEl>
                                      </p:cBhvr>
                                      <p:by x="105000" y="105000"/>
                                    </p:animScale>
                                  </p:childTnLst>
                                </p:cTn>
                              </p:par>
                              <p:par>
                                <p:cTn id="582" presetID="26" presetClass="emph" presetSubtype="0" dur="2000" repeatCount="indefinite" fill="hold" grpId="0" nodeType="withEffect">
                                  <p:stCondLst>
                                    <p:cond delay="3750"/>
                                  </p:stCondLst>
                                  <p:childTnLst>
                                    <p:animEffect transition="out" filter="fade">
                                      <p:cBhvr>
                                        <p:cTn id="583" dur="2000" tmFilter="0, 0; .2, .5; .8, .5; 1, 0"/>
                                        <p:tgtEl>
                                          <p:spTgt spid="133"/>
                                        </p:tgtEl>
                                      </p:cBhvr>
                                    </p:animEffect>
                                    <p:animScale>
                                      <p:cBhvr>
                                        <p:cTn id="584" dur="1000" autoRev="1" fill="hold"/>
                                        <p:tgtEl>
                                          <p:spTgt spid="133"/>
                                        </p:tgtEl>
                                      </p:cBhvr>
                                      <p:by x="105000" y="105000"/>
                                    </p:animScale>
                                  </p:childTnLst>
                                </p:cTn>
                              </p:par>
                              <p:par>
                                <p:cTn id="585" presetID="26" presetClass="emph" presetSubtype="0" dur="2000" repeatCount="indefinite" fill="hold" grpId="0" nodeType="withEffect">
                                  <p:stCondLst>
                                    <p:cond delay="3750"/>
                                  </p:stCondLst>
                                  <p:childTnLst>
                                    <p:animEffect transition="out" filter="fade">
                                      <p:cBhvr>
                                        <p:cTn id="586" dur="2000" tmFilter="0, 0; .2, .5; .8, .5; 1, 0"/>
                                        <p:tgtEl>
                                          <p:spTgt spid="150"/>
                                        </p:tgtEl>
                                      </p:cBhvr>
                                    </p:animEffect>
                                    <p:animScale>
                                      <p:cBhvr>
                                        <p:cTn id="587" dur="1000" autoRev="1" fill="hold"/>
                                        <p:tgtEl>
                                          <p:spTgt spid="150"/>
                                        </p:tgtEl>
                                      </p:cBhvr>
                                      <p:by x="105000" y="105000"/>
                                    </p:animScale>
                                  </p:childTnLst>
                                </p:cTn>
                              </p:par>
                              <p:par>
                                <p:cTn id="588" presetID="26" presetClass="emph" presetSubtype="0" dur="2000" repeatCount="indefinite" fill="hold" grpId="0" nodeType="withEffect">
                                  <p:stCondLst>
                                    <p:cond delay="3750"/>
                                  </p:stCondLst>
                                  <p:childTnLst>
                                    <p:animEffect transition="out" filter="fade">
                                      <p:cBhvr>
                                        <p:cTn id="589" dur="2000" tmFilter="0, 0; .2, .5; .8, .5; 1, 0"/>
                                        <p:tgtEl>
                                          <p:spTgt spid="167"/>
                                        </p:tgtEl>
                                      </p:cBhvr>
                                    </p:animEffect>
                                    <p:animScale>
                                      <p:cBhvr>
                                        <p:cTn id="590" dur="1000" autoRev="1" fill="hold"/>
                                        <p:tgtEl>
                                          <p:spTgt spid="167"/>
                                        </p:tgtEl>
                                      </p:cBhvr>
                                      <p:by x="105000" y="105000"/>
                                    </p:animScale>
                                  </p:childTnLst>
                                </p:cTn>
                              </p:par>
                              <p:par>
                                <p:cTn id="591" presetID="26" presetClass="emph" presetSubtype="0" dur="2000" repeatCount="indefinite" fill="hold" grpId="0" nodeType="withEffect">
                                  <p:stCondLst>
                                    <p:cond delay="3750"/>
                                  </p:stCondLst>
                                  <p:childTnLst>
                                    <p:animEffect transition="out" filter="fade">
                                      <p:cBhvr>
                                        <p:cTn id="592" dur="2000" tmFilter="0, 0; .2, .5; .8, .5; 1, 0"/>
                                        <p:tgtEl>
                                          <p:spTgt spid="184"/>
                                        </p:tgtEl>
                                      </p:cBhvr>
                                    </p:animEffect>
                                    <p:animScale>
                                      <p:cBhvr>
                                        <p:cTn id="593" dur="1000" autoRev="1" fill="hold"/>
                                        <p:tgtEl>
                                          <p:spTgt spid="184"/>
                                        </p:tgtEl>
                                      </p:cBhvr>
                                      <p:by x="105000" y="105000"/>
                                    </p:animScale>
                                  </p:childTnLst>
                                </p:cTn>
                              </p:par>
                              <p:par>
                                <p:cTn id="594" presetID="26" presetClass="emph" presetSubtype="0" dur="2000" repeatCount="indefinite" fill="hold" grpId="0" nodeType="withEffect">
                                  <p:stCondLst>
                                    <p:cond delay="3750"/>
                                  </p:stCondLst>
                                  <p:childTnLst>
                                    <p:animEffect transition="out" filter="fade">
                                      <p:cBhvr>
                                        <p:cTn id="595" dur="2000" tmFilter="0, 0; .2, .5; .8, .5; 1, 0"/>
                                        <p:tgtEl>
                                          <p:spTgt spid="201"/>
                                        </p:tgtEl>
                                      </p:cBhvr>
                                    </p:animEffect>
                                    <p:animScale>
                                      <p:cBhvr>
                                        <p:cTn id="596" dur="1000" autoRev="1" fill="hold"/>
                                        <p:tgtEl>
                                          <p:spTgt spid="201"/>
                                        </p:tgtEl>
                                      </p:cBhvr>
                                      <p:by x="105000" y="105000"/>
                                    </p:animScale>
                                  </p:childTnLst>
                                </p:cTn>
                              </p:par>
                              <p:par>
                                <p:cTn id="597" presetID="26" presetClass="emph" presetSubtype="0" dur="2000" repeatCount="indefinite" fill="hold" grpId="0" nodeType="withEffect">
                                  <p:stCondLst>
                                    <p:cond delay="3750"/>
                                  </p:stCondLst>
                                  <p:childTnLst>
                                    <p:animEffect transition="out" filter="fade">
                                      <p:cBhvr>
                                        <p:cTn id="598" dur="2000" tmFilter="0, 0; .2, .5; .8, .5; 1, 0"/>
                                        <p:tgtEl>
                                          <p:spTgt spid="218"/>
                                        </p:tgtEl>
                                      </p:cBhvr>
                                    </p:animEffect>
                                    <p:animScale>
                                      <p:cBhvr>
                                        <p:cTn id="599" dur="1000" autoRev="1" fill="hold"/>
                                        <p:tgtEl>
                                          <p:spTgt spid="218"/>
                                        </p:tgtEl>
                                      </p:cBhvr>
                                      <p:by x="105000" y="105000"/>
                                    </p:animScale>
                                  </p:childTnLst>
                                </p:cTn>
                              </p:par>
                              <p:par>
                                <p:cTn id="600" presetID="26" presetClass="emph" presetSubtype="0" dur="2000" repeatCount="indefinite" fill="hold" grpId="0" nodeType="withEffect">
                                  <p:stCondLst>
                                    <p:cond delay="4000"/>
                                  </p:stCondLst>
                                  <p:childTnLst>
                                    <p:animEffect transition="out" filter="fade">
                                      <p:cBhvr>
                                        <p:cTn id="601" dur="2000" tmFilter="0, 0; .2, .5; .8, .5; 1, 0"/>
                                        <p:tgtEl>
                                          <p:spTgt spid="54"/>
                                        </p:tgtEl>
                                      </p:cBhvr>
                                    </p:animEffect>
                                    <p:animScale>
                                      <p:cBhvr>
                                        <p:cTn id="602" dur="1000" autoRev="1" fill="hold"/>
                                        <p:tgtEl>
                                          <p:spTgt spid="54"/>
                                        </p:tgtEl>
                                      </p:cBhvr>
                                      <p:by x="105000" y="105000"/>
                                    </p:animScale>
                                  </p:childTnLst>
                                </p:cTn>
                              </p:par>
                              <p:par>
                                <p:cTn id="603" presetID="26" presetClass="emph" presetSubtype="0" dur="2000" repeatCount="indefinite" fill="hold" grpId="0" nodeType="withEffect">
                                  <p:stCondLst>
                                    <p:cond delay="4000"/>
                                  </p:stCondLst>
                                  <p:childTnLst>
                                    <p:animEffect transition="out" filter="fade">
                                      <p:cBhvr>
                                        <p:cTn id="604" dur="2000" tmFilter="0, 0; .2, .5; .8, .5; 1, 0"/>
                                        <p:tgtEl>
                                          <p:spTgt spid="70"/>
                                        </p:tgtEl>
                                      </p:cBhvr>
                                    </p:animEffect>
                                    <p:animScale>
                                      <p:cBhvr>
                                        <p:cTn id="605" dur="1000" autoRev="1" fill="hold"/>
                                        <p:tgtEl>
                                          <p:spTgt spid="70"/>
                                        </p:tgtEl>
                                      </p:cBhvr>
                                      <p:by x="105000" y="105000"/>
                                    </p:animScale>
                                  </p:childTnLst>
                                </p:cTn>
                              </p:par>
                              <p:par>
                                <p:cTn id="606" presetID="26" presetClass="emph" presetSubtype="0" dur="2000" repeatCount="indefinite" fill="hold" grpId="0" nodeType="withEffect">
                                  <p:stCondLst>
                                    <p:cond delay="4000"/>
                                  </p:stCondLst>
                                  <p:childTnLst>
                                    <p:animEffect transition="out" filter="fade">
                                      <p:cBhvr>
                                        <p:cTn id="607" dur="2000" tmFilter="0, 0; .2, .5; .8, .5; 1, 0"/>
                                        <p:tgtEl>
                                          <p:spTgt spid="86"/>
                                        </p:tgtEl>
                                      </p:cBhvr>
                                    </p:animEffect>
                                    <p:animScale>
                                      <p:cBhvr>
                                        <p:cTn id="608" dur="1000" autoRev="1" fill="hold"/>
                                        <p:tgtEl>
                                          <p:spTgt spid="86"/>
                                        </p:tgtEl>
                                      </p:cBhvr>
                                      <p:by x="105000" y="105000"/>
                                    </p:animScale>
                                  </p:childTnLst>
                                </p:cTn>
                              </p:par>
                              <p:par>
                                <p:cTn id="609" presetID="26" presetClass="emph" presetSubtype="0" dur="2000" repeatCount="indefinite" fill="hold" grpId="0" nodeType="withEffect">
                                  <p:stCondLst>
                                    <p:cond delay="4000"/>
                                  </p:stCondLst>
                                  <p:childTnLst>
                                    <p:animEffect transition="out" filter="fade">
                                      <p:cBhvr>
                                        <p:cTn id="610" dur="2000" tmFilter="0, 0; .2, .5; .8, .5; 1, 0"/>
                                        <p:tgtEl>
                                          <p:spTgt spid="102"/>
                                        </p:tgtEl>
                                      </p:cBhvr>
                                    </p:animEffect>
                                    <p:animScale>
                                      <p:cBhvr>
                                        <p:cTn id="611" dur="1000" autoRev="1" fill="hold"/>
                                        <p:tgtEl>
                                          <p:spTgt spid="102"/>
                                        </p:tgtEl>
                                      </p:cBhvr>
                                      <p:by x="105000" y="105000"/>
                                    </p:animScale>
                                  </p:childTnLst>
                                </p:cTn>
                              </p:par>
                              <p:par>
                                <p:cTn id="612" presetID="26" presetClass="emph" presetSubtype="0" dur="2000" repeatCount="indefinite" fill="hold" grpId="0" nodeType="withEffect">
                                  <p:stCondLst>
                                    <p:cond delay="4000"/>
                                  </p:stCondLst>
                                  <p:childTnLst>
                                    <p:animEffect transition="out" filter="fade">
                                      <p:cBhvr>
                                        <p:cTn id="613" dur="2000" tmFilter="0, 0; .2, .5; .8, .5; 1, 0"/>
                                        <p:tgtEl>
                                          <p:spTgt spid="118"/>
                                        </p:tgtEl>
                                      </p:cBhvr>
                                    </p:animEffect>
                                    <p:animScale>
                                      <p:cBhvr>
                                        <p:cTn id="614" dur="1000" autoRev="1" fill="hold"/>
                                        <p:tgtEl>
                                          <p:spTgt spid="118"/>
                                        </p:tgtEl>
                                      </p:cBhvr>
                                      <p:by x="105000" y="105000"/>
                                    </p:animScale>
                                  </p:childTnLst>
                                </p:cTn>
                              </p:par>
                              <p:par>
                                <p:cTn id="615" presetID="26" presetClass="emph" presetSubtype="0" dur="2000" repeatCount="indefinite" fill="hold" grpId="0" nodeType="withEffect">
                                  <p:stCondLst>
                                    <p:cond delay="4000"/>
                                  </p:stCondLst>
                                  <p:childTnLst>
                                    <p:animEffect transition="out" filter="fade">
                                      <p:cBhvr>
                                        <p:cTn id="616" dur="2000" tmFilter="0, 0; .2, .5; .8, .5; 1, 0"/>
                                        <p:tgtEl>
                                          <p:spTgt spid="134"/>
                                        </p:tgtEl>
                                      </p:cBhvr>
                                    </p:animEffect>
                                    <p:animScale>
                                      <p:cBhvr>
                                        <p:cTn id="617" dur="1000" autoRev="1" fill="hold"/>
                                        <p:tgtEl>
                                          <p:spTgt spid="134"/>
                                        </p:tgtEl>
                                      </p:cBhvr>
                                      <p:by x="105000" y="105000"/>
                                    </p:animScale>
                                  </p:childTnLst>
                                </p:cTn>
                              </p:par>
                              <p:par>
                                <p:cTn id="618" presetID="26" presetClass="emph" presetSubtype="0" dur="2000" repeatCount="indefinite" fill="hold" grpId="0" nodeType="withEffect">
                                  <p:stCondLst>
                                    <p:cond delay="4000"/>
                                  </p:stCondLst>
                                  <p:childTnLst>
                                    <p:animEffect transition="out" filter="fade">
                                      <p:cBhvr>
                                        <p:cTn id="619" dur="2000" tmFilter="0, 0; .2, .5; .8, .5; 1, 0"/>
                                        <p:tgtEl>
                                          <p:spTgt spid="151"/>
                                        </p:tgtEl>
                                      </p:cBhvr>
                                    </p:animEffect>
                                    <p:animScale>
                                      <p:cBhvr>
                                        <p:cTn id="620" dur="1000" autoRev="1" fill="hold"/>
                                        <p:tgtEl>
                                          <p:spTgt spid="151"/>
                                        </p:tgtEl>
                                      </p:cBhvr>
                                      <p:by x="105000" y="105000"/>
                                    </p:animScale>
                                  </p:childTnLst>
                                </p:cTn>
                              </p:par>
                              <p:par>
                                <p:cTn id="621" presetID="26" presetClass="emph" presetSubtype="0" dur="2000" repeatCount="indefinite" fill="hold" grpId="0" nodeType="withEffect">
                                  <p:stCondLst>
                                    <p:cond delay="4000"/>
                                  </p:stCondLst>
                                  <p:childTnLst>
                                    <p:animEffect transition="out" filter="fade">
                                      <p:cBhvr>
                                        <p:cTn id="622" dur="2000" tmFilter="0, 0; .2, .5; .8, .5; 1, 0"/>
                                        <p:tgtEl>
                                          <p:spTgt spid="168"/>
                                        </p:tgtEl>
                                      </p:cBhvr>
                                    </p:animEffect>
                                    <p:animScale>
                                      <p:cBhvr>
                                        <p:cTn id="623" dur="1000" autoRev="1" fill="hold"/>
                                        <p:tgtEl>
                                          <p:spTgt spid="168"/>
                                        </p:tgtEl>
                                      </p:cBhvr>
                                      <p:by x="105000" y="105000"/>
                                    </p:animScale>
                                  </p:childTnLst>
                                </p:cTn>
                              </p:par>
                              <p:par>
                                <p:cTn id="624" presetID="26" presetClass="emph" presetSubtype="0" dur="2000" repeatCount="indefinite" fill="hold" grpId="0" nodeType="withEffect">
                                  <p:stCondLst>
                                    <p:cond delay="4000"/>
                                  </p:stCondLst>
                                  <p:childTnLst>
                                    <p:animEffect transition="out" filter="fade">
                                      <p:cBhvr>
                                        <p:cTn id="625" dur="2000" tmFilter="0, 0; .2, .5; .8, .5; 1, 0"/>
                                        <p:tgtEl>
                                          <p:spTgt spid="185"/>
                                        </p:tgtEl>
                                      </p:cBhvr>
                                    </p:animEffect>
                                    <p:animScale>
                                      <p:cBhvr>
                                        <p:cTn id="626" dur="1000" autoRev="1" fill="hold"/>
                                        <p:tgtEl>
                                          <p:spTgt spid="185"/>
                                        </p:tgtEl>
                                      </p:cBhvr>
                                      <p:by x="105000" y="105000"/>
                                    </p:animScale>
                                  </p:childTnLst>
                                </p:cTn>
                              </p:par>
                              <p:par>
                                <p:cTn id="627" presetID="26" presetClass="emph" presetSubtype="0" dur="2000" repeatCount="indefinite" fill="hold" grpId="0" nodeType="withEffect">
                                  <p:stCondLst>
                                    <p:cond delay="4000"/>
                                  </p:stCondLst>
                                  <p:childTnLst>
                                    <p:animEffect transition="out" filter="fade">
                                      <p:cBhvr>
                                        <p:cTn id="628" dur="2000" tmFilter="0, 0; .2, .5; .8, .5; 1, 0"/>
                                        <p:tgtEl>
                                          <p:spTgt spid="202"/>
                                        </p:tgtEl>
                                      </p:cBhvr>
                                    </p:animEffect>
                                    <p:animScale>
                                      <p:cBhvr>
                                        <p:cTn id="629" dur="1000" autoRev="1" fill="hold"/>
                                        <p:tgtEl>
                                          <p:spTgt spid="202"/>
                                        </p:tgtEl>
                                      </p:cBhvr>
                                      <p:by x="105000" y="105000"/>
                                    </p:animScale>
                                  </p:childTnLst>
                                </p:cTn>
                              </p:par>
                              <p:par>
                                <p:cTn id="630" presetID="26" presetClass="emph" presetSubtype="0" dur="2000" repeatCount="indefinite" fill="hold" grpId="0" nodeType="withEffect">
                                  <p:stCondLst>
                                    <p:cond delay="4250"/>
                                  </p:stCondLst>
                                  <p:childTnLst>
                                    <p:animEffect transition="out" filter="fade">
                                      <p:cBhvr>
                                        <p:cTn id="631" dur="2000" tmFilter="0, 0; .2, .5; .8, .5; 1, 0"/>
                                        <p:tgtEl>
                                          <p:spTgt spid="71"/>
                                        </p:tgtEl>
                                      </p:cBhvr>
                                    </p:animEffect>
                                    <p:animScale>
                                      <p:cBhvr>
                                        <p:cTn id="632" dur="1000" autoRev="1" fill="hold"/>
                                        <p:tgtEl>
                                          <p:spTgt spid="71"/>
                                        </p:tgtEl>
                                      </p:cBhvr>
                                      <p:by x="105000" y="105000"/>
                                    </p:animScale>
                                  </p:childTnLst>
                                </p:cTn>
                              </p:par>
                              <p:par>
                                <p:cTn id="633" presetID="26" presetClass="emph" presetSubtype="0" dur="2000" repeatCount="indefinite" fill="hold" grpId="0" nodeType="withEffect">
                                  <p:stCondLst>
                                    <p:cond delay="4250"/>
                                  </p:stCondLst>
                                  <p:childTnLst>
                                    <p:animEffect transition="out" filter="fade">
                                      <p:cBhvr>
                                        <p:cTn id="634" dur="2000" tmFilter="0, 0; .2, .5; .8, .5; 1, 0"/>
                                        <p:tgtEl>
                                          <p:spTgt spid="87"/>
                                        </p:tgtEl>
                                      </p:cBhvr>
                                    </p:animEffect>
                                    <p:animScale>
                                      <p:cBhvr>
                                        <p:cTn id="635" dur="1000" autoRev="1" fill="hold"/>
                                        <p:tgtEl>
                                          <p:spTgt spid="87"/>
                                        </p:tgtEl>
                                      </p:cBhvr>
                                      <p:by x="105000" y="105000"/>
                                    </p:animScale>
                                  </p:childTnLst>
                                </p:cTn>
                              </p:par>
                              <p:par>
                                <p:cTn id="636" presetID="26" presetClass="emph" presetSubtype="0" dur="2000" repeatCount="indefinite" fill="hold" grpId="0" nodeType="withEffect">
                                  <p:stCondLst>
                                    <p:cond delay="4250"/>
                                  </p:stCondLst>
                                  <p:childTnLst>
                                    <p:animEffect transition="out" filter="fade">
                                      <p:cBhvr>
                                        <p:cTn id="637" dur="2000" tmFilter="0, 0; .2, .5; .8, .5; 1, 0"/>
                                        <p:tgtEl>
                                          <p:spTgt spid="103"/>
                                        </p:tgtEl>
                                      </p:cBhvr>
                                    </p:animEffect>
                                    <p:animScale>
                                      <p:cBhvr>
                                        <p:cTn id="638" dur="1000" autoRev="1" fill="hold"/>
                                        <p:tgtEl>
                                          <p:spTgt spid="103"/>
                                        </p:tgtEl>
                                      </p:cBhvr>
                                      <p:by x="105000" y="105000"/>
                                    </p:animScale>
                                  </p:childTnLst>
                                </p:cTn>
                              </p:par>
                              <p:par>
                                <p:cTn id="639" presetID="26" presetClass="emph" presetSubtype="0" dur="2000" repeatCount="indefinite" fill="hold" grpId="0" nodeType="withEffect">
                                  <p:stCondLst>
                                    <p:cond delay="4250"/>
                                  </p:stCondLst>
                                  <p:childTnLst>
                                    <p:animEffect transition="out" filter="fade">
                                      <p:cBhvr>
                                        <p:cTn id="640" dur="2000" tmFilter="0, 0; .2, .5; .8, .5; 1, 0"/>
                                        <p:tgtEl>
                                          <p:spTgt spid="119"/>
                                        </p:tgtEl>
                                      </p:cBhvr>
                                    </p:animEffect>
                                    <p:animScale>
                                      <p:cBhvr>
                                        <p:cTn id="641" dur="1000" autoRev="1" fill="hold"/>
                                        <p:tgtEl>
                                          <p:spTgt spid="119"/>
                                        </p:tgtEl>
                                      </p:cBhvr>
                                      <p:by x="105000" y="105000"/>
                                    </p:animScale>
                                  </p:childTnLst>
                                </p:cTn>
                              </p:par>
                              <p:par>
                                <p:cTn id="642" presetID="26" presetClass="emph" presetSubtype="0" dur="2000" repeatCount="indefinite" fill="hold" grpId="0" nodeType="withEffect">
                                  <p:stCondLst>
                                    <p:cond delay="4250"/>
                                  </p:stCondLst>
                                  <p:childTnLst>
                                    <p:animEffect transition="out" filter="fade">
                                      <p:cBhvr>
                                        <p:cTn id="643" dur="2000" tmFilter="0, 0; .2, .5; .8, .5; 1, 0"/>
                                        <p:tgtEl>
                                          <p:spTgt spid="135"/>
                                        </p:tgtEl>
                                      </p:cBhvr>
                                    </p:animEffect>
                                    <p:animScale>
                                      <p:cBhvr>
                                        <p:cTn id="644" dur="1000" autoRev="1" fill="hold"/>
                                        <p:tgtEl>
                                          <p:spTgt spid="135"/>
                                        </p:tgtEl>
                                      </p:cBhvr>
                                      <p:by x="105000" y="105000"/>
                                    </p:animScale>
                                  </p:childTnLst>
                                </p:cTn>
                              </p:par>
                              <p:par>
                                <p:cTn id="645" presetID="26" presetClass="emph" presetSubtype="0" dur="2000" repeatCount="indefinite" fill="hold" grpId="0" nodeType="withEffect">
                                  <p:stCondLst>
                                    <p:cond delay="4250"/>
                                  </p:stCondLst>
                                  <p:childTnLst>
                                    <p:animEffect transition="out" filter="fade">
                                      <p:cBhvr>
                                        <p:cTn id="646" dur="2000" tmFilter="0, 0; .2, .5; .8, .5; 1, 0"/>
                                        <p:tgtEl>
                                          <p:spTgt spid="152"/>
                                        </p:tgtEl>
                                      </p:cBhvr>
                                    </p:animEffect>
                                    <p:animScale>
                                      <p:cBhvr>
                                        <p:cTn id="647" dur="1000" autoRev="1" fill="hold"/>
                                        <p:tgtEl>
                                          <p:spTgt spid="152"/>
                                        </p:tgtEl>
                                      </p:cBhvr>
                                      <p:by x="105000" y="105000"/>
                                    </p:animScale>
                                  </p:childTnLst>
                                </p:cTn>
                              </p:par>
                              <p:par>
                                <p:cTn id="648" presetID="26" presetClass="emph" presetSubtype="0" dur="2000" repeatCount="indefinite" fill="hold" grpId="0" nodeType="withEffect">
                                  <p:stCondLst>
                                    <p:cond delay="4250"/>
                                  </p:stCondLst>
                                  <p:childTnLst>
                                    <p:animEffect transition="out" filter="fade">
                                      <p:cBhvr>
                                        <p:cTn id="649" dur="2000" tmFilter="0, 0; .2, .5; .8, .5; 1, 0"/>
                                        <p:tgtEl>
                                          <p:spTgt spid="169"/>
                                        </p:tgtEl>
                                      </p:cBhvr>
                                    </p:animEffect>
                                    <p:animScale>
                                      <p:cBhvr>
                                        <p:cTn id="650" dur="1000" autoRev="1" fill="hold"/>
                                        <p:tgtEl>
                                          <p:spTgt spid="169"/>
                                        </p:tgtEl>
                                      </p:cBhvr>
                                      <p:by x="105000" y="105000"/>
                                    </p:animScale>
                                  </p:childTnLst>
                                </p:cTn>
                              </p:par>
                              <p:par>
                                <p:cTn id="651" presetID="26" presetClass="emph" presetSubtype="0" dur="2000" repeatCount="indefinite" fill="hold" grpId="0" nodeType="withEffect">
                                  <p:stCondLst>
                                    <p:cond delay="4250"/>
                                  </p:stCondLst>
                                  <p:childTnLst>
                                    <p:animEffect transition="out" filter="fade">
                                      <p:cBhvr>
                                        <p:cTn id="652" dur="2000" tmFilter="0, 0; .2, .5; .8, .5; 1, 0"/>
                                        <p:tgtEl>
                                          <p:spTgt spid="186"/>
                                        </p:tgtEl>
                                      </p:cBhvr>
                                    </p:animEffect>
                                    <p:animScale>
                                      <p:cBhvr>
                                        <p:cTn id="653" dur="1000" autoRev="1" fill="hold"/>
                                        <p:tgtEl>
                                          <p:spTgt spid="186"/>
                                        </p:tgtEl>
                                      </p:cBhvr>
                                      <p:by x="105000" y="105000"/>
                                    </p:animScale>
                                  </p:childTnLst>
                                </p:cTn>
                              </p:par>
                              <p:par>
                                <p:cTn id="654" presetID="26" presetClass="emph" presetSubtype="0" dur="2000" repeatCount="indefinite" fill="hold" grpId="0" nodeType="withEffect">
                                  <p:stCondLst>
                                    <p:cond delay="4500"/>
                                  </p:stCondLst>
                                  <p:childTnLst>
                                    <p:animEffect transition="out" filter="fade">
                                      <p:cBhvr>
                                        <p:cTn id="655" dur="2000" tmFilter="0, 0; .2, .5; .8, .5; 1, 0"/>
                                        <p:tgtEl>
                                          <p:spTgt spid="88"/>
                                        </p:tgtEl>
                                      </p:cBhvr>
                                    </p:animEffect>
                                    <p:animScale>
                                      <p:cBhvr>
                                        <p:cTn id="656" dur="1000" autoRev="1" fill="hold"/>
                                        <p:tgtEl>
                                          <p:spTgt spid="88"/>
                                        </p:tgtEl>
                                      </p:cBhvr>
                                      <p:by x="105000" y="105000"/>
                                    </p:animScale>
                                  </p:childTnLst>
                                </p:cTn>
                              </p:par>
                              <p:par>
                                <p:cTn id="657" presetID="26" presetClass="emph" presetSubtype="0" dur="2000" repeatCount="indefinite" fill="hold" grpId="0" nodeType="withEffect">
                                  <p:stCondLst>
                                    <p:cond delay="4500"/>
                                  </p:stCondLst>
                                  <p:childTnLst>
                                    <p:animEffect transition="out" filter="fade">
                                      <p:cBhvr>
                                        <p:cTn id="658" dur="2000" tmFilter="0, 0; .2, .5; .8, .5; 1, 0"/>
                                        <p:tgtEl>
                                          <p:spTgt spid="104"/>
                                        </p:tgtEl>
                                      </p:cBhvr>
                                    </p:animEffect>
                                    <p:animScale>
                                      <p:cBhvr>
                                        <p:cTn id="659" dur="1000" autoRev="1" fill="hold"/>
                                        <p:tgtEl>
                                          <p:spTgt spid="104"/>
                                        </p:tgtEl>
                                      </p:cBhvr>
                                      <p:by x="105000" y="105000"/>
                                    </p:animScale>
                                  </p:childTnLst>
                                </p:cTn>
                              </p:par>
                              <p:par>
                                <p:cTn id="660" presetID="26" presetClass="emph" presetSubtype="0" dur="2000" repeatCount="indefinite" fill="hold" grpId="0" nodeType="withEffect">
                                  <p:stCondLst>
                                    <p:cond delay="4500"/>
                                  </p:stCondLst>
                                  <p:childTnLst>
                                    <p:animEffect transition="out" filter="fade">
                                      <p:cBhvr>
                                        <p:cTn id="661" dur="2000" tmFilter="0, 0; .2, .5; .8, .5; 1, 0"/>
                                        <p:tgtEl>
                                          <p:spTgt spid="120"/>
                                        </p:tgtEl>
                                      </p:cBhvr>
                                    </p:animEffect>
                                    <p:animScale>
                                      <p:cBhvr>
                                        <p:cTn id="662" dur="1000" autoRev="1" fill="hold"/>
                                        <p:tgtEl>
                                          <p:spTgt spid="120"/>
                                        </p:tgtEl>
                                      </p:cBhvr>
                                      <p:by x="105000" y="105000"/>
                                    </p:animScale>
                                  </p:childTnLst>
                                </p:cTn>
                              </p:par>
                              <p:par>
                                <p:cTn id="663" presetID="26" presetClass="emph" presetSubtype="0" dur="2000" repeatCount="indefinite" fill="hold" grpId="0" nodeType="withEffect">
                                  <p:stCondLst>
                                    <p:cond delay="4500"/>
                                  </p:stCondLst>
                                  <p:childTnLst>
                                    <p:animEffect transition="out" filter="fade">
                                      <p:cBhvr>
                                        <p:cTn id="664" dur="2000" tmFilter="0, 0; .2, .5; .8, .5; 1, 0"/>
                                        <p:tgtEl>
                                          <p:spTgt spid="136"/>
                                        </p:tgtEl>
                                      </p:cBhvr>
                                    </p:animEffect>
                                    <p:animScale>
                                      <p:cBhvr>
                                        <p:cTn id="665" dur="1000" autoRev="1" fill="hold"/>
                                        <p:tgtEl>
                                          <p:spTgt spid="136"/>
                                        </p:tgtEl>
                                      </p:cBhvr>
                                      <p:by x="105000" y="105000"/>
                                    </p:animScale>
                                  </p:childTnLst>
                                </p:cTn>
                              </p:par>
                              <p:par>
                                <p:cTn id="666" presetID="26" presetClass="emph" presetSubtype="0" dur="2000" repeatCount="indefinite" fill="hold" grpId="0" nodeType="withEffect">
                                  <p:stCondLst>
                                    <p:cond delay="4500"/>
                                  </p:stCondLst>
                                  <p:childTnLst>
                                    <p:animEffect transition="out" filter="fade">
                                      <p:cBhvr>
                                        <p:cTn id="667" dur="2000" tmFilter="0, 0; .2, .5; .8, .5; 1, 0"/>
                                        <p:tgtEl>
                                          <p:spTgt spid="153"/>
                                        </p:tgtEl>
                                      </p:cBhvr>
                                    </p:animEffect>
                                    <p:animScale>
                                      <p:cBhvr>
                                        <p:cTn id="668" dur="1000" autoRev="1" fill="hold"/>
                                        <p:tgtEl>
                                          <p:spTgt spid="153"/>
                                        </p:tgtEl>
                                      </p:cBhvr>
                                      <p:by x="105000" y="105000"/>
                                    </p:animScale>
                                  </p:childTnLst>
                                </p:cTn>
                              </p:par>
                              <p:par>
                                <p:cTn id="669" presetID="26" presetClass="emph" presetSubtype="0" dur="2000" repeatCount="indefinite" fill="hold" grpId="0" nodeType="withEffect">
                                  <p:stCondLst>
                                    <p:cond delay="4500"/>
                                  </p:stCondLst>
                                  <p:childTnLst>
                                    <p:animEffect transition="out" filter="fade">
                                      <p:cBhvr>
                                        <p:cTn id="670" dur="2000" tmFilter="0, 0; .2, .5; .8, .5; 1, 0"/>
                                        <p:tgtEl>
                                          <p:spTgt spid="170"/>
                                        </p:tgtEl>
                                      </p:cBhvr>
                                    </p:animEffect>
                                    <p:animScale>
                                      <p:cBhvr>
                                        <p:cTn id="671" dur="1000" autoRev="1" fill="hold"/>
                                        <p:tgtEl>
                                          <p:spTgt spid="170"/>
                                        </p:tgtEl>
                                      </p:cBhvr>
                                      <p:by x="105000" y="105000"/>
                                    </p:animScale>
                                  </p:childTnLst>
                                </p:cTn>
                              </p:par>
                              <p:par>
                                <p:cTn id="672" presetID="26" presetClass="emph" presetSubtype="0" dur="2000" repeatCount="indefinite" fill="hold" grpId="0" nodeType="withEffect">
                                  <p:stCondLst>
                                    <p:cond delay="4750"/>
                                  </p:stCondLst>
                                  <p:childTnLst>
                                    <p:animEffect transition="out" filter="fade">
                                      <p:cBhvr>
                                        <p:cTn id="673" dur="2000" tmFilter="0, 0; .2, .5; .8, .5; 1, 0"/>
                                        <p:tgtEl>
                                          <p:spTgt spid="105"/>
                                        </p:tgtEl>
                                      </p:cBhvr>
                                    </p:animEffect>
                                    <p:animScale>
                                      <p:cBhvr>
                                        <p:cTn id="674" dur="1000" autoRev="1" fill="hold"/>
                                        <p:tgtEl>
                                          <p:spTgt spid="105"/>
                                        </p:tgtEl>
                                      </p:cBhvr>
                                      <p:by x="105000" y="105000"/>
                                    </p:animScale>
                                  </p:childTnLst>
                                </p:cTn>
                              </p:par>
                              <p:par>
                                <p:cTn id="675" presetID="26" presetClass="emph" presetSubtype="0" dur="2000" repeatCount="indefinite" fill="hold" grpId="0" nodeType="withEffect">
                                  <p:stCondLst>
                                    <p:cond delay="4750"/>
                                  </p:stCondLst>
                                  <p:childTnLst>
                                    <p:animEffect transition="out" filter="fade">
                                      <p:cBhvr>
                                        <p:cTn id="676" dur="2000" tmFilter="0, 0; .2, .5; .8, .5; 1, 0"/>
                                        <p:tgtEl>
                                          <p:spTgt spid="121"/>
                                        </p:tgtEl>
                                      </p:cBhvr>
                                    </p:animEffect>
                                    <p:animScale>
                                      <p:cBhvr>
                                        <p:cTn id="677" dur="1000" autoRev="1" fill="hold"/>
                                        <p:tgtEl>
                                          <p:spTgt spid="121"/>
                                        </p:tgtEl>
                                      </p:cBhvr>
                                      <p:by x="105000" y="105000"/>
                                    </p:animScale>
                                  </p:childTnLst>
                                </p:cTn>
                              </p:par>
                              <p:par>
                                <p:cTn id="678" presetID="26" presetClass="emph" presetSubtype="0" dur="2000" repeatCount="indefinite" fill="hold" grpId="0" nodeType="withEffect">
                                  <p:stCondLst>
                                    <p:cond delay="4750"/>
                                  </p:stCondLst>
                                  <p:childTnLst>
                                    <p:animEffect transition="out" filter="fade">
                                      <p:cBhvr>
                                        <p:cTn id="679" dur="2000" tmFilter="0, 0; .2, .5; .8, .5; 1, 0"/>
                                        <p:tgtEl>
                                          <p:spTgt spid="137"/>
                                        </p:tgtEl>
                                      </p:cBhvr>
                                    </p:animEffect>
                                    <p:animScale>
                                      <p:cBhvr>
                                        <p:cTn id="680" dur="1000" autoRev="1" fill="hold"/>
                                        <p:tgtEl>
                                          <p:spTgt spid="137"/>
                                        </p:tgtEl>
                                      </p:cBhvr>
                                      <p:by x="105000" y="105000"/>
                                    </p:animScale>
                                  </p:childTnLst>
                                </p:cTn>
                              </p:par>
                              <p:par>
                                <p:cTn id="681" presetID="26" presetClass="emph" presetSubtype="0" dur="2000" repeatCount="indefinite" fill="hold" grpId="0" nodeType="withEffect">
                                  <p:stCondLst>
                                    <p:cond delay="4750"/>
                                  </p:stCondLst>
                                  <p:childTnLst>
                                    <p:animEffect transition="out" filter="fade">
                                      <p:cBhvr>
                                        <p:cTn id="682" dur="2000" tmFilter="0, 0; .2, .5; .8, .5; 1, 0"/>
                                        <p:tgtEl>
                                          <p:spTgt spid="154"/>
                                        </p:tgtEl>
                                      </p:cBhvr>
                                    </p:animEffect>
                                    <p:animScale>
                                      <p:cBhvr>
                                        <p:cTn id="683" dur="1000" autoRev="1" fill="hold"/>
                                        <p:tgtEl>
                                          <p:spTgt spid="154"/>
                                        </p:tgtEl>
                                      </p:cBhvr>
                                      <p:by x="105000" y="105000"/>
                                    </p:animScale>
                                  </p:childTnLst>
                                </p:cTn>
                              </p:par>
                              <p:par>
                                <p:cTn id="684" presetID="26" presetClass="emph" presetSubtype="0" dur="2000" repeatCount="indefinite" fill="hold" grpId="0" nodeType="withEffect">
                                  <p:stCondLst>
                                    <p:cond delay="5000"/>
                                  </p:stCondLst>
                                  <p:childTnLst>
                                    <p:animEffect transition="out" filter="fade">
                                      <p:cBhvr>
                                        <p:cTn id="685" dur="2000" tmFilter="0, 0; .2, .5; .8, .5; 1, 0"/>
                                        <p:tgtEl>
                                          <p:spTgt spid="122"/>
                                        </p:tgtEl>
                                      </p:cBhvr>
                                    </p:animEffect>
                                    <p:animScale>
                                      <p:cBhvr>
                                        <p:cTn id="686" dur="1000" autoRev="1" fill="hold"/>
                                        <p:tgtEl>
                                          <p:spTgt spid="122"/>
                                        </p:tgtEl>
                                      </p:cBhvr>
                                      <p:by x="105000" y="105000"/>
                                    </p:animScale>
                                  </p:childTnLst>
                                </p:cTn>
                              </p:par>
                              <p:par>
                                <p:cTn id="687" presetID="26" presetClass="emph" presetSubtype="0" dur="2000" repeatCount="indefinite" fill="hold" grpId="0" nodeType="withEffect">
                                  <p:stCondLst>
                                    <p:cond delay="5000"/>
                                  </p:stCondLst>
                                  <p:childTnLst>
                                    <p:animEffect transition="out" filter="fade">
                                      <p:cBhvr>
                                        <p:cTn id="688" dur="2000" tmFilter="0, 0; .2, .5; .8, .5; 1, 0"/>
                                        <p:tgtEl>
                                          <p:spTgt spid="138"/>
                                        </p:tgtEl>
                                      </p:cBhvr>
                                    </p:animEffect>
                                    <p:animScale>
                                      <p:cBhvr>
                                        <p:cTn id="689" dur="1000" autoRev="1" fill="hold"/>
                                        <p:tgtEl>
                                          <p:spTgt spid="138"/>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2" grpId="0" animBg="1"/>
      <p:bldP spid="138" grpId="0" animBg="1"/>
      <p:bldP spid="105" grpId="0" animBg="1"/>
      <p:bldP spid="121" grpId="0" animBg="1"/>
      <p:bldP spid="137" grpId="0" animBg="1"/>
      <p:bldP spid="154" grpId="0" animBg="1"/>
      <p:bldP spid="88" grpId="0" animBg="1"/>
      <p:bldP spid="104" grpId="0" animBg="1"/>
      <p:bldP spid="120" grpId="0" animBg="1"/>
      <p:bldP spid="136" grpId="0" animBg="1"/>
      <p:bldP spid="153" grpId="0" animBg="1"/>
      <p:bldP spid="170" grpId="0" animBg="1"/>
      <p:bldP spid="71" grpId="0" animBg="1"/>
      <p:bldP spid="87" grpId="0" animBg="1"/>
      <p:bldP spid="103" grpId="0" animBg="1"/>
      <p:bldP spid="119" grpId="0" animBg="1"/>
      <p:bldP spid="135" grpId="0" animBg="1"/>
      <p:bldP spid="152" grpId="0" animBg="1"/>
      <p:bldP spid="169" grpId="0" animBg="1"/>
      <p:bldP spid="186" grpId="0" animBg="1"/>
      <p:bldP spid="54" grpId="0" animBg="1"/>
      <p:bldP spid="70" grpId="0" animBg="1"/>
      <p:bldP spid="86" grpId="0" animBg="1"/>
      <p:bldP spid="102" grpId="0" animBg="1"/>
      <p:bldP spid="118" grpId="0" animBg="1"/>
      <p:bldP spid="134" grpId="0" animBg="1"/>
      <p:bldP spid="151" grpId="0" animBg="1"/>
      <p:bldP spid="168" grpId="0" animBg="1"/>
      <p:bldP spid="185" grpId="0" animBg="1"/>
      <p:bldP spid="202" grpId="0" animBg="1"/>
      <p:bldP spid="37" grpId="0" animBg="1"/>
      <p:bldP spid="53" grpId="0" animBg="1"/>
      <p:bldP spid="69" grpId="0" animBg="1"/>
      <p:bldP spid="85" grpId="0" animBg="1"/>
      <p:bldP spid="101" grpId="0" animBg="1"/>
      <p:bldP spid="117" grpId="0" animBg="1"/>
      <p:bldP spid="133" grpId="0" animBg="1"/>
      <p:bldP spid="150" grpId="0" animBg="1"/>
      <p:bldP spid="167" grpId="0" animBg="1"/>
      <p:bldP spid="184" grpId="0" animBg="1"/>
      <p:bldP spid="201" grpId="0" animBg="1"/>
      <p:bldP spid="218" grpId="0" animBg="1"/>
      <p:bldP spid="5" grpId="0" animBg="1"/>
      <p:bldP spid="22" grpId="0" animBg="1"/>
      <p:bldP spid="38" grpId="0" animBg="1"/>
      <p:bldP spid="203" grpId="0" animBg="1"/>
      <p:bldP spid="219" grpId="0" animBg="1"/>
      <p:bldP spid="6" grpId="0" animBg="1"/>
      <p:bldP spid="23" grpId="0" animBg="1"/>
      <p:bldP spid="39" grpId="0" animBg="1"/>
      <p:bldP spid="55" grpId="0" animBg="1"/>
      <p:bldP spid="187" grpId="0" animBg="1"/>
      <p:bldP spid="204" grpId="0" animBg="1"/>
      <p:bldP spid="220" grpId="0" animBg="1"/>
      <p:bldP spid="7" grpId="0" animBg="1"/>
      <p:bldP spid="24" grpId="0" animBg="1"/>
      <p:bldP spid="40" grpId="0" animBg="1"/>
      <p:bldP spid="56" grpId="0" animBg="1"/>
      <p:bldP spid="72" grpId="0" animBg="1"/>
      <p:bldP spid="171" grpId="0" animBg="1"/>
      <p:bldP spid="188" grpId="0" animBg="1"/>
      <p:bldP spid="205" grpId="0" animBg="1"/>
      <p:bldP spid="221" grpId="0" animBg="1"/>
      <p:bldP spid="8" grpId="0" animBg="1"/>
      <p:bldP spid="25" grpId="0" animBg="1"/>
      <p:bldP spid="41" grpId="0" animBg="1"/>
      <p:bldP spid="57" grpId="0" animBg="1"/>
      <p:bldP spid="73" grpId="0" animBg="1"/>
      <p:bldP spid="89" grpId="0" animBg="1"/>
      <p:bldP spid="155" grpId="0" animBg="1"/>
      <p:bldP spid="172" grpId="0" animBg="1"/>
      <p:bldP spid="189" grpId="0" animBg="1"/>
      <p:bldP spid="206" grpId="0" animBg="1"/>
      <p:bldP spid="222" grpId="0" animBg="1"/>
      <p:bldP spid="11" grpId="0" animBg="1"/>
      <p:bldP spid="26" grpId="0" animBg="1"/>
      <p:bldP spid="42" grpId="0" animBg="1"/>
      <p:bldP spid="58" grpId="0" animBg="1"/>
      <p:bldP spid="74" grpId="0" animBg="1"/>
      <p:bldP spid="90" grpId="0" animBg="1"/>
      <p:bldP spid="106" grpId="0" animBg="1"/>
      <p:bldP spid="139" grpId="0" animBg="1"/>
      <p:bldP spid="156" grpId="0" animBg="1"/>
      <p:bldP spid="173" grpId="0" animBg="1"/>
      <p:bldP spid="190" grpId="0" animBg="1"/>
      <p:bldP spid="207" grpId="0" animBg="1"/>
      <p:bldP spid="223" grpId="0" animBg="1"/>
      <p:bldP spid="12" grpId="0" animBg="1"/>
      <p:bldP spid="27" grpId="0" animBg="1"/>
      <p:bldP spid="43" grpId="0" animBg="1"/>
      <p:bldP spid="59" grpId="0" animBg="1"/>
      <p:bldP spid="75" grpId="0" animBg="1"/>
      <p:bldP spid="91" grpId="0" animBg="1"/>
      <p:bldP spid="107" grpId="0" animBg="1"/>
      <p:bldP spid="123" grpId="0" animBg="1"/>
      <p:bldP spid="140" grpId="0" animBg="1"/>
      <p:bldP spid="157" grpId="0" animBg="1"/>
      <p:bldP spid="174" grpId="0" animBg="1"/>
      <p:bldP spid="191" grpId="0" animBg="1"/>
      <p:bldP spid="208" grpId="0" animBg="1"/>
      <p:bldP spid="224" grpId="0" animBg="1"/>
      <p:bldP spid="13" grpId="0" animBg="1"/>
      <p:bldP spid="28" grpId="0" animBg="1"/>
      <p:bldP spid="44" grpId="0" animBg="1"/>
      <p:bldP spid="60" grpId="0" animBg="1"/>
      <p:bldP spid="76" grpId="0" animBg="1"/>
      <p:bldP spid="92" grpId="0" animBg="1"/>
      <p:bldP spid="108" grpId="0" animBg="1"/>
      <p:bldP spid="124" grpId="0" animBg="1"/>
      <p:bldP spid="141" grpId="0" animBg="1"/>
      <p:bldP spid="158" grpId="0" animBg="1"/>
      <p:bldP spid="175" grpId="0" animBg="1"/>
      <p:bldP spid="192" grpId="0" animBg="1"/>
      <p:bldP spid="209" grpId="0" animBg="1"/>
      <p:bldP spid="225" grpId="0" animBg="1"/>
      <p:bldP spid="14" grpId="0" animBg="1"/>
      <p:bldP spid="29" grpId="0" animBg="1"/>
      <p:bldP spid="45" grpId="0" animBg="1"/>
      <p:bldP spid="61" grpId="0" animBg="1"/>
      <p:bldP spid="77" grpId="0" animBg="1"/>
      <p:bldP spid="93" grpId="0" animBg="1"/>
      <p:bldP spid="109" grpId="0" animBg="1"/>
      <p:bldP spid="125" grpId="0" animBg="1"/>
      <p:bldP spid="142" grpId="0" animBg="1"/>
      <p:bldP spid="159" grpId="0" animBg="1"/>
      <p:bldP spid="176" grpId="0" animBg="1"/>
      <p:bldP spid="193" grpId="0" animBg="1"/>
      <p:bldP spid="210" grpId="0" animBg="1"/>
      <p:bldP spid="226" grpId="0" animBg="1"/>
      <p:bldP spid="15" grpId="0" animBg="1"/>
      <p:bldP spid="30" grpId="0" animBg="1"/>
      <p:bldP spid="46" grpId="0" animBg="1"/>
      <p:bldP spid="62" grpId="0" animBg="1"/>
      <p:bldP spid="78" grpId="0" animBg="1"/>
      <p:bldP spid="94" grpId="0" animBg="1"/>
      <p:bldP spid="110" grpId="0" animBg="1"/>
      <p:bldP spid="126" grpId="0" animBg="1"/>
      <p:bldP spid="143" grpId="0" animBg="1"/>
      <p:bldP spid="160" grpId="0" animBg="1"/>
      <p:bldP spid="177" grpId="0" animBg="1"/>
      <p:bldP spid="194" grpId="0" animBg="1"/>
      <p:bldP spid="211" grpId="0" animBg="1"/>
      <p:bldP spid="227" grpId="0" animBg="1"/>
      <p:bldP spid="16" grpId="0" animBg="1"/>
      <p:bldP spid="31" grpId="0" animBg="1"/>
      <p:bldP spid="47" grpId="0" animBg="1"/>
      <p:bldP spid="63" grpId="0" animBg="1"/>
      <p:bldP spid="79" grpId="0" animBg="1"/>
      <p:bldP spid="95" grpId="0" animBg="1"/>
      <p:bldP spid="111" grpId="0" animBg="1"/>
      <p:bldP spid="127" grpId="0" animBg="1"/>
      <p:bldP spid="144" grpId="0" animBg="1"/>
      <p:bldP spid="161" grpId="0" animBg="1"/>
      <p:bldP spid="178" grpId="0" animBg="1"/>
      <p:bldP spid="195" grpId="0" animBg="1"/>
      <p:bldP spid="212" grpId="0" animBg="1"/>
      <p:bldP spid="228" grpId="0" animBg="1"/>
      <p:bldP spid="17" grpId="0" animBg="1"/>
      <p:bldP spid="32" grpId="0" animBg="1"/>
      <p:bldP spid="48" grpId="0" animBg="1"/>
      <p:bldP spid="64" grpId="0" animBg="1"/>
      <p:bldP spid="80" grpId="0" animBg="1"/>
      <p:bldP spid="96" grpId="0" animBg="1"/>
      <p:bldP spid="112" grpId="0" animBg="1"/>
      <p:bldP spid="128" grpId="0" animBg="1"/>
      <p:bldP spid="145" grpId="0" animBg="1"/>
      <p:bldP spid="162" grpId="0" animBg="1"/>
      <p:bldP spid="179" grpId="0" animBg="1"/>
      <p:bldP spid="196" grpId="0" animBg="1"/>
      <p:bldP spid="213" grpId="0" animBg="1"/>
      <p:bldP spid="229" grpId="0" animBg="1"/>
      <p:bldP spid="18" grpId="0" animBg="1"/>
      <p:bldP spid="33" grpId="0" animBg="1"/>
      <p:bldP spid="49" grpId="0" animBg="1"/>
      <p:bldP spid="65" grpId="0" animBg="1"/>
      <p:bldP spid="81" grpId="0" animBg="1"/>
      <p:bldP spid="97" grpId="0" animBg="1"/>
      <p:bldP spid="113" grpId="0" animBg="1"/>
      <p:bldP spid="129" grpId="0" animBg="1"/>
      <p:bldP spid="146" grpId="0" animBg="1"/>
      <p:bldP spid="163" grpId="0" animBg="1"/>
      <p:bldP spid="180" grpId="0" animBg="1"/>
      <p:bldP spid="197" grpId="0" animBg="1"/>
      <p:bldP spid="214" grpId="0" animBg="1"/>
      <p:bldP spid="230" grpId="0" animBg="1"/>
      <p:bldP spid="19" grpId="0" animBg="1"/>
      <p:bldP spid="34" grpId="0" animBg="1"/>
      <p:bldP spid="50" grpId="0" animBg="1"/>
      <p:bldP spid="66" grpId="0" animBg="1"/>
      <p:bldP spid="82" grpId="0" animBg="1"/>
      <p:bldP spid="98" grpId="0" animBg="1"/>
      <p:bldP spid="114" grpId="0" animBg="1"/>
      <p:bldP spid="130" grpId="0" animBg="1"/>
      <p:bldP spid="147" grpId="0" animBg="1"/>
      <p:bldP spid="164" grpId="0" animBg="1"/>
      <p:bldP spid="181" grpId="0" animBg="1"/>
      <p:bldP spid="198" grpId="0" animBg="1"/>
      <p:bldP spid="215" grpId="0" animBg="1"/>
      <p:bldP spid="231" grpId="0" animBg="1"/>
      <p:bldP spid="20" grpId="0" animBg="1"/>
      <p:bldP spid="35" grpId="0" animBg="1"/>
      <p:bldP spid="51" grpId="0" animBg="1"/>
      <p:bldP spid="67" grpId="0" animBg="1"/>
      <p:bldP spid="83" grpId="0" animBg="1"/>
      <p:bldP spid="99" grpId="0" animBg="1"/>
      <p:bldP spid="115" grpId="0" animBg="1"/>
      <p:bldP spid="131" grpId="0" animBg="1"/>
      <p:bldP spid="148" grpId="0" animBg="1"/>
      <p:bldP spid="165" grpId="0" animBg="1"/>
      <p:bldP spid="182" grpId="0" animBg="1"/>
      <p:bldP spid="199" grpId="0" animBg="1"/>
      <p:bldP spid="216" grpId="0" animBg="1"/>
      <p:bldP spid="232" grpId="0" animBg="1"/>
      <p:bldP spid="21" grpId="0" animBg="1"/>
      <p:bldP spid="36" grpId="0" animBg="1"/>
      <p:bldP spid="52" grpId="0" animBg="1"/>
      <p:bldP spid="68" grpId="0" animBg="1"/>
      <p:bldP spid="84" grpId="0" animBg="1"/>
      <p:bldP spid="100" grpId="0" animBg="1"/>
      <p:bldP spid="116" grpId="0" animBg="1"/>
      <p:bldP spid="132" grpId="0" animBg="1"/>
      <p:bldP spid="149" grpId="0" animBg="1"/>
      <p:bldP spid="166" grpId="0" animBg="1"/>
      <p:bldP spid="183" grpId="0" animBg="1"/>
      <p:bldP spid="200" grpId="0" animBg="1"/>
      <p:bldP spid="217" grpId="0" animBg="1"/>
      <p:bldP spid="233" grpId="0" animBg="1"/>
      <p:bldP spid="10" grpId="0">
        <p:tmplLst>
          <p:tmpl>
            <p:tnLst>
              <p:par>
                <p:cTn presetID="2" presetClass="entr" presetSubtype="8" decel="100000" fill="hold" nodeType="withEffect">
                  <p:stCondLst>
                    <p:cond delay="0"/>
                  </p:stCondLst>
                  <p:childTnLst>
                    <p:set>
                      <p:cBhvr>
                        <p:cTn dur="1" fill="hold">
                          <p:stCondLst>
                            <p:cond delay="0"/>
                          </p:stCondLst>
                        </p:cTn>
                        <p:tgtEl>
                          <p:spTgt spid="10"/>
                        </p:tgtEl>
                        <p:attrNameLst>
                          <p:attrName>style.visibility</p:attrName>
                        </p:attrNameLst>
                      </p:cBhvr>
                      <p:to>
                        <p:strVal val="visible"/>
                      </p:to>
                    </p:set>
                    <p:anim calcmode="lin" valueType="num">
                      <p:cBhvr additive="base">
                        <p:cTn dur="1000" fill="hold"/>
                        <p:tgtEl>
                          <p:spTgt spid="10"/>
                        </p:tgtEl>
                        <p:attrNameLst>
                          <p:attrName>ppt_x</p:attrName>
                        </p:attrNameLst>
                      </p:cBhvr>
                      <p:tavLst>
                        <p:tav tm="0">
                          <p:val>
                            <p:strVal val="0-#ppt_w/2"/>
                          </p:val>
                        </p:tav>
                        <p:tav tm="100000">
                          <p:val>
                            <p:strVal val="#ppt_x"/>
                          </p:val>
                        </p:tav>
                      </p:tavLst>
                    </p:anim>
                    <p:anim calcmode="lin" valueType="num">
                      <p:cBhvr additive="base">
                        <p:cTn dur="1000" fill="hold"/>
                        <p:tgtEl>
                          <p:spTgt spid="10"/>
                        </p:tgtEl>
                        <p:attrNameLst>
                          <p:attrName>ppt_y</p:attrName>
                        </p:attrNameLst>
                      </p:cBhvr>
                      <p:tavLst>
                        <p:tav tm="0">
                          <p:val>
                            <p:strVal val="#ppt_y"/>
                          </p:val>
                        </p:tav>
                        <p:tav tm="100000">
                          <p:val>
                            <p:strVal val="#ppt_y"/>
                          </p:val>
                        </p:tav>
                      </p:tavLst>
                    </p:anim>
                  </p:childTnLst>
                </p:cTn>
              </p:par>
            </p:tnLst>
          </p:tmpl>
        </p:tmplLst>
      </p:bldP>
    </p:bldLst>
  </p:timing>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2_AGENDA">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B4B4809C-E50B-407D-8E75-04DD099A75C9}"/>
              </a:ext>
            </a:extLst>
          </p:cNvPr>
          <p:cNvGraphicFramePr>
            <a:graphicFrameLocks noChangeAspect="1"/>
          </p:cNvGraphicFramePr>
          <p:nvPr userDrawn="1">
            <p:custDataLst>
              <p:tags r:id="rId1"/>
            </p:custDataLst>
            <p:extLst>
              <p:ext uri="{D42A27DB-BD31-4B8C-83A1-F6EECF244321}">
                <p14:modId xmlns:p14="http://schemas.microsoft.com/office/powerpoint/2010/main" val="1470282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2" name="Objekt 1" hidden="1">
                        <a:extLst>
                          <a:ext uri="{FF2B5EF4-FFF2-40B4-BE49-F238E27FC236}">
                            <a16:creationId xmlns:a16="http://schemas.microsoft.com/office/drawing/2014/main" id="{B4B4809C-E50B-407D-8E75-04DD099A75C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Foliennummernplatzhalter 2">
            <a:extLst>
              <a:ext uri="{FF2B5EF4-FFF2-40B4-BE49-F238E27FC236}">
                <a16:creationId xmlns:a16="http://schemas.microsoft.com/office/drawing/2014/main" id="{5B327254-466C-4606-8589-BCC72CBDADDF}"/>
              </a:ext>
            </a:extLst>
          </p:cNvPr>
          <p:cNvSpPr>
            <a:spLocks noGrp="1"/>
          </p:cNvSpPr>
          <p:nvPr>
            <p:ph type="sldNum" sz="quarter" idx="10"/>
          </p:nvPr>
        </p:nvSpPr>
        <p:spPr/>
        <p:txBody>
          <a:bodyPr/>
          <a:lstStyle>
            <a:lvl1pPr rtl="0">
              <a:defRPr/>
            </a:lvl1pPr>
          </a:lstStyle>
          <a:p>
            <a:fld id="{A04BEB4F-8CE1-4F18-986F-6CE0A0BE9470}" type="slidenum">
              <a:rPr lang="en-US" smtClean="0"/>
              <a:t>‹#›</a:t>
            </a:fld>
            <a:endParaRPr lang="en-US"/>
          </a:p>
        </p:txBody>
      </p:sp>
      <p:sp>
        <p:nvSpPr>
          <p:cNvPr id="122" name="Freihandform: Form 121">
            <a:extLst>
              <a:ext uri="{FF2B5EF4-FFF2-40B4-BE49-F238E27FC236}">
                <a16:creationId xmlns:a16="http://schemas.microsoft.com/office/drawing/2014/main" id="{BC43029A-5265-4954-A3A5-CD3CB5C7478D}"/>
              </a:ext>
            </a:extLst>
          </p:cNvPr>
          <p:cNvSpPr/>
          <p:nvPr/>
        </p:nvSpPr>
        <p:spPr>
          <a:xfrm>
            <a:off x="11841261" y="4050916"/>
            <a:ext cx="347243" cy="376374"/>
          </a:xfrm>
          <a:custGeom>
            <a:avLst/>
            <a:gdLst>
              <a:gd name="connsiteX0" fmla="*/ 158473 w 347243"/>
              <a:gd name="connsiteY0" fmla="*/ 376375 h 376374"/>
              <a:gd name="connsiteX1" fmla="*/ 0 w 347243"/>
              <a:gd name="connsiteY1" fmla="*/ 376375 h 376374"/>
              <a:gd name="connsiteX2" fmla="*/ 185274 w 347243"/>
              <a:gd name="connsiteY2" fmla="*/ 189935 h 376374"/>
              <a:gd name="connsiteX3" fmla="*/ 0 w 347243"/>
              <a:gd name="connsiteY3" fmla="*/ 0 h 376374"/>
              <a:gd name="connsiteX4" fmla="*/ 161969 w 347243"/>
              <a:gd name="connsiteY4" fmla="*/ 0 h 376374"/>
              <a:gd name="connsiteX5" fmla="*/ 347244 w 347243"/>
              <a:gd name="connsiteY5" fmla="*/ 185274 h 376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7243" h="376374">
                <a:moveTo>
                  <a:pt x="158473" y="376375"/>
                </a:moveTo>
                <a:lnTo>
                  <a:pt x="0" y="376375"/>
                </a:lnTo>
                <a:lnTo>
                  <a:pt x="185274" y="189935"/>
                </a:lnTo>
                <a:lnTo>
                  <a:pt x="0" y="0"/>
                </a:lnTo>
                <a:lnTo>
                  <a:pt x="161969" y="0"/>
                </a:lnTo>
                <a:lnTo>
                  <a:pt x="347244" y="185274"/>
                </a:lnTo>
                <a:close/>
              </a:path>
            </a:pathLst>
          </a:custGeom>
          <a:solidFill>
            <a:srgbClr val="EEF2F5"/>
          </a:solidFill>
          <a:ln w="11643" cap="flat">
            <a:noFill/>
            <a:prstDash val="solid"/>
            <a:miter/>
          </a:ln>
        </p:spPr>
        <p:txBody>
          <a:bodyPr rtlCol="0" anchor="ctr"/>
          <a:lstStyle/>
          <a:p>
            <a:pPr rtl="0"/>
            <a:endParaRPr lang="en-US"/>
          </a:p>
        </p:txBody>
      </p:sp>
      <p:sp>
        <p:nvSpPr>
          <p:cNvPr id="138" name="Freihandform: Form 137">
            <a:extLst>
              <a:ext uri="{FF2B5EF4-FFF2-40B4-BE49-F238E27FC236}">
                <a16:creationId xmlns:a16="http://schemas.microsoft.com/office/drawing/2014/main" id="{5B458F82-191F-4A0B-9761-26D447FE3BDA}"/>
              </a:ext>
            </a:extLst>
          </p:cNvPr>
          <p:cNvSpPr/>
          <p:nvPr/>
        </p:nvSpPr>
        <p:spPr>
          <a:xfrm>
            <a:off x="11841261" y="4405152"/>
            <a:ext cx="347243" cy="377540"/>
          </a:xfrm>
          <a:custGeom>
            <a:avLst/>
            <a:gdLst>
              <a:gd name="connsiteX0" fmla="*/ 158473 w 347243"/>
              <a:gd name="connsiteY0" fmla="*/ 377540 h 377540"/>
              <a:gd name="connsiteX1" fmla="*/ 0 w 347243"/>
              <a:gd name="connsiteY1" fmla="*/ 377540 h 377540"/>
              <a:gd name="connsiteX2" fmla="*/ 185274 w 347243"/>
              <a:gd name="connsiteY2" fmla="*/ 189935 h 377540"/>
              <a:gd name="connsiteX3" fmla="*/ 0 w 347243"/>
              <a:gd name="connsiteY3" fmla="*/ 0 h 377540"/>
              <a:gd name="connsiteX4" fmla="*/ 161969 w 347243"/>
              <a:gd name="connsiteY4" fmla="*/ 0 h 377540"/>
              <a:gd name="connsiteX5" fmla="*/ 347244 w 347243"/>
              <a:gd name="connsiteY5" fmla="*/ 185274 h 377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7243" h="377540">
                <a:moveTo>
                  <a:pt x="158473" y="377540"/>
                </a:moveTo>
                <a:lnTo>
                  <a:pt x="0" y="377540"/>
                </a:lnTo>
                <a:lnTo>
                  <a:pt x="185274" y="189935"/>
                </a:lnTo>
                <a:lnTo>
                  <a:pt x="0" y="0"/>
                </a:lnTo>
                <a:lnTo>
                  <a:pt x="161969" y="0"/>
                </a:lnTo>
                <a:lnTo>
                  <a:pt x="347244" y="185274"/>
                </a:lnTo>
                <a:close/>
              </a:path>
            </a:pathLst>
          </a:custGeom>
          <a:solidFill>
            <a:srgbClr val="EEF2F5"/>
          </a:solidFill>
          <a:ln w="11643" cap="flat">
            <a:noFill/>
            <a:prstDash val="solid"/>
            <a:miter/>
          </a:ln>
        </p:spPr>
        <p:txBody>
          <a:bodyPr rtlCol="0" anchor="ctr"/>
          <a:lstStyle/>
          <a:p>
            <a:pPr rtl="0"/>
            <a:endParaRPr lang="en-US"/>
          </a:p>
        </p:txBody>
      </p:sp>
      <p:sp>
        <p:nvSpPr>
          <p:cNvPr id="105" name="Freihandform: Form 104">
            <a:extLst>
              <a:ext uri="{FF2B5EF4-FFF2-40B4-BE49-F238E27FC236}">
                <a16:creationId xmlns:a16="http://schemas.microsoft.com/office/drawing/2014/main" id="{5C4533A5-54AE-4D76-A4AF-E6486B2E759F}"/>
              </a:ext>
            </a:extLst>
          </p:cNvPr>
          <p:cNvSpPr/>
          <p:nvPr/>
        </p:nvSpPr>
        <p:spPr>
          <a:xfrm>
            <a:off x="11494017" y="3704837"/>
            <a:ext cx="330930" cy="358896"/>
          </a:xfrm>
          <a:custGeom>
            <a:avLst/>
            <a:gdLst>
              <a:gd name="connsiteX0" fmla="*/ 151482 w 330930"/>
              <a:gd name="connsiteY0" fmla="*/ 358896 h 358896"/>
              <a:gd name="connsiteX1" fmla="*/ 0 w 330930"/>
              <a:gd name="connsiteY1" fmla="*/ 358896 h 358896"/>
              <a:gd name="connsiteX2" fmla="*/ 177118 w 330930"/>
              <a:gd name="connsiteY2" fmla="*/ 180613 h 358896"/>
              <a:gd name="connsiteX3" fmla="*/ 0 w 330930"/>
              <a:gd name="connsiteY3" fmla="*/ 0 h 358896"/>
              <a:gd name="connsiteX4" fmla="*/ 154979 w 330930"/>
              <a:gd name="connsiteY4" fmla="*/ 0 h 358896"/>
              <a:gd name="connsiteX5" fmla="*/ 330931 w 330930"/>
              <a:gd name="connsiteY5" fmla="*/ 175953 h 358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930" h="358896">
                <a:moveTo>
                  <a:pt x="151482" y="358896"/>
                </a:moveTo>
                <a:lnTo>
                  <a:pt x="0" y="358896"/>
                </a:lnTo>
                <a:lnTo>
                  <a:pt x="177118" y="180613"/>
                </a:lnTo>
                <a:lnTo>
                  <a:pt x="0" y="0"/>
                </a:lnTo>
                <a:lnTo>
                  <a:pt x="154979" y="0"/>
                </a:lnTo>
                <a:lnTo>
                  <a:pt x="330931" y="175953"/>
                </a:lnTo>
                <a:close/>
              </a:path>
            </a:pathLst>
          </a:custGeom>
          <a:solidFill>
            <a:srgbClr val="EEF2F5"/>
          </a:solidFill>
          <a:ln w="11643" cap="flat">
            <a:noFill/>
            <a:prstDash val="solid"/>
            <a:miter/>
          </a:ln>
        </p:spPr>
        <p:txBody>
          <a:bodyPr rtlCol="0" anchor="ctr"/>
          <a:lstStyle/>
          <a:p>
            <a:pPr rtl="0"/>
            <a:endParaRPr lang="en-US"/>
          </a:p>
        </p:txBody>
      </p:sp>
      <p:sp>
        <p:nvSpPr>
          <p:cNvPr id="121" name="Freihandform: Form 120">
            <a:extLst>
              <a:ext uri="{FF2B5EF4-FFF2-40B4-BE49-F238E27FC236}">
                <a16:creationId xmlns:a16="http://schemas.microsoft.com/office/drawing/2014/main" id="{2C765BDB-0971-4930-98E2-992157EFF29E}"/>
              </a:ext>
            </a:extLst>
          </p:cNvPr>
          <p:cNvSpPr/>
          <p:nvPr/>
        </p:nvSpPr>
        <p:spPr>
          <a:xfrm>
            <a:off x="11494017" y="4059073"/>
            <a:ext cx="330930" cy="360061"/>
          </a:xfrm>
          <a:custGeom>
            <a:avLst/>
            <a:gdLst>
              <a:gd name="connsiteX0" fmla="*/ 151482 w 330930"/>
              <a:gd name="connsiteY0" fmla="*/ 360062 h 360061"/>
              <a:gd name="connsiteX1" fmla="*/ 0 w 330930"/>
              <a:gd name="connsiteY1" fmla="*/ 360062 h 360061"/>
              <a:gd name="connsiteX2" fmla="*/ 177118 w 330930"/>
              <a:gd name="connsiteY2" fmla="*/ 181779 h 360061"/>
              <a:gd name="connsiteX3" fmla="*/ 0 w 330930"/>
              <a:gd name="connsiteY3" fmla="*/ 0 h 360061"/>
              <a:gd name="connsiteX4" fmla="*/ 154979 w 330930"/>
              <a:gd name="connsiteY4" fmla="*/ 0 h 360061"/>
              <a:gd name="connsiteX5" fmla="*/ 330931 w 330930"/>
              <a:gd name="connsiteY5" fmla="*/ 177118 h 360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930" h="360061">
                <a:moveTo>
                  <a:pt x="151482" y="360062"/>
                </a:moveTo>
                <a:lnTo>
                  <a:pt x="0" y="360062"/>
                </a:lnTo>
                <a:lnTo>
                  <a:pt x="177118" y="181779"/>
                </a:lnTo>
                <a:lnTo>
                  <a:pt x="0" y="0"/>
                </a:lnTo>
                <a:lnTo>
                  <a:pt x="154979" y="0"/>
                </a:lnTo>
                <a:lnTo>
                  <a:pt x="330931" y="177118"/>
                </a:lnTo>
                <a:close/>
              </a:path>
            </a:pathLst>
          </a:custGeom>
          <a:solidFill>
            <a:srgbClr val="EEF2F5"/>
          </a:solidFill>
          <a:ln w="11643" cap="flat">
            <a:noFill/>
            <a:prstDash val="solid"/>
            <a:miter/>
          </a:ln>
        </p:spPr>
        <p:txBody>
          <a:bodyPr rtlCol="0" anchor="ctr"/>
          <a:lstStyle/>
          <a:p>
            <a:pPr rtl="0"/>
            <a:endParaRPr lang="en-US"/>
          </a:p>
        </p:txBody>
      </p:sp>
      <p:sp>
        <p:nvSpPr>
          <p:cNvPr id="137" name="Freihandform: Form 136">
            <a:extLst>
              <a:ext uri="{FF2B5EF4-FFF2-40B4-BE49-F238E27FC236}">
                <a16:creationId xmlns:a16="http://schemas.microsoft.com/office/drawing/2014/main" id="{FFF7FEBD-DC05-4243-8288-65567FB9B1FC}"/>
              </a:ext>
            </a:extLst>
          </p:cNvPr>
          <p:cNvSpPr/>
          <p:nvPr/>
        </p:nvSpPr>
        <p:spPr>
          <a:xfrm>
            <a:off x="11494017" y="4414474"/>
            <a:ext cx="330930" cy="358896"/>
          </a:xfrm>
          <a:custGeom>
            <a:avLst/>
            <a:gdLst>
              <a:gd name="connsiteX0" fmla="*/ 151482 w 330930"/>
              <a:gd name="connsiteY0" fmla="*/ 358896 h 358896"/>
              <a:gd name="connsiteX1" fmla="*/ 0 w 330930"/>
              <a:gd name="connsiteY1" fmla="*/ 358896 h 358896"/>
              <a:gd name="connsiteX2" fmla="*/ 177118 w 330930"/>
              <a:gd name="connsiteY2" fmla="*/ 180613 h 358896"/>
              <a:gd name="connsiteX3" fmla="*/ 0 w 330930"/>
              <a:gd name="connsiteY3" fmla="*/ 0 h 358896"/>
              <a:gd name="connsiteX4" fmla="*/ 154979 w 330930"/>
              <a:gd name="connsiteY4" fmla="*/ 0 h 358896"/>
              <a:gd name="connsiteX5" fmla="*/ 330931 w 330930"/>
              <a:gd name="connsiteY5" fmla="*/ 175952 h 358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930" h="358896">
                <a:moveTo>
                  <a:pt x="151482" y="358896"/>
                </a:moveTo>
                <a:lnTo>
                  <a:pt x="0" y="358896"/>
                </a:lnTo>
                <a:lnTo>
                  <a:pt x="177118" y="180613"/>
                </a:lnTo>
                <a:lnTo>
                  <a:pt x="0" y="0"/>
                </a:lnTo>
                <a:lnTo>
                  <a:pt x="154979" y="0"/>
                </a:lnTo>
                <a:lnTo>
                  <a:pt x="330931" y="175952"/>
                </a:lnTo>
                <a:close/>
              </a:path>
            </a:pathLst>
          </a:custGeom>
          <a:solidFill>
            <a:srgbClr val="EEF2F5"/>
          </a:solidFill>
          <a:ln w="11643" cap="flat">
            <a:noFill/>
            <a:prstDash val="solid"/>
            <a:miter/>
          </a:ln>
        </p:spPr>
        <p:txBody>
          <a:bodyPr rtlCol="0" anchor="ctr"/>
          <a:lstStyle/>
          <a:p>
            <a:pPr rtl="0"/>
            <a:endParaRPr lang="en-US"/>
          </a:p>
        </p:txBody>
      </p:sp>
      <p:sp>
        <p:nvSpPr>
          <p:cNvPr id="154" name="Freihandform: Form 153">
            <a:extLst>
              <a:ext uri="{FF2B5EF4-FFF2-40B4-BE49-F238E27FC236}">
                <a16:creationId xmlns:a16="http://schemas.microsoft.com/office/drawing/2014/main" id="{46119847-314D-4401-B853-7CDAC232D928}"/>
              </a:ext>
            </a:extLst>
          </p:cNvPr>
          <p:cNvSpPr/>
          <p:nvPr/>
        </p:nvSpPr>
        <p:spPr>
          <a:xfrm>
            <a:off x="11494017" y="4768709"/>
            <a:ext cx="330930" cy="360061"/>
          </a:xfrm>
          <a:custGeom>
            <a:avLst/>
            <a:gdLst>
              <a:gd name="connsiteX0" fmla="*/ 151482 w 330930"/>
              <a:gd name="connsiteY0" fmla="*/ 360062 h 360061"/>
              <a:gd name="connsiteX1" fmla="*/ 0 w 330930"/>
              <a:gd name="connsiteY1" fmla="*/ 360062 h 360061"/>
              <a:gd name="connsiteX2" fmla="*/ 177118 w 330930"/>
              <a:gd name="connsiteY2" fmla="*/ 181779 h 360061"/>
              <a:gd name="connsiteX3" fmla="*/ 0 w 330930"/>
              <a:gd name="connsiteY3" fmla="*/ 0 h 360061"/>
              <a:gd name="connsiteX4" fmla="*/ 154979 w 330930"/>
              <a:gd name="connsiteY4" fmla="*/ 0 h 360061"/>
              <a:gd name="connsiteX5" fmla="*/ 330931 w 330930"/>
              <a:gd name="connsiteY5" fmla="*/ 177118 h 360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930" h="360061">
                <a:moveTo>
                  <a:pt x="151482" y="360062"/>
                </a:moveTo>
                <a:lnTo>
                  <a:pt x="0" y="360062"/>
                </a:lnTo>
                <a:lnTo>
                  <a:pt x="177118" y="181779"/>
                </a:lnTo>
                <a:lnTo>
                  <a:pt x="0" y="0"/>
                </a:lnTo>
                <a:lnTo>
                  <a:pt x="154979" y="0"/>
                </a:lnTo>
                <a:lnTo>
                  <a:pt x="330931" y="177118"/>
                </a:lnTo>
                <a:close/>
              </a:path>
            </a:pathLst>
          </a:custGeom>
          <a:solidFill>
            <a:srgbClr val="EEF2F5"/>
          </a:solidFill>
          <a:ln w="11643" cap="flat">
            <a:noFill/>
            <a:prstDash val="solid"/>
            <a:miter/>
          </a:ln>
        </p:spPr>
        <p:txBody>
          <a:bodyPr rtlCol="0" anchor="ctr"/>
          <a:lstStyle/>
          <a:p>
            <a:pPr rtl="0"/>
            <a:endParaRPr lang="en-US"/>
          </a:p>
        </p:txBody>
      </p:sp>
      <p:sp>
        <p:nvSpPr>
          <p:cNvPr id="88" name="Freihandform: Form 87">
            <a:extLst>
              <a:ext uri="{FF2B5EF4-FFF2-40B4-BE49-F238E27FC236}">
                <a16:creationId xmlns:a16="http://schemas.microsoft.com/office/drawing/2014/main" id="{021EABD8-89C7-4331-9946-CAAC34E3DC2D}"/>
              </a:ext>
            </a:extLst>
          </p:cNvPr>
          <p:cNvSpPr/>
          <p:nvPr/>
        </p:nvSpPr>
        <p:spPr>
          <a:xfrm>
            <a:off x="11147939" y="3358759"/>
            <a:ext cx="314616" cy="341417"/>
          </a:xfrm>
          <a:custGeom>
            <a:avLst/>
            <a:gdLst>
              <a:gd name="connsiteX0" fmla="*/ 143325 w 314616"/>
              <a:gd name="connsiteY0" fmla="*/ 341418 h 341417"/>
              <a:gd name="connsiteX1" fmla="*/ 0 w 314616"/>
              <a:gd name="connsiteY1" fmla="*/ 341418 h 341417"/>
              <a:gd name="connsiteX2" fmla="*/ 167795 w 314616"/>
              <a:gd name="connsiteY2" fmla="*/ 172457 h 341417"/>
              <a:gd name="connsiteX3" fmla="*/ 0 w 314616"/>
              <a:gd name="connsiteY3" fmla="*/ 0 h 341417"/>
              <a:gd name="connsiteX4" fmla="*/ 146821 w 314616"/>
              <a:gd name="connsiteY4" fmla="*/ 0 h 341417"/>
              <a:gd name="connsiteX5" fmla="*/ 314617 w 314616"/>
              <a:gd name="connsiteY5" fmla="*/ 167796 h 341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4616" h="341417">
                <a:moveTo>
                  <a:pt x="143325" y="341418"/>
                </a:moveTo>
                <a:lnTo>
                  <a:pt x="0" y="341418"/>
                </a:lnTo>
                <a:lnTo>
                  <a:pt x="167795" y="172457"/>
                </a:lnTo>
                <a:lnTo>
                  <a:pt x="0" y="0"/>
                </a:lnTo>
                <a:lnTo>
                  <a:pt x="146821" y="0"/>
                </a:lnTo>
                <a:lnTo>
                  <a:pt x="314617" y="167796"/>
                </a:lnTo>
                <a:close/>
              </a:path>
            </a:pathLst>
          </a:custGeom>
          <a:solidFill>
            <a:srgbClr val="EEF2F5"/>
          </a:solidFill>
          <a:ln w="11643" cap="flat">
            <a:noFill/>
            <a:prstDash val="solid"/>
            <a:miter/>
          </a:ln>
        </p:spPr>
        <p:txBody>
          <a:bodyPr rtlCol="0" anchor="ctr"/>
          <a:lstStyle/>
          <a:p>
            <a:pPr rtl="0"/>
            <a:endParaRPr lang="en-US"/>
          </a:p>
        </p:txBody>
      </p:sp>
      <p:sp>
        <p:nvSpPr>
          <p:cNvPr id="104" name="Freihandform: Form 103">
            <a:extLst>
              <a:ext uri="{FF2B5EF4-FFF2-40B4-BE49-F238E27FC236}">
                <a16:creationId xmlns:a16="http://schemas.microsoft.com/office/drawing/2014/main" id="{2DAD8994-DFB7-4D8A-B3A1-95AEBE830246}"/>
              </a:ext>
            </a:extLst>
          </p:cNvPr>
          <p:cNvSpPr/>
          <p:nvPr/>
        </p:nvSpPr>
        <p:spPr>
          <a:xfrm>
            <a:off x="11147939" y="3714159"/>
            <a:ext cx="314616" cy="340252"/>
          </a:xfrm>
          <a:custGeom>
            <a:avLst/>
            <a:gdLst>
              <a:gd name="connsiteX0" fmla="*/ 143325 w 314616"/>
              <a:gd name="connsiteY0" fmla="*/ 340252 h 340252"/>
              <a:gd name="connsiteX1" fmla="*/ 0 w 314616"/>
              <a:gd name="connsiteY1" fmla="*/ 340252 h 340252"/>
              <a:gd name="connsiteX2" fmla="*/ 167795 w 314616"/>
              <a:gd name="connsiteY2" fmla="*/ 171291 h 340252"/>
              <a:gd name="connsiteX3" fmla="*/ 0 w 314616"/>
              <a:gd name="connsiteY3" fmla="*/ 0 h 340252"/>
              <a:gd name="connsiteX4" fmla="*/ 146821 w 314616"/>
              <a:gd name="connsiteY4" fmla="*/ 0 h 340252"/>
              <a:gd name="connsiteX5" fmla="*/ 314617 w 314616"/>
              <a:gd name="connsiteY5" fmla="*/ 166631 h 340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4616" h="340252">
                <a:moveTo>
                  <a:pt x="143325" y="340252"/>
                </a:moveTo>
                <a:lnTo>
                  <a:pt x="0" y="340252"/>
                </a:lnTo>
                <a:lnTo>
                  <a:pt x="167795" y="171291"/>
                </a:lnTo>
                <a:lnTo>
                  <a:pt x="0" y="0"/>
                </a:lnTo>
                <a:lnTo>
                  <a:pt x="146821" y="0"/>
                </a:lnTo>
                <a:lnTo>
                  <a:pt x="314617" y="166631"/>
                </a:lnTo>
                <a:close/>
              </a:path>
            </a:pathLst>
          </a:custGeom>
          <a:solidFill>
            <a:srgbClr val="EEF2F5"/>
          </a:solidFill>
          <a:ln w="11643" cap="flat">
            <a:noFill/>
            <a:prstDash val="solid"/>
            <a:miter/>
          </a:ln>
        </p:spPr>
        <p:txBody>
          <a:bodyPr rtlCol="0" anchor="ctr"/>
          <a:lstStyle/>
          <a:p>
            <a:pPr rtl="0"/>
            <a:endParaRPr lang="en-US"/>
          </a:p>
        </p:txBody>
      </p:sp>
      <p:sp>
        <p:nvSpPr>
          <p:cNvPr id="120" name="Freihandform: Form 119">
            <a:extLst>
              <a:ext uri="{FF2B5EF4-FFF2-40B4-BE49-F238E27FC236}">
                <a16:creationId xmlns:a16="http://schemas.microsoft.com/office/drawing/2014/main" id="{9CAC8A30-61AB-4046-B8E4-22F4EC6F7681}"/>
              </a:ext>
            </a:extLst>
          </p:cNvPr>
          <p:cNvSpPr/>
          <p:nvPr/>
        </p:nvSpPr>
        <p:spPr>
          <a:xfrm>
            <a:off x="11147939" y="4068395"/>
            <a:ext cx="314616" cy="341417"/>
          </a:xfrm>
          <a:custGeom>
            <a:avLst/>
            <a:gdLst>
              <a:gd name="connsiteX0" fmla="*/ 143325 w 314616"/>
              <a:gd name="connsiteY0" fmla="*/ 341418 h 341417"/>
              <a:gd name="connsiteX1" fmla="*/ 0 w 314616"/>
              <a:gd name="connsiteY1" fmla="*/ 341418 h 341417"/>
              <a:gd name="connsiteX2" fmla="*/ 167795 w 314616"/>
              <a:gd name="connsiteY2" fmla="*/ 172457 h 341417"/>
              <a:gd name="connsiteX3" fmla="*/ 0 w 314616"/>
              <a:gd name="connsiteY3" fmla="*/ 0 h 341417"/>
              <a:gd name="connsiteX4" fmla="*/ 146821 w 314616"/>
              <a:gd name="connsiteY4" fmla="*/ 0 h 341417"/>
              <a:gd name="connsiteX5" fmla="*/ 314617 w 314616"/>
              <a:gd name="connsiteY5" fmla="*/ 167796 h 341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4616" h="341417">
                <a:moveTo>
                  <a:pt x="143325" y="341418"/>
                </a:moveTo>
                <a:lnTo>
                  <a:pt x="0" y="341418"/>
                </a:lnTo>
                <a:lnTo>
                  <a:pt x="167795" y="172457"/>
                </a:lnTo>
                <a:lnTo>
                  <a:pt x="0" y="0"/>
                </a:lnTo>
                <a:lnTo>
                  <a:pt x="146821" y="0"/>
                </a:lnTo>
                <a:lnTo>
                  <a:pt x="314617" y="167796"/>
                </a:lnTo>
                <a:close/>
              </a:path>
            </a:pathLst>
          </a:custGeom>
          <a:solidFill>
            <a:srgbClr val="EEF2F5"/>
          </a:solidFill>
          <a:ln w="11643" cap="flat">
            <a:noFill/>
            <a:prstDash val="solid"/>
            <a:miter/>
          </a:ln>
        </p:spPr>
        <p:txBody>
          <a:bodyPr rtlCol="0" anchor="ctr"/>
          <a:lstStyle/>
          <a:p>
            <a:pPr rtl="0"/>
            <a:endParaRPr lang="en-US"/>
          </a:p>
        </p:txBody>
      </p:sp>
      <p:sp>
        <p:nvSpPr>
          <p:cNvPr id="136" name="Freihandform: Form 135">
            <a:extLst>
              <a:ext uri="{FF2B5EF4-FFF2-40B4-BE49-F238E27FC236}">
                <a16:creationId xmlns:a16="http://schemas.microsoft.com/office/drawing/2014/main" id="{514370C7-4CF6-451C-90DF-3B79CA5A0A59}"/>
              </a:ext>
            </a:extLst>
          </p:cNvPr>
          <p:cNvSpPr/>
          <p:nvPr/>
        </p:nvSpPr>
        <p:spPr>
          <a:xfrm>
            <a:off x="11147939" y="4423796"/>
            <a:ext cx="314616" cy="340252"/>
          </a:xfrm>
          <a:custGeom>
            <a:avLst/>
            <a:gdLst>
              <a:gd name="connsiteX0" fmla="*/ 143325 w 314616"/>
              <a:gd name="connsiteY0" fmla="*/ 340252 h 340252"/>
              <a:gd name="connsiteX1" fmla="*/ 0 w 314616"/>
              <a:gd name="connsiteY1" fmla="*/ 340252 h 340252"/>
              <a:gd name="connsiteX2" fmla="*/ 167795 w 314616"/>
              <a:gd name="connsiteY2" fmla="*/ 171291 h 340252"/>
              <a:gd name="connsiteX3" fmla="*/ 0 w 314616"/>
              <a:gd name="connsiteY3" fmla="*/ 0 h 340252"/>
              <a:gd name="connsiteX4" fmla="*/ 146821 w 314616"/>
              <a:gd name="connsiteY4" fmla="*/ 0 h 340252"/>
              <a:gd name="connsiteX5" fmla="*/ 314617 w 314616"/>
              <a:gd name="connsiteY5" fmla="*/ 167796 h 340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4616" h="340252">
                <a:moveTo>
                  <a:pt x="143325" y="340252"/>
                </a:moveTo>
                <a:lnTo>
                  <a:pt x="0" y="340252"/>
                </a:lnTo>
                <a:lnTo>
                  <a:pt x="167795" y="171291"/>
                </a:lnTo>
                <a:lnTo>
                  <a:pt x="0" y="0"/>
                </a:lnTo>
                <a:lnTo>
                  <a:pt x="146821" y="0"/>
                </a:lnTo>
                <a:lnTo>
                  <a:pt x="314617" y="167796"/>
                </a:lnTo>
                <a:close/>
              </a:path>
            </a:pathLst>
          </a:custGeom>
          <a:solidFill>
            <a:srgbClr val="EEF2F5"/>
          </a:solidFill>
          <a:ln w="11643" cap="flat">
            <a:noFill/>
            <a:prstDash val="solid"/>
            <a:miter/>
          </a:ln>
        </p:spPr>
        <p:txBody>
          <a:bodyPr rtlCol="0" anchor="ctr"/>
          <a:lstStyle/>
          <a:p>
            <a:pPr rtl="0"/>
            <a:endParaRPr lang="en-US"/>
          </a:p>
        </p:txBody>
      </p:sp>
      <p:sp>
        <p:nvSpPr>
          <p:cNvPr id="153" name="Freihandform: Form 152">
            <a:extLst>
              <a:ext uri="{FF2B5EF4-FFF2-40B4-BE49-F238E27FC236}">
                <a16:creationId xmlns:a16="http://schemas.microsoft.com/office/drawing/2014/main" id="{6D62BA37-26ED-4588-AD4A-3F0CC1E972FD}"/>
              </a:ext>
            </a:extLst>
          </p:cNvPr>
          <p:cNvSpPr/>
          <p:nvPr/>
        </p:nvSpPr>
        <p:spPr>
          <a:xfrm>
            <a:off x="11147939" y="4778031"/>
            <a:ext cx="314616" cy="341417"/>
          </a:xfrm>
          <a:custGeom>
            <a:avLst/>
            <a:gdLst>
              <a:gd name="connsiteX0" fmla="*/ 143325 w 314616"/>
              <a:gd name="connsiteY0" fmla="*/ 341418 h 341417"/>
              <a:gd name="connsiteX1" fmla="*/ 0 w 314616"/>
              <a:gd name="connsiteY1" fmla="*/ 341418 h 341417"/>
              <a:gd name="connsiteX2" fmla="*/ 167795 w 314616"/>
              <a:gd name="connsiteY2" fmla="*/ 172457 h 341417"/>
              <a:gd name="connsiteX3" fmla="*/ 0 w 314616"/>
              <a:gd name="connsiteY3" fmla="*/ 0 h 341417"/>
              <a:gd name="connsiteX4" fmla="*/ 146821 w 314616"/>
              <a:gd name="connsiteY4" fmla="*/ 0 h 341417"/>
              <a:gd name="connsiteX5" fmla="*/ 314617 w 314616"/>
              <a:gd name="connsiteY5" fmla="*/ 167796 h 341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4616" h="341417">
                <a:moveTo>
                  <a:pt x="143325" y="341418"/>
                </a:moveTo>
                <a:lnTo>
                  <a:pt x="0" y="341418"/>
                </a:lnTo>
                <a:lnTo>
                  <a:pt x="167795" y="172457"/>
                </a:lnTo>
                <a:lnTo>
                  <a:pt x="0" y="0"/>
                </a:lnTo>
                <a:lnTo>
                  <a:pt x="146821" y="0"/>
                </a:lnTo>
                <a:lnTo>
                  <a:pt x="314617" y="167796"/>
                </a:lnTo>
                <a:close/>
              </a:path>
            </a:pathLst>
          </a:custGeom>
          <a:solidFill>
            <a:srgbClr val="EEF2F5"/>
          </a:solidFill>
          <a:ln w="11643" cap="flat">
            <a:noFill/>
            <a:prstDash val="solid"/>
            <a:miter/>
          </a:ln>
        </p:spPr>
        <p:txBody>
          <a:bodyPr rtlCol="0" anchor="ctr"/>
          <a:lstStyle/>
          <a:p>
            <a:pPr rtl="0"/>
            <a:endParaRPr lang="en-US"/>
          </a:p>
        </p:txBody>
      </p:sp>
      <p:sp>
        <p:nvSpPr>
          <p:cNvPr id="170" name="Freihandform: Form 169">
            <a:extLst>
              <a:ext uri="{FF2B5EF4-FFF2-40B4-BE49-F238E27FC236}">
                <a16:creationId xmlns:a16="http://schemas.microsoft.com/office/drawing/2014/main" id="{6E70AB4A-6E36-4A08-8730-471DDB749A6F}"/>
              </a:ext>
            </a:extLst>
          </p:cNvPr>
          <p:cNvSpPr/>
          <p:nvPr/>
        </p:nvSpPr>
        <p:spPr>
          <a:xfrm>
            <a:off x="11147939" y="5133432"/>
            <a:ext cx="314616" cy="341417"/>
          </a:xfrm>
          <a:custGeom>
            <a:avLst/>
            <a:gdLst>
              <a:gd name="connsiteX0" fmla="*/ 143325 w 314616"/>
              <a:gd name="connsiteY0" fmla="*/ 341418 h 341417"/>
              <a:gd name="connsiteX1" fmla="*/ 0 w 314616"/>
              <a:gd name="connsiteY1" fmla="*/ 341418 h 341417"/>
              <a:gd name="connsiteX2" fmla="*/ 167795 w 314616"/>
              <a:gd name="connsiteY2" fmla="*/ 171292 h 341417"/>
              <a:gd name="connsiteX3" fmla="*/ 0 w 314616"/>
              <a:gd name="connsiteY3" fmla="*/ 0 h 341417"/>
              <a:gd name="connsiteX4" fmla="*/ 146821 w 314616"/>
              <a:gd name="connsiteY4" fmla="*/ 0 h 341417"/>
              <a:gd name="connsiteX5" fmla="*/ 314617 w 314616"/>
              <a:gd name="connsiteY5" fmla="*/ 167796 h 341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4616" h="341417">
                <a:moveTo>
                  <a:pt x="143325" y="341418"/>
                </a:moveTo>
                <a:lnTo>
                  <a:pt x="0" y="341418"/>
                </a:lnTo>
                <a:lnTo>
                  <a:pt x="167795" y="171292"/>
                </a:lnTo>
                <a:lnTo>
                  <a:pt x="0" y="0"/>
                </a:lnTo>
                <a:lnTo>
                  <a:pt x="146821" y="0"/>
                </a:lnTo>
                <a:lnTo>
                  <a:pt x="314617" y="167796"/>
                </a:lnTo>
                <a:close/>
              </a:path>
            </a:pathLst>
          </a:custGeom>
          <a:solidFill>
            <a:srgbClr val="EEF2F5"/>
          </a:solidFill>
          <a:ln w="11643" cap="flat">
            <a:noFill/>
            <a:prstDash val="solid"/>
            <a:miter/>
          </a:ln>
        </p:spPr>
        <p:txBody>
          <a:bodyPr rtlCol="0" anchor="ctr"/>
          <a:lstStyle/>
          <a:p>
            <a:pPr rtl="0"/>
            <a:endParaRPr lang="en-US"/>
          </a:p>
        </p:txBody>
      </p:sp>
      <p:sp>
        <p:nvSpPr>
          <p:cNvPr id="71" name="Freihandform: Form 70">
            <a:extLst>
              <a:ext uri="{FF2B5EF4-FFF2-40B4-BE49-F238E27FC236}">
                <a16:creationId xmlns:a16="http://schemas.microsoft.com/office/drawing/2014/main" id="{EC37F69B-71A5-4B22-89E2-2B86538897C6}"/>
              </a:ext>
            </a:extLst>
          </p:cNvPr>
          <p:cNvSpPr/>
          <p:nvPr/>
        </p:nvSpPr>
        <p:spPr>
          <a:xfrm>
            <a:off x="10801860" y="3012680"/>
            <a:ext cx="297138" cy="323938"/>
          </a:xfrm>
          <a:custGeom>
            <a:avLst/>
            <a:gdLst>
              <a:gd name="connsiteX0" fmla="*/ 135168 w 297138"/>
              <a:gd name="connsiteY0" fmla="*/ 323939 h 323938"/>
              <a:gd name="connsiteX1" fmla="*/ 0 w 297138"/>
              <a:gd name="connsiteY1" fmla="*/ 323939 h 323938"/>
              <a:gd name="connsiteX2" fmla="*/ 158473 w 297138"/>
              <a:gd name="connsiteY2" fmla="*/ 163135 h 323938"/>
              <a:gd name="connsiteX3" fmla="*/ 0 w 297138"/>
              <a:gd name="connsiteY3" fmla="*/ 0 h 323938"/>
              <a:gd name="connsiteX4" fmla="*/ 138664 w 297138"/>
              <a:gd name="connsiteY4" fmla="*/ 0 h 323938"/>
              <a:gd name="connsiteX5" fmla="*/ 297138 w 297138"/>
              <a:gd name="connsiteY5" fmla="*/ 159639 h 323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3938">
                <a:moveTo>
                  <a:pt x="135168" y="323939"/>
                </a:moveTo>
                <a:lnTo>
                  <a:pt x="0" y="323939"/>
                </a:lnTo>
                <a:lnTo>
                  <a:pt x="158473" y="163135"/>
                </a:lnTo>
                <a:lnTo>
                  <a:pt x="0" y="0"/>
                </a:lnTo>
                <a:lnTo>
                  <a:pt x="138664" y="0"/>
                </a:lnTo>
                <a:lnTo>
                  <a:pt x="297138" y="159639"/>
                </a:lnTo>
                <a:close/>
              </a:path>
            </a:pathLst>
          </a:custGeom>
          <a:solidFill>
            <a:srgbClr val="EEF2F5"/>
          </a:solidFill>
          <a:ln w="11643" cap="flat">
            <a:noFill/>
            <a:prstDash val="solid"/>
            <a:miter/>
          </a:ln>
        </p:spPr>
        <p:txBody>
          <a:bodyPr rtlCol="0" anchor="ctr"/>
          <a:lstStyle/>
          <a:p>
            <a:pPr rtl="0"/>
            <a:endParaRPr lang="en-US"/>
          </a:p>
        </p:txBody>
      </p:sp>
      <p:sp>
        <p:nvSpPr>
          <p:cNvPr id="87" name="Freihandform: Form 86">
            <a:extLst>
              <a:ext uri="{FF2B5EF4-FFF2-40B4-BE49-F238E27FC236}">
                <a16:creationId xmlns:a16="http://schemas.microsoft.com/office/drawing/2014/main" id="{6027B9E1-4632-4B82-9FA3-1E60661DE0B8}"/>
              </a:ext>
            </a:extLst>
          </p:cNvPr>
          <p:cNvSpPr/>
          <p:nvPr/>
        </p:nvSpPr>
        <p:spPr>
          <a:xfrm>
            <a:off x="10801860" y="3368081"/>
            <a:ext cx="297138" cy="322773"/>
          </a:xfrm>
          <a:custGeom>
            <a:avLst/>
            <a:gdLst>
              <a:gd name="connsiteX0" fmla="*/ 135168 w 297138"/>
              <a:gd name="connsiteY0" fmla="*/ 322774 h 322773"/>
              <a:gd name="connsiteX1" fmla="*/ 0 w 297138"/>
              <a:gd name="connsiteY1" fmla="*/ 322774 h 322773"/>
              <a:gd name="connsiteX2" fmla="*/ 158473 w 297138"/>
              <a:gd name="connsiteY2" fmla="*/ 163135 h 322773"/>
              <a:gd name="connsiteX3" fmla="*/ 0 w 297138"/>
              <a:gd name="connsiteY3" fmla="*/ 0 h 322773"/>
              <a:gd name="connsiteX4" fmla="*/ 138664 w 297138"/>
              <a:gd name="connsiteY4" fmla="*/ 0 h 322773"/>
              <a:gd name="connsiteX5" fmla="*/ 297138 w 297138"/>
              <a:gd name="connsiteY5" fmla="*/ 158474 h 322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2773">
                <a:moveTo>
                  <a:pt x="135168" y="322774"/>
                </a:moveTo>
                <a:lnTo>
                  <a:pt x="0" y="322774"/>
                </a:lnTo>
                <a:lnTo>
                  <a:pt x="158473" y="163135"/>
                </a:lnTo>
                <a:lnTo>
                  <a:pt x="0" y="0"/>
                </a:lnTo>
                <a:lnTo>
                  <a:pt x="138664" y="0"/>
                </a:lnTo>
                <a:lnTo>
                  <a:pt x="297138" y="158474"/>
                </a:lnTo>
                <a:close/>
              </a:path>
            </a:pathLst>
          </a:custGeom>
          <a:solidFill>
            <a:srgbClr val="EEF2F5"/>
          </a:solidFill>
          <a:ln w="11643" cap="flat">
            <a:noFill/>
            <a:prstDash val="solid"/>
            <a:miter/>
          </a:ln>
        </p:spPr>
        <p:txBody>
          <a:bodyPr rtlCol="0" anchor="ctr"/>
          <a:lstStyle/>
          <a:p>
            <a:pPr rtl="0"/>
            <a:endParaRPr lang="en-US"/>
          </a:p>
        </p:txBody>
      </p:sp>
      <p:sp>
        <p:nvSpPr>
          <p:cNvPr id="103" name="Freihandform: Form 102">
            <a:extLst>
              <a:ext uri="{FF2B5EF4-FFF2-40B4-BE49-F238E27FC236}">
                <a16:creationId xmlns:a16="http://schemas.microsoft.com/office/drawing/2014/main" id="{A133033E-1247-4F36-9A54-C51B13CBD1CE}"/>
              </a:ext>
            </a:extLst>
          </p:cNvPr>
          <p:cNvSpPr/>
          <p:nvPr/>
        </p:nvSpPr>
        <p:spPr>
          <a:xfrm>
            <a:off x="10801860" y="3722316"/>
            <a:ext cx="297138" cy="323938"/>
          </a:xfrm>
          <a:custGeom>
            <a:avLst/>
            <a:gdLst>
              <a:gd name="connsiteX0" fmla="*/ 135168 w 297138"/>
              <a:gd name="connsiteY0" fmla="*/ 323939 h 323938"/>
              <a:gd name="connsiteX1" fmla="*/ 0 w 297138"/>
              <a:gd name="connsiteY1" fmla="*/ 323939 h 323938"/>
              <a:gd name="connsiteX2" fmla="*/ 158473 w 297138"/>
              <a:gd name="connsiteY2" fmla="*/ 163135 h 323938"/>
              <a:gd name="connsiteX3" fmla="*/ 0 w 297138"/>
              <a:gd name="connsiteY3" fmla="*/ 0 h 323938"/>
              <a:gd name="connsiteX4" fmla="*/ 138664 w 297138"/>
              <a:gd name="connsiteY4" fmla="*/ 0 h 323938"/>
              <a:gd name="connsiteX5" fmla="*/ 297138 w 297138"/>
              <a:gd name="connsiteY5" fmla="*/ 159639 h 323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3938">
                <a:moveTo>
                  <a:pt x="135168" y="323939"/>
                </a:moveTo>
                <a:lnTo>
                  <a:pt x="0" y="323939"/>
                </a:lnTo>
                <a:lnTo>
                  <a:pt x="158473" y="163135"/>
                </a:lnTo>
                <a:lnTo>
                  <a:pt x="0" y="0"/>
                </a:lnTo>
                <a:lnTo>
                  <a:pt x="138664" y="0"/>
                </a:lnTo>
                <a:lnTo>
                  <a:pt x="297138" y="159639"/>
                </a:lnTo>
                <a:close/>
              </a:path>
            </a:pathLst>
          </a:custGeom>
          <a:solidFill>
            <a:srgbClr val="EEF2F5"/>
          </a:solidFill>
          <a:ln w="11643" cap="flat">
            <a:noFill/>
            <a:prstDash val="solid"/>
            <a:miter/>
          </a:ln>
        </p:spPr>
        <p:txBody>
          <a:bodyPr rtlCol="0" anchor="ctr"/>
          <a:lstStyle/>
          <a:p>
            <a:pPr rtl="0"/>
            <a:endParaRPr lang="en-US"/>
          </a:p>
        </p:txBody>
      </p:sp>
      <p:sp>
        <p:nvSpPr>
          <p:cNvPr id="119" name="Freihandform: Form 118">
            <a:extLst>
              <a:ext uri="{FF2B5EF4-FFF2-40B4-BE49-F238E27FC236}">
                <a16:creationId xmlns:a16="http://schemas.microsoft.com/office/drawing/2014/main" id="{48E055C3-701A-4F5A-8DFA-C4FA735748CE}"/>
              </a:ext>
            </a:extLst>
          </p:cNvPr>
          <p:cNvSpPr/>
          <p:nvPr/>
        </p:nvSpPr>
        <p:spPr>
          <a:xfrm>
            <a:off x="10801860" y="4077717"/>
            <a:ext cx="297138" cy="322773"/>
          </a:xfrm>
          <a:custGeom>
            <a:avLst/>
            <a:gdLst>
              <a:gd name="connsiteX0" fmla="*/ 135168 w 297138"/>
              <a:gd name="connsiteY0" fmla="*/ 322774 h 322773"/>
              <a:gd name="connsiteX1" fmla="*/ 0 w 297138"/>
              <a:gd name="connsiteY1" fmla="*/ 322774 h 322773"/>
              <a:gd name="connsiteX2" fmla="*/ 158473 w 297138"/>
              <a:gd name="connsiteY2" fmla="*/ 163135 h 322773"/>
              <a:gd name="connsiteX3" fmla="*/ 0 w 297138"/>
              <a:gd name="connsiteY3" fmla="*/ 0 h 322773"/>
              <a:gd name="connsiteX4" fmla="*/ 138664 w 297138"/>
              <a:gd name="connsiteY4" fmla="*/ 0 h 322773"/>
              <a:gd name="connsiteX5" fmla="*/ 297138 w 297138"/>
              <a:gd name="connsiteY5" fmla="*/ 158474 h 322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2773">
                <a:moveTo>
                  <a:pt x="135168" y="322774"/>
                </a:moveTo>
                <a:lnTo>
                  <a:pt x="0" y="322774"/>
                </a:lnTo>
                <a:lnTo>
                  <a:pt x="158473" y="163135"/>
                </a:lnTo>
                <a:lnTo>
                  <a:pt x="0" y="0"/>
                </a:lnTo>
                <a:lnTo>
                  <a:pt x="138664" y="0"/>
                </a:lnTo>
                <a:lnTo>
                  <a:pt x="297138" y="158474"/>
                </a:lnTo>
                <a:close/>
              </a:path>
            </a:pathLst>
          </a:custGeom>
          <a:solidFill>
            <a:srgbClr val="EEF2F5"/>
          </a:solidFill>
          <a:ln w="11643" cap="flat">
            <a:noFill/>
            <a:prstDash val="solid"/>
            <a:miter/>
          </a:ln>
        </p:spPr>
        <p:txBody>
          <a:bodyPr rtlCol="0" anchor="ctr"/>
          <a:lstStyle/>
          <a:p>
            <a:pPr rtl="0"/>
            <a:endParaRPr lang="en-US"/>
          </a:p>
        </p:txBody>
      </p:sp>
      <p:sp>
        <p:nvSpPr>
          <p:cNvPr id="135" name="Freihandform: Form 134">
            <a:extLst>
              <a:ext uri="{FF2B5EF4-FFF2-40B4-BE49-F238E27FC236}">
                <a16:creationId xmlns:a16="http://schemas.microsoft.com/office/drawing/2014/main" id="{BCADBC01-33BC-4B7C-9DB7-FA73F490E349}"/>
              </a:ext>
            </a:extLst>
          </p:cNvPr>
          <p:cNvSpPr/>
          <p:nvPr/>
        </p:nvSpPr>
        <p:spPr>
          <a:xfrm>
            <a:off x="10801860" y="4431952"/>
            <a:ext cx="297138" cy="323938"/>
          </a:xfrm>
          <a:custGeom>
            <a:avLst/>
            <a:gdLst>
              <a:gd name="connsiteX0" fmla="*/ 135168 w 297138"/>
              <a:gd name="connsiteY0" fmla="*/ 323939 h 323938"/>
              <a:gd name="connsiteX1" fmla="*/ 0 w 297138"/>
              <a:gd name="connsiteY1" fmla="*/ 323939 h 323938"/>
              <a:gd name="connsiteX2" fmla="*/ 158473 w 297138"/>
              <a:gd name="connsiteY2" fmla="*/ 163135 h 323938"/>
              <a:gd name="connsiteX3" fmla="*/ 0 w 297138"/>
              <a:gd name="connsiteY3" fmla="*/ 0 h 323938"/>
              <a:gd name="connsiteX4" fmla="*/ 138664 w 297138"/>
              <a:gd name="connsiteY4" fmla="*/ 0 h 323938"/>
              <a:gd name="connsiteX5" fmla="*/ 297138 w 297138"/>
              <a:gd name="connsiteY5" fmla="*/ 159639 h 323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3938">
                <a:moveTo>
                  <a:pt x="135168" y="323939"/>
                </a:moveTo>
                <a:lnTo>
                  <a:pt x="0" y="323939"/>
                </a:lnTo>
                <a:lnTo>
                  <a:pt x="158473" y="163135"/>
                </a:lnTo>
                <a:lnTo>
                  <a:pt x="0" y="0"/>
                </a:lnTo>
                <a:lnTo>
                  <a:pt x="138664" y="0"/>
                </a:lnTo>
                <a:lnTo>
                  <a:pt x="297138" y="159639"/>
                </a:lnTo>
                <a:close/>
              </a:path>
            </a:pathLst>
          </a:custGeom>
          <a:solidFill>
            <a:srgbClr val="EEF2F5"/>
          </a:solidFill>
          <a:ln w="11643" cap="flat">
            <a:noFill/>
            <a:prstDash val="solid"/>
            <a:miter/>
          </a:ln>
        </p:spPr>
        <p:txBody>
          <a:bodyPr rtlCol="0" anchor="ctr"/>
          <a:lstStyle/>
          <a:p>
            <a:pPr rtl="0"/>
            <a:endParaRPr lang="en-US"/>
          </a:p>
        </p:txBody>
      </p:sp>
      <p:sp>
        <p:nvSpPr>
          <p:cNvPr id="152" name="Freihandform: Form 151">
            <a:extLst>
              <a:ext uri="{FF2B5EF4-FFF2-40B4-BE49-F238E27FC236}">
                <a16:creationId xmlns:a16="http://schemas.microsoft.com/office/drawing/2014/main" id="{5F12261A-EADD-41CA-AC37-DF4EAA94F5DA}"/>
              </a:ext>
            </a:extLst>
          </p:cNvPr>
          <p:cNvSpPr/>
          <p:nvPr/>
        </p:nvSpPr>
        <p:spPr>
          <a:xfrm>
            <a:off x="10801860" y="4787353"/>
            <a:ext cx="297138" cy="322773"/>
          </a:xfrm>
          <a:custGeom>
            <a:avLst/>
            <a:gdLst>
              <a:gd name="connsiteX0" fmla="*/ 135168 w 297138"/>
              <a:gd name="connsiteY0" fmla="*/ 322774 h 322773"/>
              <a:gd name="connsiteX1" fmla="*/ 0 w 297138"/>
              <a:gd name="connsiteY1" fmla="*/ 322774 h 322773"/>
              <a:gd name="connsiteX2" fmla="*/ 158473 w 297138"/>
              <a:gd name="connsiteY2" fmla="*/ 163135 h 322773"/>
              <a:gd name="connsiteX3" fmla="*/ 0 w 297138"/>
              <a:gd name="connsiteY3" fmla="*/ 0 h 322773"/>
              <a:gd name="connsiteX4" fmla="*/ 138664 w 297138"/>
              <a:gd name="connsiteY4" fmla="*/ 0 h 322773"/>
              <a:gd name="connsiteX5" fmla="*/ 297138 w 297138"/>
              <a:gd name="connsiteY5" fmla="*/ 158474 h 322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2773">
                <a:moveTo>
                  <a:pt x="135168" y="322774"/>
                </a:moveTo>
                <a:lnTo>
                  <a:pt x="0" y="322774"/>
                </a:lnTo>
                <a:lnTo>
                  <a:pt x="158473" y="163135"/>
                </a:lnTo>
                <a:lnTo>
                  <a:pt x="0" y="0"/>
                </a:lnTo>
                <a:lnTo>
                  <a:pt x="138664" y="0"/>
                </a:lnTo>
                <a:lnTo>
                  <a:pt x="297138" y="158474"/>
                </a:lnTo>
                <a:close/>
              </a:path>
            </a:pathLst>
          </a:custGeom>
          <a:solidFill>
            <a:srgbClr val="EEF2F5"/>
          </a:solidFill>
          <a:ln w="11643" cap="flat">
            <a:noFill/>
            <a:prstDash val="solid"/>
            <a:miter/>
          </a:ln>
        </p:spPr>
        <p:txBody>
          <a:bodyPr rtlCol="0" anchor="ctr"/>
          <a:lstStyle/>
          <a:p>
            <a:pPr rtl="0"/>
            <a:endParaRPr lang="en-US"/>
          </a:p>
        </p:txBody>
      </p:sp>
      <p:sp>
        <p:nvSpPr>
          <p:cNvPr id="169" name="Freihandform: Form 168">
            <a:extLst>
              <a:ext uri="{FF2B5EF4-FFF2-40B4-BE49-F238E27FC236}">
                <a16:creationId xmlns:a16="http://schemas.microsoft.com/office/drawing/2014/main" id="{2684278A-133A-44B1-BD42-3154900841C6}"/>
              </a:ext>
            </a:extLst>
          </p:cNvPr>
          <p:cNvSpPr/>
          <p:nvPr/>
        </p:nvSpPr>
        <p:spPr>
          <a:xfrm>
            <a:off x="10801860" y="5141588"/>
            <a:ext cx="297138" cy="323938"/>
          </a:xfrm>
          <a:custGeom>
            <a:avLst/>
            <a:gdLst>
              <a:gd name="connsiteX0" fmla="*/ 135168 w 297138"/>
              <a:gd name="connsiteY0" fmla="*/ 323939 h 323938"/>
              <a:gd name="connsiteX1" fmla="*/ 0 w 297138"/>
              <a:gd name="connsiteY1" fmla="*/ 323939 h 323938"/>
              <a:gd name="connsiteX2" fmla="*/ 158473 w 297138"/>
              <a:gd name="connsiteY2" fmla="*/ 163135 h 323938"/>
              <a:gd name="connsiteX3" fmla="*/ 0 w 297138"/>
              <a:gd name="connsiteY3" fmla="*/ 0 h 323938"/>
              <a:gd name="connsiteX4" fmla="*/ 138664 w 297138"/>
              <a:gd name="connsiteY4" fmla="*/ 0 h 323938"/>
              <a:gd name="connsiteX5" fmla="*/ 297138 w 297138"/>
              <a:gd name="connsiteY5" fmla="*/ 159639 h 323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3938">
                <a:moveTo>
                  <a:pt x="135168" y="323939"/>
                </a:moveTo>
                <a:lnTo>
                  <a:pt x="0" y="323939"/>
                </a:lnTo>
                <a:lnTo>
                  <a:pt x="158473" y="163135"/>
                </a:lnTo>
                <a:lnTo>
                  <a:pt x="0" y="0"/>
                </a:lnTo>
                <a:lnTo>
                  <a:pt x="138664" y="0"/>
                </a:lnTo>
                <a:lnTo>
                  <a:pt x="297138" y="159639"/>
                </a:lnTo>
                <a:close/>
              </a:path>
            </a:pathLst>
          </a:custGeom>
          <a:solidFill>
            <a:srgbClr val="EEF2F5"/>
          </a:solidFill>
          <a:ln w="11643" cap="flat">
            <a:noFill/>
            <a:prstDash val="solid"/>
            <a:miter/>
          </a:ln>
        </p:spPr>
        <p:txBody>
          <a:bodyPr rtlCol="0" anchor="ctr"/>
          <a:lstStyle/>
          <a:p>
            <a:pPr rtl="0"/>
            <a:endParaRPr lang="en-US"/>
          </a:p>
        </p:txBody>
      </p:sp>
      <p:sp>
        <p:nvSpPr>
          <p:cNvPr id="186" name="Freihandform: Form 185">
            <a:extLst>
              <a:ext uri="{FF2B5EF4-FFF2-40B4-BE49-F238E27FC236}">
                <a16:creationId xmlns:a16="http://schemas.microsoft.com/office/drawing/2014/main" id="{51341657-6CDA-48E4-A038-7E086040DA70}"/>
              </a:ext>
            </a:extLst>
          </p:cNvPr>
          <p:cNvSpPr/>
          <p:nvPr/>
        </p:nvSpPr>
        <p:spPr>
          <a:xfrm>
            <a:off x="10801860" y="5496989"/>
            <a:ext cx="297138" cy="322773"/>
          </a:xfrm>
          <a:custGeom>
            <a:avLst/>
            <a:gdLst>
              <a:gd name="connsiteX0" fmla="*/ 135168 w 297138"/>
              <a:gd name="connsiteY0" fmla="*/ 322773 h 322773"/>
              <a:gd name="connsiteX1" fmla="*/ 0 w 297138"/>
              <a:gd name="connsiteY1" fmla="*/ 322773 h 322773"/>
              <a:gd name="connsiteX2" fmla="*/ 158473 w 297138"/>
              <a:gd name="connsiteY2" fmla="*/ 163135 h 322773"/>
              <a:gd name="connsiteX3" fmla="*/ 0 w 297138"/>
              <a:gd name="connsiteY3" fmla="*/ 0 h 322773"/>
              <a:gd name="connsiteX4" fmla="*/ 138664 w 297138"/>
              <a:gd name="connsiteY4" fmla="*/ 0 h 322773"/>
              <a:gd name="connsiteX5" fmla="*/ 297138 w 297138"/>
              <a:gd name="connsiteY5" fmla="*/ 158473 h 322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2773">
                <a:moveTo>
                  <a:pt x="135168" y="322773"/>
                </a:moveTo>
                <a:lnTo>
                  <a:pt x="0" y="322773"/>
                </a:lnTo>
                <a:lnTo>
                  <a:pt x="158473" y="163135"/>
                </a:lnTo>
                <a:lnTo>
                  <a:pt x="0" y="0"/>
                </a:lnTo>
                <a:lnTo>
                  <a:pt x="138664" y="0"/>
                </a:lnTo>
                <a:lnTo>
                  <a:pt x="297138" y="158473"/>
                </a:lnTo>
                <a:close/>
              </a:path>
            </a:pathLst>
          </a:custGeom>
          <a:solidFill>
            <a:srgbClr val="EEF2F5"/>
          </a:solidFill>
          <a:ln w="11643" cap="flat">
            <a:noFill/>
            <a:prstDash val="solid"/>
            <a:miter/>
          </a:ln>
        </p:spPr>
        <p:txBody>
          <a:bodyPr rtlCol="0" anchor="ctr"/>
          <a:lstStyle/>
          <a:p>
            <a:pPr rtl="0"/>
            <a:endParaRPr lang="en-US"/>
          </a:p>
        </p:txBody>
      </p:sp>
      <p:sp>
        <p:nvSpPr>
          <p:cNvPr id="54" name="Freihandform: Form 53">
            <a:extLst>
              <a:ext uri="{FF2B5EF4-FFF2-40B4-BE49-F238E27FC236}">
                <a16:creationId xmlns:a16="http://schemas.microsoft.com/office/drawing/2014/main" id="{7C58B8B7-C0D0-45C0-A524-368D9D8EC1A1}"/>
              </a:ext>
            </a:extLst>
          </p:cNvPr>
          <p:cNvSpPr/>
          <p:nvPr/>
        </p:nvSpPr>
        <p:spPr>
          <a:xfrm>
            <a:off x="10454616" y="2667767"/>
            <a:ext cx="280824" cy="304129"/>
          </a:xfrm>
          <a:custGeom>
            <a:avLst/>
            <a:gdLst>
              <a:gd name="connsiteX0" fmla="*/ 129343 w 280824"/>
              <a:gd name="connsiteY0" fmla="*/ 304130 h 304129"/>
              <a:gd name="connsiteX1" fmla="*/ 0 w 280824"/>
              <a:gd name="connsiteY1" fmla="*/ 304130 h 304129"/>
              <a:gd name="connsiteX2" fmla="*/ 150317 w 280824"/>
              <a:gd name="connsiteY2" fmla="*/ 153813 h 304129"/>
              <a:gd name="connsiteX3" fmla="*/ 0 w 280824"/>
              <a:gd name="connsiteY3" fmla="*/ 0 h 304129"/>
              <a:gd name="connsiteX4" fmla="*/ 131673 w 280824"/>
              <a:gd name="connsiteY4" fmla="*/ 0 h 304129"/>
              <a:gd name="connsiteX5" fmla="*/ 280825 w 280824"/>
              <a:gd name="connsiteY5" fmla="*/ 149152 h 304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4129">
                <a:moveTo>
                  <a:pt x="129343" y="304130"/>
                </a:moveTo>
                <a:lnTo>
                  <a:pt x="0" y="304130"/>
                </a:lnTo>
                <a:lnTo>
                  <a:pt x="150317" y="153813"/>
                </a:lnTo>
                <a:lnTo>
                  <a:pt x="0" y="0"/>
                </a:lnTo>
                <a:lnTo>
                  <a:pt x="131673" y="0"/>
                </a:lnTo>
                <a:lnTo>
                  <a:pt x="280825" y="149152"/>
                </a:lnTo>
                <a:close/>
              </a:path>
            </a:pathLst>
          </a:custGeom>
          <a:solidFill>
            <a:srgbClr val="EEF2F5"/>
          </a:solidFill>
          <a:ln w="11643" cap="flat">
            <a:noFill/>
            <a:prstDash val="solid"/>
            <a:miter/>
          </a:ln>
        </p:spPr>
        <p:txBody>
          <a:bodyPr rtlCol="0" anchor="ctr"/>
          <a:lstStyle/>
          <a:p>
            <a:pPr rtl="0"/>
            <a:endParaRPr lang="en-US"/>
          </a:p>
        </p:txBody>
      </p:sp>
      <p:sp>
        <p:nvSpPr>
          <p:cNvPr id="70" name="Freihandform: Form 69">
            <a:extLst>
              <a:ext uri="{FF2B5EF4-FFF2-40B4-BE49-F238E27FC236}">
                <a16:creationId xmlns:a16="http://schemas.microsoft.com/office/drawing/2014/main" id="{B108D00B-F584-45AE-88D7-637B206C908C}"/>
              </a:ext>
            </a:extLst>
          </p:cNvPr>
          <p:cNvSpPr/>
          <p:nvPr/>
        </p:nvSpPr>
        <p:spPr>
          <a:xfrm>
            <a:off x="10454616" y="3022002"/>
            <a:ext cx="280824" cy="305294"/>
          </a:xfrm>
          <a:custGeom>
            <a:avLst/>
            <a:gdLst>
              <a:gd name="connsiteX0" fmla="*/ 129343 w 280824"/>
              <a:gd name="connsiteY0" fmla="*/ 305295 h 305294"/>
              <a:gd name="connsiteX1" fmla="*/ 0 w 280824"/>
              <a:gd name="connsiteY1" fmla="*/ 305295 h 305294"/>
              <a:gd name="connsiteX2" fmla="*/ 150317 w 280824"/>
              <a:gd name="connsiteY2" fmla="*/ 153813 h 305294"/>
              <a:gd name="connsiteX3" fmla="*/ 0 w 280824"/>
              <a:gd name="connsiteY3" fmla="*/ 0 h 305294"/>
              <a:gd name="connsiteX4" fmla="*/ 131673 w 280824"/>
              <a:gd name="connsiteY4" fmla="*/ 0 h 305294"/>
              <a:gd name="connsiteX5" fmla="*/ 280825 w 280824"/>
              <a:gd name="connsiteY5" fmla="*/ 150317 h 305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5294">
                <a:moveTo>
                  <a:pt x="129343" y="305295"/>
                </a:moveTo>
                <a:lnTo>
                  <a:pt x="0" y="305295"/>
                </a:lnTo>
                <a:lnTo>
                  <a:pt x="150317" y="153813"/>
                </a:lnTo>
                <a:lnTo>
                  <a:pt x="0" y="0"/>
                </a:lnTo>
                <a:lnTo>
                  <a:pt x="131673" y="0"/>
                </a:lnTo>
                <a:lnTo>
                  <a:pt x="280825" y="150317"/>
                </a:lnTo>
                <a:close/>
              </a:path>
            </a:pathLst>
          </a:custGeom>
          <a:solidFill>
            <a:srgbClr val="EEF2F5"/>
          </a:solidFill>
          <a:ln w="11643" cap="flat">
            <a:noFill/>
            <a:prstDash val="solid"/>
            <a:miter/>
          </a:ln>
        </p:spPr>
        <p:txBody>
          <a:bodyPr rtlCol="0" anchor="ctr"/>
          <a:lstStyle/>
          <a:p>
            <a:pPr rtl="0"/>
            <a:endParaRPr lang="en-US"/>
          </a:p>
        </p:txBody>
      </p:sp>
      <p:sp>
        <p:nvSpPr>
          <p:cNvPr id="86" name="Freihandform: Form 85">
            <a:extLst>
              <a:ext uri="{FF2B5EF4-FFF2-40B4-BE49-F238E27FC236}">
                <a16:creationId xmlns:a16="http://schemas.microsoft.com/office/drawing/2014/main" id="{63D6ECD9-E964-4D15-AC74-F1865C75FC49}"/>
              </a:ext>
            </a:extLst>
          </p:cNvPr>
          <p:cNvSpPr/>
          <p:nvPr/>
        </p:nvSpPr>
        <p:spPr>
          <a:xfrm>
            <a:off x="10454616" y="3377403"/>
            <a:ext cx="280824" cy="304129"/>
          </a:xfrm>
          <a:custGeom>
            <a:avLst/>
            <a:gdLst>
              <a:gd name="connsiteX0" fmla="*/ 129343 w 280824"/>
              <a:gd name="connsiteY0" fmla="*/ 304130 h 304129"/>
              <a:gd name="connsiteX1" fmla="*/ 0 w 280824"/>
              <a:gd name="connsiteY1" fmla="*/ 304130 h 304129"/>
              <a:gd name="connsiteX2" fmla="*/ 150317 w 280824"/>
              <a:gd name="connsiteY2" fmla="*/ 153813 h 304129"/>
              <a:gd name="connsiteX3" fmla="*/ 0 w 280824"/>
              <a:gd name="connsiteY3" fmla="*/ 0 h 304129"/>
              <a:gd name="connsiteX4" fmla="*/ 131673 w 280824"/>
              <a:gd name="connsiteY4" fmla="*/ 0 h 304129"/>
              <a:gd name="connsiteX5" fmla="*/ 280825 w 280824"/>
              <a:gd name="connsiteY5" fmla="*/ 149152 h 304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4129">
                <a:moveTo>
                  <a:pt x="129343" y="304130"/>
                </a:moveTo>
                <a:lnTo>
                  <a:pt x="0" y="304130"/>
                </a:lnTo>
                <a:lnTo>
                  <a:pt x="150317" y="153813"/>
                </a:lnTo>
                <a:lnTo>
                  <a:pt x="0" y="0"/>
                </a:lnTo>
                <a:lnTo>
                  <a:pt x="131673" y="0"/>
                </a:lnTo>
                <a:lnTo>
                  <a:pt x="280825" y="149152"/>
                </a:lnTo>
                <a:close/>
              </a:path>
            </a:pathLst>
          </a:custGeom>
          <a:solidFill>
            <a:srgbClr val="EEF2F5"/>
          </a:solidFill>
          <a:ln w="11643" cap="flat">
            <a:noFill/>
            <a:prstDash val="solid"/>
            <a:miter/>
          </a:ln>
        </p:spPr>
        <p:txBody>
          <a:bodyPr rtlCol="0" anchor="ctr"/>
          <a:lstStyle/>
          <a:p>
            <a:pPr rtl="0"/>
            <a:endParaRPr lang="en-US"/>
          </a:p>
        </p:txBody>
      </p:sp>
      <p:sp>
        <p:nvSpPr>
          <p:cNvPr id="102" name="Freihandform: Form 101">
            <a:extLst>
              <a:ext uri="{FF2B5EF4-FFF2-40B4-BE49-F238E27FC236}">
                <a16:creationId xmlns:a16="http://schemas.microsoft.com/office/drawing/2014/main" id="{1A517635-BE85-4E6F-8720-FFD3AE9C8A9E}"/>
              </a:ext>
            </a:extLst>
          </p:cNvPr>
          <p:cNvSpPr/>
          <p:nvPr/>
        </p:nvSpPr>
        <p:spPr>
          <a:xfrm>
            <a:off x="10454616" y="3731638"/>
            <a:ext cx="280824" cy="305294"/>
          </a:xfrm>
          <a:custGeom>
            <a:avLst/>
            <a:gdLst>
              <a:gd name="connsiteX0" fmla="*/ 129343 w 280824"/>
              <a:gd name="connsiteY0" fmla="*/ 305295 h 305294"/>
              <a:gd name="connsiteX1" fmla="*/ 0 w 280824"/>
              <a:gd name="connsiteY1" fmla="*/ 305295 h 305294"/>
              <a:gd name="connsiteX2" fmla="*/ 150317 w 280824"/>
              <a:gd name="connsiteY2" fmla="*/ 153813 h 305294"/>
              <a:gd name="connsiteX3" fmla="*/ 0 w 280824"/>
              <a:gd name="connsiteY3" fmla="*/ 0 h 305294"/>
              <a:gd name="connsiteX4" fmla="*/ 131673 w 280824"/>
              <a:gd name="connsiteY4" fmla="*/ 0 h 305294"/>
              <a:gd name="connsiteX5" fmla="*/ 280825 w 280824"/>
              <a:gd name="connsiteY5" fmla="*/ 150317 h 305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5294">
                <a:moveTo>
                  <a:pt x="129343" y="305295"/>
                </a:moveTo>
                <a:lnTo>
                  <a:pt x="0" y="305295"/>
                </a:lnTo>
                <a:lnTo>
                  <a:pt x="150317" y="153813"/>
                </a:lnTo>
                <a:lnTo>
                  <a:pt x="0" y="0"/>
                </a:lnTo>
                <a:lnTo>
                  <a:pt x="131673" y="0"/>
                </a:lnTo>
                <a:lnTo>
                  <a:pt x="280825" y="150317"/>
                </a:lnTo>
                <a:close/>
              </a:path>
            </a:pathLst>
          </a:custGeom>
          <a:solidFill>
            <a:srgbClr val="EEF2F5"/>
          </a:solidFill>
          <a:ln w="11643" cap="flat">
            <a:noFill/>
            <a:prstDash val="solid"/>
            <a:miter/>
          </a:ln>
        </p:spPr>
        <p:txBody>
          <a:bodyPr rtlCol="0" anchor="ctr"/>
          <a:lstStyle/>
          <a:p>
            <a:pPr rtl="0"/>
            <a:endParaRPr lang="en-US"/>
          </a:p>
        </p:txBody>
      </p:sp>
      <p:sp>
        <p:nvSpPr>
          <p:cNvPr id="118" name="Freihandform: Form 117">
            <a:extLst>
              <a:ext uri="{FF2B5EF4-FFF2-40B4-BE49-F238E27FC236}">
                <a16:creationId xmlns:a16="http://schemas.microsoft.com/office/drawing/2014/main" id="{107FD09D-7EF2-4E43-8333-1BB41EE81E8C}"/>
              </a:ext>
            </a:extLst>
          </p:cNvPr>
          <p:cNvSpPr/>
          <p:nvPr/>
        </p:nvSpPr>
        <p:spPr>
          <a:xfrm>
            <a:off x="10454616" y="4087039"/>
            <a:ext cx="280824" cy="304129"/>
          </a:xfrm>
          <a:custGeom>
            <a:avLst/>
            <a:gdLst>
              <a:gd name="connsiteX0" fmla="*/ 129343 w 280824"/>
              <a:gd name="connsiteY0" fmla="*/ 304130 h 304129"/>
              <a:gd name="connsiteX1" fmla="*/ 0 w 280824"/>
              <a:gd name="connsiteY1" fmla="*/ 304130 h 304129"/>
              <a:gd name="connsiteX2" fmla="*/ 150317 w 280824"/>
              <a:gd name="connsiteY2" fmla="*/ 153813 h 304129"/>
              <a:gd name="connsiteX3" fmla="*/ 0 w 280824"/>
              <a:gd name="connsiteY3" fmla="*/ 0 h 304129"/>
              <a:gd name="connsiteX4" fmla="*/ 131673 w 280824"/>
              <a:gd name="connsiteY4" fmla="*/ 0 h 304129"/>
              <a:gd name="connsiteX5" fmla="*/ 280825 w 280824"/>
              <a:gd name="connsiteY5" fmla="*/ 149152 h 304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4129">
                <a:moveTo>
                  <a:pt x="129343" y="304130"/>
                </a:moveTo>
                <a:lnTo>
                  <a:pt x="0" y="304130"/>
                </a:lnTo>
                <a:lnTo>
                  <a:pt x="150317" y="153813"/>
                </a:lnTo>
                <a:lnTo>
                  <a:pt x="0" y="0"/>
                </a:lnTo>
                <a:lnTo>
                  <a:pt x="131673" y="0"/>
                </a:lnTo>
                <a:lnTo>
                  <a:pt x="280825" y="149152"/>
                </a:lnTo>
                <a:close/>
              </a:path>
            </a:pathLst>
          </a:custGeom>
          <a:solidFill>
            <a:srgbClr val="EEF2F5"/>
          </a:solidFill>
          <a:ln w="11643" cap="flat">
            <a:noFill/>
            <a:prstDash val="solid"/>
            <a:miter/>
          </a:ln>
        </p:spPr>
        <p:txBody>
          <a:bodyPr rtlCol="0" anchor="ctr"/>
          <a:lstStyle/>
          <a:p>
            <a:pPr rtl="0"/>
            <a:endParaRPr lang="en-US"/>
          </a:p>
        </p:txBody>
      </p:sp>
      <p:sp>
        <p:nvSpPr>
          <p:cNvPr id="134" name="Freihandform: Form 133">
            <a:extLst>
              <a:ext uri="{FF2B5EF4-FFF2-40B4-BE49-F238E27FC236}">
                <a16:creationId xmlns:a16="http://schemas.microsoft.com/office/drawing/2014/main" id="{D630C772-EA61-4CD9-88F3-B5A40C068A2C}"/>
              </a:ext>
            </a:extLst>
          </p:cNvPr>
          <p:cNvSpPr/>
          <p:nvPr/>
        </p:nvSpPr>
        <p:spPr>
          <a:xfrm>
            <a:off x="10454616" y="4441274"/>
            <a:ext cx="280824" cy="305294"/>
          </a:xfrm>
          <a:custGeom>
            <a:avLst/>
            <a:gdLst>
              <a:gd name="connsiteX0" fmla="*/ 129343 w 280824"/>
              <a:gd name="connsiteY0" fmla="*/ 305295 h 305294"/>
              <a:gd name="connsiteX1" fmla="*/ 0 w 280824"/>
              <a:gd name="connsiteY1" fmla="*/ 305295 h 305294"/>
              <a:gd name="connsiteX2" fmla="*/ 150317 w 280824"/>
              <a:gd name="connsiteY2" fmla="*/ 153813 h 305294"/>
              <a:gd name="connsiteX3" fmla="*/ 0 w 280824"/>
              <a:gd name="connsiteY3" fmla="*/ 0 h 305294"/>
              <a:gd name="connsiteX4" fmla="*/ 131673 w 280824"/>
              <a:gd name="connsiteY4" fmla="*/ 0 h 305294"/>
              <a:gd name="connsiteX5" fmla="*/ 280825 w 280824"/>
              <a:gd name="connsiteY5" fmla="*/ 150317 h 305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5294">
                <a:moveTo>
                  <a:pt x="129343" y="305295"/>
                </a:moveTo>
                <a:lnTo>
                  <a:pt x="0" y="305295"/>
                </a:lnTo>
                <a:lnTo>
                  <a:pt x="150317" y="153813"/>
                </a:lnTo>
                <a:lnTo>
                  <a:pt x="0" y="0"/>
                </a:lnTo>
                <a:lnTo>
                  <a:pt x="131673" y="0"/>
                </a:lnTo>
                <a:lnTo>
                  <a:pt x="280825" y="150317"/>
                </a:lnTo>
                <a:close/>
              </a:path>
            </a:pathLst>
          </a:custGeom>
          <a:solidFill>
            <a:srgbClr val="EEF2F5"/>
          </a:solidFill>
          <a:ln w="11643" cap="flat">
            <a:noFill/>
            <a:prstDash val="solid"/>
            <a:miter/>
          </a:ln>
        </p:spPr>
        <p:txBody>
          <a:bodyPr rtlCol="0" anchor="ctr"/>
          <a:lstStyle/>
          <a:p>
            <a:pPr rtl="0"/>
            <a:endParaRPr lang="en-US"/>
          </a:p>
        </p:txBody>
      </p:sp>
      <p:sp>
        <p:nvSpPr>
          <p:cNvPr id="151" name="Freihandform: Form 150">
            <a:extLst>
              <a:ext uri="{FF2B5EF4-FFF2-40B4-BE49-F238E27FC236}">
                <a16:creationId xmlns:a16="http://schemas.microsoft.com/office/drawing/2014/main" id="{B58FDE5A-4CC1-4494-B722-D4785E2E9E92}"/>
              </a:ext>
            </a:extLst>
          </p:cNvPr>
          <p:cNvSpPr/>
          <p:nvPr/>
        </p:nvSpPr>
        <p:spPr>
          <a:xfrm>
            <a:off x="10454616" y="4796675"/>
            <a:ext cx="280824" cy="304129"/>
          </a:xfrm>
          <a:custGeom>
            <a:avLst/>
            <a:gdLst>
              <a:gd name="connsiteX0" fmla="*/ 129343 w 280824"/>
              <a:gd name="connsiteY0" fmla="*/ 304130 h 304129"/>
              <a:gd name="connsiteX1" fmla="*/ 0 w 280824"/>
              <a:gd name="connsiteY1" fmla="*/ 304130 h 304129"/>
              <a:gd name="connsiteX2" fmla="*/ 150317 w 280824"/>
              <a:gd name="connsiteY2" fmla="*/ 153813 h 304129"/>
              <a:gd name="connsiteX3" fmla="*/ 0 w 280824"/>
              <a:gd name="connsiteY3" fmla="*/ 0 h 304129"/>
              <a:gd name="connsiteX4" fmla="*/ 131673 w 280824"/>
              <a:gd name="connsiteY4" fmla="*/ 0 h 304129"/>
              <a:gd name="connsiteX5" fmla="*/ 280825 w 280824"/>
              <a:gd name="connsiteY5" fmla="*/ 149152 h 304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4129">
                <a:moveTo>
                  <a:pt x="129343" y="304130"/>
                </a:moveTo>
                <a:lnTo>
                  <a:pt x="0" y="304130"/>
                </a:lnTo>
                <a:lnTo>
                  <a:pt x="150317" y="153813"/>
                </a:lnTo>
                <a:lnTo>
                  <a:pt x="0" y="0"/>
                </a:lnTo>
                <a:lnTo>
                  <a:pt x="131673" y="0"/>
                </a:lnTo>
                <a:lnTo>
                  <a:pt x="280825" y="149152"/>
                </a:lnTo>
                <a:close/>
              </a:path>
            </a:pathLst>
          </a:custGeom>
          <a:solidFill>
            <a:srgbClr val="EEF2F5"/>
          </a:solidFill>
          <a:ln w="11643" cap="flat">
            <a:noFill/>
            <a:prstDash val="solid"/>
            <a:miter/>
          </a:ln>
        </p:spPr>
        <p:txBody>
          <a:bodyPr rtlCol="0" anchor="ctr"/>
          <a:lstStyle/>
          <a:p>
            <a:pPr rtl="0"/>
            <a:endParaRPr lang="en-US"/>
          </a:p>
        </p:txBody>
      </p:sp>
      <p:sp>
        <p:nvSpPr>
          <p:cNvPr id="168" name="Freihandform: Form 167">
            <a:extLst>
              <a:ext uri="{FF2B5EF4-FFF2-40B4-BE49-F238E27FC236}">
                <a16:creationId xmlns:a16="http://schemas.microsoft.com/office/drawing/2014/main" id="{0AC8C872-76B8-4053-8B0A-1A7AAE0AA7A1}"/>
              </a:ext>
            </a:extLst>
          </p:cNvPr>
          <p:cNvSpPr/>
          <p:nvPr/>
        </p:nvSpPr>
        <p:spPr>
          <a:xfrm>
            <a:off x="10454616" y="5150910"/>
            <a:ext cx="280824" cy="305295"/>
          </a:xfrm>
          <a:custGeom>
            <a:avLst/>
            <a:gdLst>
              <a:gd name="connsiteX0" fmla="*/ 129343 w 280824"/>
              <a:gd name="connsiteY0" fmla="*/ 305295 h 305295"/>
              <a:gd name="connsiteX1" fmla="*/ 0 w 280824"/>
              <a:gd name="connsiteY1" fmla="*/ 305295 h 305295"/>
              <a:gd name="connsiteX2" fmla="*/ 150317 w 280824"/>
              <a:gd name="connsiteY2" fmla="*/ 153813 h 305295"/>
              <a:gd name="connsiteX3" fmla="*/ 0 w 280824"/>
              <a:gd name="connsiteY3" fmla="*/ 0 h 305295"/>
              <a:gd name="connsiteX4" fmla="*/ 131673 w 280824"/>
              <a:gd name="connsiteY4" fmla="*/ 0 h 305295"/>
              <a:gd name="connsiteX5" fmla="*/ 280825 w 280824"/>
              <a:gd name="connsiteY5" fmla="*/ 150317 h 305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5295">
                <a:moveTo>
                  <a:pt x="129343" y="305295"/>
                </a:moveTo>
                <a:lnTo>
                  <a:pt x="0" y="305295"/>
                </a:lnTo>
                <a:lnTo>
                  <a:pt x="150317" y="153813"/>
                </a:lnTo>
                <a:lnTo>
                  <a:pt x="0" y="0"/>
                </a:lnTo>
                <a:lnTo>
                  <a:pt x="131673" y="0"/>
                </a:lnTo>
                <a:lnTo>
                  <a:pt x="280825" y="150317"/>
                </a:lnTo>
                <a:close/>
              </a:path>
            </a:pathLst>
          </a:custGeom>
          <a:solidFill>
            <a:srgbClr val="EEF2F5"/>
          </a:solidFill>
          <a:ln w="11643" cap="flat">
            <a:noFill/>
            <a:prstDash val="solid"/>
            <a:miter/>
          </a:ln>
        </p:spPr>
        <p:txBody>
          <a:bodyPr rtlCol="0" anchor="ctr"/>
          <a:lstStyle/>
          <a:p>
            <a:pPr rtl="0"/>
            <a:endParaRPr lang="en-US"/>
          </a:p>
        </p:txBody>
      </p:sp>
      <p:sp>
        <p:nvSpPr>
          <p:cNvPr id="185" name="Freihandform: Form 184">
            <a:extLst>
              <a:ext uri="{FF2B5EF4-FFF2-40B4-BE49-F238E27FC236}">
                <a16:creationId xmlns:a16="http://schemas.microsoft.com/office/drawing/2014/main" id="{0A1E16EF-F3A1-4575-8F8F-D7FE734A79FD}"/>
              </a:ext>
            </a:extLst>
          </p:cNvPr>
          <p:cNvSpPr/>
          <p:nvPr/>
        </p:nvSpPr>
        <p:spPr>
          <a:xfrm>
            <a:off x="10454616" y="5506311"/>
            <a:ext cx="280824" cy="305295"/>
          </a:xfrm>
          <a:custGeom>
            <a:avLst/>
            <a:gdLst>
              <a:gd name="connsiteX0" fmla="*/ 129343 w 280824"/>
              <a:gd name="connsiteY0" fmla="*/ 305295 h 305295"/>
              <a:gd name="connsiteX1" fmla="*/ 0 w 280824"/>
              <a:gd name="connsiteY1" fmla="*/ 305295 h 305295"/>
              <a:gd name="connsiteX2" fmla="*/ 150317 w 280824"/>
              <a:gd name="connsiteY2" fmla="*/ 153813 h 305295"/>
              <a:gd name="connsiteX3" fmla="*/ 0 w 280824"/>
              <a:gd name="connsiteY3" fmla="*/ 0 h 305295"/>
              <a:gd name="connsiteX4" fmla="*/ 131673 w 280824"/>
              <a:gd name="connsiteY4" fmla="*/ 0 h 305295"/>
              <a:gd name="connsiteX5" fmla="*/ 280825 w 280824"/>
              <a:gd name="connsiteY5" fmla="*/ 149152 h 305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5295">
                <a:moveTo>
                  <a:pt x="129343" y="305295"/>
                </a:moveTo>
                <a:lnTo>
                  <a:pt x="0" y="305295"/>
                </a:lnTo>
                <a:lnTo>
                  <a:pt x="150317" y="153813"/>
                </a:lnTo>
                <a:lnTo>
                  <a:pt x="0" y="0"/>
                </a:lnTo>
                <a:lnTo>
                  <a:pt x="131673" y="0"/>
                </a:lnTo>
                <a:lnTo>
                  <a:pt x="280825" y="149152"/>
                </a:lnTo>
                <a:close/>
              </a:path>
            </a:pathLst>
          </a:custGeom>
          <a:solidFill>
            <a:srgbClr val="EEF2F5"/>
          </a:solidFill>
          <a:ln w="11643" cap="flat">
            <a:noFill/>
            <a:prstDash val="solid"/>
            <a:miter/>
          </a:ln>
        </p:spPr>
        <p:txBody>
          <a:bodyPr rtlCol="0" anchor="ctr"/>
          <a:lstStyle/>
          <a:p>
            <a:pPr rtl="0"/>
            <a:endParaRPr lang="en-US"/>
          </a:p>
        </p:txBody>
      </p:sp>
      <p:sp>
        <p:nvSpPr>
          <p:cNvPr id="202" name="Freihandform: Form 201">
            <a:extLst>
              <a:ext uri="{FF2B5EF4-FFF2-40B4-BE49-F238E27FC236}">
                <a16:creationId xmlns:a16="http://schemas.microsoft.com/office/drawing/2014/main" id="{C2091647-BDE3-4497-8513-4EEAA0FFCE88}"/>
              </a:ext>
            </a:extLst>
          </p:cNvPr>
          <p:cNvSpPr/>
          <p:nvPr/>
        </p:nvSpPr>
        <p:spPr>
          <a:xfrm>
            <a:off x="10454616" y="5860546"/>
            <a:ext cx="280824" cy="305295"/>
          </a:xfrm>
          <a:custGeom>
            <a:avLst/>
            <a:gdLst>
              <a:gd name="connsiteX0" fmla="*/ 129343 w 280824"/>
              <a:gd name="connsiteY0" fmla="*/ 305295 h 305295"/>
              <a:gd name="connsiteX1" fmla="*/ 0 w 280824"/>
              <a:gd name="connsiteY1" fmla="*/ 305295 h 305295"/>
              <a:gd name="connsiteX2" fmla="*/ 150317 w 280824"/>
              <a:gd name="connsiteY2" fmla="*/ 153813 h 305295"/>
              <a:gd name="connsiteX3" fmla="*/ 0 w 280824"/>
              <a:gd name="connsiteY3" fmla="*/ 0 h 305295"/>
              <a:gd name="connsiteX4" fmla="*/ 131673 w 280824"/>
              <a:gd name="connsiteY4" fmla="*/ 0 h 305295"/>
              <a:gd name="connsiteX5" fmla="*/ 280825 w 280824"/>
              <a:gd name="connsiteY5" fmla="*/ 150317 h 305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5295">
                <a:moveTo>
                  <a:pt x="129343" y="305295"/>
                </a:moveTo>
                <a:lnTo>
                  <a:pt x="0" y="305295"/>
                </a:lnTo>
                <a:lnTo>
                  <a:pt x="150317" y="153813"/>
                </a:lnTo>
                <a:lnTo>
                  <a:pt x="0" y="0"/>
                </a:lnTo>
                <a:lnTo>
                  <a:pt x="131673" y="0"/>
                </a:lnTo>
                <a:lnTo>
                  <a:pt x="280825" y="150317"/>
                </a:lnTo>
                <a:close/>
              </a:path>
            </a:pathLst>
          </a:custGeom>
          <a:solidFill>
            <a:srgbClr val="EEF2F5"/>
          </a:solidFill>
          <a:ln w="11643" cap="flat">
            <a:noFill/>
            <a:prstDash val="solid"/>
            <a:miter/>
          </a:ln>
        </p:spPr>
        <p:txBody>
          <a:bodyPr rtlCol="0" anchor="ctr"/>
          <a:lstStyle/>
          <a:p>
            <a:pPr rtl="0"/>
            <a:endParaRPr lang="en-US"/>
          </a:p>
        </p:txBody>
      </p:sp>
      <p:sp>
        <p:nvSpPr>
          <p:cNvPr id="37" name="Freihandform: Form 36">
            <a:extLst>
              <a:ext uri="{FF2B5EF4-FFF2-40B4-BE49-F238E27FC236}">
                <a16:creationId xmlns:a16="http://schemas.microsoft.com/office/drawing/2014/main" id="{0197700D-5496-490A-8DC7-CB8C17414912}"/>
              </a:ext>
            </a:extLst>
          </p:cNvPr>
          <p:cNvSpPr/>
          <p:nvPr/>
        </p:nvSpPr>
        <p:spPr>
          <a:xfrm>
            <a:off x="10108537" y="2321688"/>
            <a:ext cx="264511" cy="286650"/>
          </a:xfrm>
          <a:custGeom>
            <a:avLst/>
            <a:gdLst>
              <a:gd name="connsiteX0" fmla="*/ 121186 w 264511"/>
              <a:gd name="connsiteY0" fmla="*/ 286651 h 286650"/>
              <a:gd name="connsiteX1" fmla="*/ 0 w 264511"/>
              <a:gd name="connsiteY1" fmla="*/ 286651 h 286650"/>
              <a:gd name="connsiteX2" fmla="*/ 140995 w 264511"/>
              <a:gd name="connsiteY2" fmla="*/ 144491 h 286650"/>
              <a:gd name="connsiteX3" fmla="*/ 0 w 264511"/>
              <a:gd name="connsiteY3" fmla="*/ 0 h 286650"/>
              <a:gd name="connsiteX4" fmla="*/ 123516 w 264511"/>
              <a:gd name="connsiteY4" fmla="*/ 0 h 286650"/>
              <a:gd name="connsiteX5" fmla="*/ 264511 w 264511"/>
              <a:gd name="connsiteY5" fmla="*/ 140995 h 28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0">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pPr rtl="0"/>
            <a:endParaRPr lang="en-US"/>
          </a:p>
        </p:txBody>
      </p:sp>
      <p:sp>
        <p:nvSpPr>
          <p:cNvPr id="53" name="Freihandform: Form 52">
            <a:extLst>
              <a:ext uri="{FF2B5EF4-FFF2-40B4-BE49-F238E27FC236}">
                <a16:creationId xmlns:a16="http://schemas.microsoft.com/office/drawing/2014/main" id="{76A9C547-A085-4B5D-B3A0-6461D8694E0B}"/>
              </a:ext>
            </a:extLst>
          </p:cNvPr>
          <p:cNvSpPr/>
          <p:nvPr/>
        </p:nvSpPr>
        <p:spPr>
          <a:xfrm>
            <a:off x="10108537" y="2675924"/>
            <a:ext cx="264511" cy="286650"/>
          </a:xfrm>
          <a:custGeom>
            <a:avLst/>
            <a:gdLst>
              <a:gd name="connsiteX0" fmla="*/ 121186 w 264511"/>
              <a:gd name="connsiteY0" fmla="*/ 286651 h 286650"/>
              <a:gd name="connsiteX1" fmla="*/ 0 w 264511"/>
              <a:gd name="connsiteY1" fmla="*/ 286651 h 286650"/>
              <a:gd name="connsiteX2" fmla="*/ 140995 w 264511"/>
              <a:gd name="connsiteY2" fmla="*/ 144491 h 286650"/>
              <a:gd name="connsiteX3" fmla="*/ 0 w 264511"/>
              <a:gd name="connsiteY3" fmla="*/ 0 h 286650"/>
              <a:gd name="connsiteX4" fmla="*/ 123516 w 264511"/>
              <a:gd name="connsiteY4" fmla="*/ 0 h 286650"/>
              <a:gd name="connsiteX5" fmla="*/ 264511 w 264511"/>
              <a:gd name="connsiteY5" fmla="*/ 140995 h 28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0">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pPr rtl="0"/>
            <a:endParaRPr lang="en-US"/>
          </a:p>
        </p:txBody>
      </p:sp>
      <p:sp>
        <p:nvSpPr>
          <p:cNvPr id="69" name="Freihandform: Form 68">
            <a:extLst>
              <a:ext uri="{FF2B5EF4-FFF2-40B4-BE49-F238E27FC236}">
                <a16:creationId xmlns:a16="http://schemas.microsoft.com/office/drawing/2014/main" id="{60D25080-D9B9-4692-9129-2C6183DC021A}"/>
              </a:ext>
            </a:extLst>
          </p:cNvPr>
          <p:cNvSpPr/>
          <p:nvPr/>
        </p:nvSpPr>
        <p:spPr>
          <a:xfrm>
            <a:off x="10108537" y="3031324"/>
            <a:ext cx="264511" cy="286650"/>
          </a:xfrm>
          <a:custGeom>
            <a:avLst/>
            <a:gdLst>
              <a:gd name="connsiteX0" fmla="*/ 121186 w 264511"/>
              <a:gd name="connsiteY0" fmla="*/ 286651 h 286650"/>
              <a:gd name="connsiteX1" fmla="*/ 0 w 264511"/>
              <a:gd name="connsiteY1" fmla="*/ 286651 h 286650"/>
              <a:gd name="connsiteX2" fmla="*/ 140995 w 264511"/>
              <a:gd name="connsiteY2" fmla="*/ 144491 h 286650"/>
              <a:gd name="connsiteX3" fmla="*/ 0 w 264511"/>
              <a:gd name="connsiteY3" fmla="*/ 0 h 286650"/>
              <a:gd name="connsiteX4" fmla="*/ 123516 w 264511"/>
              <a:gd name="connsiteY4" fmla="*/ 0 h 286650"/>
              <a:gd name="connsiteX5" fmla="*/ 264511 w 264511"/>
              <a:gd name="connsiteY5" fmla="*/ 140995 h 28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0">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pPr rtl="0"/>
            <a:endParaRPr lang="en-US"/>
          </a:p>
        </p:txBody>
      </p:sp>
      <p:sp>
        <p:nvSpPr>
          <p:cNvPr id="85" name="Freihandform: Form 84">
            <a:extLst>
              <a:ext uri="{FF2B5EF4-FFF2-40B4-BE49-F238E27FC236}">
                <a16:creationId xmlns:a16="http://schemas.microsoft.com/office/drawing/2014/main" id="{2A48DA5F-5A65-4484-99B7-06DB28D0E54D}"/>
              </a:ext>
            </a:extLst>
          </p:cNvPr>
          <p:cNvSpPr/>
          <p:nvPr/>
        </p:nvSpPr>
        <p:spPr>
          <a:xfrm>
            <a:off x="10108537" y="3385560"/>
            <a:ext cx="264511" cy="287816"/>
          </a:xfrm>
          <a:custGeom>
            <a:avLst/>
            <a:gdLst>
              <a:gd name="connsiteX0" fmla="*/ 121186 w 264511"/>
              <a:gd name="connsiteY0" fmla="*/ 287816 h 287816"/>
              <a:gd name="connsiteX1" fmla="*/ 0 w 264511"/>
              <a:gd name="connsiteY1" fmla="*/ 287816 h 287816"/>
              <a:gd name="connsiteX2" fmla="*/ 140995 w 264511"/>
              <a:gd name="connsiteY2" fmla="*/ 145656 h 287816"/>
              <a:gd name="connsiteX3" fmla="*/ 0 w 264511"/>
              <a:gd name="connsiteY3" fmla="*/ 0 h 287816"/>
              <a:gd name="connsiteX4" fmla="*/ 123516 w 264511"/>
              <a:gd name="connsiteY4" fmla="*/ 0 h 287816"/>
              <a:gd name="connsiteX5" fmla="*/ 264511 w 264511"/>
              <a:gd name="connsiteY5" fmla="*/ 140995 h 287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7816">
                <a:moveTo>
                  <a:pt x="121186" y="287816"/>
                </a:moveTo>
                <a:lnTo>
                  <a:pt x="0" y="287816"/>
                </a:lnTo>
                <a:lnTo>
                  <a:pt x="140995" y="145656"/>
                </a:lnTo>
                <a:lnTo>
                  <a:pt x="0" y="0"/>
                </a:lnTo>
                <a:lnTo>
                  <a:pt x="123516" y="0"/>
                </a:lnTo>
                <a:lnTo>
                  <a:pt x="264511" y="140995"/>
                </a:lnTo>
                <a:close/>
              </a:path>
            </a:pathLst>
          </a:custGeom>
          <a:solidFill>
            <a:srgbClr val="EEF2F5"/>
          </a:solidFill>
          <a:ln w="11643" cap="flat">
            <a:noFill/>
            <a:prstDash val="solid"/>
            <a:miter/>
          </a:ln>
        </p:spPr>
        <p:txBody>
          <a:bodyPr rtlCol="0" anchor="ctr"/>
          <a:lstStyle/>
          <a:p>
            <a:pPr rtl="0"/>
            <a:endParaRPr lang="en-US"/>
          </a:p>
        </p:txBody>
      </p:sp>
      <p:sp>
        <p:nvSpPr>
          <p:cNvPr id="101" name="Freihandform: Form 100">
            <a:extLst>
              <a:ext uri="{FF2B5EF4-FFF2-40B4-BE49-F238E27FC236}">
                <a16:creationId xmlns:a16="http://schemas.microsoft.com/office/drawing/2014/main" id="{44A6A546-5137-4093-9C59-F32093CD42C4}"/>
              </a:ext>
            </a:extLst>
          </p:cNvPr>
          <p:cNvSpPr/>
          <p:nvPr/>
        </p:nvSpPr>
        <p:spPr>
          <a:xfrm>
            <a:off x="10108537" y="3740960"/>
            <a:ext cx="264511" cy="286651"/>
          </a:xfrm>
          <a:custGeom>
            <a:avLst/>
            <a:gdLst>
              <a:gd name="connsiteX0" fmla="*/ 121186 w 264511"/>
              <a:gd name="connsiteY0" fmla="*/ 286651 h 286651"/>
              <a:gd name="connsiteX1" fmla="*/ 0 w 264511"/>
              <a:gd name="connsiteY1" fmla="*/ 286651 h 286651"/>
              <a:gd name="connsiteX2" fmla="*/ 140995 w 264511"/>
              <a:gd name="connsiteY2" fmla="*/ 144491 h 286651"/>
              <a:gd name="connsiteX3" fmla="*/ 0 w 264511"/>
              <a:gd name="connsiteY3" fmla="*/ 0 h 286651"/>
              <a:gd name="connsiteX4" fmla="*/ 123516 w 264511"/>
              <a:gd name="connsiteY4" fmla="*/ 0 h 286651"/>
              <a:gd name="connsiteX5" fmla="*/ 264511 w 264511"/>
              <a:gd name="connsiteY5" fmla="*/ 140995 h 286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1">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pPr rtl="0"/>
            <a:endParaRPr lang="en-US"/>
          </a:p>
        </p:txBody>
      </p:sp>
      <p:sp>
        <p:nvSpPr>
          <p:cNvPr id="117" name="Freihandform: Form 116">
            <a:extLst>
              <a:ext uri="{FF2B5EF4-FFF2-40B4-BE49-F238E27FC236}">
                <a16:creationId xmlns:a16="http://schemas.microsoft.com/office/drawing/2014/main" id="{AB7F8976-AA8B-4089-A252-6E621A6336A0}"/>
              </a:ext>
            </a:extLst>
          </p:cNvPr>
          <p:cNvSpPr/>
          <p:nvPr/>
        </p:nvSpPr>
        <p:spPr>
          <a:xfrm>
            <a:off x="10108537" y="4095195"/>
            <a:ext cx="264511" cy="287816"/>
          </a:xfrm>
          <a:custGeom>
            <a:avLst/>
            <a:gdLst>
              <a:gd name="connsiteX0" fmla="*/ 121186 w 264511"/>
              <a:gd name="connsiteY0" fmla="*/ 287816 h 287816"/>
              <a:gd name="connsiteX1" fmla="*/ 0 w 264511"/>
              <a:gd name="connsiteY1" fmla="*/ 287816 h 287816"/>
              <a:gd name="connsiteX2" fmla="*/ 140995 w 264511"/>
              <a:gd name="connsiteY2" fmla="*/ 145656 h 287816"/>
              <a:gd name="connsiteX3" fmla="*/ 0 w 264511"/>
              <a:gd name="connsiteY3" fmla="*/ 0 h 287816"/>
              <a:gd name="connsiteX4" fmla="*/ 123516 w 264511"/>
              <a:gd name="connsiteY4" fmla="*/ 0 h 287816"/>
              <a:gd name="connsiteX5" fmla="*/ 264511 w 264511"/>
              <a:gd name="connsiteY5" fmla="*/ 140995 h 287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7816">
                <a:moveTo>
                  <a:pt x="121186" y="287816"/>
                </a:moveTo>
                <a:lnTo>
                  <a:pt x="0" y="287816"/>
                </a:lnTo>
                <a:lnTo>
                  <a:pt x="140995" y="145656"/>
                </a:lnTo>
                <a:lnTo>
                  <a:pt x="0" y="0"/>
                </a:lnTo>
                <a:lnTo>
                  <a:pt x="123516" y="0"/>
                </a:lnTo>
                <a:lnTo>
                  <a:pt x="264511" y="140995"/>
                </a:lnTo>
                <a:close/>
              </a:path>
            </a:pathLst>
          </a:custGeom>
          <a:solidFill>
            <a:srgbClr val="EEF2F5"/>
          </a:solidFill>
          <a:ln w="11643" cap="flat">
            <a:noFill/>
            <a:prstDash val="solid"/>
            <a:miter/>
          </a:ln>
        </p:spPr>
        <p:txBody>
          <a:bodyPr rtlCol="0" anchor="ctr"/>
          <a:lstStyle/>
          <a:p>
            <a:pPr rtl="0"/>
            <a:endParaRPr lang="en-US"/>
          </a:p>
        </p:txBody>
      </p:sp>
      <p:sp>
        <p:nvSpPr>
          <p:cNvPr id="133" name="Freihandform: Form 132">
            <a:extLst>
              <a:ext uri="{FF2B5EF4-FFF2-40B4-BE49-F238E27FC236}">
                <a16:creationId xmlns:a16="http://schemas.microsoft.com/office/drawing/2014/main" id="{83F4FE5F-E30B-4C91-B22F-C67DA72E3DB6}"/>
              </a:ext>
            </a:extLst>
          </p:cNvPr>
          <p:cNvSpPr/>
          <p:nvPr/>
        </p:nvSpPr>
        <p:spPr>
          <a:xfrm>
            <a:off x="10108537" y="4450596"/>
            <a:ext cx="264511" cy="286651"/>
          </a:xfrm>
          <a:custGeom>
            <a:avLst/>
            <a:gdLst>
              <a:gd name="connsiteX0" fmla="*/ 121186 w 264511"/>
              <a:gd name="connsiteY0" fmla="*/ 286651 h 286651"/>
              <a:gd name="connsiteX1" fmla="*/ 0 w 264511"/>
              <a:gd name="connsiteY1" fmla="*/ 286651 h 286651"/>
              <a:gd name="connsiteX2" fmla="*/ 140995 w 264511"/>
              <a:gd name="connsiteY2" fmla="*/ 144491 h 286651"/>
              <a:gd name="connsiteX3" fmla="*/ 0 w 264511"/>
              <a:gd name="connsiteY3" fmla="*/ 0 h 286651"/>
              <a:gd name="connsiteX4" fmla="*/ 123516 w 264511"/>
              <a:gd name="connsiteY4" fmla="*/ 0 h 286651"/>
              <a:gd name="connsiteX5" fmla="*/ 264511 w 264511"/>
              <a:gd name="connsiteY5" fmla="*/ 140995 h 286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1">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pPr rtl="0"/>
            <a:endParaRPr lang="en-US"/>
          </a:p>
        </p:txBody>
      </p:sp>
      <p:sp>
        <p:nvSpPr>
          <p:cNvPr id="150" name="Freihandform: Form 149">
            <a:extLst>
              <a:ext uri="{FF2B5EF4-FFF2-40B4-BE49-F238E27FC236}">
                <a16:creationId xmlns:a16="http://schemas.microsoft.com/office/drawing/2014/main" id="{A0F76902-2111-4900-A1DA-A0A919DABDFD}"/>
              </a:ext>
            </a:extLst>
          </p:cNvPr>
          <p:cNvSpPr/>
          <p:nvPr/>
        </p:nvSpPr>
        <p:spPr>
          <a:xfrm>
            <a:off x="10108537" y="4805997"/>
            <a:ext cx="264511" cy="286651"/>
          </a:xfrm>
          <a:custGeom>
            <a:avLst/>
            <a:gdLst>
              <a:gd name="connsiteX0" fmla="*/ 121186 w 264511"/>
              <a:gd name="connsiteY0" fmla="*/ 286651 h 286651"/>
              <a:gd name="connsiteX1" fmla="*/ 0 w 264511"/>
              <a:gd name="connsiteY1" fmla="*/ 286651 h 286651"/>
              <a:gd name="connsiteX2" fmla="*/ 140995 w 264511"/>
              <a:gd name="connsiteY2" fmla="*/ 144491 h 286651"/>
              <a:gd name="connsiteX3" fmla="*/ 0 w 264511"/>
              <a:gd name="connsiteY3" fmla="*/ 0 h 286651"/>
              <a:gd name="connsiteX4" fmla="*/ 123516 w 264511"/>
              <a:gd name="connsiteY4" fmla="*/ 0 h 286651"/>
              <a:gd name="connsiteX5" fmla="*/ 264511 w 264511"/>
              <a:gd name="connsiteY5" fmla="*/ 139830 h 286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1">
                <a:moveTo>
                  <a:pt x="121186" y="286651"/>
                </a:moveTo>
                <a:lnTo>
                  <a:pt x="0" y="286651"/>
                </a:lnTo>
                <a:lnTo>
                  <a:pt x="140995" y="144491"/>
                </a:lnTo>
                <a:lnTo>
                  <a:pt x="0" y="0"/>
                </a:lnTo>
                <a:lnTo>
                  <a:pt x="123516" y="0"/>
                </a:lnTo>
                <a:lnTo>
                  <a:pt x="264511" y="139830"/>
                </a:lnTo>
                <a:close/>
              </a:path>
            </a:pathLst>
          </a:custGeom>
          <a:solidFill>
            <a:srgbClr val="EEF2F5"/>
          </a:solidFill>
          <a:ln w="11643" cap="flat">
            <a:noFill/>
            <a:prstDash val="solid"/>
            <a:miter/>
          </a:ln>
        </p:spPr>
        <p:txBody>
          <a:bodyPr rtlCol="0" anchor="ctr"/>
          <a:lstStyle/>
          <a:p>
            <a:pPr rtl="0"/>
            <a:endParaRPr lang="en-US"/>
          </a:p>
        </p:txBody>
      </p:sp>
      <p:sp>
        <p:nvSpPr>
          <p:cNvPr id="167" name="Freihandform: Form 166">
            <a:extLst>
              <a:ext uri="{FF2B5EF4-FFF2-40B4-BE49-F238E27FC236}">
                <a16:creationId xmlns:a16="http://schemas.microsoft.com/office/drawing/2014/main" id="{9C3904EA-5E6B-4F77-8FB0-BFFAE9C65946}"/>
              </a:ext>
            </a:extLst>
          </p:cNvPr>
          <p:cNvSpPr/>
          <p:nvPr/>
        </p:nvSpPr>
        <p:spPr>
          <a:xfrm>
            <a:off x="10108537" y="5160232"/>
            <a:ext cx="264511" cy="286651"/>
          </a:xfrm>
          <a:custGeom>
            <a:avLst/>
            <a:gdLst>
              <a:gd name="connsiteX0" fmla="*/ 121186 w 264511"/>
              <a:gd name="connsiteY0" fmla="*/ 286651 h 286651"/>
              <a:gd name="connsiteX1" fmla="*/ 0 w 264511"/>
              <a:gd name="connsiteY1" fmla="*/ 286651 h 286651"/>
              <a:gd name="connsiteX2" fmla="*/ 140995 w 264511"/>
              <a:gd name="connsiteY2" fmla="*/ 144491 h 286651"/>
              <a:gd name="connsiteX3" fmla="*/ 0 w 264511"/>
              <a:gd name="connsiteY3" fmla="*/ 0 h 286651"/>
              <a:gd name="connsiteX4" fmla="*/ 123516 w 264511"/>
              <a:gd name="connsiteY4" fmla="*/ 0 h 286651"/>
              <a:gd name="connsiteX5" fmla="*/ 264511 w 264511"/>
              <a:gd name="connsiteY5" fmla="*/ 140995 h 286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1">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pPr rtl="0"/>
            <a:endParaRPr lang="en-US"/>
          </a:p>
        </p:txBody>
      </p:sp>
      <p:sp>
        <p:nvSpPr>
          <p:cNvPr id="184" name="Freihandform: Form 183">
            <a:extLst>
              <a:ext uri="{FF2B5EF4-FFF2-40B4-BE49-F238E27FC236}">
                <a16:creationId xmlns:a16="http://schemas.microsoft.com/office/drawing/2014/main" id="{99280CAD-3553-4542-850A-90F0AD935DFE}"/>
              </a:ext>
            </a:extLst>
          </p:cNvPr>
          <p:cNvSpPr/>
          <p:nvPr/>
        </p:nvSpPr>
        <p:spPr>
          <a:xfrm>
            <a:off x="10108537" y="5515633"/>
            <a:ext cx="264511" cy="286651"/>
          </a:xfrm>
          <a:custGeom>
            <a:avLst/>
            <a:gdLst>
              <a:gd name="connsiteX0" fmla="*/ 121186 w 264511"/>
              <a:gd name="connsiteY0" fmla="*/ 286651 h 286651"/>
              <a:gd name="connsiteX1" fmla="*/ 0 w 264511"/>
              <a:gd name="connsiteY1" fmla="*/ 286651 h 286651"/>
              <a:gd name="connsiteX2" fmla="*/ 140995 w 264511"/>
              <a:gd name="connsiteY2" fmla="*/ 144491 h 286651"/>
              <a:gd name="connsiteX3" fmla="*/ 0 w 264511"/>
              <a:gd name="connsiteY3" fmla="*/ 0 h 286651"/>
              <a:gd name="connsiteX4" fmla="*/ 123516 w 264511"/>
              <a:gd name="connsiteY4" fmla="*/ 0 h 286651"/>
              <a:gd name="connsiteX5" fmla="*/ 264511 w 264511"/>
              <a:gd name="connsiteY5" fmla="*/ 140995 h 286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1">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pPr rtl="0"/>
            <a:endParaRPr lang="en-US"/>
          </a:p>
        </p:txBody>
      </p:sp>
      <p:sp>
        <p:nvSpPr>
          <p:cNvPr id="201" name="Freihandform: Form 200">
            <a:extLst>
              <a:ext uri="{FF2B5EF4-FFF2-40B4-BE49-F238E27FC236}">
                <a16:creationId xmlns:a16="http://schemas.microsoft.com/office/drawing/2014/main" id="{E8A013AF-F105-4965-95B7-AC96F227E824}"/>
              </a:ext>
            </a:extLst>
          </p:cNvPr>
          <p:cNvSpPr/>
          <p:nvPr/>
        </p:nvSpPr>
        <p:spPr>
          <a:xfrm>
            <a:off x="10108537" y="5869868"/>
            <a:ext cx="264511" cy="286650"/>
          </a:xfrm>
          <a:custGeom>
            <a:avLst/>
            <a:gdLst>
              <a:gd name="connsiteX0" fmla="*/ 121186 w 264511"/>
              <a:gd name="connsiteY0" fmla="*/ 286651 h 286650"/>
              <a:gd name="connsiteX1" fmla="*/ 0 w 264511"/>
              <a:gd name="connsiteY1" fmla="*/ 286651 h 286650"/>
              <a:gd name="connsiteX2" fmla="*/ 140995 w 264511"/>
              <a:gd name="connsiteY2" fmla="*/ 144491 h 286650"/>
              <a:gd name="connsiteX3" fmla="*/ 0 w 264511"/>
              <a:gd name="connsiteY3" fmla="*/ 0 h 286650"/>
              <a:gd name="connsiteX4" fmla="*/ 123516 w 264511"/>
              <a:gd name="connsiteY4" fmla="*/ 0 h 286650"/>
              <a:gd name="connsiteX5" fmla="*/ 264511 w 264511"/>
              <a:gd name="connsiteY5" fmla="*/ 140995 h 28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0">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pPr rtl="0"/>
            <a:endParaRPr lang="en-US"/>
          </a:p>
        </p:txBody>
      </p:sp>
      <p:sp>
        <p:nvSpPr>
          <p:cNvPr id="218" name="Freihandform: Form 217">
            <a:extLst>
              <a:ext uri="{FF2B5EF4-FFF2-40B4-BE49-F238E27FC236}">
                <a16:creationId xmlns:a16="http://schemas.microsoft.com/office/drawing/2014/main" id="{7F42F650-844E-4C84-9059-2EC117988F05}"/>
              </a:ext>
            </a:extLst>
          </p:cNvPr>
          <p:cNvSpPr/>
          <p:nvPr/>
        </p:nvSpPr>
        <p:spPr>
          <a:xfrm>
            <a:off x="10108537" y="6225269"/>
            <a:ext cx="264511" cy="286650"/>
          </a:xfrm>
          <a:custGeom>
            <a:avLst/>
            <a:gdLst>
              <a:gd name="connsiteX0" fmla="*/ 121186 w 264511"/>
              <a:gd name="connsiteY0" fmla="*/ 286651 h 286650"/>
              <a:gd name="connsiteX1" fmla="*/ 0 w 264511"/>
              <a:gd name="connsiteY1" fmla="*/ 286651 h 286650"/>
              <a:gd name="connsiteX2" fmla="*/ 140995 w 264511"/>
              <a:gd name="connsiteY2" fmla="*/ 144491 h 286650"/>
              <a:gd name="connsiteX3" fmla="*/ 0 w 264511"/>
              <a:gd name="connsiteY3" fmla="*/ 0 h 286650"/>
              <a:gd name="connsiteX4" fmla="*/ 123516 w 264511"/>
              <a:gd name="connsiteY4" fmla="*/ 0 h 286650"/>
              <a:gd name="connsiteX5" fmla="*/ 264511 w 264511"/>
              <a:gd name="connsiteY5" fmla="*/ 140995 h 28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0">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pPr rtl="0"/>
            <a:endParaRPr lang="en-US"/>
          </a:p>
        </p:txBody>
      </p:sp>
      <p:sp>
        <p:nvSpPr>
          <p:cNvPr id="5" name="Freihandform: Form 4">
            <a:extLst>
              <a:ext uri="{FF2B5EF4-FFF2-40B4-BE49-F238E27FC236}">
                <a16:creationId xmlns:a16="http://schemas.microsoft.com/office/drawing/2014/main" id="{37FF9268-487B-457F-B2C7-1E1C142BF17B}"/>
              </a:ext>
            </a:extLst>
          </p:cNvPr>
          <p:cNvSpPr/>
          <p:nvPr/>
        </p:nvSpPr>
        <p:spPr>
          <a:xfrm>
            <a:off x="4909201" y="2101456"/>
            <a:ext cx="16313" cy="17478"/>
          </a:xfrm>
          <a:custGeom>
            <a:avLst/>
            <a:gdLst>
              <a:gd name="connsiteX0" fmla="*/ 8157 w 16313"/>
              <a:gd name="connsiteY0" fmla="*/ 17479 h 17478"/>
              <a:gd name="connsiteX1" fmla="*/ 0 w 16313"/>
              <a:gd name="connsiteY1" fmla="*/ 17479 h 17478"/>
              <a:gd name="connsiteX2" fmla="*/ 9322 w 16313"/>
              <a:gd name="connsiteY2" fmla="*/ 8157 h 17478"/>
              <a:gd name="connsiteX3" fmla="*/ 0 w 16313"/>
              <a:gd name="connsiteY3" fmla="*/ 0 h 17478"/>
              <a:gd name="connsiteX4" fmla="*/ 8157 w 16313"/>
              <a:gd name="connsiteY4" fmla="*/ 0 h 17478"/>
              <a:gd name="connsiteX5" fmla="*/ 16313 w 16313"/>
              <a:gd name="connsiteY5" fmla="*/ 8157 h 17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13" h="17478">
                <a:moveTo>
                  <a:pt x="8157" y="17479"/>
                </a:moveTo>
                <a:lnTo>
                  <a:pt x="0" y="17479"/>
                </a:lnTo>
                <a:lnTo>
                  <a:pt x="9322" y="8157"/>
                </a:lnTo>
                <a:lnTo>
                  <a:pt x="0" y="0"/>
                </a:lnTo>
                <a:lnTo>
                  <a:pt x="8157" y="0"/>
                </a:lnTo>
                <a:lnTo>
                  <a:pt x="16313" y="8157"/>
                </a:lnTo>
                <a:close/>
              </a:path>
            </a:pathLst>
          </a:custGeom>
          <a:solidFill>
            <a:srgbClr val="EEF2F5"/>
          </a:solidFill>
          <a:ln w="11643" cap="flat">
            <a:noFill/>
            <a:prstDash val="solid"/>
            <a:miter/>
          </a:ln>
        </p:spPr>
        <p:txBody>
          <a:bodyPr rtlCol="0" anchor="ctr"/>
          <a:lstStyle/>
          <a:p>
            <a:pPr rtl="0"/>
            <a:endParaRPr lang="en-US"/>
          </a:p>
        </p:txBody>
      </p:sp>
      <p:sp>
        <p:nvSpPr>
          <p:cNvPr id="22" name="Freihandform: Form 21">
            <a:extLst>
              <a:ext uri="{FF2B5EF4-FFF2-40B4-BE49-F238E27FC236}">
                <a16:creationId xmlns:a16="http://schemas.microsoft.com/office/drawing/2014/main" id="{67427BC4-9149-4C28-A507-8AD1464E8243}"/>
              </a:ext>
            </a:extLst>
          </p:cNvPr>
          <p:cNvSpPr/>
          <p:nvPr/>
        </p:nvSpPr>
        <p:spPr>
          <a:xfrm>
            <a:off x="4909201" y="2455692"/>
            <a:ext cx="16313" cy="18643"/>
          </a:xfrm>
          <a:custGeom>
            <a:avLst/>
            <a:gdLst>
              <a:gd name="connsiteX0" fmla="*/ 8157 w 16313"/>
              <a:gd name="connsiteY0" fmla="*/ 18644 h 18643"/>
              <a:gd name="connsiteX1" fmla="*/ 0 w 16313"/>
              <a:gd name="connsiteY1" fmla="*/ 18644 h 18643"/>
              <a:gd name="connsiteX2" fmla="*/ 9322 w 16313"/>
              <a:gd name="connsiteY2" fmla="*/ 9322 h 18643"/>
              <a:gd name="connsiteX3" fmla="*/ 0 w 16313"/>
              <a:gd name="connsiteY3" fmla="*/ 0 h 18643"/>
              <a:gd name="connsiteX4" fmla="*/ 8157 w 16313"/>
              <a:gd name="connsiteY4" fmla="*/ 0 h 18643"/>
              <a:gd name="connsiteX5" fmla="*/ 16313 w 16313"/>
              <a:gd name="connsiteY5" fmla="*/ 9322 h 18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13" h="18643">
                <a:moveTo>
                  <a:pt x="8157" y="18644"/>
                </a:moveTo>
                <a:lnTo>
                  <a:pt x="0" y="18644"/>
                </a:lnTo>
                <a:lnTo>
                  <a:pt x="9322" y="9322"/>
                </a:lnTo>
                <a:lnTo>
                  <a:pt x="0" y="0"/>
                </a:lnTo>
                <a:lnTo>
                  <a:pt x="8157" y="0"/>
                </a:lnTo>
                <a:lnTo>
                  <a:pt x="16313" y="9322"/>
                </a:lnTo>
                <a:close/>
              </a:path>
            </a:pathLst>
          </a:custGeom>
          <a:solidFill>
            <a:srgbClr val="EEF2F5"/>
          </a:solidFill>
          <a:ln w="11643" cap="flat">
            <a:noFill/>
            <a:prstDash val="solid"/>
            <a:miter/>
          </a:ln>
        </p:spPr>
        <p:txBody>
          <a:bodyPr rtlCol="0" anchor="ctr"/>
          <a:lstStyle/>
          <a:p>
            <a:pPr rtl="0"/>
            <a:endParaRPr lang="en-US"/>
          </a:p>
        </p:txBody>
      </p:sp>
      <p:sp>
        <p:nvSpPr>
          <p:cNvPr id="38" name="Freihandform: Form 37">
            <a:extLst>
              <a:ext uri="{FF2B5EF4-FFF2-40B4-BE49-F238E27FC236}">
                <a16:creationId xmlns:a16="http://schemas.microsoft.com/office/drawing/2014/main" id="{86AC6BBB-1E60-4206-8581-A22FBBC2FD4E}"/>
              </a:ext>
            </a:extLst>
          </p:cNvPr>
          <p:cNvSpPr/>
          <p:nvPr/>
        </p:nvSpPr>
        <p:spPr>
          <a:xfrm>
            <a:off x="4909201" y="2811092"/>
            <a:ext cx="16313" cy="17478"/>
          </a:xfrm>
          <a:custGeom>
            <a:avLst/>
            <a:gdLst>
              <a:gd name="connsiteX0" fmla="*/ 8157 w 16313"/>
              <a:gd name="connsiteY0" fmla="*/ 17479 h 17478"/>
              <a:gd name="connsiteX1" fmla="*/ 0 w 16313"/>
              <a:gd name="connsiteY1" fmla="*/ 17479 h 17478"/>
              <a:gd name="connsiteX2" fmla="*/ 9322 w 16313"/>
              <a:gd name="connsiteY2" fmla="*/ 8157 h 17478"/>
              <a:gd name="connsiteX3" fmla="*/ 0 w 16313"/>
              <a:gd name="connsiteY3" fmla="*/ 0 h 17478"/>
              <a:gd name="connsiteX4" fmla="*/ 8157 w 16313"/>
              <a:gd name="connsiteY4" fmla="*/ 0 h 17478"/>
              <a:gd name="connsiteX5" fmla="*/ 16313 w 16313"/>
              <a:gd name="connsiteY5" fmla="*/ 8157 h 17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13" h="17478">
                <a:moveTo>
                  <a:pt x="8157" y="17479"/>
                </a:moveTo>
                <a:lnTo>
                  <a:pt x="0" y="17479"/>
                </a:lnTo>
                <a:lnTo>
                  <a:pt x="9322" y="8157"/>
                </a:lnTo>
                <a:lnTo>
                  <a:pt x="0" y="0"/>
                </a:lnTo>
                <a:lnTo>
                  <a:pt x="8157" y="0"/>
                </a:lnTo>
                <a:lnTo>
                  <a:pt x="16313" y="8157"/>
                </a:lnTo>
                <a:close/>
              </a:path>
            </a:pathLst>
          </a:custGeom>
          <a:solidFill>
            <a:srgbClr val="EEF2F5"/>
          </a:solidFill>
          <a:ln w="11643" cap="flat">
            <a:noFill/>
            <a:prstDash val="solid"/>
            <a:miter/>
          </a:ln>
        </p:spPr>
        <p:txBody>
          <a:bodyPr rtlCol="0" anchor="ctr"/>
          <a:lstStyle/>
          <a:p>
            <a:pPr rtl="0"/>
            <a:endParaRPr lang="en-US"/>
          </a:p>
        </p:txBody>
      </p:sp>
      <p:sp>
        <p:nvSpPr>
          <p:cNvPr id="203" name="Freihandform: Form 202">
            <a:extLst>
              <a:ext uri="{FF2B5EF4-FFF2-40B4-BE49-F238E27FC236}">
                <a16:creationId xmlns:a16="http://schemas.microsoft.com/office/drawing/2014/main" id="{A954D734-5BDB-4F7E-8A7B-09593EE1C30A}"/>
              </a:ext>
            </a:extLst>
          </p:cNvPr>
          <p:cNvSpPr/>
          <p:nvPr/>
        </p:nvSpPr>
        <p:spPr>
          <a:xfrm>
            <a:off x="4909201" y="6359273"/>
            <a:ext cx="16313" cy="18643"/>
          </a:xfrm>
          <a:custGeom>
            <a:avLst/>
            <a:gdLst>
              <a:gd name="connsiteX0" fmla="*/ 8157 w 16313"/>
              <a:gd name="connsiteY0" fmla="*/ 18644 h 18643"/>
              <a:gd name="connsiteX1" fmla="*/ 0 w 16313"/>
              <a:gd name="connsiteY1" fmla="*/ 18644 h 18643"/>
              <a:gd name="connsiteX2" fmla="*/ 9322 w 16313"/>
              <a:gd name="connsiteY2" fmla="*/ 9322 h 18643"/>
              <a:gd name="connsiteX3" fmla="*/ 0 w 16313"/>
              <a:gd name="connsiteY3" fmla="*/ 0 h 18643"/>
              <a:gd name="connsiteX4" fmla="*/ 8157 w 16313"/>
              <a:gd name="connsiteY4" fmla="*/ 0 h 18643"/>
              <a:gd name="connsiteX5" fmla="*/ 16313 w 16313"/>
              <a:gd name="connsiteY5" fmla="*/ 9322 h 18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13" h="18643">
                <a:moveTo>
                  <a:pt x="8157" y="18644"/>
                </a:moveTo>
                <a:lnTo>
                  <a:pt x="0" y="18644"/>
                </a:lnTo>
                <a:lnTo>
                  <a:pt x="9322" y="9322"/>
                </a:lnTo>
                <a:lnTo>
                  <a:pt x="0" y="0"/>
                </a:lnTo>
                <a:lnTo>
                  <a:pt x="8157" y="0"/>
                </a:lnTo>
                <a:lnTo>
                  <a:pt x="16313" y="9322"/>
                </a:lnTo>
                <a:close/>
              </a:path>
            </a:pathLst>
          </a:custGeom>
          <a:solidFill>
            <a:srgbClr val="EEF2F5"/>
          </a:solidFill>
          <a:ln w="11643" cap="flat">
            <a:noFill/>
            <a:prstDash val="solid"/>
            <a:miter/>
          </a:ln>
        </p:spPr>
        <p:txBody>
          <a:bodyPr rtlCol="0" anchor="ctr"/>
          <a:lstStyle/>
          <a:p>
            <a:pPr rtl="0"/>
            <a:endParaRPr lang="en-US"/>
          </a:p>
        </p:txBody>
      </p:sp>
      <p:sp>
        <p:nvSpPr>
          <p:cNvPr id="219" name="Freihandform: Form 218">
            <a:extLst>
              <a:ext uri="{FF2B5EF4-FFF2-40B4-BE49-F238E27FC236}">
                <a16:creationId xmlns:a16="http://schemas.microsoft.com/office/drawing/2014/main" id="{11ACA275-0A27-41DD-8AD0-A37EF069B3DC}"/>
              </a:ext>
            </a:extLst>
          </p:cNvPr>
          <p:cNvSpPr/>
          <p:nvPr/>
        </p:nvSpPr>
        <p:spPr>
          <a:xfrm>
            <a:off x="4909201" y="6714673"/>
            <a:ext cx="16313" cy="17478"/>
          </a:xfrm>
          <a:custGeom>
            <a:avLst/>
            <a:gdLst>
              <a:gd name="connsiteX0" fmla="*/ 8157 w 16313"/>
              <a:gd name="connsiteY0" fmla="*/ 17479 h 17478"/>
              <a:gd name="connsiteX1" fmla="*/ 0 w 16313"/>
              <a:gd name="connsiteY1" fmla="*/ 17479 h 17478"/>
              <a:gd name="connsiteX2" fmla="*/ 9322 w 16313"/>
              <a:gd name="connsiteY2" fmla="*/ 8157 h 17478"/>
              <a:gd name="connsiteX3" fmla="*/ 0 w 16313"/>
              <a:gd name="connsiteY3" fmla="*/ 0 h 17478"/>
              <a:gd name="connsiteX4" fmla="*/ 8157 w 16313"/>
              <a:gd name="connsiteY4" fmla="*/ 0 h 17478"/>
              <a:gd name="connsiteX5" fmla="*/ 16313 w 16313"/>
              <a:gd name="connsiteY5" fmla="*/ 8157 h 17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13" h="17478">
                <a:moveTo>
                  <a:pt x="8157" y="17479"/>
                </a:moveTo>
                <a:lnTo>
                  <a:pt x="0" y="17479"/>
                </a:lnTo>
                <a:lnTo>
                  <a:pt x="9322" y="8157"/>
                </a:lnTo>
                <a:lnTo>
                  <a:pt x="0" y="0"/>
                </a:lnTo>
                <a:lnTo>
                  <a:pt x="8157" y="0"/>
                </a:lnTo>
                <a:lnTo>
                  <a:pt x="16313" y="8157"/>
                </a:lnTo>
                <a:close/>
              </a:path>
            </a:pathLst>
          </a:custGeom>
          <a:solidFill>
            <a:srgbClr val="EEF2F5"/>
          </a:solidFill>
          <a:ln w="11643" cap="flat">
            <a:noFill/>
            <a:prstDash val="solid"/>
            <a:miter/>
          </a:ln>
        </p:spPr>
        <p:txBody>
          <a:bodyPr rtlCol="0" anchor="ctr"/>
          <a:lstStyle/>
          <a:p>
            <a:pPr rtl="0"/>
            <a:endParaRPr lang="en-US"/>
          </a:p>
        </p:txBody>
      </p:sp>
      <p:sp>
        <p:nvSpPr>
          <p:cNvPr id="6" name="Freihandform: Form 5">
            <a:extLst>
              <a:ext uri="{FF2B5EF4-FFF2-40B4-BE49-F238E27FC236}">
                <a16:creationId xmlns:a16="http://schemas.microsoft.com/office/drawing/2014/main" id="{8A4E51D5-9A40-4C2C-A7AF-1757E2BA77A0}"/>
              </a:ext>
            </a:extLst>
          </p:cNvPr>
          <p:cNvSpPr/>
          <p:nvPr/>
        </p:nvSpPr>
        <p:spPr>
          <a:xfrm>
            <a:off x="5255279" y="2092134"/>
            <a:ext cx="33792" cy="36122"/>
          </a:xfrm>
          <a:custGeom>
            <a:avLst/>
            <a:gdLst>
              <a:gd name="connsiteX0" fmla="*/ 15148 w 33792"/>
              <a:gd name="connsiteY0" fmla="*/ 36123 h 36122"/>
              <a:gd name="connsiteX1" fmla="*/ 0 w 33792"/>
              <a:gd name="connsiteY1" fmla="*/ 36123 h 36122"/>
              <a:gd name="connsiteX2" fmla="*/ 18644 w 33792"/>
              <a:gd name="connsiteY2" fmla="*/ 17479 h 36122"/>
              <a:gd name="connsiteX3" fmla="*/ 0 w 33792"/>
              <a:gd name="connsiteY3" fmla="*/ 0 h 36122"/>
              <a:gd name="connsiteX4" fmla="*/ 16313 w 33792"/>
              <a:gd name="connsiteY4" fmla="*/ 0 h 36122"/>
              <a:gd name="connsiteX5" fmla="*/ 33792 w 33792"/>
              <a:gd name="connsiteY5" fmla="*/ 17479 h 3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92" h="36122">
                <a:moveTo>
                  <a:pt x="15148" y="36123"/>
                </a:moveTo>
                <a:lnTo>
                  <a:pt x="0" y="36123"/>
                </a:lnTo>
                <a:lnTo>
                  <a:pt x="18644" y="17479"/>
                </a:lnTo>
                <a:lnTo>
                  <a:pt x="0" y="0"/>
                </a:lnTo>
                <a:lnTo>
                  <a:pt x="16313" y="0"/>
                </a:lnTo>
                <a:lnTo>
                  <a:pt x="33792" y="17479"/>
                </a:lnTo>
                <a:close/>
              </a:path>
            </a:pathLst>
          </a:custGeom>
          <a:solidFill>
            <a:srgbClr val="EEF2F5"/>
          </a:solidFill>
          <a:ln w="11643" cap="flat">
            <a:noFill/>
            <a:prstDash val="solid"/>
            <a:miter/>
          </a:ln>
        </p:spPr>
        <p:txBody>
          <a:bodyPr rtlCol="0" anchor="ctr"/>
          <a:lstStyle/>
          <a:p>
            <a:pPr rtl="0"/>
            <a:endParaRPr lang="en-US"/>
          </a:p>
        </p:txBody>
      </p:sp>
      <p:sp>
        <p:nvSpPr>
          <p:cNvPr id="23" name="Freihandform: Form 22">
            <a:extLst>
              <a:ext uri="{FF2B5EF4-FFF2-40B4-BE49-F238E27FC236}">
                <a16:creationId xmlns:a16="http://schemas.microsoft.com/office/drawing/2014/main" id="{EFF8D231-0526-443F-B572-FBC0C0A7C2F2}"/>
              </a:ext>
            </a:extLst>
          </p:cNvPr>
          <p:cNvSpPr/>
          <p:nvPr/>
        </p:nvSpPr>
        <p:spPr>
          <a:xfrm>
            <a:off x="5255279" y="2446370"/>
            <a:ext cx="33792" cy="36122"/>
          </a:xfrm>
          <a:custGeom>
            <a:avLst/>
            <a:gdLst>
              <a:gd name="connsiteX0" fmla="*/ 15148 w 33792"/>
              <a:gd name="connsiteY0" fmla="*/ 36123 h 36122"/>
              <a:gd name="connsiteX1" fmla="*/ 0 w 33792"/>
              <a:gd name="connsiteY1" fmla="*/ 36123 h 36122"/>
              <a:gd name="connsiteX2" fmla="*/ 18644 w 33792"/>
              <a:gd name="connsiteY2" fmla="*/ 18644 h 36122"/>
              <a:gd name="connsiteX3" fmla="*/ 0 w 33792"/>
              <a:gd name="connsiteY3" fmla="*/ 0 h 36122"/>
              <a:gd name="connsiteX4" fmla="*/ 16313 w 33792"/>
              <a:gd name="connsiteY4" fmla="*/ 0 h 36122"/>
              <a:gd name="connsiteX5" fmla="*/ 33792 w 33792"/>
              <a:gd name="connsiteY5" fmla="*/ 18644 h 3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92" h="36122">
                <a:moveTo>
                  <a:pt x="15148" y="36123"/>
                </a:moveTo>
                <a:lnTo>
                  <a:pt x="0" y="36123"/>
                </a:lnTo>
                <a:lnTo>
                  <a:pt x="18644" y="18644"/>
                </a:lnTo>
                <a:lnTo>
                  <a:pt x="0" y="0"/>
                </a:lnTo>
                <a:lnTo>
                  <a:pt x="16313" y="0"/>
                </a:lnTo>
                <a:lnTo>
                  <a:pt x="33792" y="18644"/>
                </a:lnTo>
                <a:close/>
              </a:path>
            </a:pathLst>
          </a:custGeom>
          <a:solidFill>
            <a:srgbClr val="EEF2F5"/>
          </a:solidFill>
          <a:ln w="11643" cap="flat">
            <a:noFill/>
            <a:prstDash val="solid"/>
            <a:miter/>
          </a:ln>
        </p:spPr>
        <p:txBody>
          <a:bodyPr rtlCol="0" anchor="ctr"/>
          <a:lstStyle/>
          <a:p>
            <a:pPr rtl="0"/>
            <a:endParaRPr lang="en-US"/>
          </a:p>
        </p:txBody>
      </p:sp>
      <p:sp>
        <p:nvSpPr>
          <p:cNvPr id="39" name="Freihandform: Form 38">
            <a:extLst>
              <a:ext uri="{FF2B5EF4-FFF2-40B4-BE49-F238E27FC236}">
                <a16:creationId xmlns:a16="http://schemas.microsoft.com/office/drawing/2014/main" id="{4663B524-8E70-411B-AF82-46000FF0D969}"/>
              </a:ext>
            </a:extLst>
          </p:cNvPr>
          <p:cNvSpPr/>
          <p:nvPr/>
        </p:nvSpPr>
        <p:spPr>
          <a:xfrm>
            <a:off x="5255279" y="2801770"/>
            <a:ext cx="33792" cy="36122"/>
          </a:xfrm>
          <a:custGeom>
            <a:avLst/>
            <a:gdLst>
              <a:gd name="connsiteX0" fmla="*/ 15148 w 33792"/>
              <a:gd name="connsiteY0" fmla="*/ 36123 h 36122"/>
              <a:gd name="connsiteX1" fmla="*/ 0 w 33792"/>
              <a:gd name="connsiteY1" fmla="*/ 36123 h 36122"/>
              <a:gd name="connsiteX2" fmla="*/ 18644 w 33792"/>
              <a:gd name="connsiteY2" fmla="*/ 17479 h 36122"/>
              <a:gd name="connsiteX3" fmla="*/ 0 w 33792"/>
              <a:gd name="connsiteY3" fmla="*/ 0 h 36122"/>
              <a:gd name="connsiteX4" fmla="*/ 16313 w 33792"/>
              <a:gd name="connsiteY4" fmla="*/ 0 h 36122"/>
              <a:gd name="connsiteX5" fmla="*/ 33792 w 33792"/>
              <a:gd name="connsiteY5" fmla="*/ 17479 h 3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92" h="36122">
                <a:moveTo>
                  <a:pt x="15148" y="36123"/>
                </a:moveTo>
                <a:lnTo>
                  <a:pt x="0" y="36123"/>
                </a:lnTo>
                <a:lnTo>
                  <a:pt x="18644" y="17479"/>
                </a:lnTo>
                <a:lnTo>
                  <a:pt x="0" y="0"/>
                </a:lnTo>
                <a:lnTo>
                  <a:pt x="16313" y="0"/>
                </a:lnTo>
                <a:lnTo>
                  <a:pt x="33792" y="17479"/>
                </a:lnTo>
                <a:close/>
              </a:path>
            </a:pathLst>
          </a:custGeom>
          <a:solidFill>
            <a:srgbClr val="EEF2F5"/>
          </a:solidFill>
          <a:ln w="11643" cap="flat">
            <a:noFill/>
            <a:prstDash val="solid"/>
            <a:miter/>
          </a:ln>
        </p:spPr>
        <p:txBody>
          <a:bodyPr rtlCol="0" anchor="ctr"/>
          <a:lstStyle/>
          <a:p>
            <a:pPr rtl="0"/>
            <a:endParaRPr lang="en-US"/>
          </a:p>
        </p:txBody>
      </p:sp>
      <p:sp>
        <p:nvSpPr>
          <p:cNvPr id="55" name="Freihandform: Form 54">
            <a:extLst>
              <a:ext uri="{FF2B5EF4-FFF2-40B4-BE49-F238E27FC236}">
                <a16:creationId xmlns:a16="http://schemas.microsoft.com/office/drawing/2014/main" id="{F4D09A89-D99B-46C8-9144-5A77F64C551B}"/>
              </a:ext>
            </a:extLst>
          </p:cNvPr>
          <p:cNvSpPr/>
          <p:nvPr/>
        </p:nvSpPr>
        <p:spPr>
          <a:xfrm>
            <a:off x="5255279" y="3156006"/>
            <a:ext cx="33792" cy="36122"/>
          </a:xfrm>
          <a:custGeom>
            <a:avLst/>
            <a:gdLst>
              <a:gd name="connsiteX0" fmla="*/ 15148 w 33792"/>
              <a:gd name="connsiteY0" fmla="*/ 36123 h 36122"/>
              <a:gd name="connsiteX1" fmla="*/ 0 w 33792"/>
              <a:gd name="connsiteY1" fmla="*/ 36123 h 36122"/>
              <a:gd name="connsiteX2" fmla="*/ 18644 w 33792"/>
              <a:gd name="connsiteY2" fmla="*/ 18644 h 36122"/>
              <a:gd name="connsiteX3" fmla="*/ 0 w 33792"/>
              <a:gd name="connsiteY3" fmla="*/ 0 h 36122"/>
              <a:gd name="connsiteX4" fmla="*/ 16313 w 33792"/>
              <a:gd name="connsiteY4" fmla="*/ 0 h 36122"/>
              <a:gd name="connsiteX5" fmla="*/ 33792 w 33792"/>
              <a:gd name="connsiteY5" fmla="*/ 18644 h 3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92" h="36122">
                <a:moveTo>
                  <a:pt x="15148" y="36123"/>
                </a:moveTo>
                <a:lnTo>
                  <a:pt x="0" y="36123"/>
                </a:lnTo>
                <a:lnTo>
                  <a:pt x="18644" y="18644"/>
                </a:lnTo>
                <a:lnTo>
                  <a:pt x="0" y="0"/>
                </a:lnTo>
                <a:lnTo>
                  <a:pt x="16313" y="0"/>
                </a:lnTo>
                <a:lnTo>
                  <a:pt x="33792" y="18644"/>
                </a:lnTo>
                <a:close/>
              </a:path>
            </a:pathLst>
          </a:custGeom>
          <a:solidFill>
            <a:srgbClr val="EEF2F5"/>
          </a:solidFill>
          <a:ln w="11643" cap="flat">
            <a:noFill/>
            <a:prstDash val="solid"/>
            <a:miter/>
          </a:ln>
        </p:spPr>
        <p:txBody>
          <a:bodyPr rtlCol="0" anchor="ctr"/>
          <a:lstStyle/>
          <a:p>
            <a:pPr rtl="0"/>
            <a:endParaRPr lang="en-US"/>
          </a:p>
        </p:txBody>
      </p:sp>
      <p:sp>
        <p:nvSpPr>
          <p:cNvPr id="187" name="Freihandform: Form 186">
            <a:extLst>
              <a:ext uri="{FF2B5EF4-FFF2-40B4-BE49-F238E27FC236}">
                <a16:creationId xmlns:a16="http://schemas.microsoft.com/office/drawing/2014/main" id="{9405F1EC-B6AA-4E71-9517-3317B5730FD9}"/>
              </a:ext>
            </a:extLst>
          </p:cNvPr>
          <p:cNvSpPr/>
          <p:nvPr/>
        </p:nvSpPr>
        <p:spPr>
          <a:xfrm>
            <a:off x="5255279" y="5995715"/>
            <a:ext cx="33792" cy="36122"/>
          </a:xfrm>
          <a:custGeom>
            <a:avLst/>
            <a:gdLst>
              <a:gd name="connsiteX0" fmla="*/ 15148 w 33792"/>
              <a:gd name="connsiteY0" fmla="*/ 36123 h 36122"/>
              <a:gd name="connsiteX1" fmla="*/ 0 w 33792"/>
              <a:gd name="connsiteY1" fmla="*/ 36123 h 36122"/>
              <a:gd name="connsiteX2" fmla="*/ 18644 w 33792"/>
              <a:gd name="connsiteY2" fmla="*/ 17479 h 36122"/>
              <a:gd name="connsiteX3" fmla="*/ 0 w 33792"/>
              <a:gd name="connsiteY3" fmla="*/ 0 h 36122"/>
              <a:gd name="connsiteX4" fmla="*/ 16313 w 33792"/>
              <a:gd name="connsiteY4" fmla="*/ 0 h 36122"/>
              <a:gd name="connsiteX5" fmla="*/ 33792 w 33792"/>
              <a:gd name="connsiteY5" fmla="*/ 17479 h 3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92" h="36122">
                <a:moveTo>
                  <a:pt x="15148" y="36123"/>
                </a:moveTo>
                <a:lnTo>
                  <a:pt x="0" y="36123"/>
                </a:lnTo>
                <a:lnTo>
                  <a:pt x="18644" y="17479"/>
                </a:lnTo>
                <a:lnTo>
                  <a:pt x="0" y="0"/>
                </a:lnTo>
                <a:lnTo>
                  <a:pt x="16313" y="0"/>
                </a:lnTo>
                <a:lnTo>
                  <a:pt x="33792" y="17479"/>
                </a:lnTo>
                <a:close/>
              </a:path>
            </a:pathLst>
          </a:custGeom>
          <a:solidFill>
            <a:srgbClr val="EEF2F5"/>
          </a:solidFill>
          <a:ln w="11643" cap="flat">
            <a:noFill/>
            <a:prstDash val="solid"/>
            <a:miter/>
          </a:ln>
        </p:spPr>
        <p:txBody>
          <a:bodyPr rtlCol="0" anchor="ctr"/>
          <a:lstStyle/>
          <a:p>
            <a:pPr rtl="0"/>
            <a:endParaRPr lang="en-US"/>
          </a:p>
        </p:txBody>
      </p:sp>
      <p:sp>
        <p:nvSpPr>
          <p:cNvPr id="204" name="Freihandform: Form 203">
            <a:extLst>
              <a:ext uri="{FF2B5EF4-FFF2-40B4-BE49-F238E27FC236}">
                <a16:creationId xmlns:a16="http://schemas.microsoft.com/office/drawing/2014/main" id="{455ED072-A29F-4FE5-8724-C330B2893FE8}"/>
              </a:ext>
            </a:extLst>
          </p:cNvPr>
          <p:cNvSpPr/>
          <p:nvPr/>
        </p:nvSpPr>
        <p:spPr>
          <a:xfrm>
            <a:off x="5255279" y="6349950"/>
            <a:ext cx="33792" cy="36122"/>
          </a:xfrm>
          <a:custGeom>
            <a:avLst/>
            <a:gdLst>
              <a:gd name="connsiteX0" fmla="*/ 15148 w 33792"/>
              <a:gd name="connsiteY0" fmla="*/ 36123 h 36122"/>
              <a:gd name="connsiteX1" fmla="*/ 0 w 33792"/>
              <a:gd name="connsiteY1" fmla="*/ 36123 h 36122"/>
              <a:gd name="connsiteX2" fmla="*/ 18644 w 33792"/>
              <a:gd name="connsiteY2" fmla="*/ 18644 h 36122"/>
              <a:gd name="connsiteX3" fmla="*/ 0 w 33792"/>
              <a:gd name="connsiteY3" fmla="*/ 0 h 36122"/>
              <a:gd name="connsiteX4" fmla="*/ 16313 w 33792"/>
              <a:gd name="connsiteY4" fmla="*/ 0 h 36122"/>
              <a:gd name="connsiteX5" fmla="*/ 33792 w 33792"/>
              <a:gd name="connsiteY5" fmla="*/ 17479 h 3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92" h="36122">
                <a:moveTo>
                  <a:pt x="15148" y="36123"/>
                </a:moveTo>
                <a:lnTo>
                  <a:pt x="0" y="36123"/>
                </a:lnTo>
                <a:lnTo>
                  <a:pt x="18644" y="18644"/>
                </a:lnTo>
                <a:lnTo>
                  <a:pt x="0" y="0"/>
                </a:lnTo>
                <a:lnTo>
                  <a:pt x="16313" y="0"/>
                </a:lnTo>
                <a:lnTo>
                  <a:pt x="33792" y="17479"/>
                </a:lnTo>
                <a:close/>
              </a:path>
            </a:pathLst>
          </a:custGeom>
          <a:solidFill>
            <a:srgbClr val="EEF2F5"/>
          </a:solidFill>
          <a:ln w="11643" cap="flat">
            <a:noFill/>
            <a:prstDash val="solid"/>
            <a:miter/>
          </a:ln>
        </p:spPr>
        <p:txBody>
          <a:bodyPr rtlCol="0" anchor="ctr"/>
          <a:lstStyle/>
          <a:p>
            <a:pPr rtl="0"/>
            <a:endParaRPr lang="en-US"/>
          </a:p>
        </p:txBody>
      </p:sp>
      <p:sp>
        <p:nvSpPr>
          <p:cNvPr id="220" name="Freihandform: Form 219">
            <a:extLst>
              <a:ext uri="{FF2B5EF4-FFF2-40B4-BE49-F238E27FC236}">
                <a16:creationId xmlns:a16="http://schemas.microsoft.com/office/drawing/2014/main" id="{99942471-7679-49B5-9D52-AEDAA896BBEA}"/>
              </a:ext>
            </a:extLst>
          </p:cNvPr>
          <p:cNvSpPr/>
          <p:nvPr/>
        </p:nvSpPr>
        <p:spPr>
          <a:xfrm>
            <a:off x="5255279" y="6705351"/>
            <a:ext cx="33792" cy="36122"/>
          </a:xfrm>
          <a:custGeom>
            <a:avLst/>
            <a:gdLst>
              <a:gd name="connsiteX0" fmla="*/ 15148 w 33792"/>
              <a:gd name="connsiteY0" fmla="*/ 36123 h 36122"/>
              <a:gd name="connsiteX1" fmla="*/ 0 w 33792"/>
              <a:gd name="connsiteY1" fmla="*/ 36123 h 36122"/>
              <a:gd name="connsiteX2" fmla="*/ 18644 w 33792"/>
              <a:gd name="connsiteY2" fmla="*/ 17479 h 36122"/>
              <a:gd name="connsiteX3" fmla="*/ 0 w 33792"/>
              <a:gd name="connsiteY3" fmla="*/ 0 h 36122"/>
              <a:gd name="connsiteX4" fmla="*/ 16313 w 33792"/>
              <a:gd name="connsiteY4" fmla="*/ 0 h 36122"/>
              <a:gd name="connsiteX5" fmla="*/ 33792 w 33792"/>
              <a:gd name="connsiteY5" fmla="*/ 17479 h 3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92" h="36122">
                <a:moveTo>
                  <a:pt x="15148" y="36123"/>
                </a:moveTo>
                <a:lnTo>
                  <a:pt x="0" y="36123"/>
                </a:lnTo>
                <a:lnTo>
                  <a:pt x="18644" y="17479"/>
                </a:lnTo>
                <a:lnTo>
                  <a:pt x="0" y="0"/>
                </a:lnTo>
                <a:lnTo>
                  <a:pt x="16313" y="0"/>
                </a:lnTo>
                <a:lnTo>
                  <a:pt x="33792" y="17479"/>
                </a:lnTo>
                <a:close/>
              </a:path>
            </a:pathLst>
          </a:custGeom>
          <a:solidFill>
            <a:srgbClr val="EEF2F5"/>
          </a:solidFill>
          <a:ln w="11643" cap="flat">
            <a:noFill/>
            <a:prstDash val="solid"/>
            <a:miter/>
          </a:ln>
        </p:spPr>
        <p:txBody>
          <a:bodyPr rtlCol="0" anchor="ctr"/>
          <a:lstStyle/>
          <a:p>
            <a:pPr rtl="0"/>
            <a:endParaRPr lang="en-US"/>
          </a:p>
        </p:txBody>
      </p:sp>
      <p:sp>
        <p:nvSpPr>
          <p:cNvPr id="7" name="Freihandform: Form 6">
            <a:extLst>
              <a:ext uri="{FF2B5EF4-FFF2-40B4-BE49-F238E27FC236}">
                <a16:creationId xmlns:a16="http://schemas.microsoft.com/office/drawing/2014/main" id="{4036A95C-4698-466B-86BD-E5C4BEBC8F14}"/>
              </a:ext>
            </a:extLst>
          </p:cNvPr>
          <p:cNvSpPr/>
          <p:nvPr/>
        </p:nvSpPr>
        <p:spPr>
          <a:xfrm>
            <a:off x="5602523" y="2082812"/>
            <a:ext cx="50105" cy="54766"/>
          </a:xfrm>
          <a:custGeom>
            <a:avLst/>
            <a:gdLst>
              <a:gd name="connsiteX0" fmla="*/ 22140 w 50105"/>
              <a:gd name="connsiteY0" fmla="*/ 54767 h 54766"/>
              <a:gd name="connsiteX1" fmla="*/ 0 w 50105"/>
              <a:gd name="connsiteY1" fmla="*/ 54767 h 54766"/>
              <a:gd name="connsiteX2" fmla="*/ 26801 w 50105"/>
              <a:gd name="connsiteY2" fmla="*/ 27966 h 54766"/>
              <a:gd name="connsiteX3" fmla="*/ 0 w 50105"/>
              <a:gd name="connsiteY3" fmla="*/ 0 h 54766"/>
              <a:gd name="connsiteX4" fmla="*/ 23305 w 50105"/>
              <a:gd name="connsiteY4" fmla="*/ 0 h 54766"/>
              <a:gd name="connsiteX5" fmla="*/ 50106 w 50105"/>
              <a:gd name="connsiteY5" fmla="*/ 26801 h 5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4765">
                <a:moveTo>
                  <a:pt x="22140" y="54767"/>
                </a:moveTo>
                <a:lnTo>
                  <a:pt x="0" y="54767"/>
                </a:lnTo>
                <a:lnTo>
                  <a:pt x="26801" y="27966"/>
                </a:lnTo>
                <a:lnTo>
                  <a:pt x="0" y="0"/>
                </a:lnTo>
                <a:lnTo>
                  <a:pt x="23305" y="0"/>
                </a:lnTo>
                <a:lnTo>
                  <a:pt x="50106" y="26801"/>
                </a:lnTo>
                <a:close/>
              </a:path>
            </a:pathLst>
          </a:custGeom>
          <a:solidFill>
            <a:srgbClr val="EEF2F5"/>
          </a:solidFill>
          <a:ln w="11643" cap="flat">
            <a:noFill/>
            <a:prstDash val="solid"/>
            <a:miter/>
          </a:ln>
        </p:spPr>
        <p:txBody>
          <a:bodyPr rtlCol="0" anchor="ctr"/>
          <a:lstStyle/>
          <a:p>
            <a:pPr rtl="0"/>
            <a:endParaRPr lang="en-US"/>
          </a:p>
        </p:txBody>
      </p:sp>
      <p:sp>
        <p:nvSpPr>
          <p:cNvPr id="24" name="Freihandform: Form 23">
            <a:extLst>
              <a:ext uri="{FF2B5EF4-FFF2-40B4-BE49-F238E27FC236}">
                <a16:creationId xmlns:a16="http://schemas.microsoft.com/office/drawing/2014/main" id="{BF542F85-6793-447F-ABC7-4DD68400D714}"/>
              </a:ext>
            </a:extLst>
          </p:cNvPr>
          <p:cNvSpPr/>
          <p:nvPr/>
        </p:nvSpPr>
        <p:spPr>
          <a:xfrm>
            <a:off x="5602523" y="2438213"/>
            <a:ext cx="50105" cy="53601"/>
          </a:xfrm>
          <a:custGeom>
            <a:avLst/>
            <a:gdLst>
              <a:gd name="connsiteX0" fmla="*/ 22140 w 50105"/>
              <a:gd name="connsiteY0" fmla="*/ 53601 h 53601"/>
              <a:gd name="connsiteX1" fmla="*/ 0 w 50105"/>
              <a:gd name="connsiteY1" fmla="*/ 53601 h 53601"/>
              <a:gd name="connsiteX2" fmla="*/ 26801 w 50105"/>
              <a:gd name="connsiteY2" fmla="*/ 26801 h 53601"/>
              <a:gd name="connsiteX3" fmla="*/ 0 w 50105"/>
              <a:gd name="connsiteY3" fmla="*/ 0 h 53601"/>
              <a:gd name="connsiteX4" fmla="*/ 23305 w 50105"/>
              <a:gd name="connsiteY4" fmla="*/ 0 h 53601"/>
              <a:gd name="connsiteX5" fmla="*/ 50106 w 50105"/>
              <a:gd name="connsiteY5" fmla="*/ 25635 h 53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3601">
                <a:moveTo>
                  <a:pt x="22140" y="53601"/>
                </a:moveTo>
                <a:lnTo>
                  <a:pt x="0" y="53601"/>
                </a:lnTo>
                <a:lnTo>
                  <a:pt x="26801" y="26801"/>
                </a:lnTo>
                <a:lnTo>
                  <a:pt x="0" y="0"/>
                </a:lnTo>
                <a:lnTo>
                  <a:pt x="23305" y="0"/>
                </a:lnTo>
                <a:lnTo>
                  <a:pt x="50106" y="25635"/>
                </a:lnTo>
                <a:close/>
              </a:path>
            </a:pathLst>
          </a:custGeom>
          <a:solidFill>
            <a:srgbClr val="EEF2F5"/>
          </a:solidFill>
          <a:ln w="11643" cap="flat">
            <a:noFill/>
            <a:prstDash val="solid"/>
            <a:miter/>
          </a:ln>
        </p:spPr>
        <p:txBody>
          <a:bodyPr rtlCol="0" anchor="ctr"/>
          <a:lstStyle/>
          <a:p>
            <a:pPr rtl="0"/>
            <a:endParaRPr lang="en-US"/>
          </a:p>
        </p:txBody>
      </p:sp>
      <p:sp>
        <p:nvSpPr>
          <p:cNvPr id="40" name="Freihandform: Form 39">
            <a:extLst>
              <a:ext uri="{FF2B5EF4-FFF2-40B4-BE49-F238E27FC236}">
                <a16:creationId xmlns:a16="http://schemas.microsoft.com/office/drawing/2014/main" id="{740F153C-C05E-494B-8276-37D3E8653A98}"/>
              </a:ext>
            </a:extLst>
          </p:cNvPr>
          <p:cNvSpPr/>
          <p:nvPr/>
        </p:nvSpPr>
        <p:spPr>
          <a:xfrm>
            <a:off x="5602523" y="2792448"/>
            <a:ext cx="50105" cy="54766"/>
          </a:xfrm>
          <a:custGeom>
            <a:avLst/>
            <a:gdLst>
              <a:gd name="connsiteX0" fmla="*/ 22140 w 50105"/>
              <a:gd name="connsiteY0" fmla="*/ 54767 h 54766"/>
              <a:gd name="connsiteX1" fmla="*/ 0 w 50105"/>
              <a:gd name="connsiteY1" fmla="*/ 54767 h 54766"/>
              <a:gd name="connsiteX2" fmla="*/ 26801 w 50105"/>
              <a:gd name="connsiteY2" fmla="*/ 27966 h 54766"/>
              <a:gd name="connsiteX3" fmla="*/ 0 w 50105"/>
              <a:gd name="connsiteY3" fmla="*/ 0 h 54766"/>
              <a:gd name="connsiteX4" fmla="*/ 23305 w 50105"/>
              <a:gd name="connsiteY4" fmla="*/ 0 h 54766"/>
              <a:gd name="connsiteX5" fmla="*/ 50106 w 50105"/>
              <a:gd name="connsiteY5" fmla="*/ 26801 h 5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4765">
                <a:moveTo>
                  <a:pt x="22140" y="54767"/>
                </a:moveTo>
                <a:lnTo>
                  <a:pt x="0" y="54767"/>
                </a:lnTo>
                <a:lnTo>
                  <a:pt x="26801" y="27966"/>
                </a:lnTo>
                <a:lnTo>
                  <a:pt x="0" y="0"/>
                </a:lnTo>
                <a:lnTo>
                  <a:pt x="23305" y="0"/>
                </a:lnTo>
                <a:lnTo>
                  <a:pt x="50106" y="26801"/>
                </a:lnTo>
                <a:close/>
              </a:path>
            </a:pathLst>
          </a:custGeom>
          <a:solidFill>
            <a:srgbClr val="EEF2F5"/>
          </a:solidFill>
          <a:ln w="11643" cap="flat">
            <a:noFill/>
            <a:prstDash val="solid"/>
            <a:miter/>
          </a:ln>
        </p:spPr>
        <p:txBody>
          <a:bodyPr rtlCol="0" anchor="ctr"/>
          <a:lstStyle/>
          <a:p>
            <a:pPr rtl="0"/>
            <a:endParaRPr lang="en-US"/>
          </a:p>
        </p:txBody>
      </p:sp>
      <p:sp>
        <p:nvSpPr>
          <p:cNvPr id="56" name="Freihandform: Form 55">
            <a:extLst>
              <a:ext uri="{FF2B5EF4-FFF2-40B4-BE49-F238E27FC236}">
                <a16:creationId xmlns:a16="http://schemas.microsoft.com/office/drawing/2014/main" id="{6DC9BB73-A50E-4E7E-85F9-1EC71DEC332C}"/>
              </a:ext>
            </a:extLst>
          </p:cNvPr>
          <p:cNvSpPr/>
          <p:nvPr/>
        </p:nvSpPr>
        <p:spPr>
          <a:xfrm>
            <a:off x="5602523" y="3147849"/>
            <a:ext cx="50105" cy="53601"/>
          </a:xfrm>
          <a:custGeom>
            <a:avLst/>
            <a:gdLst>
              <a:gd name="connsiteX0" fmla="*/ 22140 w 50105"/>
              <a:gd name="connsiteY0" fmla="*/ 53601 h 53601"/>
              <a:gd name="connsiteX1" fmla="*/ 0 w 50105"/>
              <a:gd name="connsiteY1" fmla="*/ 53601 h 53601"/>
              <a:gd name="connsiteX2" fmla="*/ 26801 w 50105"/>
              <a:gd name="connsiteY2" fmla="*/ 26801 h 53601"/>
              <a:gd name="connsiteX3" fmla="*/ 0 w 50105"/>
              <a:gd name="connsiteY3" fmla="*/ 0 h 53601"/>
              <a:gd name="connsiteX4" fmla="*/ 23305 w 50105"/>
              <a:gd name="connsiteY4" fmla="*/ 0 h 53601"/>
              <a:gd name="connsiteX5" fmla="*/ 50106 w 50105"/>
              <a:gd name="connsiteY5" fmla="*/ 26801 h 53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3601">
                <a:moveTo>
                  <a:pt x="22140" y="53601"/>
                </a:moveTo>
                <a:lnTo>
                  <a:pt x="0" y="53601"/>
                </a:lnTo>
                <a:lnTo>
                  <a:pt x="26801" y="26801"/>
                </a:lnTo>
                <a:lnTo>
                  <a:pt x="0" y="0"/>
                </a:lnTo>
                <a:lnTo>
                  <a:pt x="23305" y="0"/>
                </a:lnTo>
                <a:lnTo>
                  <a:pt x="50106" y="26801"/>
                </a:lnTo>
                <a:close/>
              </a:path>
            </a:pathLst>
          </a:custGeom>
          <a:solidFill>
            <a:srgbClr val="EEF2F5"/>
          </a:solidFill>
          <a:ln w="11643" cap="flat">
            <a:noFill/>
            <a:prstDash val="solid"/>
            <a:miter/>
          </a:ln>
        </p:spPr>
        <p:txBody>
          <a:bodyPr rtlCol="0" anchor="ctr"/>
          <a:lstStyle/>
          <a:p>
            <a:pPr rtl="0"/>
            <a:endParaRPr lang="en-US"/>
          </a:p>
        </p:txBody>
      </p:sp>
      <p:sp>
        <p:nvSpPr>
          <p:cNvPr id="72" name="Freihandform: Form 71">
            <a:extLst>
              <a:ext uri="{FF2B5EF4-FFF2-40B4-BE49-F238E27FC236}">
                <a16:creationId xmlns:a16="http://schemas.microsoft.com/office/drawing/2014/main" id="{15AE0A81-8164-4015-8158-36F576D4E31D}"/>
              </a:ext>
            </a:extLst>
          </p:cNvPr>
          <p:cNvSpPr/>
          <p:nvPr/>
        </p:nvSpPr>
        <p:spPr>
          <a:xfrm>
            <a:off x="5602523" y="3502084"/>
            <a:ext cx="50105" cy="54766"/>
          </a:xfrm>
          <a:custGeom>
            <a:avLst/>
            <a:gdLst>
              <a:gd name="connsiteX0" fmla="*/ 22140 w 50105"/>
              <a:gd name="connsiteY0" fmla="*/ 54767 h 54766"/>
              <a:gd name="connsiteX1" fmla="*/ 0 w 50105"/>
              <a:gd name="connsiteY1" fmla="*/ 54767 h 54766"/>
              <a:gd name="connsiteX2" fmla="*/ 26801 w 50105"/>
              <a:gd name="connsiteY2" fmla="*/ 27966 h 54766"/>
              <a:gd name="connsiteX3" fmla="*/ 0 w 50105"/>
              <a:gd name="connsiteY3" fmla="*/ 0 h 54766"/>
              <a:gd name="connsiteX4" fmla="*/ 23305 w 50105"/>
              <a:gd name="connsiteY4" fmla="*/ 0 h 54766"/>
              <a:gd name="connsiteX5" fmla="*/ 50106 w 50105"/>
              <a:gd name="connsiteY5" fmla="*/ 26801 h 5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4765">
                <a:moveTo>
                  <a:pt x="22140" y="54767"/>
                </a:moveTo>
                <a:lnTo>
                  <a:pt x="0" y="54767"/>
                </a:lnTo>
                <a:lnTo>
                  <a:pt x="26801" y="27966"/>
                </a:lnTo>
                <a:lnTo>
                  <a:pt x="0" y="0"/>
                </a:lnTo>
                <a:lnTo>
                  <a:pt x="23305" y="0"/>
                </a:lnTo>
                <a:lnTo>
                  <a:pt x="50106" y="26801"/>
                </a:lnTo>
                <a:close/>
              </a:path>
            </a:pathLst>
          </a:custGeom>
          <a:solidFill>
            <a:srgbClr val="EEF2F5"/>
          </a:solidFill>
          <a:ln w="11643" cap="flat">
            <a:noFill/>
            <a:prstDash val="solid"/>
            <a:miter/>
          </a:ln>
        </p:spPr>
        <p:txBody>
          <a:bodyPr rtlCol="0" anchor="ctr"/>
          <a:lstStyle/>
          <a:p>
            <a:pPr rtl="0"/>
            <a:endParaRPr lang="en-US"/>
          </a:p>
        </p:txBody>
      </p:sp>
      <p:sp>
        <p:nvSpPr>
          <p:cNvPr id="171" name="Freihandform: Form 170">
            <a:extLst>
              <a:ext uri="{FF2B5EF4-FFF2-40B4-BE49-F238E27FC236}">
                <a16:creationId xmlns:a16="http://schemas.microsoft.com/office/drawing/2014/main" id="{F7E7E68A-1C17-4FA5-88E2-BA53C7F9EC18}"/>
              </a:ext>
            </a:extLst>
          </p:cNvPr>
          <p:cNvSpPr/>
          <p:nvPr/>
        </p:nvSpPr>
        <p:spPr>
          <a:xfrm>
            <a:off x="5602523" y="5630993"/>
            <a:ext cx="50105" cy="54766"/>
          </a:xfrm>
          <a:custGeom>
            <a:avLst/>
            <a:gdLst>
              <a:gd name="connsiteX0" fmla="*/ 22140 w 50105"/>
              <a:gd name="connsiteY0" fmla="*/ 54766 h 54766"/>
              <a:gd name="connsiteX1" fmla="*/ 0 w 50105"/>
              <a:gd name="connsiteY1" fmla="*/ 54766 h 54766"/>
              <a:gd name="connsiteX2" fmla="*/ 26801 w 50105"/>
              <a:gd name="connsiteY2" fmla="*/ 27966 h 54766"/>
              <a:gd name="connsiteX3" fmla="*/ 0 w 50105"/>
              <a:gd name="connsiteY3" fmla="*/ 0 h 54766"/>
              <a:gd name="connsiteX4" fmla="*/ 23305 w 50105"/>
              <a:gd name="connsiteY4" fmla="*/ 0 h 54766"/>
              <a:gd name="connsiteX5" fmla="*/ 50106 w 50105"/>
              <a:gd name="connsiteY5" fmla="*/ 26801 h 5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4765">
                <a:moveTo>
                  <a:pt x="22140" y="54766"/>
                </a:moveTo>
                <a:lnTo>
                  <a:pt x="0" y="54766"/>
                </a:lnTo>
                <a:lnTo>
                  <a:pt x="26801" y="27966"/>
                </a:lnTo>
                <a:lnTo>
                  <a:pt x="0" y="0"/>
                </a:lnTo>
                <a:lnTo>
                  <a:pt x="23305" y="0"/>
                </a:lnTo>
                <a:lnTo>
                  <a:pt x="50106" y="26801"/>
                </a:lnTo>
                <a:close/>
              </a:path>
            </a:pathLst>
          </a:custGeom>
          <a:solidFill>
            <a:srgbClr val="EEF2F5"/>
          </a:solidFill>
          <a:ln w="11643" cap="flat">
            <a:noFill/>
            <a:prstDash val="solid"/>
            <a:miter/>
          </a:ln>
        </p:spPr>
        <p:txBody>
          <a:bodyPr rtlCol="0" anchor="ctr"/>
          <a:lstStyle/>
          <a:p>
            <a:pPr rtl="0"/>
            <a:endParaRPr lang="en-US"/>
          </a:p>
        </p:txBody>
      </p:sp>
      <p:sp>
        <p:nvSpPr>
          <p:cNvPr id="188" name="Freihandform: Form 187">
            <a:extLst>
              <a:ext uri="{FF2B5EF4-FFF2-40B4-BE49-F238E27FC236}">
                <a16:creationId xmlns:a16="http://schemas.microsoft.com/office/drawing/2014/main" id="{D858DCE1-2FBD-4D17-8C06-66D6048D5493}"/>
              </a:ext>
            </a:extLst>
          </p:cNvPr>
          <p:cNvSpPr/>
          <p:nvPr/>
        </p:nvSpPr>
        <p:spPr>
          <a:xfrm>
            <a:off x="5602523" y="5986393"/>
            <a:ext cx="50105" cy="54766"/>
          </a:xfrm>
          <a:custGeom>
            <a:avLst/>
            <a:gdLst>
              <a:gd name="connsiteX0" fmla="*/ 22140 w 50105"/>
              <a:gd name="connsiteY0" fmla="*/ 54766 h 54766"/>
              <a:gd name="connsiteX1" fmla="*/ 0 w 50105"/>
              <a:gd name="connsiteY1" fmla="*/ 54766 h 54766"/>
              <a:gd name="connsiteX2" fmla="*/ 26801 w 50105"/>
              <a:gd name="connsiteY2" fmla="*/ 26801 h 54766"/>
              <a:gd name="connsiteX3" fmla="*/ 0 w 50105"/>
              <a:gd name="connsiteY3" fmla="*/ 0 h 54766"/>
              <a:gd name="connsiteX4" fmla="*/ 23305 w 50105"/>
              <a:gd name="connsiteY4" fmla="*/ 0 h 54766"/>
              <a:gd name="connsiteX5" fmla="*/ 50106 w 50105"/>
              <a:gd name="connsiteY5" fmla="*/ 26801 h 5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4765">
                <a:moveTo>
                  <a:pt x="22140" y="54766"/>
                </a:moveTo>
                <a:lnTo>
                  <a:pt x="0" y="54766"/>
                </a:lnTo>
                <a:lnTo>
                  <a:pt x="26801" y="26801"/>
                </a:lnTo>
                <a:lnTo>
                  <a:pt x="0" y="0"/>
                </a:lnTo>
                <a:lnTo>
                  <a:pt x="23305" y="0"/>
                </a:lnTo>
                <a:lnTo>
                  <a:pt x="50106" y="26801"/>
                </a:lnTo>
                <a:close/>
              </a:path>
            </a:pathLst>
          </a:custGeom>
          <a:solidFill>
            <a:srgbClr val="EEF2F5"/>
          </a:solidFill>
          <a:ln w="11643" cap="flat">
            <a:noFill/>
            <a:prstDash val="solid"/>
            <a:miter/>
          </a:ln>
        </p:spPr>
        <p:txBody>
          <a:bodyPr rtlCol="0" anchor="ctr"/>
          <a:lstStyle/>
          <a:p>
            <a:pPr rtl="0"/>
            <a:endParaRPr lang="en-US"/>
          </a:p>
        </p:txBody>
      </p:sp>
      <p:sp>
        <p:nvSpPr>
          <p:cNvPr id="205" name="Freihandform: Form 204">
            <a:extLst>
              <a:ext uri="{FF2B5EF4-FFF2-40B4-BE49-F238E27FC236}">
                <a16:creationId xmlns:a16="http://schemas.microsoft.com/office/drawing/2014/main" id="{A776D8C8-F6BD-495D-AE14-B62B445F9D30}"/>
              </a:ext>
            </a:extLst>
          </p:cNvPr>
          <p:cNvSpPr/>
          <p:nvPr/>
        </p:nvSpPr>
        <p:spPr>
          <a:xfrm>
            <a:off x="5602523" y="6340628"/>
            <a:ext cx="50105" cy="54766"/>
          </a:xfrm>
          <a:custGeom>
            <a:avLst/>
            <a:gdLst>
              <a:gd name="connsiteX0" fmla="*/ 22140 w 50105"/>
              <a:gd name="connsiteY0" fmla="*/ 54766 h 54766"/>
              <a:gd name="connsiteX1" fmla="*/ 0 w 50105"/>
              <a:gd name="connsiteY1" fmla="*/ 54766 h 54766"/>
              <a:gd name="connsiteX2" fmla="*/ 26801 w 50105"/>
              <a:gd name="connsiteY2" fmla="*/ 27966 h 54766"/>
              <a:gd name="connsiteX3" fmla="*/ 0 w 50105"/>
              <a:gd name="connsiteY3" fmla="*/ 0 h 54766"/>
              <a:gd name="connsiteX4" fmla="*/ 23305 w 50105"/>
              <a:gd name="connsiteY4" fmla="*/ 0 h 54766"/>
              <a:gd name="connsiteX5" fmla="*/ 50106 w 50105"/>
              <a:gd name="connsiteY5" fmla="*/ 26801 h 5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4765">
                <a:moveTo>
                  <a:pt x="22140" y="54766"/>
                </a:moveTo>
                <a:lnTo>
                  <a:pt x="0" y="54766"/>
                </a:lnTo>
                <a:lnTo>
                  <a:pt x="26801" y="27966"/>
                </a:lnTo>
                <a:lnTo>
                  <a:pt x="0" y="0"/>
                </a:lnTo>
                <a:lnTo>
                  <a:pt x="23305" y="0"/>
                </a:lnTo>
                <a:lnTo>
                  <a:pt x="50106" y="26801"/>
                </a:lnTo>
                <a:close/>
              </a:path>
            </a:pathLst>
          </a:custGeom>
          <a:solidFill>
            <a:srgbClr val="EEF2F5"/>
          </a:solidFill>
          <a:ln w="11643" cap="flat">
            <a:noFill/>
            <a:prstDash val="solid"/>
            <a:miter/>
          </a:ln>
        </p:spPr>
        <p:txBody>
          <a:bodyPr rtlCol="0" anchor="ctr"/>
          <a:lstStyle/>
          <a:p>
            <a:pPr rtl="0"/>
            <a:endParaRPr lang="en-US"/>
          </a:p>
        </p:txBody>
      </p:sp>
      <p:sp>
        <p:nvSpPr>
          <p:cNvPr id="221" name="Freihandform: Form 220">
            <a:extLst>
              <a:ext uri="{FF2B5EF4-FFF2-40B4-BE49-F238E27FC236}">
                <a16:creationId xmlns:a16="http://schemas.microsoft.com/office/drawing/2014/main" id="{335AC205-F15B-44A8-85C9-E62E3F81F25D}"/>
              </a:ext>
            </a:extLst>
          </p:cNvPr>
          <p:cNvSpPr/>
          <p:nvPr/>
        </p:nvSpPr>
        <p:spPr>
          <a:xfrm>
            <a:off x="5602523" y="6696029"/>
            <a:ext cx="50105" cy="54766"/>
          </a:xfrm>
          <a:custGeom>
            <a:avLst/>
            <a:gdLst>
              <a:gd name="connsiteX0" fmla="*/ 22140 w 50105"/>
              <a:gd name="connsiteY0" fmla="*/ 54766 h 54766"/>
              <a:gd name="connsiteX1" fmla="*/ 0 w 50105"/>
              <a:gd name="connsiteY1" fmla="*/ 54766 h 54766"/>
              <a:gd name="connsiteX2" fmla="*/ 26801 w 50105"/>
              <a:gd name="connsiteY2" fmla="*/ 27966 h 54766"/>
              <a:gd name="connsiteX3" fmla="*/ 0 w 50105"/>
              <a:gd name="connsiteY3" fmla="*/ 0 h 54766"/>
              <a:gd name="connsiteX4" fmla="*/ 23305 w 50105"/>
              <a:gd name="connsiteY4" fmla="*/ 0 h 54766"/>
              <a:gd name="connsiteX5" fmla="*/ 50106 w 50105"/>
              <a:gd name="connsiteY5" fmla="*/ 26801 h 5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4765">
                <a:moveTo>
                  <a:pt x="22140" y="54766"/>
                </a:moveTo>
                <a:lnTo>
                  <a:pt x="0" y="54766"/>
                </a:lnTo>
                <a:lnTo>
                  <a:pt x="26801" y="27966"/>
                </a:lnTo>
                <a:lnTo>
                  <a:pt x="0" y="0"/>
                </a:lnTo>
                <a:lnTo>
                  <a:pt x="23305" y="0"/>
                </a:lnTo>
                <a:lnTo>
                  <a:pt x="50106" y="26801"/>
                </a:lnTo>
                <a:close/>
              </a:path>
            </a:pathLst>
          </a:custGeom>
          <a:solidFill>
            <a:srgbClr val="EEF2F5"/>
          </a:solidFill>
          <a:ln w="11643" cap="flat">
            <a:noFill/>
            <a:prstDash val="solid"/>
            <a:miter/>
          </a:ln>
        </p:spPr>
        <p:txBody>
          <a:bodyPr rtlCol="0" anchor="ctr"/>
          <a:lstStyle/>
          <a:p>
            <a:pPr rtl="0"/>
            <a:endParaRPr lang="en-US"/>
          </a:p>
        </p:txBody>
      </p:sp>
      <p:sp>
        <p:nvSpPr>
          <p:cNvPr id="8" name="Freihandform: Form 7">
            <a:extLst>
              <a:ext uri="{FF2B5EF4-FFF2-40B4-BE49-F238E27FC236}">
                <a16:creationId xmlns:a16="http://schemas.microsoft.com/office/drawing/2014/main" id="{D0D01710-DC2E-4828-86F6-D324528021A5}"/>
              </a:ext>
            </a:extLst>
          </p:cNvPr>
          <p:cNvSpPr/>
          <p:nvPr/>
        </p:nvSpPr>
        <p:spPr>
          <a:xfrm>
            <a:off x="5948602" y="2073490"/>
            <a:ext cx="66419" cy="72245"/>
          </a:xfrm>
          <a:custGeom>
            <a:avLst/>
            <a:gdLst>
              <a:gd name="connsiteX0" fmla="*/ 30297 w 66419"/>
              <a:gd name="connsiteY0" fmla="*/ 72245 h 72245"/>
              <a:gd name="connsiteX1" fmla="*/ 0 w 66419"/>
              <a:gd name="connsiteY1" fmla="*/ 72245 h 72245"/>
              <a:gd name="connsiteX2" fmla="*/ 36123 w 66419"/>
              <a:gd name="connsiteY2" fmla="*/ 37288 h 72245"/>
              <a:gd name="connsiteX3" fmla="*/ 0 w 66419"/>
              <a:gd name="connsiteY3" fmla="*/ 0 h 72245"/>
              <a:gd name="connsiteX4" fmla="*/ 31462 w 66419"/>
              <a:gd name="connsiteY4" fmla="*/ 0 h 72245"/>
              <a:gd name="connsiteX5" fmla="*/ 66419 w 66419"/>
              <a:gd name="connsiteY5" fmla="*/ 36123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5"/>
                </a:moveTo>
                <a:lnTo>
                  <a:pt x="0" y="72245"/>
                </a:lnTo>
                <a:lnTo>
                  <a:pt x="36123" y="37288"/>
                </a:lnTo>
                <a:lnTo>
                  <a:pt x="0" y="0"/>
                </a:lnTo>
                <a:lnTo>
                  <a:pt x="31462" y="0"/>
                </a:lnTo>
                <a:lnTo>
                  <a:pt x="66419" y="36123"/>
                </a:lnTo>
                <a:close/>
              </a:path>
            </a:pathLst>
          </a:custGeom>
          <a:solidFill>
            <a:srgbClr val="EEF2F5"/>
          </a:solidFill>
          <a:ln w="11643" cap="flat">
            <a:noFill/>
            <a:prstDash val="solid"/>
            <a:miter/>
          </a:ln>
        </p:spPr>
        <p:txBody>
          <a:bodyPr rtlCol="0" anchor="ctr"/>
          <a:lstStyle/>
          <a:p>
            <a:pPr rtl="0"/>
            <a:endParaRPr lang="en-US"/>
          </a:p>
        </p:txBody>
      </p:sp>
      <p:sp>
        <p:nvSpPr>
          <p:cNvPr id="25" name="Freihandform: Form 24">
            <a:extLst>
              <a:ext uri="{FF2B5EF4-FFF2-40B4-BE49-F238E27FC236}">
                <a16:creationId xmlns:a16="http://schemas.microsoft.com/office/drawing/2014/main" id="{31123F88-1002-4B81-B9C6-413FE13BBA3A}"/>
              </a:ext>
            </a:extLst>
          </p:cNvPr>
          <p:cNvSpPr/>
          <p:nvPr/>
        </p:nvSpPr>
        <p:spPr>
          <a:xfrm>
            <a:off x="5948602" y="2428891"/>
            <a:ext cx="66419" cy="72245"/>
          </a:xfrm>
          <a:custGeom>
            <a:avLst/>
            <a:gdLst>
              <a:gd name="connsiteX0" fmla="*/ 30297 w 66419"/>
              <a:gd name="connsiteY0" fmla="*/ 72245 h 72245"/>
              <a:gd name="connsiteX1" fmla="*/ 0 w 66419"/>
              <a:gd name="connsiteY1" fmla="*/ 72245 h 72245"/>
              <a:gd name="connsiteX2" fmla="*/ 36123 w 66419"/>
              <a:gd name="connsiteY2" fmla="*/ 36123 h 72245"/>
              <a:gd name="connsiteX3" fmla="*/ 0 w 66419"/>
              <a:gd name="connsiteY3" fmla="*/ 0 h 72245"/>
              <a:gd name="connsiteX4" fmla="*/ 31462 w 66419"/>
              <a:gd name="connsiteY4" fmla="*/ 0 h 72245"/>
              <a:gd name="connsiteX5" fmla="*/ 66419 w 66419"/>
              <a:gd name="connsiteY5" fmla="*/ 34957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5"/>
                </a:moveTo>
                <a:lnTo>
                  <a:pt x="0" y="72245"/>
                </a:lnTo>
                <a:lnTo>
                  <a:pt x="36123" y="36123"/>
                </a:lnTo>
                <a:lnTo>
                  <a:pt x="0" y="0"/>
                </a:lnTo>
                <a:lnTo>
                  <a:pt x="31462" y="0"/>
                </a:lnTo>
                <a:lnTo>
                  <a:pt x="66419" y="34957"/>
                </a:lnTo>
                <a:close/>
              </a:path>
            </a:pathLst>
          </a:custGeom>
          <a:solidFill>
            <a:srgbClr val="EEF2F5"/>
          </a:solidFill>
          <a:ln w="11643" cap="flat">
            <a:noFill/>
            <a:prstDash val="solid"/>
            <a:miter/>
          </a:ln>
        </p:spPr>
        <p:txBody>
          <a:bodyPr rtlCol="0" anchor="ctr"/>
          <a:lstStyle/>
          <a:p>
            <a:pPr rtl="0"/>
            <a:endParaRPr lang="en-US"/>
          </a:p>
        </p:txBody>
      </p:sp>
      <p:sp>
        <p:nvSpPr>
          <p:cNvPr id="41" name="Freihandform: Form 40">
            <a:extLst>
              <a:ext uri="{FF2B5EF4-FFF2-40B4-BE49-F238E27FC236}">
                <a16:creationId xmlns:a16="http://schemas.microsoft.com/office/drawing/2014/main" id="{BA5C8D95-A4B2-4EE7-814A-A5E3649F4137}"/>
              </a:ext>
            </a:extLst>
          </p:cNvPr>
          <p:cNvSpPr/>
          <p:nvPr/>
        </p:nvSpPr>
        <p:spPr>
          <a:xfrm>
            <a:off x="5948602" y="2783126"/>
            <a:ext cx="66419" cy="72245"/>
          </a:xfrm>
          <a:custGeom>
            <a:avLst/>
            <a:gdLst>
              <a:gd name="connsiteX0" fmla="*/ 30297 w 66419"/>
              <a:gd name="connsiteY0" fmla="*/ 72245 h 72245"/>
              <a:gd name="connsiteX1" fmla="*/ 0 w 66419"/>
              <a:gd name="connsiteY1" fmla="*/ 72245 h 72245"/>
              <a:gd name="connsiteX2" fmla="*/ 36123 w 66419"/>
              <a:gd name="connsiteY2" fmla="*/ 37288 h 72245"/>
              <a:gd name="connsiteX3" fmla="*/ 0 w 66419"/>
              <a:gd name="connsiteY3" fmla="*/ 0 h 72245"/>
              <a:gd name="connsiteX4" fmla="*/ 31462 w 66419"/>
              <a:gd name="connsiteY4" fmla="*/ 0 h 72245"/>
              <a:gd name="connsiteX5" fmla="*/ 66419 w 66419"/>
              <a:gd name="connsiteY5" fmla="*/ 36123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5"/>
                </a:moveTo>
                <a:lnTo>
                  <a:pt x="0" y="72245"/>
                </a:lnTo>
                <a:lnTo>
                  <a:pt x="36123" y="37288"/>
                </a:lnTo>
                <a:lnTo>
                  <a:pt x="0" y="0"/>
                </a:lnTo>
                <a:lnTo>
                  <a:pt x="31462" y="0"/>
                </a:lnTo>
                <a:lnTo>
                  <a:pt x="66419" y="36123"/>
                </a:lnTo>
                <a:close/>
              </a:path>
            </a:pathLst>
          </a:custGeom>
          <a:solidFill>
            <a:srgbClr val="EEF2F5"/>
          </a:solidFill>
          <a:ln w="11643" cap="flat">
            <a:noFill/>
            <a:prstDash val="solid"/>
            <a:miter/>
          </a:ln>
        </p:spPr>
        <p:txBody>
          <a:bodyPr rtlCol="0" anchor="ctr"/>
          <a:lstStyle/>
          <a:p>
            <a:pPr rtl="0"/>
            <a:endParaRPr lang="en-US"/>
          </a:p>
        </p:txBody>
      </p:sp>
      <p:sp>
        <p:nvSpPr>
          <p:cNvPr id="57" name="Freihandform: Form 56">
            <a:extLst>
              <a:ext uri="{FF2B5EF4-FFF2-40B4-BE49-F238E27FC236}">
                <a16:creationId xmlns:a16="http://schemas.microsoft.com/office/drawing/2014/main" id="{636D7BF9-1E35-425E-994B-CE960B642C82}"/>
              </a:ext>
            </a:extLst>
          </p:cNvPr>
          <p:cNvSpPr/>
          <p:nvPr/>
        </p:nvSpPr>
        <p:spPr>
          <a:xfrm>
            <a:off x="5948602" y="3138527"/>
            <a:ext cx="66419" cy="72245"/>
          </a:xfrm>
          <a:custGeom>
            <a:avLst/>
            <a:gdLst>
              <a:gd name="connsiteX0" fmla="*/ 30297 w 66419"/>
              <a:gd name="connsiteY0" fmla="*/ 72245 h 72245"/>
              <a:gd name="connsiteX1" fmla="*/ 0 w 66419"/>
              <a:gd name="connsiteY1" fmla="*/ 72245 h 72245"/>
              <a:gd name="connsiteX2" fmla="*/ 36123 w 66419"/>
              <a:gd name="connsiteY2" fmla="*/ 36123 h 72245"/>
              <a:gd name="connsiteX3" fmla="*/ 0 w 66419"/>
              <a:gd name="connsiteY3" fmla="*/ 0 h 72245"/>
              <a:gd name="connsiteX4" fmla="*/ 31462 w 66419"/>
              <a:gd name="connsiteY4" fmla="*/ 0 h 72245"/>
              <a:gd name="connsiteX5" fmla="*/ 66419 w 66419"/>
              <a:gd name="connsiteY5" fmla="*/ 34957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5"/>
                </a:moveTo>
                <a:lnTo>
                  <a:pt x="0" y="72245"/>
                </a:lnTo>
                <a:lnTo>
                  <a:pt x="36123" y="36123"/>
                </a:lnTo>
                <a:lnTo>
                  <a:pt x="0" y="0"/>
                </a:lnTo>
                <a:lnTo>
                  <a:pt x="31462" y="0"/>
                </a:lnTo>
                <a:lnTo>
                  <a:pt x="66419" y="34957"/>
                </a:lnTo>
                <a:close/>
              </a:path>
            </a:pathLst>
          </a:custGeom>
          <a:solidFill>
            <a:srgbClr val="EEF2F5"/>
          </a:solidFill>
          <a:ln w="11643" cap="flat">
            <a:noFill/>
            <a:prstDash val="solid"/>
            <a:miter/>
          </a:ln>
        </p:spPr>
        <p:txBody>
          <a:bodyPr rtlCol="0" anchor="ctr"/>
          <a:lstStyle/>
          <a:p>
            <a:pPr rtl="0"/>
            <a:endParaRPr lang="en-US"/>
          </a:p>
        </p:txBody>
      </p:sp>
      <p:sp>
        <p:nvSpPr>
          <p:cNvPr id="73" name="Freihandform: Form 72">
            <a:extLst>
              <a:ext uri="{FF2B5EF4-FFF2-40B4-BE49-F238E27FC236}">
                <a16:creationId xmlns:a16="http://schemas.microsoft.com/office/drawing/2014/main" id="{DFBDD53B-EB0E-4F44-B437-1C679A10EA5C}"/>
              </a:ext>
            </a:extLst>
          </p:cNvPr>
          <p:cNvSpPr/>
          <p:nvPr/>
        </p:nvSpPr>
        <p:spPr>
          <a:xfrm>
            <a:off x="5948602" y="3492762"/>
            <a:ext cx="66419" cy="73410"/>
          </a:xfrm>
          <a:custGeom>
            <a:avLst/>
            <a:gdLst>
              <a:gd name="connsiteX0" fmla="*/ 30297 w 66419"/>
              <a:gd name="connsiteY0" fmla="*/ 73411 h 73410"/>
              <a:gd name="connsiteX1" fmla="*/ 0 w 66419"/>
              <a:gd name="connsiteY1" fmla="*/ 73411 h 73410"/>
              <a:gd name="connsiteX2" fmla="*/ 36123 w 66419"/>
              <a:gd name="connsiteY2" fmla="*/ 37288 h 73410"/>
              <a:gd name="connsiteX3" fmla="*/ 0 w 66419"/>
              <a:gd name="connsiteY3" fmla="*/ 0 h 73410"/>
              <a:gd name="connsiteX4" fmla="*/ 31462 w 66419"/>
              <a:gd name="connsiteY4" fmla="*/ 0 h 73410"/>
              <a:gd name="connsiteX5" fmla="*/ 66419 w 66419"/>
              <a:gd name="connsiteY5" fmla="*/ 36123 h 73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3410">
                <a:moveTo>
                  <a:pt x="30297" y="73411"/>
                </a:moveTo>
                <a:lnTo>
                  <a:pt x="0" y="73411"/>
                </a:lnTo>
                <a:lnTo>
                  <a:pt x="36123" y="37288"/>
                </a:lnTo>
                <a:lnTo>
                  <a:pt x="0" y="0"/>
                </a:lnTo>
                <a:lnTo>
                  <a:pt x="31462" y="0"/>
                </a:lnTo>
                <a:lnTo>
                  <a:pt x="66419" y="36123"/>
                </a:lnTo>
                <a:close/>
              </a:path>
            </a:pathLst>
          </a:custGeom>
          <a:solidFill>
            <a:srgbClr val="EEF2F5"/>
          </a:solidFill>
          <a:ln w="11643" cap="flat">
            <a:noFill/>
            <a:prstDash val="solid"/>
            <a:miter/>
          </a:ln>
        </p:spPr>
        <p:txBody>
          <a:bodyPr rtlCol="0" anchor="ctr"/>
          <a:lstStyle/>
          <a:p>
            <a:pPr rtl="0"/>
            <a:endParaRPr lang="en-US"/>
          </a:p>
        </p:txBody>
      </p:sp>
      <p:sp>
        <p:nvSpPr>
          <p:cNvPr id="89" name="Freihandform: Form 88">
            <a:extLst>
              <a:ext uri="{FF2B5EF4-FFF2-40B4-BE49-F238E27FC236}">
                <a16:creationId xmlns:a16="http://schemas.microsoft.com/office/drawing/2014/main" id="{3107BFD1-BB04-45D5-9901-72F67CE0736C}"/>
              </a:ext>
            </a:extLst>
          </p:cNvPr>
          <p:cNvSpPr/>
          <p:nvPr/>
        </p:nvSpPr>
        <p:spPr>
          <a:xfrm>
            <a:off x="5948602" y="3848163"/>
            <a:ext cx="66419" cy="72245"/>
          </a:xfrm>
          <a:custGeom>
            <a:avLst/>
            <a:gdLst>
              <a:gd name="connsiteX0" fmla="*/ 30297 w 66419"/>
              <a:gd name="connsiteY0" fmla="*/ 72245 h 72245"/>
              <a:gd name="connsiteX1" fmla="*/ 0 w 66419"/>
              <a:gd name="connsiteY1" fmla="*/ 72245 h 72245"/>
              <a:gd name="connsiteX2" fmla="*/ 36123 w 66419"/>
              <a:gd name="connsiteY2" fmla="*/ 36123 h 72245"/>
              <a:gd name="connsiteX3" fmla="*/ 0 w 66419"/>
              <a:gd name="connsiteY3" fmla="*/ 0 h 72245"/>
              <a:gd name="connsiteX4" fmla="*/ 31462 w 66419"/>
              <a:gd name="connsiteY4" fmla="*/ 0 h 72245"/>
              <a:gd name="connsiteX5" fmla="*/ 66419 w 66419"/>
              <a:gd name="connsiteY5" fmla="*/ 34957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5"/>
                </a:moveTo>
                <a:lnTo>
                  <a:pt x="0" y="72245"/>
                </a:lnTo>
                <a:lnTo>
                  <a:pt x="36123" y="36123"/>
                </a:lnTo>
                <a:lnTo>
                  <a:pt x="0" y="0"/>
                </a:lnTo>
                <a:lnTo>
                  <a:pt x="31462" y="0"/>
                </a:lnTo>
                <a:lnTo>
                  <a:pt x="66419" y="34957"/>
                </a:lnTo>
                <a:close/>
              </a:path>
            </a:pathLst>
          </a:custGeom>
          <a:solidFill>
            <a:srgbClr val="EEF2F5"/>
          </a:solidFill>
          <a:ln w="11643" cap="flat">
            <a:noFill/>
            <a:prstDash val="solid"/>
            <a:miter/>
          </a:ln>
        </p:spPr>
        <p:txBody>
          <a:bodyPr rtlCol="0" anchor="ctr"/>
          <a:lstStyle/>
          <a:p>
            <a:pPr rtl="0"/>
            <a:endParaRPr lang="en-US"/>
          </a:p>
        </p:txBody>
      </p:sp>
      <p:sp>
        <p:nvSpPr>
          <p:cNvPr id="155" name="Freihandform: Form 154">
            <a:extLst>
              <a:ext uri="{FF2B5EF4-FFF2-40B4-BE49-F238E27FC236}">
                <a16:creationId xmlns:a16="http://schemas.microsoft.com/office/drawing/2014/main" id="{0476C6FA-89C7-4150-9910-3BE37EF8061B}"/>
              </a:ext>
            </a:extLst>
          </p:cNvPr>
          <p:cNvSpPr/>
          <p:nvPr/>
        </p:nvSpPr>
        <p:spPr>
          <a:xfrm>
            <a:off x="5948602" y="5267435"/>
            <a:ext cx="66419" cy="72245"/>
          </a:xfrm>
          <a:custGeom>
            <a:avLst/>
            <a:gdLst>
              <a:gd name="connsiteX0" fmla="*/ 30297 w 66419"/>
              <a:gd name="connsiteY0" fmla="*/ 72246 h 72245"/>
              <a:gd name="connsiteX1" fmla="*/ 0 w 66419"/>
              <a:gd name="connsiteY1" fmla="*/ 72246 h 72245"/>
              <a:gd name="connsiteX2" fmla="*/ 36123 w 66419"/>
              <a:gd name="connsiteY2" fmla="*/ 36123 h 72245"/>
              <a:gd name="connsiteX3" fmla="*/ 0 w 66419"/>
              <a:gd name="connsiteY3" fmla="*/ 0 h 72245"/>
              <a:gd name="connsiteX4" fmla="*/ 31462 w 66419"/>
              <a:gd name="connsiteY4" fmla="*/ 0 h 72245"/>
              <a:gd name="connsiteX5" fmla="*/ 66419 w 66419"/>
              <a:gd name="connsiteY5" fmla="*/ 36123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6"/>
                </a:moveTo>
                <a:lnTo>
                  <a:pt x="0" y="72246"/>
                </a:lnTo>
                <a:lnTo>
                  <a:pt x="36123" y="36123"/>
                </a:lnTo>
                <a:lnTo>
                  <a:pt x="0" y="0"/>
                </a:lnTo>
                <a:lnTo>
                  <a:pt x="31462" y="0"/>
                </a:lnTo>
                <a:lnTo>
                  <a:pt x="66419" y="36123"/>
                </a:lnTo>
                <a:close/>
              </a:path>
            </a:pathLst>
          </a:custGeom>
          <a:solidFill>
            <a:srgbClr val="EEF2F5"/>
          </a:solidFill>
          <a:ln w="11643" cap="flat">
            <a:noFill/>
            <a:prstDash val="solid"/>
            <a:miter/>
          </a:ln>
        </p:spPr>
        <p:txBody>
          <a:bodyPr rtlCol="0" anchor="ctr"/>
          <a:lstStyle/>
          <a:p>
            <a:pPr rtl="0"/>
            <a:endParaRPr lang="en-US"/>
          </a:p>
        </p:txBody>
      </p:sp>
      <p:sp>
        <p:nvSpPr>
          <p:cNvPr id="172" name="Freihandform: Form 171">
            <a:extLst>
              <a:ext uri="{FF2B5EF4-FFF2-40B4-BE49-F238E27FC236}">
                <a16:creationId xmlns:a16="http://schemas.microsoft.com/office/drawing/2014/main" id="{B7EA1921-A21C-4EEA-AF29-44E0ABBF486B}"/>
              </a:ext>
            </a:extLst>
          </p:cNvPr>
          <p:cNvSpPr/>
          <p:nvPr/>
        </p:nvSpPr>
        <p:spPr>
          <a:xfrm>
            <a:off x="5948602" y="5622836"/>
            <a:ext cx="66419" cy="72245"/>
          </a:xfrm>
          <a:custGeom>
            <a:avLst/>
            <a:gdLst>
              <a:gd name="connsiteX0" fmla="*/ 30297 w 66419"/>
              <a:gd name="connsiteY0" fmla="*/ 72246 h 72245"/>
              <a:gd name="connsiteX1" fmla="*/ 0 w 66419"/>
              <a:gd name="connsiteY1" fmla="*/ 72246 h 72245"/>
              <a:gd name="connsiteX2" fmla="*/ 36123 w 66419"/>
              <a:gd name="connsiteY2" fmla="*/ 36123 h 72245"/>
              <a:gd name="connsiteX3" fmla="*/ 0 w 66419"/>
              <a:gd name="connsiteY3" fmla="*/ 0 h 72245"/>
              <a:gd name="connsiteX4" fmla="*/ 31462 w 66419"/>
              <a:gd name="connsiteY4" fmla="*/ 0 h 72245"/>
              <a:gd name="connsiteX5" fmla="*/ 66419 w 66419"/>
              <a:gd name="connsiteY5" fmla="*/ 34957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6"/>
                </a:moveTo>
                <a:lnTo>
                  <a:pt x="0" y="72246"/>
                </a:lnTo>
                <a:lnTo>
                  <a:pt x="36123" y="36123"/>
                </a:lnTo>
                <a:lnTo>
                  <a:pt x="0" y="0"/>
                </a:lnTo>
                <a:lnTo>
                  <a:pt x="31462" y="0"/>
                </a:lnTo>
                <a:lnTo>
                  <a:pt x="66419" y="34957"/>
                </a:lnTo>
                <a:close/>
              </a:path>
            </a:pathLst>
          </a:custGeom>
          <a:solidFill>
            <a:srgbClr val="EEF2F5"/>
          </a:solidFill>
          <a:ln w="11643" cap="flat">
            <a:noFill/>
            <a:prstDash val="solid"/>
            <a:miter/>
          </a:ln>
        </p:spPr>
        <p:txBody>
          <a:bodyPr rtlCol="0" anchor="ctr"/>
          <a:lstStyle/>
          <a:p>
            <a:pPr rtl="0"/>
            <a:endParaRPr lang="en-US"/>
          </a:p>
        </p:txBody>
      </p:sp>
      <p:sp>
        <p:nvSpPr>
          <p:cNvPr id="189" name="Freihandform: Form 188">
            <a:extLst>
              <a:ext uri="{FF2B5EF4-FFF2-40B4-BE49-F238E27FC236}">
                <a16:creationId xmlns:a16="http://schemas.microsoft.com/office/drawing/2014/main" id="{4B73D56C-9773-4937-82D9-0C129B27FB09}"/>
              </a:ext>
            </a:extLst>
          </p:cNvPr>
          <p:cNvSpPr/>
          <p:nvPr/>
        </p:nvSpPr>
        <p:spPr>
          <a:xfrm>
            <a:off x="5948602" y="5977071"/>
            <a:ext cx="66419" cy="72245"/>
          </a:xfrm>
          <a:custGeom>
            <a:avLst/>
            <a:gdLst>
              <a:gd name="connsiteX0" fmla="*/ 30297 w 66419"/>
              <a:gd name="connsiteY0" fmla="*/ 72246 h 72245"/>
              <a:gd name="connsiteX1" fmla="*/ 0 w 66419"/>
              <a:gd name="connsiteY1" fmla="*/ 72246 h 72245"/>
              <a:gd name="connsiteX2" fmla="*/ 36123 w 66419"/>
              <a:gd name="connsiteY2" fmla="*/ 36123 h 72245"/>
              <a:gd name="connsiteX3" fmla="*/ 0 w 66419"/>
              <a:gd name="connsiteY3" fmla="*/ 0 h 72245"/>
              <a:gd name="connsiteX4" fmla="*/ 31462 w 66419"/>
              <a:gd name="connsiteY4" fmla="*/ 0 h 72245"/>
              <a:gd name="connsiteX5" fmla="*/ 66419 w 66419"/>
              <a:gd name="connsiteY5" fmla="*/ 36123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6"/>
                </a:moveTo>
                <a:lnTo>
                  <a:pt x="0" y="72246"/>
                </a:lnTo>
                <a:lnTo>
                  <a:pt x="36123" y="36123"/>
                </a:lnTo>
                <a:lnTo>
                  <a:pt x="0" y="0"/>
                </a:lnTo>
                <a:lnTo>
                  <a:pt x="31462" y="0"/>
                </a:lnTo>
                <a:lnTo>
                  <a:pt x="66419" y="36123"/>
                </a:lnTo>
                <a:close/>
              </a:path>
            </a:pathLst>
          </a:custGeom>
          <a:solidFill>
            <a:srgbClr val="EEF2F5"/>
          </a:solidFill>
          <a:ln w="11643" cap="flat">
            <a:noFill/>
            <a:prstDash val="solid"/>
            <a:miter/>
          </a:ln>
        </p:spPr>
        <p:txBody>
          <a:bodyPr rtlCol="0" anchor="ctr"/>
          <a:lstStyle/>
          <a:p>
            <a:pPr rtl="0"/>
            <a:endParaRPr lang="en-US"/>
          </a:p>
        </p:txBody>
      </p:sp>
      <p:sp>
        <p:nvSpPr>
          <p:cNvPr id="206" name="Freihandform: Form 205">
            <a:extLst>
              <a:ext uri="{FF2B5EF4-FFF2-40B4-BE49-F238E27FC236}">
                <a16:creationId xmlns:a16="http://schemas.microsoft.com/office/drawing/2014/main" id="{A2EEDBB3-F918-4A6E-A412-B8C8B911DDD3}"/>
              </a:ext>
            </a:extLst>
          </p:cNvPr>
          <p:cNvSpPr/>
          <p:nvPr/>
        </p:nvSpPr>
        <p:spPr>
          <a:xfrm>
            <a:off x="5948602" y="6332472"/>
            <a:ext cx="66419" cy="72245"/>
          </a:xfrm>
          <a:custGeom>
            <a:avLst/>
            <a:gdLst>
              <a:gd name="connsiteX0" fmla="*/ 30297 w 66419"/>
              <a:gd name="connsiteY0" fmla="*/ 72246 h 72245"/>
              <a:gd name="connsiteX1" fmla="*/ 0 w 66419"/>
              <a:gd name="connsiteY1" fmla="*/ 72246 h 72245"/>
              <a:gd name="connsiteX2" fmla="*/ 36123 w 66419"/>
              <a:gd name="connsiteY2" fmla="*/ 36123 h 72245"/>
              <a:gd name="connsiteX3" fmla="*/ 0 w 66419"/>
              <a:gd name="connsiteY3" fmla="*/ 0 h 72245"/>
              <a:gd name="connsiteX4" fmla="*/ 31462 w 66419"/>
              <a:gd name="connsiteY4" fmla="*/ 0 h 72245"/>
              <a:gd name="connsiteX5" fmla="*/ 66419 w 66419"/>
              <a:gd name="connsiteY5" fmla="*/ 34957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6"/>
                </a:moveTo>
                <a:lnTo>
                  <a:pt x="0" y="72246"/>
                </a:lnTo>
                <a:lnTo>
                  <a:pt x="36123" y="36123"/>
                </a:lnTo>
                <a:lnTo>
                  <a:pt x="0" y="0"/>
                </a:lnTo>
                <a:lnTo>
                  <a:pt x="31462" y="0"/>
                </a:lnTo>
                <a:lnTo>
                  <a:pt x="66419" y="34957"/>
                </a:lnTo>
                <a:close/>
              </a:path>
            </a:pathLst>
          </a:custGeom>
          <a:solidFill>
            <a:srgbClr val="EEF2F5"/>
          </a:solidFill>
          <a:ln w="11643" cap="flat">
            <a:noFill/>
            <a:prstDash val="solid"/>
            <a:miter/>
          </a:ln>
        </p:spPr>
        <p:txBody>
          <a:bodyPr rtlCol="0" anchor="ctr"/>
          <a:lstStyle/>
          <a:p>
            <a:pPr rtl="0"/>
            <a:endParaRPr lang="en-US"/>
          </a:p>
        </p:txBody>
      </p:sp>
      <p:sp>
        <p:nvSpPr>
          <p:cNvPr id="222" name="Freihandform: Form 221">
            <a:extLst>
              <a:ext uri="{FF2B5EF4-FFF2-40B4-BE49-F238E27FC236}">
                <a16:creationId xmlns:a16="http://schemas.microsoft.com/office/drawing/2014/main" id="{E783B07A-D7A5-49D0-8D6F-D0064E121D70}"/>
              </a:ext>
            </a:extLst>
          </p:cNvPr>
          <p:cNvSpPr/>
          <p:nvPr/>
        </p:nvSpPr>
        <p:spPr>
          <a:xfrm>
            <a:off x="5948602" y="6686707"/>
            <a:ext cx="66419" cy="72245"/>
          </a:xfrm>
          <a:custGeom>
            <a:avLst/>
            <a:gdLst>
              <a:gd name="connsiteX0" fmla="*/ 30297 w 66419"/>
              <a:gd name="connsiteY0" fmla="*/ 72246 h 72245"/>
              <a:gd name="connsiteX1" fmla="*/ 0 w 66419"/>
              <a:gd name="connsiteY1" fmla="*/ 72246 h 72245"/>
              <a:gd name="connsiteX2" fmla="*/ 36123 w 66419"/>
              <a:gd name="connsiteY2" fmla="*/ 37288 h 72245"/>
              <a:gd name="connsiteX3" fmla="*/ 0 w 66419"/>
              <a:gd name="connsiteY3" fmla="*/ 0 h 72245"/>
              <a:gd name="connsiteX4" fmla="*/ 31462 w 66419"/>
              <a:gd name="connsiteY4" fmla="*/ 0 h 72245"/>
              <a:gd name="connsiteX5" fmla="*/ 66419 w 66419"/>
              <a:gd name="connsiteY5" fmla="*/ 36123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6"/>
                </a:moveTo>
                <a:lnTo>
                  <a:pt x="0" y="72246"/>
                </a:lnTo>
                <a:lnTo>
                  <a:pt x="36123" y="37288"/>
                </a:lnTo>
                <a:lnTo>
                  <a:pt x="0" y="0"/>
                </a:lnTo>
                <a:lnTo>
                  <a:pt x="31462" y="0"/>
                </a:lnTo>
                <a:lnTo>
                  <a:pt x="66419" y="36123"/>
                </a:lnTo>
                <a:close/>
              </a:path>
            </a:pathLst>
          </a:custGeom>
          <a:solidFill>
            <a:srgbClr val="EEF2F5"/>
          </a:solidFill>
          <a:ln w="11643" cap="flat">
            <a:noFill/>
            <a:prstDash val="solid"/>
            <a:miter/>
          </a:ln>
        </p:spPr>
        <p:txBody>
          <a:bodyPr rtlCol="0" anchor="ctr"/>
          <a:lstStyle/>
          <a:p>
            <a:pPr rtl="0"/>
            <a:endParaRPr lang="en-US"/>
          </a:p>
        </p:txBody>
      </p:sp>
      <p:sp>
        <p:nvSpPr>
          <p:cNvPr id="11" name="Freihandform: Form 10">
            <a:extLst>
              <a:ext uri="{FF2B5EF4-FFF2-40B4-BE49-F238E27FC236}">
                <a16:creationId xmlns:a16="http://schemas.microsoft.com/office/drawing/2014/main" id="{75FBD411-81D5-40D9-85F5-17F8ADC51855}"/>
              </a:ext>
            </a:extLst>
          </p:cNvPr>
          <p:cNvSpPr/>
          <p:nvPr/>
        </p:nvSpPr>
        <p:spPr>
          <a:xfrm>
            <a:off x="6294680" y="2064168"/>
            <a:ext cx="83897" cy="90889"/>
          </a:xfrm>
          <a:custGeom>
            <a:avLst/>
            <a:gdLst>
              <a:gd name="connsiteX0" fmla="*/ 38453 w 83897"/>
              <a:gd name="connsiteY0" fmla="*/ 90889 h 90889"/>
              <a:gd name="connsiteX1" fmla="*/ 0 w 83897"/>
              <a:gd name="connsiteY1" fmla="*/ 90889 h 90889"/>
              <a:gd name="connsiteX2" fmla="*/ 45445 w 83897"/>
              <a:gd name="connsiteY2" fmla="*/ 46610 h 90889"/>
              <a:gd name="connsiteX3" fmla="*/ 0 w 83897"/>
              <a:gd name="connsiteY3" fmla="*/ 0 h 90889"/>
              <a:gd name="connsiteX4" fmla="*/ 39618 w 83897"/>
              <a:gd name="connsiteY4" fmla="*/ 0 h 90889"/>
              <a:gd name="connsiteX5" fmla="*/ 83898 w 83897"/>
              <a:gd name="connsiteY5" fmla="*/ 45445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6610"/>
                </a:lnTo>
                <a:lnTo>
                  <a:pt x="0" y="0"/>
                </a:lnTo>
                <a:lnTo>
                  <a:pt x="39618" y="0"/>
                </a:lnTo>
                <a:lnTo>
                  <a:pt x="83898" y="45445"/>
                </a:lnTo>
                <a:close/>
              </a:path>
            </a:pathLst>
          </a:custGeom>
          <a:solidFill>
            <a:srgbClr val="EEF2F5"/>
          </a:solidFill>
          <a:ln w="11643" cap="flat">
            <a:noFill/>
            <a:prstDash val="solid"/>
            <a:miter/>
          </a:ln>
        </p:spPr>
        <p:txBody>
          <a:bodyPr rtlCol="0" anchor="ctr"/>
          <a:lstStyle/>
          <a:p>
            <a:pPr rtl="0"/>
            <a:endParaRPr lang="en-US"/>
          </a:p>
        </p:txBody>
      </p:sp>
      <p:sp>
        <p:nvSpPr>
          <p:cNvPr id="26" name="Freihandform: Form 25">
            <a:extLst>
              <a:ext uri="{FF2B5EF4-FFF2-40B4-BE49-F238E27FC236}">
                <a16:creationId xmlns:a16="http://schemas.microsoft.com/office/drawing/2014/main" id="{1BE891D4-79E8-4F6F-87F1-0D4367D86BBB}"/>
              </a:ext>
            </a:extLst>
          </p:cNvPr>
          <p:cNvSpPr/>
          <p:nvPr/>
        </p:nvSpPr>
        <p:spPr>
          <a:xfrm>
            <a:off x="6294680" y="2419569"/>
            <a:ext cx="83897" cy="90889"/>
          </a:xfrm>
          <a:custGeom>
            <a:avLst/>
            <a:gdLst>
              <a:gd name="connsiteX0" fmla="*/ 38453 w 83897"/>
              <a:gd name="connsiteY0" fmla="*/ 90889 h 90889"/>
              <a:gd name="connsiteX1" fmla="*/ 0 w 83897"/>
              <a:gd name="connsiteY1" fmla="*/ 90889 h 90889"/>
              <a:gd name="connsiteX2" fmla="*/ 45445 w 83897"/>
              <a:gd name="connsiteY2" fmla="*/ 45445 h 90889"/>
              <a:gd name="connsiteX3" fmla="*/ 0 w 83897"/>
              <a:gd name="connsiteY3" fmla="*/ 0 h 90889"/>
              <a:gd name="connsiteX4" fmla="*/ 39618 w 83897"/>
              <a:gd name="connsiteY4" fmla="*/ 0 h 90889"/>
              <a:gd name="connsiteX5" fmla="*/ 83898 w 83897"/>
              <a:gd name="connsiteY5" fmla="*/ 44279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pPr rtl="0"/>
            <a:endParaRPr lang="en-US"/>
          </a:p>
        </p:txBody>
      </p:sp>
      <p:sp>
        <p:nvSpPr>
          <p:cNvPr id="42" name="Freihandform: Form 41">
            <a:extLst>
              <a:ext uri="{FF2B5EF4-FFF2-40B4-BE49-F238E27FC236}">
                <a16:creationId xmlns:a16="http://schemas.microsoft.com/office/drawing/2014/main" id="{3840402F-0CB7-4700-AB86-312936B9375A}"/>
              </a:ext>
            </a:extLst>
          </p:cNvPr>
          <p:cNvSpPr/>
          <p:nvPr/>
        </p:nvSpPr>
        <p:spPr>
          <a:xfrm>
            <a:off x="6294680" y="2773804"/>
            <a:ext cx="83897" cy="90889"/>
          </a:xfrm>
          <a:custGeom>
            <a:avLst/>
            <a:gdLst>
              <a:gd name="connsiteX0" fmla="*/ 38453 w 83897"/>
              <a:gd name="connsiteY0" fmla="*/ 90889 h 90889"/>
              <a:gd name="connsiteX1" fmla="*/ 0 w 83897"/>
              <a:gd name="connsiteY1" fmla="*/ 90889 h 90889"/>
              <a:gd name="connsiteX2" fmla="*/ 45445 w 83897"/>
              <a:gd name="connsiteY2" fmla="*/ 46610 h 90889"/>
              <a:gd name="connsiteX3" fmla="*/ 0 w 83897"/>
              <a:gd name="connsiteY3" fmla="*/ 0 h 90889"/>
              <a:gd name="connsiteX4" fmla="*/ 39618 w 83897"/>
              <a:gd name="connsiteY4" fmla="*/ 0 h 90889"/>
              <a:gd name="connsiteX5" fmla="*/ 83898 w 83897"/>
              <a:gd name="connsiteY5" fmla="*/ 45445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6610"/>
                </a:lnTo>
                <a:lnTo>
                  <a:pt x="0" y="0"/>
                </a:lnTo>
                <a:lnTo>
                  <a:pt x="39618" y="0"/>
                </a:lnTo>
                <a:lnTo>
                  <a:pt x="83898" y="45445"/>
                </a:lnTo>
                <a:close/>
              </a:path>
            </a:pathLst>
          </a:custGeom>
          <a:solidFill>
            <a:srgbClr val="EEF2F5"/>
          </a:solidFill>
          <a:ln w="11643" cap="flat">
            <a:noFill/>
            <a:prstDash val="solid"/>
            <a:miter/>
          </a:ln>
        </p:spPr>
        <p:txBody>
          <a:bodyPr rtlCol="0" anchor="ctr"/>
          <a:lstStyle/>
          <a:p>
            <a:pPr rtl="0"/>
            <a:endParaRPr lang="en-US"/>
          </a:p>
        </p:txBody>
      </p:sp>
      <p:sp>
        <p:nvSpPr>
          <p:cNvPr id="58" name="Freihandform: Form 57">
            <a:extLst>
              <a:ext uri="{FF2B5EF4-FFF2-40B4-BE49-F238E27FC236}">
                <a16:creationId xmlns:a16="http://schemas.microsoft.com/office/drawing/2014/main" id="{C92817E7-21F5-4822-9D42-BC3A22B20F43}"/>
              </a:ext>
            </a:extLst>
          </p:cNvPr>
          <p:cNvSpPr/>
          <p:nvPr/>
        </p:nvSpPr>
        <p:spPr>
          <a:xfrm>
            <a:off x="6294680" y="3129205"/>
            <a:ext cx="83897" cy="90889"/>
          </a:xfrm>
          <a:custGeom>
            <a:avLst/>
            <a:gdLst>
              <a:gd name="connsiteX0" fmla="*/ 38453 w 83897"/>
              <a:gd name="connsiteY0" fmla="*/ 90889 h 90889"/>
              <a:gd name="connsiteX1" fmla="*/ 0 w 83897"/>
              <a:gd name="connsiteY1" fmla="*/ 90889 h 90889"/>
              <a:gd name="connsiteX2" fmla="*/ 45445 w 83897"/>
              <a:gd name="connsiteY2" fmla="*/ 45445 h 90889"/>
              <a:gd name="connsiteX3" fmla="*/ 0 w 83897"/>
              <a:gd name="connsiteY3" fmla="*/ 0 h 90889"/>
              <a:gd name="connsiteX4" fmla="*/ 39618 w 83897"/>
              <a:gd name="connsiteY4" fmla="*/ 0 h 90889"/>
              <a:gd name="connsiteX5" fmla="*/ 83898 w 83897"/>
              <a:gd name="connsiteY5" fmla="*/ 44279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pPr rtl="0"/>
            <a:endParaRPr lang="en-US"/>
          </a:p>
        </p:txBody>
      </p:sp>
      <p:sp>
        <p:nvSpPr>
          <p:cNvPr id="74" name="Freihandform: Form 73">
            <a:extLst>
              <a:ext uri="{FF2B5EF4-FFF2-40B4-BE49-F238E27FC236}">
                <a16:creationId xmlns:a16="http://schemas.microsoft.com/office/drawing/2014/main" id="{B9D0716B-8D9A-4338-AEA4-79A7EEDD478B}"/>
              </a:ext>
            </a:extLst>
          </p:cNvPr>
          <p:cNvSpPr/>
          <p:nvPr/>
        </p:nvSpPr>
        <p:spPr>
          <a:xfrm>
            <a:off x="6294680" y="3484606"/>
            <a:ext cx="83897" cy="89724"/>
          </a:xfrm>
          <a:custGeom>
            <a:avLst/>
            <a:gdLst>
              <a:gd name="connsiteX0" fmla="*/ 38453 w 83897"/>
              <a:gd name="connsiteY0" fmla="*/ 89724 h 89724"/>
              <a:gd name="connsiteX1" fmla="*/ 0 w 83897"/>
              <a:gd name="connsiteY1" fmla="*/ 89724 h 89724"/>
              <a:gd name="connsiteX2" fmla="*/ 45445 w 83897"/>
              <a:gd name="connsiteY2" fmla="*/ 45445 h 89724"/>
              <a:gd name="connsiteX3" fmla="*/ 0 w 83897"/>
              <a:gd name="connsiteY3" fmla="*/ 0 h 89724"/>
              <a:gd name="connsiteX4" fmla="*/ 39618 w 83897"/>
              <a:gd name="connsiteY4" fmla="*/ 0 h 89724"/>
              <a:gd name="connsiteX5" fmla="*/ 83898 w 83897"/>
              <a:gd name="connsiteY5" fmla="*/ 44279 h 89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89724">
                <a:moveTo>
                  <a:pt x="38453" y="89724"/>
                </a:moveTo>
                <a:lnTo>
                  <a:pt x="0" y="89724"/>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pPr rtl="0"/>
            <a:endParaRPr lang="en-US"/>
          </a:p>
        </p:txBody>
      </p:sp>
      <p:sp>
        <p:nvSpPr>
          <p:cNvPr id="90" name="Freihandform: Form 89">
            <a:extLst>
              <a:ext uri="{FF2B5EF4-FFF2-40B4-BE49-F238E27FC236}">
                <a16:creationId xmlns:a16="http://schemas.microsoft.com/office/drawing/2014/main" id="{9161924B-A7F2-4DF3-B909-33BF43FA25EF}"/>
              </a:ext>
            </a:extLst>
          </p:cNvPr>
          <p:cNvSpPr/>
          <p:nvPr/>
        </p:nvSpPr>
        <p:spPr>
          <a:xfrm>
            <a:off x="6294680" y="3838841"/>
            <a:ext cx="83897" cy="90889"/>
          </a:xfrm>
          <a:custGeom>
            <a:avLst/>
            <a:gdLst>
              <a:gd name="connsiteX0" fmla="*/ 38453 w 83897"/>
              <a:gd name="connsiteY0" fmla="*/ 90889 h 90889"/>
              <a:gd name="connsiteX1" fmla="*/ 0 w 83897"/>
              <a:gd name="connsiteY1" fmla="*/ 90889 h 90889"/>
              <a:gd name="connsiteX2" fmla="*/ 45445 w 83897"/>
              <a:gd name="connsiteY2" fmla="*/ 45445 h 90889"/>
              <a:gd name="connsiteX3" fmla="*/ 0 w 83897"/>
              <a:gd name="connsiteY3" fmla="*/ 0 h 90889"/>
              <a:gd name="connsiteX4" fmla="*/ 39618 w 83897"/>
              <a:gd name="connsiteY4" fmla="*/ 0 h 90889"/>
              <a:gd name="connsiteX5" fmla="*/ 83898 w 83897"/>
              <a:gd name="connsiteY5" fmla="*/ 44279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pPr rtl="0"/>
            <a:endParaRPr lang="en-US"/>
          </a:p>
        </p:txBody>
      </p:sp>
      <p:sp>
        <p:nvSpPr>
          <p:cNvPr id="106" name="Freihandform: Form 105">
            <a:extLst>
              <a:ext uri="{FF2B5EF4-FFF2-40B4-BE49-F238E27FC236}">
                <a16:creationId xmlns:a16="http://schemas.microsoft.com/office/drawing/2014/main" id="{9F04DFFC-EA40-46F4-8195-B5F7E353EE2A}"/>
              </a:ext>
            </a:extLst>
          </p:cNvPr>
          <p:cNvSpPr/>
          <p:nvPr/>
        </p:nvSpPr>
        <p:spPr>
          <a:xfrm>
            <a:off x="6294680" y="4194242"/>
            <a:ext cx="83897" cy="89724"/>
          </a:xfrm>
          <a:custGeom>
            <a:avLst/>
            <a:gdLst>
              <a:gd name="connsiteX0" fmla="*/ 38453 w 83897"/>
              <a:gd name="connsiteY0" fmla="*/ 89724 h 89724"/>
              <a:gd name="connsiteX1" fmla="*/ 0 w 83897"/>
              <a:gd name="connsiteY1" fmla="*/ 89724 h 89724"/>
              <a:gd name="connsiteX2" fmla="*/ 45445 w 83897"/>
              <a:gd name="connsiteY2" fmla="*/ 45445 h 89724"/>
              <a:gd name="connsiteX3" fmla="*/ 0 w 83897"/>
              <a:gd name="connsiteY3" fmla="*/ 0 h 89724"/>
              <a:gd name="connsiteX4" fmla="*/ 39618 w 83897"/>
              <a:gd name="connsiteY4" fmla="*/ 0 h 89724"/>
              <a:gd name="connsiteX5" fmla="*/ 83898 w 83897"/>
              <a:gd name="connsiteY5" fmla="*/ 44279 h 89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89724">
                <a:moveTo>
                  <a:pt x="38453" y="89724"/>
                </a:moveTo>
                <a:lnTo>
                  <a:pt x="0" y="89724"/>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pPr rtl="0"/>
            <a:endParaRPr lang="en-US"/>
          </a:p>
        </p:txBody>
      </p:sp>
      <p:sp>
        <p:nvSpPr>
          <p:cNvPr id="139" name="Freihandform: Form 138">
            <a:extLst>
              <a:ext uri="{FF2B5EF4-FFF2-40B4-BE49-F238E27FC236}">
                <a16:creationId xmlns:a16="http://schemas.microsoft.com/office/drawing/2014/main" id="{5362CBB1-E50A-41B7-8ED0-9FCFE213E9A5}"/>
              </a:ext>
            </a:extLst>
          </p:cNvPr>
          <p:cNvSpPr/>
          <p:nvPr/>
        </p:nvSpPr>
        <p:spPr>
          <a:xfrm>
            <a:off x="6294680" y="4903878"/>
            <a:ext cx="83897" cy="89724"/>
          </a:xfrm>
          <a:custGeom>
            <a:avLst/>
            <a:gdLst>
              <a:gd name="connsiteX0" fmla="*/ 38453 w 83897"/>
              <a:gd name="connsiteY0" fmla="*/ 89724 h 89724"/>
              <a:gd name="connsiteX1" fmla="*/ 0 w 83897"/>
              <a:gd name="connsiteY1" fmla="*/ 89724 h 89724"/>
              <a:gd name="connsiteX2" fmla="*/ 45445 w 83897"/>
              <a:gd name="connsiteY2" fmla="*/ 45445 h 89724"/>
              <a:gd name="connsiteX3" fmla="*/ 0 w 83897"/>
              <a:gd name="connsiteY3" fmla="*/ 0 h 89724"/>
              <a:gd name="connsiteX4" fmla="*/ 39618 w 83897"/>
              <a:gd name="connsiteY4" fmla="*/ 0 h 89724"/>
              <a:gd name="connsiteX5" fmla="*/ 83898 w 83897"/>
              <a:gd name="connsiteY5" fmla="*/ 44279 h 89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89724">
                <a:moveTo>
                  <a:pt x="38453" y="89724"/>
                </a:moveTo>
                <a:lnTo>
                  <a:pt x="0" y="89724"/>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pPr rtl="0"/>
            <a:endParaRPr lang="en-US"/>
          </a:p>
        </p:txBody>
      </p:sp>
      <p:sp>
        <p:nvSpPr>
          <p:cNvPr id="156" name="Freihandform: Form 155">
            <a:extLst>
              <a:ext uri="{FF2B5EF4-FFF2-40B4-BE49-F238E27FC236}">
                <a16:creationId xmlns:a16="http://schemas.microsoft.com/office/drawing/2014/main" id="{2508847B-61E4-41D1-A3A0-A411189F6767}"/>
              </a:ext>
            </a:extLst>
          </p:cNvPr>
          <p:cNvSpPr/>
          <p:nvPr/>
        </p:nvSpPr>
        <p:spPr>
          <a:xfrm>
            <a:off x="6294680" y="5258113"/>
            <a:ext cx="83897" cy="90889"/>
          </a:xfrm>
          <a:custGeom>
            <a:avLst/>
            <a:gdLst>
              <a:gd name="connsiteX0" fmla="*/ 38453 w 83897"/>
              <a:gd name="connsiteY0" fmla="*/ 90889 h 90889"/>
              <a:gd name="connsiteX1" fmla="*/ 0 w 83897"/>
              <a:gd name="connsiteY1" fmla="*/ 90889 h 90889"/>
              <a:gd name="connsiteX2" fmla="*/ 45445 w 83897"/>
              <a:gd name="connsiteY2" fmla="*/ 45445 h 90889"/>
              <a:gd name="connsiteX3" fmla="*/ 0 w 83897"/>
              <a:gd name="connsiteY3" fmla="*/ 0 h 90889"/>
              <a:gd name="connsiteX4" fmla="*/ 39618 w 83897"/>
              <a:gd name="connsiteY4" fmla="*/ 0 h 90889"/>
              <a:gd name="connsiteX5" fmla="*/ 83898 w 83897"/>
              <a:gd name="connsiteY5" fmla="*/ 44279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pPr rtl="0"/>
            <a:endParaRPr lang="en-US"/>
          </a:p>
        </p:txBody>
      </p:sp>
      <p:sp>
        <p:nvSpPr>
          <p:cNvPr id="173" name="Freihandform: Form 172">
            <a:extLst>
              <a:ext uri="{FF2B5EF4-FFF2-40B4-BE49-F238E27FC236}">
                <a16:creationId xmlns:a16="http://schemas.microsoft.com/office/drawing/2014/main" id="{E2A7CA26-A6FF-4830-89D6-0AE49ECECB52}"/>
              </a:ext>
            </a:extLst>
          </p:cNvPr>
          <p:cNvSpPr/>
          <p:nvPr/>
        </p:nvSpPr>
        <p:spPr>
          <a:xfrm>
            <a:off x="6294680" y="5613514"/>
            <a:ext cx="83897" cy="90889"/>
          </a:xfrm>
          <a:custGeom>
            <a:avLst/>
            <a:gdLst>
              <a:gd name="connsiteX0" fmla="*/ 38453 w 83897"/>
              <a:gd name="connsiteY0" fmla="*/ 90889 h 90889"/>
              <a:gd name="connsiteX1" fmla="*/ 0 w 83897"/>
              <a:gd name="connsiteY1" fmla="*/ 90889 h 90889"/>
              <a:gd name="connsiteX2" fmla="*/ 45445 w 83897"/>
              <a:gd name="connsiteY2" fmla="*/ 45445 h 90889"/>
              <a:gd name="connsiteX3" fmla="*/ 0 w 83897"/>
              <a:gd name="connsiteY3" fmla="*/ 0 h 90889"/>
              <a:gd name="connsiteX4" fmla="*/ 39618 w 83897"/>
              <a:gd name="connsiteY4" fmla="*/ 0 h 90889"/>
              <a:gd name="connsiteX5" fmla="*/ 83898 w 83897"/>
              <a:gd name="connsiteY5" fmla="*/ 44279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pPr rtl="0"/>
            <a:endParaRPr lang="en-US"/>
          </a:p>
        </p:txBody>
      </p:sp>
      <p:sp>
        <p:nvSpPr>
          <p:cNvPr id="190" name="Freihandform: Form 189">
            <a:extLst>
              <a:ext uri="{FF2B5EF4-FFF2-40B4-BE49-F238E27FC236}">
                <a16:creationId xmlns:a16="http://schemas.microsoft.com/office/drawing/2014/main" id="{0D910AA1-D94C-4927-9F7F-6AE33C84B359}"/>
              </a:ext>
            </a:extLst>
          </p:cNvPr>
          <p:cNvSpPr/>
          <p:nvPr/>
        </p:nvSpPr>
        <p:spPr>
          <a:xfrm>
            <a:off x="6294680" y="5967749"/>
            <a:ext cx="83897" cy="90889"/>
          </a:xfrm>
          <a:custGeom>
            <a:avLst/>
            <a:gdLst>
              <a:gd name="connsiteX0" fmla="*/ 38453 w 83897"/>
              <a:gd name="connsiteY0" fmla="*/ 90889 h 90889"/>
              <a:gd name="connsiteX1" fmla="*/ 0 w 83897"/>
              <a:gd name="connsiteY1" fmla="*/ 90889 h 90889"/>
              <a:gd name="connsiteX2" fmla="*/ 45445 w 83897"/>
              <a:gd name="connsiteY2" fmla="*/ 46610 h 90889"/>
              <a:gd name="connsiteX3" fmla="*/ 0 w 83897"/>
              <a:gd name="connsiteY3" fmla="*/ 0 h 90889"/>
              <a:gd name="connsiteX4" fmla="*/ 39618 w 83897"/>
              <a:gd name="connsiteY4" fmla="*/ 0 h 90889"/>
              <a:gd name="connsiteX5" fmla="*/ 83898 w 83897"/>
              <a:gd name="connsiteY5" fmla="*/ 45445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6610"/>
                </a:lnTo>
                <a:lnTo>
                  <a:pt x="0" y="0"/>
                </a:lnTo>
                <a:lnTo>
                  <a:pt x="39618" y="0"/>
                </a:lnTo>
                <a:lnTo>
                  <a:pt x="83898" y="45445"/>
                </a:lnTo>
                <a:close/>
              </a:path>
            </a:pathLst>
          </a:custGeom>
          <a:solidFill>
            <a:srgbClr val="EEF2F5"/>
          </a:solidFill>
          <a:ln w="11643" cap="flat">
            <a:noFill/>
            <a:prstDash val="solid"/>
            <a:miter/>
          </a:ln>
        </p:spPr>
        <p:txBody>
          <a:bodyPr rtlCol="0" anchor="ctr"/>
          <a:lstStyle/>
          <a:p>
            <a:pPr rtl="0"/>
            <a:endParaRPr lang="en-US"/>
          </a:p>
        </p:txBody>
      </p:sp>
      <p:sp>
        <p:nvSpPr>
          <p:cNvPr id="207" name="Freihandform: Form 206">
            <a:extLst>
              <a:ext uri="{FF2B5EF4-FFF2-40B4-BE49-F238E27FC236}">
                <a16:creationId xmlns:a16="http://schemas.microsoft.com/office/drawing/2014/main" id="{21DCF3C4-698C-4A65-960C-FC9526795073}"/>
              </a:ext>
            </a:extLst>
          </p:cNvPr>
          <p:cNvSpPr/>
          <p:nvPr/>
        </p:nvSpPr>
        <p:spPr>
          <a:xfrm>
            <a:off x="6294680" y="6323150"/>
            <a:ext cx="83897" cy="90889"/>
          </a:xfrm>
          <a:custGeom>
            <a:avLst/>
            <a:gdLst>
              <a:gd name="connsiteX0" fmla="*/ 38453 w 83897"/>
              <a:gd name="connsiteY0" fmla="*/ 90889 h 90889"/>
              <a:gd name="connsiteX1" fmla="*/ 0 w 83897"/>
              <a:gd name="connsiteY1" fmla="*/ 90889 h 90889"/>
              <a:gd name="connsiteX2" fmla="*/ 45445 w 83897"/>
              <a:gd name="connsiteY2" fmla="*/ 45445 h 90889"/>
              <a:gd name="connsiteX3" fmla="*/ 0 w 83897"/>
              <a:gd name="connsiteY3" fmla="*/ 0 h 90889"/>
              <a:gd name="connsiteX4" fmla="*/ 39618 w 83897"/>
              <a:gd name="connsiteY4" fmla="*/ 0 h 90889"/>
              <a:gd name="connsiteX5" fmla="*/ 83898 w 83897"/>
              <a:gd name="connsiteY5" fmla="*/ 44279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pPr rtl="0"/>
            <a:endParaRPr lang="en-US"/>
          </a:p>
        </p:txBody>
      </p:sp>
      <p:sp>
        <p:nvSpPr>
          <p:cNvPr id="223" name="Freihandform: Form 222">
            <a:extLst>
              <a:ext uri="{FF2B5EF4-FFF2-40B4-BE49-F238E27FC236}">
                <a16:creationId xmlns:a16="http://schemas.microsoft.com/office/drawing/2014/main" id="{E38105B6-8D3F-48F3-9F5F-2328382B7C38}"/>
              </a:ext>
            </a:extLst>
          </p:cNvPr>
          <p:cNvSpPr/>
          <p:nvPr/>
        </p:nvSpPr>
        <p:spPr>
          <a:xfrm>
            <a:off x="6294680" y="6677385"/>
            <a:ext cx="83897" cy="90889"/>
          </a:xfrm>
          <a:custGeom>
            <a:avLst/>
            <a:gdLst>
              <a:gd name="connsiteX0" fmla="*/ 38453 w 83897"/>
              <a:gd name="connsiteY0" fmla="*/ 90889 h 90889"/>
              <a:gd name="connsiteX1" fmla="*/ 0 w 83897"/>
              <a:gd name="connsiteY1" fmla="*/ 90889 h 90889"/>
              <a:gd name="connsiteX2" fmla="*/ 45445 w 83897"/>
              <a:gd name="connsiteY2" fmla="*/ 46610 h 90889"/>
              <a:gd name="connsiteX3" fmla="*/ 0 w 83897"/>
              <a:gd name="connsiteY3" fmla="*/ 0 h 90889"/>
              <a:gd name="connsiteX4" fmla="*/ 39618 w 83897"/>
              <a:gd name="connsiteY4" fmla="*/ 0 h 90889"/>
              <a:gd name="connsiteX5" fmla="*/ 83898 w 83897"/>
              <a:gd name="connsiteY5" fmla="*/ 45445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6610"/>
                </a:lnTo>
                <a:lnTo>
                  <a:pt x="0" y="0"/>
                </a:lnTo>
                <a:lnTo>
                  <a:pt x="39618" y="0"/>
                </a:lnTo>
                <a:lnTo>
                  <a:pt x="83898" y="45445"/>
                </a:lnTo>
                <a:close/>
              </a:path>
            </a:pathLst>
          </a:custGeom>
          <a:solidFill>
            <a:srgbClr val="EEF2F5"/>
          </a:solidFill>
          <a:ln w="11643" cap="flat">
            <a:noFill/>
            <a:prstDash val="solid"/>
            <a:miter/>
          </a:ln>
        </p:spPr>
        <p:txBody>
          <a:bodyPr rtlCol="0" anchor="ctr"/>
          <a:lstStyle/>
          <a:p>
            <a:pPr rtl="0"/>
            <a:endParaRPr lang="en-US"/>
          </a:p>
        </p:txBody>
      </p:sp>
      <p:sp>
        <p:nvSpPr>
          <p:cNvPr id="12" name="Freihandform: Form 11">
            <a:extLst>
              <a:ext uri="{FF2B5EF4-FFF2-40B4-BE49-F238E27FC236}">
                <a16:creationId xmlns:a16="http://schemas.microsoft.com/office/drawing/2014/main" id="{583AB347-5EFD-45EC-837F-436640EC31BF}"/>
              </a:ext>
            </a:extLst>
          </p:cNvPr>
          <p:cNvSpPr/>
          <p:nvPr/>
        </p:nvSpPr>
        <p:spPr>
          <a:xfrm>
            <a:off x="6641924" y="2056012"/>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3601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pPr rtl="0"/>
            <a:endParaRPr lang="en-US"/>
          </a:p>
        </p:txBody>
      </p:sp>
      <p:sp>
        <p:nvSpPr>
          <p:cNvPr id="27" name="Freihandform: Form 26">
            <a:extLst>
              <a:ext uri="{FF2B5EF4-FFF2-40B4-BE49-F238E27FC236}">
                <a16:creationId xmlns:a16="http://schemas.microsoft.com/office/drawing/2014/main" id="{2C9F6191-45F4-4549-838F-728D0F86DCCC}"/>
              </a:ext>
            </a:extLst>
          </p:cNvPr>
          <p:cNvSpPr/>
          <p:nvPr/>
        </p:nvSpPr>
        <p:spPr>
          <a:xfrm>
            <a:off x="6641924" y="2410247"/>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3601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pPr rtl="0"/>
            <a:endParaRPr lang="en-US"/>
          </a:p>
        </p:txBody>
      </p:sp>
      <p:sp>
        <p:nvSpPr>
          <p:cNvPr id="43" name="Freihandform: Form 42">
            <a:extLst>
              <a:ext uri="{FF2B5EF4-FFF2-40B4-BE49-F238E27FC236}">
                <a16:creationId xmlns:a16="http://schemas.microsoft.com/office/drawing/2014/main" id="{58997C67-D006-44A2-AD3D-33F34BD464B4}"/>
              </a:ext>
            </a:extLst>
          </p:cNvPr>
          <p:cNvSpPr/>
          <p:nvPr/>
        </p:nvSpPr>
        <p:spPr>
          <a:xfrm>
            <a:off x="6641924" y="2765648"/>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3601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pPr rtl="0"/>
            <a:endParaRPr lang="en-US"/>
          </a:p>
        </p:txBody>
      </p:sp>
      <p:sp>
        <p:nvSpPr>
          <p:cNvPr id="59" name="Freihandform: Form 58">
            <a:extLst>
              <a:ext uri="{FF2B5EF4-FFF2-40B4-BE49-F238E27FC236}">
                <a16:creationId xmlns:a16="http://schemas.microsoft.com/office/drawing/2014/main" id="{C4E89A45-8CD6-4F72-A3FF-464AD5125F97}"/>
              </a:ext>
            </a:extLst>
          </p:cNvPr>
          <p:cNvSpPr/>
          <p:nvPr/>
        </p:nvSpPr>
        <p:spPr>
          <a:xfrm>
            <a:off x="6641924" y="3119883"/>
            <a:ext cx="100211" cy="109533"/>
          </a:xfrm>
          <a:custGeom>
            <a:avLst/>
            <a:gdLst>
              <a:gd name="connsiteX0" fmla="*/ 45445 w 100211"/>
              <a:gd name="connsiteY0" fmla="*/ 109533 h 109533"/>
              <a:gd name="connsiteX1" fmla="*/ 0 w 100211"/>
              <a:gd name="connsiteY1" fmla="*/ 109533 h 109533"/>
              <a:gd name="connsiteX2" fmla="*/ 53601 w 100211"/>
              <a:gd name="connsiteY2" fmla="*/ 54767 h 109533"/>
              <a:gd name="connsiteX3" fmla="*/ 0 w 100211"/>
              <a:gd name="connsiteY3" fmla="*/ 0 h 109533"/>
              <a:gd name="connsiteX4" fmla="*/ 46610 w 100211"/>
              <a:gd name="connsiteY4" fmla="*/ 0 h 109533"/>
              <a:gd name="connsiteX5" fmla="*/ 100211 w 100211"/>
              <a:gd name="connsiteY5" fmla="*/ 53601 h 109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9533">
                <a:moveTo>
                  <a:pt x="45445" y="109533"/>
                </a:moveTo>
                <a:lnTo>
                  <a:pt x="0" y="109533"/>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pPr rtl="0"/>
            <a:endParaRPr lang="en-US"/>
          </a:p>
        </p:txBody>
      </p:sp>
      <p:sp>
        <p:nvSpPr>
          <p:cNvPr id="75" name="Freihandform: Form 74">
            <a:extLst>
              <a:ext uri="{FF2B5EF4-FFF2-40B4-BE49-F238E27FC236}">
                <a16:creationId xmlns:a16="http://schemas.microsoft.com/office/drawing/2014/main" id="{B9D7B804-0A3A-4555-AA49-BAAC4D841F25}"/>
              </a:ext>
            </a:extLst>
          </p:cNvPr>
          <p:cNvSpPr/>
          <p:nvPr/>
        </p:nvSpPr>
        <p:spPr>
          <a:xfrm>
            <a:off x="6641924" y="3475284"/>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3601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pPr rtl="0"/>
            <a:endParaRPr lang="en-US"/>
          </a:p>
        </p:txBody>
      </p:sp>
      <p:sp>
        <p:nvSpPr>
          <p:cNvPr id="91" name="Freihandform: Form 90">
            <a:extLst>
              <a:ext uri="{FF2B5EF4-FFF2-40B4-BE49-F238E27FC236}">
                <a16:creationId xmlns:a16="http://schemas.microsoft.com/office/drawing/2014/main" id="{E186CBFA-7613-4BC9-8990-21E472FC7476}"/>
              </a:ext>
            </a:extLst>
          </p:cNvPr>
          <p:cNvSpPr/>
          <p:nvPr/>
        </p:nvSpPr>
        <p:spPr>
          <a:xfrm>
            <a:off x="6641924" y="3829519"/>
            <a:ext cx="100211" cy="109533"/>
          </a:xfrm>
          <a:custGeom>
            <a:avLst/>
            <a:gdLst>
              <a:gd name="connsiteX0" fmla="*/ 45445 w 100211"/>
              <a:gd name="connsiteY0" fmla="*/ 109533 h 109533"/>
              <a:gd name="connsiteX1" fmla="*/ 0 w 100211"/>
              <a:gd name="connsiteY1" fmla="*/ 109533 h 109533"/>
              <a:gd name="connsiteX2" fmla="*/ 53601 w 100211"/>
              <a:gd name="connsiteY2" fmla="*/ 54767 h 109533"/>
              <a:gd name="connsiteX3" fmla="*/ 0 w 100211"/>
              <a:gd name="connsiteY3" fmla="*/ 0 h 109533"/>
              <a:gd name="connsiteX4" fmla="*/ 46610 w 100211"/>
              <a:gd name="connsiteY4" fmla="*/ 0 h 109533"/>
              <a:gd name="connsiteX5" fmla="*/ 100211 w 100211"/>
              <a:gd name="connsiteY5" fmla="*/ 53601 h 109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9533">
                <a:moveTo>
                  <a:pt x="45445" y="109533"/>
                </a:moveTo>
                <a:lnTo>
                  <a:pt x="0" y="109533"/>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pPr rtl="0"/>
            <a:endParaRPr lang="en-US"/>
          </a:p>
        </p:txBody>
      </p:sp>
      <p:sp>
        <p:nvSpPr>
          <p:cNvPr id="107" name="Freihandform: Form 106">
            <a:extLst>
              <a:ext uri="{FF2B5EF4-FFF2-40B4-BE49-F238E27FC236}">
                <a16:creationId xmlns:a16="http://schemas.microsoft.com/office/drawing/2014/main" id="{431E1B18-1EEB-4090-9700-F9FE3C0FED51}"/>
              </a:ext>
            </a:extLst>
          </p:cNvPr>
          <p:cNvSpPr/>
          <p:nvPr/>
        </p:nvSpPr>
        <p:spPr>
          <a:xfrm>
            <a:off x="6641924" y="4184920"/>
            <a:ext cx="100211" cy="108367"/>
          </a:xfrm>
          <a:custGeom>
            <a:avLst/>
            <a:gdLst>
              <a:gd name="connsiteX0" fmla="*/ 45445 w 100211"/>
              <a:gd name="connsiteY0" fmla="*/ 108368 h 108367"/>
              <a:gd name="connsiteX1" fmla="*/ 0 w 100211"/>
              <a:gd name="connsiteY1" fmla="*/ 108368 h 108367"/>
              <a:gd name="connsiteX2" fmla="*/ 53601 w 100211"/>
              <a:gd name="connsiteY2" fmla="*/ 54767 h 108367"/>
              <a:gd name="connsiteX3" fmla="*/ 0 w 100211"/>
              <a:gd name="connsiteY3" fmla="*/ 0 h 108367"/>
              <a:gd name="connsiteX4" fmla="*/ 46610 w 100211"/>
              <a:gd name="connsiteY4" fmla="*/ 0 h 108367"/>
              <a:gd name="connsiteX5" fmla="*/ 100211 w 100211"/>
              <a:gd name="connsiteY5" fmla="*/ 53601 h 108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7">
                <a:moveTo>
                  <a:pt x="45445" y="108368"/>
                </a:moveTo>
                <a:lnTo>
                  <a:pt x="0" y="108368"/>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pPr rtl="0"/>
            <a:endParaRPr lang="en-US"/>
          </a:p>
        </p:txBody>
      </p:sp>
      <p:sp>
        <p:nvSpPr>
          <p:cNvPr id="123" name="Freihandform: Form 122">
            <a:extLst>
              <a:ext uri="{FF2B5EF4-FFF2-40B4-BE49-F238E27FC236}">
                <a16:creationId xmlns:a16="http://schemas.microsoft.com/office/drawing/2014/main" id="{DC2F5F31-D8DD-48D9-A875-60890175F7E1}"/>
              </a:ext>
            </a:extLst>
          </p:cNvPr>
          <p:cNvSpPr/>
          <p:nvPr/>
        </p:nvSpPr>
        <p:spPr>
          <a:xfrm>
            <a:off x="6641924" y="4539155"/>
            <a:ext cx="100211" cy="109533"/>
          </a:xfrm>
          <a:custGeom>
            <a:avLst/>
            <a:gdLst>
              <a:gd name="connsiteX0" fmla="*/ 45445 w 100211"/>
              <a:gd name="connsiteY0" fmla="*/ 109533 h 109533"/>
              <a:gd name="connsiteX1" fmla="*/ 0 w 100211"/>
              <a:gd name="connsiteY1" fmla="*/ 109533 h 109533"/>
              <a:gd name="connsiteX2" fmla="*/ 53601 w 100211"/>
              <a:gd name="connsiteY2" fmla="*/ 54767 h 109533"/>
              <a:gd name="connsiteX3" fmla="*/ 0 w 100211"/>
              <a:gd name="connsiteY3" fmla="*/ 0 h 109533"/>
              <a:gd name="connsiteX4" fmla="*/ 46610 w 100211"/>
              <a:gd name="connsiteY4" fmla="*/ 0 h 109533"/>
              <a:gd name="connsiteX5" fmla="*/ 100211 w 100211"/>
              <a:gd name="connsiteY5" fmla="*/ 53601 h 109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9533">
                <a:moveTo>
                  <a:pt x="45445" y="109533"/>
                </a:moveTo>
                <a:lnTo>
                  <a:pt x="0" y="109533"/>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pPr rtl="0"/>
            <a:endParaRPr lang="en-US"/>
          </a:p>
        </p:txBody>
      </p:sp>
      <p:sp>
        <p:nvSpPr>
          <p:cNvPr id="140" name="Freihandform: Form 139">
            <a:extLst>
              <a:ext uri="{FF2B5EF4-FFF2-40B4-BE49-F238E27FC236}">
                <a16:creationId xmlns:a16="http://schemas.microsoft.com/office/drawing/2014/main" id="{76442F10-6EC9-4E34-AAE4-0D75456E4698}"/>
              </a:ext>
            </a:extLst>
          </p:cNvPr>
          <p:cNvSpPr/>
          <p:nvPr/>
        </p:nvSpPr>
        <p:spPr>
          <a:xfrm>
            <a:off x="6641924" y="4894556"/>
            <a:ext cx="100211" cy="108367"/>
          </a:xfrm>
          <a:custGeom>
            <a:avLst/>
            <a:gdLst>
              <a:gd name="connsiteX0" fmla="*/ 45445 w 100211"/>
              <a:gd name="connsiteY0" fmla="*/ 108368 h 108367"/>
              <a:gd name="connsiteX1" fmla="*/ 0 w 100211"/>
              <a:gd name="connsiteY1" fmla="*/ 108368 h 108367"/>
              <a:gd name="connsiteX2" fmla="*/ 53601 w 100211"/>
              <a:gd name="connsiteY2" fmla="*/ 54767 h 108367"/>
              <a:gd name="connsiteX3" fmla="*/ 0 w 100211"/>
              <a:gd name="connsiteY3" fmla="*/ 0 h 108367"/>
              <a:gd name="connsiteX4" fmla="*/ 46610 w 100211"/>
              <a:gd name="connsiteY4" fmla="*/ 0 h 108367"/>
              <a:gd name="connsiteX5" fmla="*/ 100211 w 100211"/>
              <a:gd name="connsiteY5" fmla="*/ 53601 h 108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7">
                <a:moveTo>
                  <a:pt x="45445" y="108368"/>
                </a:moveTo>
                <a:lnTo>
                  <a:pt x="0" y="108368"/>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pPr rtl="0"/>
            <a:endParaRPr lang="en-US"/>
          </a:p>
        </p:txBody>
      </p:sp>
      <p:sp>
        <p:nvSpPr>
          <p:cNvPr id="157" name="Freihandform: Form 156">
            <a:extLst>
              <a:ext uri="{FF2B5EF4-FFF2-40B4-BE49-F238E27FC236}">
                <a16:creationId xmlns:a16="http://schemas.microsoft.com/office/drawing/2014/main" id="{3F3DF7DA-74D8-4504-A71D-F774354EAB93}"/>
              </a:ext>
            </a:extLst>
          </p:cNvPr>
          <p:cNvSpPr/>
          <p:nvPr/>
        </p:nvSpPr>
        <p:spPr>
          <a:xfrm>
            <a:off x="6641924" y="5249956"/>
            <a:ext cx="100211" cy="108367"/>
          </a:xfrm>
          <a:custGeom>
            <a:avLst/>
            <a:gdLst>
              <a:gd name="connsiteX0" fmla="*/ 45445 w 100211"/>
              <a:gd name="connsiteY0" fmla="*/ 108368 h 108367"/>
              <a:gd name="connsiteX1" fmla="*/ 0 w 100211"/>
              <a:gd name="connsiteY1" fmla="*/ 108368 h 108367"/>
              <a:gd name="connsiteX2" fmla="*/ 53601 w 100211"/>
              <a:gd name="connsiteY2" fmla="*/ 54767 h 108367"/>
              <a:gd name="connsiteX3" fmla="*/ 0 w 100211"/>
              <a:gd name="connsiteY3" fmla="*/ 0 h 108367"/>
              <a:gd name="connsiteX4" fmla="*/ 46610 w 100211"/>
              <a:gd name="connsiteY4" fmla="*/ 0 h 108367"/>
              <a:gd name="connsiteX5" fmla="*/ 100211 w 100211"/>
              <a:gd name="connsiteY5" fmla="*/ 52436 h 108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7">
                <a:moveTo>
                  <a:pt x="45445" y="108368"/>
                </a:moveTo>
                <a:lnTo>
                  <a:pt x="0" y="108368"/>
                </a:lnTo>
                <a:lnTo>
                  <a:pt x="53601" y="54767"/>
                </a:lnTo>
                <a:lnTo>
                  <a:pt x="0" y="0"/>
                </a:lnTo>
                <a:lnTo>
                  <a:pt x="46610" y="0"/>
                </a:lnTo>
                <a:lnTo>
                  <a:pt x="100211" y="52436"/>
                </a:lnTo>
                <a:close/>
              </a:path>
            </a:pathLst>
          </a:custGeom>
          <a:solidFill>
            <a:srgbClr val="EEF2F5"/>
          </a:solidFill>
          <a:ln w="11643" cap="flat">
            <a:noFill/>
            <a:prstDash val="solid"/>
            <a:miter/>
          </a:ln>
        </p:spPr>
        <p:txBody>
          <a:bodyPr rtlCol="0" anchor="ctr"/>
          <a:lstStyle/>
          <a:p>
            <a:pPr rtl="0"/>
            <a:endParaRPr lang="en-US"/>
          </a:p>
        </p:txBody>
      </p:sp>
      <p:sp>
        <p:nvSpPr>
          <p:cNvPr id="174" name="Freihandform: Form 173">
            <a:extLst>
              <a:ext uri="{FF2B5EF4-FFF2-40B4-BE49-F238E27FC236}">
                <a16:creationId xmlns:a16="http://schemas.microsoft.com/office/drawing/2014/main" id="{89F7D4C0-B771-4BD2-8BB9-46691BD63CD6}"/>
              </a:ext>
            </a:extLst>
          </p:cNvPr>
          <p:cNvSpPr/>
          <p:nvPr/>
        </p:nvSpPr>
        <p:spPr>
          <a:xfrm>
            <a:off x="6641924" y="5604192"/>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3601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pPr rtl="0"/>
            <a:endParaRPr lang="en-US"/>
          </a:p>
        </p:txBody>
      </p:sp>
      <p:sp>
        <p:nvSpPr>
          <p:cNvPr id="191" name="Freihandform: Form 190">
            <a:extLst>
              <a:ext uri="{FF2B5EF4-FFF2-40B4-BE49-F238E27FC236}">
                <a16:creationId xmlns:a16="http://schemas.microsoft.com/office/drawing/2014/main" id="{5A593B9A-6E44-429E-AEBA-35E20D56B0CE}"/>
              </a:ext>
            </a:extLst>
          </p:cNvPr>
          <p:cNvSpPr/>
          <p:nvPr/>
        </p:nvSpPr>
        <p:spPr>
          <a:xfrm>
            <a:off x="6641924" y="5959592"/>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2436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2436"/>
                </a:lnTo>
                <a:close/>
              </a:path>
            </a:pathLst>
          </a:custGeom>
          <a:solidFill>
            <a:srgbClr val="EEF2F5"/>
          </a:solidFill>
          <a:ln w="11643" cap="flat">
            <a:noFill/>
            <a:prstDash val="solid"/>
            <a:miter/>
          </a:ln>
        </p:spPr>
        <p:txBody>
          <a:bodyPr rtlCol="0" anchor="ctr"/>
          <a:lstStyle/>
          <a:p>
            <a:pPr rtl="0"/>
            <a:endParaRPr lang="en-US"/>
          </a:p>
        </p:txBody>
      </p:sp>
      <p:sp>
        <p:nvSpPr>
          <p:cNvPr id="208" name="Freihandform: Form 207">
            <a:extLst>
              <a:ext uri="{FF2B5EF4-FFF2-40B4-BE49-F238E27FC236}">
                <a16:creationId xmlns:a16="http://schemas.microsoft.com/office/drawing/2014/main" id="{DF218C48-5CF6-4B07-AF60-4DE0F6FD1BC1}"/>
              </a:ext>
            </a:extLst>
          </p:cNvPr>
          <p:cNvSpPr/>
          <p:nvPr/>
        </p:nvSpPr>
        <p:spPr>
          <a:xfrm>
            <a:off x="6641924" y="6313828"/>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3601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pPr rtl="0"/>
            <a:endParaRPr lang="en-US"/>
          </a:p>
        </p:txBody>
      </p:sp>
      <p:sp>
        <p:nvSpPr>
          <p:cNvPr id="224" name="Freihandform: Form 223">
            <a:extLst>
              <a:ext uri="{FF2B5EF4-FFF2-40B4-BE49-F238E27FC236}">
                <a16:creationId xmlns:a16="http://schemas.microsoft.com/office/drawing/2014/main" id="{AA5BC021-58DD-4FE3-BDC3-0802A56E539C}"/>
              </a:ext>
            </a:extLst>
          </p:cNvPr>
          <p:cNvSpPr/>
          <p:nvPr/>
        </p:nvSpPr>
        <p:spPr>
          <a:xfrm>
            <a:off x="6641924" y="6669228"/>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2436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2436"/>
                </a:lnTo>
                <a:close/>
              </a:path>
            </a:pathLst>
          </a:custGeom>
          <a:solidFill>
            <a:srgbClr val="EEF2F5"/>
          </a:solidFill>
          <a:ln w="11643" cap="flat">
            <a:noFill/>
            <a:prstDash val="solid"/>
            <a:miter/>
          </a:ln>
        </p:spPr>
        <p:txBody>
          <a:bodyPr rtlCol="0" anchor="ctr"/>
          <a:lstStyle/>
          <a:p>
            <a:pPr rtl="0"/>
            <a:endParaRPr lang="en-US"/>
          </a:p>
        </p:txBody>
      </p:sp>
      <p:sp>
        <p:nvSpPr>
          <p:cNvPr id="13" name="Freihandform: Form 12">
            <a:extLst>
              <a:ext uri="{FF2B5EF4-FFF2-40B4-BE49-F238E27FC236}">
                <a16:creationId xmlns:a16="http://schemas.microsoft.com/office/drawing/2014/main" id="{41B3CD6E-4668-431E-B52B-BEFAFA264BED}"/>
              </a:ext>
            </a:extLst>
          </p:cNvPr>
          <p:cNvSpPr/>
          <p:nvPr/>
        </p:nvSpPr>
        <p:spPr>
          <a:xfrm>
            <a:off x="6988003" y="2046690"/>
            <a:ext cx="117690" cy="127012"/>
          </a:xfrm>
          <a:custGeom>
            <a:avLst/>
            <a:gdLst>
              <a:gd name="connsiteX0" fmla="*/ 53601 w 117690"/>
              <a:gd name="connsiteY0" fmla="*/ 127012 h 127012"/>
              <a:gd name="connsiteX1" fmla="*/ 0 w 117690"/>
              <a:gd name="connsiteY1" fmla="*/ 127012 h 127012"/>
              <a:gd name="connsiteX2" fmla="*/ 62924 w 117690"/>
              <a:gd name="connsiteY2" fmla="*/ 64089 h 127012"/>
              <a:gd name="connsiteX3" fmla="*/ 0 w 117690"/>
              <a:gd name="connsiteY3" fmla="*/ 0 h 127012"/>
              <a:gd name="connsiteX4" fmla="*/ 54767 w 117690"/>
              <a:gd name="connsiteY4" fmla="*/ 0 h 127012"/>
              <a:gd name="connsiteX5" fmla="*/ 117690 w 117690"/>
              <a:gd name="connsiteY5" fmla="*/ 61758 h 12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2">
                <a:moveTo>
                  <a:pt x="53601" y="127012"/>
                </a:moveTo>
                <a:lnTo>
                  <a:pt x="0" y="127012"/>
                </a:lnTo>
                <a:lnTo>
                  <a:pt x="62924" y="64089"/>
                </a:lnTo>
                <a:lnTo>
                  <a:pt x="0" y="0"/>
                </a:lnTo>
                <a:lnTo>
                  <a:pt x="54767" y="0"/>
                </a:lnTo>
                <a:lnTo>
                  <a:pt x="117690" y="61758"/>
                </a:lnTo>
                <a:close/>
              </a:path>
            </a:pathLst>
          </a:custGeom>
          <a:solidFill>
            <a:srgbClr val="EEF2F5"/>
          </a:solidFill>
          <a:ln w="11643" cap="flat">
            <a:noFill/>
            <a:prstDash val="solid"/>
            <a:miter/>
          </a:ln>
        </p:spPr>
        <p:txBody>
          <a:bodyPr rtlCol="0" anchor="ctr"/>
          <a:lstStyle/>
          <a:p>
            <a:pPr rtl="0"/>
            <a:endParaRPr lang="en-US"/>
          </a:p>
        </p:txBody>
      </p:sp>
      <p:sp>
        <p:nvSpPr>
          <p:cNvPr id="28" name="Freihandform: Form 27">
            <a:extLst>
              <a:ext uri="{FF2B5EF4-FFF2-40B4-BE49-F238E27FC236}">
                <a16:creationId xmlns:a16="http://schemas.microsoft.com/office/drawing/2014/main" id="{44ADAD78-1959-4CDE-A14A-2F7982F10CE6}"/>
              </a:ext>
            </a:extLst>
          </p:cNvPr>
          <p:cNvSpPr/>
          <p:nvPr/>
        </p:nvSpPr>
        <p:spPr>
          <a:xfrm>
            <a:off x="6988003" y="2400925"/>
            <a:ext cx="117690" cy="127012"/>
          </a:xfrm>
          <a:custGeom>
            <a:avLst/>
            <a:gdLst>
              <a:gd name="connsiteX0" fmla="*/ 53601 w 117690"/>
              <a:gd name="connsiteY0" fmla="*/ 127012 h 127012"/>
              <a:gd name="connsiteX1" fmla="*/ 0 w 117690"/>
              <a:gd name="connsiteY1" fmla="*/ 127012 h 127012"/>
              <a:gd name="connsiteX2" fmla="*/ 62924 w 117690"/>
              <a:gd name="connsiteY2" fmla="*/ 64089 h 127012"/>
              <a:gd name="connsiteX3" fmla="*/ 0 w 117690"/>
              <a:gd name="connsiteY3" fmla="*/ 0 h 127012"/>
              <a:gd name="connsiteX4" fmla="*/ 54767 w 117690"/>
              <a:gd name="connsiteY4" fmla="*/ 0 h 127012"/>
              <a:gd name="connsiteX5" fmla="*/ 117690 w 117690"/>
              <a:gd name="connsiteY5" fmla="*/ 62923 h 12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2">
                <a:moveTo>
                  <a:pt x="53601" y="127012"/>
                </a:moveTo>
                <a:lnTo>
                  <a:pt x="0" y="127012"/>
                </a:lnTo>
                <a:lnTo>
                  <a:pt x="62924" y="64089"/>
                </a:lnTo>
                <a:lnTo>
                  <a:pt x="0" y="0"/>
                </a:lnTo>
                <a:lnTo>
                  <a:pt x="54767" y="0"/>
                </a:lnTo>
                <a:lnTo>
                  <a:pt x="117690" y="62923"/>
                </a:lnTo>
                <a:close/>
              </a:path>
            </a:pathLst>
          </a:custGeom>
          <a:solidFill>
            <a:srgbClr val="EEF2F5"/>
          </a:solidFill>
          <a:ln w="11643" cap="flat">
            <a:noFill/>
            <a:prstDash val="solid"/>
            <a:miter/>
          </a:ln>
        </p:spPr>
        <p:txBody>
          <a:bodyPr rtlCol="0" anchor="ctr"/>
          <a:lstStyle/>
          <a:p>
            <a:pPr rtl="0"/>
            <a:endParaRPr lang="en-US"/>
          </a:p>
        </p:txBody>
      </p:sp>
      <p:sp>
        <p:nvSpPr>
          <p:cNvPr id="44" name="Freihandform: Form 43">
            <a:extLst>
              <a:ext uri="{FF2B5EF4-FFF2-40B4-BE49-F238E27FC236}">
                <a16:creationId xmlns:a16="http://schemas.microsoft.com/office/drawing/2014/main" id="{187A0A4D-77CA-456F-91F4-F6F8704B8154}"/>
              </a:ext>
            </a:extLst>
          </p:cNvPr>
          <p:cNvSpPr/>
          <p:nvPr/>
        </p:nvSpPr>
        <p:spPr>
          <a:xfrm>
            <a:off x="6988003" y="2756326"/>
            <a:ext cx="117690" cy="127012"/>
          </a:xfrm>
          <a:custGeom>
            <a:avLst/>
            <a:gdLst>
              <a:gd name="connsiteX0" fmla="*/ 53601 w 117690"/>
              <a:gd name="connsiteY0" fmla="*/ 127012 h 127012"/>
              <a:gd name="connsiteX1" fmla="*/ 0 w 117690"/>
              <a:gd name="connsiteY1" fmla="*/ 127012 h 127012"/>
              <a:gd name="connsiteX2" fmla="*/ 62924 w 117690"/>
              <a:gd name="connsiteY2" fmla="*/ 64089 h 127012"/>
              <a:gd name="connsiteX3" fmla="*/ 0 w 117690"/>
              <a:gd name="connsiteY3" fmla="*/ 0 h 127012"/>
              <a:gd name="connsiteX4" fmla="*/ 54767 w 117690"/>
              <a:gd name="connsiteY4" fmla="*/ 0 h 127012"/>
              <a:gd name="connsiteX5" fmla="*/ 117690 w 117690"/>
              <a:gd name="connsiteY5" fmla="*/ 61758 h 12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2">
                <a:moveTo>
                  <a:pt x="53601" y="127012"/>
                </a:moveTo>
                <a:lnTo>
                  <a:pt x="0" y="127012"/>
                </a:lnTo>
                <a:lnTo>
                  <a:pt x="62924" y="64089"/>
                </a:lnTo>
                <a:lnTo>
                  <a:pt x="0" y="0"/>
                </a:lnTo>
                <a:lnTo>
                  <a:pt x="54767" y="0"/>
                </a:lnTo>
                <a:lnTo>
                  <a:pt x="117690" y="61758"/>
                </a:lnTo>
                <a:close/>
              </a:path>
            </a:pathLst>
          </a:custGeom>
          <a:solidFill>
            <a:srgbClr val="EEF2F5"/>
          </a:solidFill>
          <a:ln w="11643" cap="flat">
            <a:noFill/>
            <a:prstDash val="solid"/>
            <a:miter/>
          </a:ln>
        </p:spPr>
        <p:txBody>
          <a:bodyPr rtlCol="0" anchor="ctr"/>
          <a:lstStyle/>
          <a:p>
            <a:pPr rtl="0"/>
            <a:endParaRPr lang="en-US"/>
          </a:p>
        </p:txBody>
      </p:sp>
      <p:sp>
        <p:nvSpPr>
          <p:cNvPr id="60" name="Freihandform: Form 59">
            <a:extLst>
              <a:ext uri="{FF2B5EF4-FFF2-40B4-BE49-F238E27FC236}">
                <a16:creationId xmlns:a16="http://schemas.microsoft.com/office/drawing/2014/main" id="{CB07603B-B3CF-406B-8F49-C88DDBDF26D2}"/>
              </a:ext>
            </a:extLst>
          </p:cNvPr>
          <p:cNvSpPr/>
          <p:nvPr/>
        </p:nvSpPr>
        <p:spPr>
          <a:xfrm>
            <a:off x="6988003" y="3111726"/>
            <a:ext cx="117690" cy="125846"/>
          </a:xfrm>
          <a:custGeom>
            <a:avLst/>
            <a:gdLst>
              <a:gd name="connsiteX0" fmla="*/ 53601 w 117690"/>
              <a:gd name="connsiteY0" fmla="*/ 125847 h 125846"/>
              <a:gd name="connsiteX1" fmla="*/ 0 w 117690"/>
              <a:gd name="connsiteY1" fmla="*/ 125847 h 125846"/>
              <a:gd name="connsiteX2" fmla="*/ 62924 w 117690"/>
              <a:gd name="connsiteY2" fmla="*/ 62923 h 125846"/>
              <a:gd name="connsiteX3" fmla="*/ 0 w 117690"/>
              <a:gd name="connsiteY3" fmla="*/ 0 h 125846"/>
              <a:gd name="connsiteX4" fmla="*/ 54767 w 117690"/>
              <a:gd name="connsiteY4" fmla="*/ 0 h 125846"/>
              <a:gd name="connsiteX5" fmla="*/ 117690 w 117690"/>
              <a:gd name="connsiteY5" fmla="*/ 61758 h 125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5846">
                <a:moveTo>
                  <a:pt x="53601" y="125847"/>
                </a:moveTo>
                <a:lnTo>
                  <a:pt x="0" y="125847"/>
                </a:lnTo>
                <a:lnTo>
                  <a:pt x="62924" y="62923"/>
                </a:lnTo>
                <a:lnTo>
                  <a:pt x="0" y="0"/>
                </a:lnTo>
                <a:lnTo>
                  <a:pt x="54767" y="0"/>
                </a:lnTo>
                <a:lnTo>
                  <a:pt x="117690" y="61758"/>
                </a:lnTo>
                <a:close/>
              </a:path>
            </a:pathLst>
          </a:custGeom>
          <a:solidFill>
            <a:srgbClr val="EEF2F5"/>
          </a:solidFill>
          <a:ln w="11643" cap="flat">
            <a:noFill/>
            <a:prstDash val="solid"/>
            <a:miter/>
          </a:ln>
        </p:spPr>
        <p:txBody>
          <a:bodyPr rtlCol="0" anchor="ctr"/>
          <a:lstStyle/>
          <a:p>
            <a:pPr rtl="0"/>
            <a:endParaRPr lang="en-US"/>
          </a:p>
        </p:txBody>
      </p:sp>
      <p:sp>
        <p:nvSpPr>
          <p:cNvPr id="76" name="Freihandform: Form 75">
            <a:extLst>
              <a:ext uri="{FF2B5EF4-FFF2-40B4-BE49-F238E27FC236}">
                <a16:creationId xmlns:a16="http://schemas.microsoft.com/office/drawing/2014/main" id="{C87C0BBB-E201-45AD-A8CC-B6DF36C9BFCA}"/>
              </a:ext>
            </a:extLst>
          </p:cNvPr>
          <p:cNvSpPr/>
          <p:nvPr/>
        </p:nvSpPr>
        <p:spPr>
          <a:xfrm>
            <a:off x="6988003" y="3465962"/>
            <a:ext cx="117690" cy="127012"/>
          </a:xfrm>
          <a:custGeom>
            <a:avLst/>
            <a:gdLst>
              <a:gd name="connsiteX0" fmla="*/ 53601 w 117690"/>
              <a:gd name="connsiteY0" fmla="*/ 127012 h 127012"/>
              <a:gd name="connsiteX1" fmla="*/ 0 w 117690"/>
              <a:gd name="connsiteY1" fmla="*/ 127012 h 127012"/>
              <a:gd name="connsiteX2" fmla="*/ 62924 w 117690"/>
              <a:gd name="connsiteY2" fmla="*/ 64089 h 127012"/>
              <a:gd name="connsiteX3" fmla="*/ 0 w 117690"/>
              <a:gd name="connsiteY3" fmla="*/ 0 h 127012"/>
              <a:gd name="connsiteX4" fmla="*/ 54767 w 117690"/>
              <a:gd name="connsiteY4" fmla="*/ 0 h 127012"/>
              <a:gd name="connsiteX5" fmla="*/ 117690 w 117690"/>
              <a:gd name="connsiteY5" fmla="*/ 62923 h 12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2">
                <a:moveTo>
                  <a:pt x="53601" y="127012"/>
                </a:moveTo>
                <a:lnTo>
                  <a:pt x="0" y="127012"/>
                </a:lnTo>
                <a:lnTo>
                  <a:pt x="62924" y="64089"/>
                </a:lnTo>
                <a:lnTo>
                  <a:pt x="0" y="0"/>
                </a:lnTo>
                <a:lnTo>
                  <a:pt x="54767" y="0"/>
                </a:lnTo>
                <a:lnTo>
                  <a:pt x="117690" y="62923"/>
                </a:lnTo>
                <a:close/>
              </a:path>
            </a:pathLst>
          </a:custGeom>
          <a:solidFill>
            <a:srgbClr val="EEF2F5"/>
          </a:solidFill>
          <a:ln w="11643" cap="flat">
            <a:noFill/>
            <a:prstDash val="solid"/>
            <a:miter/>
          </a:ln>
        </p:spPr>
        <p:txBody>
          <a:bodyPr rtlCol="0" anchor="ctr"/>
          <a:lstStyle/>
          <a:p>
            <a:pPr rtl="0"/>
            <a:endParaRPr lang="en-US"/>
          </a:p>
        </p:txBody>
      </p:sp>
      <p:sp>
        <p:nvSpPr>
          <p:cNvPr id="92" name="Freihandform: Form 91">
            <a:extLst>
              <a:ext uri="{FF2B5EF4-FFF2-40B4-BE49-F238E27FC236}">
                <a16:creationId xmlns:a16="http://schemas.microsoft.com/office/drawing/2014/main" id="{E84E584C-AD1A-4283-9393-9ADAC5705999}"/>
              </a:ext>
            </a:extLst>
          </p:cNvPr>
          <p:cNvSpPr/>
          <p:nvPr/>
        </p:nvSpPr>
        <p:spPr>
          <a:xfrm>
            <a:off x="6988003" y="3821362"/>
            <a:ext cx="117690" cy="125846"/>
          </a:xfrm>
          <a:custGeom>
            <a:avLst/>
            <a:gdLst>
              <a:gd name="connsiteX0" fmla="*/ 53601 w 117690"/>
              <a:gd name="connsiteY0" fmla="*/ 125847 h 125846"/>
              <a:gd name="connsiteX1" fmla="*/ 0 w 117690"/>
              <a:gd name="connsiteY1" fmla="*/ 125847 h 125846"/>
              <a:gd name="connsiteX2" fmla="*/ 62924 w 117690"/>
              <a:gd name="connsiteY2" fmla="*/ 62923 h 125846"/>
              <a:gd name="connsiteX3" fmla="*/ 0 w 117690"/>
              <a:gd name="connsiteY3" fmla="*/ 0 h 125846"/>
              <a:gd name="connsiteX4" fmla="*/ 54767 w 117690"/>
              <a:gd name="connsiteY4" fmla="*/ 0 h 125846"/>
              <a:gd name="connsiteX5" fmla="*/ 117690 w 117690"/>
              <a:gd name="connsiteY5" fmla="*/ 61758 h 125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5846">
                <a:moveTo>
                  <a:pt x="53601" y="125847"/>
                </a:moveTo>
                <a:lnTo>
                  <a:pt x="0" y="125847"/>
                </a:lnTo>
                <a:lnTo>
                  <a:pt x="62924" y="62923"/>
                </a:lnTo>
                <a:lnTo>
                  <a:pt x="0" y="0"/>
                </a:lnTo>
                <a:lnTo>
                  <a:pt x="54767" y="0"/>
                </a:lnTo>
                <a:lnTo>
                  <a:pt x="117690" y="61758"/>
                </a:lnTo>
                <a:close/>
              </a:path>
            </a:pathLst>
          </a:custGeom>
          <a:solidFill>
            <a:srgbClr val="EEF2F5"/>
          </a:solidFill>
          <a:ln w="11643" cap="flat">
            <a:noFill/>
            <a:prstDash val="solid"/>
            <a:miter/>
          </a:ln>
        </p:spPr>
        <p:txBody>
          <a:bodyPr rtlCol="0" anchor="ctr"/>
          <a:lstStyle/>
          <a:p>
            <a:pPr rtl="0"/>
            <a:endParaRPr lang="en-US"/>
          </a:p>
        </p:txBody>
      </p:sp>
      <p:sp>
        <p:nvSpPr>
          <p:cNvPr id="108" name="Freihandform: Form 107">
            <a:extLst>
              <a:ext uri="{FF2B5EF4-FFF2-40B4-BE49-F238E27FC236}">
                <a16:creationId xmlns:a16="http://schemas.microsoft.com/office/drawing/2014/main" id="{821A23CA-DB65-474C-8F4A-71EDD9066EAA}"/>
              </a:ext>
            </a:extLst>
          </p:cNvPr>
          <p:cNvSpPr/>
          <p:nvPr/>
        </p:nvSpPr>
        <p:spPr>
          <a:xfrm>
            <a:off x="6988003" y="4175598"/>
            <a:ext cx="117690" cy="127011"/>
          </a:xfrm>
          <a:custGeom>
            <a:avLst/>
            <a:gdLst>
              <a:gd name="connsiteX0" fmla="*/ 53601 w 117690"/>
              <a:gd name="connsiteY0" fmla="*/ 127012 h 127011"/>
              <a:gd name="connsiteX1" fmla="*/ 0 w 117690"/>
              <a:gd name="connsiteY1" fmla="*/ 127012 h 127011"/>
              <a:gd name="connsiteX2" fmla="*/ 62924 w 117690"/>
              <a:gd name="connsiteY2" fmla="*/ 64089 h 127011"/>
              <a:gd name="connsiteX3" fmla="*/ 0 w 117690"/>
              <a:gd name="connsiteY3" fmla="*/ 0 h 127011"/>
              <a:gd name="connsiteX4" fmla="*/ 54767 w 117690"/>
              <a:gd name="connsiteY4" fmla="*/ 0 h 127011"/>
              <a:gd name="connsiteX5" fmla="*/ 117690 w 117690"/>
              <a:gd name="connsiteY5" fmla="*/ 62923 h 12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1">
                <a:moveTo>
                  <a:pt x="53601" y="127012"/>
                </a:moveTo>
                <a:lnTo>
                  <a:pt x="0" y="127012"/>
                </a:lnTo>
                <a:lnTo>
                  <a:pt x="62924" y="64089"/>
                </a:lnTo>
                <a:lnTo>
                  <a:pt x="0" y="0"/>
                </a:lnTo>
                <a:lnTo>
                  <a:pt x="54767" y="0"/>
                </a:lnTo>
                <a:lnTo>
                  <a:pt x="117690" y="62923"/>
                </a:lnTo>
                <a:close/>
              </a:path>
            </a:pathLst>
          </a:custGeom>
          <a:solidFill>
            <a:srgbClr val="EEF2F5"/>
          </a:solidFill>
          <a:ln w="11643" cap="flat">
            <a:noFill/>
            <a:prstDash val="solid"/>
            <a:miter/>
          </a:ln>
        </p:spPr>
        <p:txBody>
          <a:bodyPr rtlCol="0" anchor="ctr"/>
          <a:lstStyle/>
          <a:p>
            <a:pPr rtl="0"/>
            <a:endParaRPr lang="en-US"/>
          </a:p>
        </p:txBody>
      </p:sp>
      <p:sp>
        <p:nvSpPr>
          <p:cNvPr id="124" name="Freihandform: Form 123">
            <a:extLst>
              <a:ext uri="{FF2B5EF4-FFF2-40B4-BE49-F238E27FC236}">
                <a16:creationId xmlns:a16="http://schemas.microsoft.com/office/drawing/2014/main" id="{A21B059E-24B7-45F6-86CA-657F48380E87}"/>
              </a:ext>
            </a:extLst>
          </p:cNvPr>
          <p:cNvSpPr/>
          <p:nvPr/>
        </p:nvSpPr>
        <p:spPr>
          <a:xfrm>
            <a:off x="6988003" y="4530998"/>
            <a:ext cx="117690" cy="125846"/>
          </a:xfrm>
          <a:custGeom>
            <a:avLst/>
            <a:gdLst>
              <a:gd name="connsiteX0" fmla="*/ 53601 w 117690"/>
              <a:gd name="connsiteY0" fmla="*/ 125847 h 125846"/>
              <a:gd name="connsiteX1" fmla="*/ 0 w 117690"/>
              <a:gd name="connsiteY1" fmla="*/ 125847 h 125846"/>
              <a:gd name="connsiteX2" fmla="*/ 62924 w 117690"/>
              <a:gd name="connsiteY2" fmla="*/ 64089 h 125846"/>
              <a:gd name="connsiteX3" fmla="*/ 0 w 117690"/>
              <a:gd name="connsiteY3" fmla="*/ 0 h 125846"/>
              <a:gd name="connsiteX4" fmla="*/ 54767 w 117690"/>
              <a:gd name="connsiteY4" fmla="*/ 0 h 125846"/>
              <a:gd name="connsiteX5" fmla="*/ 117690 w 117690"/>
              <a:gd name="connsiteY5" fmla="*/ 61758 h 125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5846">
                <a:moveTo>
                  <a:pt x="53601" y="125847"/>
                </a:moveTo>
                <a:lnTo>
                  <a:pt x="0" y="125847"/>
                </a:lnTo>
                <a:lnTo>
                  <a:pt x="62924" y="64089"/>
                </a:lnTo>
                <a:lnTo>
                  <a:pt x="0" y="0"/>
                </a:lnTo>
                <a:lnTo>
                  <a:pt x="54767" y="0"/>
                </a:lnTo>
                <a:lnTo>
                  <a:pt x="117690" y="61758"/>
                </a:lnTo>
                <a:close/>
              </a:path>
            </a:pathLst>
          </a:custGeom>
          <a:solidFill>
            <a:srgbClr val="EEF2F5"/>
          </a:solidFill>
          <a:ln w="11643" cap="flat">
            <a:noFill/>
            <a:prstDash val="solid"/>
            <a:miter/>
          </a:ln>
        </p:spPr>
        <p:txBody>
          <a:bodyPr rtlCol="0" anchor="ctr"/>
          <a:lstStyle/>
          <a:p>
            <a:pPr rtl="0"/>
            <a:endParaRPr lang="en-US"/>
          </a:p>
        </p:txBody>
      </p:sp>
      <p:sp>
        <p:nvSpPr>
          <p:cNvPr id="141" name="Freihandform: Form 140">
            <a:extLst>
              <a:ext uri="{FF2B5EF4-FFF2-40B4-BE49-F238E27FC236}">
                <a16:creationId xmlns:a16="http://schemas.microsoft.com/office/drawing/2014/main" id="{B826AAAD-4F78-48CC-8D7F-6FF66CB56257}"/>
              </a:ext>
            </a:extLst>
          </p:cNvPr>
          <p:cNvSpPr/>
          <p:nvPr/>
        </p:nvSpPr>
        <p:spPr>
          <a:xfrm>
            <a:off x="6988003" y="4885234"/>
            <a:ext cx="117690" cy="127012"/>
          </a:xfrm>
          <a:custGeom>
            <a:avLst/>
            <a:gdLst>
              <a:gd name="connsiteX0" fmla="*/ 53601 w 117690"/>
              <a:gd name="connsiteY0" fmla="*/ 127012 h 127012"/>
              <a:gd name="connsiteX1" fmla="*/ 0 w 117690"/>
              <a:gd name="connsiteY1" fmla="*/ 127012 h 127012"/>
              <a:gd name="connsiteX2" fmla="*/ 62924 w 117690"/>
              <a:gd name="connsiteY2" fmla="*/ 64089 h 127012"/>
              <a:gd name="connsiteX3" fmla="*/ 0 w 117690"/>
              <a:gd name="connsiteY3" fmla="*/ 0 h 127012"/>
              <a:gd name="connsiteX4" fmla="*/ 54767 w 117690"/>
              <a:gd name="connsiteY4" fmla="*/ 0 h 127012"/>
              <a:gd name="connsiteX5" fmla="*/ 117690 w 117690"/>
              <a:gd name="connsiteY5" fmla="*/ 62923 h 12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2">
                <a:moveTo>
                  <a:pt x="53601" y="127012"/>
                </a:moveTo>
                <a:lnTo>
                  <a:pt x="0" y="127012"/>
                </a:lnTo>
                <a:lnTo>
                  <a:pt x="62924" y="64089"/>
                </a:lnTo>
                <a:lnTo>
                  <a:pt x="0" y="0"/>
                </a:lnTo>
                <a:lnTo>
                  <a:pt x="54767" y="0"/>
                </a:lnTo>
                <a:lnTo>
                  <a:pt x="117690" y="62923"/>
                </a:lnTo>
                <a:close/>
              </a:path>
            </a:pathLst>
          </a:custGeom>
          <a:solidFill>
            <a:srgbClr val="EEF2F5"/>
          </a:solidFill>
          <a:ln w="11643" cap="flat">
            <a:noFill/>
            <a:prstDash val="solid"/>
            <a:miter/>
          </a:ln>
        </p:spPr>
        <p:txBody>
          <a:bodyPr rtlCol="0" anchor="ctr"/>
          <a:lstStyle/>
          <a:p>
            <a:pPr rtl="0"/>
            <a:endParaRPr lang="en-US"/>
          </a:p>
        </p:txBody>
      </p:sp>
      <p:sp>
        <p:nvSpPr>
          <p:cNvPr id="158" name="Freihandform: Form 157">
            <a:extLst>
              <a:ext uri="{FF2B5EF4-FFF2-40B4-BE49-F238E27FC236}">
                <a16:creationId xmlns:a16="http://schemas.microsoft.com/office/drawing/2014/main" id="{52E552E0-7863-4113-BBA5-301C77EAF452}"/>
              </a:ext>
            </a:extLst>
          </p:cNvPr>
          <p:cNvSpPr/>
          <p:nvPr/>
        </p:nvSpPr>
        <p:spPr>
          <a:xfrm>
            <a:off x="6988003" y="5240634"/>
            <a:ext cx="117690" cy="127011"/>
          </a:xfrm>
          <a:custGeom>
            <a:avLst/>
            <a:gdLst>
              <a:gd name="connsiteX0" fmla="*/ 53601 w 117690"/>
              <a:gd name="connsiteY0" fmla="*/ 127012 h 127011"/>
              <a:gd name="connsiteX1" fmla="*/ 0 w 117690"/>
              <a:gd name="connsiteY1" fmla="*/ 127012 h 127011"/>
              <a:gd name="connsiteX2" fmla="*/ 62924 w 117690"/>
              <a:gd name="connsiteY2" fmla="*/ 64089 h 127011"/>
              <a:gd name="connsiteX3" fmla="*/ 0 w 117690"/>
              <a:gd name="connsiteY3" fmla="*/ 0 h 127011"/>
              <a:gd name="connsiteX4" fmla="*/ 54767 w 117690"/>
              <a:gd name="connsiteY4" fmla="*/ 0 h 127011"/>
              <a:gd name="connsiteX5" fmla="*/ 117690 w 117690"/>
              <a:gd name="connsiteY5" fmla="*/ 61758 h 12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1">
                <a:moveTo>
                  <a:pt x="53601" y="127012"/>
                </a:moveTo>
                <a:lnTo>
                  <a:pt x="0" y="127012"/>
                </a:lnTo>
                <a:lnTo>
                  <a:pt x="62924" y="64089"/>
                </a:lnTo>
                <a:lnTo>
                  <a:pt x="0" y="0"/>
                </a:lnTo>
                <a:lnTo>
                  <a:pt x="54767" y="0"/>
                </a:lnTo>
                <a:lnTo>
                  <a:pt x="117690" y="61758"/>
                </a:lnTo>
                <a:close/>
              </a:path>
            </a:pathLst>
          </a:custGeom>
          <a:solidFill>
            <a:srgbClr val="EEF2F5"/>
          </a:solidFill>
          <a:ln w="11643" cap="flat">
            <a:noFill/>
            <a:prstDash val="solid"/>
            <a:miter/>
          </a:ln>
        </p:spPr>
        <p:txBody>
          <a:bodyPr rtlCol="0" anchor="ctr"/>
          <a:lstStyle/>
          <a:p>
            <a:pPr rtl="0"/>
            <a:endParaRPr lang="en-US"/>
          </a:p>
        </p:txBody>
      </p:sp>
      <p:sp>
        <p:nvSpPr>
          <p:cNvPr id="175" name="Freihandform: Form 174">
            <a:extLst>
              <a:ext uri="{FF2B5EF4-FFF2-40B4-BE49-F238E27FC236}">
                <a16:creationId xmlns:a16="http://schemas.microsoft.com/office/drawing/2014/main" id="{B682B6CF-0860-48B1-8C00-95D42CF736E9}"/>
              </a:ext>
            </a:extLst>
          </p:cNvPr>
          <p:cNvSpPr/>
          <p:nvPr/>
        </p:nvSpPr>
        <p:spPr>
          <a:xfrm>
            <a:off x="6988003" y="5594870"/>
            <a:ext cx="117690" cy="127011"/>
          </a:xfrm>
          <a:custGeom>
            <a:avLst/>
            <a:gdLst>
              <a:gd name="connsiteX0" fmla="*/ 53601 w 117690"/>
              <a:gd name="connsiteY0" fmla="*/ 127012 h 127011"/>
              <a:gd name="connsiteX1" fmla="*/ 0 w 117690"/>
              <a:gd name="connsiteY1" fmla="*/ 127012 h 127011"/>
              <a:gd name="connsiteX2" fmla="*/ 62924 w 117690"/>
              <a:gd name="connsiteY2" fmla="*/ 64089 h 127011"/>
              <a:gd name="connsiteX3" fmla="*/ 0 w 117690"/>
              <a:gd name="connsiteY3" fmla="*/ 0 h 127011"/>
              <a:gd name="connsiteX4" fmla="*/ 54767 w 117690"/>
              <a:gd name="connsiteY4" fmla="*/ 0 h 127011"/>
              <a:gd name="connsiteX5" fmla="*/ 117690 w 117690"/>
              <a:gd name="connsiteY5" fmla="*/ 62923 h 12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1">
                <a:moveTo>
                  <a:pt x="53601" y="127012"/>
                </a:moveTo>
                <a:lnTo>
                  <a:pt x="0" y="127012"/>
                </a:lnTo>
                <a:lnTo>
                  <a:pt x="62924" y="64089"/>
                </a:lnTo>
                <a:lnTo>
                  <a:pt x="0" y="0"/>
                </a:lnTo>
                <a:lnTo>
                  <a:pt x="54767" y="0"/>
                </a:lnTo>
                <a:lnTo>
                  <a:pt x="117690" y="62923"/>
                </a:lnTo>
                <a:close/>
              </a:path>
            </a:pathLst>
          </a:custGeom>
          <a:solidFill>
            <a:srgbClr val="EEF2F5"/>
          </a:solidFill>
          <a:ln w="11643" cap="flat">
            <a:noFill/>
            <a:prstDash val="solid"/>
            <a:miter/>
          </a:ln>
        </p:spPr>
        <p:txBody>
          <a:bodyPr rtlCol="0" anchor="ctr"/>
          <a:lstStyle/>
          <a:p>
            <a:pPr rtl="0"/>
            <a:endParaRPr lang="en-US"/>
          </a:p>
        </p:txBody>
      </p:sp>
      <p:sp>
        <p:nvSpPr>
          <p:cNvPr id="192" name="Freihandform: Form 191">
            <a:extLst>
              <a:ext uri="{FF2B5EF4-FFF2-40B4-BE49-F238E27FC236}">
                <a16:creationId xmlns:a16="http://schemas.microsoft.com/office/drawing/2014/main" id="{454B7B92-8F20-486A-A2F6-3D352B2C3337}"/>
              </a:ext>
            </a:extLst>
          </p:cNvPr>
          <p:cNvSpPr/>
          <p:nvPr/>
        </p:nvSpPr>
        <p:spPr>
          <a:xfrm>
            <a:off x="6988003" y="5950270"/>
            <a:ext cx="117690" cy="127011"/>
          </a:xfrm>
          <a:custGeom>
            <a:avLst/>
            <a:gdLst>
              <a:gd name="connsiteX0" fmla="*/ 53601 w 117690"/>
              <a:gd name="connsiteY0" fmla="*/ 127012 h 127011"/>
              <a:gd name="connsiteX1" fmla="*/ 0 w 117690"/>
              <a:gd name="connsiteY1" fmla="*/ 127012 h 127011"/>
              <a:gd name="connsiteX2" fmla="*/ 62924 w 117690"/>
              <a:gd name="connsiteY2" fmla="*/ 64089 h 127011"/>
              <a:gd name="connsiteX3" fmla="*/ 0 w 117690"/>
              <a:gd name="connsiteY3" fmla="*/ 0 h 127011"/>
              <a:gd name="connsiteX4" fmla="*/ 54767 w 117690"/>
              <a:gd name="connsiteY4" fmla="*/ 0 h 127011"/>
              <a:gd name="connsiteX5" fmla="*/ 117690 w 117690"/>
              <a:gd name="connsiteY5" fmla="*/ 61758 h 12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1">
                <a:moveTo>
                  <a:pt x="53601" y="127012"/>
                </a:moveTo>
                <a:lnTo>
                  <a:pt x="0" y="127012"/>
                </a:lnTo>
                <a:lnTo>
                  <a:pt x="62924" y="64089"/>
                </a:lnTo>
                <a:lnTo>
                  <a:pt x="0" y="0"/>
                </a:lnTo>
                <a:lnTo>
                  <a:pt x="54767" y="0"/>
                </a:lnTo>
                <a:lnTo>
                  <a:pt x="117690" y="61758"/>
                </a:lnTo>
                <a:close/>
              </a:path>
            </a:pathLst>
          </a:custGeom>
          <a:solidFill>
            <a:srgbClr val="EEF2F5"/>
          </a:solidFill>
          <a:ln w="11643" cap="flat">
            <a:noFill/>
            <a:prstDash val="solid"/>
            <a:miter/>
          </a:ln>
        </p:spPr>
        <p:txBody>
          <a:bodyPr rtlCol="0" anchor="ctr"/>
          <a:lstStyle/>
          <a:p>
            <a:pPr rtl="0"/>
            <a:endParaRPr lang="en-US"/>
          </a:p>
        </p:txBody>
      </p:sp>
      <p:sp>
        <p:nvSpPr>
          <p:cNvPr id="209" name="Freihandform: Form 208">
            <a:extLst>
              <a:ext uri="{FF2B5EF4-FFF2-40B4-BE49-F238E27FC236}">
                <a16:creationId xmlns:a16="http://schemas.microsoft.com/office/drawing/2014/main" id="{731C9EF6-821F-43D3-AF27-A0A6EE4233B2}"/>
              </a:ext>
            </a:extLst>
          </p:cNvPr>
          <p:cNvSpPr/>
          <p:nvPr/>
        </p:nvSpPr>
        <p:spPr>
          <a:xfrm>
            <a:off x="6988003" y="6304506"/>
            <a:ext cx="117690" cy="127011"/>
          </a:xfrm>
          <a:custGeom>
            <a:avLst/>
            <a:gdLst>
              <a:gd name="connsiteX0" fmla="*/ 53601 w 117690"/>
              <a:gd name="connsiteY0" fmla="*/ 127012 h 127011"/>
              <a:gd name="connsiteX1" fmla="*/ 0 w 117690"/>
              <a:gd name="connsiteY1" fmla="*/ 127012 h 127011"/>
              <a:gd name="connsiteX2" fmla="*/ 62924 w 117690"/>
              <a:gd name="connsiteY2" fmla="*/ 64089 h 127011"/>
              <a:gd name="connsiteX3" fmla="*/ 0 w 117690"/>
              <a:gd name="connsiteY3" fmla="*/ 0 h 127011"/>
              <a:gd name="connsiteX4" fmla="*/ 54767 w 117690"/>
              <a:gd name="connsiteY4" fmla="*/ 0 h 127011"/>
              <a:gd name="connsiteX5" fmla="*/ 117690 w 117690"/>
              <a:gd name="connsiteY5" fmla="*/ 62923 h 12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1">
                <a:moveTo>
                  <a:pt x="53601" y="127012"/>
                </a:moveTo>
                <a:lnTo>
                  <a:pt x="0" y="127012"/>
                </a:lnTo>
                <a:lnTo>
                  <a:pt x="62924" y="64089"/>
                </a:lnTo>
                <a:lnTo>
                  <a:pt x="0" y="0"/>
                </a:lnTo>
                <a:lnTo>
                  <a:pt x="54767" y="0"/>
                </a:lnTo>
                <a:lnTo>
                  <a:pt x="117690" y="62923"/>
                </a:lnTo>
                <a:close/>
              </a:path>
            </a:pathLst>
          </a:custGeom>
          <a:solidFill>
            <a:srgbClr val="EEF2F5"/>
          </a:solidFill>
          <a:ln w="11643" cap="flat">
            <a:noFill/>
            <a:prstDash val="solid"/>
            <a:miter/>
          </a:ln>
        </p:spPr>
        <p:txBody>
          <a:bodyPr rtlCol="0" anchor="ctr"/>
          <a:lstStyle/>
          <a:p>
            <a:pPr rtl="0"/>
            <a:endParaRPr lang="en-US"/>
          </a:p>
        </p:txBody>
      </p:sp>
      <p:sp>
        <p:nvSpPr>
          <p:cNvPr id="225" name="Freihandform: Form 224">
            <a:extLst>
              <a:ext uri="{FF2B5EF4-FFF2-40B4-BE49-F238E27FC236}">
                <a16:creationId xmlns:a16="http://schemas.microsoft.com/office/drawing/2014/main" id="{E9AB3220-DE9C-44AE-ADC2-AF15E390E82D}"/>
              </a:ext>
            </a:extLst>
          </p:cNvPr>
          <p:cNvSpPr/>
          <p:nvPr/>
        </p:nvSpPr>
        <p:spPr>
          <a:xfrm>
            <a:off x="6988003" y="6659906"/>
            <a:ext cx="117690" cy="127011"/>
          </a:xfrm>
          <a:custGeom>
            <a:avLst/>
            <a:gdLst>
              <a:gd name="connsiteX0" fmla="*/ 53601 w 117690"/>
              <a:gd name="connsiteY0" fmla="*/ 127012 h 127011"/>
              <a:gd name="connsiteX1" fmla="*/ 0 w 117690"/>
              <a:gd name="connsiteY1" fmla="*/ 127012 h 127011"/>
              <a:gd name="connsiteX2" fmla="*/ 62924 w 117690"/>
              <a:gd name="connsiteY2" fmla="*/ 64089 h 127011"/>
              <a:gd name="connsiteX3" fmla="*/ 0 w 117690"/>
              <a:gd name="connsiteY3" fmla="*/ 0 h 127011"/>
              <a:gd name="connsiteX4" fmla="*/ 54767 w 117690"/>
              <a:gd name="connsiteY4" fmla="*/ 0 h 127011"/>
              <a:gd name="connsiteX5" fmla="*/ 117690 w 117690"/>
              <a:gd name="connsiteY5" fmla="*/ 61758 h 12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1">
                <a:moveTo>
                  <a:pt x="53601" y="127012"/>
                </a:moveTo>
                <a:lnTo>
                  <a:pt x="0" y="127012"/>
                </a:lnTo>
                <a:lnTo>
                  <a:pt x="62924" y="64089"/>
                </a:lnTo>
                <a:lnTo>
                  <a:pt x="0" y="0"/>
                </a:lnTo>
                <a:lnTo>
                  <a:pt x="54767" y="0"/>
                </a:lnTo>
                <a:lnTo>
                  <a:pt x="117690" y="61758"/>
                </a:lnTo>
                <a:close/>
              </a:path>
            </a:pathLst>
          </a:custGeom>
          <a:solidFill>
            <a:srgbClr val="EEF2F5"/>
          </a:solidFill>
          <a:ln w="11643" cap="flat">
            <a:noFill/>
            <a:prstDash val="solid"/>
            <a:miter/>
          </a:ln>
        </p:spPr>
        <p:txBody>
          <a:bodyPr rtlCol="0" anchor="ctr"/>
          <a:lstStyle/>
          <a:p>
            <a:pPr rtl="0"/>
            <a:endParaRPr lang="en-US"/>
          </a:p>
        </p:txBody>
      </p:sp>
      <p:sp>
        <p:nvSpPr>
          <p:cNvPr id="14" name="Freihandform: Form 13">
            <a:extLst>
              <a:ext uri="{FF2B5EF4-FFF2-40B4-BE49-F238E27FC236}">
                <a16:creationId xmlns:a16="http://schemas.microsoft.com/office/drawing/2014/main" id="{EFAF6EFC-5984-485E-8562-F3C5B1286F10}"/>
              </a:ext>
            </a:extLst>
          </p:cNvPr>
          <p:cNvSpPr/>
          <p:nvPr/>
        </p:nvSpPr>
        <p:spPr>
          <a:xfrm>
            <a:off x="7335247" y="2038533"/>
            <a:ext cx="132838" cy="143325"/>
          </a:xfrm>
          <a:custGeom>
            <a:avLst/>
            <a:gdLst>
              <a:gd name="connsiteX0" fmla="*/ 60593 w 132838"/>
              <a:gd name="connsiteY0" fmla="*/ 143326 h 143325"/>
              <a:gd name="connsiteX1" fmla="*/ 0 w 132838"/>
              <a:gd name="connsiteY1" fmla="*/ 143326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6"/>
                </a:moveTo>
                <a:lnTo>
                  <a:pt x="0" y="143326"/>
                </a:lnTo>
                <a:lnTo>
                  <a:pt x="71080" y="72245"/>
                </a:lnTo>
                <a:lnTo>
                  <a:pt x="0" y="0"/>
                </a:lnTo>
                <a:lnTo>
                  <a:pt x="61758" y="0"/>
                </a:lnTo>
                <a:lnTo>
                  <a:pt x="132838" y="69915"/>
                </a:lnTo>
                <a:close/>
              </a:path>
            </a:pathLst>
          </a:custGeom>
          <a:solidFill>
            <a:srgbClr val="EEF2F5"/>
          </a:solidFill>
          <a:ln w="11643" cap="flat">
            <a:noFill/>
            <a:prstDash val="solid"/>
            <a:miter/>
          </a:ln>
        </p:spPr>
        <p:txBody>
          <a:bodyPr rtlCol="0" anchor="ctr"/>
          <a:lstStyle/>
          <a:p>
            <a:pPr rtl="0"/>
            <a:endParaRPr lang="en-US"/>
          </a:p>
        </p:txBody>
      </p:sp>
      <p:sp>
        <p:nvSpPr>
          <p:cNvPr id="29" name="Freihandform: Form 28">
            <a:extLst>
              <a:ext uri="{FF2B5EF4-FFF2-40B4-BE49-F238E27FC236}">
                <a16:creationId xmlns:a16="http://schemas.microsoft.com/office/drawing/2014/main" id="{C38B5C98-4ABA-4DD0-92EE-6AE4E7466D1F}"/>
              </a:ext>
            </a:extLst>
          </p:cNvPr>
          <p:cNvSpPr/>
          <p:nvPr/>
        </p:nvSpPr>
        <p:spPr>
          <a:xfrm>
            <a:off x="7335247" y="2392768"/>
            <a:ext cx="132838" cy="143325"/>
          </a:xfrm>
          <a:custGeom>
            <a:avLst/>
            <a:gdLst>
              <a:gd name="connsiteX0" fmla="*/ 60593 w 132838"/>
              <a:gd name="connsiteY0" fmla="*/ 143325 h 143325"/>
              <a:gd name="connsiteX1" fmla="*/ 0 w 132838"/>
              <a:gd name="connsiteY1" fmla="*/ 143325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71080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5"/>
                </a:moveTo>
                <a:lnTo>
                  <a:pt x="0" y="143325"/>
                </a:lnTo>
                <a:lnTo>
                  <a:pt x="71080" y="72245"/>
                </a:lnTo>
                <a:lnTo>
                  <a:pt x="0" y="0"/>
                </a:lnTo>
                <a:lnTo>
                  <a:pt x="61758" y="0"/>
                </a:lnTo>
                <a:lnTo>
                  <a:pt x="132838" y="71080"/>
                </a:lnTo>
                <a:close/>
              </a:path>
            </a:pathLst>
          </a:custGeom>
          <a:solidFill>
            <a:srgbClr val="EEF2F5"/>
          </a:solidFill>
          <a:ln w="11643" cap="flat">
            <a:noFill/>
            <a:prstDash val="solid"/>
            <a:miter/>
          </a:ln>
        </p:spPr>
        <p:txBody>
          <a:bodyPr rtlCol="0" anchor="ctr"/>
          <a:lstStyle/>
          <a:p>
            <a:pPr rtl="0"/>
            <a:endParaRPr lang="en-US"/>
          </a:p>
        </p:txBody>
      </p:sp>
      <p:sp>
        <p:nvSpPr>
          <p:cNvPr id="45" name="Freihandform: Form 44">
            <a:extLst>
              <a:ext uri="{FF2B5EF4-FFF2-40B4-BE49-F238E27FC236}">
                <a16:creationId xmlns:a16="http://schemas.microsoft.com/office/drawing/2014/main" id="{79F3C30E-5951-4096-8825-BA1A1F523534}"/>
              </a:ext>
            </a:extLst>
          </p:cNvPr>
          <p:cNvSpPr/>
          <p:nvPr/>
        </p:nvSpPr>
        <p:spPr>
          <a:xfrm>
            <a:off x="7335247" y="2748169"/>
            <a:ext cx="132838" cy="143325"/>
          </a:xfrm>
          <a:custGeom>
            <a:avLst/>
            <a:gdLst>
              <a:gd name="connsiteX0" fmla="*/ 60593 w 132838"/>
              <a:gd name="connsiteY0" fmla="*/ 143325 h 143325"/>
              <a:gd name="connsiteX1" fmla="*/ 0 w 132838"/>
              <a:gd name="connsiteY1" fmla="*/ 143325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5"/>
                </a:moveTo>
                <a:lnTo>
                  <a:pt x="0" y="143325"/>
                </a:lnTo>
                <a:lnTo>
                  <a:pt x="71080" y="72245"/>
                </a:lnTo>
                <a:lnTo>
                  <a:pt x="0" y="0"/>
                </a:lnTo>
                <a:lnTo>
                  <a:pt x="61758" y="0"/>
                </a:lnTo>
                <a:lnTo>
                  <a:pt x="132838" y="69915"/>
                </a:lnTo>
                <a:close/>
              </a:path>
            </a:pathLst>
          </a:custGeom>
          <a:solidFill>
            <a:srgbClr val="EEF2F5"/>
          </a:solidFill>
          <a:ln w="11643" cap="flat">
            <a:noFill/>
            <a:prstDash val="solid"/>
            <a:miter/>
          </a:ln>
        </p:spPr>
        <p:txBody>
          <a:bodyPr rtlCol="0" anchor="ctr"/>
          <a:lstStyle/>
          <a:p>
            <a:pPr rtl="0"/>
            <a:endParaRPr lang="en-US"/>
          </a:p>
        </p:txBody>
      </p:sp>
      <p:sp>
        <p:nvSpPr>
          <p:cNvPr id="61" name="Freihandform: Form 60">
            <a:extLst>
              <a:ext uri="{FF2B5EF4-FFF2-40B4-BE49-F238E27FC236}">
                <a16:creationId xmlns:a16="http://schemas.microsoft.com/office/drawing/2014/main" id="{72D38BC9-A038-42F1-84CC-8FE548646FD4}"/>
              </a:ext>
            </a:extLst>
          </p:cNvPr>
          <p:cNvSpPr/>
          <p:nvPr/>
        </p:nvSpPr>
        <p:spPr>
          <a:xfrm>
            <a:off x="7335247" y="3102404"/>
            <a:ext cx="132838" cy="143325"/>
          </a:xfrm>
          <a:custGeom>
            <a:avLst/>
            <a:gdLst>
              <a:gd name="connsiteX0" fmla="*/ 60593 w 132838"/>
              <a:gd name="connsiteY0" fmla="*/ 143326 h 143325"/>
              <a:gd name="connsiteX1" fmla="*/ 0 w 132838"/>
              <a:gd name="connsiteY1" fmla="*/ 143326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71080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6"/>
                </a:moveTo>
                <a:lnTo>
                  <a:pt x="0" y="143326"/>
                </a:lnTo>
                <a:lnTo>
                  <a:pt x="71080" y="72245"/>
                </a:lnTo>
                <a:lnTo>
                  <a:pt x="0" y="0"/>
                </a:lnTo>
                <a:lnTo>
                  <a:pt x="61758" y="0"/>
                </a:lnTo>
                <a:lnTo>
                  <a:pt x="132838" y="71080"/>
                </a:lnTo>
                <a:close/>
              </a:path>
            </a:pathLst>
          </a:custGeom>
          <a:solidFill>
            <a:srgbClr val="EEF2F5"/>
          </a:solidFill>
          <a:ln w="11643" cap="flat">
            <a:noFill/>
            <a:prstDash val="solid"/>
            <a:miter/>
          </a:ln>
        </p:spPr>
        <p:txBody>
          <a:bodyPr rtlCol="0" anchor="ctr"/>
          <a:lstStyle/>
          <a:p>
            <a:pPr rtl="0"/>
            <a:endParaRPr lang="en-US"/>
          </a:p>
        </p:txBody>
      </p:sp>
      <p:sp>
        <p:nvSpPr>
          <p:cNvPr id="77" name="Freihandform: Form 76">
            <a:extLst>
              <a:ext uri="{FF2B5EF4-FFF2-40B4-BE49-F238E27FC236}">
                <a16:creationId xmlns:a16="http://schemas.microsoft.com/office/drawing/2014/main" id="{4C23EFB8-6839-469E-BA4B-6EBF505449D2}"/>
              </a:ext>
            </a:extLst>
          </p:cNvPr>
          <p:cNvSpPr/>
          <p:nvPr/>
        </p:nvSpPr>
        <p:spPr>
          <a:xfrm>
            <a:off x="7335247" y="3457805"/>
            <a:ext cx="132838" cy="143325"/>
          </a:xfrm>
          <a:custGeom>
            <a:avLst/>
            <a:gdLst>
              <a:gd name="connsiteX0" fmla="*/ 60593 w 132838"/>
              <a:gd name="connsiteY0" fmla="*/ 143326 h 143325"/>
              <a:gd name="connsiteX1" fmla="*/ 0 w 132838"/>
              <a:gd name="connsiteY1" fmla="*/ 143326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6"/>
                </a:moveTo>
                <a:lnTo>
                  <a:pt x="0" y="143326"/>
                </a:lnTo>
                <a:lnTo>
                  <a:pt x="71080" y="72245"/>
                </a:lnTo>
                <a:lnTo>
                  <a:pt x="0" y="0"/>
                </a:lnTo>
                <a:lnTo>
                  <a:pt x="61758" y="0"/>
                </a:lnTo>
                <a:lnTo>
                  <a:pt x="132838" y="69915"/>
                </a:lnTo>
                <a:close/>
              </a:path>
            </a:pathLst>
          </a:custGeom>
          <a:solidFill>
            <a:srgbClr val="EEF2F5"/>
          </a:solidFill>
          <a:ln w="11643" cap="flat">
            <a:noFill/>
            <a:prstDash val="solid"/>
            <a:miter/>
          </a:ln>
        </p:spPr>
        <p:txBody>
          <a:bodyPr rtlCol="0" anchor="ctr"/>
          <a:lstStyle/>
          <a:p>
            <a:pPr rtl="0"/>
            <a:endParaRPr lang="en-US"/>
          </a:p>
        </p:txBody>
      </p:sp>
      <p:sp>
        <p:nvSpPr>
          <p:cNvPr id="93" name="Freihandform: Form 92">
            <a:extLst>
              <a:ext uri="{FF2B5EF4-FFF2-40B4-BE49-F238E27FC236}">
                <a16:creationId xmlns:a16="http://schemas.microsoft.com/office/drawing/2014/main" id="{45EE2EBC-AC9B-4F66-BE0E-F697842CD09A}"/>
              </a:ext>
            </a:extLst>
          </p:cNvPr>
          <p:cNvSpPr/>
          <p:nvPr/>
        </p:nvSpPr>
        <p:spPr>
          <a:xfrm>
            <a:off x="7335247" y="3812040"/>
            <a:ext cx="132838" cy="144490"/>
          </a:xfrm>
          <a:custGeom>
            <a:avLst/>
            <a:gdLst>
              <a:gd name="connsiteX0" fmla="*/ 60593 w 132838"/>
              <a:gd name="connsiteY0" fmla="*/ 144491 h 144490"/>
              <a:gd name="connsiteX1" fmla="*/ 0 w 132838"/>
              <a:gd name="connsiteY1" fmla="*/ 144491 h 144490"/>
              <a:gd name="connsiteX2" fmla="*/ 71080 w 132838"/>
              <a:gd name="connsiteY2" fmla="*/ 73410 h 144490"/>
              <a:gd name="connsiteX3" fmla="*/ 0 w 132838"/>
              <a:gd name="connsiteY3" fmla="*/ 0 h 144490"/>
              <a:gd name="connsiteX4" fmla="*/ 61758 w 132838"/>
              <a:gd name="connsiteY4" fmla="*/ 0 h 144490"/>
              <a:gd name="connsiteX5" fmla="*/ 132838 w 132838"/>
              <a:gd name="connsiteY5" fmla="*/ 71080 h 144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4490">
                <a:moveTo>
                  <a:pt x="60593" y="144491"/>
                </a:moveTo>
                <a:lnTo>
                  <a:pt x="0" y="144491"/>
                </a:lnTo>
                <a:lnTo>
                  <a:pt x="71080" y="73410"/>
                </a:lnTo>
                <a:lnTo>
                  <a:pt x="0" y="0"/>
                </a:lnTo>
                <a:lnTo>
                  <a:pt x="61758" y="0"/>
                </a:lnTo>
                <a:lnTo>
                  <a:pt x="132838" y="71080"/>
                </a:lnTo>
                <a:close/>
              </a:path>
            </a:pathLst>
          </a:custGeom>
          <a:solidFill>
            <a:srgbClr val="EEF2F5"/>
          </a:solidFill>
          <a:ln w="11643" cap="flat">
            <a:noFill/>
            <a:prstDash val="solid"/>
            <a:miter/>
          </a:ln>
        </p:spPr>
        <p:txBody>
          <a:bodyPr rtlCol="0" anchor="ctr"/>
          <a:lstStyle/>
          <a:p>
            <a:pPr rtl="0"/>
            <a:endParaRPr lang="en-US"/>
          </a:p>
        </p:txBody>
      </p:sp>
      <p:sp>
        <p:nvSpPr>
          <p:cNvPr id="109" name="Freihandform: Form 108">
            <a:extLst>
              <a:ext uri="{FF2B5EF4-FFF2-40B4-BE49-F238E27FC236}">
                <a16:creationId xmlns:a16="http://schemas.microsoft.com/office/drawing/2014/main" id="{23A8A58E-C664-472A-80B9-B34A798D133E}"/>
              </a:ext>
            </a:extLst>
          </p:cNvPr>
          <p:cNvSpPr/>
          <p:nvPr/>
        </p:nvSpPr>
        <p:spPr>
          <a:xfrm>
            <a:off x="7335247" y="4167441"/>
            <a:ext cx="132838" cy="143325"/>
          </a:xfrm>
          <a:custGeom>
            <a:avLst/>
            <a:gdLst>
              <a:gd name="connsiteX0" fmla="*/ 60593 w 132838"/>
              <a:gd name="connsiteY0" fmla="*/ 143325 h 143325"/>
              <a:gd name="connsiteX1" fmla="*/ 0 w 132838"/>
              <a:gd name="connsiteY1" fmla="*/ 143325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5"/>
                </a:moveTo>
                <a:lnTo>
                  <a:pt x="0" y="143325"/>
                </a:lnTo>
                <a:lnTo>
                  <a:pt x="71080" y="72245"/>
                </a:lnTo>
                <a:lnTo>
                  <a:pt x="0" y="0"/>
                </a:lnTo>
                <a:lnTo>
                  <a:pt x="61758" y="0"/>
                </a:lnTo>
                <a:lnTo>
                  <a:pt x="132838" y="69915"/>
                </a:lnTo>
                <a:close/>
              </a:path>
            </a:pathLst>
          </a:custGeom>
          <a:solidFill>
            <a:srgbClr val="EEF2F5"/>
          </a:solidFill>
          <a:ln w="11643" cap="flat">
            <a:noFill/>
            <a:prstDash val="solid"/>
            <a:miter/>
          </a:ln>
        </p:spPr>
        <p:txBody>
          <a:bodyPr rtlCol="0" anchor="ctr"/>
          <a:lstStyle/>
          <a:p>
            <a:pPr rtl="0"/>
            <a:endParaRPr lang="en-US"/>
          </a:p>
        </p:txBody>
      </p:sp>
      <p:sp>
        <p:nvSpPr>
          <p:cNvPr id="125" name="Freihandform: Form 124">
            <a:extLst>
              <a:ext uri="{FF2B5EF4-FFF2-40B4-BE49-F238E27FC236}">
                <a16:creationId xmlns:a16="http://schemas.microsoft.com/office/drawing/2014/main" id="{C3B2D139-38F0-4A0D-927D-BDFD81D0A329}"/>
              </a:ext>
            </a:extLst>
          </p:cNvPr>
          <p:cNvSpPr/>
          <p:nvPr/>
        </p:nvSpPr>
        <p:spPr>
          <a:xfrm>
            <a:off x="7335247" y="4522842"/>
            <a:ext cx="132838" cy="143325"/>
          </a:xfrm>
          <a:custGeom>
            <a:avLst/>
            <a:gdLst>
              <a:gd name="connsiteX0" fmla="*/ 60593 w 132838"/>
              <a:gd name="connsiteY0" fmla="*/ 143325 h 143325"/>
              <a:gd name="connsiteX1" fmla="*/ 0 w 132838"/>
              <a:gd name="connsiteY1" fmla="*/ 143325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5"/>
                </a:moveTo>
                <a:lnTo>
                  <a:pt x="0" y="143325"/>
                </a:lnTo>
                <a:lnTo>
                  <a:pt x="71080" y="72245"/>
                </a:lnTo>
                <a:lnTo>
                  <a:pt x="0" y="0"/>
                </a:lnTo>
                <a:lnTo>
                  <a:pt x="61758" y="0"/>
                </a:lnTo>
                <a:lnTo>
                  <a:pt x="132838" y="69915"/>
                </a:lnTo>
                <a:close/>
              </a:path>
            </a:pathLst>
          </a:custGeom>
          <a:solidFill>
            <a:srgbClr val="EEF2F5"/>
          </a:solidFill>
          <a:ln w="11643" cap="flat">
            <a:noFill/>
            <a:prstDash val="solid"/>
            <a:miter/>
          </a:ln>
        </p:spPr>
        <p:txBody>
          <a:bodyPr rtlCol="0" anchor="ctr"/>
          <a:lstStyle/>
          <a:p>
            <a:pPr rtl="0"/>
            <a:endParaRPr lang="en-US"/>
          </a:p>
        </p:txBody>
      </p:sp>
      <p:sp>
        <p:nvSpPr>
          <p:cNvPr id="142" name="Freihandform: Form 141">
            <a:extLst>
              <a:ext uri="{FF2B5EF4-FFF2-40B4-BE49-F238E27FC236}">
                <a16:creationId xmlns:a16="http://schemas.microsoft.com/office/drawing/2014/main" id="{B85C4BDF-6D64-4824-8953-A0E638E3F3C2}"/>
              </a:ext>
            </a:extLst>
          </p:cNvPr>
          <p:cNvSpPr/>
          <p:nvPr/>
        </p:nvSpPr>
        <p:spPr>
          <a:xfrm>
            <a:off x="7335247" y="4877077"/>
            <a:ext cx="132838" cy="143325"/>
          </a:xfrm>
          <a:custGeom>
            <a:avLst/>
            <a:gdLst>
              <a:gd name="connsiteX0" fmla="*/ 60593 w 132838"/>
              <a:gd name="connsiteY0" fmla="*/ 143325 h 143325"/>
              <a:gd name="connsiteX1" fmla="*/ 0 w 132838"/>
              <a:gd name="connsiteY1" fmla="*/ 143325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71080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5"/>
                </a:moveTo>
                <a:lnTo>
                  <a:pt x="0" y="143325"/>
                </a:lnTo>
                <a:lnTo>
                  <a:pt x="71080" y="72245"/>
                </a:lnTo>
                <a:lnTo>
                  <a:pt x="0" y="0"/>
                </a:lnTo>
                <a:lnTo>
                  <a:pt x="61758" y="0"/>
                </a:lnTo>
                <a:lnTo>
                  <a:pt x="132838" y="71080"/>
                </a:lnTo>
                <a:close/>
              </a:path>
            </a:pathLst>
          </a:custGeom>
          <a:solidFill>
            <a:srgbClr val="EEF2F5"/>
          </a:solidFill>
          <a:ln w="11643" cap="flat">
            <a:noFill/>
            <a:prstDash val="solid"/>
            <a:miter/>
          </a:ln>
        </p:spPr>
        <p:txBody>
          <a:bodyPr rtlCol="0" anchor="ctr"/>
          <a:lstStyle/>
          <a:p>
            <a:pPr rtl="0"/>
            <a:endParaRPr lang="en-US"/>
          </a:p>
        </p:txBody>
      </p:sp>
      <p:sp>
        <p:nvSpPr>
          <p:cNvPr id="159" name="Freihandform: Form 158">
            <a:extLst>
              <a:ext uri="{FF2B5EF4-FFF2-40B4-BE49-F238E27FC236}">
                <a16:creationId xmlns:a16="http://schemas.microsoft.com/office/drawing/2014/main" id="{847A43FF-6A21-4A02-A0F3-7A25CB4C4A3E}"/>
              </a:ext>
            </a:extLst>
          </p:cNvPr>
          <p:cNvSpPr/>
          <p:nvPr/>
        </p:nvSpPr>
        <p:spPr>
          <a:xfrm>
            <a:off x="7335247" y="5232478"/>
            <a:ext cx="132838" cy="143325"/>
          </a:xfrm>
          <a:custGeom>
            <a:avLst/>
            <a:gdLst>
              <a:gd name="connsiteX0" fmla="*/ 60593 w 132838"/>
              <a:gd name="connsiteY0" fmla="*/ 143325 h 143325"/>
              <a:gd name="connsiteX1" fmla="*/ 0 w 132838"/>
              <a:gd name="connsiteY1" fmla="*/ 143325 h 143325"/>
              <a:gd name="connsiteX2" fmla="*/ 71080 w 132838"/>
              <a:gd name="connsiteY2" fmla="*/ 72246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5"/>
                </a:moveTo>
                <a:lnTo>
                  <a:pt x="0" y="143325"/>
                </a:lnTo>
                <a:lnTo>
                  <a:pt x="71080" y="72246"/>
                </a:lnTo>
                <a:lnTo>
                  <a:pt x="0" y="0"/>
                </a:lnTo>
                <a:lnTo>
                  <a:pt x="61758" y="0"/>
                </a:lnTo>
                <a:lnTo>
                  <a:pt x="132838" y="69915"/>
                </a:lnTo>
                <a:close/>
              </a:path>
            </a:pathLst>
          </a:custGeom>
          <a:solidFill>
            <a:srgbClr val="EEF2F5"/>
          </a:solidFill>
          <a:ln w="11643" cap="flat">
            <a:noFill/>
            <a:prstDash val="solid"/>
            <a:miter/>
          </a:ln>
        </p:spPr>
        <p:txBody>
          <a:bodyPr rtlCol="0" anchor="ctr"/>
          <a:lstStyle/>
          <a:p>
            <a:pPr rtl="0"/>
            <a:endParaRPr lang="en-US"/>
          </a:p>
        </p:txBody>
      </p:sp>
      <p:sp>
        <p:nvSpPr>
          <p:cNvPr id="176" name="Freihandform: Form 175">
            <a:extLst>
              <a:ext uri="{FF2B5EF4-FFF2-40B4-BE49-F238E27FC236}">
                <a16:creationId xmlns:a16="http://schemas.microsoft.com/office/drawing/2014/main" id="{5F6F18CA-B559-43C7-A028-9927FEF76A9E}"/>
              </a:ext>
            </a:extLst>
          </p:cNvPr>
          <p:cNvSpPr/>
          <p:nvPr/>
        </p:nvSpPr>
        <p:spPr>
          <a:xfrm>
            <a:off x="7335247" y="5586713"/>
            <a:ext cx="132838" cy="143325"/>
          </a:xfrm>
          <a:custGeom>
            <a:avLst/>
            <a:gdLst>
              <a:gd name="connsiteX0" fmla="*/ 60593 w 132838"/>
              <a:gd name="connsiteY0" fmla="*/ 143326 h 143325"/>
              <a:gd name="connsiteX1" fmla="*/ 0 w 132838"/>
              <a:gd name="connsiteY1" fmla="*/ 143326 h 143325"/>
              <a:gd name="connsiteX2" fmla="*/ 71080 w 132838"/>
              <a:gd name="connsiteY2" fmla="*/ 72246 h 143325"/>
              <a:gd name="connsiteX3" fmla="*/ 0 w 132838"/>
              <a:gd name="connsiteY3" fmla="*/ 0 h 143325"/>
              <a:gd name="connsiteX4" fmla="*/ 61758 w 132838"/>
              <a:gd name="connsiteY4" fmla="*/ 0 h 143325"/>
              <a:gd name="connsiteX5" fmla="*/ 132838 w 132838"/>
              <a:gd name="connsiteY5" fmla="*/ 71080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6"/>
                </a:moveTo>
                <a:lnTo>
                  <a:pt x="0" y="143326"/>
                </a:lnTo>
                <a:lnTo>
                  <a:pt x="71080" y="72246"/>
                </a:lnTo>
                <a:lnTo>
                  <a:pt x="0" y="0"/>
                </a:lnTo>
                <a:lnTo>
                  <a:pt x="61758" y="0"/>
                </a:lnTo>
                <a:lnTo>
                  <a:pt x="132838" y="71080"/>
                </a:lnTo>
                <a:close/>
              </a:path>
            </a:pathLst>
          </a:custGeom>
          <a:solidFill>
            <a:srgbClr val="EEF2F5"/>
          </a:solidFill>
          <a:ln w="11643" cap="flat">
            <a:noFill/>
            <a:prstDash val="solid"/>
            <a:miter/>
          </a:ln>
        </p:spPr>
        <p:txBody>
          <a:bodyPr rtlCol="0" anchor="ctr"/>
          <a:lstStyle/>
          <a:p>
            <a:pPr rtl="0"/>
            <a:endParaRPr lang="en-US"/>
          </a:p>
        </p:txBody>
      </p:sp>
      <p:sp>
        <p:nvSpPr>
          <p:cNvPr id="193" name="Freihandform: Form 192">
            <a:extLst>
              <a:ext uri="{FF2B5EF4-FFF2-40B4-BE49-F238E27FC236}">
                <a16:creationId xmlns:a16="http://schemas.microsoft.com/office/drawing/2014/main" id="{CA0955FD-7B34-49C4-9B74-6CBFAD6AC0D2}"/>
              </a:ext>
            </a:extLst>
          </p:cNvPr>
          <p:cNvSpPr/>
          <p:nvPr/>
        </p:nvSpPr>
        <p:spPr>
          <a:xfrm>
            <a:off x="7335247" y="5942114"/>
            <a:ext cx="132838" cy="143325"/>
          </a:xfrm>
          <a:custGeom>
            <a:avLst/>
            <a:gdLst>
              <a:gd name="connsiteX0" fmla="*/ 60593 w 132838"/>
              <a:gd name="connsiteY0" fmla="*/ 143326 h 143325"/>
              <a:gd name="connsiteX1" fmla="*/ 0 w 132838"/>
              <a:gd name="connsiteY1" fmla="*/ 143326 h 143325"/>
              <a:gd name="connsiteX2" fmla="*/ 71080 w 132838"/>
              <a:gd name="connsiteY2" fmla="*/ 72246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6"/>
                </a:moveTo>
                <a:lnTo>
                  <a:pt x="0" y="143326"/>
                </a:lnTo>
                <a:lnTo>
                  <a:pt x="71080" y="72246"/>
                </a:lnTo>
                <a:lnTo>
                  <a:pt x="0" y="0"/>
                </a:lnTo>
                <a:lnTo>
                  <a:pt x="61758" y="0"/>
                </a:lnTo>
                <a:lnTo>
                  <a:pt x="132838" y="69915"/>
                </a:lnTo>
                <a:close/>
              </a:path>
            </a:pathLst>
          </a:custGeom>
          <a:solidFill>
            <a:srgbClr val="EEF2F5"/>
          </a:solidFill>
          <a:ln w="11643" cap="flat">
            <a:noFill/>
            <a:prstDash val="solid"/>
            <a:miter/>
          </a:ln>
        </p:spPr>
        <p:txBody>
          <a:bodyPr rtlCol="0" anchor="ctr"/>
          <a:lstStyle/>
          <a:p>
            <a:pPr rtl="0"/>
            <a:endParaRPr lang="en-US"/>
          </a:p>
        </p:txBody>
      </p:sp>
      <p:sp>
        <p:nvSpPr>
          <p:cNvPr id="210" name="Freihandform: Form 209">
            <a:extLst>
              <a:ext uri="{FF2B5EF4-FFF2-40B4-BE49-F238E27FC236}">
                <a16:creationId xmlns:a16="http://schemas.microsoft.com/office/drawing/2014/main" id="{D68D90D4-26AA-4477-A0C9-8263189B58F9}"/>
              </a:ext>
            </a:extLst>
          </p:cNvPr>
          <p:cNvSpPr/>
          <p:nvPr/>
        </p:nvSpPr>
        <p:spPr>
          <a:xfrm>
            <a:off x="7335247" y="6296349"/>
            <a:ext cx="132838" cy="143325"/>
          </a:xfrm>
          <a:custGeom>
            <a:avLst/>
            <a:gdLst>
              <a:gd name="connsiteX0" fmla="*/ 60593 w 132838"/>
              <a:gd name="connsiteY0" fmla="*/ 143326 h 143325"/>
              <a:gd name="connsiteX1" fmla="*/ 0 w 132838"/>
              <a:gd name="connsiteY1" fmla="*/ 143326 h 143325"/>
              <a:gd name="connsiteX2" fmla="*/ 71080 w 132838"/>
              <a:gd name="connsiteY2" fmla="*/ 72246 h 143325"/>
              <a:gd name="connsiteX3" fmla="*/ 0 w 132838"/>
              <a:gd name="connsiteY3" fmla="*/ 0 h 143325"/>
              <a:gd name="connsiteX4" fmla="*/ 61758 w 132838"/>
              <a:gd name="connsiteY4" fmla="*/ 0 h 143325"/>
              <a:gd name="connsiteX5" fmla="*/ 132838 w 132838"/>
              <a:gd name="connsiteY5" fmla="*/ 71080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6"/>
                </a:moveTo>
                <a:lnTo>
                  <a:pt x="0" y="143326"/>
                </a:lnTo>
                <a:lnTo>
                  <a:pt x="71080" y="72246"/>
                </a:lnTo>
                <a:lnTo>
                  <a:pt x="0" y="0"/>
                </a:lnTo>
                <a:lnTo>
                  <a:pt x="61758" y="0"/>
                </a:lnTo>
                <a:lnTo>
                  <a:pt x="132838" y="71080"/>
                </a:lnTo>
                <a:close/>
              </a:path>
            </a:pathLst>
          </a:custGeom>
          <a:solidFill>
            <a:srgbClr val="EEF2F5"/>
          </a:solidFill>
          <a:ln w="11643" cap="flat">
            <a:noFill/>
            <a:prstDash val="solid"/>
            <a:miter/>
          </a:ln>
        </p:spPr>
        <p:txBody>
          <a:bodyPr rtlCol="0" anchor="ctr"/>
          <a:lstStyle/>
          <a:p>
            <a:pPr rtl="0"/>
            <a:endParaRPr lang="en-US"/>
          </a:p>
        </p:txBody>
      </p:sp>
      <p:sp>
        <p:nvSpPr>
          <p:cNvPr id="226" name="Freihandform: Form 225">
            <a:extLst>
              <a:ext uri="{FF2B5EF4-FFF2-40B4-BE49-F238E27FC236}">
                <a16:creationId xmlns:a16="http://schemas.microsoft.com/office/drawing/2014/main" id="{97640BFA-E4AC-482E-B26E-9BE22B98A669}"/>
              </a:ext>
            </a:extLst>
          </p:cNvPr>
          <p:cNvSpPr/>
          <p:nvPr/>
        </p:nvSpPr>
        <p:spPr>
          <a:xfrm>
            <a:off x="7335247" y="6651749"/>
            <a:ext cx="132838" cy="143325"/>
          </a:xfrm>
          <a:custGeom>
            <a:avLst/>
            <a:gdLst>
              <a:gd name="connsiteX0" fmla="*/ 60593 w 132838"/>
              <a:gd name="connsiteY0" fmla="*/ 143326 h 143325"/>
              <a:gd name="connsiteX1" fmla="*/ 0 w 132838"/>
              <a:gd name="connsiteY1" fmla="*/ 143326 h 143325"/>
              <a:gd name="connsiteX2" fmla="*/ 71080 w 132838"/>
              <a:gd name="connsiteY2" fmla="*/ 72246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6"/>
                </a:moveTo>
                <a:lnTo>
                  <a:pt x="0" y="143326"/>
                </a:lnTo>
                <a:lnTo>
                  <a:pt x="71080" y="72246"/>
                </a:lnTo>
                <a:lnTo>
                  <a:pt x="0" y="0"/>
                </a:lnTo>
                <a:lnTo>
                  <a:pt x="61758" y="0"/>
                </a:lnTo>
                <a:lnTo>
                  <a:pt x="132838" y="69915"/>
                </a:lnTo>
                <a:close/>
              </a:path>
            </a:pathLst>
          </a:custGeom>
          <a:solidFill>
            <a:srgbClr val="EEF2F5"/>
          </a:solidFill>
          <a:ln w="11643" cap="flat">
            <a:noFill/>
            <a:prstDash val="solid"/>
            <a:miter/>
          </a:ln>
        </p:spPr>
        <p:txBody>
          <a:bodyPr rtlCol="0" anchor="ctr"/>
          <a:lstStyle/>
          <a:p>
            <a:pPr rtl="0"/>
            <a:endParaRPr lang="en-US"/>
          </a:p>
        </p:txBody>
      </p:sp>
      <p:sp>
        <p:nvSpPr>
          <p:cNvPr id="15" name="Freihandform: Form 14">
            <a:extLst>
              <a:ext uri="{FF2B5EF4-FFF2-40B4-BE49-F238E27FC236}">
                <a16:creationId xmlns:a16="http://schemas.microsoft.com/office/drawing/2014/main" id="{F336D4C3-F14F-4477-B07F-E766912B6926}"/>
              </a:ext>
            </a:extLst>
          </p:cNvPr>
          <p:cNvSpPr/>
          <p:nvPr/>
        </p:nvSpPr>
        <p:spPr>
          <a:xfrm>
            <a:off x="7682491" y="2029211"/>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pPr rtl="0"/>
            <a:endParaRPr lang="en-US"/>
          </a:p>
        </p:txBody>
      </p:sp>
      <p:sp>
        <p:nvSpPr>
          <p:cNvPr id="30" name="Freihandform: Form 29">
            <a:extLst>
              <a:ext uri="{FF2B5EF4-FFF2-40B4-BE49-F238E27FC236}">
                <a16:creationId xmlns:a16="http://schemas.microsoft.com/office/drawing/2014/main" id="{34D4DA1D-8EE2-4188-AE9C-9791ECBC66C5}"/>
              </a:ext>
            </a:extLst>
          </p:cNvPr>
          <p:cNvSpPr/>
          <p:nvPr/>
        </p:nvSpPr>
        <p:spPr>
          <a:xfrm>
            <a:off x="7682491" y="2384612"/>
            <a:ext cx="147986" cy="160804"/>
          </a:xfrm>
          <a:custGeom>
            <a:avLst/>
            <a:gdLst>
              <a:gd name="connsiteX0" fmla="*/ 67584 w 147986"/>
              <a:gd name="connsiteY0" fmla="*/ 160804 h 160804"/>
              <a:gd name="connsiteX1" fmla="*/ 0 w 147986"/>
              <a:gd name="connsiteY1" fmla="*/ 160804 h 160804"/>
              <a:gd name="connsiteX2" fmla="*/ 79237 w 147986"/>
              <a:gd name="connsiteY2" fmla="*/ 80402 h 160804"/>
              <a:gd name="connsiteX3" fmla="*/ 0 w 147986"/>
              <a:gd name="connsiteY3" fmla="*/ 0 h 160804"/>
              <a:gd name="connsiteX4" fmla="*/ 68750 w 147986"/>
              <a:gd name="connsiteY4" fmla="*/ 0 h 160804"/>
              <a:gd name="connsiteX5" fmla="*/ 147986 w 147986"/>
              <a:gd name="connsiteY5" fmla="*/ 79237 h 160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0804">
                <a:moveTo>
                  <a:pt x="67584" y="160804"/>
                </a:moveTo>
                <a:lnTo>
                  <a:pt x="0" y="160804"/>
                </a:lnTo>
                <a:lnTo>
                  <a:pt x="79237" y="80402"/>
                </a:lnTo>
                <a:lnTo>
                  <a:pt x="0" y="0"/>
                </a:lnTo>
                <a:lnTo>
                  <a:pt x="68750" y="0"/>
                </a:lnTo>
                <a:lnTo>
                  <a:pt x="147986" y="79237"/>
                </a:lnTo>
                <a:close/>
              </a:path>
            </a:pathLst>
          </a:custGeom>
          <a:solidFill>
            <a:srgbClr val="EEF2F5"/>
          </a:solidFill>
          <a:ln w="11643" cap="flat">
            <a:noFill/>
            <a:prstDash val="solid"/>
            <a:miter/>
          </a:ln>
        </p:spPr>
        <p:txBody>
          <a:bodyPr rtlCol="0" anchor="ctr"/>
          <a:lstStyle/>
          <a:p>
            <a:pPr rtl="0"/>
            <a:endParaRPr lang="en-US"/>
          </a:p>
        </p:txBody>
      </p:sp>
      <p:sp>
        <p:nvSpPr>
          <p:cNvPr id="46" name="Freihandform: Form 45">
            <a:extLst>
              <a:ext uri="{FF2B5EF4-FFF2-40B4-BE49-F238E27FC236}">
                <a16:creationId xmlns:a16="http://schemas.microsoft.com/office/drawing/2014/main" id="{ADAD204A-493D-4101-A53B-41343EE7F6DE}"/>
              </a:ext>
            </a:extLst>
          </p:cNvPr>
          <p:cNvSpPr/>
          <p:nvPr/>
        </p:nvSpPr>
        <p:spPr>
          <a:xfrm>
            <a:off x="7682491" y="2738847"/>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pPr rtl="0"/>
            <a:endParaRPr lang="en-US"/>
          </a:p>
        </p:txBody>
      </p:sp>
      <p:sp>
        <p:nvSpPr>
          <p:cNvPr id="62" name="Freihandform: Form 61">
            <a:extLst>
              <a:ext uri="{FF2B5EF4-FFF2-40B4-BE49-F238E27FC236}">
                <a16:creationId xmlns:a16="http://schemas.microsoft.com/office/drawing/2014/main" id="{0605F07B-22A0-4571-A9A8-F5DA3A1756E5}"/>
              </a:ext>
            </a:extLst>
          </p:cNvPr>
          <p:cNvSpPr/>
          <p:nvPr/>
        </p:nvSpPr>
        <p:spPr>
          <a:xfrm>
            <a:off x="7682491" y="3094248"/>
            <a:ext cx="147986" cy="160804"/>
          </a:xfrm>
          <a:custGeom>
            <a:avLst/>
            <a:gdLst>
              <a:gd name="connsiteX0" fmla="*/ 67584 w 147986"/>
              <a:gd name="connsiteY0" fmla="*/ 160804 h 160804"/>
              <a:gd name="connsiteX1" fmla="*/ 0 w 147986"/>
              <a:gd name="connsiteY1" fmla="*/ 160804 h 160804"/>
              <a:gd name="connsiteX2" fmla="*/ 79237 w 147986"/>
              <a:gd name="connsiteY2" fmla="*/ 81567 h 160804"/>
              <a:gd name="connsiteX3" fmla="*/ 0 w 147986"/>
              <a:gd name="connsiteY3" fmla="*/ 0 h 160804"/>
              <a:gd name="connsiteX4" fmla="*/ 68750 w 147986"/>
              <a:gd name="connsiteY4" fmla="*/ 0 h 160804"/>
              <a:gd name="connsiteX5" fmla="*/ 147986 w 147986"/>
              <a:gd name="connsiteY5" fmla="*/ 79237 h 160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0804">
                <a:moveTo>
                  <a:pt x="67584" y="160804"/>
                </a:moveTo>
                <a:lnTo>
                  <a:pt x="0" y="160804"/>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pPr rtl="0"/>
            <a:endParaRPr lang="en-US"/>
          </a:p>
        </p:txBody>
      </p:sp>
      <p:sp>
        <p:nvSpPr>
          <p:cNvPr id="78" name="Freihandform: Form 77">
            <a:extLst>
              <a:ext uri="{FF2B5EF4-FFF2-40B4-BE49-F238E27FC236}">
                <a16:creationId xmlns:a16="http://schemas.microsoft.com/office/drawing/2014/main" id="{3EC20671-A11E-46B3-BAE0-32B973030757}"/>
              </a:ext>
            </a:extLst>
          </p:cNvPr>
          <p:cNvSpPr/>
          <p:nvPr/>
        </p:nvSpPr>
        <p:spPr>
          <a:xfrm>
            <a:off x="7682491" y="3448483"/>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pPr rtl="0"/>
            <a:endParaRPr lang="en-US"/>
          </a:p>
        </p:txBody>
      </p:sp>
      <p:sp>
        <p:nvSpPr>
          <p:cNvPr id="94" name="Freihandform: Form 93">
            <a:extLst>
              <a:ext uri="{FF2B5EF4-FFF2-40B4-BE49-F238E27FC236}">
                <a16:creationId xmlns:a16="http://schemas.microsoft.com/office/drawing/2014/main" id="{A30F4723-63CF-4B8C-9113-E2531A8EBC72}"/>
              </a:ext>
            </a:extLst>
          </p:cNvPr>
          <p:cNvSpPr/>
          <p:nvPr/>
        </p:nvSpPr>
        <p:spPr>
          <a:xfrm>
            <a:off x="7682491" y="3803883"/>
            <a:ext cx="147986" cy="160804"/>
          </a:xfrm>
          <a:custGeom>
            <a:avLst/>
            <a:gdLst>
              <a:gd name="connsiteX0" fmla="*/ 67584 w 147986"/>
              <a:gd name="connsiteY0" fmla="*/ 160804 h 160804"/>
              <a:gd name="connsiteX1" fmla="*/ 0 w 147986"/>
              <a:gd name="connsiteY1" fmla="*/ 160804 h 160804"/>
              <a:gd name="connsiteX2" fmla="*/ 79237 w 147986"/>
              <a:gd name="connsiteY2" fmla="*/ 81567 h 160804"/>
              <a:gd name="connsiteX3" fmla="*/ 0 w 147986"/>
              <a:gd name="connsiteY3" fmla="*/ 0 h 160804"/>
              <a:gd name="connsiteX4" fmla="*/ 68750 w 147986"/>
              <a:gd name="connsiteY4" fmla="*/ 0 h 160804"/>
              <a:gd name="connsiteX5" fmla="*/ 147986 w 147986"/>
              <a:gd name="connsiteY5" fmla="*/ 79237 h 160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0804">
                <a:moveTo>
                  <a:pt x="67584" y="160804"/>
                </a:moveTo>
                <a:lnTo>
                  <a:pt x="0" y="160804"/>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pPr rtl="0"/>
            <a:endParaRPr lang="en-US"/>
          </a:p>
        </p:txBody>
      </p:sp>
      <p:sp>
        <p:nvSpPr>
          <p:cNvPr id="110" name="Freihandform: Form 109">
            <a:extLst>
              <a:ext uri="{FF2B5EF4-FFF2-40B4-BE49-F238E27FC236}">
                <a16:creationId xmlns:a16="http://schemas.microsoft.com/office/drawing/2014/main" id="{0B073543-0431-463D-BD2B-670537378FD9}"/>
              </a:ext>
            </a:extLst>
          </p:cNvPr>
          <p:cNvSpPr/>
          <p:nvPr/>
        </p:nvSpPr>
        <p:spPr>
          <a:xfrm>
            <a:off x="7682491" y="4158119"/>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pPr rtl="0"/>
            <a:endParaRPr lang="en-US"/>
          </a:p>
        </p:txBody>
      </p:sp>
      <p:sp>
        <p:nvSpPr>
          <p:cNvPr id="126" name="Freihandform: Form 125">
            <a:extLst>
              <a:ext uri="{FF2B5EF4-FFF2-40B4-BE49-F238E27FC236}">
                <a16:creationId xmlns:a16="http://schemas.microsoft.com/office/drawing/2014/main" id="{D645C434-6F6D-4B2F-9987-6BA4C184BDAD}"/>
              </a:ext>
            </a:extLst>
          </p:cNvPr>
          <p:cNvSpPr/>
          <p:nvPr/>
        </p:nvSpPr>
        <p:spPr>
          <a:xfrm>
            <a:off x="7682491" y="4513520"/>
            <a:ext cx="147986" cy="160804"/>
          </a:xfrm>
          <a:custGeom>
            <a:avLst/>
            <a:gdLst>
              <a:gd name="connsiteX0" fmla="*/ 67584 w 147986"/>
              <a:gd name="connsiteY0" fmla="*/ 160804 h 160804"/>
              <a:gd name="connsiteX1" fmla="*/ 0 w 147986"/>
              <a:gd name="connsiteY1" fmla="*/ 160804 h 160804"/>
              <a:gd name="connsiteX2" fmla="*/ 79237 w 147986"/>
              <a:gd name="connsiteY2" fmla="*/ 81567 h 160804"/>
              <a:gd name="connsiteX3" fmla="*/ 0 w 147986"/>
              <a:gd name="connsiteY3" fmla="*/ 0 h 160804"/>
              <a:gd name="connsiteX4" fmla="*/ 68750 w 147986"/>
              <a:gd name="connsiteY4" fmla="*/ 0 h 160804"/>
              <a:gd name="connsiteX5" fmla="*/ 147986 w 147986"/>
              <a:gd name="connsiteY5" fmla="*/ 79237 h 160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0804">
                <a:moveTo>
                  <a:pt x="67584" y="160804"/>
                </a:moveTo>
                <a:lnTo>
                  <a:pt x="0" y="160804"/>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pPr rtl="0"/>
            <a:endParaRPr lang="en-US"/>
          </a:p>
        </p:txBody>
      </p:sp>
      <p:sp>
        <p:nvSpPr>
          <p:cNvPr id="143" name="Freihandform: Form 142">
            <a:extLst>
              <a:ext uri="{FF2B5EF4-FFF2-40B4-BE49-F238E27FC236}">
                <a16:creationId xmlns:a16="http://schemas.microsoft.com/office/drawing/2014/main" id="{78C199F1-38D6-4003-B23F-FB1D901A96D0}"/>
              </a:ext>
            </a:extLst>
          </p:cNvPr>
          <p:cNvSpPr/>
          <p:nvPr/>
        </p:nvSpPr>
        <p:spPr>
          <a:xfrm>
            <a:off x="7682491" y="4867755"/>
            <a:ext cx="147986" cy="161969"/>
          </a:xfrm>
          <a:custGeom>
            <a:avLst/>
            <a:gdLst>
              <a:gd name="connsiteX0" fmla="*/ 67584 w 147986"/>
              <a:gd name="connsiteY0" fmla="*/ 161970 h 161969"/>
              <a:gd name="connsiteX1" fmla="*/ 0 w 147986"/>
              <a:gd name="connsiteY1" fmla="*/ 161970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70"/>
                </a:moveTo>
                <a:lnTo>
                  <a:pt x="0" y="161970"/>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pPr rtl="0"/>
            <a:endParaRPr lang="en-US"/>
          </a:p>
        </p:txBody>
      </p:sp>
      <p:sp>
        <p:nvSpPr>
          <p:cNvPr id="160" name="Freihandform: Form 159">
            <a:extLst>
              <a:ext uri="{FF2B5EF4-FFF2-40B4-BE49-F238E27FC236}">
                <a16:creationId xmlns:a16="http://schemas.microsoft.com/office/drawing/2014/main" id="{88794CE9-C4AD-447D-ADEB-D45D8252050B}"/>
              </a:ext>
            </a:extLst>
          </p:cNvPr>
          <p:cNvSpPr/>
          <p:nvPr/>
        </p:nvSpPr>
        <p:spPr>
          <a:xfrm>
            <a:off x="7682491" y="5223156"/>
            <a:ext cx="147986" cy="160804"/>
          </a:xfrm>
          <a:custGeom>
            <a:avLst/>
            <a:gdLst>
              <a:gd name="connsiteX0" fmla="*/ 67584 w 147986"/>
              <a:gd name="connsiteY0" fmla="*/ 160804 h 160804"/>
              <a:gd name="connsiteX1" fmla="*/ 0 w 147986"/>
              <a:gd name="connsiteY1" fmla="*/ 160804 h 160804"/>
              <a:gd name="connsiteX2" fmla="*/ 79237 w 147986"/>
              <a:gd name="connsiteY2" fmla="*/ 81567 h 160804"/>
              <a:gd name="connsiteX3" fmla="*/ 0 w 147986"/>
              <a:gd name="connsiteY3" fmla="*/ 0 h 160804"/>
              <a:gd name="connsiteX4" fmla="*/ 68750 w 147986"/>
              <a:gd name="connsiteY4" fmla="*/ 0 h 160804"/>
              <a:gd name="connsiteX5" fmla="*/ 147986 w 147986"/>
              <a:gd name="connsiteY5" fmla="*/ 79237 h 160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0804">
                <a:moveTo>
                  <a:pt x="67584" y="160804"/>
                </a:moveTo>
                <a:lnTo>
                  <a:pt x="0" y="160804"/>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pPr rtl="0"/>
            <a:endParaRPr lang="en-US"/>
          </a:p>
        </p:txBody>
      </p:sp>
      <p:sp>
        <p:nvSpPr>
          <p:cNvPr id="177" name="Freihandform: Form 176">
            <a:extLst>
              <a:ext uri="{FF2B5EF4-FFF2-40B4-BE49-F238E27FC236}">
                <a16:creationId xmlns:a16="http://schemas.microsoft.com/office/drawing/2014/main" id="{FB39A232-82A2-4ED2-B532-B8247CC2812D}"/>
              </a:ext>
            </a:extLst>
          </p:cNvPr>
          <p:cNvSpPr/>
          <p:nvPr/>
        </p:nvSpPr>
        <p:spPr>
          <a:xfrm>
            <a:off x="7682491" y="5577391"/>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pPr rtl="0"/>
            <a:endParaRPr lang="en-US"/>
          </a:p>
        </p:txBody>
      </p:sp>
      <p:sp>
        <p:nvSpPr>
          <p:cNvPr id="194" name="Freihandform: Form 193">
            <a:extLst>
              <a:ext uri="{FF2B5EF4-FFF2-40B4-BE49-F238E27FC236}">
                <a16:creationId xmlns:a16="http://schemas.microsoft.com/office/drawing/2014/main" id="{B5F8FABB-7522-42DB-BB0F-06A4420A79B1}"/>
              </a:ext>
            </a:extLst>
          </p:cNvPr>
          <p:cNvSpPr/>
          <p:nvPr/>
        </p:nvSpPr>
        <p:spPr>
          <a:xfrm>
            <a:off x="7682491" y="5932792"/>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pPr rtl="0"/>
            <a:endParaRPr lang="en-US"/>
          </a:p>
        </p:txBody>
      </p:sp>
      <p:sp>
        <p:nvSpPr>
          <p:cNvPr id="211" name="Freihandform: Form 210">
            <a:extLst>
              <a:ext uri="{FF2B5EF4-FFF2-40B4-BE49-F238E27FC236}">
                <a16:creationId xmlns:a16="http://schemas.microsoft.com/office/drawing/2014/main" id="{D1F73513-4E28-4A8A-BEBF-47911EDB513A}"/>
              </a:ext>
            </a:extLst>
          </p:cNvPr>
          <p:cNvSpPr/>
          <p:nvPr/>
        </p:nvSpPr>
        <p:spPr>
          <a:xfrm>
            <a:off x="7682491" y="6287027"/>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80402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80402"/>
                </a:lnTo>
                <a:close/>
              </a:path>
            </a:pathLst>
          </a:custGeom>
          <a:solidFill>
            <a:srgbClr val="EEF2F5"/>
          </a:solidFill>
          <a:ln w="11643" cap="flat">
            <a:noFill/>
            <a:prstDash val="solid"/>
            <a:miter/>
          </a:ln>
        </p:spPr>
        <p:txBody>
          <a:bodyPr rtlCol="0" anchor="ctr"/>
          <a:lstStyle/>
          <a:p>
            <a:pPr rtl="0"/>
            <a:endParaRPr lang="en-US"/>
          </a:p>
        </p:txBody>
      </p:sp>
      <p:sp>
        <p:nvSpPr>
          <p:cNvPr id="227" name="Freihandform: Form 226">
            <a:extLst>
              <a:ext uri="{FF2B5EF4-FFF2-40B4-BE49-F238E27FC236}">
                <a16:creationId xmlns:a16="http://schemas.microsoft.com/office/drawing/2014/main" id="{4D6DE079-31CD-44BD-8304-6E69A15E3218}"/>
              </a:ext>
            </a:extLst>
          </p:cNvPr>
          <p:cNvSpPr/>
          <p:nvPr/>
        </p:nvSpPr>
        <p:spPr>
          <a:xfrm>
            <a:off x="7682491" y="6642428"/>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pPr rtl="0"/>
            <a:endParaRPr lang="en-US"/>
          </a:p>
        </p:txBody>
      </p:sp>
      <p:sp>
        <p:nvSpPr>
          <p:cNvPr id="16" name="Freihandform: Form 15">
            <a:extLst>
              <a:ext uri="{FF2B5EF4-FFF2-40B4-BE49-F238E27FC236}">
                <a16:creationId xmlns:a16="http://schemas.microsoft.com/office/drawing/2014/main" id="{AA2702D7-FFC1-412B-9F48-632A7CE520AC}"/>
              </a:ext>
            </a:extLst>
          </p:cNvPr>
          <p:cNvSpPr/>
          <p:nvPr/>
        </p:nvSpPr>
        <p:spPr>
          <a:xfrm>
            <a:off x="8028570" y="2019889"/>
            <a:ext cx="165465" cy="179448"/>
          </a:xfrm>
          <a:custGeom>
            <a:avLst/>
            <a:gdLst>
              <a:gd name="connsiteX0" fmla="*/ 75741 w 165465"/>
              <a:gd name="connsiteY0" fmla="*/ 179448 h 179448"/>
              <a:gd name="connsiteX1" fmla="*/ 0 w 165465"/>
              <a:gd name="connsiteY1" fmla="*/ 179448 h 179448"/>
              <a:gd name="connsiteX2" fmla="*/ 88559 w 165465"/>
              <a:gd name="connsiteY2" fmla="*/ 90889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pPr rtl="0"/>
            <a:endParaRPr lang="en-US"/>
          </a:p>
        </p:txBody>
      </p:sp>
      <p:sp>
        <p:nvSpPr>
          <p:cNvPr id="31" name="Freihandform: Form 30">
            <a:extLst>
              <a:ext uri="{FF2B5EF4-FFF2-40B4-BE49-F238E27FC236}">
                <a16:creationId xmlns:a16="http://schemas.microsoft.com/office/drawing/2014/main" id="{648C99A7-3678-4CC0-AF16-855FE8DF6A83}"/>
              </a:ext>
            </a:extLst>
          </p:cNvPr>
          <p:cNvSpPr/>
          <p:nvPr/>
        </p:nvSpPr>
        <p:spPr>
          <a:xfrm>
            <a:off x="8028570" y="2375290"/>
            <a:ext cx="165465" cy="179448"/>
          </a:xfrm>
          <a:custGeom>
            <a:avLst/>
            <a:gdLst>
              <a:gd name="connsiteX0" fmla="*/ 75741 w 165465"/>
              <a:gd name="connsiteY0" fmla="*/ 179448 h 179448"/>
              <a:gd name="connsiteX1" fmla="*/ 0 w 165465"/>
              <a:gd name="connsiteY1" fmla="*/ 179448 h 179448"/>
              <a:gd name="connsiteX2" fmla="*/ 88559 w 165465"/>
              <a:gd name="connsiteY2" fmla="*/ 90889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pPr rtl="0"/>
            <a:endParaRPr lang="en-US"/>
          </a:p>
        </p:txBody>
      </p:sp>
      <p:sp>
        <p:nvSpPr>
          <p:cNvPr id="47" name="Freihandform: Form 46">
            <a:extLst>
              <a:ext uri="{FF2B5EF4-FFF2-40B4-BE49-F238E27FC236}">
                <a16:creationId xmlns:a16="http://schemas.microsoft.com/office/drawing/2014/main" id="{0E3F6CC1-3FE3-4CB0-8193-8A547CA4FB4E}"/>
              </a:ext>
            </a:extLst>
          </p:cNvPr>
          <p:cNvSpPr/>
          <p:nvPr/>
        </p:nvSpPr>
        <p:spPr>
          <a:xfrm>
            <a:off x="8028570" y="2729525"/>
            <a:ext cx="165465" cy="179448"/>
          </a:xfrm>
          <a:custGeom>
            <a:avLst/>
            <a:gdLst>
              <a:gd name="connsiteX0" fmla="*/ 75741 w 165465"/>
              <a:gd name="connsiteY0" fmla="*/ 179448 h 179448"/>
              <a:gd name="connsiteX1" fmla="*/ 0 w 165465"/>
              <a:gd name="connsiteY1" fmla="*/ 179448 h 179448"/>
              <a:gd name="connsiteX2" fmla="*/ 88559 w 165465"/>
              <a:gd name="connsiteY2" fmla="*/ 90889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pPr rtl="0"/>
            <a:endParaRPr lang="en-US"/>
          </a:p>
        </p:txBody>
      </p:sp>
      <p:sp>
        <p:nvSpPr>
          <p:cNvPr id="63" name="Freihandform: Form 62">
            <a:extLst>
              <a:ext uri="{FF2B5EF4-FFF2-40B4-BE49-F238E27FC236}">
                <a16:creationId xmlns:a16="http://schemas.microsoft.com/office/drawing/2014/main" id="{49D6FD09-D76C-4E44-8667-31EAE0B38FB7}"/>
              </a:ext>
            </a:extLst>
          </p:cNvPr>
          <p:cNvSpPr/>
          <p:nvPr/>
        </p:nvSpPr>
        <p:spPr>
          <a:xfrm>
            <a:off x="8028570" y="3084926"/>
            <a:ext cx="165465" cy="179448"/>
          </a:xfrm>
          <a:custGeom>
            <a:avLst/>
            <a:gdLst>
              <a:gd name="connsiteX0" fmla="*/ 75741 w 165465"/>
              <a:gd name="connsiteY0" fmla="*/ 179448 h 179448"/>
              <a:gd name="connsiteX1" fmla="*/ 0 w 165465"/>
              <a:gd name="connsiteY1" fmla="*/ 179448 h 179448"/>
              <a:gd name="connsiteX2" fmla="*/ 88559 w 165465"/>
              <a:gd name="connsiteY2" fmla="*/ 90889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pPr rtl="0"/>
            <a:endParaRPr lang="en-US"/>
          </a:p>
        </p:txBody>
      </p:sp>
      <p:sp>
        <p:nvSpPr>
          <p:cNvPr id="79" name="Freihandform: Form 78">
            <a:extLst>
              <a:ext uri="{FF2B5EF4-FFF2-40B4-BE49-F238E27FC236}">
                <a16:creationId xmlns:a16="http://schemas.microsoft.com/office/drawing/2014/main" id="{92A2F530-7C00-4840-A5DC-15FB5F070BFC}"/>
              </a:ext>
            </a:extLst>
          </p:cNvPr>
          <p:cNvSpPr/>
          <p:nvPr/>
        </p:nvSpPr>
        <p:spPr>
          <a:xfrm>
            <a:off x="8028570" y="3439161"/>
            <a:ext cx="165465" cy="180613"/>
          </a:xfrm>
          <a:custGeom>
            <a:avLst/>
            <a:gdLst>
              <a:gd name="connsiteX0" fmla="*/ 75741 w 165465"/>
              <a:gd name="connsiteY0" fmla="*/ 180614 h 180613"/>
              <a:gd name="connsiteX1" fmla="*/ 0 w 165465"/>
              <a:gd name="connsiteY1" fmla="*/ 180614 h 180613"/>
              <a:gd name="connsiteX2" fmla="*/ 88559 w 165465"/>
              <a:gd name="connsiteY2" fmla="*/ 90889 h 180613"/>
              <a:gd name="connsiteX3" fmla="*/ 0 w 165465"/>
              <a:gd name="connsiteY3" fmla="*/ 0 h 180613"/>
              <a:gd name="connsiteX4" fmla="*/ 76906 w 165465"/>
              <a:gd name="connsiteY4" fmla="*/ 0 h 180613"/>
              <a:gd name="connsiteX5" fmla="*/ 165465 w 165465"/>
              <a:gd name="connsiteY5" fmla="*/ 88559 h 180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80613">
                <a:moveTo>
                  <a:pt x="75741" y="180614"/>
                </a:moveTo>
                <a:lnTo>
                  <a:pt x="0" y="180614"/>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pPr rtl="0"/>
            <a:endParaRPr lang="en-US"/>
          </a:p>
        </p:txBody>
      </p:sp>
      <p:sp>
        <p:nvSpPr>
          <p:cNvPr id="95" name="Freihandform: Form 94">
            <a:extLst>
              <a:ext uri="{FF2B5EF4-FFF2-40B4-BE49-F238E27FC236}">
                <a16:creationId xmlns:a16="http://schemas.microsoft.com/office/drawing/2014/main" id="{6D26EBCB-8FC5-402E-8D7D-BBB49F3CFCC5}"/>
              </a:ext>
            </a:extLst>
          </p:cNvPr>
          <p:cNvSpPr/>
          <p:nvPr/>
        </p:nvSpPr>
        <p:spPr>
          <a:xfrm>
            <a:off x="8028570" y="3794562"/>
            <a:ext cx="165465" cy="179448"/>
          </a:xfrm>
          <a:custGeom>
            <a:avLst/>
            <a:gdLst>
              <a:gd name="connsiteX0" fmla="*/ 75741 w 165465"/>
              <a:gd name="connsiteY0" fmla="*/ 179448 h 179448"/>
              <a:gd name="connsiteX1" fmla="*/ 0 w 165465"/>
              <a:gd name="connsiteY1" fmla="*/ 179448 h 179448"/>
              <a:gd name="connsiteX2" fmla="*/ 88559 w 165465"/>
              <a:gd name="connsiteY2" fmla="*/ 90889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pPr rtl="0"/>
            <a:endParaRPr lang="en-US"/>
          </a:p>
        </p:txBody>
      </p:sp>
      <p:sp>
        <p:nvSpPr>
          <p:cNvPr id="111" name="Freihandform: Form 110">
            <a:extLst>
              <a:ext uri="{FF2B5EF4-FFF2-40B4-BE49-F238E27FC236}">
                <a16:creationId xmlns:a16="http://schemas.microsoft.com/office/drawing/2014/main" id="{CCAAEEA3-A150-4712-ACA6-4E1DDCA0F471}"/>
              </a:ext>
            </a:extLst>
          </p:cNvPr>
          <p:cNvSpPr/>
          <p:nvPr/>
        </p:nvSpPr>
        <p:spPr>
          <a:xfrm>
            <a:off x="8028570" y="4148797"/>
            <a:ext cx="165465" cy="180613"/>
          </a:xfrm>
          <a:custGeom>
            <a:avLst/>
            <a:gdLst>
              <a:gd name="connsiteX0" fmla="*/ 75741 w 165465"/>
              <a:gd name="connsiteY0" fmla="*/ 180613 h 180613"/>
              <a:gd name="connsiteX1" fmla="*/ 0 w 165465"/>
              <a:gd name="connsiteY1" fmla="*/ 180613 h 180613"/>
              <a:gd name="connsiteX2" fmla="*/ 88559 w 165465"/>
              <a:gd name="connsiteY2" fmla="*/ 90889 h 180613"/>
              <a:gd name="connsiteX3" fmla="*/ 0 w 165465"/>
              <a:gd name="connsiteY3" fmla="*/ 0 h 180613"/>
              <a:gd name="connsiteX4" fmla="*/ 76906 w 165465"/>
              <a:gd name="connsiteY4" fmla="*/ 0 h 180613"/>
              <a:gd name="connsiteX5" fmla="*/ 165465 w 165465"/>
              <a:gd name="connsiteY5" fmla="*/ 88559 h 180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80613">
                <a:moveTo>
                  <a:pt x="75741" y="180613"/>
                </a:moveTo>
                <a:lnTo>
                  <a:pt x="0" y="180613"/>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pPr rtl="0"/>
            <a:endParaRPr lang="en-US"/>
          </a:p>
        </p:txBody>
      </p:sp>
      <p:sp>
        <p:nvSpPr>
          <p:cNvPr id="127" name="Freihandform: Form 126">
            <a:extLst>
              <a:ext uri="{FF2B5EF4-FFF2-40B4-BE49-F238E27FC236}">
                <a16:creationId xmlns:a16="http://schemas.microsoft.com/office/drawing/2014/main" id="{4836B90C-7140-46A6-8E06-F6F443FAF626}"/>
              </a:ext>
            </a:extLst>
          </p:cNvPr>
          <p:cNvSpPr/>
          <p:nvPr/>
        </p:nvSpPr>
        <p:spPr>
          <a:xfrm>
            <a:off x="8028570" y="4504198"/>
            <a:ext cx="165465" cy="179448"/>
          </a:xfrm>
          <a:custGeom>
            <a:avLst/>
            <a:gdLst>
              <a:gd name="connsiteX0" fmla="*/ 75741 w 165465"/>
              <a:gd name="connsiteY0" fmla="*/ 179448 h 179448"/>
              <a:gd name="connsiteX1" fmla="*/ 0 w 165465"/>
              <a:gd name="connsiteY1" fmla="*/ 179448 h 179448"/>
              <a:gd name="connsiteX2" fmla="*/ 88559 w 165465"/>
              <a:gd name="connsiteY2" fmla="*/ 90889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pPr rtl="0"/>
            <a:endParaRPr lang="en-US"/>
          </a:p>
        </p:txBody>
      </p:sp>
      <p:sp>
        <p:nvSpPr>
          <p:cNvPr id="144" name="Freihandform: Form 143">
            <a:extLst>
              <a:ext uri="{FF2B5EF4-FFF2-40B4-BE49-F238E27FC236}">
                <a16:creationId xmlns:a16="http://schemas.microsoft.com/office/drawing/2014/main" id="{3BBFE07D-6FDD-4238-9402-B3F281DCA33E}"/>
              </a:ext>
            </a:extLst>
          </p:cNvPr>
          <p:cNvSpPr/>
          <p:nvPr/>
        </p:nvSpPr>
        <p:spPr>
          <a:xfrm>
            <a:off x="8028570" y="4859598"/>
            <a:ext cx="165465" cy="179448"/>
          </a:xfrm>
          <a:custGeom>
            <a:avLst/>
            <a:gdLst>
              <a:gd name="connsiteX0" fmla="*/ 75741 w 165465"/>
              <a:gd name="connsiteY0" fmla="*/ 179448 h 179448"/>
              <a:gd name="connsiteX1" fmla="*/ 0 w 165465"/>
              <a:gd name="connsiteY1" fmla="*/ 179448 h 179448"/>
              <a:gd name="connsiteX2" fmla="*/ 88559 w 165465"/>
              <a:gd name="connsiteY2" fmla="*/ 89724 h 179448"/>
              <a:gd name="connsiteX3" fmla="*/ 0 w 165465"/>
              <a:gd name="connsiteY3" fmla="*/ 0 h 179448"/>
              <a:gd name="connsiteX4" fmla="*/ 76906 w 165465"/>
              <a:gd name="connsiteY4" fmla="*/ 0 h 179448"/>
              <a:gd name="connsiteX5" fmla="*/ 165465 w 165465"/>
              <a:gd name="connsiteY5" fmla="*/ 87394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89724"/>
                </a:lnTo>
                <a:lnTo>
                  <a:pt x="0" y="0"/>
                </a:lnTo>
                <a:lnTo>
                  <a:pt x="76906" y="0"/>
                </a:lnTo>
                <a:lnTo>
                  <a:pt x="165465" y="87394"/>
                </a:lnTo>
                <a:close/>
              </a:path>
            </a:pathLst>
          </a:custGeom>
          <a:solidFill>
            <a:srgbClr val="EEF2F5"/>
          </a:solidFill>
          <a:ln w="11643" cap="flat">
            <a:noFill/>
            <a:prstDash val="solid"/>
            <a:miter/>
          </a:ln>
        </p:spPr>
        <p:txBody>
          <a:bodyPr rtlCol="0" anchor="ctr"/>
          <a:lstStyle/>
          <a:p>
            <a:pPr rtl="0"/>
            <a:endParaRPr lang="en-US"/>
          </a:p>
        </p:txBody>
      </p:sp>
      <p:sp>
        <p:nvSpPr>
          <p:cNvPr id="161" name="Freihandform: Form 160">
            <a:extLst>
              <a:ext uri="{FF2B5EF4-FFF2-40B4-BE49-F238E27FC236}">
                <a16:creationId xmlns:a16="http://schemas.microsoft.com/office/drawing/2014/main" id="{9F4D763A-5B43-4FAB-9B68-52F7F446418E}"/>
              </a:ext>
            </a:extLst>
          </p:cNvPr>
          <p:cNvSpPr/>
          <p:nvPr/>
        </p:nvSpPr>
        <p:spPr>
          <a:xfrm>
            <a:off x="8028570" y="5213834"/>
            <a:ext cx="165465" cy="179448"/>
          </a:xfrm>
          <a:custGeom>
            <a:avLst/>
            <a:gdLst>
              <a:gd name="connsiteX0" fmla="*/ 75741 w 165465"/>
              <a:gd name="connsiteY0" fmla="*/ 179448 h 179448"/>
              <a:gd name="connsiteX1" fmla="*/ 0 w 165465"/>
              <a:gd name="connsiteY1" fmla="*/ 179448 h 179448"/>
              <a:gd name="connsiteX2" fmla="*/ 88559 w 165465"/>
              <a:gd name="connsiteY2" fmla="*/ 90890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90"/>
                </a:lnTo>
                <a:lnTo>
                  <a:pt x="0" y="0"/>
                </a:lnTo>
                <a:lnTo>
                  <a:pt x="76906" y="0"/>
                </a:lnTo>
                <a:lnTo>
                  <a:pt x="165465" y="88559"/>
                </a:lnTo>
                <a:close/>
              </a:path>
            </a:pathLst>
          </a:custGeom>
          <a:solidFill>
            <a:srgbClr val="EEF2F5"/>
          </a:solidFill>
          <a:ln w="11643" cap="flat">
            <a:noFill/>
            <a:prstDash val="solid"/>
            <a:miter/>
          </a:ln>
        </p:spPr>
        <p:txBody>
          <a:bodyPr rtlCol="0" anchor="ctr"/>
          <a:lstStyle/>
          <a:p>
            <a:pPr rtl="0"/>
            <a:endParaRPr lang="en-US"/>
          </a:p>
        </p:txBody>
      </p:sp>
      <p:sp>
        <p:nvSpPr>
          <p:cNvPr id="178" name="Freihandform: Form 177">
            <a:extLst>
              <a:ext uri="{FF2B5EF4-FFF2-40B4-BE49-F238E27FC236}">
                <a16:creationId xmlns:a16="http://schemas.microsoft.com/office/drawing/2014/main" id="{41FB849E-381E-41F8-9504-EDE13E3D8055}"/>
              </a:ext>
            </a:extLst>
          </p:cNvPr>
          <p:cNvSpPr/>
          <p:nvPr/>
        </p:nvSpPr>
        <p:spPr>
          <a:xfrm>
            <a:off x="8028570" y="5569234"/>
            <a:ext cx="165465" cy="179448"/>
          </a:xfrm>
          <a:custGeom>
            <a:avLst/>
            <a:gdLst>
              <a:gd name="connsiteX0" fmla="*/ 75741 w 165465"/>
              <a:gd name="connsiteY0" fmla="*/ 179448 h 179448"/>
              <a:gd name="connsiteX1" fmla="*/ 0 w 165465"/>
              <a:gd name="connsiteY1" fmla="*/ 179448 h 179448"/>
              <a:gd name="connsiteX2" fmla="*/ 88559 w 165465"/>
              <a:gd name="connsiteY2" fmla="*/ 89724 h 179448"/>
              <a:gd name="connsiteX3" fmla="*/ 0 w 165465"/>
              <a:gd name="connsiteY3" fmla="*/ 0 h 179448"/>
              <a:gd name="connsiteX4" fmla="*/ 76906 w 165465"/>
              <a:gd name="connsiteY4" fmla="*/ 0 h 179448"/>
              <a:gd name="connsiteX5" fmla="*/ 165465 w 165465"/>
              <a:gd name="connsiteY5" fmla="*/ 87394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89724"/>
                </a:lnTo>
                <a:lnTo>
                  <a:pt x="0" y="0"/>
                </a:lnTo>
                <a:lnTo>
                  <a:pt x="76906" y="0"/>
                </a:lnTo>
                <a:lnTo>
                  <a:pt x="165465" y="87394"/>
                </a:lnTo>
                <a:close/>
              </a:path>
            </a:pathLst>
          </a:custGeom>
          <a:solidFill>
            <a:srgbClr val="EEF2F5"/>
          </a:solidFill>
          <a:ln w="11643" cap="flat">
            <a:noFill/>
            <a:prstDash val="solid"/>
            <a:miter/>
          </a:ln>
        </p:spPr>
        <p:txBody>
          <a:bodyPr rtlCol="0" anchor="ctr"/>
          <a:lstStyle/>
          <a:p>
            <a:pPr rtl="0"/>
            <a:endParaRPr lang="en-US"/>
          </a:p>
        </p:txBody>
      </p:sp>
      <p:sp>
        <p:nvSpPr>
          <p:cNvPr id="195" name="Freihandform: Form 194">
            <a:extLst>
              <a:ext uri="{FF2B5EF4-FFF2-40B4-BE49-F238E27FC236}">
                <a16:creationId xmlns:a16="http://schemas.microsoft.com/office/drawing/2014/main" id="{5427778E-AAB9-42E1-BC64-75764828EDB0}"/>
              </a:ext>
            </a:extLst>
          </p:cNvPr>
          <p:cNvSpPr/>
          <p:nvPr/>
        </p:nvSpPr>
        <p:spPr>
          <a:xfrm>
            <a:off x="8028570" y="5923469"/>
            <a:ext cx="165465" cy="179448"/>
          </a:xfrm>
          <a:custGeom>
            <a:avLst/>
            <a:gdLst>
              <a:gd name="connsiteX0" fmla="*/ 75741 w 165465"/>
              <a:gd name="connsiteY0" fmla="*/ 179448 h 179448"/>
              <a:gd name="connsiteX1" fmla="*/ 0 w 165465"/>
              <a:gd name="connsiteY1" fmla="*/ 179448 h 179448"/>
              <a:gd name="connsiteX2" fmla="*/ 88559 w 165465"/>
              <a:gd name="connsiteY2" fmla="*/ 90890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90"/>
                </a:lnTo>
                <a:lnTo>
                  <a:pt x="0" y="0"/>
                </a:lnTo>
                <a:lnTo>
                  <a:pt x="76906" y="0"/>
                </a:lnTo>
                <a:lnTo>
                  <a:pt x="165465" y="88559"/>
                </a:lnTo>
                <a:close/>
              </a:path>
            </a:pathLst>
          </a:custGeom>
          <a:solidFill>
            <a:srgbClr val="EEF2F5"/>
          </a:solidFill>
          <a:ln w="11643" cap="flat">
            <a:noFill/>
            <a:prstDash val="solid"/>
            <a:miter/>
          </a:ln>
        </p:spPr>
        <p:txBody>
          <a:bodyPr rtlCol="0" anchor="ctr"/>
          <a:lstStyle/>
          <a:p>
            <a:pPr rtl="0"/>
            <a:endParaRPr lang="en-US"/>
          </a:p>
        </p:txBody>
      </p:sp>
      <p:sp>
        <p:nvSpPr>
          <p:cNvPr id="212" name="Freihandform: Form 211">
            <a:extLst>
              <a:ext uri="{FF2B5EF4-FFF2-40B4-BE49-F238E27FC236}">
                <a16:creationId xmlns:a16="http://schemas.microsoft.com/office/drawing/2014/main" id="{E72C56CD-8028-4274-A62F-5994CAF54FEF}"/>
              </a:ext>
            </a:extLst>
          </p:cNvPr>
          <p:cNvSpPr/>
          <p:nvPr/>
        </p:nvSpPr>
        <p:spPr>
          <a:xfrm>
            <a:off x="8028570" y="6278870"/>
            <a:ext cx="165465" cy="179448"/>
          </a:xfrm>
          <a:custGeom>
            <a:avLst/>
            <a:gdLst>
              <a:gd name="connsiteX0" fmla="*/ 75741 w 165465"/>
              <a:gd name="connsiteY0" fmla="*/ 179448 h 179448"/>
              <a:gd name="connsiteX1" fmla="*/ 0 w 165465"/>
              <a:gd name="connsiteY1" fmla="*/ 179448 h 179448"/>
              <a:gd name="connsiteX2" fmla="*/ 88559 w 165465"/>
              <a:gd name="connsiteY2" fmla="*/ 89724 h 179448"/>
              <a:gd name="connsiteX3" fmla="*/ 0 w 165465"/>
              <a:gd name="connsiteY3" fmla="*/ 0 h 179448"/>
              <a:gd name="connsiteX4" fmla="*/ 76906 w 165465"/>
              <a:gd name="connsiteY4" fmla="*/ 0 h 179448"/>
              <a:gd name="connsiteX5" fmla="*/ 165465 w 165465"/>
              <a:gd name="connsiteY5" fmla="*/ 87394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89724"/>
                </a:lnTo>
                <a:lnTo>
                  <a:pt x="0" y="0"/>
                </a:lnTo>
                <a:lnTo>
                  <a:pt x="76906" y="0"/>
                </a:lnTo>
                <a:lnTo>
                  <a:pt x="165465" y="87394"/>
                </a:lnTo>
                <a:close/>
              </a:path>
            </a:pathLst>
          </a:custGeom>
          <a:solidFill>
            <a:srgbClr val="EEF2F5"/>
          </a:solidFill>
          <a:ln w="11643" cap="flat">
            <a:noFill/>
            <a:prstDash val="solid"/>
            <a:miter/>
          </a:ln>
        </p:spPr>
        <p:txBody>
          <a:bodyPr rtlCol="0" anchor="ctr"/>
          <a:lstStyle/>
          <a:p>
            <a:pPr rtl="0"/>
            <a:endParaRPr lang="en-US"/>
          </a:p>
        </p:txBody>
      </p:sp>
      <p:sp>
        <p:nvSpPr>
          <p:cNvPr id="228" name="Freihandform: Form 227">
            <a:extLst>
              <a:ext uri="{FF2B5EF4-FFF2-40B4-BE49-F238E27FC236}">
                <a16:creationId xmlns:a16="http://schemas.microsoft.com/office/drawing/2014/main" id="{6D995F94-547B-4E8B-8F80-D2C01332D74E}"/>
              </a:ext>
            </a:extLst>
          </p:cNvPr>
          <p:cNvSpPr/>
          <p:nvPr/>
        </p:nvSpPr>
        <p:spPr>
          <a:xfrm>
            <a:off x="8028570" y="6633106"/>
            <a:ext cx="165465" cy="179448"/>
          </a:xfrm>
          <a:custGeom>
            <a:avLst/>
            <a:gdLst>
              <a:gd name="connsiteX0" fmla="*/ 75741 w 165465"/>
              <a:gd name="connsiteY0" fmla="*/ 179448 h 179448"/>
              <a:gd name="connsiteX1" fmla="*/ 0 w 165465"/>
              <a:gd name="connsiteY1" fmla="*/ 179448 h 179448"/>
              <a:gd name="connsiteX2" fmla="*/ 88559 w 165465"/>
              <a:gd name="connsiteY2" fmla="*/ 90889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pPr rtl="0"/>
            <a:endParaRPr lang="en-US"/>
          </a:p>
        </p:txBody>
      </p:sp>
      <p:sp>
        <p:nvSpPr>
          <p:cNvPr id="17" name="Freihandform: Form 16">
            <a:extLst>
              <a:ext uri="{FF2B5EF4-FFF2-40B4-BE49-F238E27FC236}">
                <a16:creationId xmlns:a16="http://schemas.microsoft.com/office/drawing/2014/main" id="{FBFA7DD1-6DE8-48E2-BB35-DCE366E698C5}"/>
              </a:ext>
            </a:extLst>
          </p:cNvPr>
          <p:cNvSpPr/>
          <p:nvPr/>
        </p:nvSpPr>
        <p:spPr>
          <a:xfrm>
            <a:off x="8375813" y="2011732"/>
            <a:ext cx="180613" cy="196926"/>
          </a:xfrm>
          <a:custGeom>
            <a:avLst/>
            <a:gdLst>
              <a:gd name="connsiteX0" fmla="*/ 82733 w 180613"/>
              <a:gd name="connsiteY0" fmla="*/ 196927 h 196926"/>
              <a:gd name="connsiteX1" fmla="*/ 0 w 180613"/>
              <a:gd name="connsiteY1" fmla="*/ 196927 h 196926"/>
              <a:gd name="connsiteX2" fmla="*/ 96715 w 180613"/>
              <a:gd name="connsiteY2" fmla="*/ 99046 h 196926"/>
              <a:gd name="connsiteX3" fmla="*/ 0 w 180613"/>
              <a:gd name="connsiteY3" fmla="*/ 0 h 196926"/>
              <a:gd name="connsiteX4" fmla="*/ 83898 w 180613"/>
              <a:gd name="connsiteY4" fmla="*/ 0 h 196926"/>
              <a:gd name="connsiteX5" fmla="*/ 180613 w 180613"/>
              <a:gd name="connsiteY5" fmla="*/ 96716 h 196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6926">
                <a:moveTo>
                  <a:pt x="82733" y="196927"/>
                </a:moveTo>
                <a:lnTo>
                  <a:pt x="0" y="196927"/>
                </a:lnTo>
                <a:lnTo>
                  <a:pt x="96715" y="99046"/>
                </a:lnTo>
                <a:lnTo>
                  <a:pt x="0" y="0"/>
                </a:lnTo>
                <a:lnTo>
                  <a:pt x="83898" y="0"/>
                </a:lnTo>
                <a:lnTo>
                  <a:pt x="180613" y="96716"/>
                </a:lnTo>
                <a:close/>
              </a:path>
            </a:pathLst>
          </a:custGeom>
          <a:solidFill>
            <a:srgbClr val="EEF2F5"/>
          </a:solidFill>
          <a:ln w="11643" cap="flat">
            <a:noFill/>
            <a:prstDash val="solid"/>
            <a:miter/>
          </a:ln>
        </p:spPr>
        <p:txBody>
          <a:bodyPr rtlCol="0" anchor="ctr"/>
          <a:lstStyle/>
          <a:p>
            <a:pPr rtl="0"/>
            <a:endParaRPr lang="en-US"/>
          </a:p>
        </p:txBody>
      </p:sp>
      <p:sp>
        <p:nvSpPr>
          <p:cNvPr id="32" name="Freihandform: Form 31">
            <a:extLst>
              <a:ext uri="{FF2B5EF4-FFF2-40B4-BE49-F238E27FC236}">
                <a16:creationId xmlns:a16="http://schemas.microsoft.com/office/drawing/2014/main" id="{7C08602B-27E1-4F5C-B2BA-86218542705A}"/>
              </a:ext>
            </a:extLst>
          </p:cNvPr>
          <p:cNvSpPr/>
          <p:nvPr/>
        </p:nvSpPr>
        <p:spPr>
          <a:xfrm>
            <a:off x="8375813" y="2367133"/>
            <a:ext cx="180613" cy="195761"/>
          </a:xfrm>
          <a:custGeom>
            <a:avLst/>
            <a:gdLst>
              <a:gd name="connsiteX0" fmla="*/ 82733 w 180613"/>
              <a:gd name="connsiteY0" fmla="*/ 195762 h 195761"/>
              <a:gd name="connsiteX1" fmla="*/ 0 w 180613"/>
              <a:gd name="connsiteY1" fmla="*/ 195762 h 195761"/>
              <a:gd name="connsiteX2" fmla="*/ 96715 w 180613"/>
              <a:gd name="connsiteY2" fmla="*/ 99046 h 195761"/>
              <a:gd name="connsiteX3" fmla="*/ 0 w 180613"/>
              <a:gd name="connsiteY3" fmla="*/ 0 h 195761"/>
              <a:gd name="connsiteX4" fmla="*/ 83898 w 180613"/>
              <a:gd name="connsiteY4" fmla="*/ 0 h 195761"/>
              <a:gd name="connsiteX5" fmla="*/ 180613 w 180613"/>
              <a:gd name="connsiteY5" fmla="*/ 95550 h 19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5761">
                <a:moveTo>
                  <a:pt x="82733" y="195762"/>
                </a:moveTo>
                <a:lnTo>
                  <a:pt x="0" y="195762"/>
                </a:lnTo>
                <a:lnTo>
                  <a:pt x="96715" y="99046"/>
                </a:lnTo>
                <a:lnTo>
                  <a:pt x="0" y="0"/>
                </a:lnTo>
                <a:lnTo>
                  <a:pt x="83898" y="0"/>
                </a:lnTo>
                <a:lnTo>
                  <a:pt x="180613" y="95550"/>
                </a:lnTo>
                <a:close/>
              </a:path>
            </a:pathLst>
          </a:custGeom>
          <a:solidFill>
            <a:srgbClr val="EEF2F5"/>
          </a:solidFill>
          <a:ln w="11643" cap="flat">
            <a:noFill/>
            <a:prstDash val="solid"/>
            <a:miter/>
          </a:ln>
        </p:spPr>
        <p:txBody>
          <a:bodyPr rtlCol="0" anchor="ctr"/>
          <a:lstStyle/>
          <a:p>
            <a:pPr rtl="0"/>
            <a:endParaRPr lang="en-US"/>
          </a:p>
        </p:txBody>
      </p:sp>
      <p:sp>
        <p:nvSpPr>
          <p:cNvPr id="48" name="Freihandform: Form 47">
            <a:extLst>
              <a:ext uri="{FF2B5EF4-FFF2-40B4-BE49-F238E27FC236}">
                <a16:creationId xmlns:a16="http://schemas.microsoft.com/office/drawing/2014/main" id="{B3543F06-832E-4301-879E-B06B3D8A1139}"/>
              </a:ext>
            </a:extLst>
          </p:cNvPr>
          <p:cNvSpPr/>
          <p:nvPr/>
        </p:nvSpPr>
        <p:spPr>
          <a:xfrm>
            <a:off x="8375813" y="2721368"/>
            <a:ext cx="180613" cy="196926"/>
          </a:xfrm>
          <a:custGeom>
            <a:avLst/>
            <a:gdLst>
              <a:gd name="connsiteX0" fmla="*/ 82733 w 180613"/>
              <a:gd name="connsiteY0" fmla="*/ 196927 h 196926"/>
              <a:gd name="connsiteX1" fmla="*/ 0 w 180613"/>
              <a:gd name="connsiteY1" fmla="*/ 196927 h 196926"/>
              <a:gd name="connsiteX2" fmla="*/ 96715 w 180613"/>
              <a:gd name="connsiteY2" fmla="*/ 99046 h 196926"/>
              <a:gd name="connsiteX3" fmla="*/ 0 w 180613"/>
              <a:gd name="connsiteY3" fmla="*/ 0 h 196926"/>
              <a:gd name="connsiteX4" fmla="*/ 83898 w 180613"/>
              <a:gd name="connsiteY4" fmla="*/ 0 h 196926"/>
              <a:gd name="connsiteX5" fmla="*/ 180613 w 180613"/>
              <a:gd name="connsiteY5" fmla="*/ 96716 h 196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6926">
                <a:moveTo>
                  <a:pt x="82733" y="196927"/>
                </a:moveTo>
                <a:lnTo>
                  <a:pt x="0" y="196927"/>
                </a:lnTo>
                <a:lnTo>
                  <a:pt x="96715" y="99046"/>
                </a:lnTo>
                <a:lnTo>
                  <a:pt x="0" y="0"/>
                </a:lnTo>
                <a:lnTo>
                  <a:pt x="83898" y="0"/>
                </a:lnTo>
                <a:lnTo>
                  <a:pt x="180613" y="96716"/>
                </a:lnTo>
                <a:close/>
              </a:path>
            </a:pathLst>
          </a:custGeom>
          <a:solidFill>
            <a:srgbClr val="EEF2F5"/>
          </a:solidFill>
          <a:ln w="11643" cap="flat">
            <a:noFill/>
            <a:prstDash val="solid"/>
            <a:miter/>
          </a:ln>
        </p:spPr>
        <p:txBody>
          <a:bodyPr rtlCol="0" anchor="ctr"/>
          <a:lstStyle/>
          <a:p>
            <a:pPr rtl="0"/>
            <a:endParaRPr lang="en-US"/>
          </a:p>
        </p:txBody>
      </p:sp>
      <p:sp>
        <p:nvSpPr>
          <p:cNvPr id="64" name="Freihandform: Form 63">
            <a:extLst>
              <a:ext uri="{FF2B5EF4-FFF2-40B4-BE49-F238E27FC236}">
                <a16:creationId xmlns:a16="http://schemas.microsoft.com/office/drawing/2014/main" id="{448857AA-F125-42A1-8BA3-8AC5BA3389BB}"/>
              </a:ext>
            </a:extLst>
          </p:cNvPr>
          <p:cNvSpPr/>
          <p:nvPr/>
        </p:nvSpPr>
        <p:spPr>
          <a:xfrm>
            <a:off x="8375813" y="3076769"/>
            <a:ext cx="180613" cy="195761"/>
          </a:xfrm>
          <a:custGeom>
            <a:avLst/>
            <a:gdLst>
              <a:gd name="connsiteX0" fmla="*/ 82733 w 180613"/>
              <a:gd name="connsiteY0" fmla="*/ 195762 h 195761"/>
              <a:gd name="connsiteX1" fmla="*/ 0 w 180613"/>
              <a:gd name="connsiteY1" fmla="*/ 195762 h 195761"/>
              <a:gd name="connsiteX2" fmla="*/ 96715 w 180613"/>
              <a:gd name="connsiteY2" fmla="*/ 99046 h 195761"/>
              <a:gd name="connsiteX3" fmla="*/ 0 w 180613"/>
              <a:gd name="connsiteY3" fmla="*/ 0 h 195761"/>
              <a:gd name="connsiteX4" fmla="*/ 83898 w 180613"/>
              <a:gd name="connsiteY4" fmla="*/ 0 h 195761"/>
              <a:gd name="connsiteX5" fmla="*/ 180613 w 180613"/>
              <a:gd name="connsiteY5" fmla="*/ 95550 h 19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5761">
                <a:moveTo>
                  <a:pt x="82733" y="195762"/>
                </a:moveTo>
                <a:lnTo>
                  <a:pt x="0" y="195762"/>
                </a:lnTo>
                <a:lnTo>
                  <a:pt x="96715" y="99046"/>
                </a:lnTo>
                <a:lnTo>
                  <a:pt x="0" y="0"/>
                </a:lnTo>
                <a:lnTo>
                  <a:pt x="83898" y="0"/>
                </a:lnTo>
                <a:lnTo>
                  <a:pt x="180613" y="95550"/>
                </a:lnTo>
                <a:close/>
              </a:path>
            </a:pathLst>
          </a:custGeom>
          <a:solidFill>
            <a:srgbClr val="EEF2F5"/>
          </a:solidFill>
          <a:ln w="11643" cap="flat">
            <a:noFill/>
            <a:prstDash val="solid"/>
            <a:miter/>
          </a:ln>
        </p:spPr>
        <p:txBody>
          <a:bodyPr rtlCol="0" anchor="ctr"/>
          <a:lstStyle/>
          <a:p>
            <a:pPr rtl="0"/>
            <a:endParaRPr lang="en-US"/>
          </a:p>
        </p:txBody>
      </p:sp>
      <p:sp>
        <p:nvSpPr>
          <p:cNvPr id="80" name="Freihandform: Form 79">
            <a:extLst>
              <a:ext uri="{FF2B5EF4-FFF2-40B4-BE49-F238E27FC236}">
                <a16:creationId xmlns:a16="http://schemas.microsoft.com/office/drawing/2014/main" id="{4D03B1F2-B454-4805-B554-BE60EE27F881}"/>
              </a:ext>
            </a:extLst>
          </p:cNvPr>
          <p:cNvSpPr/>
          <p:nvPr/>
        </p:nvSpPr>
        <p:spPr>
          <a:xfrm>
            <a:off x="8375813" y="3431004"/>
            <a:ext cx="180613" cy="196926"/>
          </a:xfrm>
          <a:custGeom>
            <a:avLst/>
            <a:gdLst>
              <a:gd name="connsiteX0" fmla="*/ 82733 w 180613"/>
              <a:gd name="connsiteY0" fmla="*/ 196927 h 196926"/>
              <a:gd name="connsiteX1" fmla="*/ 0 w 180613"/>
              <a:gd name="connsiteY1" fmla="*/ 196927 h 196926"/>
              <a:gd name="connsiteX2" fmla="*/ 96715 w 180613"/>
              <a:gd name="connsiteY2" fmla="*/ 99046 h 196926"/>
              <a:gd name="connsiteX3" fmla="*/ 0 w 180613"/>
              <a:gd name="connsiteY3" fmla="*/ 0 h 196926"/>
              <a:gd name="connsiteX4" fmla="*/ 83898 w 180613"/>
              <a:gd name="connsiteY4" fmla="*/ 0 h 196926"/>
              <a:gd name="connsiteX5" fmla="*/ 180613 w 180613"/>
              <a:gd name="connsiteY5" fmla="*/ 96716 h 196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6926">
                <a:moveTo>
                  <a:pt x="82733" y="196927"/>
                </a:moveTo>
                <a:lnTo>
                  <a:pt x="0" y="196927"/>
                </a:lnTo>
                <a:lnTo>
                  <a:pt x="96715" y="99046"/>
                </a:lnTo>
                <a:lnTo>
                  <a:pt x="0" y="0"/>
                </a:lnTo>
                <a:lnTo>
                  <a:pt x="83898" y="0"/>
                </a:lnTo>
                <a:lnTo>
                  <a:pt x="180613" y="96716"/>
                </a:lnTo>
                <a:close/>
              </a:path>
            </a:pathLst>
          </a:custGeom>
          <a:solidFill>
            <a:srgbClr val="EEF2F5"/>
          </a:solidFill>
          <a:ln w="11643" cap="flat">
            <a:noFill/>
            <a:prstDash val="solid"/>
            <a:miter/>
          </a:ln>
        </p:spPr>
        <p:txBody>
          <a:bodyPr rtlCol="0" anchor="ctr"/>
          <a:lstStyle/>
          <a:p>
            <a:pPr rtl="0"/>
            <a:endParaRPr lang="en-US"/>
          </a:p>
        </p:txBody>
      </p:sp>
      <p:sp>
        <p:nvSpPr>
          <p:cNvPr id="96" name="Freihandform: Form 95">
            <a:extLst>
              <a:ext uri="{FF2B5EF4-FFF2-40B4-BE49-F238E27FC236}">
                <a16:creationId xmlns:a16="http://schemas.microsoft.com/office/drawing/2014/main" id="{FFDA75BC-562C-4970-A5BF-655AB3F5011C}"/>
              </a:ext>
            </a:extLst>
          </p:cNvPr>
          <p:cNvSpPr/>
          <p:nvPr/>
        </p:nvSpPr>
        <p:spPr>
          <a:xfrm>
            <a:off x="8375813" y="3786405"/>
            <a:ext cx="180613" cy="195761"/>
          </a:xfrm>
          <a:custGeom>
            <a:avLst/>
            <a:gdLst>
              <a:gd name="connsiteX0" fmla="*/ 82733 w 180613"/>
              <a:gd name="connsiteY0" fmla="*/ 195762 h 195761"/>
              <a:gd name="connsiteX1" fmla="*/ 0 w 180613"/>
              <a:gd name="connsiteY1" fmla="*/ 195762 h 195761"/>
              <a:gd name="connsiteX2" fmla="*/ 96715 w 180613"/>
              <a:gd name="connsiteY2" fmla="*/ 99046 h 195761"/>
              <a:gd name="connsiteX3" fmla="*/ 0 w 180613"/>
              <a:gd name="connsiteY3" fmla="*/ 0 h 195761"/>
              <a:gd name="connsiteX4" fmla="*/ 83898 w 180613"/>
              <a:gd name="connsiteY4" fmla="*/ 0 h 195761"/>
              <a:gd name="connsiteX5" fmla="*/ 180613 w 180613"/>
              <a:gd name="connsiteY5" fmla="*/ 96716 h 19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5761">
                <a:moveTo>
                  <a:pt x="82733" y="195762"/>
                </a:moveTo>
                <a:lnTo>
                  <a:pt x="0" y="195762"/>
                </a:lnTo>
                <a:lnTo>
                  <a:pt x="96715" y="99046"/>
                </a:lnTo>
                <a:lnTo>
                  <a:pt x="0" y="0"/>
                </a:lnTo>
                <a:lnTo>
                  <a:pt x="83898" y="0"/>
                </a:lnTo>
                <a:lnTo>
                  <a:pt x="180613" y="96716"/>
                </a:lnTo>
                <a:close/>
              </a:path>
            </a:pathLst>
          </a:custGeom>
          <a:solidFill>
            <a:srgbClr val="EEF2F5"/>
          </a:solidFill>
          <a:ln w="11643" cap="flat">
            <a:noFill/>
            <a:prstDash val="solid"/>
            <a:miter/>
          </a:ln>
        </p:spPr>
        <p:txBody>
          <a:bodyPr rtlCol="0" anchor="ctr"/>
          <a:lstStyle/>
          <a:p>
            <a:pPr rtl="0"/>
            <a:endParaRPr lang="en-US"/>
          </a:p>
        </p:txBody>
      </p:sp>
      <p:sp>
        <p:nvSpPr>
          <p:cNvPr id="112" name="Freihandform: Form 111">
            <a:extLst>
              <a:ext uri="{FF2B5EF4-FFF2-40B4-BE49-F238E27FC236}">
                <a16:creationId xmlns:a16="http://schemas.microsoft.com/office/drawing/2014/main" id="{D5FBE564-C560-47E5-B3B3-465A98E51447}"/>
              </a:ext>
            </a:extLst>
          </p:cNvPr>
          <p:cNvSpPr/>
          <p:nvPr/>
        </p:nvSpPr>
        <p:spPr>
          <a:xfrm>
            <a:off x="8375813" y="4140640"/>
            <a:ext cx="180613" cy="196926"/>
          </a:xfrm>
          <a:custGeom>
            <a:avLst/>
            <a:gdLst>
              <a:gd name="connsiteX0" fmla="*/ 82733 w 180613"/>
              <a:gd name="connsiteY0" fmla="*/ 196927 h 196926"/>
              <a:gd name="connsiteX1" fmla="*/ 0 w 180613"/>
              <a:gd name="connsiteY1" fmla="*/ 196927 h 196926"/>
              <a:gd name="connsiteX2" fmla="*/ 96715 w 180613"/>
              <a:gd name="connsiteY2" fmla="*/ 99046 h 196926"/>
              <a:gd name="connsiteX3" fmla="*/ 0 w 180613"/>
              <a:gd name="connsiteY3" fmla="*/ 0 h 196926"/>
              <a:gd name="connsiteX4" fmla="*/ 83898 w 180613"/>
              <a:gd name="connsiteY4" fmla="*/ 0 h 196926"/>
              <a:gd name="connsiteX5" fmla="*/ 180613 w 180613"/>
              <a:gd name="connsiteY5" fmla="*/ 96716 h 196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6926">
                <a:moveTo>
                  <a:pt x="82733" y="196927"/>
                </a:moveTo>
                <a:lnTo>
                  <a:pt x="0" y="196927"/>
                </a:lnTo>
                <a:lnTo>
                  <a:pt x="96715" y="99046"/>
                </a:lnTo>
                <a:lnTo>
                  <a:pt x="0" y="0"/>
                </a:lnTo>
                <a:lnTo>
                  <a:pt x="83898" y="0"/>
                </a:lnTo>
                <a:lnTo>
                  <a:pt x="180613" y="96716"/>
                </a:lnTo>
                <a:close/>
              </a:path>
            </a:pathLst>
          </a:custGeom>
          <a:solidFill>
            <a:srgbClr val="EEF2F5"/>
          </a:solidFill>
          <a:ln w="11643" cap="flat">
            <a:noFill/>
            <a:prstDash val="solid"/>
            <a:miter/>
          </a:ln>
        </p:spPr>
        <p:txBody>
          <a:bodyPr rtlCol="0" anchor="ctr"/>
          <a:lstStyle/>
          <a:p>
            <a:pPr rtl="0"/>
            <a:endParaRPr lang="en-US"/>
          </a:p>
        </p:txBody>
      </p:sp>
      <p:sp>
        <p:nvSpPr>
          <p:cNvPr id="128" name="Freihandform: Form 127">
            <a:extLst>
              <a:ext uri="{FF2B5EF4-FFF2-40B4-BE49-F238E27FC236}">
                <a16:creationId xmlns:a16="http://schemas.microsoft.com/office/drawing/2014/main" id="{CF51EF18-4B1E-42D2-850F-FFA6C258A83C}"/>
              </a:ext>
            </a:extLst>
          </p:cNvPr>
          <p:cNvSpPr/>
          <p:nvPr/>
        </p:nvSpPr>
        <p:spPr>
          <a:xfrm>
            <a:off x="8375813" y="4496041"/>
            <a:ext cx="180613" cy="195761"/>
          </a:xfrm>
          <a:custGeom>
            <a:avLst/>
            <a:gdLst>
              <a:gd name="connsiteX0" fmla="*/ 82733 w 180613"/>
              <a:gd name="connsiteY0" fmla="*/ 195762 h 195761"/>
              <a:gd name="connsiteX1" fmla="*/ 0 w 180613"/>
              <a:gd name="connsiteY1" fmla="*/ 195762 h 195761"/>
              <a:gd name="connsiteX2" fmla="*/ 96715 w 180613"/>
              <a:gd name="connsiteY2" fmla="*/ 99046 h 195761"/>
              <a:gd name="connsiteX3" fmla="*/ 0 w 180613"/>
              <a:gd name="connsiteY3" fmla="*/ 0 h 195761"/>
              <a:gd name="connsiteX4" fmla="*/ 83898 w 180613"/>
              <a:gd name="connsiteY4" fmla="*/ 0 h 195761"/>
              <a:gd name="connsiteX5" fmla="*/ 180613 w 180613"/>
              <a:gd name="connsiteY5" fmla="*/ 96716 h 19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5761">
                <a:moveTo>
                  <a:pt x="82733" y="195762"/>
                </a:moveTo>
                <a:lnTo>
                  <a:pt x="0" y="195762"/>
                </a:lnTo>
                <a:lnTo>
                  <a:pt x="96715" y="99046"/>
                </a:lnTo>
                <a:lnTo>
                  <a:pt x="0" y="0"/>
                </a:lnTo>
                <a:lnTo>
                  <a:pt x="83898" y="0"/>
                </a:lnTo>
                <a:lnTo>
                  <a:pt x="180613" y="96716"/>
                </a:lnTo>
                <a:close/>
              </a:path>
            </a:pathLst>
          </a:custGeom>
          <a:solidFill>
            <a:srgbClr val="EEF2F5"/>
          </a:solidFill>
          <a:ln w="11643" cap="flat">
            <a:noFill/>
            <a:prstDash val="solid"/>
            <a:miter/>
          </a:ln>
        </p:spPr>
        <p:txBody>
          <a:bodyPr rtlCol="0" anchor="ctr"/>
          <a:lstStyle/>
          <a:p>
            <a:pPr rtl="0"/>
            <a:endParaRPr lang="en-US"/>
          </a:p>
        </p:txBody>
      </p:sp>
      <p:sp>
        <p:nvSpPr>
          <p:cNvPr id="145" name="Freihandform: Form 144">
            <a:extLst>
              <a:ext uri="{FF2B5EF4-FFF2-40B4-BE49-F238E27FC236}">
                <a16:creationId xmlns:a16="http://schemas.microsoft.com/office/drawing/2014/main" id="{56E41581-3FC6-4323-9C89-CF91773848F3}"/>
              </a:ext>
            </a:extLst>
          </p:cNvPr>
          <p:cNvSpPr/>
          <p:nvPr/>
        </p:nvSpPr>
        <p:spPr>
          <a:xfrm>
            <a:off x="8375813" y="4850276"/>
            <a:ext cx="180613" cy="196927"/>
          </a:xfrm>
          <a:custGeom>
            <a:avLst/>
            <a:gdLst>
              <a:gd name="connsiteX0" fmla="*/ 82733 w 180613"/>
              <a:gd name="connsiteY0" fmla="*/ 196927 h 196927"/>
              <a:gd name="connsiteX1" fmla="*/ 0 w 180613"/>
              <a:gd name="connsiteY1" fmla="*/ 196927 h 196927"/>
              <a:gd name="connsiteX2" fmla="*/ 96715 w 180613"/>
              <a:gd name="connsiteY2" fmla="*/ 99046 h 196927"/>
              <a:gd name="connsiteX3" fmla="*/ 0 w 180613"/>
              <a:gd name="connsiteY3" fmla="*/ 0 h 196927"/>
              <a:gd name="connsiteX4" fmla="*/ 83898 w 180613"/>
              <a:gd name="connsiteY4" fmla="*/ 0 h 196927"/>
              <a:gd name="connsiteX5" fmla="*/ 180613 w 180613"/>
              <a:gd name="connsiteY5" fmla="*/ 96716 h 196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6927">
                <a:moveTo>
                  <a:pt x="82733" y="196927"/>
                </a:moveTo>
                <a:lnTo>
                  <a:pt x="0" y="196927"/>
                </a:lnTo>
                <a:lnTo>
                  <a:pt x="96715" y="99046"/>
                </a:lnTo>
                <a:lnTo>
                  <a:pt x="0" y="0"/>
                </a:lnTo>
                <a:lnTo>
                  <a:pt x="83898" y="0"/>
                </a:lnTo>
                <a:lnTo>
                  <a:pt x="180613" y="96716"/>
                </a:lnTo>
                <a:close/>
              </a:path>
            </a:pathLst>
          </a:custGeom>
          <a:solidFill>
            <a:srgbClr val="EEF2F5"/>
          </a:solidFill>
          <a:ln w="11643" cap="flat">
            <a:noFill/>
            <a:prstDash val="solid"/>
            <a:miter/>
          </a:ln>
        </p:spPr>
        <p:txBody>
          <a:bodyPr rtlCol="0" anchor="ctr"/>
          <a:lstStyle/>
          <a:p>
            <a:pPr rtl="0"/>
            <a:endParaRPr lang="en-US"/>
          </a:p>
        </p:txBody>
      </p:sp>
      <p:sp>
        <p:nvSpPr>
          <p:cNvPr id="162" name="Freihandform: Form 161">
            <a:extLst>
              <a:ext uri="{FF2B5EF4-FFF2-40B4-BE49-F238E27FC236}">
                <a16:creationId xmlns:a16="http://schemas.microsoft.com/office/drawing/2014/main" id="{D57C87CD-CA7C-4C12-80C4-9130A88B17BE}"/>
              </a:ext>
            </a:extLst>
          </p:cNvPr>
          <p:cNvSpPr/>
          <p:nvPr/>
        </p:nvSpPr>
        <p:spPr>
          <a:xfrm>
            <a:off x="8375813" y="5205677"/>
            <a:ext cx="180613" cy="195761"/>
          </a:xfrm>
          <a:custGeom>
            <a:avLst/>
            <a:gdLst>
              <a:gd name="connsiteX0" fmla="*/ 82733 w 180613"/>
              <a:gd name="connsiteY0" fmla="*/ 195762 h 195761"/>
              <a:gd name="connsiteX1" fmla="*/ 0 w 180613"/>
              <a:gd name="connsiteY1" fmla="*/ 195762 h 195761"/>
              <a:gd name="connsiteX2" fmla="*/ 96715 w 180613"/>
              <a:gd name="connsiteY2" fmla="*/ 99046 h 195761"/>
              <a:gd name="connsiteX3" fmla="*/ 0 w 180613"/>
              <a:gd name="connsiteY3" fmla="*/ 0 h 195761"/>
              <a:gd name="connsiteX4" fmla="*/ 83898 w 180613"/>
              <a:gd name="connsiteY4" fmla="*/ 0 h 195761"/>
              <a:gd name="connsiteX5" fmla="*/ 180613 w 180613"/>
              <a:gd name="connsiteY5" fmla="*/ 96715 h 19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5761">
                <a:moveTo>
                  <a:pt x="82733" y="195762"/>
                </a:moveTo>
                <a:lnTo>
                  <a:pt x="0" y="195762"/>
                </a:lnTo>
                <a:lnTo>
                  <a:pt x="96715" y="99046"/>
                </a:lnTo>
                <a:lnTo>
                  <a:pt x="0" y="0"/>
                </a:lnTo>
                <a:lnTo>
                  <a:pt x="83898" y="0"/>
                </a:lnTo>
                <a:lnTo>
                  <a:pt x="180613" y="96715"/>
                </a:lnTo>
                <a:close/>
              </a:path>
            </a:pathLst>
          </a:custGeom>
          <a:solidFill>
            <a:srgbClr val="EEF2F5"/>
          </a:solidFill>
          <a:ln w="11643" cap="flat">
            <a:noFill/>
            <a:prstDash val="solid"/>
            <a:miter/>
          </a:ln>
        </p:spPr>
        <p:txBody>
          <a:bodyPr rtlCol="0" anchor="ctr"/>
          <a:lstStyle/>
          <a:p>
            <a:pPr rtl="0"/>
            <a:endParaRPr lang="en-US"/>
          </a:p>
        </p:txBody>
      </p:sp>
      <p:sp>
        <p:nvSpPr>
          <p:cNvPr id="179" name="Freihandform: Form 178">
            <a:extLst>
              <a:ext uri="{FF2B5EF4-FFF2-40B4-BE49-F238E27FC236}">
                <a16:creationId xmlns:a16="http://schemas.microsoft.com/office/drawing/2014/main" id="{DB846A0F-C8EB-418A-9689-60A3F1E0344D}"/>
              </a:ext>
            </a:extLst>
          </p:cNvPr>
          <p:cNvSpPr/>
          <p:nvPr/>
        </p:nvSpPr>
        <p:spPr>
          <a:xfrm>
            <a:off x="8375813" y="5559912"/>
            <a:ext cx="180613" cy="196926"/>
          </a:xfrm>
          <a:custGeom>
            <a:avLst/>
            <a:gdLst>
              <a:gd name="connsiteX0" fmla="*/ 82733 w 180613"/>
              <a:gd name="connsiteY0" fmla="*/ 196927 h 196926"/>
              <a:gd name="connsiteX1" fmla="*/ 0 w 180613"/>
              <a:gd name="connsiteY1" fmla="*/ 196927 h 196926"/>
              <a:gd name="connsiteX2" fmla="*/ 96715 w 180613"/>
              <a:gd name="connsiteY2" fmla="*/ 99046 h 196926"/>
              <a:gd name="connsiteX3" fmla="*/ 0 w 180613"/>
              <a:gd name="connsiteY3" fmla="*/ 0 h 196926"/>
              <a:gd name="connsiteX4" fmla="*/ 83898 w 180613"/>
              <a:gd name="connsiteY4" fmla="*/ 0 h 196926"/>
              <a:gd name="connsiteX5" fmla="*/ 180613 w 180613"/>
              <a:gd name="connsiteY5" fmla="*/ 96715 h 196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6926">
                <a:moveTo>
                  <a:pt x="82733" y="196927"/>
                </a:moveTo>
                <a:lnTo>
                  <a:pt x="0" y="196927"/>
                </a:lnTo>
                <a:lnTo>
                  <a:pt x="96715" y="99046"/>
                </a:lnTo>
                <a:lnTo>
                  <a:pt x="0" y="0"/>
                </a:lnTo>
                <a:lnTo>
                  <a:pt x="83898" y="0"/>
                </a:lnTo>
                <a:lnTo>
                  <a:pt x="180613" y="96715"/>
                </a:lnTo>
                <a:close/>
              </a:path>
            </a:pathLst>
          </a:custGeom>
          <a:solidFill>
            <a:srgbClr val="EEF2F5"/>
          </a:solidFill>
          <a:ln w="11643" cap="flat">
            <a:noFill/>
            <a:prstDash val="solid"/>
            <a:miter/>
          </a:ln>
        </p:spPr>
        <p:txBody>
          <a:bodyPr rtlCol="0" anchor="ctr"/>
          <a:lstStyle/>
          <a:p>
            <a:pPr rtl="0"/>
            <a:endParaRPr lang="en-US"/>
          </a:p>
        </p:txBody>
      </p:sp>
      <p:sp>
        <p:nvSpPr>
          <p:cNvPr id="196" name="Freihandform: Form 195">
            <a:extLst>
              <a:ext uri="{FF2B5EF4-FFF2-40B4-BE49-F238E27FC236}">
                <a16:creationId xmlns:a16="http://schemas.microsoft.com/office/drawing/2014/main" id="{4CB58DF8-2ADA-40F9-A585-F61E28EAC1FD}"/>
              </a:ext>
            </a:extLst>
          </p:cNvPr>
          <p:cNvSpPr/>
          <p:nvPr/>
        </p:nvSpPr>
        <p:spPr>
          <a:xfrm>
            <a:off x="8375813" y="5915313"/>
            <a:ext cx="180613" cy="195761"/>
          </a:xfrm>
          <a:custGeom>
            <a:avLst/>
            <a:gdLst>
              <a:gd name="connsiteX0" fmla="*/ 82733 w 180613"/>
              <a:gd name="connsiteY0" fmla="*/ 195762 h 195761"/>
              <a:gd name="connsiteX1" fmla="*/ 0 w 180613"/>
              <a:gd name="connsiteY1" fmla="*/ 195762 h 195761"/>
              <a:gd name="connsiteX2" fmla="*/ 96715 w 180613"/>
              <a:gd name="connsiteY2" fmla="*/ 99046 h 195761"/>
              <a:gd name="connsiteX3" fmla="*/ 0 w 180613"/>
              <a:gd name="connsiteY3" fmla="*/ 0 h 195761"/>
              <a:gd name="connsiteX4" fmla="*/ 83898 w 180613"/>
              <a:gd name="connsiteY4" fmla="*/ 0 h 195761"/>
              <a:gd name="connsiteX5" fmla="*/ 180613 w 180613"/>
              <a:gd name="connsiteY5" fmla="*/ 96715 h 19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5761">
                <a:moveTo>
                  <a:pt x="82733" y="195762"/>
                </a:moveTo>
                <a:lnTo>
                  <a:pt x="0" y="195762"/>
                </a:lnTo>
                <a:lnTo>
                  <a:pt x="96715" y="99046"/>
                </a:lnTo>
                <a:lnTo>
                  <a:pt x="0" y="0"/>
                </a:lnTo>
                <a:lnTo>
                  <a:pt x="83898" y="0"/>
                </a:lnTo>
                <a:lnTo>
                  <a:pt x="180613" y="96715"/>
                </a:lnTo>
                <a:close/>
              </a:path>
            </a:pathLst>
          </a:custGeom>
          <a:solidFill>
            <a:srgbClr val="EEF2F5"/>
          </a:solidFill>
          <a:ln w="11643" cap="flat">
            <a:noFill/>
            <a:prstDash val="solid"/>
            <a:miter/>
          </a:ln>
        </p:spPr>
        <p:txBody>
          <a:bodyPr rtlCol="0" anchor="ctr"/>
          <a:lstStyle/>
          <a:p>
            <a:pPr rtl="0"/>
            <a:endParaRPr lang="en-US"/>
          </a:p>
        </p:txBody>
      </p:sp>
      <p:sp>
        <p:nvSpPr>
          <p:cNvPr id="213" name="Freihandform: Form 212">
            <a:extLst>
              <a:ext uri="{FF2B5EF4-FFF2-40B4-BE49-F238E27FC236}">
                <a16:creationId xmlns:a16="http://schemas.microsoft.com/office/drawing/2014/main" id="{57028041-D229-4433-B39C-C3F33483B647}"/>
              </a:ext>
            </a:extLst>
          </p:cNvPr>
          <p:cNvSpPr/>
          <p:nvPr/>
        </p:nvSpPr>
        <p:spPr>
          <a:xfrm>
            <a:off x="8375813" y="6270714"/>
            <a:ext cx="180613" cy="195761"/>
          </a:xfrm>
          <a:custGeom>
            <a:avLst/>
            <a:gdLst>
              <a:gd name="connsiteX0" fmla="*/ 82733 w 180613"/>
              <a:gd name="connsiteY0" fmla="*/ 195762 h 195761"/>
              <a:gd name="connsiteX1" fmla="*/ 0 w 180613"/>
              <a:gd name="connsiteY1" fmla="*/ 195762 h 195761"/>
              <a:gd name="connsiteX2" fmla="*/ 96715 w 180613"/>
              <a:gd name="connsiteY2" fmla="*/ 97881 h 195761"/>
              <a:gd name="connsiteX3" fmla="*/ 0 w 180613"/>
              <a:gd name="connsiteY3" fmla="*/ 0 h 195761"/>
              <a:gd name="connsiteX4" fmla="*/ 83898 w 180613"/>
              <a:gd name="connsiteY4" fmla="*/ 0 h 195761"/>
              <a:gd name="connsiteX5" fmla="*/ 180613 w 180613"/>
              <a:gd name="connsiteY5" fmla="*/ 95550 h 19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5761">
                <a:moveTo>
                  <a:pt x="82733" y="195762"/>
                </a:moveTo>
                <a:lnTo>
                  <a:pt x="0" y="195762"/>
                </a:lnTo>
                <a:lnTo>
                  <a:pt x="96715" y="97881"/>
                </a:lnTo>
                <a:lnTo>
                  <a:pt x="0" y="0"/>
                </a:lnTo>
                <a:lnTo>
                  <a:pt x="83898" y="0"/>
                </a:lnTo>
                <a:lnTo>
                  <a:pt x="180613" y="95550"/>
                </a:lnTo>
                <a:close/>
              </a:path>
            </a:pathLst>
          </a:custGeom>
          <a:solidFill>
            <a:srgbClr val="EEF2F5"/>
          </a:solidFill>
          <a:ln w="11643" cap="flat">
            <a:noFill/>
            <a:prstDash val="solid"/>
            <a:miter/>
          </a:ln>
        </p:spPr>
        <p:txBody>
          <a:bodyPr rtlCol="0" anchor="ctr"/>
          <a:lstStyle/>
          <a:p>
            <a:pPr rtl="0"/>
            <a:endParaRPr lang="en-US"/>
          </a:p>
        </p:txBody>
      </p:sp>
      <p:sp>
        <p:nvSpPr>
          <p:cNvPr id="229" name="Freihandform: Form 228">
            <a:extLst>
              <a:ext uri="{FF2B5EF4-FFF2-40B4-BE49-F238E27FC236}">
                <a16:creationId xmlns:a16="http://schemas.microsoft.com/office/drawing/2014/main" id="{9B8DB432-5722-4DDC-9DA4-82611DB7AF21}"/>
              </a:ext>
            </a:extLst>
          </p:cNvPr>
          <p:cNvSpPr/>
          <p:nvPr/>
        </p:nvSpPr>
        <p:spPr>
          <a:xfrm>
            <a:off x="8375813" y="6624949"/>
            <a:ext cx="180613" cy="196926"/>
          </a:xfrm>
          <a:custGeom>
            <a:avLst/>
            <a:gdLst>
              <a:gd name="connsiteX0" fmla="*/ 82733 w 180613"/>
              <a:gd name="connsiteY0" fmla="*/ 196927 h 196926"/>
              <a:gd name="connsiteX1" fmla="*/ 0 w 180613"/>
              <a:gd name="connsiteY1" fmla="*/ 196927 h 196926"/>
              <a:gd name="connsiteX2" fmla="*/ 96715 w 180613"/>
              <a:gd name="connsiteY2" fmla="*/ 99046 h 196926"/>
              <a:gd name="connsiteX3" fmla="*/ 0 w 180613"/>
              <a:gd name="connsiteY3" fmla="*/ 0 h 196926"/>
              <a:gd name="connsiteX4" fmla="*/ 83898 w 180613"/>
              <a:gd name="connsiteY4" fmla="*/ 0 h 196926"/>
              <a:gd name="connsiteX5" fmla="*/ 180613 w 180613"/>
              <a:gd name="connsiteY5" fmla="*/ 96715 h 196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6926">
                <a:moveTo>
                  <a:pt x="82733" y="196927"/>
                </a:moveTo>
                <a:lnTo>
                  <a:pt x="0" y="196927"/>
                </a:lnTo>
                <a:lnTo>
                  <a:pt x="96715" y="99046"/>
                </a:lnTo>
                <a:lnTo>
                  <a:pt x="0" y="0"/>
                </a:lnTo>
                <a:lnTo>
                  <a:pt x="83898" y="0"/>
                </a:lnTo>
                <a:lnTo>
                  <a:pt x="180613" y="96715"/>
                </a:lnTo>
                <a:close/>
              </a:path>
            </a:pathLst>
          </a:custGeom>
          <a:solidFill>
            <a:srgbClr val="EEF2F5"/>
          </a:solidFill>
          <a:ln w="11643" cap="flat">
            <a:noFill/>
            <a:prstDash val="solid"/>
            <a:miter/>
          </a:ln>
        </p:spPr>
        <p:txBody>
          <a:bodyPr rtlCol="0" anchor="ctr"/>
          <a:lstStyle/>
          <a:p>
            <a:pPr rtl="0"/>
            <a:endParaRPr lang="en-US"/>
          </a:p>
        </p:txBody>
      </p:sp>
      <p:sp>
        <p:nvSpPr>
          <p:cNvPr id="18" name="Freihandform: Form 17">
            <a:extLst>
              <a:ext uri="{FF2B5EF4-FFF2-40B4-BE49-F238E27FC236}">
                <a16:creationId xmlns:a16="http://schemas.microsoft.com/office/drawing/2014/main" id="{5D717E25-D335-4E65-A411-45D9057ED87F}"/>
              </a:ext>
            </a:extLst>
          </p:cNvPr>
          <p:cNvSpPr/>
          <p:nvPr/>
        </p:nvSpPr>
        <p:spPr>
          <a:xfrm>
            <a:off x="8721892" y="2002410"/>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6038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6038"/>
                </a:lnTo>
                <a:close/>
              </a:path>
            </a:pathLst>
          </a:custGeom>
          <a:solidFill>
            <a:srgbClr val="EEF2F5"/>
          </a:solidFill>
          <a:ln w="11643" cap="flat">
            <a:noFill/>
            <a:prstDash val="solid"/>
            <a:miter/>
          </a:ln>
        </p:spPr>
        <p:txBody>
          <a:bodyPr rtlCol="0" anchor="ctr"/>
          <a:lstStyle/>
          <a:p>
            <a:pPr rtl="0"/>
            <a:endParaRPr lang="en-US"/>
          </a:p>
        </p:txBody>
      </p:sp>
      <p:sp>
        <p:nvSpPr>
          <p:cNvPr id="33" name="Freihandform: Form 32">
            <a:extLst>
              <a:ext uri="{FF2B5EF4-FFF2-40B4-BE49-F238E27FC236}">
                <a16:creationId xmlns:a16="http://schemas.microsoft.com/office/drawing/2014/main" id="{8191837C-2D2D-4E7E-BB7B-2C536FE31ED3}"/>
              </a:ext>
            </a:extLst>
          </p:cNvPr>
          <p:cNvSpPr/>
          <p:nvPr/>
        </p:nvSpPr>
        <p:spPr>
          <a:xfrm>
            <a:off x="8721892" y="2357811"/>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4872"/>
                </a:lnTo>
                <a:close/>
              </a:path>
            </a:pathLst>
          </a:custGeom>
          <a:solidFill>
            <a:srgbClr val="EEF2F5"/>
          </a:solidFill>
          <a:ln w="11643" cap="flat">
            <a:noFill/>
            <a:prstDash val="solid"/>
            <a:miter/>
          </a:ln>
        </p:spPr>
        <p:txBody>
          <a:bodyPr rtlCol="0" anchor="ctr"/>
          <a:lstStyle/>
          <a:p>
            <a:pPr rtl="0"/>
            <a:endParaRPr lang="en-US"/>
          </a:p>
        </p:txBody>
      </p:sp>
      <p:sp>
        <p:nvSpPr>
          <p:cNvPr id="49" name="Freihandform: Form 48">
            <a:extLst>
              <a:ext uri="{FF2B5EF4-FFF2-40B4-BE49-F238E27FC236}">
                <a16:creationId xmlns:a16="http://schemas.microsoft.com/office/drawing/2014/main" id="{7C3E3047-07A6-44AE-A863-B14D0E91E9D2}"/>
              </a:ext>
            </a:extLst>
          </p:cNvPr>
          <p:cNvSpPr/>
          <p:nvPr/>
        </p:nvSpPr>
        <p:spPr>
          <a:xfrm>
            <a:off x="8721892" y="2712046"/>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6038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6038"/>
                </a:lnTo>
                <a:close/>
              </a:path>
            </a:pathLst>
          </a:custGeom>
          <a:solidFill>
            <a:srgbClr val="EEF2F5"/>
          </a:solidFill>
          <a:ln w="11643" cap="flat">
            <a:noFill/>
            <a:prstDash val="solid"/>
            <a:miter/>
          </a:ln>
        </p:spPr>
        <p:txBody>
          <a:bodyPr rtlCol="0" anchor="ctr"/>
          <a:lstStyle/>
          <a:p>
            <a:pPr rtl="0"/>
            <a:endParaRPr lang="en-US"/>
          </a:p>
        </p:txBody>
      </p:sp>
      <p:sp>
        <p:nvSpPr>
          <p:cNvPr id="65" name="Freihandform: Form 64">
            <a:extLst>
              <a:ext uri="{FF2B5EF4-FFF2-40B4-BE49-F238E27FC236}">
                <a16:creationId xmlns:a16="http://schemas.microsoft.com/office/drawing/2014/main" id="{A33D910C-FE80-4271-80EB-43FB226FC311}"/>
              </a:ext>
            </a:extLst>
          </p:cNvPr>
          <p:cNvSpPr/>
          <p:nvPr/>
        </p:nvSpPr>
        <p:spPr>
          <a:xfrm>
            <a:off x="8721892" y="3067447"/>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4872"/>
                </a:lnTo>
                <a:close/>
              </a:path>
            </a:pathLst>
          </a:custGeom>
          <a:solidFill>
            <a:srgbClr val="EEF2F5"/>
          </a:solidFill>
          <a:ln w="11643" cap="flat">
            <a:noFill/>
            <a:prstDash val="solid"/>
            <a:miter/>
          </a:ln>
        </p:spPr>
        <p:txBody>
          <a:bodyPr rtlCol="0" anchor="ctr"/>
          <a:lstStyle/>
          <a:p>
            <a:pPr rtl="0"/>
            <a:endParaRPr lang="en-US"/>
          </a:p>
        </p:txBody>
      </p:sp>
      <p:sp>
        <p:nvSpPr>
          <p:cNvPr id="81" name="Freihandform: Form 80">
            <a:extLst>
              <a:ext uri="{FF2B5EF4-FFF2-40B4-BE49-F238E27FC236}">
                <a16:creationId xmlns:a16="http://schemas.microsoft.com/office/drawing/2014/main" id="{3C2ACAE0-E8A8-4FC5-919A-02F70B7D5438}"/>
              </a:ext>
            </a:extLst>
          </p:cNvPr>
          <p:cNvSpPr/>
          <p:nvPr/>
        </p:nvSpPr>
        <p:spPr>
          <a:xfrm>
            <a:off x="8721892" y="3421682"/>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6038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6038"/>
                </a:lnTo>
                <a:close/>
              </a:path>
            </a:pathLst>
          </a:custGeom>
          <a:solidFill>
            <a:srgbClr val="EEF2F5"/>
          </a:solidFill>
          <a:ln w="11643" cap="flat">
            <a:noFill/>
            <a:prstDash val="solid"/>
            <a:miter/>
          </a:ln>
        </p:spPr>
        <p:txBody>
          <a:bodyPr rtlCol="0" anchor="ctr"/>
          <a:lstStyle/>
          <a:p>
            <a:pPr rtl="0"/>
            <a:endParaRPr lang="en-US"/>
          </a:p>
        </p:txBody>
      </p:sp>
      <p:sp>
        <p:nvSpPr>
          <p:cNvPr id="97" name="Freihandform: Form 96">
            <a:extLst>
              <a:ext uri="{FF2B5EF4-FFF2-40B4-BE49-F238E27FC236}">
                <a16:creationId xmlns:a16="http://schemas.microsoft.com/office/drawing/2014/main" id="{49C7B20E-CBCC-427C-8257-9EDB4B177C6A}"/>
              </a:ext>
            </a:extLst>
          </p:cNvPr>
          <p:cNvSpPr/>
          <p:nvPr/>
        </p:nvSpPr>
        <p:spPr>
          <a:xfrm>
            <a:off x="8721892" y="3777083"/>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4872"/>
                </a:lnTo>
                <a:close/>
              </a:path>
            </a:pathLst>
          </a:custGeom>
          <a:solidFill>
            <a:srgbClr val="EEF2F5"/>
          </a:solidFill>
          <a:ln w="11643" cap="flat">
            <a:noFill/>
            <a:prstDash val="solid"/>
            <a:miter/>
          </a:ln>
        </p:spPr>
        <p:txBody>
          <a:bodyPr rtlCol="0" anchor="ctr"/>
          <a:lstStyle/>
          <a:p>
            <a:pPr rtl="0"/>
            <a:endParaRPr lang="en-US"/>
          </a:p>
        </p:txBody>
      </p:sp>
      <p:sp>
        <p:nvSpPr>
          <p:cNvPr id="113" name="Freihandform: Form 112">
            <a:extLst>
              <a:ext uri="{FF2B5EF4-FFF2-40B4-BE49-F238E27FC236}">
                <a16:creationId xmlns:a16="http://schemas.microsoft.com/office/drawing/2014/main" id="{AA929FBA-3B60-4B90-A12C-EEB1A0A8CF38}"/>
              </a:ext>
            </a:extLst>
          </p:cNvPr>
          <p:cNvSpPr/>
          <p:nvPr/>
        </p:nvSpPr>
        <p:spPr>
          <a:xfrm>
            <a:off x="8721892" y="4132484"/>
            <a:ext cx="198092" cy="214405"/>
          </a:xfrm>
          <a:custGeom>
            <a:avLst/>
            <a:gdLst>
              <a:gd name="connsiteX0" fmla="*/ 90889 w 198092"/>
              <a:gd name="connsiteY0" fmla="*/ 214406 h 214405"/>
              <a:gd name="connsiteX1" fmla="*/ 0 w 198092"/>
              <a:gd name="connsiteY1" fmla="*/ 214406 h 214405"/>
              <a:gd name="connsiteX2" fmla="*/ 106037 w 198092"/>
              <a:gd name="connsiteY2" fmla="*/ 107203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7203"/>
                </a:lnTo>
                <a:lnTo>
                  <a:pt x="0" y="0"/>
                </a:lnTo>
                <a:lnTo>
                  <a:pt x="92055" y="0"/>
                </a:lnTo>
                <a:lnTo>
                  <a:pt x="198092" y="104872"/>
                </a:lnTo>
                <a:close/>
              </a:path>
            </a:pathLst>
          </a:custGeom>
          <a:solidFill>
            <a:srgbClr val="EEF2F5"/>
          </a:solidFill>
          <a:ln w="11643" cap="flat">
            <a:noFill/>
            <a:prstDash val="solid"/>
            <a:miter/>
          </a:ln>
        </p:spPr>
        <p:txBody>
          <a:bodyPr rtlCol="0" anchor="ctr"/>
          <a:lstStyle/>
          <a:p>
            <a:pPr rtl="0"/>
            <a:endParaRPr lang="en-US"/>
          </a:p>
        </p:txBody>
      </p:sp>
      <p:sp>
        <p:nvSpPr>
          <p:cNvPr id="129" name="Freihandform: Form 128">
            <a:extLst>
              <a:ext uri="{FF2B5EF4-FFF2-40B4-BE49-F238E27FC236}">
                <a16:creationId xmlns:a16="http://schemas.microsoft.com/office/drawing/2014/main" id="{2A2E02AC-BFFD-44C8-869B-053E6C74FD2B}"/>
              </a:ext>
            </a:extLst>
          </p:cNvPr>
          <p:cNvSpPr/>
          <p:nvPr/>
        </p:nvSpPr>
        <p:spPr>
          <a:xfrm>
            <a:off x="8721892" y="4486719"/>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4872"/>
                </a:lnTo>
                <a:close/>
              </a:path>
            </a:pathLst>
          </a:custGeom>
          <a:solidFill>
            <a:srgbClr val="EEF2F5"/>
          </a:solidFill>
          <a:ln w="11643" cap="flat">
            <a:noFill/>
            <a:prstDash val="solid"/>
            <a:miter/>
          </a:ln>
        </p:spPr>
        <p:txBody>
          <a:bodyPr rtlCol="0" anchor="ctr"/>
          <a:lstStyle/>
          <a:p>
            <a:pPr rtl="0"/>
            <a:endParaRPr lang="en-US"/>
          </a:p>
        </p:txBody>
      </p:sp>
      <p:sp>
        <p:nvSpPr>
          <p:cNvPr id="146" name="Freihandform: Form 145">
            <a:extLst>
              <a:ext uri="{FF2B5EF4-FFF2-40B4-BE49-F238E27FC236}">
                <a16:creationId xmlns:a16="http://schemas.microsoft.com/office/drawing/2014/main" id="{05AC39C3-CD17-42BE-BFB8-C8A94809F9BF}"/>
              </a:ext>
            </a:extLst>
          </p:cNvPr>
          <p:cNvSpPr/>
          <p:nvPr/>
        </p:nvSpPr>
        <p:spPr>
          <a:xfrm>
            <a:off x="8721892" y="4842120"/>
            <a:ext cx="198092" cy="214405"/>
          </a:xfrm>
          <a:custGeom>
            <a:avLst/>
            <a:gdLst>
              <a:gd name="connsiteX0" fmla="*/ 90889 w 198092"/>
              <a:gd name="connsiteY0" fmla="*/ 214406 h 214405"/>
              <a:gd name="connsiteX1" fmla="*/ 0 w 198092"/>
              <a:gd name="connsiteY1" fmla="*/ 214406 h 214405"/>
              <a:gd name="connsiteX2" fmla="*/ 106037 w 198092"/>
              <a:gd name="connsiteY2" fmla="*/ 107203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7203"/>
                </a:lnTo>
                <a:lnTo>
                  <a:pt x="0" y="0"/>
                </a:lnTo>
                <a:lnTo>
                  <a:pt x="92055" y="0"/>
                </a:lnTo>
                <a:lnTo>
                  <a:pt x="198092" y="104872"/>
                </a:lnTo>
                <a:close/>
              </a:path>
            </a:pathLst>
          </a:custGeom>
          <a:solidFill>
            <a:srgbClr val="EEF2F5"/>
          </a:solidFill>
          <a:ln w="11643" cap="flat">
            <a:noFill/>
            <a:prstDash val="solid"/>
            <a:miter/>
          </a:ln>
        </p:spPr>
        <p:txBody>
          <a:bodyPr rtlCol="0" anchor="ctr"/>
          <a:lstStyle/>
          <a:p>
            <a:pPr rtl="0"/>
            <a:endParaRPr lang="en-US"/>
          </a:p>
        </p:txBody>
      </p:sp>
      <p:sp>
        <p:nvSpPr>
          <p:cNvPr id="163" name="Freihandform: Form 162">
            <a:extLst>
              <a:ext uri="{FF2B5EF4-FFF2-40B4-BE49-F238E27FC236}">
                <a16:creationId xmlns:a16="http://schemas.microsoft.com/office/drawing/2014/main" id="{88E84DF2-6EB7-427E-A4CB-C71E9DB80B42}"/>
              </a:ext>
            </a:extLst>
          </p:cNvPr>
          <p:cNvSpPr/>
          <p:nvPr/>
        </p:nvSpPr>
        <p:spPr>
          <a:xfrm>
            <a:off x="8721892" y="5196355"/>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6038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6038"/>
                </a:lnTo>
                <a:close/>
              </a:path>
            </a:pathLst>
          </a:custGeom>
          <a:solidFill>
            <a:srgbClr val="EEF2F5"/>
          </a:solidFill>
          <a:ln w="11643" cap="flat">
            <a:noFill/>
            <a:prstDash val="solid"/>
            <a:miter/>
          </a:ln>
        </p:spPr>
        <p:txBody>
          <a:bodyPr rtlCol="0" anchor="ctr"/>
          <a:lstStyle/>
          <a:p>
            <a:pPr rtl="0"/>
            <a:endParaRPr lang="en-US"/>
          </a:p>
        </p:txBody>
      </p:sp>
      <p:sp>
        <p:nvSpPr>
          <p:cNvPr id="180" name="Freihandform: Form 179">
            <a:extLst>
              <a:ext uri="{FF2B5EF4-FFF2-40B4-BE49-F238E27FC236}">
                <a16:creationId xmlns:a16="http://schemas.microsoft.com/office/drawing/2014/main" id="{73606A8C-ADFE-479C-B34E-C91AE8F14BDF}"/>
              </a:ext>
            </a:extLst>
          </p:cNvPr>
          <p:cNvSpPr/>
          <p:nvPr/>
        </p:nvSpPr>
        <p:spPr>
          <a:xfrm>
            <a:off x="8721892" y="5551755"/>
            <a:ext cx="198092" cy="214405"/>
          </a:xfrm>
          <a:custGeom>
            <a:avLst/>
            <a:gdLst>
              <a:gd name="connsiteX0" fmla="*/ 90889 w 198092"/>
              <a:gd name="connsiteY0" fmla="*/ 214406 h 214405"/>
              <a:gd name="connsiteX1" fmla="*/ 0 w 198092"/>
              <a:gd name="connsiteY1" fmla="*/ 214406 h 214405"/>
              <a:gd name="connsiteX2" fmla="*/ 106037 w 198092"/>
              <a:gd name="connsiteY2" fmla="*/ 107203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7203"/>
                </a:lnTo>
                <a:lnTo>
                  <a:pt x="0" y="0"/>
                </a:lnTo>
                <a:lnTo>
                  <a:pt x="92055" y="0"/>
                </a:lnTo>
                <a:lnTo>
                  <a:pt x="198092" y="104872"/>
                </a:lnTo>
                <a:close/>
              </a:path>
            </a:pathLst>
          </a:custGeom>
          <a:solidFill>
            <a:srgbClr val="EEF2F5"/>
          </a:solidFill>
          <a:ln w="11643" cap="flat">
            <a:noFill/>
            <a:prstDash val="solid"/>
            <a:miter/>
          </a:ln>
        </p:spPr>
        <p:txBody>
          <a:bodyPr rtlCol="0" anchor="ctr"/>
          <a:lstStyle/>
          <a:p>
            <a:pPr rtl="0"/>
            <a:endParaRPr lang="en-US"/>
          </a:p>
        </p:txBody>
      </p:sp>
      <p:sp>
        <p:nvSpPr>
          <p:cNvPr id="197" name="Freihandform: Form 196">
            <a:extLst>
              <a:ext uri="{FF2B5EF4-FFF2-40B4-BE49-F238E27FC236}">
                <a16:creationId xmlns:a16="http://schemas.microsoft.com/office/drawing/2014/main" id="{FC296AC6-E750-4BE9-BDD1-981A05C08FF5}"/>
              </a:ext>
            </a:extLst>
          </p:cNvPr>
          <p:cNvSpPr/>
          <p:nvPr/>
        </p:nvSpPr>
        <p:spPr>
          <a:xfrm>
            <a:off x="8721892" y="5905991"/>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6038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6038"/>
                </a:lnTo>
                <a:close/>
              </a:path>
            </a:pathLst>
          </a:custGeom>
          <a:solidFill>
            <a:srgbClr val="EEF2F5"/>
          </a:solidFill>
          <a:ln w="11643" cap="flat">
            <a:noFill/>
            <a:prstDash val="solid"/>
            <a:miter/>
          </a:ln>
        </p:spPr>
        <p:txBody>
          <a:bodyPr rtlCol="0" anchor="ctr"/>
          <a:lstStyle/>
          <a:p>
            <a:pPr rtl="0"/>
            <a:endParaRPr lang="en-US"/>
          </a:p>
        </p:txBody>
      </p:sp>
      <p:sp>
        <p:nvSpPr>
          <p:cNvPr id="214" name="Freihandform: Form 213">
            <a:extLst>
              <a:ext uri="{FF2B5EF4-FFF2-40B4-BE49-F238E27FC236}">
                <a16:creationId xmlns:a16="http://schemas.microsoft.com/office/drawing/2014/main" id="{C03E7333-2F83-4C83-832A-36CD5A0C1B61}"/>
              </a:ext>
            </a:extLst>
          </p:cNvPr>
          <p:cNvSpPr/>
          <p:nvPr/>
        </p:nvSpPr>
        <p:spPr>
          <a:xfrm>
            <a:off x="8721892" y="6261391"/>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4872"/>
                </a:lnTo>
                <a:close/>
              </a:path>
            </a:pathLst>
          </a:custGeom>
          <a:solidFill>
            <a:srgbClr val="EEF2F5"/>
          </a:solidFill>
          <a:ln w="11643" cap="flat">
            <a:noFill/>
            <a:prstDash val="solid"/>
            <a:miter/>
          </a:ln>
        </p:spPr>
        <p:txBody>
          <a:bodyPr rtlCol="0" anchor="ctr"/>
          <a:lstStyle/>
          <a:p>
            <a:pPr rtl="0"/>
            <a:endParaRPr lang="en-US"/>
          </a:p>
        </p:txBody>
      </p:sp>
      <p:sp>
        <p:nvSpPr>
          <p:cNvPr id="230" name="Freihandform: Form 229">
            <a:extLst>
              <a:ext uri="{FF2B5EF4-FFF2-40B4-BE49-F238E27FC236}">
                <a16:creationId xmlns:a16="http://schemas.microsoft.com/office/drawing/2014/main" id="{83AA4FB9-F340-4ECE-A8B5-BF0225383456}"/>
              </a:ext>
            </a:extLst>
          </p:cNvPr>
          <p:cNvSpPr/>
          <p:nvPr/>
        </p:nvSpPr>
        <p:spPr>
          <a:xfrm>
            <a:off x="8721892" y="6615627"/>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6037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6037"/>
                </a:lnTo>
                <a:close/>
              </a:path>
            </a:pathLst>
          </a:custGeom>
          <a:solidFill>
            <a:srgbClr val="EEF2F5"/>
          </a:solidFill>
          <a:ln w="11643" cap="flat">
            <a:noFill/>
            <a:prstDash val="solid"/>
            <a:miter/>
          </a:ln>
        </p:spPr>
        <p:txBody>
          <a:bodyPr rtlCol="0" anchor="ctr"/>
          <a:lstStyle/>
          <a:p>
            <a:pPr rtl="0"/>
            <a:endParaRPr lang="en-US"/>
          </a:p>
        </p:txBody>
      </p:sp>
      <p:sp>
        <p:nvSpPr>
          <p:cNvPr id="19" name="Freihandform: Form 18">
            <a:extLst>
              <a:ext uri="{FF2B5EF4-FFF2-40B4-BE49-F238E27FC236}">
                <a16:creationId xmlns:a16="http://schemas.microsoft.com/office/drawing/2014/main" id="{9DB76664-FCBB-4E4F-B5E6-C249AA6B44D0}"/>
              </a:ext>
            </a:extLst>
          </p:cNvPr>
          <p:cNvSpPr/>
          <p:nvPr/>
        </p:nvSpPr>
        <p:spPr>
          <a:xfrm>
            <a:off x="9069136" y="1994253"/>
            <a:ext cx="214405" cy="231884"/>
          </a:xfrm>
          <a:custGeom>
            <a:avLst/>
            <a:gdLst>
              <a:gd name="connsiteX0" fmla="*/ 97881 w 214405"/>
              <a:gd name="connsiteY0" fmla="*/ 231884 h 231884"/>
              <a:gd name="connsiteX1" fmla="*/ 0 w 214405"/>
              <a:gd name="connsiteY1" fmla="*/ 231884 h 231884"/>
              <a:gd name="connsiteX2" fmla="*/ 114194 w 214405"/>
              <a:gd name="connsiteY2" fmla="*/ 116525 h 231884"/>
              <a:gd name="connsiteX3" fmla="*/ 0 w 214405"/>
              <a:gd name="connsiteY3" fmla="*/ 0 h 231884"/>
              <a:gd name="connsiteX4" fmla="*/ 100211 w 214405"/>
              <a:gd name="connsiteY4" fmla="*/ 0 h 231884"/>
              <a:gd name="connsiteX5" fmla="*/ 214406 w 214405"/>
              <a:gd name="connsiteY5" fmla="*/ 114194 h 23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1884">
                <a:moveTo>
                  <a:pt x="97881" y="231884"/>
                </a:moveTo>
                <a:lnTo>
                  <a:pt x="0" y="231884"/>
                </a:lnTo>
                <a:lnTo>
                  <a:pt x="114194" y="116525"/>
                </a:lnTo>
                <a:lnTo>
                  <a:pt x="0" y="0"/>
                </a:lnTo>
                <a:lnTo>
                  <a:pt x="100211" y="0"/>
                </a:lnTo>
                <a:lnTo>
                  <a:pt x="214406" y="114194"/>
                </a:lnTo>
                <a:close/>
              </a:path>
            </a:pathLst>
          </a:custGeom>
          <a:solidFill>
            <a:srgbClr val="EEF2F5"/>
          </a:solidFill>
          <a:ln w="11643" cap="flat">
            <a:noFill/>
            <a:prstDash val="solid"/>
            <a:miter/>
          </a:ln>
        </p:spPr>
        <p:txBody>
          <a:bodyPr rtlCol="0" anchor="ctr"/>
          <a:lstStyle/>
          <a:p>
            <a:pPr rtl="0"/>
            <a:endParaRPr lang="en-US"/>
          </a:p>
        </p:txBody>
      </p:sp>
      <p:sp>
        <p:nvSpPr>
          <p:cNvPr id="34" name="Freihandform: Form 33">
            <a:extLst>
              <a:ext uri="{FF2B5EF4-FFF2-40B4-BE49-F238E27FC236}">
                <a16:creationId xmlns:a16="http://schemas.microsoft.com/office/drawing/2014/main" id="{1C9E837E-20C0-4E65-AB7F-E12A38184389}"/>
              </a:ext>
            </a:extLst>
          </p:cNvPr>
          <p:cNvSpPr/>
          <p:nvPr/>
        </p:nvSpPr>
        <p:spPr>
          <a:xfrm>
            <a:off x="9069136" y="2348489"/>
            <a:ext cx="214405" cy="233049"/>
          </a:xfrm>
          <a:custGeom>
            <a:avLst/>
            <a:gdLst>
              <a:gd name="connsiteX0" fmla="*/ 97881 w 214405"/>
              <a:gd name="connsiteY0" fmla="*/ 233050 h 233049"/>
              <a:gd name="connsiteX1" fmla="*/ 0 w 214405"/>
              <a:gd name="connsiteY1" fmla="*/ 233050 h 233049"/>
              <a:gd name="connsiteX2" fmla="*/ 114194 w 214405"/>
              <a:gd name="connsiteY2" fmla="*/ 117690 h 233049"/>
              <a:gd name="connsiteX3" fmla="*/ 0 w 214405"/>
              <a:gd name="connsiteY3" fmla="*/ 0 h 233049"/>
              <a:gd name="connsiteX4" fmla="*/ 100211 w 214405"/>
              <a:gd name="connsiteY4" fmla="*/ 0 h 233049"/>
              <a:gd name="connsiteX5" fmla="*/ 214406 w 214405"/>
              <a:gd name="connsiteY5" fmla="*/ 114194 h 23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3047">
                <a:moveTo>
                  <a:pt x="97881" y="233050"/>
                </a:moveTo>
                <a:lnTo>
                  <a:pt x="0" y="233050"/>
                </a:lnTo>
                <a:lnTo>
                  <a:pt x="114194" y="117690"/>
                </a:lnTo>
                <a:lnTo>
                  <a:pt x="0" y="0"/>
                </a:lnTo>
                <a:lnTo>
                  <a:pt x="100211" y="0"/>
                </a:lnTo>
                <a:lnTo>
                  <a:pt x="214406" y="114194"/>
                </a:lnTo>
                <a:close/>
              </a:path>
            </a:pathLst>
          </a:custGeom>
          <a:solidFill>
            <a:srgbClr val="EEF2F5"/>
          </a:solidFill>
          <a:ln w="11643" cap="flat">
            <a:noFill/>
            <a:prstDash val="solid"/>
            <a:miter/>
          </a:ln>
        </p:spPr>
        <p:txBody>
          <a:bodyPr rtlCol="0" anchor="ctr"/>
          <a:lstStyle/>
          <a:p>
            <a:pPr rtl="0"/>
            <a:endParaRPr lang="en-US"/>
          </a:p>
        </p:txBody>
      </p:sp>
      <p:sp>
        <p:nvSpPr>
          <p:cNvPr id="50" name="Freihandform: Form 49">
            <a:extLst>
              <a:ext uri="{FF2B5EF4-FFF2-40B4-BE49-F238E27FC236}">
                <a16:creationId xmlns:a16="http://schemas.microsoft.com/office/drawing/2014/main" id="{8113F30E-6E8E-4B5D-82C9-BD00E85422E7}"/>
              </a:ext>
            </a:extLst>
          </p:cNvPr>
          <p:cNvSpPr/>
          <p:nvPr/>
        </p:nvSpPr>
        <p:spPr>
          <a:xfrm>
            <a:off x="9069136" y="2703889"/>
            <a:ext cx="214405" cy="231884"/>
          </a:xfrm>
          <a:custGeom>
            <a:avLst/>
            <a:gdLst>
              <a:gd name="connsiteX0" fmla="*/ 97881 w 214405"/>
              <a:gd name="connsiteY0" fmla="*/ 231884 h 231884"/>
              <a:gd name="connsiteX1" fmla="*/ 0 w 214405"/>
              <a:gd name="connsiteY1" fmla="*/ 231884 h 231884"/>
              <a:gd name="connsiteX2" fmla="*/ 114194 w 214405"/>
              <a:gd name="connsiteY2" fmla="*/ 116525 h 231884"/>
              <a:gd name="connsiteX3" fmla="*/ 0 w 214405"/>
              <a:gd name="connsiteY3" fmla="*/ 0 h 231884"/>
              <a:gd name="connsiteX4" fmla="*/ 100211 w 214405"/>
              <a:gd name="connsiteY4" fmla="*/ 0 h 231884"/>
              <a:gd name="connsiteX5" fmla="*/ 214406 w 214405"/>
              <a:gd name="connsiteY5" fmla="*/ 114194 h 23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1884">
                <a:moveTo>
                  <a:pt x="97881" y="231884"/>
                </a:moveTo>
                <a:lnTo>
                  <a:pt x="0" y="231884"/>
                </a:lnTo>
                <a:lnTo>
                  <a:pt x="114194" y="116525"/>
                </a:lnTo>
                <a:lnTo>
                  <a:pt x="0" y="0"/>
                </a:lnTo>
                <a:lnTo>
                  <a:pt x="100211" y="0"/>
                </a:lnTo>
                <a:lnTo>
                  <a:pt x="214406" y="114194"/>
                </a:lnTo>
                <a:close/>
              </a:path>
            </a:pathLst>
          </a:custGeom>
          <a:solidFill>
            <a:srgbClr val="EEF2F5"/>
          </a:solidFill>
          <a:ln w="11643" cap="flat">
            <a:noFill/>
            <a:prstDash val="solid"/>
            <a:miter/>
          </a:ln>
        </p:spPr>
        <p:txBody>
          <a:bodyPr rtlCol="0" anchor="ctr"/>
          <a:lstStyle/>
          <a:p>
            <a:pPr rtl="0"/>
            <a:endParaRPr lang="en-US"/>
          </a:p>
        </p:txBody>
      </p:sp>
      <p:sp>
        <p:nvSpPr>
          <p:cNvPr id="66" name="Freihandform: Form 65">
            <a:extLst>
              <a:ext uri="{FF2B5EF4-FFF2-40B4-BE49-F238E27FC236}">
                <a16:creationId xmlns:a16="http://schemas.microsoft.com/office/drawing/2014/main" id="{83CF9041-D1BF-47E7-A660-B0728CA7416C}"/>
              </a:ext>
            </a:extLst>
          </p:cNvPr>
          <p:cNvSpPr/>
          <p:nvPr/>
        </p:nvSpPr>
        <p:spPr>
          <a:xfrm>
            <a:off x="9069136" y="3058125"/>
            <a:ext cx="214405" cy="233049"/>
          </a:xfrm>
          <a:custGeom>
            <a:avLst/>
            <a:gdLst>
              <a:gd name="connsiteX0" fmla="*/ 97881 w 214405"/>
              <a:gd name="connsiteY0" fmla="*/ 233050 h 233049"/>
              <a:gd name="connsiteX1" fmla="*/ 0 w 214405"/>
              <a:gd name="connsiteY1" fmla="*/ 233050 h 233049"/>
              <a:gd name="connsiteX2" fmla="*/ 114194 w 214405"/>
              <a:gd name="connsiteY2" fmla="*/ 117690 h 233049"/>
              <a:gd name="connsiteX3" fmla="*/ 0 w 214405"/>
              <a:gd name="connsiteY3" fmla="*/ 0 h 233049"/>
              <a:gd name="connsiteX4" fmla="*/ 100211 w 214405"/>
              <a:gd name="connsiteY4" fmla="*/ 0 h 233049"/>
              <a:gd name="connsiteX5" fmla="*/ 214406 w 214405"/>
              <a:gd name="connsiteY5" fmla="*/ 114194 h 23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3047">
                <a:moveTo>
                  <a:pt x="97881" y="233050"/>
                </a:moveTo>
                <a:lnTo>
                  <a:pt x="0" y="233050"/>
                </a:lnTo>
                <a:lnTo>
                  <a:pt x="114194" y="117690"/>
                </a:lnTo>
                <a:lnTo>
                  <a:pt x="0" y="0"/>
                </a:lnTo>
                <a:lnTo>
                  <a:pt x="100211" y="0"/>
                </a:lnTo>
                <a:lnTo>
                  <a:pt x="214406" y="114194"/>
                </a:lnTo>
                <a:close/>
              </a:path>
            </a:pathLst>
          </a:custGeom>
          <a:solidFill>
            <a:srgbClr val="EEF2F5"/>
          </a:solidFill>
          <a:ln w="11643" cap="flat">
            <a:noFill/>
            <a:prstDash val="solid"/>
            <a:miter/>
          </a:ln>
        </p:spPr>
        <p:txBody>
          <a:bodyPr rtlCol="0" anchor="ctr"/>
          <a:lstStyle/>
          <a:p>
            <a:pPr rtl="0"/>
            <a:endParaRPr lang="en-US"/>
          </a:p>
        </p:txBody>
      </p:sp>
      <p:sp>
        <p:nvSpPr>
          <p:cNvPr id="82" name="Freihandform: Form 81">
            <a:extLst>
              <a:ext uri="{FF2B5EF4-FFF2-40B4-BE49-F238E27FC236}">
                <a16:creationId xmlns:a16="http://schemas.microsoft.com/office/drawing/2014/main" id="{5E3A187E-D2FD-43A2-AA3C-854C35701E6E}"/>
              </a:ext>
            </a:extLst>
          </p:cNvPr>
          <p:cNvSpPr/>
          <p:nvPr/>
        </p:nvSpPr>
        <p:spPr>
          <a:xfrm>
            <a:off x="9069136" y="3413526"/>
            <a:ext cx="214405" cy="231884"/>
          </a:xfrm>
          <a:custGeom>
            <a:avLst/>
            <a:gdLst>
              <a:gd name="connsiteX0" fmla="*/ 97881 w 214405"/>
              <a:gd name="connsiteY0" fmla="*/ 231884 h 231884"/>
              <a:gd name="connsiteX1" fmla="*/ 0 w 214405"/>
              <a:gd name="connsiteY1" fmla="*/ 231884 h 231884"/>
              <a:gd name="connsiteX2" fmla="*/ 114194 w 214405"/>
              <a:gd name="connsiteY2" fmla="*/ 116525 h 231884"/>
              <a:gd name="connsiteX3" fmla="*/ 0 w 214405"/>
              <a:gd name="connsiteY3" fmla="*/ 0 h 231884"/>
              <a:gd name="connsiteX4" fmla="*/ 100211 w 214405"/>
              <a:gd name="connsiteY4" fmla="*/ 0 h 231884"/>
              <a:gd name="connsiteX5" fmla="*/ 214406 w 214405"/>
              <a:gd name="connsiteY5" fmla="*/ 114194 h 23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1884">
                <a:moveTo>
                  <a:pt x="97881" y="231884"/>
                </a:moveTo>
                <a:lnTo>
                  <a:pt x="0" y="231884"/>
                </a:lnTo>
                <a:lnTo>
                  <a:pt x="114194" y="116525"/>
                </a:lnTo>
                <a:lnTo>
                  <a:pt x="0" y="0"/>
                </a:lnTo>
                <a:lnTo>
                  <a:pt x="100211" y="0"/>
                </a:lnTo>
                <a:lnTo>
                  <a:pt x="214406" y="114194"/>
                </a:lnTo>
                <a:close/>
              </a:path>
            </a:pathLst>
          </a:custGeom>
          <a:solidFill>
            <a:srgbClr val="EEF2F5"/>
          </a:solidFill>
          <a:ln w="11643" cap="flat">
            <a:noFill/>
            <a:prstDash val="solid"/>
            <a:miter/>
          </a:ln>
        </p:spPr>
        <p:txBody>
          <a:bodyPr rtlCol="0" anchor="ctr"/>
          <a:lstStyle/>
          <a:p>
            <a:pPr rtl="0"/>
            <a:endParaRPr lang="en-US"/>
          </a:p>
        </p:txBody>
      </p:sp>
      <p:sp>
        <p:nvSpPr>
          <p:cNvPr id="98" name="Freihandform: Form 97">
            <a:extLst>
              <a:ext uri="{FF2B5EF4-FFF2-40B4-BE49-F238E27FC236}">
                <a16:creationId xmlns:a16="http://schemas.microsoft.com/office/drawing/2014/main" id="{D3A81AAA-9E9E-4B15-AAC7-1E1DC2995BB7}"/>
              </a:ext>
            </a:extLst>
          </p:cNvPr>
          <p:cNvSpPr/>
          <p:nvPr/>
        </p:nvSpPr>
        <p:spPr>
          <a:xfrm>
            <a:off x="9069136" y="3767761"/>
            <a:ext cx="214405" cy="233049"/>
          </a:xfrm>
          <a:custGeom>
            <a:avLst/>
            <a:gdLst>
              <a:gd name="connsiteX0" fmla="*/ 97881 w 214405"/>
              <a:gd name="connsiteY0" fmla="*/ 233050 h 233049"/>
              <a:gd name="connsiteX1" fmla="*/ 0 w 214405"/>
              <a:gd name="connsiteY1" fmla="*/ 233050 h 233049"/>
              <a:gd name="connsiteX2" fmla="*/ 114194 w 214405"/>
              <a:gd name="connsiteY2" fmla="*/ 117690 h 233049"/>
              <a:gd name="connsiteX3" fmla="*/ 0 w 214405"/>
              <a:gd name="connsiteY3" fmla="*/ 0 h 233049"/>
              <a:gd name="connsiteX4" fmla="*/ 100211 w 214405"/>
              <a:gd name="connsiteY4" fmla="*/ 0 h 233049"/>
              <a:gd name="connsiteX5" fmla="*/ 214406 w 214405"/>
              <a:gd name="connsiteY5" fmla="*/ 114194 h 23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3047">
                <a:moveTo>
                  <a:pt x="97881" y="233050"/>
                </a:moveTo>
                <a:lnTo>
                  <a:pt x="0" y="233050"/>
                </a:lnTo>
                <a:lnTo>
                  <a:pt x="114194" y="117690"/>
                </a:lnTo>
                <a:lnTo>
                  <a:pt x="0" y="0"/>
                </a:lnTo>
                <a:lnTo>
                  <a:pt x="100211" y="0"/>
                </a:lnTo>
                <a:lnTo>
                  <a:pt x="214406" y="114194"/>
                </a:lnTo>
                <a:close/>
              </a:path>
            </a:pathLst>
          </a:custGeom>
          <a:solidFill>
            <a:srgbClr val="EEF2F5"/>
          </a:solidFill>
          <a:ln w="11643" cap="flat">
            <a:noFill/>
            <a:prstDash val="solid"/>
            <a:miter/>
          </a:ln>
        </p:spPr>
        <p:txBody>
          <a:bodyPr rtlCol="0" anchor="ctr"/>
          <a:lstStyle/>
          <a:p>
            <a:pPr rtl="0"/>
            <a:endParaRPr lang="en-US"/>
          </a:p>
        </p:txBody>
      </p:sp>
      <p:sp>
        <p:nvSpPr>
          <p:cNvPr id="114" name="Freihandform: Form 113">
            <a:extLst>
              <a:ext uri="{FF2B5EF4-FFF2-40B4-BE49-F238E27FC236}">
                <a16:creationId xmlns:a16="http://schemas.microsoft.com/office/drawing/2014/main" id="{D7414768-9244-413F-B790-A52513170C11}"/>
              </a:ext>
            </a:extLst>
          </p:cNvPr>
          <p:cNvSpPr/>
          <p:nvPr/>
        </p:nvSpPr>
        <p:spPr>
          <a:xfrm>
            <a:off x="9069136" y="4123162"/>
            <a:ext cx="214405" cy="231884"/>
          </a:xfrm>
          <a:custGeom>
            <a:avLst/>
            <a:gdLst>
              <a:gd name="connsiteX0" fmla="*/ 97881 w 214405"/>
              <a:gd name="connsiteY0" fmla="*/ 231884 h 231884"/>
              <a:gd name="connsiteX1" fmla="*/ 0 w 214405"/>
              <a:gd name="connsiteY1" fmla="*/ 231884 h 231884"/>
              <a:gd name="connsiteX2" fmla="*/ 114194 w 214405"/>
              <a:gd name="connsiteY2" fmla="*/ 116525 h 231884"/>
              <a:gd name="connsiteX3" fmla="*/ 0 w 214405"/>
              <a:gd name="connsiteY3" fmla="*/ 0 h 231884"/>
              <a:gd name="connsiteX4" fmla="*/ 100211 w 214405"/>
              <a:gd name="connsiteY4" fmla="*/ 0 h 231884"/>
              <a:gd name="connsiteX5" fmla="*/ 214406 w 214405"/>
              <a:gd name="connsiteY5" fmla="*/ 114194 h 23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1884">
                <a:moveTo>
                  <a:pt x="97881" y="231884"/>
                </a:moveTo>
                <a:lnTo>
                  <a:pt x="0" y="231884"/>
                </a:lnTo>
                <a:lnTo>
                  <a:pt x="114194" y="116525"/>
                </a:lnTo>
                <a:lnTo>
                  <a:pt x="0" y="0"/>
                </a:lnTo>
                <a:lnTo>
                  <a:pt x="100211" y="0"/>
                </a:lnTo>
                <a:lnTo>
                  <a:pt x="214406" y="114194"/>
                </a:lnTo>
                <a:close/>
              </a:path>
            </a:pathLst>
          </a:custGeom>
          <a:solidFill>
            <a:srgbClr val="EEF2F5"/>
          </a:solidFill>
          <a:ln w="11643" cap="flat">
            <a:noFill/>
            <a:prstDash val="solid"/>
            <a:miter/>
          </a:ln>
        </p:spPr>
        <p:txBody>
          <a:bodyPr rtlCol="0" anchor="ctr"/>
          <a:lstStyle/>
          <a:p>
            <a:pPr rtl="0"/>
            <a:endParaRPr lang="en-US"/>
          </a:p>
        </p:txBody>
      </p:sp>
      <p:sp>
        <p:nvSpPr>
          <p:cNvPr id="130" name="Freihandform: Form 129">
            <a:extLst>
              <a:ext uri="{FF2B5EF4-FFF2-40B4-BE49-F238E27FC236}">
                <a16:creationId xmlns:a16="http://schemas.microsoft.com/office/drawing/2014/main" id="{401AC1C2-779B-43DF-BA19-77977887DF48}"/>
              </a:ext>
            </a:extLst>
          </p:cNvPr>
          <p:cNvSpPr/>
          <p:nvPr/>
        </p:nvSpPr>
        <p:spPr>
          <a:xfrm>
            <a:off x="9069136" y="4477397"/>
            <a:ext cx="214405" cy="233049"/>
          </a:xfrm>
          <a:custGeom>
            <a:avLst/>
            <a:gdLst>
              <a:gd name="connsiteX0" fmla="*/ 97881 w 214405"/>
              <a:gd name="connsiteY0" fmla="*/ 233050 h 233049"/>
              <a:gd name="connsiteX1" fmla="*/ 0 w 214405"/>
              <a:gd name="connsiteY1" fmla="*/ 233050 h 233049"/>
              <a:gd name="connsiteX2" fmla="*/ 114194 w 214405"/>
              <a:gd name="connsiteY2" fmla="*/ 117690 h 233049"/>
              <a:gd name="connsiteX3" fmla="*/ 0 w 214405"/>
              <a:gd name="connsiteY3" fmla="*/ 0 h 233049"/>
              <a:gd name="connsiteX4" fmla="*/ 100211 w 214405"/>
              <a:gd name="connsiteY4" fmla="*/ 0 h 233049"/>
              <a:gd name="connsiteX5" fmla="*/ 214406 w 214405"/>
              <a:gd name="connsiteY5" fmla="*/ 114194 h 23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3047">
                <a:moveTo>
                  <a:pt x="97881" y="233050"/>
                </a:moveTo>
                <a:lnTo>
                  <a:pt x="0" y="233050"/>
                </a:lnTo>
                <a:lnTo>
                  <a:pt x="114194" y="117690"/>
                </a:lnTo>
                <a:lnTo>
                  <a:pt x="0" y="0"/>
                </a:lnTo>
                <a:lnTo>
                  <a:pt x="100211" y="0"/>
                </a:lnTo>
                <a:lnTo>
                  <a:pt x="214406" y="114194"/>
                </a:lnTo>
                <a:close/>
              </a:path>
            </a:pathLst>
          </a:custGeom>
          <a:solidFill>
            <a:srgbClr val="EEF2F5"/>
          </a:solidFill>
          <a:ln w="11643" cap="flat">
            <a:noFill/>
            <a:prstDash val="solid"/>
            <a:miter/>
          </a:ln>
        </p:spPr>
        <p:txBody>
          <a:bodyPr rtlCol="0" anchor="ctr"/>
          <a:lstStyle/>
          <a:p>
            <a:pPr rtl="0"/>
            <a:endParaRPr lang="en-US"/>
          </a:p>
        </p:txBody>
      </p:sp>
      <p:sp>
        <p:nvSpPr>
          <p:cNvPr id="147" name="Freihandform: Form 146">
            <a:extLst>
              <a:ext uri="{FF2B5EF4-FFF2-40B4-BE49-F238E27FC236}">
                <a16:creationId xmlns:a16="http://schemas.microsoft.com/office/drawing/2014/main" id="{828616FB-ED5E-4EBB-AE8B-F4FB143D7DA7}"/>
              </a:ext>
            </a:extLst>
          </p:cNvPr>
          <p:cNvSpPr/>
          <p:nvPr/>
        </p:nvSpPr>
        <p:spPr>
          <a:xfrm>
            <a:off x="9069136" y="4832797"/>
            <a:ext cx="214405" cy="231884"/>
          </a:xfrm>
          <a:custGeom>
            <a:avLst/>
            <a:gdLst>
              <a:gd name="connsiteX0" fmla="*/ 97881 w 214405"/>
              <a:gd name="connsiteY0" fmla="*/ 231884 h 231884"/>
              <a:gd name="connsiteX1" fmla="*/ 0 w 214405"/>
              <a:gd name="connsiteY1" fmla="*/ 231884 h 231884"/>
              <a:gd name="connsiteX2" fmla="*/ 114194 w 214405"/>
              <a:gd name="connsiteY2" fmla="*/ 116525 h 231884"/>
              <a:gd name="connsiteX3" fmla="*/ 0 w 214405"/>
              <a:gd name="connsiteY3" fmla="*/ 0 h 231884"/>
              <a:gd name="connsiteX4" fmla="*/ 100211 w 214405"/>
              <a:gd name="connsiteY4" fmla="*/ 0 h 231884"/>
              <a:gd name="connsiteX5" fmla="*/ 214406 w 214405"/>
              <a:gd name="connsiteY5" fmla="*/ 114194 h 23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1884">
                <a:moveTo>
                  <a:pt x="97881" y="231884"/>
                </a:moveTo>
                <a:lnTo>
                  <a:pt x="0" y="231884"/>
                </a:lnTo>
                <a:lnTo>
                  <a:pt x="114194" y="116525"/>
                </a:lnTo>
                <a:lnTo>
                  <a:pt x="0" y="0"/>
                </a:lnTo>
                <a:lnTo>
                  <a:pt x="100211" y="0"/>
                </a:lnTo>
                <a:lnTo>
                  <a:pt x="214406" y="114194"/>
                </a:lnTo>
                <a:close/>
              </a:path>
            </a:pathLst>
          </a:custGeom>
          <a:solidFill>
            <a:srgbClr val="EEF2F5"/>
          </a:solidFill>
          <a:ln w="11643" cap="flat">
            <a:noFill/>
            <a:prstDash val="solid"/>
            <a:miter/>
          </a:ln>
        </p:spPr>
        <p:txBody>
          <a:bodyPr rtlCol="0" anchor="ctr"/>
          <a:lstStyle/>
          <a:p>
            <a:pPr rtl="0"/>
            <a:endParaRPr lang="en-US"/>
          </a:p>
        </p:txBody>
      </p:sp>
      <p:sp>
        <p:nvSpPr>
          <p:cNvPr id="164" name="Freihandform: Form 163">
            <a:extLst>
              <a:ext uri="{FF2B5EF4-FFF2-40B4-BE49-F238E27FC236}">
                <a16:creationId xmlns:a16="http://schemas.microsoft.com/office/drawing/2014/main" id="{1552BFC2-885E-488D-9178-E4EF0A480D27}"/>
              </a:ext>
            </a:extLst>
          </p:cNvPr>
          <p:cNvSpPr/>
          <p:nvPr/>
        </p:nvSpPr>
        <p:spPr>
          <a:xfrm>
            <a:off x="9069136" y="5187033"/>
            <a:ext cx="214405" cy="233049"/>
          </a:xfrm>
          <a:custGeom>
            <a:avLst/>
            <a:gdLst>
              <a:gd name="connsiteX0" fmla="*/ 97881 w 214405"/>
              <a:gd name="connsiteY0" fmla="*/ 233050 h 233049"/>
              <a:gd name="connsiteX1" fmla="*/ 0 w 214405"/>
              <a:gd name="connsiteY1" fmla="*/ 233050 h 233049"/>
              <a:gd name="connsiteX2" fmla="*/ 114194 w 214405"/>
              <a:gd name="connsiteY2" fmla="*/ 117690 h 233049"/>
              <a:gd name="connsiteX3" fmla="*/ 0 w 214405"/>
              <a:gd name="connsiteY3" fmla="*/ 0 h 233049"/>
              <a:gd name="connsiteX4" fmla="*/ 100211 w 214405"/>
              <a:gd name="connsiteY4" fmla="*/ 0 h 233049"/>
              <a:gd name="connsiteX5" fmla="*/ 214406 w 214405"/>
              <a:gd name="connsiteY5" fmla="*/ 114194 h 23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3047">
                <a:moveTo>
                  <a:pt x="97881" y="233050"/>
                </a:moveTo>
                <a:lnTo>
                  <a:pt x="0" y="233050"/>
                </a:lnTo>
                <a:lnTo>
                  <a:pt x="114194" y="117690"/>
                </a:lnTo>
                <a:lnTo>
                  <a:pt x="0" y="0"/>
                </a:lnTo>
                <a:lnTo>
                  <a:pt x="100211" y="0"/>
                </a:lnTo>
                <a:lnTo>
                  <a:pt x="214406" y="114194"/>
                </a:lnTo>
                <a:close/>
              </a:path>
            </a:pathLst>
          </a:custGeom>
          <a:solidFill>
            <a:srgbClr val="EEF2F5"/>
          </a:solidFill>
          <a:ln w="11643" cap="flat">
            <a:noFill/>
            <a:prstDash val="solid"/>
            <a:miter/>
          </a:ln>
        </p:spPr>
        <p:txBody>
          <a:bodyPr rtlCol="0" anchor="ctr"/>
          <a:lstStyle/>
          <a:p>
            <a:pPr rtl="0"/>
            <a:endParaRPr lang="en-US"/>
          </a:p>
        </p:txBody>
      </p:sp>
      <p:sp>
        <p:nvSpPr>
          <p:cNvPr id="181" name="Freihandform: Form 180">
            <a:extLst>
              <a:ext uri="{FF2B5EF4-FFF2-40B4-BE49-F238E27FC236}">
                <a16:creationId xmlns:a16="http://schemas.microsoft.com/office/drawing/2014/main" id="{80648966-F9E2-4B5F-ABE6-533E21207054}"/>
              </a:ext>
            </a:extLst>
          </p:cNvPr>
          <p:cNvSpPr/>
          <p:nvPr/>
        </p:nvSpPr>
        <p:spPr>
          <a:xfrm>
            <a:off x="9069136" y="5542434"/>
            <a:ext cx="214405" cy="231884"/>
          </a:xfrm>
          <a:custGeom>
            <a:avLst/>
            <a:gdLst>
              <a:gd name="connsiteX0" fmla="*/ 97881 w 214405"/>
              <a:gd name="connsiteY0" fmla="*/ 231884 h 231884"/>
              <a:gd name="connsiteX1" fmla="*/ 0 w 214405"/>
              <a:gd name="connsiteY1" fmla="*/ 231884 h 231884"/>
              <a:gd name="connsiteX2" fmla="*/ 114194 w 214405"/>
              <a:gd name="connsiteY2" fmla="*/ 117690 h 231884"/>
              <a:gd name="connsiteX3" fmla="*/ 0 w 214405"/>
              <a:gd name="connsiteY3" fmla="*/ 0 h 231884"/>
              <a:gd name="connsiteX4" fmla="*/ 100211 w 214405"/>
              <a:gd name="connsiteY4" fmla="*/ 0 h 231884"/>
              <a:gd name="connsiteX5" fmla="*/ 214406 w 214405"/>
              <a:gd name="connsiteY5" fmla="*/ 114194 h 23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1884">
                <a:moveTo>
                  <a:pt x="97881" y="231884"/>
                </a:moveTo>
                <a:lnTo>
                  <a:pt x="0" y="231884"/>
                </a:lnTo>
                <a:lnTo>
                  <a:pt x="114194" y="117690"/>
                </a:lnTo>
                <a:lnTo>
                  <a:pt x="0" y="0"/>
                </a:lnTo>
                <a:lnTo>
                  <a:pt x="100211" y="0"/>
                </a:lnTo>
                <a:lnTo>
                  <a:pt x="214406" y="114194"/>
                </a:lnTo>
                <a:close/>
              </a:path>
            </a:pathLst>
          </a:custGeom>
          <a:solidFill>
            <a:srgbClr val="EEF2F5"/>
          </a:solidFill>
          <a:ln w="11643" cap="flat">
            <a:noFill/>
            <a:prstDash val="solid"/>
            <a:miter/>
          </a:ln>
        </p:spPr>
        <p:txBody>
          <a:bodyPr rtlCol="0" anchor="ctr"/>
          <a:lstStyle/>
          <a:p>
            <a:pPr rtl="0"/>
            <a:endParaRPr lang="en-US"/>
          </a:p>
        </p:txBody>
      </p:sp>
      <p:sp>
        <p:nvSpPr>
          <p:cNvPr id="198" name="Freihandform: Form 197">
            <a:extLst>
              <a:ext uri="{FF2B5EF4-FFF2-40B4-BE49-F238E27FC236}">
                <a16:creationId xmlns:a16="http://schemas.microsoft.com/office/drawing/2014/main" id="{8C7041C5-0B5B-4AF4-9E5A-19A8C4C12F42}"/>
              </a:ext>
            </a:extLst>
          </p:cNvPr>
          <p:cNvSpPr/>
          <p:nvPr/>
        </p:nvSpPr>
        <p:spPr>
          <a:xfrm>
            <a:off x="9069136" y="5896669"/>
            <a:ext cx="214405" cy="233049"/>
          </a:xfrm>
          <a:custGeom>
            <a:avLst/>
            <a:gdLst>
              <a:gd name="connsiteX0" fmla="*/ 97881 w 214405"/>
              <a:gd name="connsiteY0" fmla="*/ 233050 h 233049"/>
              <a:gd name="connsiteX1" fmla="*/ 0 w 214405"/>
              <a:gd name="connsiteY1" fmla="*/ 233050 h 233049"/>
              <a:gd name="connsiteX2" fmla="*/ 114194 w 214405"/>
              <a:gd name="connsiteY2" fmla="*/ 117690 h 233049"/>
              <a:gd name="connsiteX3" fmla="*/ 0 w 214405"/>
              <a:gd name="connsiteY3" fmla="*/ 0 h 233049"/>
              <a:gd name="connsiteX4" fmla="*/ 100211 w 214405"/>
              <a:gd name="connsiteY4" fmla="*/ 0 h 233049"/>
              <a:gd name="connsiteX5" fmla="*/ 214406 w 214405"/>
              <a:gd name="connsiteY5" fmla="*/ 114194 h 23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3047">
                <a:moveTo>
                  <a:pt x="97881" y="233050"/>
                </a:moveTo>
                <a:lnTo>
                  <a:pt x="0" y="233050"/>
                </a:lnTo>
                <a:lnTo>
                  <a:pt x="114194" y="117690"/>
                </a:lnTo>
                <a:lnTo>
                  <a:pt x="0" y="0"/>
                </a:lnTo>
                <a:lnTo>
                  <a:pt x="100211" y="0"/>
                </a:lnTo>
                <a:lnTo>
                  <a:pt x="214406" y="114194"/>
                </a:lnTo>
                <a:close/>
              </a:path>
            </a:pathLst>
          </a:custGeom>
          <a:solidFill>
            <a:srgbClr val="EEF2F5"/>
          </a:solidFill>
          <a:ln w="11643" cap="flat">
            <a:noFill/>
            <a:prstDash val="solid"/>
            <a:miter/>
          </a:ln>
        </p:spPr>
        <p:txBody>
          <a:bodyPr rtlCol="0" anchor="ctr"/>
          <a:lstStyle/>
          <a:p>
            <a:pPr rtl="0"/>
            <a:endParaRPr lang="en-US"/>
          </a:p>
        </p:txBody>
      </p:sp>
      <p:sp>
        <p:nvSpPr>
          <p:cNvPr id="215" name="Freihandform: Form 214">
            <a:extLst>
              <a:ext uri="{FF2B5EF4-FFF2-40B4-BE49-F238E27FC236}">
                <a16:creationId xmlns:a16="http://schemas.microsoft.com/office/drawing/2014/main" id="{DC129505-58A5-42E7-B349-A205FB83331A}"/>
              </a:ext>
            </a:extLst>
          </p:cNvPr>
          <p:cNvSpPr/>
          <p:nvPr/>
        </p:nvSpPr>
        <p:spPr>
          <a:xfrm>
            <a:off x="9069136" y="6252070"/>
            <a:ext cx="214405" cy="233049"/>
          </a:xfrm>
          <a:custGeom>
            <a:avLst/>
            <a:gdLst>
              <a:gd name="connsiteX0" fmla="*/ 97881 w 214405"/>
              <a:gd name="connsiteY0" fmla="*/ 233050 h 233049"/>
              <a:gd name="connsiteX1" fmla="*/ 0 w 214405"/>
              <a:gd name="connsiteY1" fmla="*/ 233050 h 233049"/>
              <a:gd name="connsiteX2" fmla="*/ 114194 w 214405"/>
              <a:gd name="connsiteY2" fmla="*/ 117690 h 233049"/>
              <a:gd name="connsiteX3" fmla="*/ 0 w 214405"/>
              <a:gd name="connsiteY3" fmla="*/ 0 h 233049"/>
              <a:gd name="connsiteX4" fmla="*/ 100211 w 214405"/>
              <a:gd name="connsiteY4" fmla="*/ 0 h 233049"/>
              <a:gd name="connsiteX5" fmla="*/ 214406 w 214405"/>
              <a:gd name="connsiteY5" fmla="*/ 114194 h 23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3047">
                <a:moveTo>
                  <a:pt x="97881" y="233050"/>
                </a:moveTo>
                <a:lnTo>
                  <a:pt x="0" y="233050"/>
                </a:lnTo>
                <a:lnTo>
                  <a:pt x="114194" y="117690"/>
                </a:lnTo>
                <a:lnTo>
                  <a:pt x="0" y="0"/>
                </a:lnTo>
                <a:lnTo>
                  <a:pt x="100211" y="0"/>
                </a:lnTo>
                <a:lnTo>
                  <a:pt x="214406" y="114194"/>
                </a:lnTo>
                <a:close/>
              </a:path>
            </a:pathLst>
          </a:custGeom>
          <a:solidFill>
            <a:srgbClr val="EEF2F5"/>
          </a:solidFill>
          <a:ln w="11643" cap="flat">
            <a:noFill/>
            <a:prstDash val="solid"/>
            <a:miter/>
          </a:ln>
        </p:spPr>
        <p:txBody>
          <a:bodyPr rtlCol="0" anchor="ctr"/>
          <a:lstStyle/>
          <a:p>
            <a:pPr rtl="0"/>
            <a:endParaRPr lang="en-US"/>
          </a:p>
        </p:txBody>
      </p:sp>
      <p:sp>
        <p:nvSpPr>
          <p:cNvPr id="231" name="Freihandform: Form 230">
            <a:extLst>
              <a:ext uri="{FF2B5EF4-FFF2-40B4-BE49-F238E27FC236}">
                <a16:creationId xmlns:a16="http://schemas.microsoft.com/office/drawing/2014/main" id="{7D437321-278E-41CD-A64F-B829FA8D7F6A}"/>
              </a:ext>
            </a:extLst>
          </p:cNvPr>
          <p:cNvSpPr/>
          <p:nvPr/>
        </p:nvSpPr>
        <p:spPr>
          <a:xfrm>
            <a:off x="9069136" y="6607470"/>
            <a:ext cx="214405" cy="231884"/>
          </a:xfrm>
          <a:custGeom>
            <a:avLst/>
            <a:gdLst>
              <a:gd name="connsiteX0" fmla="*/ 97881 w 214405"/>
              <a:gd name="connsiteY0" fmla="*/ 231884 h 231884"/>
              <a:gd name="connsiteX1" fmla="*/ 0 w 214405"/>
              <a:gd name="connsiteY1" fmla="*/ 231884 h 231884"/>
              <a:gd name="connsiteX2" fmla="*/ 114194 w 214405"/>
              <a:gd name="connsiteY2" fmla="*/ 116525 h 231884"/>
              <a:gd name="connsiteX3" fmla="*/ 0 w 214405"/>
              <a:gd name="connsiteY3" fmla="*/ 0 h 231884"/>
              <a:gd name="connsiteX4" fmla="*/ 100211 w 214405"/>
              <a:gd name="connsiteY4" fmla="*/ 0 h 231884"/>
              <a:gd name="connsiteX5" fmla="*/ 214406 w 214405"/>
              <a:gd name="connsiteY5" fmla="*/ 114194 h 23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1884">
                <a:moveTo>
                  <a:pt x="97881" y="231884"/>
                </a:moveTo>
                <a:lnTo>
                  <a:pt x="0" y="231884"/>
                </a:lnTo>
                <a:lnTo>
                  <a:pt x="114194" y="116525"/>
                </a:lnTo>
                <a:lnTo>
                  <a:pt x="0" y="0"/>
                </a:lnTo>
                <a:lnTo>
                  <a:pt x="100211" y="0"/>
                </a:lnTo>
                <a:lnTo>
                  <a:pt x="214406" y="114194"/>
                </a:lnTo>
                <a:close/>
              </a:path>
            </a:pathLst>
          </a:custGeom>
          <a:solidFill>
            <a:srgbClr val="EEF2F5"/>
          </a:solidFill>
          <a:ln w="11643" cap="flat">
            <a:noFill/>
            <a:prstDash val="solid"/>
            <a:miter/>
          </a:ln>
        </p:spPr>
        <p:txBody>
          <a:bodyPr rtlCol="0" anchor="ctr"/>
          <a:lstStyle/>
          <a:p>
            <a:pPr rtl="0"/>
            <a:endParaRPr lang="en-US"/>
          </a:p>
        </p:txBody>
      </p:sp>
      <p:sp>
        <p:nvSpPr>
          <p:cNvPr id="20" name="Freihandform: Form 19">
            <a:extLst>
              <a:ext uri="{FF2B5EF4-FFF2-40B4-BE49-F238E27FC236}">
                <a16:creationId xmlns:a16="http://schemas.microsoft.com/office/drawing/2014/main" id="{59C6ABB5-FB82-4897-A910-6DBB4D07120E}"/>
              </a:ext>
            </a:extLst>
          </p:cNvPr>
          <p:cNvSpPr/>
          <p:nvPr/>
        </p:nvSpPr>
        <p:spPr>
          <a:xfrm>
            <a:off x="9415215" y="1984931"/>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2351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6">
                <a:moveTo>
                  <a:pt x="106037" y="250528"/>
                </a:moveTo>
                <a:lnTo>
                  <a:pt x="0" y="250528"/>
                </a:lnTo>
                <a:lnTo>
                  <a:pt x="123516" y="125847"/>
                </a:lnTo>
                <a:lnTo>
                  <a:pt x="0" y="0"/>
                </a:lnTo>
                <a:lnTo>
                  <a:pt x="108368" y="0"/>
                </a:lnTo>
                <a:lnTo>
                  <a:pt x="230719" y="122351"/>
                </a:lnTo>
                <a:close/>
              </a:path>
            </a:pathLst>
          </a:custGeom>
          <a:solidFill>
            <a:srgbClr val="EEF2F5"/>
          </a:solidFill>
          <a:ln w="11643" cap="flat">
            <a:noFill/>
            <a:prstDash val="solid"/>
            <a:miter/>
          </a:ln>
        </p:spPr>
        <p:txBody>
          <a:bodyPr rtlCol="0" anchor="ctr"/>
          <a:lstStyle/>
          <a:p>
            <a:pPr rtl="0"/>
            <a:endParaRPr lang="en-US"/>
          </a:p>
        </p:txBody>
      </p:sp>
      <p:sp>
        <p:nvSpPr>
          <p:cNvPr id="35" name="Freihandform: Form 34">
            <a:extLst>
              <a:ext uri="{FF2B5EF4-FFF2-40B4-BE49-F238E27FC236}">
                <a16:creationId xmlns:a16="http://schemas.microsoft.com/office/drawing/2014/main" id="{4B50BF8D-98A0-4C91-8957-BC9FDA550D32}"/>
              </a:ext>
            </a:extLst>
          </p:cNvPr>
          <p:cNvSpPr/>
          <p:nvPr/>
        </p:nvSpPr>
        <p:spPr>
          <a:xfrm>
            <a:off x="9415215" y="2339167"/>
            <a:ext cx="230718" cy="250528"/>
          </a:xfrm>
          <a:custGeom>
            <a:avLst/>
            <a:gdLst>
              <a:gd name="connsiteX0" fmla="*/ 106037 w 230718"/>
              <a:gd name="connsiteY0" fmla="*/ 250528 h 250528"/>
              <a:gd name="connsiteX1" fmla="*/ 0 w 230718"/>
              <a:gd name="connsiteY1" fmla="*/ 250528 h 250528"/>
              <a:gd name="connsiteX2" fmla="*/ 123516 w 230718"/>
              <a:gd name="connsiteY2" fmla="*/ 127012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6">
                <a:moveTo>
                  <a:pt x="106037" y="250528"/>
                </a:moveTo>
                <a:lnTo>
                  <a:pt x="0" y="250528"/>
                </a:lnTo>
                <a:lnTo>
                  <a:pt x="123516" y="127012"/>
                </a:lnTo>
                <a:lnTo>
                  <a:pt x="0" y="0"/>
                </a:lnTo>
                <a:lnTo>
                  <a:pt x="108368" y="0"/>
                </a:lnTo>
                <a:lnTo>
                  <a:pt x="230719" y="123516"/>
                </a:lnTo>
                <a:close/>
              </a:path>
            </a:pathLst>
          </a:custGeom>
          <a:solidFill>
            <a:srgbClr val="EEF2F5"/>
          </a:solidFill>
          <a:ln w="11643" cap="flat">
            <a:noFill/>
            <a:prstDash val="solid"/>
            <a:miter/>
          </a:ln>
        </p:spPr>
        <p:txBody>
          <a:bodyPr rtlCol="0" anchor="ctr"/>
          <a:lstStyle/>
          <a:p>
            <a:pPr rtl="0"/>
            <a:endParaRPr lang="en-US"/>
          </a:p>
        </p:txBody>
      </p:sp>
      <p:sp>
        <p:nvSpPr>
          <p:cNvPr id="51" name="Freihandform: Form 50">
            <a:extLst>
              <a:ext uri="{FF2B5EF4-FFF2-40B4-BE49-F238E27FC236}">
                <a16:creationId xmlns:a16="http://schemas.microsoft.com/office/drawing/2014/main" id="{D1B3B4E3-CEF5-496B-A094-E4A3B0CD5519}"/>
              </a:ext>
            </a:extLst>
          </p:cNvPr>
          <p:cNvSpPr/>
          <p:nvPr/>
        </p:nvSpPr>
        <p:spPr>
          <a:xfrm>
            <a:off x="9415215" y="2694568"/>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6">
                <a:moveTo>
                  <a:pt x="106037" y="250528"/>
                </a:moveTo>
                <a:lnTo>
                  <a:pt x="0" y="250528"/>
                </a:lnTo>
                <a:lnTo>
                  <a:pt x="123516" y="125847"/>
                </a:lnTo>
                <a:lnTo>
                  <a:pt x="0" y="0"/>
                </a:lnTo>
                <a:lnTo>
                  <a:pt x="108368" y="0"/>
                </a:lnTo>
                <a:lnTo>
                  <a:pt x="230719" y="123516"/>
                </a:lnTo>
                <a:close/>
              </a:path>
            </a:pathLst>
          </a:custGeom>
          <a:solidFill>
            <a:srgbClr val="EEF2F5"/>
          </a:solidFill>
          <a:ln w="11643" cap="flat">
            <a:noFill/>
            <a:prstDash val="solid"/>
            <a:miter/>
          </a:ln>
        </p:spPr>
        <p:txBody>
          <a:bodyPr rtlCol="0" anchor="ctr"/>
          <a:lstStyle/>
          <a:p>
            <a:pPr rtl="0"/>
            <a:endParaRPr lang="en-US"/>
          </a:p>
        </p:txBody>
      </p:sp>
      <p:sp>
        <p:nvSpPr>
          <p:cNvPr id="67" name="Freihandform: Form 66">
            <a:extLst>
              <a:ext uri="{FF2B5EF4-FFF2-40B4-BE49-F238E27FC236}">
                <a16:creationId xmlns:a16="http://schemas.microsoft.com/office/drawing/2014/main" id="{03766B2F-D62E-4376-B19A-E9A0137C9FF8}"/>
              </a:ext>
            </a:extLst>
          </p:cNvPr>
          <p:cNvSpPr/>
          <p:nvPr/>
        </p:nvSpPr>
        <p:spPr>
          <a:xfrm>
            <a:off x="9415215" y="3048803"/>
            <a:ext cx="230718" cy="250528"/>
          </a:xfrm>
          <a:custGeom>
            <a:avLst/>
            <a:gdLst>
              <a:gd name="connsiteX0" fmla="*/ 106037 w 230718"/>
              <a:gd name="connsiteY0" fmla="*/ 250528 h 250528"/>
              <a:gd name="connsiteX1" fmla="*/ 0 w 230718"/>
              <a:gd name="connsiteY1" fmla="*/ 250528 h 250528"/>
              <a:gd name="connsiteX2" fmla="*/ 123516 w 230718"/>
              <a:gd name="connsiteY2" fmla="*/ 127012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6">
                <a:moveTo>
                  <a:pt x="106037" y="250528"/>
                </a:moveTo>
                <a:lnTo>
                  <a:pt x="0" y="250528"/>
                </a:lnTo>
                <a:lnTo>
                  <a:pt x="123516" y="127012"/>
                </a:lnTo>
                <a:lnTo>
                  <a:pt x="0" y="0"/>
                </a:lnTo>
                <a:lnTo>
                  <a:pt x="108368" y="0"/>
                </a:lnTo>
                <a:lnTo>
                  <a:pt x="230719" y="123516"/>
                </a:lnTo>
                <a:close/>
              </a:path>
            </a:pathLst>
          </a:custGeom>
          <a:solidFill>
            <a:srgbClr val="EEF2F5"/>
          </a:solidFill>
          <a:ln w="11643" cap="flat">
            <a:noFill/>
            <a:prstDash val="solid"/>
            <a:miter/>
          </a:ln>
        </p:spPr>
        <p:txBody>
          <a:bodyPr rtlCol="0" anchor="ctr"/>
          <a:lstStyle/>
          <a:p>
            <a:pPr rtl="0"/>
            <a:endParaRPr lang="en-US"/>
          </a:p>
        </p:txBody>
      </p:sp>
      <p:sp>
        <p:nvSpPr>
          <p:cNvPr id="83" name="Freihandform: Form 82">
            <a:extLst>
              <a:ext uri="{FF2B5EF4-FFF2-40B4-BE49-F238E27FC236}">
                <a16:creationId xmlns:a16="http://schemas.microsoft.com/office/drawing/2014/main" id="{AF30F1BC-BAAD-4C43-8F77-BAF589EBE37F}"/>
              </a:ext>
            </a:extLst>
          </p:cNvPr>
          <p:cNvSpPr/>
          <p:nvPr/>
        </p:nvSpPr>
        <p:spPr>
          <a:xfrm>
            <a:off x="9415215" y="3404203"/>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6">
                <a:moveTo>
                  <a:pt x="106037" y="250528"/>
                </a:moveTo>
                <a:lnTo>
                  <a:pt x="0" y="250528"/>
                </a:lnTo>
                <a:lnTo>
                  <a:pt x="123516" y="125847"/>
                </a:lnTo>
                <a:lnTo>
                  <a:pt x="0" y="0"/>
                </a:lnTo>
                <a:lnTo>
                  <a:pt x="108368" y="0"/>
                </a:lnTo>
                <a:lnTo>
                  <a:pt x="230719" y="123516"/>
                </a:lnTo>
                <a:close/>
              </a:path>
            </a:pathLst>
          </a:custGeom>
          <a:solidFill>
            <a:srgbClr val="EEF2F5"/>
          </a:solidFill>
          <a:ln w="11643" cap="flat">
            <a:noFill/>
            <a:prstDash val="solid"/>
            <a:miter/>
          </a:ln>
        </p:spPr>
        <p:txBody>
          <a:bodyPr rtlCol="0" anchor="ctr"/>
          <a:lstStyle/>
          <a:p>
            <a:pPr rtl="0"/>
            <a:endParaRPr lang="en-US"/>
          </a:p>
        </p:txBody>
      </p:sp>
      <p:sp>
        <p:nvSpPr>
          <p:cNvPr id="99" name="Freihandform: Form 98">
            <a:extLst>
              <a:ext uri="{FF2B5EF4-FFF2-40B4-BE49-F238E27FC236}">
                <a16:creationId xmlns:a16="http://schemas.microsoft.com/office/drawing/2014/main" id="{EB01FE63-3ABC-4A0B-B6A7-BC06FBCD3820}"/>
              </a:ext>
            </a:extLst>
          </p:cNvPr>
          <p:cNvSpPr/>
          <p:nvPr/>
        </p:nvSpPr>
        <p:spPr>
          <a:xfrm>
            <a:off x="9415215" y="3758439"/>
            <a:ext cx="230718" cy="251693"/>
          </a:xfrm>
          <a:custGeom>
            <a:avLst/>
            <a:gdLst>
              <a:gd name="connsiteX0" fmla="*/ 106037 w 230718"/>
              <a:gd name="connsiteY0" fmla="*/ 251694 h 251693"/>
              <a:gd name="connsiteX1" fmla="*/ 0 w 230718"/>
              <a:gd name="connsiteY1" fmla="*/ 251694 h 251693"/>
              <a:gd name="connsiteX2" fmla="*/ 123516 w 230718"/>
              <a:gd name="connsiteY2" fmla="*/ 127012 h 251693"/>
              <a:gd name="connsiteX3" fmla="*/ 0 w 230718"/>
              <a:gd name="connsiteY3" fmla="*/ 0 h 251693"/>
              <a:gd name="connsiteX4" fmla="*/ 108368 w 230718"/>
              <a:gd name="connsiteY4" fmla="*/ 0 h 251693"/>
              <a:gd name="connsiteX5" fmla="*/ 230719 w 230718"/>
              <a:gd name="connsiteY5" fmla="*/ 123516 h 251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1693">
                <a:moveTo>
                  <a:pt x="106037" y="251694"/>
                </a:moveTo>
                <a:lnTo>
                  <a:pt x="0" y="251694"/>
                </a:lnTo>
                <a:lnTo>
                  <a:pt x="123516" y="127012"/>
                </a:lnTo>
                <a:lnTo>
                  <a:pt x="0" y="0"/>
                </a:lnTo>
                <a:lnTo>
                  <a:pt x="108368" y="0"/>
                </a:lnTo>
                <a:lnTo>
                  <a:pt x="230719" y="123516"/>
                </a:lnTo>
                <a:close/>
              </a:path>
            </a:pathLst>
          </a:custGeom>
          <a:solidFill>
            <a:srgbClr val="EEF2F5"/>
          </a:solidFill>
          <a:ln w="11643" cap="flat">
            <a:noFill/>
            <a:prstDash val="solid"/>
            <a:miter/>
          </a:ln>
        </p:spPr>
        <p:txBody>
          <a:bodyPr rtlCol="0" anchor="ctr"/>
          <a:lstStyle/>
          <a:p>
            <a:pPr rtl="0"/>
            <a:endParaRPr lang="en-US"/>
          </a:p>
        </p:txBody>
      </p:sp>
      <p:sp>
        <p:nvSpPr>
          <p:cNvPr id="115" name="Freihandform: Form 114">
            <a:extLst>
              <a:ext uri="{FF2B5EF4-FFF2-40B4-BE49-F238E27FC236}">
                <a16:creationId xmlns:a16="http://schemas.microsoft.com/office/drawing/2014/main" id="{A88CE84F-0A79-46B8-839D-DEE0DC50B30B}"/>
              </a:ext>
            </a:extLst>
          </p:cNvPr>
          <p:cNvSpPr/>
          <p:nvPr/>
        </p:nvSpPr>
        <p:spPr>
          <a:xfrm>
            <a:off x="9415215" y="4113840"/>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6">
                <a:moveTo>
                  <a:pt x="106037" y="250528"/>
                </a:moveTo>
                <a:lnTo>
                  <a:pt x="0" y="250528"/>
                </a:lnTo>
                <a:lnTo>
                  <a:pt x="123516" y="125847"/>
                </a:lnTo>
                <a:lnTo>
                  <a:pt x="0" y="0"/>
                </a:lnTo>
                <a:lnTo>
                  <a:pt x="108368" y="0"/>
                </a:lnTo>
                <a:lnTo>
                  <a:pt x="230719" y="123516"/>
                </a:lnTo>
                <a:close/>
              </a:path>
            </a:pathLst>
          </a:custGeom>
          <a:solidFill>
            <a:srgbClr val="EEF2F5"/>
          </a:solidFill>
          <a:ln w="11643" cap="flat">
            <a:noFill/>
            <a:prstDash val="solid"/>
            <a:miter/>
          </a:ln>
        </p:spPr>
        <p:txBody>
          <a:bodyPr rtlCol="0" anchor="ctr"/>
          <a:lstStyle/>
          <a:p>
            <a:pPr rtl="0"/>
            <a:endParaRPr lang="en-US"/>
          </a:p>
        </p:txBody>
      </p:sp>
      <p:sp>
        <p:nvSpPr>
          <p:cNvPr id="131" name="Freihandform: Form 130">
            <a:extLst>
              <a:ext uri="{FF2B5EF4-FFF2-40B4-BE49-F238E27FC236}">
                <a16:creationId xmlns:a16="http://schemas.microsoft.com/office/drawing/2014/main" id="{F56B8540-4A40-448B-96CE-F13FEB89FE24}"/>
              </a:ext>
            </a:extLst>
          </p:cNvPr>
          <p:cNvSpPr/>
          <p:nvPr/>
        </p:nvSpPr>
        <p:spPr>
          <a:xfrm>
            <a:off x="9415215" y="4469240"/>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2351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6">
                <a:moveTo>
                  <a:pt x="106037" y="250528"/>
                </a:moveTo>
                <a:lnTo>
                  <a:pt x="0" y="250528"/>
                </a:lnTo>
                <a:lnTo>
                  <a:pt x="123516" y="125847"/>
                </a:lnTo>
                <a:lnTo>
                  <a:pt x="0" y="0"/>
                </a:lnTo>
                <a:lnTo>
                  <a:pt x="108368" y="0"/>
                </a:lnTo>
                <a:lnTo>
                  <a:pt x="230719" y="122351"/>
                </a:lnTo>
                <a:close/>
              </a:path>
            </a:pathLst>
          </a:custGeom>
          <a:solidFill>
            <a:srgbClr val="EEF2F5"/>
          </a:solidFill>
          <a:ln w="11643" cap="flat">
            <a:noFill/>
            <a:prstDash val="solid"/>
            <a:miter/>
          </a:ln>
        </p:spPr>
        <p:txBody>
          <a:bodyPr rtlCol="0" anchor="ctr"/>
          <a:lstStyle/>
          <a:p>
            <a:pPr rtl="0"/>
            <a:endParaRPr lang="en-US"/>
          </a:p>
        </p:txBody>
      </p:sp>
      <p:sp>
        <p:nvSpPr>
          <p:cNvPr id="148" name="Freihandform: Form 147">
            <a:extLst>
              <a:ext uri="{FF2B5EF4-FFF2-40B4-BE49-F238E27FC236}">
                <a16:creationId xmlns:a16="http://schemas.microsoft.com/office/drawing/2014/main" id="{FA4D92A2-824B-4123-BA21-136199CED582}"/>
              </a:ext>
            </a:extLst>
          </p:cNvPr>
          <p:cNvSpPr/>
          <p:nvPr/>
        </p:nvSpPr>
        <p:spPr>
          <a:xfrm>
            <a:off x="9415215" y="4823475"/>
            <a:ext cx="230718" cy="250528"/>
          </a:xfrm>
          <a:custGeom>
            <a:avLst/>
            <a:gdLst>
              <a:gd name="connsiteX0" fmla="*/ 106037 w 230718"/>
              <a:gd name="connsiteY0" fmla="*/ 250528 h 250528"/>
              <a:gd name="connsiteX1" fmla="*/ 0 w 230718"/>
              <a:gd name="connsiteY1" fmla="*/ 250528 h 250528"/>
              <a:gd name="connsiteX2" fmla="*/ 123516 w 230718"/>
              <a:gd name="connsiteY2" fmla="*/ 127012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6">
                <a:moveTo>
                  <a:pt x="106037" y="250528"/>
                </a:moveTo>
                <a:lnTo>
                  <a:pt x="0" y="250528"/>
                </a:lnTo>
                <a:lnTo>
                  <a:pt x="123516" y="127012"/>
                </a:lnTo>
                <a:lnTo>
                  <a:pt x="0" y="0"/>
                </a:lnTo>
                <a:lnTo>
                  <a:pt x="108368" y="0"/>
                </a:lnTo>
                <a:lnTo>
                  <a:pt x="230719" y="123516"/>
                </a:lnTo>
                <a:close/>
              </a:path>
            </a:pathLst>
          </a:custGeom>
          <a:solidFill>
            <a:srgbClr val="EEF2F5"/>
          </a:solidFill>
          <a:ln w="11643" cap="flat">
            <a:noFill/>
            <a:prstDash val="solid"/>
            <a:miter/>
          </a:ln>
        </p:spPr>
        <p:txBody>
          <a:bodyPr rtlCol="0" anchor="ctr"/>
          <a:lstStyle/>
          <a:p>
            <a:pPr rtl="0"/>
            <a:endParaRPr lang="en-US"/>
          </a:p>
        </p:txBody>
      </p:sp>
      <p:sp>
        <p:nvSpPr>
          <p:cNvPr id="165" name="Freihandform: Form 164">
            <a:extLst>
              <a:ext uri="{FF2B5EF4-FFF2-40B4-BE49-F238E27FC236}">
                <a16:creationId xmlns:a16="http://schemas.microsoft.com/office/drawing/2014/main" id="{B480051A-E4BB-4D8D-9463-F9DC0CB12BA8}"/>
              </a:ext>
            </a:extLst>
          </p:cNvPr>
          <p:cNvSpPr/>
          <p:nvPr/>
        </p:nvSpPr>
        <p:spPr>
          <a:xfrm>
            <a:off x="9415215" y="5178876"/>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2351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6">
                <a:moveTo>
                  <a:pt x="106037" y="250528"/>
                </a:moveTo>
                <a:lnTo>
                  <a:pt x="0" y="250528"/>
                </a:lnTo>
                <a:lnTo>
                  <a:pt x="123516" y="125847"/>
                </a:lnTo>
                <a:lnTo>
                  <a:pt x="0" y="0"/>
                </a:lnTo>
                <a:lnTo>
                  <a:pt x="108368" y="0"/>
                </a:lnTo>
                <a:lnTo>
                  <a:pt x="230719" y="122351"/>
                </a:lnTo>
                <a:close/>
              </a:path>
            </a:pathLst>
          </a:custGeom>
          <a:solidFill>
            <a:srgbClr val="EEF2F5"/>
          </a:solidFill>
          <a:ln w="11643" cap="flat">
            <a:noFill/>
            <a:prstDash val="solid"/>
            <a:miter/>
          </a:ln>
        </p:spPr>
        <p:txBody>
          <a:bodyPr rtlCol="0" anchor="ctr"/>
          <a:lstStyle/>
          <a:p>
            <a:pPr rtl="0"/>
            <a:endParaRPr lang="en-US"/>
          </a:p>
        </p:txBody>
      </p:sp>
      <p:sp>
        <p:nvSpPr>
          <p:cNvPr id="182" name="Freihandform: Form 181">
            <a:extLst>
              <a:ext uri="{FF2B5EF4-FFF2-40B4-BE49-F238E27FC236}">
                <a16:creationId xmlns:a16="http://schemas.microsoft.com/office/drawing/2014/main" id="{8B9C7922-A46C-4300-8536-75C60F1BDA2A}"/>
              </a:ext>
            </a:extLst>
          </p:cNvPr>
          <p:cNvSpPr/>
          <p:nvPr/>
        </p:nvSpPr>
        <p:spPr>
          <a:xfrm>
            <a:off x="9415215" y="5533111"/>
            <a:ext cx="230718" cy="250528"/>
          </a:xfrm>
          <a:custGeom>
            <a:avLst/>
            <a:gdLst>
              <a:gd name="connsiteX0" fmla="*/ 106037 w 230718"/>
              <a:gd name="connsiteY0" fmla="*/ 250528 h 250528"/>
              <a:gd name="connsiteX1" fmla="*/ 0 w 230718"/>
              <a:gd name="connsiteY1" fmla="*/ 250528 h 250528"/>
              <a:gd name="connsiteX2" fmla="*/ 123516 w 230718"/>
              <a:gd name="connsiteY2" fmla="*/ 127012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6">
                <a:moveTo>
                  <a:pt x="106037" y="250528"/>
                </a:moveTo>
                <a:lnTo>
                  <a:pt x="0" y="250528"/>
                </a:lnTo>
                <a:lnTo>
                  <a:pt x="123516" y="127012"/>
                </a:lnTo>
                <a:lnTo>
                  <a:pt x="0" y="0"/>
                </a:lnTo>
                <a:lnTo>
                  <a:pt x="108368" y="0"/>
                </a:lnTo>
                <a:lnTo>
                  <a:pt x="230719" y="123516"/>
                </a:lnTo>
                <a:close/>
              </a:path>
            </a:pathLst>
          </a:custGeom>
          <a:solidFill>
            <a:srgbClr val="EEF2F5"/>
          </a:solidFill>
          <a:ln w="11643" cap="flat">
            <a:noFill/>
            <a:prstDash val="solid"/>
            <a:miter/>
          </a:ln>
        </p:spPr>
        <p:txBody>
          <a:bodyPr rtlCol="0" anchor="ctr"/>
          <a:lstStyle/>
          <a:p>
            <a:pPr rtl="0"/>
            <a:endParaRPr lang="en-US"/>
          </a:p>
        </p:txBody>
      </p:sp>
      <p:sp>
        <p:nvSpPr>
          <p:cNvPr id="199" name="Freihandform: Form 198">
            <a:extLst>
              <a:ext uri="{FF2B5EF4-FFF2-40B4-BE49-F238E27FC236}">
                <a16:creationId xmlns:a16="http://schemas.microsoft.com/office/drawing/2014/main" id="{808E1183-99E4-4B7F-B544-06366CD89D96}"/>
              </a:ext>
            </a:extLst>
          </p:cNvPr>
          <p:cNvSpPr/>
          <p:nvPr/>
        </p:nvSpPr>
        <p:spPr>
          <a:xfrm>
            <a:off x="9415215" y="5888512"/>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2351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6">
                <a:moveTo>
                  <a:pt x="106037" y="250528"/>
                </a:moveTo>
                <a:lnTo>
                  <a:pt x="0" y="250528"/>
                </a:lnTo>
                <a:lnTo>
                  <a:pt x="123516" y="125847"/>
                </a:lnTo>
                <a:lnTo>
                  <a:pt x="0" y="0"/>
                </a:lnTo>
                <a:lnTo>
                  <a:pt x="108368" y="0"/>
                </a:lnTo>
                <a:lnTo>
                  <a:pt x="230719" y="122351"/>
                </a:lnTo>
                <a:close/>
              </a:path>
            </a:pathLst>
          </a:custGeom>
          <a:solidFill>
            <a:srgbClr val="EEF2F5"/>
          </a:solidFill>
          <a:ln w="11643" cap="flat">
            <a:noFill/>
            <a:prstDash val="solid"/>
            <a:miter/>
          </a:ln>
        </p:spPr>
        <p:txBody>
          <a:bodyPr rtlCol="0" anchor="ctr"/>
          <a:lstStyle/>
          <a:p>
            <a:pPr rtl="0"/>
            <a:endParaRPr lang="en-US"/>
          </a:p>
        </p:txBody>
      </p:sp>
      <p:sp>
        <p:nvSpPr>
          <p:cNvPr id="216" name="Freihandform: Form 215">
            <a:extLst>
              <a:ext uri="{FF2B5EF4-FFF2-40B4-BE49-F238E27FC236}">
                <a16:creationId xmlns:a16="http://schemas.microsoft.com/office/drawing/2014/main" id="{CD034923-4C0A-4423-8672-AB74CD3F1B7B}"/>
              </a:ext>
            </a:extLst>
          </p:cNvPr>
          <p:cNvSpPr/>
          <p:nvPr/>
        </p:nvSpPr>
        <p:spPr>
          <a:xfrm>
            <a:off x="9415215" y="6242748"/>
            <a:ext cx="230718" cy="250528"/>
          </a:xfrm>
          <a:custGeom>
            <a:avLst/>
            <a:gdLst>
              <a:gd name="connsiteX0" fmla="*/ 106037 w 230718"/>
              <a:gd name="connsiteY0" fmla="*/ 250528 h 250528"/>
              <a:gd name="connsiteX1" fmla="*/ 0 w 230718"/>
              <a:gd name="connsiteY1" fmla="*/ 250528 h 250528"/>
              <a:gd name="connsiteX2" fmla="*/ 123516 w 230718"/>
              <a:gd name="connsiteY2" fmla="*/ 127012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6">
                <a:moveTo>
                  <a:pt x="106037" y="250528"/>
                </a:moveTo>
                <a:lnTo>
                  <a:pt x="0" y="250528"/>
                </a:lnTo>
                <a:lnTo>
                  <a:pt x="123516" y="127012"/>
                </a:lnTo>
                <a:lnTo>
                  <a:pt x="0" y="0"/>
                </a:lnTo>
                <a:lnTo>
                  <a:pt x="108368" y="0"/>
                </a:lnTo>
                <a:lnTo>
                  <a:pt x="230719" y="123516"/>
                </a:lnTo>
                <a:close/>
              </a:path>
            </a:pathLst>
          </a:custGeom>
          <a:solidFill>
            <a:srgbClr val="EEF2F5"/>
          </a:solidFill>
          <a:ln w="11643" cap="flat">
            <a:noFill/>
            <a:prstDash val="solid"/>
            <a:miter/>
          </a:ln>
        </p:spPr>
        <p:txBody>
          <a:bodyPr rtlCol="0" anchor="ctr"/>
          <a:lstStyle/>
          <a:p>
            <a:pPr rtl="0"/>
            <a:endParaRPr lang="en-US"/>
          </a:p>
        </p:txBody>
      </p:sp>
      <p:sp>
        <p:nvSpPr>
          <p:cNvPr id="232" name="Freihandform: Form 231">
            <a:extLst>
              <a:ext uri="{FF2B5EF4-FFF2-40B4-BE49-F238E27FC236}">
                <a16:creationId xmlns:a16="http://schemas.microsoft.com/office/drawing/2014/main" id="{B9006F61-C8F9-435F-8E25-867EF66AB2C0}"/>
              </a:ext>
            </a:extLst>
          </p:cNvPr>
          <p:cNvSpPr/>
          <p:nvPr/>
        </p:nvSpPr>
        <p:spPr>
          <a:xfrm>
            <a:off x="9415215" y="6598148"/>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2351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6">
                <a:moveTo>
                  <a:pt x="106037" y="250528"/>
                </a:moveTo>
                <a:lnTo>
                  <a:pt x="0" y="250528"/>
                </a:lnTo>
                <a:lnTo>
                  <a:pt x="123516" y="125847"/>
                </a:lnTo>
                <a:lnTo>
                  <a:pt x="0" y="0"/>
                </a:lnTo>
                <a:lnTo>
                  <a:pt x="108368" y="0"/>
                </a:lnTo>
                <a:lnTo>
                  <a:pt x="230719" y="122351"/>
                </a:lnTo>
                <a:close/>
              </a:path>
            </a:pathLst>
          </a:custGeom>
          <a:solidFill>
            <a:srgbClr val="EEF2F5"/>
          </a:solidFill>
          <a:ln w="11643" cap="flat">
            <a:noFill/>
            <a:prstDash val="solid"/>
            <a:miter/>
          </a:ln>
        </p:spPr>
        <p:txBody>
          <a:bodyPr rtlCol="0" anchor="ctr"/>
          <a:lstStyle/>
          <a:p>
            <a:pPr rtl="0"/>
            <a:endParaRPr lang="en-US"/>
          </a:p>
        </p:txBody>
      </p:sp>
      <p:sp>
        <p:nvSpPr>
          <p:cNvPr id="21" name="Freihandform: Form 20">
            <a:extLst>
              <a:ext uri="{FF2B5EF4-FFF2-40B4-BE49-F238E27FC236}">
                <a16:creationId xmlns:a16="http://schemas.microsoft.com/office/drawing/2014/main" id="{FA010AB3-93D2-478F-82A2-79D3EAB3E973}"/>
              </a:ext>
            </a:extLst>
          </p:cNvPr>
          <p:cNvSpPr/>
          <p:nvPr/>
        </p:nvSpPr>
        <p:spPr>
          <a:xfrm>
            <a:off x="9761293" y="1975610"/>
            <a:ext cx="248198" cy="269172"/>
          </a:xfrm>
          <a:custGeom>
            <a:avLst/>
            <a:gdLst>
              <a:gd name="connsiteX0" fmla="*/ 114195 w 248198"/>
              <a:gd name="connsiteY0" fmla="*/ 269172 h 269172"/>
              <a:gd name="connsiteX1" fmla="*/ 0 w 248198"/>
              <a:gd name="connsiteY1" fmla="*/ 269172 h 269172"/>
              <a:gd name="connsiteX2" fmla="*/ 132838 w 248198"/>
              <a:gd name="connsiteY2" fmla="*/ 135169 h 269172"/>
              <a:gd name="connsiteX3" fmla="*/ 0 w 248198"/>
              <a:gd name="connsiteY3" fmla="*/ 0 h 269172"/>
              <a:gd name="connsiteX4" fmla="*/ 116525 w 248198"/>
              <a:gd name="connsiteY4" fmla="*/ 0 h 269172"/>
              <a:gd name="connsiteX5" fmla="*/ 248198 w 248198"/>
              <a:gd name="connsiteY5" fmla="*/ 131673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pPr rtl="0"/>
            <a:endParaRPr lang="en-US"/>
          </a:p>
        </p:txBody>
      </p:sp>
      <p:sp>
        <p:nvSpPr>
          <p:cNvPr id="36" name="Freihandform: Form 35">
            <a:extLst>
              <a:ext uri="{FF2B5EF4-FFF2-40B4-BE49-F238E27FC236}">
                <a16:creationId xmlns:a16="http://schemas.microsoft.com/office/drawing/2014/main" id="{E7957182-0D78-447E-AD11-155CFFA4EFCF}"/>
              </a:ext>
            </a:extLst>
          </p:cNvPr>
          <p:cNvSpPr/>
          <p:nvPr/>
        </p:nvSpPr>
        <p:spPr>
          <a:xfrm>
            <a:off x="9761293" y="2331010"/>
            <a:ext cx="248198" cy="268007"/>
          </a:xfrm>
          <a:custGeom>
            <a:avLst/>
            <a:gdLst>
              <a:gd name="connsiteX0" fmla="*/ 114195 w 248198"/>
              <a:gd name="connsiteY0" fmla="*/ 268007 h 268007"/>
              <a:gd name="connsiteX1" fmla="*/ 0 w 248198"/>
              <a:gd name="connsiteY1" fmla="*/ 268007 h 268007"/>
              <a:gd name="connsiteX2" fmla="*/ 132838 w 248198"/>
              <a:gd name="connsiteY2" fmla="*/ 135169 h 268007"/>
              <a:gd name="connsiteX3" fmla="*/ 0 w 248198"/>
              <a:gd name="connsiteY3" fmla="*/ 0 h 268007"/>
              <a:gd name="connsiteX4" fmla="*/ 116525 w 248198"/>
              <a:gd name="connsiteY4" fmla="*/ 0 h 268007"/>
              <a:gd name="connsiteX5" fmla="*/ 248198 w 248198"/>
              <a:gd name="connsiteY5" fmla="*/ 131673 h 268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8007">
                <a:moveTo>
                  <a:pt x="114195" y="268007"/>
                </a:moveTo>
                <a:lnTo>
                  <a:pt x="0" y="268007"/>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pPr rtl="0"/>
            <a:endParaRPr lang="en-US"/>
          </a:p>
        </p:txBody>
      </p:sp>
      <p:sp>
        <p:nvSpPr>
          <p:cNvPr id="52" name="Freihandform: Form 51">
            <a:extLst>
              <a:ext uri="{FF2B5EF4-FFF2-40B4-BE49-F238E27FC236}">
                <a16:creationId xmlns:a16="http://schemas.microsoft.com/office/drawing/2014/main" id="{D00B278C-4E10-45E8-A202-B55CBB4B885E}"/>
              </a:ext>
            </a:extLst>
          </p:cNvPr>
          <p:cNvSpPr/>
          <p:nvPr/>
        </p:nvSpPr>
        <p:spPr>
          <a:xfrm>
            <a:off x="9761293" y="2685246"/>
            <a:ext cx="248198" cy="269172"/>
          </a:xfrm>
          <a:custGeom>
            <a:avLst/>
            <a:gdLst>
              <a:gd name="connsiteX0" fmla="*/ 114195 w 248198"/>
              <a:gd name="connsiteY0" fmla="*/ 269172 h 269172"/>
              <a:gd name="connsiteX1" fmla="*/ 0 w 248198"/>
              <a:gd name="connsiteY1" fmla="*/ 269172 h 269172"/>
              <a:gd name="connsiteX2" fmla="*/ 132838 w 248198"/>
              <a:gd name="connsiteY2" fmla="*/ 135169 h 269172"/>
              <a:gd name="connsiteX3" fmla="*/ 0 w 248198"/>
              <a:gd name="connsiteY3" fmla="*/ 0 h 269172"/>
              <a:gd name="connsiteX4" fmla="*/ 116525 w 248198"/>
              <a:gd name="connsiteY4" fmla="*/ 0 h 269172"/>
              <a:gd name="connsiteX5" fmla="*/ 248198 w 248198"/>
              <a:gd name="connsiteY5" fmla="*/ 131673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pPr rtl="0"/>
            <a:endParaRPr lang="en-US"/>
          </a:p>
        </p:txBody>
      </p:sp>
      <p:sp>
        <p:nvSpPr>
          <p:cNvPr id="68" name="Freihandform: Form 67">
            <a:extLst>
              <a:ext uri="{FF2B5EF4-FFF2-40B4-BE49-F238E27FC236}">
                <a16:creationId xmlns:a16="http://schemas.microsoft.com/office/drawing/2014/main" id="{0496EBBE-CFB1-46AA-A6F5-690502856668}"/>
              </a:ext>
            </a:extLst>
          </p:cNvPr>
          <p:cNvSpPr/>
          <p:nvPr/>
        </p:nvSpPr>
        <p:spPr>
          <a:xfrm>
            <a:off x="9761293" y="3040646"/>
            <a:ext cx="248198" cy="268007"/>
          </a:xfrm>
          <a:custGeom>
            <a:avLst/>
            <a:gdLst>
              <a:gd name="connsiteX0" fmla="*/ 114195 w 248198"/>
              <a:gd name="connsiteY0" fmla="*/ 268007 h 268007"/>
              <a:gd name="connsiteX1" fmla="*/ 0 w 248198"/>
              <a:gd name="connsiteY1" fmla="*/ 268007 h 268007"/>
              <a:gd name="connsiteX2" fmla="*/ 132838 w 248198"/>
              <a:gd name="connsiteY2" fmla="*/ 135169 h 268007"/>
              <a:gd name="connsiteX3" fmla="*/ 0 w 248198"/>
              <a:gd name="connsiteY3" fmla="*/ 0 h 268007"/>
              <a:gd name="connsiteX4" fmla="*/ 116525 w 248198"/>
              <a:gd name="connsiteY4" fmla="*/ 0 h 268007"/>
              <a:gd name="connsiteX5" fmla="*/ 248198 w 248198"/>
              <a:gd name="connsiteY5" fmla="*/ 131673 h 268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8007">
                <a:moveTo>
                  <a:pt x="114195" y="268007"/>
                </a:moveTo>
                <a:lnTo>
                  <a:pt x="0" y="268007"/>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pPr rtl="0"/>
            <a:endParaRPr lang="en-US"/>
          </a:p>
        </p:txBody>
      </p:sp>
      <p:sp>
        <p:nvSpPr>
          <p:cNvPr id="84" name="Freihandform: Form 83">
            <a:extLst>
              <a:ext uri="{FF2B5EF4-FFF2-40B4-BE49-F238E27FC236}">
                <a16:creationId xmlns:a16="http://schemas.microsoft.com/office/drawing/2014/main" id="{A40B40D6-E2B0-405B-8866-4C365074F335}"/>
              </a:ext>
            </a:extLst>
          </p:cNvPr>
          <p:cNvSpPr/>
          <p:nvPr/>
        </p:nvSpPr>
        <p:spPr>
          <a:xfrm>
            <a:off x="9761293" y="3394882"/>
            <a:ext cx="248198" cy="269172"/>
          </a:xfrm>
          <a:custGeom>
            <a:avLst/>
            <a:gdLst>
              <a:gd name="connsiteX0" fmla="*/ 114195 w 248198"/>
              <a:gd name="connsiteY0" fmla="*/ 269172 h 269172"/>
              <a:gd name="connsiteX1" fmla="*/ 0 w 248198"/>
              <a:gd name="connsiteY1" fmla="*/ 269172 h 269172"/>
              <a:gd name="connsiteX2" fmla="*/ 132838 w 248198"/>
              <a:gd name="connsiteY2" fmla="*/ 135169 h 269172"/>
              <a:gd name="connsiteX3" fmla="*/ 0 w 248198"/>
              <a:gd name="connsiteY3" fmla="*/ 0 h 269172"/>
              <a:gd name="connsiteX4" fmla="*/ 116525 w 248198"/>
              <a:gd name="connsiteY4" fmla="*/ 0 h 269172"/>
              <a:gd name="connsiteX5" fmla="*/ 248198 w 248198"/>
              <a:gd name="connsiteY5" fmla="*/ 131673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pPr rtl="0"/>
            <a:endParaRPr lang="en-US"/>
          </a:p>
        </p:txBody>
      </p:sp>
      <p:sp>
        <p:nvSpPr>
          <p:cNvPr id="100" name="Freihandform: Form 99">
            <a:extLst>
              <a:ext uri="{FF2B5EF4-FFF2-40B4-BE49-F238E27FC236}">
                <a16:creationId xmlns:a16="http://schemas.microsoft.com/office/drawing/2014/main" id="{B976F48C-00EC-49CD-AA95-7B3C97644278}"/>
              </a:ext>
            </a:extLst>
          </p:cNvPr>
          <p:cNvSpPr/>
          <p:nvPr/>
        </p:nvSpPr>
        <p:spPr>
          <a:xfrm>
            <a:off x="9761293" y="3750282"/>
            <a:ext cx="248198" cy="268007"/>
          </a:xfrm>
          <a:custGeom>
            <a:avLst/>
            <a:gdLst>
              <a:gd name="connsiteX0" fmla="*/ 114195 w 248198"/>
              <a:gd name="connsiteY0" fmla="*/ 268007 h 268007"/>
              <a:gd name="connsiteX1" fmla="*/ 0 w 248198"/>
              <a:gd name="connsiteY1" fmla="*/ 268007 h 268007"/>
              <a:gd name="connsiteX2" fmla="*/ 132838 w 248198"/>
              <a:gd name="connsiteY2" fmla="*/ 135169 h 268007"/>
              <a:gd name="connsiteX3" fmla="*/ 0 w 248198"/>
              <a:gd name="connsiteY3" fmla="*/ 0 h 268007"/>
              <a:gd name="connsiteX4" fmla="*/ 116525 w 248198"/>
              <a:gd name="connsiteY4" fmla="*/ 0 h 268007"/>
              <a:gd name="connsiteX5" fmla="*/ 248198 w 248198"/>
              <a:gd name="connsiteY5" fmla="*/ 131673 h 268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8007">
                <a:moveTo>
                  <a:pt x="114195" y="268007"/>
                </a:moveTo>
                <a:lnTo>
                  <a:pt x="0" y="268007"/>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pPr rtl="0"/>
            <a:endParaRPr lang="en-US"/>
          </a:p>
        </p:txBody>
      </p:sp>
      <p:sp>
        <p:nvSpPr>
          <p:cNvPr id="116" name="Freihandform: Form 115">
            <a:extLst>
              <a:ext uri="{FF2B5EF4-FFF2-40B4-BE49-F238E27FC236}">
                <a16:creationId xmlns:a16="http://schemas.microsoft.com/office/drawing/2014/main" id="{DFC41532-B3AB-4B18-A81F-7D2CA52826B2}"/>
              </a:ext>
            </a:extLst>
          </p:cNvPr>
          <p:cNvSpPr/>
          <p:nvPr/>
        </p:nvSpPr>
        <p:spPr>
          <a:xfrm>
            <a:off x="9761293" y="4104518"/>
            <a:ext cx="248198" cy="269172"/>
          </a:xfrm>
          <a:custGeom>
            <a:avLst/>
            <a:gdLst>
              <a:gd name="connsiteX0" fmla="*/ 114195 w 248198"/>
              <a:gd name="connsiteY0" fmla="*/ 269172 h 269172"/>
              <a:gd name="connsiteX1" fmla="*/ 0 w 248198"/>
              <a:gd name="connsiteY1" fmla="*/ 269172 h 269172"/>
              <a:gd name="connsiteX2" fmla="*/ 132838 w 248198"/>
              <a:gd name="connsiteY2" fmla="*/ 136334 h 269172"/>
              <a:gd name="connsiteX3" fmla="*/ 0 w 248198"/>
              <a:gd name="connsiteY3" fmla="*/ 0 h 269172"/>
              <a:gd name="connsiteX4" fmla="*/ 116525 w 248198"/>
              <a:gd name="connsiteY4" fmla="*/ 0 h 269172"/>
              <a:gd name="connsiteX5" fmla="*/ 248198 w 248198"/>
              <a:gd name="connsiteY5" fmla="*/ 132838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6334"/>
                </a:lnTo>
                <a:lnTo>
                  <a:pt x="0" y="0"/>
                </a:lnTo>
                <a:lnTo>
                  <a:pt x="116525" y="0"/>
                </a:lnTo>
                <a:lnTo>
                  <a:pt x="248198" y="132838"/>
                </a:lnTo>
                <a:close/>
              </a:path>
            </a:pathLst>
          </a:custGeom>
          <a:solidFill>
            <a:srgbClr val="EEF2F5"/>
          </a:solidFill>
          <a:ln w="11643" cap="flat">
            <a:noFill/>
            <a:prstDash val="solid"/>
            <a:miter/>
          </a:ln>
        </p:spPr>
        <p:txBody>
          <a:bodyPr rtlCol="0" anchor="ctr"/>
          <a:lstStyle/>
          <a:p>
            <a:pPr rtl="0"/>
            <a:endParaRPr lang="en-US"/>
          </a:p>
        </p:txBody>
      </p:sp>
      <p:sp>
        <p:nvSpPr>
          <p:cNvPr id="132" name="Freihandform: Form 131">
            <a:extLst>
              <a:ext uri="{FF2B5EF4-FFF2-40B4-BE49-F238E27FC236}">
                <a16:creationId xmlns:a16="http://schemas.microsoft.com/office/drawing/2014/main" id="{ADC8DAC7-8942-46EB-9D62-4E4C4662A9C7}"/>
              </a:ext>
            </a:extLst>
          </p:cNvPr>
          <p:cNvSpPr/>
          <p:nvPr/>
        </p:nvSpPr>
        <p:spPr>
          <a:xfrm>
            <a:off x="9761293" y="4459918"/>
            <a:ext cx="248198" cy="268007"/>
          </a:xfrm>
          <a:custGeom>
            <a:avLst/>
            <a:gdLst>
              <a:gd name="connsiteX0" fmla="*/ 114195 w 248198"/>
              <a:gd name="connsiteY0" fmla="*/ 268007 h 268007"/>
              <a:gd name="connsiteX1" fmla="*/ 0 w 248198"/>
              <a:gd name="connsiteY1" fmla="*/ 268007 h 268007"/>
              <a:gd name="connsiteX2" fmla="*/ 132838 w 248198"/>
              <a:gd name="connsiteY2" fmla="*/ 135169 h 268007"/>
              <a:gd name="connsiteX3" fmla="*/ 0 w 248198"/>
              <a:gd name="connsiteY3" fmla="*/ 0 h 268007"/>
              <a:gd name="connsiteX4" fmla="*/ 116525 w 248198"/>
              <a:gd name="connsiteY4" fmla="*/ 0 h 268007"/>
              <a:gd name="connsiteX5" fmla="*/ 248198 w 248198"/>
              <a:gd name="connsiteY5" fmla="*/ 131673 h 268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8007">
                <a:moveTo>
                  <a:pt x="114195" y="268007"/>
                </a:moveTo>
                <a:lnTo>
                  <a:pt x="0" y="268007"/>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pPr rtl="0"/>
            <a:endParaRPr lang="en-US"/>
          </a:p>
        </p:txBody>
      </p:sp>
      <p:sp>
        <p:nvSpPr>
          <p:cNvPr id="149" name="Freihandform: Form 148">
            <a:extLst>
              <a:ext uri="{FF2B5EF4-FFF2-40B4-BE49-F238E27FC236}">
                <a16:creationId xmlns:a16="http://schemas.microsoft.com/office/drawing/2014/main" id="{83716F88-9554-4FCB-B2C3-8BD6193695E2}"/>
              </a:ext>
            </a:extLst>
          </p:cNvPr>
          <p:cNvSpPr/>
          <p:nvPr/>
        </p:nvSpPr>
        <p:spPr>
          <a:xfrm>
            <a:off x="9761293" y="4814154"/>
            <a:ext cx="248198" cy="269172"/>
          </a:xfrm>
          <a:custGeom>
            <a:avLst/>
            <a:gdLst>
              <a:gd name="connsiteX0" fmla="*/ 114195 w 248198"/>
              <a:gd name="connsiteY0" fmla="*/ 269172 h 269172"/>
              <a:gd name="connsiteX1" fmla="*/ 0 w 248198"/>
              <a:gd name="connsiteY1" fmla="*/ 269172 h 269172"/>
              <a:gd name="connsiteX2" fmla="*/ 132838 w 248198"/>
              <a:gd name="connsiteY2" fmla="*/ 136334 h 269172"/>
              <a:gd name="connsiteX3" fmla="*/ 0 w 248198"/>
              <a:gd name="connsiteY3" fmla="*/ 0 h 269172"/>
              <a:gd name="connsiteX4" fmla="*/ 116525 w 248198"/>
              <a:gd name="connsiteY4" fmla="*/ 0 h 269172"/>
              <a:gd name="connsiteX5" fmla="*/ 248198 w 248198"/>
              <a:gd name="connsiteY5" fmla="*/ 132838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6334"/>
                </a:lnTo>
                <a:lnTo>
                  <a:pt x="0" y="0"/>
                </a:lnTo>
                <a:lnTo>
                  <a:pt x="116525" y="0"/>
                </a:lnTo>
                <a:lnTo>
                  <a:pt x="248198" y="132838"/>
                </a:lnTo>
                <a:close/>
              </a:path>
            </a:pathLst>
          </a:custGeom>
          <a:solidFill>
            <a:srgbClr val="EEF2F5"/>
          </a:solidFill>
          <a:ln w="11643" cap="flat">
            <a:noFill/>
            <a:prstDash val="solid"/>
            <a:miter/>
          </a:ln>
        </p:spPr>
        <p:txBody>
          <a:bodyPr rtlCol="0" anchor="ctr"/>
          <a:lstStyle/>
          <a:p>
            <a:pPr rtl="0"/>
            <a:endParaRPr lang="en-US"/>
          </a:p>
        </p:txBody>
      </p:sp>
      <p:sp>
        <p:nvSpPr>
          <p:cNvPr id="166" name="Freihandform: Form 165">
            <a:extLst>
              <a:ext uri="{FF2B5EF4-FFF2-40B4-BE49-F238E27FC236}">
                <a16:creationId xmlns:a16="http://schemas.microsoft.com/office/drawing/2014/main" id="{AEC95E7D-635D-425A-9F1A-DEBC1F5484DB}"/>
              </a:ext>
            </a:extLst>
          </p:cNvPr>
          <p:cNvSpPr/>
          <p:nvPr/>
        </p:nvSpPr>
        <p:spPr>
          <a:xfrm>
            <a:off x="9761293" y="5169554"/>
            <a:ext cx="248198" cy="268007"/>
          </a:xfrm>
          <a:custGeom>
            <a:avLst/>
            <a:gdLst>
              <a:gd name="connsiteX0" fmla="*/ 114195 w 248198"/>
              <a:gd name="connsiteY0" fmla="*/ 268007 h 268007"/>
              <a:gd name="connsiteX1" fmla="*/ 0 w 248198"/>
              <a:gd name="connsiteY1" fmla="*/ 268007 h 268007"/>
              <a:gd name="connsiteX2" fmla="*/ 132838 w 248198"/>
              <a:gd name="connsiteY2" fmla="*/ 135169 h 268007"/>
              <a:gd name="connsiteX3" fmla="*/ 0 w 248198"/>
              <a:gd name="connsiteY3" fmla="*/ 0 h 268007"/>
              <a:gd name="connsiteX4" fmla="*/ 116525 w 248198"/>
              <a:gd name="connsiteY4" fmla="*/ 0 h 268007"/>
              <a:gd name="connsiteX5" fmla="*/ 248198 w 248198"/>
              <a:gd name="connsiteY5" fmla="*/ 131673 h 268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8007">
                <a:moveTo>
                  <a:pt x="114195" y="268007"/>
                </a:moveTo>
                <a:lnTo>
                  <a:pt x="0" y="268007"/>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pPr rtl="0"/>
            <a:endParaRPr lang="en-US"/>
          </a:p>
        </p:txBody>
      </p:sp>
      <p:sp>
        <p:nvSpPr>
          <p:cNvPr id="183" name="Freihandform: Form 182">
            <a:extLst>
              <a:ext uri="{FF2B5EF4-FFF2-40B4-BE49-F238E27FC236}">
                <a16:creationId xmlns:a16="http://schemas.microsoft.com/office/drawing/2014/main" id="{C1CCBBCB-A182-4421-8619-C206846375DB}"/>
              </a:ext>
            </a:extLst>
          </p:cNvPr>
          <p:cNvSpPr/>
          <p:nvPr/>
        </p:nvSpPr>
        <p:spPr>
          <a:xfrm>
            <a:off x="9761293" y="5523790"/>
            <a:ext cx="248198" cy="269172"/>
          </a:xfrm>
          <a:custGeom>
            <a:avLst/>
            <a:gdLst>
              <a:gd name="connsiteX0" fmla="*/ 114195 w 248198"/>
              <a:gd name="connsiteY0" fmla="*/ 269172 h 269172"/>
              <a:gd name="connsiteX1" fmla="*/ 0 w 248198"/>
              <a:gd name="connsiteY1" fmla="*/ 269172 h 269172"/>
              <a:gd name="connsiteX2" fmla="*/ 132838 w 248198"/>
              <a:gd name="connsiteY2" fmla="*/ 136334 h 269172"/>
              <a:gd name="connsiteX3" fmla="*/ 0 w 248198"/>
              <a:gd name="connsiteY3" fmla="*/ 0 h 269172"/>
              <a:gd name="connsiteX4" fmla="*/ 116525 w 248198"/>
              <a:gd name="connsiteY4" fmla="*/ 0 h 269172"/>
              <a:gd name="connsiteX5" fmla="*/ 248198 w 248198"/>
              <a:gd name="connsiteY5" fmla="*/ 132838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6334"/>
                </a:lnTo>
                <a:lnTo>
                  <a:pt x="0" y="0"/>
                </a:lnTo>
                <a:lnTo>
                  <a:pt x="116525" y="0"/>
                </a:lnTo>
                <a:lnTo>
                  <a:pt x="248198" y="132838"/>
                </a:lnTo>
                <a:close/>
              </a:path>
            </a:pathLst>
          </a:custGeom>
          <a:solidFill>
            <a:srgbClr val="EEF2F5"/>
          </a:solidFill>
          <a:ln w="11643" cap="flat">
            <a:noFill/>
            <a:prstDash val="solid"/>
            <a:miter/>
          </a:ln>
        </p:spPr>
        <p:txBody>
          <a:bodyPr rtlCol="0" anchor="ctr"/>
          <a:lstStyle/>
          <a:p>
            <a:pPr rtl="0"/>
            <a:endParaRPr lang="en-US"/>
          </a:p>
        </p:txBody>
      </p:sp>
      <p:sp>
        <p:nvSpPr>
          <p:cNvPr id="200" name="Freihandform: Form 199">
            <a:extLst>
              <a:ext uri="{FF2B5EF4-FFF2-40B4-BE49-F238E27FC236}">
                <a16:creationId xmlns:a16="http://schemas.microsoft.com/office/drawing/2014/main" id="{D91A4514-348C-465D-A689-222304D82209}"/>
              </a:ext>
            </a:extLst>
          </p:cNvPr>
          <p:cNvSpPr/>
          <p:nvPr/>
        </p:nvSpPr>
        <p:spPr>
          <a:xfrm>
            <a:off x="9761293" y="5879190"/>
            <a:ext cx="248198" cy="269172"/>
          </a:xfrm>
          <a:custGeom>
            <a:avLst/>
            <a:gdLst>
              <a:gd name="connsiteX0" fmla="*/ 114195 w 248198"/>
              <a:gd name="connsiteY0" fmla="*/ 269172 h 269172"/>
              <a:gd name="connsiteX1" fmla="*/ 0 w 248198"/>
              <a:gd name="connsiteY1" fmla="*/ 269172 h 269172"/>
              <a:gd name="connsiteX2" fmla="*/ 132838 w 248198"/>
              <a:gd name="connsiteY2" fmla="*/ 135169 h 269172"/>
              <a:gd name="connsiteX3" fmla="*/ 0 w 248198"/>
              <a:gd name="connsiteY3" fmla="*/ 0 h 269172"/>
              <a:gd name="connsiteX4" fmla="*/ 116525 w 248198"/>
              <a:gd name="connsiteY4" fmla="*/ 0 h 269172"/>
              <a:gd name="connsiteX5" fmla="*/ 248198 w 248198"/>
              <a:gd name="connsiteY5" fmla="*/ 131673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pPr rtl="0"/>
            <a:endParaRPr lang="en-US"/>
          </a:p>
        </p:txBody>
      </p:sp>
      <p:sp>
        <p:nvSpPr>
          <p:cNvPr id="217" name="Freihandform: Form 216">
            <a:extLst>
              <a:ext uri="{FF2B5EF4-FFF2-40B4-BE49-F238E27FC236}">
                <a16:creationId xmlns:a16="http://schemas.microsoft.com/office/drawing/2014/main" id="{1B4C065C-ED4E-40BF-AA0C-B75D23AF7B43}"/>
              </a:ext>
            </a:extLst>
          </p:cNvPr>
          <p:cNvSpPr/>
          <p:nvPr/>
        </p:nvSpPr>
        <p:spPr>
          <a:xfrm>
            <a:off x="9761293" y="6233426"/>
            <a:ext cx="248198" cy="269172"/>
          </a:xfrm>
          <a:custGeom>
            <a:avLst/>
            <a:gdLst>
              <a:gd name="connsiteX0" fmla="*/ 114195 w 248198"/>
              <a:gd name="connsiteY0" fmla="*/ 269172 h 269172"/>
              <a:gd name="connsiteX1" fmla="*/ 0 w 248198"/>
              <a:gd name="connsiteY1" fmla="*/ 269172 h 269172"/>
              <a:gd name="connsiteX2" fmla="*/ 132838 w 248198"/>
              <a:gd name="connsiteY2" fmla="*/ 136334 h 269172"/>
              <a:gd name="connsiteX3" fmla="*/ 0 w 248198"/>
              <a:gd name="connsiteY3" fmla="*/ 0 h 269172"/>
              <a:gd name="connsiteX4" fmla="*/ 116525 w 248198"/>
              <a:gd name="connsiteY4" fmla="*/ 0 h 269172"/>
              <a:gd name="connsiteX5" fmla="*/ 248198 w 248198"/>
              <a:gd name="connsiteY5" fmla="*/ 132838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6334"/>
                </a:lnTo>
                <a:lnTo>
                  <a:pt x="0" y="0"/>
                </a:lnTo>
                <a:lnTo>
                  <a:pt x="116525" y="0"/>
                </a:lnTo>
                <a:lnTo>
                  <a:pt x="248198" y="132838"/>
                </a:lnTo>
                <a:close/>
              </a:path>
            </a:pathLst>
          </a:custGeom>
          <a:solidFill>
            <a:srgbClr val="EEF2F5"/>
          </a:solidFill>
          <a:ln w="11643" cap="flat">
            <a:noFill/>
            <a:prstDash val="solid"/>
            <a:miter/>
          </a:ln>
        </p:spPr>
        <p:txBody>
          <a:bodyPr rtlCol="0" anchor="ctr"/>
          <a:lstStyle/>
          <a:p>
            <a:pPr rtl="0"/>
            <a:endParaRPr lang="en-US"/>
          </a:p>
        </p:txBody>
      </p:sp>
      <p:sp>
        <p:nvSpPr>
          <p:cNvPr id="233" name="Freihandform: Form 232">
            <a:extLst>
              <a:ext uri="{FF2B5EF4-FFF2-40B4-BE49-F238E27FC236}">
                <a16:creationId xmlns:a16="http://schemas.microsoft.com/office/drawing/2014/main" id="{26A7552F-9339-4F13-B25C-D2F62499E1D6}"/>
              </a:ext>
            </a:extLst>
          </p:cNvPr>
          <p:cNvSpPr/>
          <p:nvPr/>
        </p:nvSpPr>
        <p:spPr>
          <a:xfrm>
            <a:off x="9761293" y="6588826"/>
            <a:ext cx="248198" cy="269172"/>
          </a:xfrm>
          <a:custGeom>
            <a:avLst/>
            <a:gdLst>
              <a:gd name="connsiteX0" fmla="*/ 114195 w 248198"/>
              <a:gd name="connsiteY0" fmla="*/ 269172 h 269172"/>
              <a:gd name="connsiteX1" fmla="*/ 0 w 248198"/>
              <a:gd name="connsiteY1" fmla="*/ 269172 h 269172"/>
              <a:gd name="connsiteX2" fmla="*/ 132838 w 248198"/>
              <a:gd name="connsiteY2" fmla="*/ 135169 h 269172"/>
              <a:gd name="connsiteX3" fmla="*/ 0 w 248198"/>
              <a:gd name="connsiteY3" fmla="*/ 0 h 269172"/>
              <a:gd name="connsiteX4" fmla="*/ 116525 w 248198"/>
              <a:gd name="connsiteY4" fmla="*/ 0 h 269172"/>
              <a:gd name="connsiteX5" fmla="*/ 248198 w 248198"/>
              <a:gd name="connsiteY5" fmla="*/ 131673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pPr rtl="0"/>
            <a:endParaRPr lang="en-US"/>
          </a:p>
        </p:txBody>
      </p:sp>
      <p:sp>
        <p:nvSpPr>
          <p:cNvPr id="10" name="Textplatzhalter 9">
            <a:extLst>
              <a:ext uri="{FF2B5EF4-FFF2-40B4-BE49-F238E27FC236}">
                <a16:creationId xmlns:a16="http://schemas.microsoft.com/office/drawing/2014/main" id="{87105EF2-AC01-455D-9C26-5D6999587D6D}"/>
              </a:ext>
            </a:extLst>
          </p:cNvPr>
          <p:cNvSpPr>
            <a:spLocks noGrp="1"/>
          </p:cNvSpPr>
          <p:nvPr userDrawn="1">
            <p:ph type="body" sz="quarter" idx="11"/>
          </p:nvPr>
        </p:nvSpPr>
        <p:spPr>
          <a:xfrm>
            <a:off x="815951" y="1979612"/>
            <a:ext cx="10560096" cy="4338638"/>
          </a:xfrm>
          <a:prstGeom prst="rect">
            <a:avLst/>
          </a:prstGeom>
        </p:spPr>
        <p:txBody>
          <a:bodyPr>
            <a:normAutofit/>
          </a:bodyPr>
          <a:lstStyle>
            <a:lvl1pPr marL="266700" indent="-266700" rtl="0">
              <a:buSzPct val="120000"/>
              <a:buFontTx/>
              <a:buBlip>
                <a:blip r:embed="rId5"/>
              </a:buBlip>
              <a:defRPr sz="1800"/>
            </a:lvl1pPr>
            <a:lvl2pPr marL="630238" indent="-268288" rtl="0">
              <a:buSzPct val="120000"/>
              <a:buFontTx/>
              <a:buBlip>
                <a:blip r:embed="rId5"/>
              </a:buBlip>
              <a:defRPr sz="1800"/>
            </a:lvl2pPr>
            <a:lvl3pPr marL="990600" indent="-274638" rtl="0">
              <a:buSzPct val="120000"/>
              <a:buFontTx/>
              <a:buBlip>
                <a:blip r:embed="rId5"/>
              </a:buBlip>
              <a:defRPr sz="1800"/>
            </a:lvl3pPr>
            <a:lvl4pPr marL="1343025" indent="-263525" rtl="0">
              <a:buSzPct val="120000"/>
              <a:buFontTx/>
              <a:buBlip>
                <a:blip r:embed="rId5"/>
              </a:buBlip>
              <a:defRPr sz="1800"/>
            </a:lvl4pPr>
            <a:lvl5pPr marL="1704975" indent="-271463" rtl="0">
              <a:buSzPct val="120000"/>
              <a:buFontTx/>
              <a:buBlip>
                <a:blip r:embed="rId5"/>
              </a:buBlip>
              <a:defRPr sz="1800"/>
            </a:lvl5pPr>
          </a:lstStyle>
          <a:p>
            <a:pPr lvl="0"/>
            <a:r>
              <a:rPr lang="en-US" err="1"/>
              <a:t>Mastertextformat bearbeiten</a:t>
            </a:r>
            <a:endParaRPr lang="en-US"/>
          </a:p>
          <a:p>
            <a:pPr lvl="1"/>
            <a:r>
              <a:rPr lang="en-US" err="1"/>
              <a:t>Zweite Ebene</a:t>
            </a:r>
          </a:p>
          <a:p>
            <a:pPr lvl="2"/>
            <a:r>
              <a:rPr lang="en-US" err="1"/>
              <a:t>Dritte Ebene</a:t>
            </a:r>
          </a:p>
          <a:p>
            <a:pPr lvl="3"/>
            <a:r>
              <a:rPr lang="en-US" err="1"/>
              <a:t>Vierte Ebene</a:t>
            </a:r>
          </a:p>
          <a:p>
            <a:pPr lvl="4"/>
            <a:r>
              <a:rPr lang="en-US" err="1"/>
              <a:t>Fünfte Ebene</a:t>
            </a:r>
          </a:p>
        </p:txBody>
      </p:sp>
      <p:sp>
        <p:nvSpPr>
          <p:cNvPr id="9" name="Titel 1">
            <a:extLst>
              <a:ext uri="{FF2B5EF4-FFF2-40B4-BE49-F238E27FC236}">
                <a16:creationId xmlns:a16="http://schemas.microsoft.com/office/drawing/2014/main" id="{768F8261-4469-5875-C389-5A888520530C}"/>
              </a:ext>
            </a:extLst>
          </p:cNvPr>
          <p:cNvSpPr>
            <a:spLocks noGrp="1"/>
          </p:cNvSpPr>
          <p:nvPr>
            <p:ph type="title"/>
          </p:nvPr>
        </p:nvSpPr>
        <p:spPr>
          <a:xfrm>
            <a:off x="815952" y="733402"/>
            <a:ext cx="10560096" cy="767737"/>
          </a:xfrm>
        </p:spPr>
        <p:txBody>
          <a:bodyPr vert="horz"/>
          <a:lstStyle>
            <a:lvl1pPr rtl="0">
              <a:defRPr/>
            </a:lvl1pPr>
          </a:lstStyle>
          <a:p>
            <a:r>
              <a:rPr lang="en-US" err="1"/>
              <a:t>Mastertitelformat bearbeiten</a:t>
            </a:r>
            <a:endParaRPr lang="en-US"/>
          </a:p>
        </p:txBody>
      </p:sp>
      <p:sp>
        <p:nvSpPr>
          <p:cNvPr id="4" name="Rectangle 3">
            <a:extLst>
              <a:ext uri="{FF2B5EF4-FFF2-40B4-BE49-F238E27FC236}">
                <a16:creationId xmlns:a16="http://schemas.microsoft.com/office/drawing/2014/main" id="{9C6BA784-439F-B2CF-E317-FFEFB65478DB}"/>
              </a:ext>
            </a:extLst>
          </p:cNvPr>
          <p:cNvSpPr/>
          <p:nvPr userDrawn="1"/>
        </p:nvSpPr>
        <p:spPr>
          <a:xfrm>
            <a:off x="0" y="0"/>
            <a:ext cx="12204000" cy="3608121"/>
          </a:xfrm>
          <a:prstGeom prst="rect">
            <a:avLst/>
          </a:prstGeom>
          <a:gradFill flip="none" rotWithShape="1">
            <a:gsLst>
              <a:gs pos="100000">
                <a:schemeClr val="tx2"/>
              </a:gs>
              <a:gs pos="0">
                <a:schemeClr val="tx2">
                  <a:lumMod val="7500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128554529"/>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2" presetClass="entr" presetSubtype="8" dur="1000" decel="10000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1000" fill="hold"/>
                                        <p:tgtEl>
                                          <p:spTgt spid="10"/>
                                        </p:tgtEl>
                                        <p:attrNameLst>
                                          <p:attrName>ppt_x</p:attrName>
                                        </p:attrNameLst>
                                      </p:cBhvr>
                                      <p:tavLst>
                                        <p:tav tm="0">
                                          <p:val>
                                            <p:strVal val="0-#ppt_w/2"/>
                                          </p:val>
                                        </p:tav>
                                        <p:tav tm="100000">
                                          <p:val>
                                            <p:strVal val="#ppt_x"/>
                                          </p:val>
                                        </p:tav>
                                      </p:tavLst>
                                    </p:anim>
                                    <p:anim calcmode="lin" valueType="num">
                                      <p:cBhvr additive="base">
                                        <p:cTn id="8" dur="1000" fill="hold"/>
                                        <p:tgtEl>
                                          <p:spTgt spid="10"/>
                                        </p:tgtEl>
                                        <p:attrNameLst>
                                          <p:attrName>ppt_y</p:attrName>
                                        </p:attrNameLst>
                                      </p:cBhvr>
                                      <p:tavLst>
                                        <p:tav tm="0">
                                          <p:val>
                                            <p:strVal val="#ppt_y"/>
                                          </p:val>
                                        </p:tav>
                                        <p:tav tm="100000">
                                          <p:val>
                                            <p:strVal val="#ppt_y"/>
                                          </p:val>
                                        </p:tav>
                                      </p:tavLst>
                                    </p:anim>
                                  </p:childTnLst>
                                </p:cTn>
                              </p:par>
                              <p:par>
                                <p:cTn id="9" presetID="26" presetClass="emph" presetSubtype="0" dur="2000" repeatCount="indefinite" fill="hold" grpId="0" nodeType="withEffect">
                                  <p:stCondLst>
                                    <p:cond delay="0"/>
                                  </p:stCondLst>
                                  <p:childTnLst>
                                    <p:animEffect transition="out" filter="fade">
                                      <p:cBhvr>
                                        <p:cTn id="10" dur="2000" tmFilter="0, 0; .2, .5; .8, .5; 1, 0"/>
                                        <p:tgtEl>
                                          <p:spTgt spid="5"/>
                                        </p:tgtEl>
                                      </p:cBhvr>
                                    </p:animEffect>
                                    <p:animScale>
                                      <p:cBhvr>
                                        <p:cTn id="11" dur="1000" autoRev="1" fill="hold"/>
                                        <p:tgtEl>
                                          <p:spTgt spid="5"/>
                                        </p:tgtEl>
                                      </p:cBhvr>
                                      <p:by x="105000" y="105000"/>
                                    </p:animScale>
                                  </p:childTnLst>
                                </p:cTn>
                              </p:par>
                              <p:par>
                                <p:cTn id="12" presetID="26" presetClass="emph" presetSubtype="0" dur="2000" repeatCount="indefinite" fill="hold" grpId="0" nodeType="withEffect">
                                  <p:stCondLst>
                                    <p:cond delay="0"/>
                                  </p:stCondLst>
                                  <p:childTnLst>
                                    <p:animEffect transition="out" filter="fade">
                                      <p:cBhvr>
                                        <p:cTn id="13" dur="2000" tmFilter="0, 0; .2, .5; .8, .5; 1, 0"/>
                                        <p:tgtEl>
                                          <p:spTgt spid="22"/>
                                        </p:tgtEl>
                                      </p:cBhvr>
                                    </p:animEffect>
                                    <p:animScale>
                                      <p:cBhvr>
                                        <p:cTn id="14" dur="1000" autoRev="1" fill="hold"/>
                                        <p:tgtEl>
                                          <p:spTgt spid="22"/>
                                        </p:tgtEl>
                                      </p:cBhvr>
                                      <p:by x="105000" y="105000"/>
                                    </p:animScale>
                                  </p:childTnLst>
                                </p:cTn>
                              </p:par>
                              <p:par>
                                <p:cTn id="15" presetID="26" presetClass="emph" presetSubtype="0" dur="2000" repeatCount="indefinite" fill="hold" grpId="0" nodeType="withEffect">
                                  <p:stCondLst>
                                    <p:cond delay="0"/>
                                  </p:stCondLst>
                                  <p:childTnLst>
                                    <p:animEffect transition="out" filter="fade">
                                      <p:cBhvr>
                                        <p:cTn id="16" dur="2000" tmFilter="0, 0; .2, .5; .8, .5; 1, 0"/>
                                        <p:tgtEl>
                                          <p:spTgt spid="38"/>
                                        </p:tgtEl>
                                      </p:cBhvr>
                                    </p:animEffect>
                                    <p:animScale>
                                      <p:cBhvr>
                                        <p:cTn id="17" dur="1000" autoRev="1" fill="hold"/>
                                        <p:tgtEl>
                                          <p:spTgt spid="38"/>
                                        </p:tgtEl>
                                      </p:cBhvr>
                                      <p:by x="105000" y="105000"/>
                                    </p:animScale>
                                  </p:childTnLst>
                                </p:cTn>
                              </p:par>
                              <p:par>
                                <p:cTn id="18" presetID="26" presetClass="emph" presetSubtype="0" dur="2000" repeatCount="indefinite" fill="hold" grpId="0" nodeType="withEffect">
                                  <p:stCondLst>
                                    <p:cond delay="0"/>
                                  </p:stCondLst>
                                  <p:childTnLst>
                                    <p:animEffect transition="out" filter="fade">
                                      <p:cBhvr>
                                        <p:cTn id="19" dur="2000" tmFilter="0, 0; .2, .5; .8, .5; 1, 0"/>
                                        <p:tgtEl>
                                          <p:spTgt spid="203"/>
                                        </p:tgtEl>
                                      </p:cBhvr>
                                    </p:animEffect>
                                    <p:animScale>
                                      <p:cBhvr>
                                        <p:cTn id="20" dur="1000" autoRev="1" fill="hold"/>
                                        <p:tgtEl>
                                          <p:spTgt spid="203"/>
                                        </p:tgtEl>
                                      </p:cBhvr>
                                      <p:by x="105000" y="105000"/>
                                    </p:animScale>
                                  </p:childTnLst>
                                </p:cTn>
                              </p:par>
                              <p:par>
                                <p:cTn id="21" presetID="26" presetClass="emph" presetSubtype="0" dur="2000" repeatCount="indefinite" fill="hold" grpId="0" nodeType="withEffect">
                                  <p:stCondLst>
                                    <p:cond delay="0"/>
                                  </p:stCondLst>
                                  <p:childTnLst>
                                    <p:animEffect transition="out" filter="fade">
                                      <p:cBhvr>
                                        <p:cTn id="22" dur="2000" tmFilter="0, 0; .2, .5; .8, .5; 1, 0"/>
                                        <p:tgtEl>
                                          <p:spTgt spid="219"/>
                                        </p:tgtEl>
                                      </p:cBhvr>
                                    </p:animEffect>
                                    <p:animScale>
                                      <p:cBhvr>
                                        <p:cTn id="23" dur="1000" autoRev="1" fill="hold"/>
                                        <p:tgtEl>
                                          <p:spTgt spid="219"/>
                                        </p:tgtEl>
                                      </p:cBhvr>
                                      <p:by x="105000" y="105000"/>
                                    </p:animScale>
                                  </p:childTnLst>
                                </p:cTn>
                              </p:par>
                              <p:par>
                                <p:cTn id="24" presetID="26" presetClass="emph" presetSubtype="0" dur="2000" repeatCount="indefinite" fill="hold" grpId="0" nodeType="withEffect">
                                  <p:stCondLst>
                                    <p:cond delay="250"/>
                                  </p:stCondLst>
                                  <p:childTnLst>
                                    <p:animEffect transition="out" filter="fade">
                                      <p:cBhvr>
                                        <p:cTn id="25" dur="2000" tmFilter="0, 0; .2, .5; .8, .5; 1, 0"/>
                                        <p:tgtEl>
                                          <p:spTgt spid="6"/>
                                        </p:tgtEl>
                                      </p:cBhvr>
                                    </p:animEffect>
                                    <p:animScale>
                                      <p:cBhvr>
                                        <p:cTn id="26" dur="1000" autoRev="1" fill="hold"/>
                                        <p:tgtEl>
                                          <p:spTgt spid="6"/>
                                        </p:tgtEl>
                                      </p:cBhvr>
                                      <p:by x="105000" y="105000"/>
                                    </p:animScale>
                                  </p:childTnLst>
                                </p:cTn>
                              </p:par>
                              <p:par>
                                <p:cTn id="27" presetID="26" presetClass="emph" presetSubtype="0" dur="2000" repeatCount="indefinite" fill="hold" grpId="0" nodeType="withEffect">
                                  <p:stCondLst>
                                    <p:cond delay="250"/>
                                  </p:stCondLst>
                                  <p:childTnLst>
                                    <p:animEffect transition="out" filter="fade">
                                      <p:cBhvr>
                                        <p:cTn id="28" dur="2000" tmFilter="0, 0; .2, .5; .8, .5; 1, 0"/>
                                        <p:tgtEl>
                                          <p:spTgt spid="23"/>
                                        </p:tgtEl>
                                      </p:cBhvr>
                                    </p:animEffect>
                                    <p:animScale>
                                      <p:cBhvr>
                                        <p:cTn id="29" dur="1000" autoRev="1" fill="hold"/>
                                        <p:tgtEl>
                                          <p:spTgt spid="23"/>
                                        </p:tgtEl>
                                      </p:cBhvr>
                                      <p:by x="105000" y="105000"/>
                                    </p:animScale>
                                  </p:childTnLst>
                                </p:cTn>
                              </p:par>
                              <p:par>
                                <p:cTn id="30" presetID="26" presetClass="emph" presetSubtype="0" dur="2000" repeatCount="indefinite" fill="hold" grpId="0" nodeType="withEffect">
                                  <p:stCondLst>
                                    <p:cond delay="250"/>
                                  </p:stCondLst>
                                  <p:childTnLst>
                                    <p:animEffect transition="out" filter="fade">
                                      <p:cBhvr>
                                        <p:cTn id="31" dur="2000" tmFilter="0, 0; .2, .5; .8, .5; 1, 0"/>
                                        <p:tgtEl>
                                          <p:spTgt spid="39"/>
                                        </p:tgtEl>
                                      </p:cBhvr>
                                    </p:animEffect>
                                    <p:animScale>
                                      <p:cBhvr>
                                        <p:cTn id="32" dur="1000" autoRev="1" fill="hold"/>
                                        <p:tgtEl>
                                          <p:spTgt spid="39"/>
                                        </p:tgtEl>
                                      </p:cBhvr>
                                      <p:by x="105000" y="105000"/>
                                    </p:animScale>
                                  </p:childTnLst>
                                </p:cTn>
                              </p:par>
                              <p:par>
                                <p:cTn id="33" presetID="26" presetClass="emph" presetSubtype="0" dur="2000" repeatCount="indefinite" fill="hold" grpId="0" nodeType="withEffect">
                                  <p:stCondLst>
                                    <p:cond delay="250"/>
                                  </p:stCondLst>
                                  <p:childTnLst>
                                    <p:animEffect transition="out" filter="fade">
                                      <p:cBhvr>
                                        <p:cTn id="34" dur="2000" tmFilter="0, 0; .2, .5; .8, .5; 1, 0"/>
                                        <p:tgtEl>
                                          <p:spTgt spid="55"/>
                                        </p:tgtEl>
                                      </p:cBhvr>
                                    </p:animEffect>
                                    <p:animScale>
                                      <p:cBhvr>
                                        <p:cTn id="35" dur="1000" autoRev="1" fill="hold"/>
                                        <p:tgtEl>
                                          <p:spTgt spid="55"/>
                                        </p:tgtEl>
                                      </p:cBhvr>
                                      <p:by x="105000" y="105000"/>
                                    </p:animScale>
                                  </p:childTnLst>
                                </p:cTn>
                              </p:par>
                              <p:par>
                                <p:cTn id="36" presetID="26" presetClass="emph" presetSubtype="0" dur="2000" repeatCount="indefinite" fill="hold" grpId="0" nodeType="withEffect">
                                  <p:stCondLst>
                                    <p:cond delay="250"/>
                                  </p:stCondLst>
                                  <p:childTnLst>
                                    <p:animEffect transition="out" filter="fade">
                                      <p:cBhvr>
                                        <p:cTn id="37" dur="2000" tmFilter="0, 0; .2, .5; .8, .5; 1, 0"/>
                                        <p:tgtEl>
                                          <p:spTgt spid="187"/>
                                        </p:tgtEl>
                                      </p:cBhvr>
                                    </p:animEffect>
                                    <p:animScale>
                                      <p:cBhvr>
                                        <p:cTn id="38" dur="1000" autoRev="1" fill="hold"/>
                                        <p:tgtEl>
                                          <p:spTgt spid="187"/>
                                        </p:tgtEl>
                                      </p:cBhvr>
                                      <p:by x="105000" y="105000"/>
                                    </p:animScale>
                                  </p:childTnLst>
                                </p:cTn>
                              </p:par>
                              <p:par>
                                <p:cTn id="39" presetID="26" presetClass="emph" presetSubtype="0" dur="2000" repeatCount="indefinite" fill="hold" grpId="0" nodeType="withEffect">
                                  <p:stCondLst>
                                    <p:cond delay="250"/>
                                  </p:stCondLst>
                                  <p:childTnLst>
                                    <p:animEffect transition="out" filter="fade">
                                      <p:cBhvr>
                                        <p:cTn id="40" dur="2000" tmFilter="0, 0; .2, .5; .8, .5; 1, 0"/>
                                        <p:tgtEl>
                                          <p:spTgt spid="204"/>
                                        </p:tgtEl>
                                      </p:cBhvr>
                                    </p:animEffect>
                                    <p:animScale>
                                      <p:cBhvr>
                                        <p:cTn id="41" dur="1000" autoRev="1" fill="hold"/>
                                        <p:tgtEl>
                                          <p:spTgt spid="204"/>
                                        </p:tgtEl>
                                      </p:cBhvr>
                                      <p:by x="105000" y="105000"/>
                                    </p:animScale>
                                  </p:childTnLst>
                                </p:cTn>
                              </p:par>
                              <p:par>
                                <p:cTn id="42" presetID="26" presetClass="emph" presetSubtype="0" dur="2000" repeatCount="indefinite" fill="hold" grpId="0" nodeType="withEffect">
                                  <p:stCondLst>
                                    <p:cond delay="250"/>
                                  </p:stCondLst>
                                  <p:childTnLst>
                                    <p:animEffect transition="out" filter="fade">
                                      <p:cBhvr>
                                        <p:cTn id="43" dur="2000" tmFilter="0, 0; .2, .5; .8, .5; 1, 0"/>
                                        <p:tgtEl>
                                          <p:spTgt spid="220"/>
                                        </p:tgtEl>
                                      </p:cBhvr>
                                    </p:animEffect>
                                    <p:animScale>
                                      <p:cBhvr>
                                        <p:cTn id="44" dur="1000" autoRev="1" fill="hold"/>
                                        <p:tgtEl>
                                          <p:spTgt spid="220"/>
                                        </p:tgtEl>
                                      </p:cBhvr>
                                      <p:by x="105000" y="105000"/>
                                    </p:animScale>
                                  </p:childTnLst>
                                </p:cTn>
                              </p:par>
                              <p:par>
                                <p:cTn id="45" presetID="26" presetClass="emph" presetSubtype="0" dur="2000" repeatCount="indefinite" fill="hold" grpId="0" nodeType="withEffect">
                                  <p:stCondLst>
                                    <p:cond delay="500"/>
                                  </p:stCondLst>
                                  <p:childTnLst>
                                    <p:animEffect transition="out" filter="fade">
                                      <p:cBhvr>
                                        <p:cTn id="46" dur="2000" tmFilter="0, 0; .2, .5; .8, .5; 1, 0"/>
                                        <p:tgtEl>
                                          <p:spTgt spid="7"/>
                                        </p:tgtEl>
                                      </p:cBhvr>
                                    </p:animEffect>
                                    <p:animScale>
                                      <p:cBhvr>
                                        <p:cTn id="47" dur="1000" autoRev="1" fill="hold"/>
                                        <p:tgtEl>
                                          <p:spTgt spid="7"/>
                                        </p:tgtEl>
                                      </p:cBhvr>
                                      <p:by x="105000" y="105000"/>
                                    </p:animScale>
                                  </p:childTnLst>
                                </p:cTn>
                              </p:par>
                              <p:par>
                                <p:cTn id="48" presetID="26" presetClass="emph" presetSubtype="0" dur="2000" repeatCount="indefinite" fill="hold" grpId="0" nodeType="withEffect">
                                  <p:stCondLst>
                                    <p:cond delay="500"/>
                                  </p:stCondLst>
                                  <p:childTnLst>
                                    <p:animEffect transition="out" filter="fade">
                                      <p:cBhvr>
                                        <p:cTn id="49" dur="2000" tmFilter="0, 0; .2, .5; .8, .5; 1, 0"/>
                                        <p:tgtEl>
                                          <p:spTgt spid="24"/>
                                        </p:tgtEl>
                                      </p:cBhvr>
                                    </p:animEffect>
                                    <p:animScale>
                                      <p:cBhvr>
                                        <p:cTn id="50" dur="1000" autoRev="1" fill="hold"/>
                                        <p:tgtEl>
                                          <p:spTgt spid="24"/>
                                        </p:tgtEl>
                                      </p:cBhvr>
                                      <p:by x="105000" y="105000"/>
                                    </p:animScale>
                                  </p:childTnLst>
                                </p:cTn>
                              </p:par>
                              <p:par>
                                <p:cTn id="51" presetID="26" presetClass="emph" presetSubtype="0" dur="2000" repeatCount="indefinite" fill="hold" grpId="0" nodeType="withEffect">
                                  <p:stCondLst>
                                    <p:cond delay="500"/>
                                  </p:stCondLst>
                                  <p:childTnLst>
                                    <p:animEffect transition="out" filter="fade">
                                      <p:cBhvr>
                                        <p:cTn id="52" dur="2000" tmFilter="0, 0; .2, .5; .8, .5; 1, 0"/>
                                        <p:tgtEl>
                                          <p:spTgt spid="40"/>
                                        </p:tgtEl>
                                      </p:cBhvr>
                                    </p:animEffect>
                                    <p:animScale>
                                      <p:cBhvr>
                                        <p:cTn id="53" dur="1000" autoRev="1" fill="hold"/>
                                        <p:tgtEl>
                                          <p:spTgt spid="40"/>
                                        </p:tgtEl>
                                      </p:cBhvr>
                                      <p:by x="105000" y="105000"/>
                                    </p:animScale>
                                  </p:childTnLst>
                                </p:cTn>
                              </p:par>
                              <p:par>
                                <p:cTn id="54" presetID="26" presetClass="emph" presetSubtype="0" dur="2000" repeatCount="indefinite" fill="hold" grpId="0" nodeType="withEffect">
                                  <p:stCondLst>
                                    <p:cond delay="500"/>
                                  </p:stCondLst>
                                  <p:childTnLst>
                                    <p:animEffect transition="out" filter="fade">
                                      <p:cBhvr>
                                        <p:cTn id="55" dur="2000" tmFilter="0, 0; .2, .5; .8, .5; 1, 0"/>
                                        <p:tgtEl>
                                          <p:spTgt spid="56"/>
                                        </p:tgtEl>
                                      </p:cBhvr>
                                    </p:animEffect>
                                    <p:animScale>
                                      <p:cBhvr>
                                        <p:cTn id="56" dur="1000" autoRev="1" fill="hold"/>
                                        <p:tgtEl>
                                          <p:spTgt spid="56"/>
                                        </p:tgtEl>
                                      </p:cBhvr>
                                      <p:by x="105000" y="105000"/>
                                    </p:animScale>
                                  </p:childTnLst>
                                </p:cTn>
                              </p:par>
                              <p:par>
                                <p:cTn id="57" presetID="26" presetClass="emph" presetSubtype="0" dur="2000" repeatCount="indefinite" fill="hold" grpId="0" nodeType="withEffect">
                                  <p:stCondLst>
                                    <p:cond delay="500"/>
                                  </p:stCondLst>
                                  <p:childTnLst>
                                    <p:animEffect transition="out" filter="fade">
                                      <p:cBhvr>
                                        <p:cTn id="58" dur="2000" tmFilter="0, 0; .2, .5; .8, .5; 1, 0"/>
                                        <p:tgtEl>
                                          <p:spTgt spid="72"/>
                                        </p:tgtEl>
                                      </p:cBhvr>
                                    </p:animEffect>
                                    <p:animScale>
                                      <p:cBhvr>
                                        <p:cTn id="59" dur="1000" autoRev="1" fill="hold"/>
                                        <p:tgtEl>
                                          <p:spTgt spid="72"/>
                                        </p:tgtEl>
                                      </p:cBhvr>
                                      <p:by x="105000" y="105000"/>
                                    </p:animScale>
                                  </p:childTnLst>
                                </p:cTn>
                              </p:par>
                              <p:par>
                                <p:cTn id="60" presetID="26" presetClass="emph" presetSubtype="0" dur="2000" repeatCount="indefinite" fill="hold" grpId="0" nodeType="withEffect">
                                  <p:stCondLst>
                                    <p:cond delay="500"/>
                                  </p:stCondLst>
                                  <p:childTnLst>
                                    <p:animEffect transition="out" filter="fade">
                                      <p:cBhvr>
                                        <p:cTn id="61" dur="2000" tmFilter="0, 0; .2, .5; .8, .5; 1, 0"/>
                                        <p:tgtEl>
                                          <p:spTgt spid="171"/>
                                        </p:tgtEl>
                                      </p:cBhvr>
                                    </p:animEffect>
                                    <p:animScale>
                                      <p:cBhvr>
                                        <p:cTn id="62" dur="1000" autoRev="1" fill="hold"/>
                                        <p:tgtEl>
                                          <p:spTgt spid="171"/>
                                        </p:tgtEl>
                                      </p:cBhvr>
                                      <p:by x="105000" y="105000"/>
                                    </p:animScale>
                                  </p:childTnLst>
                                </p:cTn>
                              </p:par>
                              <p:par>
                                <p:cTn id="63" presetID="26" presetClass="emph" presetSubtype="0" dur="2000" repeatCount="indefinite" fill="hold" grpId="0" nodeType="withEffect">
                                  <p:stCondLst>
                                    <p:cond delay="500"/>
                                  </p:stCondLst>
                                  <p:childTnLst>
                                    <p:animEffect transition="out" filter="fade">
                                      <p:cBhvr>
                                        <p:cTn id="64" dur="2000" tmFilter="0, 0; .2, .5; .8, .5; 1, 0"/>
                                        <p:tgtEl>
                                          <p:spTgt spid="188"/>
                                        </p:tgtEl>
                                      </p:cBhvr>
                                    </p:animEffect>
                                    <p:animScale>
                                      <p:cBhvr>
                                        <p:cTn id="65" dur="1000" autoRev="1" fill="hold"/>
                                        <p:tgtEl>
                                          <p:spTgt spid="188"/>
                                        </p:tgtEl>
                                      </p:cBhvr>
                                      <p:by x="105000" y="105000"/>
                                    </p:animScale>
                                  </p:childTnLst>
                                </p:cTn>
                              </p:par>
                              <p:par>
                                <p:cTn id="66" presetID="26" presetClass="emph" presetSubtype="0" dur="2000" repeatCount="indefinite" fill="hold" grpId="0" nodeType="withEffect">
                                  <p:stCondLst>
                                    <p:cond delay="500"/>
                                  </p:stCondLst>
                                  <p:childTnLst>
                                    <p:animEffect transition="out" filter="fade">
                                      <p:cBhvr>
                                        <p:cTn id="67" dur="2000" tmFilter="0, 0; .2, .5; .8, .5; 1, 0"/>
                                        <p:tgtEl>
                                          <p:spTgt spid="205"/>
                                        </p:tgtEl>
                                      </p:cBhvr>
                                    </p:animEffect>
                                    <p:animScale>
                                      <p:cBhvr>
                                        <p:cTn id="68" dur="1000" autoRev="1" fill="hold"/>
                                        <p:tgtEl>
                                          <p:spTgt spid="205"/>
                                        </p:tgtEl>
                                      </p:cBhvr>
                                      <p:by x="105000" y="105000"/>
                                    </p:animScale>
                                  </p:childTnLst>
                                </p:cTn>
                              </p:par>
                              <p:par>
                                <p:cTn id="69" presetID="26" presetClass="emph" presetSubtype="0" dur="2000" repeatCount="indefinite" fill="hold" grpId="0" nodeType="withEffect">
                                  <p:stCondLst>
                                    <p:cond delay="500"/>
                                  </p:stCondLst>
                                  <p:childTnLst>
                                    <p:animEffect transition="out" filter="fade">
                                      <p:cBhvr>
                                        <p:cTn id="70" dur="2000" tmFilter="0, 0; .2, .5; .8, .5; 1, 0"/>
                                        <p:tgtEl>
                                          <p:spTgt spid="221"/>
                                        </p:tgtEl>
                                      </p:cBhvr>
                                    </p:animEffect>
                                    <p:animScale>
                                      <p:cBhvr>
                                        <p:cTn id="71" dur="1000" autoRev="1" fill="hold"/>
                                        <p:tgtEl>
                                          <p:spTgt spid="221"/>
                                        </p:tgtEl>
                                      </p:cBhvr>
                                      <p:by x="105000" y="105000"/>
                                    </p:animScale>
                                  </p:childTnLst>
                                </p:cTn>
                              </p:par>
                              <p:par>
                                <p:cTn id="72" presetID="26" presetClass="emph" presetSubtype="0" dur="2000" repeatCount="indefinite" fill="hold" grpId="0" nodeType="withEffect">
                                  <p:stCondLst>
                                    <p:cond delay="750"/>
                                  </p:stCondLst>
                                  <p:childTnLst>
                                    <p:animEffect transition="out" filter="fade">
                                      <p:cBhvr>
                                        <p:cTn id="73" dur="2000" tmFilter="0, 0; .2, .5; .8, .5; 1, 0"/>
                                        <p:tgtEl>
                                          <p:spTgt spid="8"/>
                                        </p:tgtEl>
                                      </p:cBhvr>
                                    </p:animEffect>
                                    <p:animScale>
                                      <p:cBhvr>
                                        <p:cTn id="74" dur="1000" autoRev="1" fill="hold"/>
                                        <p:tgtEl>
                                          <p:spTgt spid="8"/>
                                        </p:tgtEl>
                                      </p:cBhvr>
                                      <p:by x="105000" y="105000"/>
                                    </p:animScale>
                                  </p:childTnLst>
                                </p:cTn>
                              </p:par>
                              <p:par>
                                <p:cTn id="75" presetID="26" presetClass="emph" presetSubtype="0" dur="2000" repeatCount="indefinite" fill="hold" grpId="0" nodeType="withEffect">
                                  <p:stCondLst>
                                    <p:cond delay="750"/>
                                  </p:stCondLst>
                                  <p:childTnLst>
                                    <p:animEffect transition="out" filter="fade">
                                      <p:cBhvr>
                                        <p:cTn id="76" dur="2000" tmFilter="0, 0; .2, .5; .8, .5; 1, 0"/>
                                        <p:tgtEl>
                                          <p:spTgt spid="25"/>
                                        </p:tgtEl>
                                      </p:cBhvr>
                                    </p:animEffect>
                                    <p:animScale>
                                      <p:cBhvr>
                                        <p:cTn id="77" dur="1000" autoRev="1" fill="hold"/>
                                        <p:tgtEl>
                                          <p:spTgt spid="25"/>
                                        </p:tgtEl>
                                      </p:cBhvr>
                                      <p:by x="105000" y="105000"/>
                                    </p:animScale>
                                  </p:childTnLst>
                                </p:cTn>
                              </p:par>
                              <p:par>
                                <p:cTn id="78" presetID="26" presetClass="emph" presetSubtype="0" dur="2000" repeatCount="indefinite" fill="hold" grpId="0" nodeType="withEffect">
                                  <p:stCondLst>
                                    <p:cond delay="750"/>
                                  </p:stCondLst>
                                  <p:childTnLst>
                                    <p:animEffect transition="out" filter="fade">
                                      <p:cBhvr>
                                        <p:cTn id="79" dur="2000" tmFilter="0, 0; .2, .5; .8, .5; 1, 0"/>
                                        <p:tgtEl>
                                          <p:spTgt spid="41"/>
                                        </p:tgtEl>
                                      </p:cBhvr>
                                    </p:animEffect>
                                    <p:animScale>
                                      <p:cBhvr>
                                        <p:cTn id="80" dur="1000" autoRev="1" fill="hold"/>
                                        <p:tgtEl>
                                          <p:spTgt spid="41"/>
                                        </p:tgtEl>
                                      </p:cBhvr>
                                      <p:by x="105000" y="105000"/>
                                    </p:animScale>
                                  </p:childTnLst>
                                </p:cTn>
                              </p:par>
                              <p:par>
                                <p:cTn id="81" presetID="26" presetClass="emph" presetSubtype="0" dur="2000" repeatCount="indefinite" fill="hold" grpId="0" nodeType="withEffect">
                                  <p:stCondLst>
                                    <p:cond delay="750"/>
                                  </p:stCondLst>
                                  <p:childTnLst>
                                    <p:animEffect transition="out" filter="fade">
                                      <p:cBhvr>
                                        <p:cTn id="82" dur="2000" tmFilter="0, 0; .2, .5; .8, .5; 1, 0"/>
                                        <p:tgtEl>
                                          <p:spTgt spid="57"/>
                                        </p:tgtEl>
                                      </p:cBhvr>
                                    </p:animEffect>
                                    <p:animScale>
                                      <p:cBhvr>
                                        <p:cTn id="83" dur="1000" autoRev="1" fill="hold"/>
                                        <p:tgtEl>
                                          <p:spTgt spid="57"/>
                                        </p:tgtEl>
                                      </p:cBhvr>
                                      <p:by x="105000" y="105000"/>
                                    </p:animScale>
                                  </p:childTnLst>
                                </p:cTn>
                              </p:par>
                              <p:par>
                                <p:cTn id="84" presetID="26" presetClass="emph" presetSubtype="0" dur="2000" repeatCount="indefinite" fill="hold" grpId="0" nodeType="withEffect">
                                  <p:stCondLst>
                                    <p:cond delay="750"/>
                                  </p:stCondLst>
                                  <p:childTnLst>
                                    <p:animEffect transition="out" filter="fade">
                                      <p:cBhvr>
                                        <p:cTn id="85" dur="2000" tmFilter="0, 0; .2, .5; .8, .5; 1, 0"/>
                                        <p:tgtEl>
                                          <p:spTgt spid="73"/>
                                        </p:tgtEl>
                                      </p:cBhvr>
                                    </p:animEffect>
                                    <p:animScale>
                                      <p:cBhvr>
                                        <p:cTn id="86" dur="1000" autoRev="1" fill="hold"/>
                                        <p:tgtEl>
                                          <p:spTgt spid="73"/>
                                        </p:tgtEl>
                                      </p:cBhvr>
                                      <p:by x="105000" y="105000"/>
                                    </p:animScale>
                                  </p:childTnLst>
                                </p:cTn>
                              </p:par>
                              <p:par>
                                <p:cTn id="87" presetID="26" presetClass="emph" presetSubtype="0" dur="2000" repeatCount="indefinite" fill="hold" grpId="0" nodeType="withEffect">
                                  <p:stCondLst>
                                    <p:cond delay="750"/>
                                  </p:stCondLst>
                                  <p:childTnLst>
                                    <p:animEffect transition="out" filter="fade">
                                      <p:cBhvr>
                                        <p:cTn id="88" dur="2000" tmFilter="0, 0; .2, .5; .8, .5; 1, 0"/>
                                        <p:tgtEl>
                                          <p:spTgt spid="89"/>
                                        </p:tgtEl>
                                      </p:cBhvr>
                                    </p:animEffect>
                                    <p:animScale>
                                      <p:cBhvr>
                                        <p:cTn id="89" dur="1000" autoRev="1" fill="hold"/>
                                        <p:tgtEl>
                                          <p:spTgt spid="89"/>
                                        </p:tgtEl>
                                      </p:cBhvr>
                                      <p:by x="105000" y="105000"/>
                                    </p:animScale>
                                  </p:childTnLst>
                                </p:cTn>
                              </p:par>
                              <p:par>
                                <p:cTn id="90" presetID="26" presetClass="emph" presetSubtype="0" dur="2000" repeatCount="indefinite" fill="hold" grpId="0" nodeType="withEffect">
                                  <p:stCondLst>
                                    <p:cond delay="750"/>
                                  </p:stCondLst>
                                  <p:childTnLst>
                                    <p:animEffect transition="out" filter="fade">
                                      <p:cBhvr>
                                        <p:cTn id="91" dur="2000" tmFilter="0, 0; .2, .5; .8, .5; 1, 0"/>
                                        <p:tgtEl>
                                          <p:spTgt spid="155"/>
                                        </p:tgtEl>
                                      </p:cBhvr>
                                    </p:animEffect>
                                    <p:animScale>
                                      <p:cBhvr>
                                        <p:cTn id="92" dur="1000" autoRev="1" fill="hold"/>
                                        <p:tgtEl>
                                          <p:spTgt spid="155"/>
                                        </p:tgtEl>
                                      </p:cBhvr>
                                      <p:by x="105000" y="105000"/>
                                    </p:animScale>
                                  </p:childTnLst>
                                </p:cTn>
                              </p:par>
                              <p:par>
                                <p:cTn id="93" presetID="26" presetClass="emph" presetSubtype="0" dur="2000" repeatCount="indefinite" fill="hold" grpId="0" nodeType="withEffect">
                                  <p:stCondLst>
                                    <p:cond delay="750"/>
                                  </p:stCondLst>
                                  <p:childTnLst>
                                    <p:animEffect transition="out" filter="fade">
                                      <p:cBhvr>
                                        <p:cTn id="94" dur="2000" tmFilter="0, 0; .2, .5; .8, .5; 1, 0"/>
                                        <p:tgtEl>
                                          <p:spTgt spid="172"/>
                                        </p:tgtEl>
                                      </p:cBhvr>
                                    </p:animEffect>
                                    <p:animScale>
                                      <p:cBhvr>
                                        <p:cTn id="95" dur="1000" autoRev="1" fill="hold"/>
                                        <p:tgtEl>
                                          <p:spTgt spid="172"/>
                                        </p:tgtEl>
                                      </p:cBhvr>
                                      <p:by x="105000" y="105000"/>
                                    </p:animScale>
                                  </p:childTnLst>
                                </p:cTn>
                              </p:par>
                              <p:par>
                                <p:cTn id="96" presetID="26" presetClass="emph" presetSubtype="0" dur="2000" repeatCount="indefinite" fill="hold" grpId="0" nodeType="withEffect">
                                  <p:stCondLst>
                                    <p:cond delay="750"/>
                                  </p:stCondLst>
                                  <p:childTnLst>
                                    <p:animEffect transition="out" filter="fade">
                                      <p:cBhvr>
                                        <p:cTn id="97" dur="2000" tmFilter="0, 0; .2, .5; .8, .5; 1, 0"/>
                                        <p:tgtEl>
                                          <p:spTgt spid="189"/>
                                        </p:tgtEl>
                                      </p:cBhvr>
                                    </p:animEffect>
                                    <p:animScale>
                                      <p:cBhvr>
                                        <p:cTn id="98" dur="1000" autoRev="1" fill="hold"/>
                                        <p:tgtEl>
                                          <p:spTgt spid="189"/>
                                        </p:tgtEl>
                                      </p:cBhvr>
                                      <p:by x="105000" y="105000"/>
                                    </p:animScale>
                                  </p:childTnLst>
                                </p:cTn>
                              </p:par>
                              <p:par>
                                <p:cTn id="99" presetID="26" presetClass="emph" presetSubtype="0" dur="2000" repeatCount="indefinite" fill="hold" grpId="0" nodeType="withEffect">
                                  <p:stCondLst>
                                    <p:cond delay="750"/>
                                  </p:stCondLst>
                                  <p:childTnLst>
                                    <p:animEffect transition="out" filter="fade">
                                      <p:cBhvr>
                                        <p:cTn id="100" dur="2000" tmFilter="0, 0; .2, .5; .8, .5; 1, 0"/>
                                        <p:tgtEl>
                                          <p:spTgt spid="206"/>
                                        </p:tgtEl>
                                      </p:cBhvr>
                                    </p:animEffect>
                                    <p:animScale>
                                      <p:cBhvr>
                                        <p:cTn id="101" dur="1000" autoRev="1" fill="hold"/>
                                        <p:tgtEl>
                                          <p:spTgt spid="206"/>
                                        </p:tgtEl>
                                      </p:cBhvr>
                                      <p:by x="105000" y="105000"/>
                                    </p:animScale>
                                  </p:childTnLst>
                                </p:cTn>
                              </p:par>
                              <p:par>
                                <p:cTn id="102" presetID="26" presetClass="emph" presetSubtype="0" dur="2000" repeatCount="indefinite" fill="hold" grpId="0" nodeType="withEffect">
                                  <p:stCondLst>
                                    <p:cond delay="750"/>
                                  </p:stCondLst>
                                  <p:childTnLst>
                                    <p:animEffect transition="out" filter="fade">
                                      <p:cBhvr>
                                        <p:cTn id="103" dur="2000" tmFilter="0, 0; .2, .5; .8, .5; 1, 0"/>
                                        <p:tgtEl>
                                          <p:spTgt spid="222"/>
                                        </p:tgtEl>
                                      </p:cBhvr>
                                    </p:animEffect>
                                    <p:animScale>
                                      <p:cBhvr>
                                        <p:cTn id="104" dur="1000" autoRev="1" fill="hold"/>
                                        <p:tgtEl>
                                          <p:spTgt spid="222"/>
                                        </p:tgtEl>
                                      </p:cBhvr>
                                      <p:by x="105000" y="105000"/>
                                    </p:animScale>
                                  </p:childTnLst>
                                </p:cTn>
                              </p:par>
                              <p:par>
                                <p:cTn id="105" presetID="26" presetClass="emph" presetSubtype="0" dur="2000" repeatCount="indefinite" fill="hold" grpId="0" nodeType="withEffect">
                                  <p:stCondLst>
                                    <p:cond delay="1000"/>
                                  </p:stCondLst>
                                  <p:childTnLst>
                                    <p:animEffect transition="out" filter="fade">
                                      <p:cBhvr>
                                        <p:cTn id="106" dur="2000" tmFilter="0, 0; .2, .5; .8, .5; 1, 0"/>
                                        <p:tgtEl>
                                          <p:spTgt spid="11"/>
                                        </p:tgtEl>
                                      </p:cBhvr>
                                    </p:animEffect>
                                    <p:animScale>
                                      <p:cBhvr>
                                        <p:cTn id="107" dur="1000" autoRev="1" fill="hold"/>
                                        <p:tgtEl>
                                          <p:spTgt spid="11"/>
                                        </p:tgtEl>
                                      </p:cBhvr>
                                      <p:by x="105000" y="105000"/>
                                    </p:animScale>
                                  </p:childTnLst>
                                </p:cTn>
                              </p:par>
                              <p:par>
                                <p:cTn id="108" presetID="26" presetClass="emph" presetSubtype="0" dur="2000" repeatCount="indefinite" fill="hold" grpId="0" nodeType="withEffect">
                                  <p:stCondLst>
                                    <p:cond delay="1000"/>
                                  </p:stCondLst>
                                  <p:childTnLst>
                                    <p:animEffect transition="out" filter="fade">
                                      <p:cBhvr>
                                        <p:cTn id="109" dur="2000" tmFilter="0, 0; .2, .5; .8, .5; 1, 0"/>
                                        <p:tgtEl>
                                          <p:spTgt spid="26"/>
                                        </p:tgtEl>
                                      </p:cBhvr>
                                    </p:animEffect>
                                    <p:animScale>
                                      <p:cBhvr>
                                        <p:cTn id="110" dur="1000" autoRev="1" fill="hold"/>
                                        <p:tgtEl>
                                          <p:spTgt spid="26"/>
                                        </p:tgtEl>
                                      </p:cBhvr>
                                      <p:by x="105000" y="105000"/>
                                    </p:animScale>
                                  </p:childTnLst>
                                </p:cTn>
                              </p:par>
                              <p:par>
                                <p:cTn id="111" presetID="26" presetClass="emph" presetSubtype="0" dur="2000" repeatCount="indefinite" fill="hold" grpId="0" nodeType="withEffect">
                                  <p:stCondLst>
                                    <p:cond delay="1000"/>
                                  </p:stCondLst>
                                  <p:childTnLst>
                                    <p:animEffect transition="out" filter="fade">
                                      <p:cBhvr>
                                        <p:cTn id="112" dur="2000" tmFilter="0, 0; .2, .5; .8, .5; 1, 0"/>
                                        <p:tgtEl>
                                          <p:spTgt spid="42"/>
                                        </p:tgtEl>
                                      </p:cBhvr>
                                    </p:animEffect>
                                    <p:animScale>
                                      <p:cBhvr>
                                        <p:cTn id="113" dur="1000" autoRev="1" fill="hold"/>
                                        <p:tgtEl>
                                          <p:spTgt spid="42"/>
                                        </p:tgtEl>
                                      </p:cBhvr>
                                      <p:by x="105000" y="105000"/>
                                    </p:animScale>
                                  </p:childTnLst>
                                </p:cTn>
                              </p:par>
                              <p:par>
                                <p:cTn id="114" presetID="26" presetClass="emph" presetSubtype="0" dur="2000" repeatCount="indefinite" fill="hold" grpId="0" nodeType="withEffect">
                                  <p:stCondLst>
                                    <p:cond delay="1000"/>
                                  </p:stCondLst>
                                  <p:childTnLst>
                                    <p:animEffect transition="out" filter="fade">
                                      <p:cBhvr>
                                        <p:cTn id="115" dur="2000" tmFilter="0, 0; .2, .5; .8, .5; 1, 0"/>
                                        <p:tgtEl>
                                          <p:spTgt spid="58"/>
                                        </p:tgtEl>
                                      </p:cBhvr>
                                    </p:animEffect>
                                    <p:animScale>
                                      <p:cBhvr>
                                        <p:cTn id="116" dur="1000" autoRev="1" fill="hold"/>
                                        <p:tgtEl>
                                          <p:spTgt spid="58"/>
                                        </p:tgtEl>
                                      </p:cBhvr>
                                      <p:by x="105000" y="105000"/>
                                    </p:animScale>
                                  </p:childTnLst>
                                </p:cTn>
                              </p:par>
                              <p:par>
                                <p:cTn id="117" presetID="26" presetClass="emph" presetSubtype="0" dur="2000" repeatCount="indefinite" fill="hold" grpId="0" nodeType="withEffect">
                                  <p:stCondLst>
                                    <p:cond delay="1000"/>
                                  </p:stCondLst>
                                  <p:childTnLst>
                                    <p:animEffect transition="out" filter="fade">
                                      <p:cBhvr>
                                        <p:cTn id="118" dur="2000" tmFilter="0, 0; .2, .5; .8, .5; 1, 0"/>
                                        <p:tgtEl>
                                          <p:spTgt spid="74"/>
                                        </p:tgtEl>
                                      </p:cBhvr>
                                    </p:animEffect>
                                    <p:animScale>
                                      <p:cBhvr>
                                        <p:cTn id="119" dur="1000" autoRev="1" fill="hold"/>
                                        <p:tgtEl>
                                          <p:spTgt spid="74"/>
                                        </p:tgtEl>
                                      </p:cBhvr>
                                      <p:by x="105000" y="105000"/>
                                    </p:animScale>
                                  </p:childTnLst>
                                </p:cTn>
                              </p:par>
                              <p:par>
                                <p:cTn id="120" presetID="26" presetClass="emph" presetSubtype="0" dur="2000" repeatCount="indefinite" fill="hold" grpId="0" nodeType="withEffect">
                                  <p:stCondLst>
                                    <p:cond delay="1000"/>
                                  </p:stCondLst>
                                  <p:childTnLst>
                                    <p:animEffect transition="out" filter="fade">
                                      <p:cBhvr>
                                        <p:cTn id="121" dur="2000" tmFilter="0, 0; .2, .5; .8, .5; 1, 0"/>
                                        <p:tgtEl>
                                          <p:spTgt spid="90"/>
                                        </p:tgtEl>
                                      </p:cBhvr>
                                    </p:animEffect>
                                    <p:animScale>
                                      <p:cBhvr>
                                        <p:cTn id="122" dur="1000" autoRev="1" fill="hold"/>
                                        <p:tgtEl>
                                          <p:spTgt spid="90"/>
                                        </p:tgtEl>
                                      </p:cBhvr>
                                      <p:by x="105000" y="105000"/>
                                    </p:animScale>
                                  </p:childTnLst>
                                </p:cTn>
                              </p:par>
                              <p:par>
                                <p:cTn id="123" presetID="26" presetClass="emph" presetSubtype="0" dur="2000" repeatCount="indefinite" fill="hold" grpId="0" nodeType="withEffect">
                                  <p:stCondLst>
                                    <p:cond delay="1000"/>
                                  </p:stCondLst>
                                  <p:childTnLst>
                                    <p:animEffect transition="out" filter="fade">
                                      <p:cBhvr>
                                        <p:cTn id="124" dur="2000" tmFilter="0, 0; .2, .5; .8, .5; 1, 0"/>
                                        <p:tgtEl>
                                          <p:spTgt spid="106"/>
                                        </p:tgtEl>
                                      </p:cBhvr>
                                    </p:animEffect>
                                    <p:animScale>
                                      <p:cBhvr>
                                        <p:cTn id="125" dur="1000" autoRev="1" fill="hold"/>
                                        <p:tgtEl>
                                          <p:spTgt spid="106"/>
                                        </p:tgtEl>
                                      </p:cBhvr>
                                      <p:by x="105000" y="105000"/>
                                    </p:animScale>
                                  </p:childTnLst>
                                </p:cTn>
                              </p:par>
                              <p:par>
                                <p:cTn id="126" presetID="26" presetClass="emph" presetSubtype="0" dur="2000" repeatCount="indefinite" fill="hold" grpId="0" nodeType="withEffect">
                                  <p:stCondLst>
                                    <p:cond delay="1000"/>
                                  </p:stCondLst>
                                  <p:childTnLst>
                                    <p:animEffect transition="out" filter="fade">
                                      <p:cBhvr>
                                        <p:cTn id="127" dur="2000" tmFilter="0, 0; .2, .5; .8, .5; 1, 0"/>
                                        <p:tgtEl>
                                          <p:spTgt spid="139"/>
                                        </p:tgtEl>
                                      </p:cBhvr>
                                    </p:animEffect>
                                    <p:animScale>
                                      <p:cBhvr>
                                        <p:cTn id="128" dur="1000" autoRev="1" fill="hold"/>
                                        <p:tgtEl>
                                          <p:spTgt spid="139"/>
                                        </p:tgtEl>
                                      </p:cBhvr>
                                      <p:by x="105000" y="105000"/>
                                    </p:animScale>
                                  </p:childTnLst>
                                </p:cTn>
                              </p:par>
                              <p:par>
                                <p:cTn id="129" presetID="26" presetClass="emph" presetSubtype="0" dur="2000" repeatCount="indefinite" fill="hold" grpId="0" nodeType="withEffect">
                                  <p:stCondLst>
                                    <p:cond delay="1000"/>
                                  </p:stCondLst>
                                  <p:childTnLst>
                                    <p:animEffect transition="out" filter="fade">
                                      <p:cBhvr>
                                        <p:cTn id="130" dur="2000" tmFilter="0, 0; .2, .5; .8, .5; 1, 0"/>
                                        <p:tgtEl>
                                          <p:spTgt spid="156"/>
                                        </p:tgtEl>
                                      </p:cBhvr>
                                    </p:animEffect>
                                    <p:animScale>
                                      <p:cBhvr>
                                        <p:cTn id="131" dur="1000" autoRev="1" fill="hold"/>
                                        <p:tgtEl>
                                          <p:spTgt spid="156"/>
                                        </p:tgtEl>
                                      </p:cBhvr>
                                      <p:by x="105000" y="105000"/>
                                    </p:animScale>
                                  </p:childTnLst>
                                </p:cTn>
                              </p:par>
                              <p:par>
                                <p:cTn id="132" presetID="26" presetClass="emph" presetSubtype="0" dur="2000" repeatCount="indefinite" fill="hold" grpId="0" nodeType="withEffect">
                                  <p:stCondLst>
                                    <p:cond delay="1000"/>
                                  </p:stCondLst>
                                  <p:childTnLst>
                                    <p:animEffect transition="out" filter="fade">
                                      <p:cBhvr>
                                        <p:cTn id="133" dur="2000" tmFilter="0, 0; .2, .5; .8, .5; 1, 0"/>
                                        <p:tgtEl>
                                          <p:spTgt spid="173"/>
                                        </p:tgtEl>
                                      </p:cBhvr>
                                    </p:animEffect>
                                    <p:animScale>
                                      <p:cBhvr>
                                        <p:cTn id="134" dur="1000" autoRev="1" fill="hold"/>
                                        <p:tgtEl>
                                          <p:spTgt spid="173"/>
                                        </p:tgtEl>
                                      </p:cBhvr>
                                      <p:by x="105000" y="105000"/>
                                    </p:animScale>
                                  </p:childTnLst>
                                </p:cTn>
                              </p:par>
                              <p:par>
                                <p:cTn id="135" presetID="26" presetClass="emph" presetSubtype="0" dur="2000" repeatCount="indefinite" fill="hold" grpId="0" nodeType="withEffect">
                                  <p:stCondLst>
                                    <p:cond delay="1000"/>
                                  </p:stCondLst>
                                  <p:childTnLst>
                                    <p:animEffect transition="out" filter="fade">
                                      <p:cBhvr>
                                        <p:cTn id="136" dur="2000" tmFilter="0, 0; .2, .5; .8, .5; 1, 0"/>
                                        <p:tgtEl>
                                          <p:spTgt spid="190"/>
                                        </p:tgtEl>
                                      </p:cBhvr>
                                    </p:animEffect>
                                    <p:animScale>
                                      <p:cBhvr>
                                        <p:cTn id="137" dur="1000" autoRev="1" fill="hold"/>
                                        <p:tgtEl>
                                          <p:spTgt spid="190"/>
                                        </p:tgtEl>
                                      </p:cBhvr>
                                      <p:by x="105000" y="105000"/>
                                    </p:animScale>
                                  </p:childTnLst>
                                </p:cTn>
                              </p:par>
                              <p:par>
                                <p:cTn id="138" presetID="26" presetClass="emph" presetSubtype="0" dur="2000" repeatCount="indefinite" fill="hold" grpId="0" nodeType="withEffect">
                                  <p:stCondLst>
                                    <p:cond delay="1000"/>
                                  </p:stCondLst>
                                  <p:childTnLst>
                                    <p:animEffect transition="out" filter="fade">
                                      <p:cBhvr>
                                        <p:cTn id="139" dur="2000" tmFilter="0, 0; .2, .5; .8, .5; 1, 0"/>
                                        <p:tgtEl>
                                          <p:spTgt spid="207"/>
                                        </p:tgtEl>
                                      </p:cBhvr>
                                    </p:animEffect>
                                    <p:animScale>
                                      <p:cBhvr>
                                        <p:cTn id="140" dur="1000" autoRev="1" fill="hold"/>
                                        <p:tgtEl>
                                          <p:spTgt spid="207"/>
                                        </p:tgtEl>
                                      </p:cBhvr>
                                      <p:by x="105000" y="105000"/>
                                    </p:animScale>
                                  </p:childTnLst>
                                </p:cTn>
                              </p:par>
                              <p:par>
                                <p:cTn id="141" presetID="26" presetClass="emph" presetSubtype="0" dur="2000" repeatCount="indefinite" fill="hold" grpId="0" nodeType="withEffect">
                                  <p:stCondLst>
                                    <p:cond delay="1000"/>
                                  </p:stCondLst>
                                  <p:childTnLst>
                                    <p:animEffect transition="out" filter="fade">
                                      <p:cBhvr>
                                        <p:cTn id="142" dur="2000" tmFilter="0, 0; .2, .5; .8, .5; 1, 0"/>
                                        <p:tgtEl>
                                          <p:spTgt spid="223"/>
                                        </p:tgtEl>
                                      </p:cBhvr>
                                    </p:animEffect>
                                    <p:animScale>
                                      <p:cBhvr>
                                        <p:cTn id="143" dur="1000" autoRev="1" fill="hold"/>
                                        <p:tgtEl>
                                          <p:spTgt spid="223"/>
                                        </p:tgtEl>
                                      </p:cBhvr>
                                      <p:by x="105000" y="105000"/>
                                    </p:animScale>
                                  </p:childTnLst>
                                </p:cTn>
                              </p:par>
                              <p:par>
                                <p:cTn id="144" presetID="26" presetClass="emph" presetSubtype="0" dur="2000" repeatCount="indefinite" fill="hold" grpId="0" nodeType="withEffect">
                                  <p:stCondLst>
                                    <p:cond delay="1250"/>
                                  </p:stCondLst>
                                  <p:childTnLst>
                                    <p:animEffect transition="out" filter="fade">
                                      <p:cBhvr>
                                        <p:cTn id="145" dur="2000" tmFilter="0, 0; .2, .5; .8, .5; 1, 0"/>
                                        <p:tgtEl>
                                          <p:spTgt spid="12"/>
                                        </p:tgtEl>
                                      </p:cBhvr>
                                    </p:animEffect>
                                    <p:animScale>
                                      <p:cBhvr>
                                        <p:cTn id="146" dur="1000" autoRev="1" fill="hold"/>
                                        <p:tgtEl>
                                          <p:spTgt spid="12"/>
                                        </p:tgtEl>
                                      </p:cBhvr>
                                      <p:by x="105000" y="105000"/>
                                    </p:animScale>
                                  </p:childTnLst>
                                </p:cTn>
                              </p:par>
                              <p:par>
                                <p:cTn id="147" presetID="26" presetClass="emph" presetSubtype="0" dur="2000" repeatCount="indefinite" fill="hold" grpId="0" nodeType="withEffect">
                                  <p:stCondLst>
                                    <p:cond delay="1250"/>
                                  </p:stCondLst>
                                  <p:childTnLst>
                                    <p:animEffect transition="out" filter="fade">
                                      <p:cBhvr>
                                        <p:cTn id="148" dur="2000" tmFilter="0, 0; .2, .5; .8, .5; 1, 0"/>
                                        <p:tgtEl>
                                          <p:spTgt spid="27"/>
                                        </p:tgtEl>
                                      </p:cBhvr>
                                    </p:animEffect>
                                    <p:animScale>
                                      <p:cBhvr>
                                        <p:cTn id="149" dur="1000" autoRev="1" fill="hold"/>
                                        <p:tgtEl>
                                          <p:spTgt spid="27"/>
                                        </p:tgtEl>
                                      </p:cBhvr>
                                      <p:by x="105000" y="105000"/>
                                    </p:animScale>
                                  </p:childTnLst>
                                </p:cTn>
                              </p:par>
                              <p:par>
                                <p:cTn id="150" presetID="26" presetClass="emph" presetSubtype="0" dur="2000" repeatCount="indefinite" fill="hold" grpId="0" nodeType="withEffect">
                                  <p:stCondLst>
                                    <p:cond delay="1250"/>
                                  </p:stCondLst>
                                  <p:childTnLst>
                                    <p:animEffect transition="out" filter="fade">
                                      <p:cBhvr>
                                        <p:cTn id="151" dur="2000" tmFilter="0, 0; .2, .5; .8, .5; 1, 0"/>
                                        <p:tgtEl>
                                          <p:spTgt spid="43"/>
                                        </p:tgtEl>
                                      </p:cBhvr>
                                    </p:animEffect>
                                    <p:animScale>
                                      <p:cBhvr>
                                        <p:cTn id="152" dur="1000" autoRev="1" fill="hold"/>
                                        <p:tgtEl>
                                          <p:spTgt spid="43"/>
                                        </p:tgtEl>
                                      </p:cBhvr>
                                      <p:by x="105000" y="105000"/>
                                    </p:animScale>
                                  </p:childTnLst>
                                </p:cTn>
                              </p:par>
                              <p:par>
                                <p:cTn id="153" presetID="26" presetClass="emph" presetSubtype="0" dur="2000" repeatCount="indefinite" fill="hold" grpId="0" nodeType="withEffect">
                                  <p:stCondLst>
                                    <p:cond delay="1250"/>
                                  </p:stCondLst>
                                  <p:childTnLst>
                                    <p:animEffect transition="out" filter="fade">
                                      <p:cBhvr>
                                        <p:cTn id="154" dur="2000" tmFilter="0, 0; .2, .5; .8, .5; 1, 0"/>
                                        <p:tgtEl>
                                          <p:spTgt spid="59"/>
                                        </p:tgtEl>
                                      </p:cBhvr>
                                    </p:animEffect>
                                    <p:animScale>
                                      <p:cBhvr>
                                        <p:cTn id="155" dur="1000" autoRev="1" fill="hold"/>
                                        <p:tgtEl>
                                          <p:spTgt spid="59"/>
                                        </p:tgtEl>
                                      </p:cBhvr>
                                      <p:by x="105000" y="105000"/>
                                    </p:animScale>
                                  </p:childTnLst>
                                </p:cTn>
                              </p:par>
                              <p:par>
                                <p:cTn id="156" presetID="26" presetClass="emph" presetSubtype="0" dur="2000" repeatCount="indefinite" fill="hold" grpId="0" nodeType="withEffect">
                                  <p:stCondLst>
                                    <p:cond delay="1250"/>
                                  </p:stCondLst>
                                  <p:childTnLst>
                                    <p:animEffect transition="out" filter="fade">
                                      <p:cBhvr>
                                        <p:cTn id="157" dur="2000" tmFilter="0, 0; .2, .5; .8, .5; 1, 0"/>
                                        <p:tgtEl>
                                          <p:spTgt spid="75"/>
                                        </p:tgtEl>
                                      </p:cBhvr>
                                    </p:animEffect>
                                    <p:animScale>
                                      <p:cBhvr>
                                        <p:cTn id="158" dur="1000" autoRev="1" fill="hold"/>
                                        <p:tgtEl>
                                          <p:spTgt spid="75"/>
                                        </p:tgtEl>
                                      </p:cBhvr>
                                      <p:by x="105000" y="105000"/>
                                    </p:animScale>
                                  </p:childTnLst>
                                </p:cTn>
                              </p:par>
                              <p:par>
                                <p:cTn id="159" presetID="26" presetClass="emph" presetSubtype="0" dur="2000" repeatCount="indefinite" fill="hold" grpId="0" nodeType="withEffect">
                                  <p:stCondLst>
                                    <p:cond delay="1250"/>
                                  </p:stCondLst>
                                  <p:childTnLst>
                                    <p:animEffect transition="out" filter="fade">
                                      <p:cBhvr>
                                        <p:cTn id="160" dur="2000" tmFilter="0, 0; .2, .5; .8, .5; 1, 0"/>
                                        <p:tgtEl>
                                          <p:spTgt spid="91"/>
                                        </p:tgtEl>
                                      </p:cBhvr>
                                    </p:animEffect>
                                    <p:animScale>
                                      <p:cBhvr>
                                        <p:cTn id="161" dur="1000" autoRev="1" fill="hold"/>
                                        <p:tgtEl>
                                          <p:spTgt spid="91"/>
                                        </p:tgtEl>
                                      </p:cBhvr>
                                      <p:by x="105000" y="105000"/>
                                    </p:animScale>
                                  </p:childTnLst>
                                </p:cTn>
                              </p:par>
                              <p:par>
                                <p:cTn id="162" presetID="26" presetClass="emph" presetSubtype="0" dur="2000" repeatCount="indefinite" fill="hold" grpId="0" nodeType="withEffect">
                                  <p:stCondLst>
                                    <p:cond delay="1250"/>
                                  </p:stCondLst>
                                  <p:childTnLst>
                                    <p:animEffect transition="out" filter="fade">
                                      <p:cBhvr>
                                        <p:cTn id="163" dur="2000" tmFilter="0, 0; .2, .5; .8, .5; 1, 0"/>
                                        <p:tgtEl>
                                          <p:spTgt spid="107"/>
                                        </p:tgtEl>
                                      </p:cBhvr>
                                    </p:animEffect>
                                    <p:animScale>
                                      <p:cBhvr>
                                        <p:cTn id="164" dur="1000" autoRev="1" fill="hold"/>
                                        <p:tgtEl>
                                          <p:spTgt spid="107"/>
                                        </p:tgtEl>
                                      </p:cBhvr>
                                      <p:by x="105000" y="105000"/>
                                    </p:animScale>
                                  </p:childTnLst>
                                </p:cTn>
                              </p:par>
                              <p:par>
                                <p:cTn id="165" presetID="26" presetClass="emph" presetSubtype="0" dur="2000" repeatCount="indefinite" fill="hold" grpId="0" nodeType="withEffect">
                                  <p:stCondLst>
                                    <p:cond delay="1250"/>
                                  </p:stCondLst>
                                  <p:childTnLst>
                                    <p:animEffect transition="out" filter="fade">
                                      <p:cBhvr>
                                        <p:cTn id="166" dur="2000" tmFilter="0, 0; .2, .5; .8, .5; 1, 0"/>
                                        <p:tgtEl>
                                          <p:spTgt spid="123"/>
                                        </p:tgtEl>
                                      </p:cBhvr>
                                    </p:animEffect>
                                    <p:animScale>
                                      <p:cBhvr>
                                        <p:cTn id="167" dur="1000" autoRev="1" fill="hold"/>
                                        <p:tgtEl>
                                          <p:spTgt spid="123"/>
                                        </p:tgtEl>
                                      </p:cBhvr>
                                      <p:by x="105000" y="105000"/>
                                    </p:animScale>
                                  </p:childTnLst>
                                </p:cTn>
                              </p:par>
                              <p:par>
                                <p:cTn id="168" presetID="26" presetClass="emph" presetSubtype="0" dur="2000" repeatCount="indefinite" fill="hold" grpId="0" nodeType="withEffect">
                                  <p:stCondLst>
                                    <p:cond delay="1250"/>
                                  </p:stCondLst>
                                  <p:childTnLst>
                                    <p:animEffect transition="out" filter="fade">
                                      <p:cBhvr>
                                        <p:cTn id="169" dur="2000" tmFilter="0, 0; .2, .5; .8, .5; 1, 0"/>
                                        <p:tgtEl>
                                          <p:spTgt spid="140"/>
                                        </p:tgtEl>
                                      </p:cBhvr>
                                    </p:animEffect>
                                    <p:animScale>
                                      <p:cBhvr>
                                        <p:cTn id="170" dur="1000" autoRev="1" fill="hold"/>
                                        <p:tgtEl>
                                          <p:spTgt spid="140"/>
                                        </p:tgtEl>
                                      </p:cBhvr>
                                      <p:by x="105000" y="105000"/>
                                    </p:animScale>
                                  </p:childTnLst>
                                </p:cTn>
                              </p:par>
                              <p:par>
                                <p:cTn id="171" presetID="26" presetClass="emph" presetSubtype="0" dur="2000" repeatCount="indefinite" fill="hold" grpId="0" nodeType="withEffect">
                                  <p:stCondLst>
                                    <p:cond delay="1250"/>
                                  </p:stCondLst>
                                  <p:childTnLst>
                                    <p:animEffect transition="out" filter="fade">
                                      <p:cBhvr>
                                        <p:cTn id="172" dur="2000" tmFilter="0, 0; .2, .5; .8, .5; 1, 0"/>
                                        <p:tgtEl>
                                          <p:spTgt spid="157"/>
                                        </p:tgtEl>
                                      </p:cBhvr>
                                    </p:animEffect>
                                    <p:animScale>
                                      <p:cBhvr>
                                        <p:cTn id="173" dur="1000" autoRev="1" fill="hold"/>
                                        <p:tgtEl>
                                          <p:spTgt spid="157"/>
                                        </p:tgtEl>
                                      </p:cBhvr>
                                      <p:by x="105000" y="105000"/>
                                    </p:animScale>
                                  </p:childTnLst>
                                </p:cTn>
                              </p:par>
                              <p:par>
                                <p:cTn id="174" presetID="26" presetClass="emph" presetSubtype="0" dur="2000" repeatCount="indefinite" fill="hold" grpId="0" nodeType="withEffect">
                                  <p:stCondLst>
                                    <p:cond delay="1250"/>
                                  </p:stCondLst>
                                  <p:childTnLst>
                                    <p:animEffect transition="out" filter="fade">
                                      <p:cBhvr>
                                        <p:cTn id="175" dur="2000" tmFilter="0, 0; .2, .5; .8, .5; 1, 0"/>
                                        <p:tgtEl>
                                          <p:spTgt spid="174"/>
                                        </p:tgtEl>
                                      </p:cBhvr>
                                    </p:animEffect>
                                    <p:animScale>
                                      <p:cBhvr>
                                        <p:cTn id="176" dur="1000" autoRev="1" fill="hold"/>
                                        <p:tgtEl>
                                          <p:spTgt spid="174"/>
                                        </p:tgtEl>
                                      </p:cBhvr>
                                      <p:by x="105000" y="105000"/>
                                    </p:animScale>
                                  </p:childTnLst>
                                </p:cTn>
                              </p:par>
                              <p:par>
                                <p:cTn id="177" presetID="26" presetClass="emph" presetSubtype="0" dur="2000" repeatCount="indefinite" fill="hold" grpId="0" nodeType="withEffect">
                                  <p:stCondLst>
                                    <p:cond delay="1250"/>
                                  </p:stCondLst>
                                  <p:childTnLst>
                                    <p:animEffect transition="out" filter="fade">
                                      <p:cBhvr>
                                        <p:cTn id="178" dur="2000" tmFilter="0, 0; .2, .5; .8, .5; 1, 0"/>
                                        <p:tgtEl>
                                          <p:spTgt spid="191"/>
                                        </p:tgtEl>
                                      </p:cBhvr>
                                    </p:animEffect>
                                    <p:animScale>
                                      <p:cBhvr>
                                        <p:cTn id="179" dur="1000" autoRev="1" fill="hold"/>
                                        <p:tgtEl>
                                          <p:spTgt spid="191"/>
                                        </p:tgtEl>
                                      </p:cBhvr>
                                      <p:by x="105000" y="105000"/>
                                    </p:animScale>
                                  </p:childTnLst>
                                </p:cTn>
                              </p:par>
                              <p:par>
                                <p:cTn id="180" presetID="26" presetClass="emph" presetSubtype="0" dur="2000" repeatCount="indefinite" fill="hold" grpId="0" nodeType="withEffect">
                                  <p:stCondLst>
                                    <p:cond delay="1250"/>
                                  </p:stCondLst>
                                  <p:childTnLst>
                                    <p:animEffect transition="out" filter="fade">
                                      <p:cBhvr>
                                        <p:cTn id="181" dur="2000" tmFilter="0, 0; .2, .5; .8, .5; 1, 0"/>
                                        <p:tgtEl>
                                          <p:spTgt spid="208"/>
                                        </p:tgtEl>
                                      </p:cBhvr>
                                    </p:animEffect>
                                    <p:animScale>
                                      <p:cBhvr>
                                        <p:cTn id="182" dur="1000" autoRev="1" fill="hold"/>
                                        <p:tgtEl>
                                          <p:spTgt spid="208"/>
                                        </p:tgtEl>
                                      </p:cBhvr>
                                      <p:by x="105000" y="105000"/>
                                    </p:animScale>
                                  </p:childTnLst>
                                </p:cTn>
                              </p:par>
                              <p:par>
                                <p:cTn id="183" presetID="26" presetClass="emph" presetSubtype="0" dur="2000" repeatCount="indefinite" fill="hold" grpId="0" nodeType="withEffect">
                                  <p:stCondLst>
                                    <p:cond delay="1250"/>
                                  </p:stCondLst>
                                  <p:childTnLst>
                                    <p:animEffect transition="out" filter="fade">
                                      <p:cBhvr>
                                        <p:cTn id="184" dur="2000" tmFilter="0, 0; .2, .5; .8, .5; 1, 0"/>
                                        <p:tgtEl>
                                          <p:spTgt spid="224"/>
                                        </p:tgtEl>
                                      </p:cBhvr>
                                    </p:animEffect>
                                    <p:animScale>
                                      <p:cBhvr>
                                        <p:cTn id="185" dur="1000" autoRev="1" fill="hold"/>
                                        <p:tgtEl>
                                          <p:spTgt spid="224"/>
                                        </p:tgtEl>
                                      </p:cBhvr>
                                      <p:by x="105000" y="105000"/>
                                    </p:animScale>
                                  </p:childTnLst>
                                </p:cTn>
                              </p:par>
                              <p:par>
                                <p:cTn id="186" presetID="26" presetClass="emph" presetSubtype="0" dur="2000" repeatCount="indefinite" fill="hold" grpId="0" nodeType="withEffect">
                                  <p:stCondLst>
                                    <p:cond delay="1500"/>
                                  </p:stCondLst>
                                  <p:childTnLst>
                                    <p:animEffect transition="out" filter="fade">
                                      <p:cBhvr>
                                        <p:cTn id="187" dur="2000" tmFilter="0, 0; .2, .5; .8, .5; 1, 0"/>
                                        <p:tgtEl>
                                          <p:spTgt spid="13"/>
                                        </p:tgtEl>
                                      </p:cBhvr>
                                    </p:animEffect>
                                    <p:animScale>
                                      <p:cBhvr>
                                        <p:cTn id="188" dur="1000" autoRev="1" fill="hold"/>
                                        <p:tgtEl>
                                          <p:spTgt spid="13"/>
                                        </p:tgtEl>
                                      </p:cBhvr>
                                      <p:by x="105000" y="105000"/>
                                    </p:animScale>
                                  </p:childTnLst>
                                </p:cTn>
                              </p:par>
                              <p:par>
                                <p:cTn id="189" presetID="26" presetClass="emph" presetSubtype="0" dur="2000" repeatCount="indefinite" fill="hold" grpId="0" nodeType="withEffect">
                                  <p:stCondLst>
                                    <p:cond delay="1500"/>
                                  </p:stCondLst>
                                  <p:childTnLst>
                                    <p:animEffect transition="out" filter="fade">
                                      <p:cBhvr>
                                        <p:cTn id="190" dur="2000" tmFilter="0, 0; .2, .5; .8, .5; 1, 0"/>
                                        <p:tgtEl>
                                          <p:spTgt spid="28"/>
                                        </p:tgtEl>
                                      </p:cBhvr>
                                    </p:animEffect>
                                    <p:animScale>
                                      <p:cBhvr>
                                        <p:cTn id="191" dur="1000" autoRev="1" fill="hold"/>
                                        <p:tgtEl>
                                          <p:spTgt spid="28"/>
                                        </p:tgtEl>
                                      </p:cBhvr>
                                      <p:by x="105000" y="105000"/>
                                    </p:animScale>
                                  </p:childTnLst>
                                </p:cTn>
                              </p:par>
                              <p:par>
                                <p:cTn id="192" presetID="26" presetClass="emph" presetSubtype="0" dur="2000" repeatCount="indefinite" fill="hold" grpId="0" nodeType="withEffect">
                                  <p:stCondLst>
                                    <p:cond delay="1500"/>
                                  </p:stCondLst>
                                  <p:childTnLst>
                                    <p:animEffect transition="out" filter="fade">
                                      <p:cBhvr>
                                        <p:cTn id="193" dur="2000" tmFilter="0, 0; .2, .5; .8, .5; 1, 0"/>
                                        <p:tgtEl>
                                          <p:spTgt spid="44"/>
                                        </p:tgtEl>
                                      </p:cBhvr>
                                    </p:animEffect>
                                    <p:animScale>
                                      <p:cBhvr>
                                        <p:cTn id="194" dur="1000" autoRev="1" fill="hold"/>
                                        <p:tgtEl>
                                          <p:spTgt spid="44"/>
                                        </p:tgtEl>
                                      </p:cBhvr>
                                      <p:by x="105000" y="105000"/>
                                    </p:animScale>
                                  </p:childTnLst>
                                </p:cTn>
                              </p:par>
                              <p:par>
                                <p:cTn id="195" presetID="26" presetClass="emph" presetSubtype="0" dur="2000" repeatCount="indefinite" fill="hold" grpId="0" nodeType="withEffect">
                                  <p:stCondLst>
                                    <p:cond delay="1500"/>
                                  </p:stCondLst>
                                  <p:childTnLst>
                                    <p:animEffect transition="out" filter="fade">
                                      <p:cBhvr>
                                        <p:cTn id="196" dur="2000" tmFilter="0, 0; .2, .5; .8, .5; 1, 0"/>
                                        <p:tgtEl>
                                          <p:spTgt spid="60"/>
                                        </p:tgtEl>
                                      </p:cBhvr>
                                    </p:animEffect>
                                    <p:animScale>
                                      <p:cBhvr>
                                        <p:cTn id="197" dur="1000" autoRev="1" fill="hold"/>
                                        <p:tgtEl>
                                          <p:spTgt spid="60"/>
                                        </p:tgtEl>
                                      </p:cBhvr>
                                      <p:by x="105000" y="105000"/>
                                    </p:animScale>
                                  </p:childTnLst>
                                </p:cTn>
                              </p:par>
                              <p:par>
                                <p:cTn id="198" presetID="26" presetClass="emph" presetSubtype="0" dur="2000" repeatCount="indefinite" fill="hold" grpId="0" nodeType="withEffect">
                                  <p:stCondLst>
                                    <p:cond delay="1500"/>
                                  </p:stCondLst>
                                  <p:childTnLst>
                                    <p:animEffect transition="out" filter="fade">
                                      <p:cBhvr>
                                        <p:cTn id="199" dur="2000" tmFilter="0, 0; .2, .5; .8, .5; 1, 0"/>
                                        <p:tgtEl>
                                          <p:spTgt spid="76"/>
                                        </p:tgtEl>
                                      </p:cBhvr>
                                    </p:animEffect>
                                    <p:animScale>
                                      <p:cBhvr>
                                        <p:cTn id="200" dur="1000" autoRev="1" fill="hold"/>
                                        <p:tgtEl>
                                          <p:spTgt spid="76"/>
                                        </p:tgtEl>
                                      </p:cBhvr>
                                      <p:by x="105000" y="105000"/>
                                    </p:animScale>
                                  </p:childTnLst>
                                </p:cTn>
                              </p:par>
                              <p:par>
                                <p:cTn id="201" presetID="26" presetClass="emph" presetSubtype="0" dur="2000" repeatCount="indefinite" fill="hold" grpId="0" nodeType="withEffect">
                                  <p:stCondLst>
                                    <p:cond delay="1500"/>
                                  </p:stCondLst>
                                  <p:childTnLst>
                                    <p:animEffect transition="out" filter="fade">
                                      <p:cBhvr>
                                        <p:cTn id="202" dur="2000" tmFilter="0, 0; .2, .5; .8, .5; 1, 0"/>
                                        <p:tgtEl>
                                          <p:spTgt spid="92"/>
                                        </p:tgtEl>
                                      </p:cBhvr>
                                    </p:animEffect>
                                    <p:animScale>
                                      <p:cBhvr>
                                        <p:cTn id="203" dur="1000" autoRev="1" fill="hold"/>
                                        <p:tgtEl>
                                          <p:spTgt spid="92"/>
                                        </p:tgtEl>
                                      </p:cBhvr>
                                      <p:by x="105000" y="105000"/>
                                    </p:animScale>
                                  </p:childTnLst>
                                </p:cTn>
                              </p:par>
                              <p:par>
                                <p:cTn id="204" presetID="26" presetClass="emph" presetSubtype="0" dur="2000" repeatCount="indefinite" fill="hold" grpId="0" nodeType="withEffect">
                                  <p:stCondLst>
                                    <p:cond delay="1500"/>
                                  </p:stCondLst>
                                  <p:childTnLst>
                                    <p:animEffect transition="out" filter="fade">
                                      <p:cBhvr>
                                        <p:cTn id="205" dur="2000" tmFilter="0, 0; .2, .5; .8, .5; 1, 0"/>
                                        <p:tgtEl>
                                          <p:spTgt spid="108"/>
                                        </p:tgtEl>
                                      </p:cBhvr>
                                    </p:animEffect>
                                    <p:animScale>
                                      <p:cBhvr>
                                        <p:cTn id="206" dur="1000" autoRev="1" fill="hold"/>
                                        <p:tgtEl>
                                          <p:spTgt spid="108"/>
                                        </p:tgtEl>
                                      </p:cBhvr>
                                      <p:by x="105000" y="105000"/>
                                    </p:animScale>
                                  </p:childTnLst>
                                </p:cTn>
                              </p:par>
                              <p:par>
                                <p:cTn id="207" presetID="26" presetClass="emph" presetSubtype="0" dur="2000" repeatCount="indefinite" fill="hold" grpId="0" nodeType="withEffect">
                                  <p:stCondLst>
                                    <p:cond delay="1500"/>
                                  </p:stCondLst>
                                  <p:childTnLst>
                                    <p:animEffect transition="out" filter="fade">
                                      <p:cBhvr>
                                        <p:cTn id="208" dur="2000" tmFilter="0, 0; .2, .5; .8, .5; 1, 0"/>
                                        <p:tgtEl>
                                          <p:spTgt spid="124"/>
                                        </p:tgtEl>
                                      </p:cBhvr>
                                    </p:animEffect>
                                    <p:animScale>
                                      <p:cBhvr>
                                        <p:cTn id="209" dur="1000" autoRev="1" fill="hold"/>
                                        <p:tgtEl>
                                          <p:spTgt spid="124"/>
                                        </p:tgtEl>
                                      </p:cBhvr>
                                      <p:by x="105000" y="105000"/>
                                    </p:animScale>
                                  </p:childTnLst>
                                </p:cTn>
                              </p:par>
                              <p:par>
                                <p:cTn id="210" presetID="26" presetClass="emph" presetSubtype="0" dur="2000" repeatCount="indefinite" fill="hold" grpId="0" nodeType="withEffect">
                                  <p:stCondLst>
                                    <p:cond delay="1500"/>
                                  </p:stCondLst>
                                  <p:childTnLst>
                                    <p:animEffect transition="out" filter="fade">
                                      <p:cBhvr>
                                        <p:cTn id="211" dur="2000" tmFilter="0, 0; .2, .5; .8, .5; 1, 0"/>
                                        <p:tgtEl>
                                          <p:spTgt spid="141"/>
                                        </p:tgtEl>
                                      </p:cBhvr>
                                    </p:animEffect>
                                    <p:animScale>
                                      <p:cBhvr>
                                        <p:cTn id="212" dur="1000" autoRev="1" fill="hold"/>
                                        <p:tgtEl>
                                          <p:spTgt spid="141"/>
                                        </p:tgtEl>
                                      </p:cBhvr>
                                      <p:by x="105000" y="105000"/>
                                    </p:animScale>
                                  </p:childTnLst>
                                </p:cTn>
                              </p:par>
                              <p:par>
                                <p:cTn id="213" presetID="26" presetClass="emph" presetSubtype="0" dur="2000" repeatCount="indefinite" fill="hold" grpId="0" nodeType="withEffect">
                                  <p:stCondLst>
                                    <p:cond delay="1500"/>
                                  </p:stCondLst>
                                  <p:childTnLst>
                                    <p:animEffect transition="out" filter="fade">
                                      <p:cBhvr>
                                        <p:cTn id="214" dur="2000" tmFilter="0, 0; .2, .5; .8, .5; 1, 0"/>
                                        <p:tgtEl>
                                          <p:spTgt spid="158"/>
                                        </p:tgtEl>
                                      </p:cBhvr>
                                    </p:animEffect>
                                    <p:animScale>
                                      <p:cBhvr>
                                        <p:cTn id="215" dur="1000" autoRev="1" fill="hold"/>
                                        <p:tgtEl>
                                          <p:spTgt spid="158"/>
                                        </p:tgtEl>
                                      </p:cBhvr>
                                      <p:by x="105000" y="105000"/>
                                    </p:animScale>
                                  </p:childTnLst>
                                </p:cTn>
                              </p:par>
                              <p:par>
                                <p:cTn id="216" presetID="26" presetClass="emph" presetSubtype="0" dur="2000" repeatCount="indefinite" fill="hold" grpId="0" nodeType="withEffect">
                                  <p:stCondLst>
                                    <p:cond delay="1500"/>
                                  </p:stCondLst>
                                  <p:childTnLst>
                                    <p:animEffect transition="out" filter="fade">
                                      <p:cBhvr>
                                        <p:cTn id="217" dur="2000" tmFilter="0, 0; .2, .5; .8, .5; 1, 0"/>
                                        <p:tgtEl>
                                          <p:spTgt spid="175"/>
                                        </p:tgtEl>
                                      </p:cBhvr>
                                    </p:animEffect>
                                    <p:animScale>
                                      <p:cBhvr>
                                        <p:cTn id="218" dur="1000" autoRev="1" fill="hold"/>
                                        <p:tgtEl>
                                          <p:spTgt spid="175"/>
                                        </p:tgtEl>
                                      </p:cBhvr>
                                      <p:by x="105000" y="105000"/>
                                    </p:animScale>
                                  </p:childTnLst>
                                </p:cTn>
                              </p:par>
                              <p:par>
                                <p:cTn id="219" presetID="26" presetClass="emph" presetSubtype="0" dur="2000" repeatCount="indefinite" fill="hold" grpId="0" nodeType="withEffect">
                                  <p:stCondLst>
                                    <p:cond delay="1500"/>
                                  </p:stCondLst>
                                  <p:childTnLst>
                                    <p:animEffect transition="out" filter="fade">
                                      <p:cBhvr>
                                        <p:cTn id="220" dur="2000" tmFilter="0, 0; .2, .5; .8, .5; 1, 0"/>
                                        <p:tgtEl>
                                          <p:spTgt spid="192"/>
                                        </p:tgtEl>
                                      </p:cBhvr>
                                    </p:animEffect>
                                    <p:animScale>
                                      <p:cBhvr>
                                        <p:cTn id="221" dur="1000" autoRev="1" fill="hold"/>
                                        <p:tgtEl>
                                          <p:spTgt spid="192"/>
                                        </p:tgtEl>
                                      </p:cBhvr>
                                      <p:by x="105000" y="105000"/>
                                    </p:animScale>
                                  </p:childTnLst>
                                </p:cTn>
                              </p:par>
                              <p:par>
                                <p:cTn id="222" presetID="26" presetClass="emph" presetSubtype="0" dur="2000" repeatCount="indefinite" fill="hold" grpId="0" nodeType="withEffect">
                                  <p:stCondLst>
                                    <p:cond delay="1500"/>
                                  </p:stCondLst>
                                  <p:childTnLst>
                                    <p:animEffect transition="out" filter="fade">
                                      <p:cBhvr>
                                        <p:cTn id="223" dur="2000" tmFilter="0, 0; .2, .5; .8, .5; 1, 0"/>
                                        <p:tgtEl>
                                          <p:spTgt spid="209"/>
                                        </p:tgtEl>
                                      </p:cBhvr>
                                    </p:animEffect>
                                    <p:animScale>
                                      <p:cBhvr>
                                        <p:cTn id="224" dur="1000" autoRev="1" fill="hold"/>
                                        <p:tgtEl>
                                          <p:spTgt spid="209"/>
                                        </p:tgtEl>
                                      </p:cBhvr>
                                      <p:by x="105000" y="105000"/>
                                    </p:animScale>
                                  </p:childTnLst>
                                </p:cTn>
                              </p:par>
                              <p:par>
                                <p:cTn id="225" presetID="26" presetClass="emph" presetSubtype="0" dur="2000" repeatCount="indefinite" fill="hold" grpId="0" nodeType="withEffect">
                                  <p:stCondLst>
                                    <p:cond delay="1500"/>
                                  </p:stCondLst>
                                  <p:childTnLst>
                                    <p:animEffect transition="out" filter="fade">
                                      <p:cBhvr>
                                        <p:cTn id="226" dur="2000" tmFilter="0, 0; .2, .5; .8, .5; 1, 0"/>
                                        <p:tgtEl>
                                          <p:spTgt spid="225"/>
                                        </p:tgtEl>
                                      </p:cBhvr>
                                    </p:animEffect>
                                    <p:animScale>
                                      <p:cBhvr>
                                        <p:cTn id="227" dur="1000" autoRev="1" fill="hold"/>
                                        <p:tgtEl>
                                          <p:spTgt spid="225"/>
                                        </p:tgtEl>
                                      </p:cBhvr>
                                      <p:by x="105000" y="105000"/>
                                    </p:animScale>
                                  </p:childTnLst>
                                </p:cTn>
                              </p:par>
                              <p:par>
                                <p:cTn id="228" presetID="26" presetClass="emph" presetSubtype="0" dur="2000" repeatCount="indefinite" fill="hold" grpId="0" nodeType="withEffect">
                                  <p:stCondLst>
                                    <p:cond delay="1750"/>
                                  </p:stCondLst>
                                  <p:childTnLst>
                                    <p:animEffect transition="out" filter="fade">
                                      <p:cBhvr>
                                        <p:cTn id="229" dur="2000" tmFilter="0, 0; .2, .5; .8, .5; 1, 0"/>
                                        <p:tgtEl>
                                          <p:spTgt spid="14"/>
                                        </p:tgtEl>
                                      </p:cBhvr>
                                    </p:animEffect>
                                    <p:animScale>
                                      <p:cBhvr>
                                        <p:cTn id="230" dur="1000" autoRev="1" fill="hold"/>
                                        <p:tgtEl>
                                          <p:spTgt spid="14"/>
                                        </p:tgtEl>
                                      </p:cBhvr>
                                      <p:by x="105000" y="105000"/>
                                    </p:animScale>
                                  </p:childTnLst>
                                </p:cTn>
                              </p:par>
                              <p:par>
                                <p:cTn id="231" presetID="26" presetClass="emph" presetSubtype="0" dur="2000" repeatCount="indefinite" fill="hold" grpId="0" nodeType="withEffect">
                                  <p:stCondLst>
                                    <p:cond delay="1750"/>
                                  </p:stCondLst>
                                  <p:childTnLst>
                                    <p:animEffect transition="out" filter="fade">
                                      <p:cBhvr>
                                        <p:cTn id="232" dur="2000" tmFilter="0, 0; .2, .5; .8, .5; 1, 0"/>
                                        <p:tgtEl>
                                          <p:spTgt spid="29"/>
                                        </p:tgtEl>
                                      </p:cBhvr>
                                    </p:animEffect>
                                    <p:animScale>
                                      <p:cBhvr>
                                        <p:cTn id="233" dur="1000" autoRev="1" fill="hold"/>
                                        <p:tgtEl>
                                          <p:spTgt spid="29"/>
                                        </p:tgtEl>
                                      </p:cBhvr>
                                      <p:by x="105000" y="105000"/>
                                    </p:animScale>
                                  </p:childTnLst>
                                </p:cTn>
                              </p:par>
                              <p:par>
                                <p:cTn id="234" presetID="26" presetClass="emph" presetSubtype="0" dur="2000" repeatCount="indefinite" fill="hold" grpId="0" nodeType="withEffect">
                                  <p:stCondLst>
                                    <p:cond delay="1750"/>
                                  </p:stCondLst>
                                  <p:childTnLst>
                                    <p:animEffect transition="out" filter="fade">
                                      <p:cBhvr>
                                        <p:cTn id="235" dur="2000" tmFilter="0, 0; .2, .5; .8, .5; 1, 0"/>
                                        <p:tgtEl>
                                          <p:spTgt spid="45"/>
                                        </p:tgtEl>
                                      </p:cBhvr>
                                    </p:animEffect>
                                    <p:animScale>
                                      <p:cBhvr>
                                        <p:cTn id="236" dur="1000" autoRev="1" fill="hold"/>
                                        <p:tgtEl>
                                          <p:spTgt spid="45"/>
                                        </p:tgtEl>
                                      </p:cBhvr>
                                      <p:by x="105000" y="105000"/>
                                    </p:animScale>
                                  </p:childTnLst>
                                </p:cTn>
                              </p:par>
                              <p:par>
                                <p:cTn id="237" presetID="26" presetClass="emph" presetSubtype="0" dur="2000" repeatCount="indefinite" fill="hold" grpId="0" nodeType="withEffect">
                                  <p:stCondLst>
                                    <p:cond delay="1750"/>
                                  </p:stCondLst>
                                  <p:childTnLst>
                                    <p:animEffect transition="out" filter="fade">
                                      <p:cBhvr>
                                        <p:cTn id="238" dur="2000" tmFilter="0, 0; .2, .5; .8, .5; 1, 0"/>
                                        <p:tgtEl>
                                          <p:spTgt spid="61"/>
                                        </p:tgtEl>
                                      </p:cBhvr>
                                    </p:animEffect>
                                    <p:animScale>
                                      <p:cBhvr>
                                        <p:cTn id="239" dur="1000" autoRev="1" fill="hold"/>
                                        <p:tgtEl>
                                          <p:spTgt spid="61"/>
                                        </p:tgtEl>
                                      </p:cBhvr>
                                      <p:by x="105000" y="105000"/>
                                    </p:animScale>
                                  </p:childTnLst>
                                </p:cTn>
                              </p:par>
                              <p:par>
                                <p:cTn id="240" presetID="26" presetClass="emph" presetSubtype="0" dur="2000" repeatCount="indefinite" fill="hold" grpId="0" nodeType="withEffect">
                                  <p:stCondLst>
                                    <p:cond delay="1750"/>
                                  </p:stCondLst>
                                  <p:childTnLst>
                                    <p:animEffect transition="out" filter="fade">
                                      <p:cBhvr>
                                        <p:cTn id="241" dur="2000" tmFilter="0, 0; .2, .5; .8, .5; 1, 0"/>
                                        <p:tgtEl>
                                          <p:spTgt spid="77"/>
                                        </p:tgtEl>
                                      </p:cBhvr>
                                    </p:animEffect>
                                    <p:animScale>
                                      <p:cBhvr>
                                        <p:cTn id="242" dur="1000" autoRev="1" fill="hold"/>
                                        <p:tgtEl>
                                          <p:spTgt spid="77"/>
                                        </p:tgtEl>
                                      </p:cBhvr>
                                      <p:by x="105000" y="105000"/>
                                    </p:animScale>
                                  </p:childTnLst>
                                </p:cTn>
                              </p:par>
                              <p:par>
                                <p:cTn id="243" presetID="26" presetClass="emph" presetSubtype="0" dur="2000" repeatCount="indefinite" fill="hold" grpId="0" nodeType="withEffect">
                                  <p:stCondLst>
                                    <p:cond delay="1750"/>
                                  </p:stCondLst>
                                  <p:childTnLst>
                                    <p:animEffect transition="out" filter="fade">
                                      <p:cBhvr>
                                        <p:cTn id="244" dur="2000" tmFilter="0, 0; .2, .5; .8, .5; 1, 0"/>
                                        <p:tgtEl>
                                          <p:spTgt spid="93"/>
                                        </p:tgtEl>
                                      </p:cBhvr>
                                    </p:animEffect>
                                    <p:animScale>
                                      <p:cBhvr>
                                        <p:cTn id="245" dur="1000" autoRev="1" fill="hold"/>
                                        <p:tgtEl>
                                          <p:spTgt spid="93"/>
                                        </p:tgtEl>
                                      </p:cBhvr>
                                      <p:by x="105000" y="105000"/>
                                    </p:animScale>
                                  </p:childTnLst>
                                </p:cTn>
                              </p:par>
                              <p:par>
                                <p:cTn id="246" presetID="26" presetClass="emph" presetSubtype="0" dur="2000" repeatCount="indefinite" fill="hold" grpId="0" nodeType="withEffect">
                                  <p:stCondLst>
                                    <p:cond delay="1750"/>
                                  </p:stCondLst>
                                  <p:childTnLst>
                                    <p:animEffect transition="out" filter="fade">
                                      <p:cBhvr>
                                        <p:cTn id="247" dur="2000" tmFilter="0, 0; .2, .5; .8, .5; 1, 0"/>
                                        <p:tgtEl>
                                          <p:spTgt spid="109"/>
                                        </p:tgtEl>
                                      </p:cBhvr>
                                    </p:animEffect>
                                    <p:animScale>
                                      <p:cBhvr>
                                        <p:cTn id="248" dur="1000" autoRev="1" fill="hold"/>
                                        <p:tgtEl>
                                          <p:spTgt spid="109"/>
                                        </p:tgtEl>
                                      </p:cBhvr>
                                      <p:by x="105000" y="105000"/>
                                    </p:animScale>
                                  </p:childTnLst>
                                </p:cTn>
                              </p:par>
                              <p:par>
                                <p:cTn id="249" presetID="26" presetClass="emph" presetSubtype="0" dur="2000" repeatCount="indefinite" fill="hold" grpId="0" nodeType="withEffect">
                                  <p:stCondLst>
                                    <p:cond delay="1750"/>
                                  </p:stCondLst>
                                  <p:childTnLst>
                                    <p:animEffect transition="out" filter="fade">
                                      <p:cBhvr>
                                        <p:cTn id="250" dur="2000" tmFilter="0, 0; .2, .5; .8, .5; 1, 0"/>
                                        <p:tgtEl>
                                          <p:spTgt spid="125"/>
                                        </p:tgtEl>
                                      </p:cBhvr>
                                    </p:animEffect>
                                    <p:animScale>
                                      <p:cBhvr>
                                        <p:cTn id="251" dur="1000" autoRev="1" fill="hold"/>
                                        <p:tgtEl>
                                          <p:spTgt spid="125"/>
                                        </p:tgtEl>
                                      </p:cBhvr>
                                      <p:by x="105000" y="105000"/>
                                    </p:animScale>
                                  </p:childTnLst>
                                </p:cTn>
                              </p:par>
                              <p:par>
                                <p:cTn id="252" presetID="26" presetClass="emph" presetSubtype="0" dur="2000" repeatCount="indefinite" fill="hold" grpId="0" nodeType="withEffect">
                                  <p:stCondLst>
                                    <p:cond delay="1750"/>
                                  </p:stCondLst>
                                  <p:childTnLst>
                                    <p:animEffect transition="out" filter="fade">
                                      <p:cBhvr>
                                        <p:cTn id="253" dur="2000" tmFilter="0, 0; .2, .5; .8, .5; 1, 0"/>
                                        <p:tgtEl>
                                          <p:spTgt spid="142"/>
                                        </p:tgtEl>
                                      </p:cBhvr>
                                    </p:animEffect>
                                    <p:animScale>
                                      <p:cBhvr>
                                        <p:cTn id="254" dur="1000" autoRev="1" fill="hold"/>
                                        <p:tgtEl>
                                          <p:spTgt spid="142"/>
                                        </p:tgtEl>
                                      </p:cBhvr>
                                      <p:by x="105000" y="105000"/>
                                    </p:animScale>
                                  </p:childTnLst>
                                </p:cTn>
                              </p:par>
                              <p:par>
                                <p:cTn id="255" presetID="26" presetClass="emph" presetSubtype="0" dur="2000" repeatCount="indefinite" fill="hold" grpId="0" nodeType="withEffect">
                                  <p:stCondLst>
                                    <p:cond delay="1750"/>
                                  </p:stCondLst>
                                  <p:childTnLst>
                                    <p:animEffect transition="out" filter="fade">
                                      <p:cBhvr>
                                        <p:cTn id="256" dur="2000" tmFilter="0, 0; .2, .5; .8, .5; 1, 0"/>
                                        <p:tgtEl>
                                          <p:spTgt spid="159"/>
                                        </p:tgtEl>
                                      </p:cBhvr>
                                    </p:animEffect>
                                    <p:animScale>
                                      <p:cBhvr>
                                        <p:cTn id="257" dur="1000" autoRev="1" fill="hold"/>
                                        <p:tgtEl>
                                          <p:spTgt spid="159"/>
                                        </p:tgtEl>
                                      </p:cBhvr>
                                      <p:by x="105000" y="105000"/>
                                    </p:animScale>
                                  </p:childTnLst>
                                </p:cTn>
                              </p:par>
                              <p:par>
                                <p:cTn id="258" presetID="26" presetClass="emph" presetSubtype="0" dur="2000" repeatCount="indefinite" fill="hold" grpId="0" nodeType="withEffect">
                                  <p:stCondLst>
                                    <p:cond delay="1750"/>
                                  </p:stCondLst>
                                  <p:childTnLst>
                                    <p:animEffect transition="out" filter="fade">
                                      <p:cBhvr>
                                        <p:cTn id="259" dur="2000" tmFilter="0, 0; .2, .5; .8, .5; 1, 0"/>
                                        <p:tgtEl>
                                          <p:spTgt spid="176"/>
                                        </p:tgtEl>
                                      </p:cBhvr>
                                    </p:animEffect>
                                    <p:animScale>
                                      <p:cBhvr>
                                        <p:cTn id="260" dur="1000" autoRev="1" fill="hold"/>
                                        <p:tgtEl>
                                          <p:spTgt spid="176"/>
                                        </p:tgtEl>
                                      </p:cBhvr>
                                      <p:by x="105000" y="105000"/>
                                    </p:animScale>
                                  </p:childTnLst>
                                </p:cTn>
                              </p:par>
                              <p:par>
                                <p:cTn id="261" presetID="26" presetClass="emph" presetSubtype="0" dur="2000" repeatCount="indefinite" fill="hold" grpId="0" nodeType="withEffect">
                                  <p:stCondLst>
                                    <p:cond delay="1750"/>
                                  </p:stCondLst>
                                  <p:childTnLst>
                                    <p:animEffect transition="out" filter="fade">
                                      <p:cBhvr>
                                        <p:cTn id="262" dur="2000" tmFilter="0, 0; .2, .5; .8, .5; 1, 0"/>
                                        <p:tgtEl>
                                          <p:spTgt spid="193"/>
                                        </p:tgtEl>
                                      </p:cBhvr>
                                    </p:animEffect>
                                    <p:animScale>
                                      <p:cBhvr>
                                        <p:cTn id="263" dur="1000" autoRev="1" fill="hold"/>
                                        <p:tgtEl>
                                          <p:spTgt spid="193"/>
                                        </p:tgtEl>
                                      </p:cBhvr>
                                      <p:by x="105000" y="105000"/>
                                    </p:animScale>
                                  </p:childTnLst>
                                </p:cTn>
                              </p:par>
                              <p:par>
                                <p:cTn id="264" presetID="26" presetClass="emph" presetSubtype="0" dur="2000" repeatCount="indefinite" fill="hold" grpId="0" nodeType="withEffect">
                                  <p:stCondLst>
                                    <p:cond delay="1750"/>
                                  </p:stCondLst>
                                  <p:childTnLst>
                                    <p:animEffect transition="out" filter="fade">
                                      <p:cBhvr>
                                        <p:cTn id="265" dur="2000" tmFilter="0, 0; .2, .5; .8, .5; 1, 0"/>
                                        <p:tgtEl>
                                          <p:spTgt spid="210"/>
                                        </p:tgtEl>
                                      </p:cBhvr>
                                    </p:animEffect>
                                    <p:animScale>
                                      <p:cBhvr>
                                        <p:cTn id="266" dur="1000" autoRev="1" fill="hold"/>
                                        <p:tgtEl>
                                          <p:spTgt spid="210"/>
                                        </p:tgtEl>
                                      </p:cBhvr>
                                      <p:by x="105000" y="105000"/>
                                    </p:animScale>
                                  </p:childTnLst>
                                </p:cTn>
                              </p:par>
                              <p:par>
                                <p:cTn id="267" presetID="26" presetClass="emph" presetSubtype="0" dur="2000" repeatCount="indefinite" fill="hold" grpId="0" nodeType="withEffect">
                                  <p:stCondLst>
                                    <p:cond delay="1750"/>
                                  </p:stCondLst>
                                  <p:childTnLst>
                                    <p:animEffect transition="out" filter="fade">
                                      <p:cBhvr>
                                        <p:cTn id="268" dur="2000" tmFilter="0, 0; .2, .5; .8, .5; 1, 0"/>
                                        <p:tgtEl>
                                          <p:spTgt spid="226"/>
                                        </p:tgtEl>
                                      </p:cBhvr>
                                    </p:animEffect>
                                    <p:animScale>
                                      <p:cBhvr>
                                        <p:cTn id="269" dur="1000" autoRev="1" fill="hold"/>
                                        <p:tgtEl>
                                          <p:spTgt spid="226"/>
                                        </p:tgtEl>
                                      </p:cBhvr>
                                      <p:by x="105000" y="105000"/>
                                    </p:animScale>
                                  </p:childTnLst>
                                </p:cTn>
                              </p:par>
                              <p:par>
                                <p:cTn id="270" presetID="26" presetClass="emph" presetSubtype="0" dur="2000" repeatCount="indefinite" fill="hold" grpId="0" nodeType="withEffect">
                                  <p:stCondLst>
                                    <p:cond delay="2000"/>
                                  </p:stCondLst>
                                  <p:childTnLst>
                                    <p:animEffect transition="out" filter="fade">
                                      <p:cBhvr>
                                        <p:cTn id="271" dur="2000" tmFilter="0, 0; .2, .5; .8, .5; 1, 0"/>
                                        <p:tgtEl>
                                          <p:spTgt spid="15"/>
                                        </p:tgtEl>
                                      </p:cBhvr>
                                    </p:animEffect>
                                    <p:animScale>
                                      <p:cBhvr>
                                        <p:cTn id="272" dur="1000" autoRev="1" fill="hold"/>
                                        <p:tgtEl>
                                          <p:spTgt spid="15"/>
                                        </p:tgtEl>
                                      </p:cBhvr>
                                      <p:by x="105000" y="105000"/>
                                    </p:animScale>
                                  </p:childTnLst>
                                </p:cTn>
                              </p:par>
                              <p:par>
                                <p:cTn id="273" presetID="26" presetClass="emph" presetSubtype="0" dur="2000" repeatCount="indefinite" fill="hold" grpId="0" nodeType="withEffect">
                                  <p:stCondLst>
                                    <p:cond delay="2000"/>
                                  </p:stCondLst>
                                  <p:childTnLst>
                                    <p:animEffect transition="out" filter="fade">
                                      <p:cBhvr>
                                        <p:cTn id="274" dur="2000" tmFilter="0, 0; .2, .5; .8, .5; 1, 0"/>
                                        <p:tgtEl>
                                          <p:spTgt spid="30"/>
                                        </p:tgtEl>
                                      </p:cBhvr>
                                    </p:animEffect>
                                    <p:animScale>
                                      <p:cBhvr>
                                        <p:cTn id="275" dur="1000" autoRev="1" fill="hold"/>
                                        <p:tgtEl>
                                          <p:spTgt spid="30"/>
                                        </p:tgtEl>
                                      </p:cBhvr>
                                      <p:by x="105000" y="105000"/>
                                    </p:animScale>
                                  </p:childTnLst>
                                </p:cTn>
                              </p:par>
                              <p:par>
                                <p:cTn id="276" presetID="26" presetClass="emph" presetSubtype="0" dur="2000" repeatCount="indefinite" fill="hold" grpId="0" nodeType="withEffect">
                                  <p:stCondLst>
                                    <p:cond delay="2000"/>
                                  </p:stCondLst>
                                  <p:childTnLst>
                                    <p:animEffect transition="out" filter="fade">
                                      <p:cBhvr>
                                        <p:cTn id="277" dur="2000" tmFilter="0, 0; .2, .5; .8, .5; 1, 0"/>
                                        <p:tgtEl>
                                          <p:spTgt spid="46"/>
                                        </p:tgtEl>
                                      </p:cBhvr>
                                    </p:animEffect>
                                    <p:animScale>
                                      <p:cBhvr>
                                        <p:cTn id="278" dur="1000" autoRev="1" fill="hold"/>
                                        <p:tgtEl>
                                          <p:spTgt spid="46"/>
                                        </p:tgtEl>
                                      </p:cBhvr>
                                      <p:by x="105000" y="105000"/>
                                    </p:animScale>
                                  </p:childTnLst>
                                </p:cTn>
                              </p:par>
                              <p:par>
                                <p:cTn id="279" presetID="26" presetClass="emph" presetSubtype="0" dur="2000" repeatCount="indefinite" fill="hold" grpId="0" nodeType="withEffect">
                                  <p:stCondLst>
                                    <p:cond delay="2000"/>
                                  </p:stCondLst>
                                  <p:childTnLst>
                                    <p:animEffect transition="out" filter="fade">
                                      <p:cBhvr>
                                        <p:cTn id="280" dur="2000" tmFilter="0, 0; .2, .5; .8, .5; 1, 0"/>
                                        <p:tgtEl>
                                          <p:spTgt spid="62"/>
                                        </p:tgtEl>
                                      </p:cBhvr>
                                    </p:animEffect>
                                    <p:animScale>
                                      <p:cBhvr>
                                        <p:cTn id="281" dur="1000" autoRev="1" fill="hold"/>
                                        <p:tgtEl>
                                          <p:spTgt spid="62"/>
                                        </p:tgtEl>
                                      </p:cBhvr>
                                      <p:by x="105000" y="105000"/>
                                    </p:animScale>
                                  </p:childTnLst>
                                </p:cTn>
                              </p:par>
                              <p:par>
                                <p:cTn id="282" presetID="26" presetClass="emph" presetSubtype="0" dur="2000" repeatCount="indefinite" fill="hold" grpId="0" nodeType="withEffect">
                                  <p:stCondLst>
                                    <p:cond delay="2000"/>
                                  </p:stCondLst>
                                  <p:childTnLst>
                                    <p:animEffect transition="out" filter="fade">
                                      <p:cBhvr>
                                        <p:cTn id="283" dur="2000" tmFilter="0, 0; .2, .5; .8, .5; 1, 0"/>
                                        <p:tgtEl>
                                          <p:spTgt spid="78"/>
                                        </p:tgtEl>
                                      </p:cBhvr>
                                    </p:animEffect>
                                    <p:animScale>
                                      <p:cBhvr>
                                        <p:cTn id="284" dur="1000" autoRev="1" fill="hold"/>
                                        <p:tgtEl>
                                          <p:spTgt spid="78"/>
                                        </p:tgtEl>
                                      </p:cBhvr>
                                      <p:by x="105000" y="105000"/>
                                    </p:animScale>
                                  </p:childTnLst>
                                </p:cTn>
                              </p:par>
                              <p:par>
                                <p:cTn id="285" presetID="26" presetClass="emph" presetSubtype="0" dur="2000" repeatCount="indefinite" fill="hold" grpId="0" nodeType="withEffect">
                                  <p:stCondLst>
                                    <p:cond delay="2000"/>
                                  </p:stCondLst>
                                  <p:childTnLst>
                                    <p:animEffect transition="out" filter="fade">
                                      <p:cBhvr>
                                        <p:cTn id="286" dur="2000" tmFilter="0, 0; .2, .5; .8, .5; 1, 0"/>
                                        <p:tgtEl>
                                          <p:spTgt spid="94"/>
                                        </p:tgtEl>
                                      </p:cBhvr>
                                    </p:animEffect>
                                    <p:animScale>
                                      <p:cBhvr>
                                        <p:cTn id="287" dur="1000" autoRev="1" fill="hold"/>
                                        <p:tgtEl>
                                          <p:spTgt spid="94"/>
                                        </p:tgtEl>
                                      </p:cBhvr>
                                      <p:by x="105000" y="105000"/>
                                    </p:animScale>
                                  </p:childTnLst>
                                </p:cTn>
                              </p:par>
                              <p:par>
                                <p:cTn id="288" presetID="26" presetClass="emph" presetSubtype="0" dur="2000" repeatCount="indefinite" fill="hold" grpId="0" nodeType="withEffect">
                                  <p:stCondLst>
                                    <p:cond delay="2000"/>
                                  </p:stCondLst>
                                  <p:childTnLst>
                                    <p:animEffect transition="out" filter="fade">
                                      <p:cBhvr>
                                        <p:cTn id="289" dur="2000" tmFilter="0, 0; .2, .5; .8, .5; 1, 0"/>
                                        <p:tgtEl>
                                          <p:spTgt spid="110"/>
                                        </p:tgtEl>
                                      </p:cBhvr>
                                    </p:animEffect>
                                    <p:animScale>
                                      <p:cBhvr>
                                        <p:cTn id="290" dur="1000" autoRev="1" fill="hold"/>
                                        <p:tgtEl>
                                          <p:spTgt spid="110"/>
                                        </p:tgtEl>
                                      </p:cBhvr>
                                      <p:by x="105000" y="105000"/>
                                    </p:animScale>
                                  </p:childTnLst>
                                </p:cTn>
                              </p:par>
                              <p:par>
                                <p:cTn id="291" presetID="26" presetClass="emph" presetSubtype="0" dur="2000" repeatCount="indefinite" fill="hold" grpId="0" nodeType="withEffect">
                                  <p:stCondLst>
                                    <p:cond delay="2000"/>
                                  </p:stCondLst>
                                  <p:childTnLst>
                                    <p:animEffect transition="out" filter="fade">
                                      <p:cBhvr>
                                        <p:cTn id="292" dur="2000" tmFilter="0, 0; .2, .5; .8, .5; 1, 0"/>
                                        <p:tgtEl>
                                          <p:spTgt spid="126"/>
                                        </p:tgtEl>
                                      </p:cBhvr>
                                    </p:animEffect>
                                    <p:animScale>
                                      <p:cBhvr>
                                        <p:cTn id="293" dur="1000" autoRev="1" fill="hold"/>
                                        <p:tgtEl>
                                          <p:spTgt spid="126"/>
                                        </p:tgtEl>
                                      </p:cBhvr>
                                      <p:by x="105000" y="105000"/>
                                    </p:animScale>
                                  </p:childTnLst>
                                </p:cTn>
                              </p:par>
                              <p:par>
                                <p:cTn id="294" presetID="26" presetClass="emph" presetSubtype="0" dur="2000" repeatCount="indefinite" fill="hold" grpId="0" nodeType="withEffect">
                                  <p:stCondLst>
                                    <p:cond delay="2000"/>
                                  </p:stCondLst>
                                  <p:childTnLst>
                                    <p:animEffect transition="out" filter="fade">
                                      <p:cBhvr>
                                        <p:cTn id="295" dur="2000" tmFilter="0, 0; .2, .5; .8, .5; 1, 0"/>
                                        <p:tgtEl>
                                          <p:spTgt spid="143"/>
                                        </p:tgtEl>
                                      </p:cBhvr>
                                    </p:animEffect>
                                    <p:animScale>
                                      <p:cBhvr>
                                        <p:cTn id="296" dur="1000" autoRev="1" fill="hold"/>
                                        <p:tgtEl>
                                          <p:spTgt spid="143"/>
                                        </p:tgtEl>
                                      </p:cBhvr>
                                      <p:by x="105000" y="105000"/>
                                    </p:animScale>
                                  </p:childTnLst>
                                </p:cTn>
                              </p:par>
                              <p:par>
                                <p:cTn id="297" presetID="26" presetClass="emph" presetSubtype="0" dur="2000" repeatCount="indefinite" fill="hold" grpId="0" nodeType="withEffect">
                                  <p:stCondLst>
                                    <p:cond delay="2000"/>
                                  </p:stCondLst>
                                  <p:childTnLst>
                                    <p:animEffect transition="out" filter="fade">
                                      <p:cBhvr>
                                        <p:cTn id="298" dur="2000" tmFilter="0, 0; .2, .5; .8, .5; 1, 0"/>
                                        <p:tgtEl>
                                          <p:spTgt spid="160"/>
                                        </p:tgtEl>
                                      </p:cBhvr>
                                    </p:animEffect>
                                    <p:animScale>
                                      <p:cBhvr>
                                        <p:cTn id="299" dur="1000" autoRev="1" fill="hold"/>
                                        <p:tgtEl>
                                          <p:spTgt spid="160"/>
                                        </p:tgtEl>
                                      </p:cBhvr>
                                      <p:by x="105000" y="105000"/>
                                    </p:animScale>
                                  </p:childTnLst>
                                </p:cTn>
                              </p:par>
                              <p:par>
                                <p:cTn id="300" presetID="26" presetClass="emph" presetSubtype="0" dur="2000" repeatCount="indefinite" fill="hold" grpId="0" nodeType="withEffect">
                                  <p:stCondLst>
                                    <p:cond delay="2000"/>
                                  </p:stCondLst>
                                  <p:childTnLst>
                                    <p:animEffect transition="out" filter="fade">
                                      <p:cBhvr>
                                        <p:cTn id="301" dur="2000" tmFilter="0, 0; .2, .5; .8, .5; 1, 0"/>
                                        <p:tgtEl>
                                          <p:spTgt spid="177"/>
                                        </p:tgtEl>
                                      </p:cBhvr>
                                    </p:animEffect>
                                    <p:animScale>
                                      <p:cBhvr>
                                        <p:cTn id="302" dur="1000" autoRev="1" fill="hold"/>
                                        <p:tgtEl>
                                          <p:spTgt spid="177"/>
                                        </p:tgtEl>
                                      </p:cBhvr>
                                      <p:by x="105000" y="105000"/>
                                    </p:animScale>
                                  </p:childTnLst>
                                </p:cTn>
                              </p:par>
                              <p:par>
                                <p:cTn id="303" presetID="26" presetClass="emph" presetSubtype="0" dur="2000" repeatCount="indefinite" fill="hold" grpId="0" nodeType="withEffect">
                                  <p:stCondLst>
                                    <p:cond delay="2000"/>
                                  </p:stCondLst>
                                  <p:childTnLst>
                                    <p:animEffect transition="out" filter="fade">
                                      <p:cBhvr>
                                        <p:cTn id="304" dur="2000" tmFilter="0, 0; .2, .5; .8, .5; 1, 0"/>
                                        <p:tgtEl>
                                          <p:spTgt spid="194"/>
                                        </p:tgtEl>
                                      </p:cBhvr>
                                    </p:animEffect>
                                    <p:animScale>
                                      <p:cBhvr>
                                        <p:cTn id="305" dur="1000" autoRev="1" fill="hold"/>
                                        <p:tgtEl>
                                          <p:spTgt spid="194"/>
                                        </p:tgtEl>
                                      </p:cBhvr>
                                      <p:by x="105000" y="105000"/>
                                    </p:animScale>
                                  </p:childTnLst>
                                </p:cTn>
                              </p:par>
                              <p:par>
                                <p:cTn id="306" presetID="26" presetClass="emph" presetSubtype="0" dur="2000" repeatCount="indefinite" fill="hold" grpId="0" nodeType="withEffect">
                                  <p:stCondLst>
                                    <p:cond delay="2000"/>
                                  </p:stCondLst>
                                  <p:childTnLst>
                                    <p:animEffect transition="out" filter="fade">
                                      <p:cBhvr>
                                        <p:cTn id="307" dur="2000" tmFilter="0, 0; .2, .5; .8, .5; 1, 0"/>
                                        <p:tgtEl>
                                          <p:spTgt spid="211"/>
                                        </p:tgtEl>
                                      </p:cBhvr>
                                    </p:animEffect>
                                    <p:animScale>
                                      <p:cBhvr>
                                        <p:cTn id="308" dur="1000" autoRev="1" fill="hold"/>
                                        <p:tgtEl>
                                          <p:spTgt spid="211"/>
                                        </p:tgtEl>
                                      </p:cBhvr>
                                      <p:by x="105000" y="105000"/>
                                    </p:animScale>
                                  </p:childTnLst>
                                </p:cTn>
                              </p:par>
                              <p:par>
                                <p:cTn id="309" presetID="26" presetClass="emph" presetSubtype="0" dur="2000" repeatCount="indefinite" fill="hold" grpId="0" nodeType="withEffect">
                                  <p:stCondLst>
                                    <p:cond delay="2000"/>
                                  </p:stCondLst>
                                  <p:childTnLst>
                                    <p:animEffect transition="out" filter="fade">
                                      <p:cBhvr>
                                        <p:cTn id="310" dur="2000" tmFilter="0, 0; .2, .5; .8, .5; 1, 0"/>
                                        <p:tgtEl>
                                          <p:spTgt spid="227"/>
                                        </p:tgtEl>
                                      </p:cBhvr>
                                    </p:animEffect>
                                    <p:animScale>
                                      <p:cBhvr>
                                        <p:cTn id="311" dur="1000" autoRev="1" fill="hold"/>
                                        <p:tgtEl>
                                          <p:spTgt spid="227"/>
                                        </p:tgtEl>
                                      </p:cBhvr>
                                      <p:by x="105000" y="105000"/>
                                    </p:animScale>
                                  </p:childTnLst>
                                </p:cTn>
                              </p:par>
                              <p:par>
                                <p:cTn id="312" presetID="26" presetClass="emph" presetSubtype="0" dur="2000" repeatCount="indefinite" fill="hold" grpId="0" nodeType="withEffect">
                                  <p:stCondLst>
                                    <p:cond delay="2250"/>
                                  </p:stCondLst>
                                  <p:childTnLst>
                                    <p:animEffect transition="out" filter="fade">
                                      <p:cBhvr>
                                        <p:cTn id="313" dur="2000" tmFilter="0, 0; .2, .5; .8, .5; 1, 0"/>
                                        <p:tgtEl>
                                          <p:spTgt spid="16"/>
                                        </p:tgtEl>
                                      </p:cBhvr>
                                    </p:animEffect>
                                    <p:animScale>
                                      <p:cBhvr>
                                        <p:cTn id="314" dur="1000" autoRev="1" fill="hold"/>
                                        <p:tgtEl>
                                          <p:spTgt spid="16"/>
                                        </p:tgtEl>
                                      </p:cBhvr>
                                      <p:by x="105000" y="105000"/>
                                    </p:animScale>
                                  </p:childTnLst>
                                </p:cTn>
                              </p:par>
                              <p:par>
                                <p:cTn id="315" presetID="26" presetClass="emph" presetSubtype="0" dur="2000" repeatCount="indefinite" fill="hold" grpId="0" nodeType="withEffect">
                                  <p:stCondLst>
                                    <p:cond delay="2250"/>
                                  </p:stCondLst>
                                  <p:childTnLst>
                                    <p:animEffect transition="out" filter="fade">
                                      <p:cBhvr>
                                        <p:cTn id="316" dur="2000" tmFilter="0, 0; .2, .5; .8, .5; 1, 0"/>
                                        <p:tgtEl>
                                          <p:spTgt spid="31"/>
                                        </p:tgtEl>
                                      </p:cBhvr>
                                    </p:animEffect>
                                    <p:animScale>
                                      <p:cBhvr>
                                        <p:cTn id="317" dur="1000" autoRev="1" fill="hold"/>
                                        <p:tgtEl>
                                          <p:spTgt spid="31"/>
                                        </p:tgtEl>
                                      </p:cBhvr>
                                      <p:by x="105000" y="105000"/>
                                    </p:animScale>
                                  </p:childTnLst>
                                </p:cTn>
                              </p:par>
                              <p:par>
                                <p:cTn id="318" presetID="26" presetClass="emph" presetSubtype="0" dur="2000" repeatCount="indefinite" fill="hold" grpId="0" nodeType="withEffect">
                                  <p:stCondLst>
                                    <p:cond delay="2250"/>
                                  </p:stCondLst>
                                  <p:childTnLst>
                                    <p:animEffect transition="out" filter="fade">
                                      <p:cBhvr>
                                        <p:cTn id="319" dur="2000" tmFilter="0, 0; .2, .5; .8, .5; 1, 0"/>
                                        <p:tgtEl>
                                          <p:spTgt spid="47"/>
                                        </p:tgtEl>
                                      </p:cBhvr>
                                    </p:animEffect>
                                    <p:animScale>
                                      <p:cBhvr>
                                        <p:cTn id="320" dur="1000" autoRev="1" fill="hold"/>
                                        <p:tgtEl>
                                          <p:spTgt spid="47"/>
                                        </p:tgtEl>
                                      </p:cBhvr>
                                      <p:by x="105000" y="105000"/>
                                    </p:animScale>
                                  </p:childTnLst>
                                </p:cTn>
                              </p:par>
                              <p:par>
                                <p:cTn id="321" presetID="26" presetClass="emph" presetSubtype="0" dur="2000" repeatCount="indefinite" fill="hold" grpId="0" nodeType="withEffect">
                                  <p:stCondLst>
                                    <p:cond delay="2250"/>
                                  </p:stCondLst>
                                  <p:childTnLst>
                                    <p:animEffect transition="out" filter="fade">
                                      <p:cBhvr>
                                        <p:cTn id="322" dur="2000" tmFilter="0, 0; .2, .5; .8, .5; 1, 0"/>
                                        <p:tgtEl>
                                          <p:spTgt spid="63"/>
                                        </p:tgtEl>
                                      </p:cBhvr>
                                    </p:animEffect>
                                    <p:animScale>
                                      <p:cBhvr>
                                        <p:cTn id="323" dur="1000" autoRev="1" fill="hold"/>
                                        <p:tgtEl>
                                          <p:spTgt spid="63"/>
                                        </p:tgtEl>
                                      </p:cBhvr>
                                      <p:by x="105000" y="105000"/>
                                    </p:animScale>
                                  </p:childTnLst>
                                </p:cTn>
                              </p:par>
                              <p:par>
                                <p:cTn id="324" presetID="26" presetClass="emph" presetSubtype="0" dur="2000" repeatCount="indefinite" fill="hold" grpId="0" nodeType="withEffect">
                                  <p:stCondLst>
                                    <p:cond delay="2250"/>
                                  </p:stCondLst>
                                  <p:childTnLst>
                                    <p:animEffect transition="out" filter="fade">
                                      <p:cBhvr>
                                        <p:cTn id="325" dur="2000" tmFilter="0, 0; .2, .5; .8, .5; 1, 0"/>
                                        <p:tgtEl>
                                          <p:spTgt spid="79"/>
                                        </p:tgtEl>
                                      </p:cBhvr>
                                    </p:animEffect>
                                    <p:animScale>
                                      <p:cBhvr>
                                        <p:cTn id="326" dur="1000" autoRev="1" fill="hold"/>
                                        <p:tgtEl>
                                          <p:spTgt spid="79"/>
                                        </p:tgtEl>
                                      </p:cBhvr>
                                      <p:by x="105000" y="105000"/>
                                    </p:animScale>
                                  </p:childTnLst>
                                </p:cTn>
                              </p:par>
                              <p:par>
                                <p:cTn id="327" presetID="26" presetClass="emph" presetSubtype="0" dur="2000" repeatCount="indefinite" fill="hold" grpId="0" nodeType="withEffect">
                                  <p:stCondLst>
                                    <p:cond delay="2250"/>
                                  </p:stCondLst>
                                  <p:childTnLst>
                                    <p:animEffect transition="out" filter="fade">
                                      <p:cBhvr>
                                        <p:cTn id="328" dur="2000" tmFilter="0, 0; .2, .5; .8, .5; 1, 0"/>
                                        <p:tgtEl>
                                          <p:spTgt spid="95"/>
                                        </p:tgtEl>
                                      </p:cBhvr>
                                    </p:animEffect>
                                    <p:animScale>
                                      <p:cBhvr>
                                        <p:cTn id="329" dur="1000" autoRev="1" fill="hold"/>
                                        <p:tgtEl>
                                          <p:spTgt spid="95"/>
                                        </p:tgtEl>
                                      </p:cBhvr>
                                      <p:by x="105000" y="105000"/>
                                    </p:animScale>
                                  </p:childTnLst>
                                </p:cTn>
                              </p:par>
                              <p:par>
                                <p:cTn id="330" presetID="26" presetClass="emph" presetSubtype="0" dur="2000" repeatCount="indefinite" fill="hold" grpId="0" nodeType="withEffect">
                                  <p:stCondLst>
                                    <p:cond delay="2250"/>
                                  </p:stCondLst>
                                  <p:childTnLst>
                                    <p:animEffect transition="out" filter="fade">
                                      <p:cBhvr>
                                        <p:cTn id="331" dur="2000" tmFilter="0, 0; .2, .5; .8, .5; 1, 0"/>
                                        <p:tgtEl>
                                          <p:spTgt spid="111"/>
                                        </p:tgtEl>
                                      </p:cBhvr>
                                    </p:animEffect>
                                    <p:animScale>
                                      <p:cBhvr>
                                        <p:cTn id="332" dur="1000" autoRev="1" fill="hold"/>
                                        <p:tgtEl>
                                          <p:spTgt spid="111"/>
                                        </p:tgtEl>
                                      </p:cBhvr>
                                      <p:by x="105000" y="105000"/>
                                    </p:animScale>
                                  </p:childTnLst>
                                </p:cTn>
                              </p:par>
                              <p:par>
                                <p:cTn id="333" presetID="26" presetClass="emph" presetSubtype="0" dur="2000" repeatCount="indefinite" fill="hold" grpId="0" nodeType="withEffect">
                                  <p:stCondLst>
                                    <p:cond delay="2250"/>
                                  </p:stCondLst>
                                  <p:childTnLst>
                                    <p:animEffect transition="out" filter="fade">
                                      <p:cBhvr>
                                        <p:cTn id="334" dur="2000" tmFilter="0, 0; .2, .5; .8, .5; 1, 0"/>
                                        <p:tgtEl>
                                          <p:spTgt spid="127"/>
                                        </p:tgtEl>
                                      </p:cBhvr>
                                    </p:animEffect>
                                    <p:animScale>
                                      <p:cBhvr>
                                        <p:cTn id="335" dur="1000" autoRev="1" fill="hold"/>
                                        <p:tgtEl>
                                          <p:spTgt spid="127"/>
                                        </p:tgtEl>
                                      </p:cBhvr>
                                      <p:by x="105000" y="105000"/>
                                    </p:animScale>
                                  </p:childTnLst>
                                </p:cTn>
                              </p:par>
                              <p:par>
                                <p:cTn id="336" presetID="26" presetClass="emph" presetSubtype="0" dur="2000" repeatCount="indefinite" fill="hold" grpId="0" nodeType="withEffect">
                                  <p:stCondLst>
                                    <p:cond delay="2250"/>
                                  </p:stCondLst>
                                  <p:childTnLst>
                                    <p:animEffect transition="out" filter="fade">
                                      <p:cBhvr>
                                        <p:cTn id="337" dur="2000" tmFilter="0, 0; .2, .5; .8, .5; 1, 0"/>
                                        <p:tgtEl>
                                          <p:spTgt spid="144"/>
                                        </p:tgtEl>
                                      </p:cBhvr>
                                    </p:animEffect>
                                    <p:animScale>
                                      <p:cBhvr>
                                        <p:cTn id="338" dur="1000" autoRev="1" fill="hold"/>
                                        <p:tgtEl>
                                          <p:spTgt spid="144"/>
                                        </p:tgtEl>
                                      </p:cBhvr>
                                      <p:by x="105000" y="105000"/>
                                    </p:animScale>
                                  </p:childTnLst>
                                </p:cTn>
                              </p:par>
                              <p:par>
                                <p:cTn id="339" presetID="26" presetClass="emph" presetSubtype="0" dur="2000" repeatCount="indefinite" fill="hold" grpId="0" nodeType="withEffect">
                                  <p:stCondLst>
                                    <p:cond delay="2250"/>
                                  </p:stCondLst>
                                  <p:childTnLst>
                                    <p:animEffect transition="out" filter="fade">
                                      <p:cBhvr>
                                        <p:cTn id="340" dur="2000" tmFilter="0, 0; .2, .5; .8, .5; 1, 0"/>
                                        <p:tgtEl>
                                          <p:spTgt spid="161"/>
                                        </p:tgtEl>
                                      </p:cBhvr>
                                    </p:animEffect>
                                    <p:animScale>
                                      <p:cBhvr>
                                        <p:cTn id="341" dur="1000" autoRev="1" fill="hold"/>
                                        <p:tgtEl>
                                          <p:spTgt spid="161"/>
                                        </p:tgtEl>
                                      </p:cBhvr>
                                      <p:by x="105000" y="105000"/>
                                    </p:animScale>
                                  </p:childTnLst>
                                </p:cTn>
                              </p:par>
                              <p:par>
                                <p:cTn id="342" presetID="26" presetClass="emph" presetSubtype="0" dur="2000" repeatCount="indefinite" fill="hold" grpId="0" nodeType="withEffect">
                                  <p:stCondLst>
                                    <p:cond delay="2250"/>
                                  </p:stCondLst>
                                  <p:childTnLst>
                                    <p:animEffect transition="out" filter="fade">
                                      <p:cBhvr>
                                        <p:cTn id="343" dur="2000" tmFilter="0, 0; .2, .5; .8, .5; 1, 0"/>
                                        <p:tgtEl>
                                          <p:spTgt spid="178"/>
                                        </p:tgtEl>
                                      </p:cBhvr>
                                    </p:animEffect>
                                    <p:animScale>
                                      <p:cBhvr>
                                        <p:cTn id="344" dur="1000" autoRev="1" fill="hold"/>
                                        <p:tgtEl>
                                          <p:spTgt spid="178"/>
                                        </p:tgtEl>
                                      </p:cBhvr>
                                      <p:by x="105000" y="105000"/>
                                    </p:animScale>
                                  </p:childTnLst>
                                </p:cTn>
                              </p:par>
                              <p:par>
                                <p:cTn id="345" presetID="26" presetClass="emph" presetSubtype="0" dur="2000" repeatCount="indefinite" fill="hold" grpId="0" nodeType="withEffect">
                                  <p:stCondLst>
                                    <p:cond delay="2250"/>
                                  </p:stCondLst>
                                  <p:childTnLst>
                                    <p:animEffect transition="out" filter="fade">
                                      <p:cBhvr>
                                        <p:cTn id="346" dur="2000" tmFilter="0, 0; .2, .5; .8, .5; 1, 0"/>
                                        <p:tgtEl>
                                          <p:spTgt spid="195"/>
                                        </p:tgtEl>
                                      </p:cBhvr>
                                    </p:animEffect>
                                    <p:animScale>
                                      <p:cBhvr>
                                        <p:cTn id="347" dur="1000" autoRev="1" fill="hold"/>
                                        <p:tgtEl>
                                          <p:spTgt spid="195"/>
                                        </p:tgtEl>
                                      </p:cBhvr>
                                      <p:by x="105000" y="105000"/>
                                    </p:animScale>
                                  </p:childTnLst>
                                </p:cTn>
                              </p:par>
                              <p:par>
                                <p:cTn id="348" presetID="26" presetClass="emph" presetSubtype="0" dur="2000" repeatCount="indefinite" fill="hold" grpId="0" nodeType="withEffect">
                                  <p:stCondLst>
                                    <p:cond delay="2250"/>
                                  </p:stCondLst>
                                  <p:childTnLst>
                                    <p:animEffect transition="out" filter="fade">
                                      <p:cBhvr>
                                        <p:cTn id="349" dur="2000" tmFilter="0, 0; .2, .5; .8, .5; 1, 0"/>
                                        <p:tgtEl>
                                          <p:spTgt spid="212"/>
                                        </p:tgtEl>
                                      </p:cBhvr>
                                    </p:animEffect>
                                    <p:animScale>
                                      <p:cBhvr>
                                        <p:cTn id="350" dur="1000" autoRev="1" fill="hold"/>
                                        <p:tgtEl>
                                          <p:spTgt spid="212"/>
                                        </p:tgtEl>
                                      </p:cBhvr>
                                      <p:by x="105000" y="105000"/>
                                    </p:animScale>
                                  </p:childTnLst>
                                </p:cTn>
                              </p:par>
                              <p:par>
                                <p:cTn id="351" presetID="26" presetClass="emph" presetSubtype="0" dur="2000" repeatCount="indefinite" fill="hold" grpId="0" nodeType="withEffect">
                                  <p:stCondLst>
                                    <p:cond delay="2250"/>
                                  </p:stCondLst>
                                  <p:childTnLst>
                                    <p:animEffect transition="out" filter="fade">
                                      <p:cBhvr>
                                        <p:cTn id="352" dur="2000" tmFilter="0, 0; .2, .5; .8, .5; 1, 0"/>
                                        <p:tgtEl>
                                          <p:spTgt spid="228"/>
                                        </p:tgtEl>
                                      </p:cBhvr>
                                    </p:animEffect>
                                    <p:animScale>
                                      <p:cBhvr>
                                        <p:cTn id="353" dur="1000" autoRev="1" fill="hold"/>
                                        <p:tgtEl>
                                          <p:spTgt spid="228"/>
                                        </p:tgtEl>
                                      </p:cBhvr>
                                      <p:by x="105000" y="105000"/>
                                    </p:animScale>
                                  </p:childTnLst>
                                </p:cTn>
                              </p:par>
                              <p:par>
                                <p:cTn id="354" presetID="26" presetClass="emph" presetSubtype="0" dur="2000" repeatCount="indefinite" fill="hold" grpId="0" nodeType="withEffect">
                                  <p:stCondLst>
                                    <p:cond delay="2500"/>
                                  </p:stCondLst>
                                  <p:childTnLst>
                                    <p:animEffect transition="out" filter="fade">
                                      <p:cBhvr>
                                        <p:cTn id="355" dur="2000" tmFilter="0, 0; .2, .5; .8, .5; 1, 0"/>
                                        <p:tgtEl>
                                          <p:spTgt spid="17"/>
                                        </p:tgtEl>
                                      </p:cBhvr>
                                    </p:animEffect>
                                    <p:animScale>
                                      <p:cBhvr>
                                        <p:cTn id="356" dur="1000" autoRev="1" fill="hold"/>
                                        <p:tgtEl>
                                          <p:spTgt spid="17"/>
                                        </p:tgtEl>
                                      </p:cBhvr>
                                      <p:by x="105000" y="105000"/>
                                    </p:animScale>
                                  </p:childTnLst>
                                </p:cTn>
                              </p:par>
                              <p:par>
                                <p:cTn id="357" presetID="26" presetClass="emph" presetSubtype="0" dur="2000" repeatCount="indefinite" fill="hold" grpId="0" nodeType="withEffect">
                                  <p:stCondLst>
                                    <p:cond delay="2500"/>
                                  </p:stCondLst>
                                  <p:childTnLst>
                                    <p:animEffect transition="out" filter="fade">
                                      <p:cBhvr>
                                        <p:cTn id="358" dur="2000" tmFilter="0, 0; .2, .5; .8, .5; 1, 0"/>
                                        <p:tgtEl>
                                          <p:spTgt spid="32"/>
                                        </p:tgtEl>
                                      </p:cBhvr>
                                    </p:animEffect>
                                    <p:animScale>
                                      <p:cBhvr>
                                        <p:cTn id="359" dur="1000" autoRev="1" fill="hold"/>
                                        <p:tgtEl>
                                          <p:spTgt spid="32"/>
                                        </p:tgtEl>
                                      </p:cBhvr>
                                      <p:by x="105000" y="105000"/>
                                    </p:animScale>
                                  </p:childTnLst>
                                </p:cTn>
                              </p:par>
                              <p:par>
                                <p:cTn id="360" presetID="26" presetClass="emph" presetSubtype="0" dur="2000" repeatCount="indefinite" fill="hold" grpId="0" nodeType="withEffect">
                                  <p:stCondLst>
                                    <p:cond delay="2500"/>
                                  </p:stCondLst>
                                  <p:childTnLst>
                                    <p:animEffect transition="out" filter="fade">
                                      <p:cBhvr>
                                        <p:cTn id="361" dur="2000" tmFilter="0, 0; .2, .5; .8, .5; 1, 0"/>
                                        <p:tgtEl>
                                          <p:spTgt spid="48"/>
                                        </p:tgtEl>
                                      </p:cBhvr>
                                    </p:animEffect>
                                    <p:animScale>
                                      <p:cBhvr>
                                        <p:cTn id="362" dur="1000" autoRev="1" fill="hold"/>
                                        <p:tgtEl>
                                          <p:spTgt spid="48"/>
                                        </p:tgtEl>
                                      </p:cBhvr>
                                      <p:by x="105000" y="105000"/>
                                    </p:animScale>
                                  </p:childTnLst>
                                </p:cTn>
                              </p:par>
                              <p:par>
                                <p:cTn id="363" presetID="26" presetClass="emph" presetSubtype="0" dur="2000" repeatCount="indefinite" fill="hold" grpId="0" nodeType="withEffect">
                                  <p:stCondLst>
                                    <p:cond delay="2500"/>
                                  </p:stCondLst>
                                  <p:childTnLst>
                                    <p:animEffect transition="out" filter="fade">
                                      <p:cBhvr>
                                        <p:cTn id="364" dur="2000" tmFilter="0, 0; .2, .5; .8, .5; 1, 0"/>
                                        <p:tgtEl>
                                          <p:spTgt spid="64"/>
                                        </p:tgtEl>
                                      </p:cBhvr>
                                    </p:animEffect>
                                    <p:animScale>
                                      <p:cBhvr>
                                        <p:cTn id="365" dur="1000" autoRev="1" fill="hold"/>
                                        <p:tgtEl>
                                          <p:spTgt spid="64"/>
                                        </p:tgtEl>
                                      </p:cBhvr>
                                      <p:by x="105000" y="105000"/>
                                    </p:animScale>
                                  </p:childTnLst>
                                </p:cTn>
                              </p:par>
                              <p:par>
                                <p:cTn id="366" presetID="26" presetClass="emph" presetSubtype="0" dur="2000" repeatCount="indefinite" fill="hold" grpId="0" nodeType="withEffect">
                                  <p:stCondLst>
                                    <p:cond delay="2500"/>
                                  </p:stCondLst>
                                  <p:childTnLst>
                                    <p:animEffect transition="out" filter="fade">
                                      <p:cBhvr>
                                        <p:cTn id="367" dur="2000" tmFilter="0, 0; .2, .5; .8, .5; 1, 0"/>
                                        <p:tgtEl>
                                          <p:spTgt spid="80"/>
                                        </p:tgtEl>
                                      </p:cBhvr>
                                    </p:animEffect>
                                    <p:animScale>
                                      <p:cBhvr>
                                        <p:cTn id="368" dur="1000" autoRev="1" fill="hold"/>
                                        <p:tgtEl>
                                          <p:spTgt spid="80"/>
                                        </p:tgtEl>
                                      </p:cBhvr>
                                      <p:by x="105000" y="105000"/>
                                    </p:animScale>
                                  </p:childTnLst>
                                </p:cTn>
                              </p:par>
                              <p:par>
                                <p:cTn id="369" presetID="26" presetClass="emph" presetSubtype="0" dur="2000" repeatCount="indefinite" fill="hold" grpId="0" nodeType="withEffect">
                                  <p:stCondLst>
                                    <p:cond delay="2500"/>
                                  </p:stCondLst>
                                  <p:childTnLst>
                                    <p:animEffect transition="out" filter="fade">
                                      <p:cBhvr>
                                        <p:cTn id="370" dur="2000" tmFilter="0, 0; .2, .5; .8, .5; 1, 0"/>
                                        <p:tgtEl>
                                          <p:spTgt spid="96"/>
                                        </p:tgtEl>
                                      </p:cBhvr>
                                    </p:animEffect>
                                    <p:animScale>
                                      <p:cBhvr>
                                        <p:cTn id="371" dur="1000" autoRev="1" fill="hold"/>
                                        <p:tgtEl>
                                          <p:spTgt spid="96"/>
                                        </p:tgtEl>
                                      </p:cBhvr>
                                      <p:by x="105000" y="105000"/>
                                    </p:animScale>
                                  </p:childTnLst>
                                </p:cTn>
                              </p:par>
                              <p:par>
                                <p:cTn id="372" presetID="26" presetClass="emph" presetSubtype="0" dur="2000" repeatCount="indefinite" fill="hold" grpId="0" nodeType="withEffect">
                                  <p:stCondLst>
                                    <p:cond delay="2500"/>
                                  </p:stCondLst>
                                  <p:childTnLst>
                                    <p:animEffect transition="out" filter="fade">
                                      <p:cBhvr>
                                        <p:cTn id="373" dur="2000" tmFilter="0, 0; .2, .5; .8, .5; 1, 0"/>
                                        <p:tgtEl>
                                          <p:spTgt spid="112"/>
                                        </p:tgtEl>
                                      </p:cBhvr>
                                    </p:animEffect>
                                    <p:animScale>
                                      <p:cBhvr>
                                        <p:cTn id="374" dur="1000" autoRev="1" fill="hold"/>
                                        <p:tgtEl>
                                          <p:spTgt spid="112"/>
                                        </p:tgtEl>
                                      </p:cBhvr>
                                      <p:by x="105000" y="105000"/>
                                    </p:animScale>
                                  </p:childTnLst>
                                </p:cTn>
                              </p:par>
                              <p:par>
                                <p:cTn id="375" presetID="26" presetClass="emph" presetSubtype="0" dur="2000" repeatCount="indefinite" fill="hold" grpId="0" nodeType="withEffect">
                                  <p:stCondLst>
                                    <p:cond delay="2500"/>
                                  </p:stCondLst>
                                  <p:childTnLst>
                                    <p:animEffect transition="out" filter="fade">
                                      <p:cBhvr>
                                        <p:cTn id="376" dur="2000" tmFilter="0, 0; .2, .5; .8, .5; 1, 0"/>
                                        <p:tgtEl>
                                          <p:spTgt spid="128"/>
                                        </p:tgtEl>
                                      </p:cBhvr>
                                    </p:animEffect>
                                    <p:animScale>
                                      <p:cBhvr>
                                        <p:cTn id="377" dur="1000" autoRev="1" fill="hold"/>
                                        <p:tgtEl>
                                          <p:spTgt spid="128"/>
                                        </p:tgtEl>
                                      </p:cBhvr>
                                      <p:by x="105000" y="105000"/>
                                    </p:animScale>
                                  </p:childTnLst>
                                </p:cTn>
                              </p:par>
                              <p:par>
                                <p:cTn id="378" presetID="26" presetClass="emph" presetSubtype="0" dur="2000" repeatCount="indefinite" fill="hold" grpId="0" nodeType="withEffect">
                                  <p:stCondLst>
                                    <p:cond delay="2500"/>
                                  </p:stCondLst>
                                  <p:childTnLst>
                                    <p:animEffect transition="out" filter="fade">
                                      <p:cBhvr>
                                        <p:cTn id="379" dur="2000" tmFilter="0, 0; .2, .5; .8, .5; 1, 0"/>
                                        <p:tgtEl>
                                          <p:spTgt spid="145"/>
                                        </p:tgtEl>
                                      </p:cBhvr>
                                    </p:animEffect>
                                    <p:animScale>
                                      <p:cBhvr>
                                        <p:cTn id="380" dur="1000" autoRev="1" fill="hold"/>
                                        <p:tgtEl>
                                          <p:spTgt spid="145"/>
                                        </p:tgtEl>
                                      </p:cBhvr>
                                      <p:by x="105000" y="105000"/>
                                    </p:animScale>
                                  </p:childTnLst>
                                </p:cTn>
                              </p:par>
                              <p:par>
                                <p:cTn id="381" presetID="26" presetClass="emph" presetSubtype="0" dur="2000" repeatCount="indefinite" fill="hold" grpId="0" nodeType="withEffect">
                                  <p:stCondLst>
                                    <p:cond delay="2500"/>
                                  </p:stCondLst>
                                  <p:childTnLst>
                                    <p:animEffect transition="out" filter="fade">
                                      <p:cBhvr>
                                        <p:cTn id="382" dur="2000" tmFilter="0, 0; .2, .5; .8, .5; 1, 0"/>
                                        <p:tgtEl>
                                          <p:spTgt spid="162"/>
                                        </p:tgtEl>
                                      </p:cBhvr>
                                    </p:animEffect>
                                    <p:animScale>
                                      <p:cBhvr>
                                        <p:cTn id="383" dur="1000" autoRev="1" fill="hold"/>
                                        <p:tgtEl>
                                          <p:spTgt spid="162"/>
                                        </p:tgtEl>
                                      </p:cBhvr>
                                      <p:by x="105000" y="105000"/>
                                    </p:animScale>
                                  </p:childTnLst>
                                </p:cTn>
                              </p:par>
                              <p:par>
                                <p:cTn id="384" presetID="26" presetClass="emph" presetSubtype="0" dur="2000" repeatCount="indefinite" fill="hold" grpId="0" nodeType="withEffect">
                                  <p:stCondLst>
                                    <p:cond delay="2500"/>
                                  </p:stCondLst>
                                  <p:childTnLst>
                                    <p:animEffect transition="out" filter="fade">
                                      <p:cBhvr>
                                        <p:cTn id="385" dur="2000" tmFilter="0, 0; .2, .5; .8, .5; 1, 0"/>
                                        <p:tgtEl>
                                          <p:spTgt spid="179"/>
                                        </p:tgtEl>
                                      </p:cBhvr>
                                    </p:animEffect>
                                    <p:animScale>
                                      <p:cBhvr>
                                        <p:cTn id="386" dur="1000" autoRev="1" fill="hold"/>
                                        <p:tgtEl>
                                          <p:spTgt spid="179"/>
                                        </p:tgtEl>
                                      </p:cBhvr>
                                      <p:by x="105000" y="105000"/>
                                    </p:animScale>
                                  </p:childTnLst>
                                </p:cTn>
                              </p:par>
                              <p:par>
                                <p:cTn id="387" presetID="26" presetClass="emph" presetSubtype="0" dur="2000" repeatCount="indefinite" fill="hold" grpId="0" nodeType="withEffect">
                                  <p:stCondLst>
                                    <p:cond delay="2500"/>
                                  </p:stCondLst>
                                  <p:childTnLst>
                                    <p:animEffect transition="out" filter="fade">
                                      <p:cBhvr>
                                        <p:cTn id="388" dur="2000" tmFilter="0, 0; .2, .5; .8, .5; 1, 0"/>
                                        <p:tgtEl>
                                          <p:spTgt spid="196"/>
                                        </p:tgtEl>
                                      </p:cBhvr>
                                    </p:animEffect>
                                    <p:animScale>
                                      <p:cBhvr>
                                        <p:cTn id="389" dur="1000" autoRev="1" fill="hold"/>
                                        <p:tgtEl>
                                          <p:spTgt spid="196"/>
                                        </p:tgtEl>
                                      </p:cBhvr>
                                      <p:by x="105000" y="105000"/>
                                    </p:animScale>
                                  </p:childTnLst>
                                </p:cTn>
                              </p:par>
                              <p:par>
                                <p:cTn id="390" presetID="26" presetClass="emph" presetSubtype="0" dur="2000" repeatCount="indefinite" fill="hold" grpId="0" nodeType="withEffect">
                                  <p:stCondLst>
                                    <p:cond delay="2500"/>
                                  </p:stCondLst>
                                  <p:childTnLst>
                                    <p:animEffect transition="out" filter="fade">
                                      <p:cBhvr>
                                        <p:cTn id="391" dur="2000" tmFilter="0, 0; .2, .5; .8, .5; 1, 0"/>
                                        <p:tgtEl>
                                          <p:spTgt spid="213"/>
                                        </p:tgtEl>
                                      </p:cBhvr>
                                    </p:animEffect>
                                    <p:animScale>
                                      <p:cBhvr>
                                        <p:cTn id="392" dur="1000" autoRev="1" fill="hold"/>
                                        <p:tgtEl>
                                          <p:spTgt spid="213"/>
                                        </p:tgtEl>
                                      </p:cBhvr>
                                      <p:by x="105000" y="105000"/>
                                    </p:animScale>
                                  </p:childTnLst>
                                </p:cTn>
                              </p:par>
                              <p:par>
                                <p:cTn id="393" presetID="26" presetClass="emph" presetSubtype="0" dur="2000" repeatCount="indefinite" fill="hold" grpId="0" nodeType="withEffect">
                                  <p:stCondLst>
                                    <p:cond delay="2500"/>
                                  </p:stCondLst>
                                  <p:childTnLst>
                                    <p:animEffect transition="out" filter="fade">
                                      <p:cBhvr>
                                        <p:cTn id="394" dur="2000" tmFilter="0, 0; .2, .5; .8, .5; 1, 0"/>
                                        <p:tgtEl>
                                          <p:spTgt spid="229"/>
                                        </p:tgtEl>
                                      </p:cBhvr>
                                    </p:animEffect>
                                    <p:animScale>
                                      <p:cBhvr>
                                        <p:cTn id="395" dur="1000" autoRev="1" fill="hold"/>
                                        <p:tgtEl>
                                          <p:spTgt spid="229"/>
                                        </p:tgtEl>
                                      </p:cBhvr>
                                      <p:by x="105000" y="105000"/>
                                    </p:animScale>
                                  </p:childTnLst>
                                </p:cTn>
                              </p:par>
                              <p:par>
                                <p:cTn id="396" presetID="26" presetClass="emph" presetSubtype="0" dur="2000" repeatCount="indefinite" fill="hold" grpId="0" nodeType="withEffect">
                                  <p:stCondLst>
                                    <p:cond delay="2750"/>
                                  </p:stCondLst>
                                  <p:childTnLst>
                                    <p:animEffect transition="out" filter="fade">
                                      <p:cBhvr>
                                        <p:cTn id="397" dur="2000" tmFilter="0, 0; .2, .5; .8, .5; 1, 0"/>
                                        <p:tgtEl>
                                          <p:spTgt spid="18"/>
                                        </p:tgtEl>
                                      </p:cBhvr>
                                    </p:animEffect>
                                    <p:animScale>
                                      <p:cBhvr>
                                        <p:cTn id="398" dur="1000" autoRev="1" fill="hold"/>
                                        <p:tgtEl>
                                          <p:spTgt spid="18"/>
                                        </p:tgtEl>
                                      </p:cBhvr>
                                      <p:by x="105000" y="105000"/>
                                    </p:animScale>
                                  </p:childTnLst>
                                </p:cTn>
                              </p:par>
                              <p:par>
                                <p:cTn id="399" presetID="26" presetClass="emph" presetSubtype="0" dur="2000" repeatCount="indefinite" fill="hold" grpId="0" nodeType="withEffect">
                                  <p:stCondLst>
                                    <p:cond delay="2750"/>
                                  </p:stCondLst>
                                  <p:childTnLst>
                                    <p:animEffect transition="out" filter="fade">
                                      <p:cBhvr>
                                        <p:cTn id="400" dur="2000" tmFilter="0, 0; .2, .5; .8, .5; 1, 0"/>
                                        <p:tgtEl>
                                          <p:spTgt spid="33"/>
                                        </p:tgtEl>
                                      </p:cBhvr>
                                    </p:animEffect>
                                    <p:animScale>
                                      <p:cBhvr>
                                        <p:cTn id="401" dur="1000" autoRev="1" fill="hold"/>
                                        <p:tgtEl>
                                          <p:spTgt spid="33"/>
                                        </p:tgtEl>
                                      </p:cBhvr>
                                      <p:by x="105000" y="105000"/>
                                    </p:animScale>
                                  </p:childTnLst>
                                </p:cTn>
                              </p:par>
                              <p:par>
                                <p:cTn id="402" presetID="26" presetClass="emph" presetSubtype="0" dur="2000" repeatCount="indefinite" fill="hold" grpId="0" nodeType="withEffect">
                                  <p:stCondLst>
                                    <p:cond delay="2750"/>
                                  </p:stCondLst>
                                  <p:childTnLst>
                                    <p:animEffect transition="out" filter="fade">
                                      <p:cBhvr>
                                        <p:cTn id="403" dur="2000" tmFilter="0, 0; .2, .5; .8, .5; 1, 0"/>
                                        <p:tgtEl>
                                          <p:spTgt spid="49"/>
                                        </p:tgtEl>
                                      </p:cBhvr>
                                    </p:animEffect>
                                    <p:animScale>
                                      <p:cBhvr>
                                        <p:cTn id="404" dur="1000" autoRev="1" fill="hold"/>
                                        <p:tgtEl>
                                          <p:spTgt spid="49"/>
                                        </p:tgtEl>
                                      </p:cBhvr>
                                      <p:by x="105000" y="105000"/>
                                    </p:animScale>
                                  </p:childTnLst>
                                </p:cTn>
                              </p:par>
                              <p:par>
                                <p:cTn id="405" presetID="26" presetClass="emph" presetSubtype="0" dur="2000" repeatCount="indefinite" fill="hold" grpId="0" nodeType="withEffect">
                                  <p:stCondLst>
                                    <p:cond delay="2750"/>
                                  </p:stCondLst>
                                  <p:childTnLst>
                                    <p:animEffect transition="out" filter="fade">
                                      <p:cBhvr>
                                        <p:cTn id="406" dur="2000" tmFilter="0, 0; .2, .5; .8, .5; 1, 0"/>
                                        <p:tgtEl>
                                          <p:spTgt spid="65"/>
                                        </p:tgtEl>
                                      </p:cBhvr>
                                    </p:animEffect>
                                    <p:animScale>
                                      <p:cBhvr>
                                        <p:cTn id="407" dur="1000" autoRev="1" fill="hold"/>
                                        <p:tgtEl>
                                          <p:spTgt spid="65"/>
                                        </p:tgtEl>
                                      </p:cBhvr>
                                      <p:by x="105000" y="105000"/>
                                    </p:animScale>
                                  </p:childTnLst>
                                </p:cTn>
                              </p:par>
                              <p:par>
                                <p:cTn id="408" presetID="26" presetClass="emph" presetSubtype="0" dur="2000" repeatCount="indefinite" fill="hold" grpId="0" nodeType="withEffect">
                                  <p:stCondLst>
                                    <p:cond delay="2750"/>
                                  </p:stCondLst>
                                  <p:childTnLst>
                                    <p:animEffect transition="out" filter="fade">
                                      <p:cBhvr>
                                        <p:cTn id="409" dur="2000" tmFilter="0, 0; .2, .5; .8, .5; 1, 0"/>
                                        <p:tgtEl>
                                          <p:spTgt spid="81"/>
                                        </p:tgtEl>
                                      </p:cBhvr>
                                    </p:animEffect>
                                    <p:animScale>
                                      <p:cBhvr>
                                        <p:cTn id="410" dur="1000" autoRev="1" fill="hold"/>
                                        <p:tgtEl>
                                          <p:spTgt spid="81"/>
                                        </p:tgtEl>
                                      </p:cBhvr>
                                      <p:by x="105000" y="105000"/>
                                    </p:animScale>
                                  </p:childTnLst>
                                </p:cTn>
                              </p:par>
                              <p:par>
                                <p:cTn id="411" presetID="26" presetClass="emph" presetSubtype="0" dur="2000" repeatCount="indefinite" fill="hold" grpId="0" nodeType="withEffect">
                                  <p:stCondLst>
                                    <p:cond delay="2750"/>
                                  </p:stCondLst>
                                  <p:childTnLst>
                                    <p:animEffect transition="out" filter="fade">
                                      <p:cBhvr>
                                        <p:cTn id="412" dur="2000" tmFilter="0, 0; .2, .5; .8, .5; 1, 0"/>
                                        <p:tgtEl>
                                          <p:spTgt spid="97"/>
                                        </p:tgtEl>
                                      </p:cBhvr>
                                    </p:animEffect>
                                    <p:animScale>
                                      <p:cBhvr>
                                        <p:cTn id="413" dur="1000" autoRev="1" fill="hold"/>
                                        <p:tgtEl>
                                          <p:spTgt spid="97"/>
                                        </p:tgtEl>
                                      </p:cBhvr>
                                      <p:by x="105000" y="105000"/>
                                    </p:animScale>
                                  </p:childTnLst>
                                </p:cTn>
                              </p:par>
                              <p:par>
                                <p:cTn id="414" presetID="26" presetClass="emph" presetSubtype="0" dur="2000" repeatCount="indefinite" fill="hold" grpId="0" nodeType="withEffect">
                                  <p:stCondLst>
                                    <p:cond delay="2750"/>
                                  </p:stCondLst>
                                  <p:childTnLst>
                                    <p:animEffect transition="out" filter="fade">
                                      <p:cBhvr>
                                        <p:cTn id="415" dur="2000" tmFilter="0, 0; .2, .5; .8, .5; 1, 0"/>
                                        <p:tgtEl>
                                          <p:spTgt spid="113"/>
                                        </p:tgtEl>
                                      </p:cBhvr>
                                    </p:animEffect>
                                    <p:animScale>
                                      <p:cBhvr>
                                        <p:cTn id="416" dur="1000" autoRev="1" fill="hold"/>
                                        <p:tgtEl>
                                          <p:spTgt spid="113"/>
                                        </p:tgtEl>
                                      </p:cBhvr>
                                      <p:by x="105000" y="105000"/>
                                    </p:animScale>
                                  </p:childTnLst>
                                </p:cTn>
                              </p:par>
                              <p:par>
                                <p:cTn id="417" presetID="26" presetClass="emph" presetSubtype="0" dur="2000" repeatCount="indefinite" fill="hold" grpId="0" nodeType="withEffect">
                                  <p:stCondLst>
                                    <p:cond delay="2750"/>
                                  </p:stCondLst>
                                  <p:childTnLst>
                                    <p:animEffect transition="out" filter="fade">
                                      <p:cBhvr>
                                        <p:cTn id="418" dur="2000" tmFilter="0, 0; .2, .5; .8, .5; 1, 0"/>
                                        <p:tgtEl>
                                          <p:spTgt spid="129"/>
                                        </p:tgtEl>
                                      </p:cBhvr>
                                    </p:animEffect>
                                    <p:animScale>
                                      <p:cBhvr>
                                        <p:cTn id="419" dur="1000" autoRev="1" fill="hold"/>
                                        <p:tgtEl>
                                          <p:spTgt spid="129"/>
                                        </p:tgtEl>
                                      </p:cBhvr>
                                      <p:by x="105000" y="105000"/>
                                    </p:animScale>
                                  </p:childTnLst>
                                </p:cTn>
                              </p:par>
                              <p:par>
                                <p:cTn id="420" presetID="26" presetClass="emph" presetSubtype="0" dur="2000" repeatCount="indefinite" fill="hold" grpId="0" nodeType="withEffect">
                                  <p:stCondLst>
                                    <p:cond delay="2750"/>
                                  </p:stCondLst>
                                  <p:childTnLst>
                                    <p:animEffect transition="out" filter="fade">
                                      <p:cBhvr>
                                        <p:cTn id="421" dur="2000" tmFilter="0, 0; .2, .5; .8, .5; 1, 0"/>
                                        <p:tgtEl>
                                          <p:spTgt spid="146"/>
                                        </p:tgtEl>
                                      </p:cBhvr>
                                    </p:animEffect>
                                    <p:animScale>
                                      <p:cBhvr>
                                        <p:cTn id="422" dur="1000" autoRev="1" fill="hold"/>
                                        <p:tgtEl>
                                          <p:spTgt spid="146"/>
                                        </p:tgtEl>
                                      </p:cBhvr>
                                      <p:by x="105000" y="105000"/>
                                    </p:animScale>
                                  </p:childTnLst>
                                </p:cTn>
                              </p:par>
                              <p:par>
                                <p:cTn id="423" presetID="26" presetClass="emph" presetSubtype="0" dur="2000" repeatCount="indefinite" fill="hold" grpId="0" nodeType="withEffect">
                                  <p:stCondLst>
                                    <p:cond delay="2750"/>
                                  </p:stCondLst>
                                  <p:childTnLst>
                                    <p:animEffect transition="out" filter="fade">
                                      <p:cBhvr>
                                        <p:cTn id="424" dur="2000" tmFilter="0, 0; .2, .5; .8, .5; 1, 0"/>
                                        <p:tgtEl>
                                          <p:spTgt spid="163"/>
                                        </p:tgtEl>
                                      </p:cBhvr>
                                    </p:animEffect>
                                    <p:animScale>
                                      <p:cBhvr>
                                        <p:cTn id="425" dur="1000" autoRev="1" fill="hold"/>
                                        <p:tgtEl>
                                          <p:spTgt spid="163"/>
                                        </p:tgtEl>
                                      </p:cBhvr>
                                      <p:by x="105000" y="105000"/>
                                    </p:animScale>
                                  </p:childTnLst>
                                </p:cTn>
                              </p:par>
                              <p:par>
                                <p:cTn id="426" presetID="26" presetClass="emph" presetSubtype="0" dur="2000" repeatCount="indefinite" fill="hold" grpId="0" nodeType="withEffect">
                                  <p:stCondLst>
                                    <p:cond delay="2750"/>
                                  </p:stCondLst>
                                  <p:childTnLst>
                                    <p:animEffect transition="out" filter="fade">
                                      <p:cBhvr>
                                        <p:cTn id="427" dur="2000" tmFilter="0, 0; .2, .5; .8, .5; 1, 0"/>
                                        <p:tgtEl>
                                          <p:spTgt spid="180"/>
                                        </p:tgtEl>
                                      </p:cBhvr>
                                    </p:animEffect>
                                    <p:animScale>
                                      <p:cBhvr>
                                        <p:cTn id="428" dur="1000" autoRev="1" fill="hold"/>
                                        <p:tgtEl>
                                          <p:spTgt spid="180"/>
                                        </p:tgtEl>
                                      </p:cBhvr>
                                      <p:by x="105000" y="105000"/>
                                    </p:animScale>
                                  </p:childTnLst>
                                </p:cTn>
                              </p:par>
                              <p:par>
                                <p:cTn id="429" presetID="26" presetClass="emph" presetSubtype="0" dur="2000" repeatCount="indefinite" fill="hold" grpId="0" nodeType="withEffect">
                                  <p:stCondLst>
                                    <p:cond delay="2750"/>
                                  </p:stCondLst>
                                  <p:childTnLst>
                                    <p:animEffect transition="out" filter="fade">
                                      <p:cBhvr>
                                        <p:cTn id="430" dur="2000" tmFilter="0, 0; .2, .5; .8, .5; 1, 0"/>
                                        <p:tgtEl>
                                          <p:spTgt spid="197"/>
                                        </p:tgtEl>
                                      </p:cBhvr>
                                    </p:animEffect>
                                    <p:animScale>
                                      <p:cBhvr>
                                        <p:cTn id="431" dur="1000" autoRev="1" fill="hold"/>
                                        <p:tgtEl>
                                          <p:spTgt spid="197"/>
                                        </p:tgtEl>
                                      </p:cBhvr>
                                      <p:by x="105000" y="105000"/>
                                    </p:animScale>
                                  </p:childTnLst>
                                </p:cTn>
                              </p:par>
                              <p:par>
                                <p:cTn id="432" presetID="26" presetClass="emph" presetSubtype="0" dur="2000" repeatCount="indefinite" fill="hold" grpId="0" nodeType="withEffect">
                                  <p:stCondLst>
                                    <p:cond delay="2750"/>
                                  </p:stCondLst>
                                  <p:childTnLst>
                                    <p:animEffect transition="out" filter="fade">
                                      <p:cBhvr>
                                        <p:cTn id="433" dur="2000" tmFilter="0, 0; .2, .5; .8, .5; 1, 0"/>
                                        <p:tgtEl>
                                          <p:spTgt spid="214"/>
                                        </p:tgtEl>
                                      </p:cBhvr>
                                    </p:animEffect>
                                    <p:animScale>
                                      <p:cBhvr>
                                        <p:cTn id="434" dur="1000" autoRev="1" fill="hold"/>
                                        <p:tgtEl>
                                          <p:spTgt spid="214"/>
                                        </p:tgtEl>
                                      </p:cBhvr>
                                      <p:by x="105000" y="105000"/>
                                    </p:animScale>
                                  </p:childTnLst>
                                </p:cTn>
                              </p:par>
                              <p:par>
                                <p:cTn id="435" presetID="26" presetClass="emph" presetSubtype="0" dur="2000" repeatCount="indefinite" fill="hold" grpId="0" nodeType="withEffect">
                                  <p:stCondLst>
                                    <p:cond delay="2750"/>
                                  </p:stCondLst>
                                  <p:childTnLst>
                                    <p:animEffect transition="out" filter="fade">
                                      <p:cBhvr>
                                        <p:cTn id="436" dur="2000" tmFilter="0, 0; .2, .5; .8, .5; 1, 0"/>
                                        <p:tgtEl>
                                          <p:spTgt spid="230"/>
                                        </p:tgtEl>
                                      </p:cBhvr>
                                    </p:animEffect>
                                    <p:animScale>
                                      <p:cBhvr>
                                        <p:cTn id="437" dur="1000" autoRev="1" fill="hold"/>
                                        <p:tgtEl>
                                          <p:spTgt spid="230"/>
                                        </p:tgtEl>
                                      </p:cBhvr>
                                      <p:by x="105000" y="105000"/>
                                    </p:animScale>
                                  </p:childTnLst>
                                </p:cTn>
                              </p:par>
                              <p:par>
                                <p:cTn id="438" presetID="26" presetClass="emph" presetSubtype="0" dur="2000" repeatCount="indefinite" fill="hold" grpId="0" nodeType="withEffect">
                                  <p:stCondLst>
                                    <p:cond delay="3000"/>
                                  </p:stCondLst>
                                  <p:childTnLst>
                                    <p:animEffect transition="out" filter="fade">
                                      <p:cBhvr>
                                        <p:cTn id="439" dur="2000" tmFilter="0, 0; .2, .5; .8, .5; 1, 0"/>
                                        <p:tgtEl>
                                          <p:spTgt spid="19"/>
                                        </p:tgtEl>
                                      </p:cBhvr>
                                    </p:animEffect>
                                    <p:animScale>
                                      <p:cBhvr>
                                        <p:cTn id="440" dur="1000" autoRev="1" fill="hold"/>
                                        <p:tgtEl>
                                          <p:spTgt spid="19"/>
                                        </p:tgtEl>
                                      </p:cBhvr>
                                      <p:by x="105000" y="105000"/>
                                    </p:animScale>
                                  </p:childTnLst>
                                </p:cTn>
                              </p:par>
                              <p:par>
                                <p:cTn id="441" presetID="26" presetClass="emph" presetSubtype="0" dur="2000" repeatCount="indefinite" fill="hold" grpId="0" nodeType="withEffect">
                                  <p:stCondLst>
                                    <p:cond delay="3000"/>
                                  </p:stCondLst>
                                  <p:childTnLst>
                                    <p:animEffect transition="out" filter="fade">
                                      <p:cBhvr>
                                        <p:cTn id="442" dur="2000" tmFilter="0, 0; .2, .5; .8, .5; 1, 0"/>
                                        <p:tgtEl>
                                          <p:spTgt spid="34"/>
                                        </p:tgtEl>
                                      </p:cBhvr>
                                    </p:animEffect>
                                    <p:animScale>
                                      <p:cBhvr>
                                        <p:cTn id="443" dur="1000" autoRev="1" fill="hold"/>
                                        <p:tgtEl>
                                          <p:spTgt spid="34"/>
                                        </p:tgtEl>
                                      </p:cBhvr>
                                      <p:by x="105000" y="105000"/>
                                    </p:animScale>
                                  </p:childTnLst>
                                </p:cTn>
                              </p:par>
                              <p:par>
                                <p:cTn id="444" presetID="26" presetClass="emph" presetSubtype="0" dur="2000" repeatCount="indefinite" fill="hold" grpId="0" nodeType="withEffect">
                                  <p:stCondLst>
                                    <p:cond delay="3000"/>
                                  </p:stCondLst>
                                  <p:childTnLst>
                                    <p:animEffect transition="out" filter="fade">
                                      <p:cBhvr>
                                        <p:cTn id="445" dur="2000" tmFilter="0, 0; .2, .5; .8, .5; 1, 0"/>
                                        <p:tgtEl>
                                          <p:spTgt spid="50"/>
                                        </p:tgtEl>
                                      </p:cBhvr>
                                    </p:animEffect>
                                    <p:animScale>
                                      <p:cBhvr>
                                        <p:cTn id="446" dur="1000" autoRev="1" fill="hold"/>
                                        <p:tgtEl>
                                          <p:spTgt spid="50"/>
                                        </p:tgtEl>
                                      </p:cBhvr>
                                      <p:by x="105000" y="105000"/>
                                    </p:animScale>
                                  </p:childTnLst>
                                </p:cTn>
                              </p:par>
                              <p:par>
                                <p:cTn id="447" presetID="26" presetClass="emph" presetSubtype="0" dur="2000" repeatCount="indefinite" fill="hold" grpId="0" nodeType="withEffect">
                                  <p:stCondLst>
                                    <p:cond delay="3000"/>
                                  </p:stCondLst>
                                  <p:childTnLst>
                                    <p:animEffect transition="out" filter="fade">
                                      <p:cBhvr>
                                        <p:cTn id="448" dur="2000" tmFilter="0, 0; .2, .5; .8, .5; 1, 0"/>
                                        <p:tgtEl>
                                          <p:spTgt spid="66"/>
                                        </p:tgtEl>
                                      </p:cBhvr>
                                    </p:animEffect>
                                    <p:animScale>
                                      <p:cBhvr>
                                        <p:cTn id="449" dur="1000" autoRev="1" fill="hold"/>
                                        <p:tgtEl>
                                          <p:spTgt spid="66"/>
                                        </p:tgtEl>
                                      </p:cBhvr>
                                      <p:by x="105000" y="105000"/>
                                    </p:animScale>
                                  </p:childTnLst>
                                </p:cTn>
                              </p:par>
                              <p:par>
                                <p:cTn id="450" presetID="26" presetClass="emph" presetSubtype="0" dur="2000" repeatCount="indefinite" fill="hold" grpId="0" nodeType="withEffect">
                                  <p:stCondLst>
                                    <p:cond delay="3000"/>
                                  </p:stCondLst>
                                  <p:childTnLst>
                                    <p:animEffect transition="out" filter="fade">
                                      <p:cBhvr>
                                        <p:cTn id="451" dur="2000" tmFilter="0, 0; .2, .5; .8, .5; 1, 0"/>
                                        <p:tgtEl>
                                          <p:spTgt spid="82"/>
                                        </p:tgtEl>
                                      </p:cBhvr>
                                    </p:animEffect>
                                    <p:animScale>
                                      <p:cBhvr>
                                        <p:cTn id="452" dur="1000" autoRev="1" fill="hold"/>
                                        <p:tgtEl>
                                          <p:spTgt spid="82"/>
                                        </p:tgtEl>
                                      </p:cBhvr>
                                      <p:by x="105000" y="105000"/>
                                    </p:animScale>
                                  </p:childTnLst>
                                </p:cTn>
                              </p:par>
                              <p:par>
                                <p:cTn id="453" presetID="26" presetClass="emph" presetSubtype="0" dur="2000" repeatCount="indefinite" fill="hold" grpId="0" nodeType="withEffect">
                                  <p:stCondLst>
                                    <p:cond delay="3000"/>
                                  </p:stCondLst>
                                  <p:childTnLst>
                                    <p:animEffect transition="out" filter="fade">
                                      <p:cBhvr>
                                        <p:cTn id="454" dur="2000" tmFilter="0, 0; .2, .5; .8, .5; 1, 0"/>
                                        <p:tgtEl>
                                          <p:spTgt spid="98"/>
                                        </p:tgtEl>
                                      </p:cBhvr>
                                    </p:animEffect>
                                    <p:animScale>
                                      <p:cBhvr>
                                        <p:cTn id="455" dur="1000" autoRev="1" fill="hold"/>
                                        <p:tgtEl>
                                          <p:spTgt spid="98"/>
                                        </p:tgtEl>
                                      </p:cBhvr>
                                      <p:by x="105000" y="105000"/>
                                    </p:animScale>
                                  </p:childTnLst>
                                </p:cTn>
                              </p:par>
                              <p:par>
                                <p:cTn id="456" presetID="26" presetClass="emph" presetSubtype="0" dur="2000" repeatCount="indefinite" fill="hold" grpId="0" nodeType="withEffect">
                                  <p:stCondLst>
                                    <p:cond delay="3000"/>
                                  </p:stCondLst>
                                  <p:childTnLst>
                                    <p:animEffect transition="out" filter="fade">
                                      <p:cBhvr>
                                        <p:cTn id="457" dur="2000" tmFilter="0, 0; .2, .5; .8, .5; 1, 0"/>
                                        <p:tgtEl>
                                          <p:spTgt spid="114"/>
                                        </p:tgtEl>
                                      </p:cBhvr>
                                    </p:animEffect>
                                    <p:animScale>
                                      <p:cBhvr>
                                        <p:cTn id="458" dur="1000" autoRev="1" fill="hold"/>
                                        <p:tgtEl>
                                          <p:spTgt spid="114"/>
                                        </p:tgtEl>
                                      </p:cBhvr>
                                      <p:by x="105000" y="105000"/>
                                    </p:animScale>
                                  </p:childTnLst>
                                </p:cTn>
                              </p:par>
                              <p:par>
                                <p:cTn id="459" presetID="26" presetClass="emph" presetSubtype="0" dur="2000" repeatCount="indefinite" fill="hold" grpId="0" nodeType="withEffect">
                                  <p:stCondLst>
                                    <p:cond delay="3000"/>
                                  </p:stCondLst>
                                  <p:childTnLst>
                                    <p:animEffect transition="out" filter="fade">
                                      <p:cBhvr>
                                        <p:cTn id="460" dur="2000" tmFilter="0, 0; .2, .5; .8, .5; 1, 0"/>
                                        <p:tgtEl>
                                          <p:spTgt spid="130"/>
                                        </p:tgtEl>
                                      </p:cBhvr>
                                    </p:animEffect>
                                    <p:animScale>
                                      <p:cBhvr>
                                        <p:cTn id="461" dur="1000" autoRev="1" fill="hold"/>
                                        <p:tgtEl>
                                          <p:spTgt spid="130"/>
                                        </p:tgtEl>
                                      </p:cBhvr>
                                      <p:by x="105000" y="105000"/>
                                    </p:animScale>
                                  </p:childTnLst>
                                </p:cTn>
                              </p:par>
                              <p:par>
                                <p:cTn id="462" presetID="26" presetClass="emph" presetSubtype="0" dur="2000" repeatCount="indefinite" fill="hold" grpId="0" nodeType="withEffect">
                                  <p:stCondLst>
                                    <p:cond delay="3000"/>
                                  </p:stCondLst>
                                  <p:childTnLst>
                                    <p:animEffect transition="out" filter="fade">
                                      <p:cBhvr>
                                        <p:cTn id="463" dur="2000" tmFilter="0, 0; .2, .5; .8, .5; 1, 0"/>
                                        <p:tgtEl>
                                          <p:spTgt spid="147"/>
                                        </p:tgtEl>
                                      </p:cBhvr>
                                    </p:animEffect>
                                    <p:animScale>
                                      <p:cBhvr>
                                        <p:cTn id="464" dur="1000" autoRev="1" fill="hold"/>
                                        <p:tgtEl>
                                          <p:spTgt spid="147"/>
                                        </p:tgtEl>
                                      </p:cBhvr>
                                      <p:by x="105000" y="105000"/>
                                    </p:animScale>
                                  </p:childTnLst>
                                </p:cTn>
                              </p:par>
                              <p:par>
                                <p:cTn id="465" presetID="26" presetClass="emph" presetSubtype="0" dur="2000" repeatCount="indefinite" fill="hold" grpId="0" nodeType="withEffect">
                                  <p:stCondLst>
                                    <p:cond delay="3000"/>
                                  </p:stCondLst>
                                  <p:childTnLst>
                                    <p:animEffect transition="out" filter="fade">
                                      <p:cBhvr>
                                        <p:cTn id="466" dur="2000" tmFilter="0, 0; .2, .5; .8, .5; 1, 0"/>
                                        <p:tgtEl>
                                          <p:spTgt spid="164"/>
                                        </p:tgtEl>
                                      </p:cBhvr>
                                    </p:animEffect>
                                    <p:animScale>
                                      <p:cBhvr>
                                        <p:cTn id="467" dur="1000" autoRev="1" fill="hold"/>
                                        <p:tgtEl>
                                          <p:spTgt spid="164"/>
                                        </p:tgtEl>
                                      </p:cBhvr>
                                      <p:by x="105000" y="105000"/>
                                    </p:animScale>
                                  </p:childTnLst>
                                </p:cTn>
                              </p:par>
                              <p:par>
                                <p:cTn id="468" presetID="26" presetClass="emph" presetSubtype="0" dur="2000" repeatCount="indefinite" fill="hold" grpId="0" nodeType="withEffect">
                                  <p:stCondLst>
                                    <p:cond delay="3000"/>
                                  </p:stCondLst>
                                  <p:childTnLst>
                                    <p:animEffect transition="out" filter="fade">
                                      <p:cBhvr>
                                        <p:cTn id="469" dur="2000" tmFilter="0, 0; .2, .5; .8, .5; 1, 0"/>
                                        <p:tgtEl>
                                          <p:spTgt spid="181"/>
                                        </p:tgtEl>
                                      </p:cBhvr>
                                    </p:animEffect>
                                    <p:animScale>
                                      <p:cBhvr>
                                        <p:cTn id="470" dur="1000" autoRev="1" fill="hold"/>
                                        <p:tgtEl>
                                          <p:spTgt spid="181"/>
                                        </p:tgtEl>
                                      </p:cBhvr>
                                      <p:by x="105000" y="105000"/>
                                    </p:animScale>
                                  </p:childTnLst>
                                </p:cTn>
                              </p:par>
                              <p:par>
                                <p:cTn id="471" presetID="26" presetClass="emph" presetSubtype="0" dur="2000" repeatCount="indefinite" fill="hold" grpId="0" nodeType="withEffect">
                                  <p:stCondLst>
                                    <p:cond delay="3000"/>
                                  </p:stCondLst>
                                  <p:childTnLst>
                                    <p:animEffect transition="out" filter="fade">
                                      <p:cBhvr>
                                        <p:cTn id="472" dur="2000" tmFilter="0, 0; .2, .5; .8, .5; 1, 0"/>
                                        <p:tgtEl>
                                          <p:spTgt spid="198"/>
                                        </p:tgtEl>
                                      </p:cBhvr>
                                    </p:animEffect>
                                    <p:animScale>
                                      <p:cBhvr>
                                        <p:cTn id="473" dur="1000" autoRev="1" fill="hold"/>
                                        <p:tgtEl>
                                          <p:spTgt spid="198"/>
                                        </p:tgtEl>
                                      </p:cBhvr>
                                      <p:by x="105000" y="105000"/>
                                    </p:animScale>
                                  </p:childTnLst>
                                </p:cTn>
                              </p:par>
                              <p:par>
                                <p:cTn id="474" presetID="26" presetClass="emph" presetSubtype="0" dur="2000" repeatCount="indefinite" fill="hold" grpId="0" nodeType="withEffect">
                                  <p:stCondLst>
                                    <p:cond delay="3000"/>
                                  </p:stCondLst>
                                  <p:childTnLst>
                                    <p:animEffect transition="out" filter="fade">
                                      <p:cBhvr>
                                        <p:cTn id="475" dur="2000" tmFilter="0, 0; .2, .5; .8, .5; 1, 0"/>
                                        <p:tgtEl>
                                          <p:spTgt spid="215"/>
                                        </p:tgtEl>
                                      </p:cBhvr>
                                    </p:animEffect>
                                    <p:animScale>
                                      <p:cBhvr>
                                        <p:cTn id="476" dur="1000" autoRev="1" fill="hold"/>
                                        <p:tgtEl>
                                          <p:spTgt spid="215"/>
                                        </p:tgtEl>
                                      </p:cBhvr>
                                      <p:by x="105000" y="105000"/>
                                    </p:animScale>
                                  </p:childTnLst>
                                </p:cTn>
                              </p:par>
                              <p:par>
                                <p:cTn id="477" presetID="26" presetClass="emph" presetSubtype="0" dur="2000" repeatCount="indefinite" fill="hold" grpId="0" nodeType="withEffect">
                                  <p:stCondLst>
                                    <p:cond delay="3000"/>
                                  </p:stCondLst>
                                  <p:childTnLst>
                                    <p:animEffect transition="out" filter="fade">
                                      <p:cBhvr>
                                        <p:cTn id="478" dur="2000" tmFilter="0, 0; .2, .5; .8, .5; 1, 0"/>
                                        <p:tgtEl>
                                          <p:spTgt spid="231"/>
                                        </p:tgtEl>
                                      </p:cBhvr>
                                    </p:animEffect>
                                    <p:animScale>
                                      <p:cBhvr>
                                        <p:cTn id="479" dur="1000" autoRev="1" fill="hold"/>
                                        <p:tgtEl>
                                          <p:spTgt spid="231"/>
                                        </p:tgtEl>
                                      </p:cBhvr>
                                      <p:by x="105000" y="105000"/>
                                    </p:animScale>
                                  </p:childTnLst>
                                </p:cTn>
                              </p:par>
                              <p:par>
                                <p:cTn id="480" presetID="26" presetClass="emph" presetSubtype="0" dur="2000" repeatCount="indefinite" fill="hold" grpId="0" nodeType="withEffect">
                                  <p:stCondLst>
                                    <p:cond delay="3250"/>
                                  </p:stCondLst>
                                  <p:childTnLst>
                                    <p:animEffect transition="out" filter="fade">
                                      <p:cBhvr>
                                        <p:cTn id="481" dur="2000" tmFilter="0, 0; .2, .5; .8, .5; 1, 0"/>
                                        <p:tgtEl>
                                          <p:spTgt spid="20"/>
                                        </p:tgtEl>
                                      </p:cBhvr>
                                    </p:animEffect>
                                    <p:animScale>
                                      <p:cBhvr>
                                        <p:cTn id="482" dur="1000" autoRev="1" fill="hold"/>
                                        <p:tgtEl>
                                          <p:spTgt spid="20"/>
                                        </p:tgtEl>
                                      </p:cBhvr>
                                      <p:by x="105000" y="105000"/>
                                    </p:animScale>
                                  </p:childTnLst>
                                </p:cTn>
                              </p:par>
                              <p:par>
                                <p:cTn id="483" presetID="26" presetClass="emph" presetSubtype="0" dur="2000" repeatCount="indefinite" fill="hold" grpId="0" nodeType="withEffect">
                                  <p:stCondLst>
                                    <p:cond delay="3250"/>
                                  </p:stCondLst>
                                  <p:childTnLst>
                                    <p:animEffect transition="out" filter="fade">
                                      <p:cBhvr>
                                        <p:cTn id="484" dur="2000" tmFilter="0, 0; .2, .5; .8, .5; 1, 0"/>
                                        <p:tgtEl>
                                          <p:spTgt spid="35"/>
                                        </p:tgtEl>
                                      </p:cBhvr>
                                    </p:animEffect>
                                    <p:animScale>
                                      <p:cBhvr>
                                        <p:cTn id="485" dur="1000" autoRev="1" fill="hold"/>
                                        <p:tgtEl>
                                          <p:spTgt spid="35"/>
                                        </p:tgtEl>
                                      </p:cBhvr>
                                      <p:by x="105000" y="105000"/>
                                    </p:animScale>
                                  </p:childTnLst>
                                </p:cTn>
                              </p:par>
                              <p:par>
                                <p:cTn id="486" presetID="26" presetClass="emph" presetSubtype="0" dur="2000" repeatCount="indefinite" fill="hold" grpId="0" nodeType="withEffect">
                                  <p:stCondLst>
                                    <p:cond delay="3250"/>
                                  </p:stCondLst>
                                  <p:childTnLst>
                                    <p:animEffect transition="out" filter="fade">
                                      <p:cBhvr>
                                        <p:cTn id="487" dur="2000" tmFilter="0, 0; .2, .5; .8, .5; 1, 0"/>
                                        <p:tgtEl>
                                          <p:spTgt spid="51"/>
                                        </p:tgtEl>
                                      </p:cBhvr>
                                    </p:animEffect>
                                    <p:animScale>
                                      <p:cBhvr>
                                        <p:cTn id="488" dur="1000" autoRev="1" fill="hold"/>
                                        <p:tgtEl>
                                          <p:spTgt spid="51"/>
                                        </p:tgtEl>
                                      </p:cBhvr>
                                      <p:by x="105000" y="105000"/>
                                    </p:animScale>
                                  </p:childTnLst>
                                </p:cTn>
                              </p:par>
                              <p:par>
                                <p:cTn id="489" presetID="26" presetClass="emph" presetSubtype="0" dur="2000" repeatCount="indefinite" fill="hold" grpId="0" nodeType="withEffect">
                                  <p:stCondLst>
                                    <p:cond delay="3250"/>
                                  </p:stCondLst>
                                  <p:childTnLst>
                                    <p:animEffect transition="out" filter="fade">
                                      <p:cBhvr>
                                        <p:cTn id="490" dur="2000" tmFilter="0, 0; .2, .5; .8, .5; 1, 0"/>
                                        <p:tgtEl>
                                          <p:spTgt spid="67"/>
                                        </p:tgtEl>
                                      </p:cBhvr>
                                    </p:animEffect>
                                    <p:animScale>
                                      <p:cBhvr>
                                        <p:cTn id="491" dur="1000" autoRev="1" fill="hold"/>
                                        <p:tgtEl>
                                          <p:spTgt spid="67"/>
                                        </p:tgtEl>
                                      </p:cBhvr>
                                      <p:by x="105000" y="105000"/>
                                    </p:animScale>
                                  </p:childTnLst>
                                </p:cTn>
                              </p:par>
                              <p:par>
                                <p:cTn id="492" presetID="26" presetClass="emph" presetSubtype="0" dur="2000" repeatCount="indefinite" fill="hold" grpId="0" nodeType="withEffect">
                                  <p:stCondLst>
                                    <p:cond delay="3250"/>
                                  </p:stCondLst>
                                  <p:childTnLst>
                                    <p:animEffect transition="out" filter="fade">
                                      <p:cBhvr>
                                        <p:cTn id="493" dur="2000" tmFilter="0, 0; .2, .5; .8, .5; 1, 0"/>
                                        <p:tgtEl>
                                          <p:spTgt spid="83"/>
                                        </p:tgtEl>
                                      </p:cBhvr>
                                    </p:animEffect>
                                    <p:animScale>
                                      <p:cBhvr>
                                        <p:cTn id="494" dur="1000" autoRev="1" fill="hold"/>
                                        <p:tgtEl>
                                          <p:spTgt spid="83"/>
                                        </p:tgtEl>
                                      </p:cBhvr>
                                      <p:by x="105000" y="105000"/>
                                    </p:animScale>
                                  </p:childTnLst>
                                </p:cTn>
                              </p:par>
                              <p:par>
                                <p:cTn id="495" presetID="26" presetClass="emph" presetSubtype="0" dur="2000" repeatCount="indefinite" fill="hold" grpId="0" nodeType="withEffect">
                                  <p:stCondLst>
                                    <p:cond delay="3250"/>
                                  </p:stCondLst>
                                  <p:childTnLst>
                                    <p:animEffect transition="out" filter="fade">
                                      <p:cBhvr>
                                        <p:cTn id="496" dur="2000" tmFilter="0, 0; .2, .5; .8, .5; 1, 0"/>
                                        <p:tgtEl>
                                          <p:spTgt spid="99"/>
                                        </p:tgtEl>
                                      </p:cBhvr>
                                    </p:animEffect>
                                    <p:animScale>
                                      <p:cBhvr>
                                        <p:cTn id="497" dur="1000" autoRev="1" fill="hold"/>
                                        <p:tgtEl>
                                          <p:spTgt spid="99"/>
                                        </p:tgtEl>
                                      </p:cBhvr>
                                      <p:by x="105000" y="105000"/>
                                    </p:animScale>
                                  </p:childTnLst>
                                </p:cTn>
                              </p:par>
                              <p:par>
                                <p:cTn id="498" presetID="26" presetClass="emph" presetSubtype="0" dur="2000" repeatCount="indefinite" fill="hold" grpId="0" nodeType="withEffect">
                                  <p:stCondLst>
                                    <p:cond delay="3250"/>
                                  </p:stCondLst>
                                  <p:childTnLst>
                                    <p:animEffect transition="out" filter="fade">
                                      <p:cBhvr>
                                        <p:cTn id="499" dur="2000" tmFilter="0, 0; .2, .5; .8, .5; 1, 0"/>
                                        <p:tgtEl>
                                          <p:spTgt spid="115"/>
                                        </p:tgtEl>
                                      </p:cBhvr>
                                    </p:animEffect>
                                    <p:animScale>
                                      <p:cBhvr>
                                        <p:cTn id="500" dur="1000" autoRev="1" fill="hold"/>
                                        <p:tgtEl>
                                          <p:spTgt spid="115"/>
                                        </p:tgtEl>
                                      </p:cBhvr>
                                      <p:by x="105000" y="105000"/>
                                    </p:animScale>
                                  </p:childTnLst>
                                </p:cTn>
                              </p:par>
                              <p:par>
                                <p:cTn id="501" presetID="26" presetClass="emph" presetSubtype="0" dur="2000" repeatCount="indefinite" fill="hold" grpId="0" nodeType="withEffect">
                                  <p:stCondLst>
                                    <p:cond delay="3250"/>
                                  </p:stCondLst>
                                  <p:childTnLst>
                                    <p:animEffect transition="out" filter="fade">
                                      <p:cBhvr>
                                        <p:cTn id="502" dur="2000" tmFilter="0, 0; .2, .5; .8, .5; 1, 0"/>
                                        <p:tgtEl>
                                          <p:spTgt spid="131"/>
                                        </p:tgtEl>
                                      </p:cBhvr>
                                    </p:animEffect>
                                    <p:animScale>
                                      <p:cBhvr>
                                        <p:cTn id="503" dur="1000" autoRev="1" fill="hold"/>
                                        <p:tgtEl>
                                          <p:spTgt spid="131"/>
                                        </p:tgtEl>
                                      </p:cBhvr>
                                      <p:by x="105000" y="105000"/>
                                    </p:animScale>
                                  </p:childTnLst>
                                </p:cTn>
                              </p:par>
                              <p:par>
                                <p:cTn id="504" presetID="26" presetClass="emph" presetSubtype="0" dur="2000" repeatCount="indefinite" fill="hold" grpId="0" nodeType="withEffect">
                                  <p:stCondLst>
                                    <p:cond delay="3250"/>
                                  </p:stCondLst>
                                  <p:childTnLst>
                                    <p:animEffect transition="out" filter="fade">
                                      <p:cBhvr>
                                        <p:cTn id="505" dur="2000" tmFilter="0, 0; .2, .5; .8, .5; 1, 0"/>
                                        <p:tgtEl>
                                          <p:spTgt spid="148"/>
                                        </p:tgtEl>
                                      </p:cBhvr>
                                    </p:animEffect>
                                    <p:animScale>
                                      <p:cBhvr>
                                        <p:cTn id="506" dur="1000" autoRev="1" fill="hold"/>
                                        <p:tgtEl>
                                          <p:spTgt spid="148"/>
                                        </p:tgtEl>
                                      </p:cBhvr>
                                      <p:by x="105000" y="105000"/>
                                    </p:animScale>
                                  </p:childTnLst>
                                </p:cTn>
                              </p:par>
                              <p:par>
                                <p:cTn id="507" presetID="26" presetClass="emph" presetSubtype="0" dur="2000" repeatCount="indefinite" fill="hold" grpId="0" nodeType="withEffect">
                                  <p:stCondLst>
                                    <p:cond delay="3250"/>
                                  </p:stCondLst>
                                  <p:childTnLst>
                                    <p:animEffect transition="out" filter="fade">
                                      <p:cBhvr>
                                        <p:cTn id="508" dur="2000" tmFilter="0, 0; .2, .5; .8, .5; 1, 0"/>
                                        <p:tgtEl>
                                          <p:spTgt spid="165"/>
                                        </p:tgtEl>
                                      </p:cBhvr>
                                    </p:animEffect>
                                    <p:animScale>
                                      <p:cBhvr>
                                        <p:cTn id="509" dur="1000" autoRev="1" fill="hold"/>
                                        <p:tgtEl>
                                          <p:spTgt spid="165"/>
                                        </p:tgtEl>
                                      </p:cBhvr>
                                      <p:by x="105000" y="105000"/>
                                    </p:animScale>
                                  </p:childTnLst>
                                </p:cTn>
                              </p:par>
                              <p:par>
                                <p:cTn id="510" presetID="26" presetClass="emph" presetSubtype="0" dur="2000" repeatCount="indefinite" fill="hold" grpId="0" nodeType="withEffect">
                                  <p:stCondLst>
                                    <p:cond delay="3250"/>
                                  </p:stCondLst>
                                  <p:childTnLst>
                                    <p:animEffect transition="out" filter="fade">
                                      <p:cBhvr>
                                        <p:cTn id="511" dur="2000" tmFilter="0, 0; .2, .5; .8, .5; 1, 0"/>
                                        <p:tgtEl>
                                          <p:spTgt spid="182"/>
                                        </p:tgtEl>
                                      </p:cBhvr>
                                    </p:animEffect>
                                    <p:animScale>
                                      <p:cBhvr>
                                        <p:cTn id="512" dur="1000" autoRev="1" fill="hold"/>
                                        <p:tgtEl>
                                          <p:spTgt spid="182"/>
                                        </p:tgtEl>
                                      </p:cBhvr>
                                      <p:by x="105000" y="105000"/>
                                    </p:animScale>
                                  </p:childTnLst>
                                </p:cTn>
                              </p:par>
                              <p:par>
                                <p:cTn id="513" presetID="26" presetClass="emph" presetSubtype="0" dur="2000" repeatCount="indefinite" fill="hold" grpId="0" nodeType="withEffect">
                                  <p:stCondLst>
                                    <p:cond delay="3250"/>
                                  </p:stCondLst>
                                  <p:childTnLst>
                                    <p:animEffect transition="out" filter="fade">
                                      <p:cBhvr>
                                        <p:cTn id="514" dur="2000" tmFilter="0, 0; .2, .5; .8, .5; 1, 0"/>
                                        <p:tgtEl>
                                          <p:spTgt spid="199"/>
                                        </p:tgtEl>
                                      </p:cBhvr>
                                    </p:animEffect>
                                    <p:animScale>
                                      <p:cBhvr>
                                        <p:cTn id="515" dur="1000" autoRev="1" fill="hold"/>
                                        <p:tgtEl>
                                          <p:spTgt spid="199"/>
                                        </p:tgtEl>
                                      </p:cBhvr>
                                      <p:by x="105000" y="105000"/>
                                    </p:animScale>
                                  </p:childTnLst>
                                </p:cTn>
                              </p:par>
                              <p:par>
                                <p:cTn id="516" presetID="26" presetClass="emph" presetSubtype="0" dur="2000" repeatCount="indefinite" fill="hold" grpId="0" nodeType="withEffect">
                                  <p:stCondLst>
                                    <p:cond delay="3250"/>
                                  </p:stCondLst>
                                  <p:childTnLst>
                                    <p:animEffect transition="out" filter="fade">
                                      <p:cBhvr>
                                        <p:cTn id="517" dur="2000" tmFilter="0, 0; .2, .5; .8, .5; 1, 0"/>
                                        <p:tgtEl>
                                          <p:spTgt spid="216"/>
                                        </p:tgtEl>
                                      </p:cBhvr>
                                    </p:animEffect>
                                    <p:animScale>
                                      <p:cBhvr>
                                        <p:cTn id="518" dur="1000" autoRev="1" fill="hold"/>
                                        <p:tgtEl>
                                          <p:spTgt spid="216"/>
                                        </p:tgtEl>
                                      </p:cBhvr>
                                      <p:by x="105000" y="105000"/>
                                    </p:animScale>
                                  </p:childTnLst>
                                </p:cTn>
                              </p:par>
                              <p:par>
                                <p:cTn id="519" presetID="26" presetClass="emph" presetSubtype="0" dur="2000" repeatCount="indefinite" fill="hold" grpId="0" nodeType="withEffect">
                                  <p:stCondLst>
                                    <p:cond delay="3250"/>
                                  </p:stCondLst>
                                  <p:childTnLst>
                                    <p:animEffect transition="out" filter="fade">
                                      <p:cBhvr>
                                        <p:cTn id="520" dur="2000" tmFilter="0, 0; .2, .5; .8, .5; 1, 0"/>
                                        <p:tgtEl>
                                          <p:spTgt spid="232"/>
                                        </p:tgtEl>
                                      </p:cBhvr>
                                    </p:animEffect>
                                    <p:animScale>
                                      <p:cBhvr>
                                        <p:cTn id="521" dur="1000" autoRev="1" fill="hold"/>
                                        <p:tgtEl>
                                          <p:spTgt spid="232"/>
                                        </p:tgtEl>
                                      </p:cBhvr>
                                      <p:by x="105000" y="105000"/>
                                    </p:animScale>
                                  </p:childTnLst>
                                </p:cTn>
                              </p:par>
                              <p:par>
                                <p:cTn id="522" presetID="26" presetClass="emph" presetSubtype="0" dur="2000" repeatCount="indefinite" fill="hold" grpId="0" nodeType="withEffect">
                                  <p:stCondLst>
                                    <p:cond delay="3500"/>
                                  </p:stCondLst>
                                  <p:childTnLst>
                                    <p:animEffect transition="out" filter="fade">
                                      <p:cBhvr>
                                        <p:cTn id="523" dur="2000" tmFilter="0, 0; .2, .5; .8, .5; 1, 0"/>
                                        <p:tgtEl>
                                          <p:spTgt spid="21"/>
                                        </p:tgtEl>
                                      </p:cBhvr>
                                    </p:animEffect>
                                    <p:animScale>
                                      <p:cBhvr>
                                        <p:cTn id="524" dur="1000" autoRev="1" fill="hold"/>
                                        <p:tgtEl>
                                          <p:spTgt spid="21"/>
                                        </p:tgtEl>
                                      </p:cBhvr>
                                      <p:by x="105000" y="105000"/>
                                    </p:animScale>
                                  </p:childTnLst>
                                </p:cTn>
                              </p:par>
                              <p:par>
                                <p:cTn id="525" presetID="26" presetClass="emph" presetSubtype="0" dur="2000" repeatCount="indefinite" fill="hold" grpId="0" nodeType="withEffect">
                                  <p:stCondLst>
                                    <p:cond delay="3500"/>
                                  </p:stCondLst>
                                  <p:childTnLst>
                                    <p:animEffect transition="out" filter="fade">
                                      <p:cBhvr>
                                        <p:cTn id="526" dur="2000" tmFilter="0, 0; .2, .5; .8, .5; 1, 0"/>
                                        <p:tgtEl>
                                          <p:spTgt spid="36"/>
                                        </p:tgtEl>
                                      </p:cBhvr>
                                    </p:animEffect>
                                    <p:animScale>
                                      <p:cBhvr>
                                        <p:cTn id="527" dur="1000" autoRev="1" fill="hold"/>
                                        <p:tgtEl>
                                          <p:spTgt spid="36"/>
                                        </p:tgtEl>
                                      </p:cBhvr>
                                      <p:by x="105000" y="105000"/>
                                    </p:animScale>
                                  </p:childTnLst>
                                </p:cTn>
                              </p:par>
                              <p:par>
                                <p:cTn id="528" presetID="26" presetClass="emph" presetSubtype="0" dur="2000" repeatCount="indefinite" fill="hold" grpId="0" nodeType="withEffect">
                                  <p:stCondLst>
                                    <p:cond delay="3500"/>
                                  </p:stCondLst>
                                  <p:childTnLst>
                                    <p:animEffect transition="out" filter="fade">
                                      <p:cBhvr>
                                        <p:cTn id="529" dur="2000" tmFilter="0, 0; .2, .5; .8, .5; 1, 0"/>
                                        <p:tgtEl>
                                          <p:spTgt spid="52"/>
                                        </p:tgtEl>
                                      </p:cBhvr>
                                    </p:animEffect>
                                    <p:animScale>
                                      <p:cBhvr>
                                        <p:cTn id="530" dur="1000" autoRev="1" fill="hold"/>
                                        <p:tgtEl>
                                          <p:spTgt spid="52"/>
                                        </p:tgtEl>
                                      </p:cBhvr>
                                      <p:by x="105000" y="105000"/>
                                    </p:animScale>
                                  </p:childTnLst>
                                </p:cTn>
                              </p:par>
                              <p:par>
                                <p:cTn id="531" presetID="26" presetClass="emph" presetSubtype="0" dur="2000" repeatCount="indefinite" fill="hold" grpId="0" nodeType="withEffect">
                                  <p:stCondLst>
                                    <p:cond delay="3500"/>
                                  </p:stCondLst>
                                  <p:childTnLst>
                                    <p:animEffect transition="out" filter="fade">
                                      <p:cBhvr>
                                        <p:cTn id="532" dur="2000" tmFilter="0, 0; .2, .5; .8, .5; 1, 0"/>
                                        <p:tgtEl>
                                          <p:spTgt spid="68"/>
                                        </p:tgtEl>
                                      </p:cBhvr>
                                    </p:animEffect>
                                    <p:animScale>
                                      <p:cBhvr>
                                        <p:cTn id="533" dur="1000" autoRev="1" fill="hold"/>
                                        <p:tgtEl>
                                          <p:spTgt spid="68"/>
                                        </p:tgtEl>
                                      </p:cBhvr>
                                      <p:by x="105000" y="105000"/>
                                    </p:animScale>
                                  </p:childTnLst>
                                </p:cTn>
                              </p:par>
                              <p:par>
                                <p:cTn id="534" presetID="26" presetClass="emph" presetSubtype="0" dur="2000" repeatCount="indefinite" fill="hold" grpId="0" nodeType="withEffect">
                                  <p:stCondLst>
                                    <p:cond delay="3500"/>
                                  </p:stCondLst>
                                  <p:childTnLst>
                                    <p:animEffect transition="out" filter="fade">
                                      <p:cBhvr>
                                        <p:cTn id="535" dur="2000" tmFilter="0, 0; .2, .5; .8, .5; 1, 0"/>
                                        <p:tgtEl>
                                          <p:spTgt spid="84"/>
                                        </p:tgtEl>
                                      </p:cBhvr>
                                    </p:animEffect>
                                    <p:animScale>
                                      <p:cBhvr>
                                        <p:cTn id="536" dur="1000" autoRev="1" fill="hold"/>
                                        <p:tgtEl>
                                          <p:spTgt spid="84"/>
                                        </p:tgtEl>
                                      </p:cBhvr>
                                      <p:by x="105000" y="105000"/>
                                    </p:animScale>
                                  </p:childTnLst>
                                </p:cTn>
                              </p:par>
                              <p:par>
                                <p:cTn id="537" presetID="26" presetClass="emph" presetSubtype="0" dur="2000" repeatCount="indefinite" fill="hold" grpId="0" nodeType="withEffect">
                                  <p:stCondLst>
                                    <p:cond delay="3500"/>
                                  </p:stCondLst>
                                  <p:childTnLst>
                                    <p:animEffect transition="out" filter="fade">
                                      <p:cBhvr>
                                        <p:cTn id="538" dur="2000" tmFilter="0, 0; .2, .5; .8, .5; 1, 0"/>
                                        <p:tgtEl>
                                          <p:spTgt spid="100"/>
                                        </p:tgtEl>
                                      </p:cBhvr>
                                    </p:animEffect>
                                    <p:animScale>
                                      <p:cBhvr>
                                        <p:cTn id="539" dur="1000" autoRev="1" fill="hold"/>
                                        <p:tgtEl>
                                          <p:spTgt spid="100"/>
                                        </p:tgtEl>
                                      </p:cBhvr>
                                      <p:by x="105000" y="105000"/>
                                    </p:animScale>
                                  </p:childTnLst>
                                </p:cTn>
                              </p:par>
                              <p:par>
                                <p:cTn id="540" presetID="26" presetClass="emph" presetSubtype="0" dur="2000" repeatCount="indefinite" fill="hold" grpId="0" nodeType="withEffect">
                                  <p:stCondLst>
                                    <p:cond delay="3500"/>
                                  </p:stCondLst>
                                  <p:childTnLst>
                                    <p:animEffect transition="out" filter="fade">
                                      <p:cBhvr>
                                        <p:cTn id="541" dur="2000" tmFilter="0, 0; .2, .5; .8, .5; 1, 0"/>
                                        <p:tgtEl>
                                          <p:spTgt spid="116"/>
                                        </p:tgtEl>
                                      </p:cBhvr>
                                    </p:animEffect>
                                    <p:animScale>
                                      <p:cBhvr>
                                        <p:cTn id="542" dur="1000" autoRev="1" fill="hold"/>
                                        <p:tgtEl>
                                          <p:spTgt spid="116"/>
                                        </p:tgtEl>
                                      </p:cBhvr>
                                      <p:by x="105000" y="105000"/>
                                    </p:animScale>
                                  </p:childTnLst>
                                </p:cTn>
                              </p:par>
                              <p:par>
                                <p:cTn id="543" presetID="26" presetClass="emph" presetSubtype="0" dur="2000" repeatCount="indefinite" fill="hold" grpId="0" nodeType="withEffect">
                                  <p:stCondLst>
                                    <p:cond delay="3500"/>
                                  </p:stCondLst>
                                  <p:childTnLst>
                                    <p:animEffect transition="out" filter="fade">
                                      <p:cBhvr>
                                        <p:cTn id="544" dur="2000" tmFilter="0, 0; .2, .5; .8, .5; 1, 0"/>
                                        <p:tgtEl>
                                          <p:spTgt spid="132"/>
                                        </p:tgtEl>
                                      </p:cBhvr>
                                    </p:animEffect>
                                    <p:animScale>
                                      <p:cBhvr>
                                        <p:cTn id="545" dur="1000" autoRev="1" fill="hold"/>
                                        <p:tgtEl>
                                          <p:spTgt spid="132"/>
                                        </p:tgtEl>
                                      </p:cBhvr>
                                      <p:by x="105000" y="105000"/>
                                    </p:animScale>
                                  </p:childTnLst>
                                </p:cTn>
                              </p:par>
                              <p:par>
                                <p:cTn id="546" presetID="26" presetClass="emph" presetSubtype="0" dur="2000" repeatCount="indefinite" fill="hold" grpId="0" nodeType="withEffect">
                                  <p:stCondLst>
                                    <p:cond delay="3500"/>
                                  </p:stCondLst>
                                  <p:childTnLst>
                                    <p:animEffect transition="out" filter="fade">
                                      <p:cBhvr>
                                        <p:cTn id="547" dur="2000" tmFilter="0, 0; .2, .5; .8, .5; 1, 0"/>
                                        <p:tgtEl>
                                          <p:spTgt spid="149"/>
                                        </p:tgtEl>
                                      </p:cBhvr>
                                    </p:animEffect>
                                    <p:animScale>
                                      <p:cBhvr>
                                        <p:cTn id="548" dur="1000" autoRev="1" fill="hold"/>
                                        <p:tgtEl>
                                          <p:spTgt spid="149"/>
                                        </p:tgtEl>
                                      </p:cBhvr>
                                      <p:by x="105000" y="105000"/>
                                    </p:animScale>
                                  </p:childTnLst>
                                </p:cTn>
                              </p:par>
                              <p:par>
                                <p:cTn id="549" presetID="26" presetClass="emph" presetSubtype="0" dur="2000" repeatCount="indefinite" fill="hold" grpId="0" nodeType="withEffect">
                                  <p:stCondLst>
                                    <p:cond delay="3500"/>
                                  </p:stCondLst>
                                  <p:childTnLst>
                                    <p:animEffect transition="out" filter="fade">
                                      <p:cBhvr>
                                        <p:cTn id="550" dur="2000" tmFilter="0, 0; .2, .5; .8, .5; 1, 0"/>
                                        <p:tgtEl>
                                          <p:spTgt spid="166"/>
                                        </p:tgtEl>
                                      </p:cBhvr>
                                    </p:animEffect>
                                    <p:animScale>
                                      <p:cBhvr>
                                        <p:cTn id="551" dur="1000" autoRev="1" fill="hold"/>
                                        <p:tgtEl>
                                          <p:spTgt spid="166"/>
                                        </p:tgtEl>
                                      </p:cBhvr>
                                      <p:by x="105000" y="105000"/>
                                    </p:animScale>
                                  </p:childTnLst>
                                </p:cTn>
                              </p:par>
                              <p:par>
                                <p:cTn id="552" presetID="26" presetClass="emph" presetSubtype="0" dur="2000" repeatCount="indefinite" fill="hold" grpId="0" nodeType="withEffect">
                                  <p:stCondLst>
                                    <p:cond delay="3500"/>
                                  </p:stCondLst>
                                  <p:childTnLst>
                                    <p:animEffect transition="out" filter="fade">
                                      <p:cBhvr>
                                        <p:cTn id="553" dur="2000" tmFilter="0, 0; .2, .5; .8, .5; 1, 0"/>
                                        <p:tgtEl>
                                          <p:spTgt spid="183"/>
                                        </p:tgtEl>
                                      </p:cBhvr>
                                    </p:animEffect>
                                    <p:animScale>
                                      <p:cBhvr>
                                        <p:cTn id="554" dur="1000" autoRev="1" fill="hold"/>
                                        <p:tgtEl>
                                          <p:spTgt spid="183"/>
                                        </p:tgtEl>
                                      </p:cBhvr>
                                      <p:by x="105000" y="105000"/>
                                    </p:animScale>
                                  </p:childTnLst>
                                </p:cTn>
                              </p:par>
                              <p:par>
                                <p:cTn id="555" presetID="26" presetClass="emph" presetSubtype="0" dur="2000" repeatCount="indefinite" fill="hold" grpId="0" nodeType="withEffect">
                                  <p:stCondLst>
                                    <p:cond delay="3500"/>
                                  </p:stCondLst>
                                  <p:childTnLst>
                                    <p:animEffect transition="out" filter="fade">
                                      <p:cBhvr>
                                        <p:cTn id="556" dur="2000" tmFilter="0, 0; .2, .5; .8, .5; 1, 0"/>
                                        <p:tgtEl>
                                          <p:spTgt spid="200"/>
                                        </p:tgtEl>
                                      </p:cBhvr>
                                    </p:animEffect>
                                    <p:animScale>
                                      <p:cBhvr>
                                        <p:cTn id="557" dur="1000" autoRev="1" fill="hold"/>
                                        <p:tgtEl>
                                          <p:spTgt spid="200"/>
                                        </p:tgtEl>
                                      </p:cBhvr>
                                      <p:by x="105000" y="105000"/>
                                    </p:animScale>
                                  </p:childTnLst>
                                </p:cTn>
                              </p:par>
                              <p:par>
                                <p:cTn id="558" presetID="26" presetClass="emph" presetSubtype="0" dur="2000" repeatCount="indefinite" fill="hold" grpId="0" nodeType="withEffect">
                                  <p:stCondLst>
                                    <p:cond delay="3500"/>
                                  </p:stCondLst>
                                  <p:childTnLst>
                                    <p:animEffect transition="out" filter="fade">
                                      <p:cBhvr>
                                        <p:cTn id="559" dur="2000" tmFilter="0, 0; .2, .5; .8, .5; 1, 0"/>
                                        <p:tgtEl>
                                          <p:spTgt spid="217"/>
                                        </p:tgtEl>
                                      </p:cBhvr>
                                    </p:animEffect>
                                    <p:animScale>
                                      <p:cBhvr>
                                        <p:cTn id="560" dur="1000" autoRev="1" fill="hold"/>
                                        <p:tgtEl>
                                          <p:spTgt spid="217"/>
                                        </p:tgtEl>
                                      </p:cBhvr>
                                      <p:by x="105000" y="105000"/>
                                    </p:animScale>
                                  </p:childTnLst>
                                </p:cTn>
                              </p:par>
                              <p:par>
                                <p:cTn id="561" presetID="26" presetClass="emph" presetSubtype="0" dur="2000" repeatCount="indefinite" fill="hold" grpId="0" nodeType="withEffect">
                                  <p:stCondLst>
                                    <p:cond delay="3500"/>
                                  </p:stCondLst>
                                  <p:childTnLst>
                                    <p:animEffect transition="out" filter="fade">
                                      <p:cBhvr>
                                        <p:cTn id="562" dur="2000" tmFilter="0, 0; .2, .5; .8, .5; 1, 0"/>
                                        <p:tgtEl>
                                          <p:spTgt spid="233"/>
                                        </p:tgtEl>
                                      </p:cBhvr>
                                    </p:animEffect>
                                    <p:animScale>
                                      <p:cBhvr>
                                        <p:cTn id="563" dur="1000" autoRev="1" fill="hold"/>
                                        <p:tgtEl>
                                          <p:spTgt spid="233"/>
                                        </p:tgtEl>
                                      </p:cBhvr>
                                      <p:by x="105000" y="105000"/>
                                    </p:animScale>
                                  </p:childTnLst>
                                </p:cTn>
                              </p:par>
                              <p:par>
                                <p:cTn id="564" presetID="26" presetClass="emph" presetSubtype="0" dur="2000" repeatCount="indefinite" fill="hold" grpId="0" nodeType="withEffect">
                                  <p:stCondLst>
                                    <p:cond delay="3750"/>
                                  </p:stCondLst>
                                  <p:childTnLst>
                                    <p:animEffect transition="out" filter="fade">
                                      <p:cBhvr>
                                        <p:cTn id="565" dur="2000" tmFilter="0, 0; .2, .5; .8, .5; 1, 0"/>
                                        <p:tgtEl>
                                          <p:spTgt spid="37"/>
                                        </p:tgtEl>
                                      </p:cBhvr>
                                    </p:animEffect>
                                    <p:animScale>
                                      <p:cBhvr>
                                        <p:cTn id="566" dur="1000" autoRev="1" fill="hold"/>
                                        <p:tgtEl>
                                          <p:spTgt spid="37"/>
                                        </p:tgtEl>
                                      </p:cBhvr>
                                      <p:by x="105000" y="105000"/>
                                    </p:animScale>
                                  </p:childTnLst>
                                </p:cTn>
                              </p:par>
                              <p:par>
                                <p:cTn id="567" presetID="26" presetClass="emph" presetSubtype="0" dur="2000" repeatCount="indefinite" fill="hold" grpId="0" nodeType="withEffect">
                                  <p:stCondLst>
                                    <p:cond delay="3750"/>
                                  </p:stCondLst>
                                  <p:childTnLst>
                                    <p:animEffect transition="out" filter="fade">
                                      <p:cBhvr>
                                        <p:cTn id="568" dur="2000" tmFilter="0, 0; .2, .5; .8, .5; 1, 0"/>
                                        <p:tgtEl>
                                          <p:spTgt spid="53"/>
                                        </p:tgtEl>
                                      </p:cBhvr>
                                    </p:animEffect>
                                    <p:animScale>
                                      <p:cBhvr>
                                        <p:cTn id="569" dur="1000" autoRev="1" fill="hold"/>
                                        <p:tgtEl>
                                          <p:spTgt spid="53"/>
                                        </p:tgtEl>
                                      </p:cBhvr>
                                      <p:by x="105000" y="105000"/>
                                    </p:animScale>
                                  </p:childTnLst>
                                </p:cTn>
                              </p:par>
                              <p:par>
                                <p:cTn id="570" presetID="26" presetClass="emph" presetSubtype="0" dur="2000" repeatCount="indefinite" fill="hold" grpId="0" nodeType="withEffect">
                                  <p:stCondLst>
                                    <p:cond delay="3750"/>
                                  </p:stCondLst>
                                  <p:childTnLst>
                                    <p:animEffect transition="out" filter="fade">
                                      <p:cBhvr>
                                        <p:cTn id="571" dur="2000" tmFilter="0, 0; .2, .5; .8, .5; 1, 0"/>
                                        <p:tgtEl>
                                          <p:spTgt spid="69"/>
                                        </p:tgtEl>
                                      </p:cBhvr>
                                    </p:animEffect>
                                    <p:animScale>
                                      <p:cBhvr>
                                        <p:cTn id="572" dur="1000" autoRev="1" fill="hold"/>
                                        <p:tgtEl>
                                          <p:spTgt spid="69"/>
                                        </p:tgtEl>
                                      </p:cBhvr>
                                      <p:by x="105000" y="105000"/>
                                    </p:animScale>
                                  </p:childTnLst>
                                </p:cTn>
                              </p:par>
                              <p:par>
                                <p:cTn id="573" presetID="26" presetClass="emph" presetSubtype="0" dur="2000" repeatCount="indefinite" fill="hold" grpId="0" nodeType="withEffect">
                                  <p:stCondLst>
                                    <p:cond delay="3750"/>
                                  </p:stCondLst>
                                  <p:childTnLst>
                                    <p:animEffect transition="out" filter="fade">
                                      <p:cBhvr>
                                        <p:cTn id="574" dur="2000" tmFilter="0, 0; .2, .5; .8, .5; 1, 0"/>
                                        <p:tgtEl>
                                          <p:spTgt spid="85"/>
                                        </p:tgtEl>
                                      </p:cBhvr>
                                    </p:animEffect>
                                    <p:animScale>
                                      <p:cBhvr>
                                        <p:cTn id="575" dur="1000" autoRev="1" fill="hold"/>
                                        <p:tgtEl>
                                          <p:spTgt spid="85"/>
                                        </p:tgtEl>
                                      </p:cBhvr>
                                      <p:by x="105000" y="105000"/>
                                    </p:animScale>
                                  </p:childTnLst>
                                </p:cTn>
                              </p:par>
                              <p:par>
                                <p:cTn id="576" presetID="26" presetClass="emph" presetSubtype="0" dur="2000" repeatCount="indefinite" fill="hold" grpId="0" nodeType="withEffect">
                                  <p:stCondLst>
                                    <p:cond delay="3750"/>
                                  </p:stCondLst>
                                  <p:childTnLst>
                                    <p:animEffect transition="out" filter="fade">
                                      <p:cBhvr>
                                        <p:cTn id="577" dur="2000" tmFilter="0, 0; .2, .5; .8, .5; 1, 0"/>
                                        <p:tgtEl>
                                          <p:spTgt spid="101"/>
                                        </p:tgtEl>
                                      </p:cBhvr>
                                    </p:animEffect>
                                    <p:animScale>
                                      <p:cBhvr>
                                        <p:cTn id="578" dur="1000" autoRev="1" fill="hold"/>
                                        <p:tgtEl>
                                          <p:spTgt spid="101"/>
                                        </p:tgtEl>
                                      </p:cBhvr>
                                      <p:by x="105000" y="105000"/>
                                    </p:animScale>
                                  </p:childTnLst>
                                </p:cTn>
                              </p:par>
                              <p:par>
                                <p:cTn id="579" presetID="26" presetClass="emph" presetSubtype="0" dur="2000" repeatCount="indefinite" fill="hold" grpId="0" nodeType="withEffect">
                                  <p:stCondLst>
                                    <p:cond delay="3750"/>
                                  </p:stCondLst>
                                  <p:childTnLst>
                                    <p:animEffect transition="out" filter="fade">
                                      <p:cBhvr>
                                        <p:cTn id="580" dur="2000" tmFilter="0, 0; .2, .5; .8, .5; 1, 0"/>
                                        <p:tgtEl>
                                          <p:spTgt spid="117"/>
                                        </p:tgtEl>
                                      </p:cBhvr>
                                    </p:animEffect>
                                    <p:animScale>
                                      <p:cBhvr>
                                        <p:cTn id="581" dur="1000" autoRev="1" fill="hold"/>
                                        <p:tgtEl>
                                          <p:spTgt spid="117"/>
                                        </p:tgtEl>
                                      </p:cBhvr>
                                      <p:by x="105000" y="105000"/>
                                    </p:animScale>
                                  </p:childTnLst>
                                </p:cTn>
                              </p:par>
                              <p:par>
                                <p:cTn id="582" presetID="26" presetClass="emph" presetSubtype="0" dur="2000" repeatCount="indefinite" fill="hold" grpId="0" nodeType="withEffect">
                                  <p:stCondLst>
                                    <p:cond delay="3750"/>
                                  </p:stCondLst>
                                  <p:childTnLst>
                                    <p:animEffect transition="out" filter="fade">
                                      <p:cBhvr>
                                        <p:cTn id="583" dur="2000" tmFilter="0, 0; .2, .5; .8, .5; 1, 0"/>
                                        <p:tgtEl>
                                          <p:spTgt spid="133"/>
                                        </p:tgtEl>
                                      </p:cBhvr>
                                    </p:animEffect>
                                    <p:animScale>
                                      <p:cBhvr>
                                        <p:cTn id="584" dur="1000" autoRev="1" fill="hold"/>
                                        <p:tgtEl>
                                          <p:spTgt spid="133"/>
                                        </p:tgtEl>
                                      </p:cBhvr>
                                      <p:by x="105000" y="105000"/>
                                    </p:animScale>
                                  </p:childTnLst>
                                </p:cTn>
                              </p:par>
                              <p:par>
                                <p:cTn id="585" presetID="26" presetClass="emph" presetSubtype="0" dur="2000" repeatCount="indefinite" fill="hold" grpId="0" nodeType="withEffect">
                                  <p:stCondLst>
                                    <p:cond delay="3750"/>
                                  </p:stCondLst>
                                  <p:childTnLst>
                                    <p:animEffect transition="out" filter="fade">
                                      <p:cBhvr>
                                        <p:cTn id="586" dur="2000" tmFilter="0, 0; .2, .5; .8, .5; 1, 0"/>
                                        <p:tgtEl>
                                          <p:spTgt spid="150"/>
                                        </p:tgtEl>
                                      </p:cBhvr>
                                    </p:animEffect>
                                    <p:animScale>
                                      <p:cBhvr>
                                        <p:cTn id="587" dur="1000" autoRev="1" fill="hold"/>
                                        <p:tgtEl>
                                          <p:spTgt spid="150"/>
                                        </p:tgtEl>
                                      </p:cBhvr>
                                      <p:by x="105000" y="105000"/>
                                    </p:animScale>
                                  </p:childTnLst>
                                </p:cTn>
                              </p:par>
                              <p:par>
                                <p:cTn id="588" presetID="26" presetClass="emph" presetSubtype="0" dur="2000" repeatCount="indefinite" fill="hold" grpId="0" nodeType="withEffect">
                                  <p:stCondLst>
                                    <p:cond delay="3750"/>
                                  </p:stCondLst>
                                  <p:childTnLst>
                                    <p:animEffect transition="out" filter="fade">
                                      <p:cBhvr>
                                        <p:cTn id="589" dur="2000" tmFilter="0, 0; .2, .5; .8, .5; 1, 0"/>
                                        <p:tgtEl>
                                          <p:spTgt spid="167"/>
                                        </p:tgtEl>
                                      </p:cBhvr>
                                    </p:animEffect>
                                    <p:animScale>
                                      <p:cBhvr>
                                        <p:cTn id="590" dur="1000" autoRev="1" fill="hold"/>
                                        <p:tgtEl>
                                          <p:spTgt spid="167"/>
                                        </p:tgtEl>
                                      </p:cBhvr>
                                      <p:by x="105000" y="105000"/>
                                    </p:animScale>
                                  </p:childTnLst>
                                </p:cTn>
                              </p:par>
                              <p:par>
                                <p:cTn id="591" presetID="26" presetClass="emph" presetSubtype="0" dur="2000" repeatCount="indefinite" fill="hold" grpId="0" nodeType="withEffect">
                                  <p:stCondLst>
                                    <p:cond delay="3750"/>
                                  </p:stCondLst>
                                  <p:childTnLst>
                                    <p:animEffect transition="out" filter="fade">
                                      <p:cBhvr>
                                        <p:cTn id="592" dur="2000" tmFilter="0, 0; .2, .5; .8, .5; 1, 0"/>
                                        <p:tgtEl>
                                          <p:spTgt spid="184"/>
                                        </p:tgtEl>
                                      </p:cBhvr>
                                    </p:animEffect>
                                    <p:animScale>
                                      <p:cBhvr>
                                        <p:cTn id="593" dur="1000" autoRev="1" fill="hold"/>
                                        <p:tgtEl>
                                          <p:spTgt spid="184"/>
                                        </p:tgtEl>
                                      </p:cBhvr>
                                      <p:by x="105000" y="105000"/>
                                    </p:animScale>
                                  </p:childTnLst>
                                </p:cTn>
                              </p:par>
                              <p:par>
                                <p:cTn id="594" presetID="26" presetClass="emph" presetSubtype="0" dur="2000" repeatCount="indefinite" fill="hold" grpId="0" nodeType="withEffect">
                                  <p:stCondLst>
                                    <p:cond delay="3750"/>
                                  </p:stCondLst>
                                  <p:childTnLst>
                                    <p:animEffect transition="out" filter="fade">
                                      <p:cBhvr>
                                        <p:cTn id="595" dur="2000" tmFilter="0, 0; .2, .5; .8, .5; 1, 0"/>
                                        <p:tgtEl>
                                          <p:spTgt spid="201"/>
                                        </p:tgtEl>
                                      </p:cBhvr>
                                    </p:animEffect>
                                    <p:animScale>
                                      <p:cBhvr>
                                        <p:cTn id="596" dur="1000" autoRev="1" fill="hold"/>
                                        <p:tgtEl>
                                          <p:spTgt spid="201"/>
                                        </p:tgtEl>
                                      </p:cBhvr>
                                      <p:by x="105000" y="105000"/>
                                    </p:animScale>
                                  </p:childTnLst>
                                </p:cTn>
                              </p:par>
                              <p:par>
                                <p:cTn id="597" presetID="26" presetClass="emph" presetSubtype="0" dur="2000" repeatCount="indefinite" fill="hold" grpId="0" nodeType="withEffect">
                                  <p:stCondLst>
                                    <p:cond delay="3750"/>
                                  </p:stCondLst>
                                  <p:childTnLst>
                                    <p:animEffect transition="out" filter="fade">
                                      <p:cBhvr>
                                        <p:cTn id="598" dur="2000" tmFilter="0, 0; .2, .5; .8, .5; 1, 0"/>
                                        <p:tgtEl>
                                          <p:spTgt spid="218"/>
                                        </p:tgtEl>
                                      </p:cBhvr>
                                    </p:animEffect>
                                    <p:animScale>
                                      <p:cBhvr>
                                        <p:cTn id="599" dur="1000" autoRev="1" fill="hold"/>
                                        <p:tgtEl>
                                          <p:spTgt spid="218"/>
                                        </p:tgtEl>
                                      </p:cBhvr>
                                      <p:by x="105000" y="105000"/>
                                    </p:animScale>
                                  </p:childTnLst>
                                </p:cTn>
                              </p:par>
                              <p:par>
                                <p:cTn id="600" presetID="26" presetClass="emph" presetSubtype="0" dur="2000" repeatCount="indefinite" fill="hold" grpId="0" nodeType="withEffect">
                                  <p:stCondLst>
                                    <p:cond delay="4000"/>
                                  </p:stCondLst>
                                  <p:childTnLst>
                                    <p:animEffect transition="out" filter="fade">
                                      <p:cBhvr>
                                        <p:cTn id="601" dur="2000" tmFilter="0, 0; .2, .5; .8, .5; 1, 0"/>
                                        <p:tgtEl>
                                          <p:spTgt spid="54"/>
                                        </p:tgtEl>
                                      </p:cBhvr>
                                    </p:animEffect>
                                    <p:animScale>
                                      <p:cBhvr>
                                        <p:cTn id="602" dur="1000" autoRev="1" fill="hold"/>
                                        <p:tgtEl>
                                          <p:spTgt spid="54"/>
                                        </p:tgtEl>
                                      </p:cBhvr>
                                      <p:by x="105000" y="105000"/>
                                    </p:animScale>
                                  </p:childTnLst>
                                </p:cTn>
                              </p:par>
                              <p:par>
                                <p:cTn id="603" presetID="26" presetClass="emph" presetSubtype="0" dur="2000" repeatCount="indefinite" fill="hold" grpId="0" nodeType="withEffect">
                                  <p:stCondLst>
                                    <p:cond delay="4000"/>
                                  </p:stCondLst>
                                  <p:childTnLst>
                                    <p:animEffect transition="out" filter="fade">
                                      <p:cBhvr>
                                        <p:cTn id="604" dur="2000" tmFilter="0, 0; .2, .5; .8, .5; 1, 0"/>
                                        <p:tgtEl>
                                          <p:spTgt spid="70"/>
                                        </p:tgtEl>
                                      </p:cBhvr>
                                    </p:animEffect>
                                    <p:animScale>
                                      <p:cBhvr>
                                        <p:cTn id="605" dur="1000" autoRev="1" fill="hold"/>
                                        <p:tgtEl>
                                          <p:spTgt spid="70"/>
                                        </p:tgtEl>
                                      </p:cBhvr>
                                      <p:by x="105000" y="105000"/>
                                    </p:animScale>
                                  </p:childTnLst>
                                </p:cTn>
                              </p:par>
                              <p:par>
                                <p:cTn id="606" presetID="26" presetClass="emph" presetSubtype="0" dur="2000" repeatCount="indefinite" fill="hold" grpId="0" nodeType="withEffect">
                                  <p:stCondLst>
                                    <p:cond delay="4000"/>
                                  </p:stCondLst>
                                  <p:childTnLst>
                                    <p:animEffect transition="out" filter="fade">
                                      <p:cBhvr>
                                        <p:cTn id="607" dur="2000" tmFilter="0, 0; .2, .5; .8, .5; 1, 0"/>
                                        <p:tgtEl>
                                          <p:spTgt spid="86"/>
                                        </p:tgtEl>
                                      </p:cBhvr>
                                    </p:animEffect>
                                    <p:animScale>
                                      <p:cBhvr>
                                        <p:cTn id="608" dur="1000" autoRev="1" fill="hold"/>
                                        <p:tgtEl>
                                          <p:spTgt spid="86"/>
                                        </p:tgtEl>
                                      </p:cBhvr>
                                      <p:by x="105000" y="105000"/>
                                    </p:animScale>
                                  </p:childTnLst>
                                </p:cTn>
                              </p:par>
                              <p:par>
                                <p:cTn id="609" presetID="26" presetClass="emph" presetSubtype="0" dur="2000" repeatCount="indefinite" fill="hold" grpId="0" nodeType="withEffect">
                                  <p:stCondLst>
                                    <p:cond delay="4000"/>
                                  </p:stCondLst>
                                  <p:childTnLst>
                                    <p:animEffect transition="out" filter="fade">
                                      <p:cBhvr>
                                        <p:cTn id="610" dur="2000" tmFilter="0, 0; .2, .5; .8, .5; 1, 0"/>
                                        <p:tgtEl>
                                          <p:spTgt spid="102"/>
                                        </p:tgtEl>
                                      </p:cBhvr>
                                    </p:animEffect>
                                    <p:animScale>
                                      <p:cBhvr>
                                        <p:cTn id="611" dur="1000" autoRev="1" fill="hold"/>
                                        <p:tgtEl>
                                          <p:spTgt spid="102"/>
                                        </p:tgtEl>
                                      </p:cBhvr>
                                      <p:by x="105000" y="105000"/>
                                    </p:animScale>
                                  </p:childTnLst>
                                </p:cTn>
                              </p:par>
                              <p:par>
                                <p:cTn id="612" presetID="26" presetClass="emph" presetSubtype="0" dur="2000" repeatCount="indefinite" fill="hold" grpId="0" nodeType="withEffect">
                                  <p:stCondLst>
                                    <p:cond delay="4000"/>
                                  </p:stCondLst>
                                  <p:childTnLst>
                                    <p:animEffect transition="out" filter="fade">
                                      <p:cBhvr>
                                        <p:cTn id="613" dur="2000" tmFilter="0, 0; .2, .5; .8, .5; 1, 0"/>
                                        <p:tgtEl>
                                          <p:spTgt spid="118"/>
                                        </p:tgtEl>
                                      </p:cBhvr>
                                    </p:animEffect>
                                    <p:animScale>
                                      <p:cBhvr>
                                        <p:cTn id="614" dur="1000" autoRev="1" fill="hold"/>
                                        <p:tgtEl>
                                          <p:spTgt spid="118"/>
                                        </p:tgtEl>
                                      </p:cBhvr>
                                      <p:by x="105000" y="105000"/>
                                    </p:animScale>
                                  </p:childTnLst>
                                </p:cTn>
                              </p:par>
                              <p:par>
                                <p:cTn id="615" presetID="26" presetClass="emph" presetSubtype="0" dur="2000" repeatCount="indefinite" fill="hold" grpId="0" nodeType="withEffect">
                                  <p:stCondLst>
                                    <p:cond delay="4000"/>
                                  </p:stCondLst>
                                  <p:childTnLst>
                                    <p:animEffect transition="out" filter="fade">
                                      <p:cBhvr>
                                        <p:cTn id="616" dur="2000" tmFilter="0, 0; .2, .5; .8, .5; 1, 0"/>
                                        <p:tgtEl>
                                          <p:spTgt spid="134"/>
                                        </p:tgtEl>
                                      </p:cBhvr>
                                    </p:animEffect>
                                    <p:animScale>
                                      <p:cBhvr>
                                        <p:cTn id="617" dur="1000" autoRev="1" fill="hold"/>
                                        <p:tgtEl>
                                          <p:spTgt spid="134"/>
                                        </p:tgtEl>
                                      </p:cBhvr>
                                      <p:by x="105000" y="105000"/>
                                    </p:animScale>
                                  </p:childTnLst>
                                </p:cTn>
                              </p:par>
                              <p:par>
                                <p:cTn id="618" presetID="26" presetClass="emph" presetSubtype="0" dur="2000" repeatCount="indefinite" fill="hold" grpId="0" nodeType="withEffect">
                                  <p:stCondLst>
                                    <p:cond delay="4000"/>
                                  </p:stCondLst>
                                  <p:childTnLst>
                                    <p:animEffect transition="out" filter="fade">
                                      <p:cBhvr>
                                        <p:cTn id="619" dur="2000" tmFilter="0, 0; .2, .5; .8, .5; 1, 0"/>
                                        <p:tgtEl>
                                          <p:spTgt spid="151"/>
                                        </p:tgtEl>
                                      </p:cBhvr>
                                    </p:animEffect>
                                    <p:animScale>
                                      <p:cBhvr>
                                        <p:cTn id="620" dur="1000" autoRev="1" fill="hold"/>
                                        <p:tgtEl>
                                          <p:spTgt spid="151"/>
                                        </p:tgtEl>
                                      </p:cBhvr>
                                      <p:by x="105000" y="105000"/>
                                    </p:animScale>
                                  </p:childTnLst>
                                </p:cTn>
                              </p:par>
                              <p:par>
                                <p:cTn id="621" presetID="26" presetClass="emph" presetSubtype="0" dur="2000" repeatCount="indefinite" fill="hold" grpId="0" nodeType="withEffect">
                                  <p:stCondLst>
                                    <p:cond delay="4000"/>
                                  </p:stCondLst>
                                  <p:childTnLst>
                                    <p:animEffect transition="out" filter="fade">
                                      <p:cBhvr>
                                        <p:cTn id="622" dur="2000" tmFilter="0, 0; .2, .5; .8, .5; 1, 0"/>
                                        <p:tgtEl>
                                          <p:spTgt spid="168"/>
                                        </p:tgtEl>
                                      </p:cBhvr>
                                    </p:animEffect>
                                    <p:animScale>
                                      <p:cBhvr>
                                        <p:cTn id="623" dur="1000" autoRev="1" fill="hold"/>
                                        <p:tgtEl>
                                          <p:spTgt spid="168"/>
                                        </p:tgtEl>
                                      </p:cBhvr>
                                      <p:by x="105000" y="105000"/>
                                    </p:animScale>
                                  </p:childTnLst>
                                </p:cTn>
                              </p:par>
                              <p:par>
                                <p:cTn id="624" presetID="26" presetClass="emph" presetSubtype="0" dur="2000" repeatCount="indefinite" fill="hold" grpId="0" nodeType="withEffect">
                                  <p:stCondLst>
                                    <p:cond delay="4000"/>
                                  </p:stCondLst>
                                  <p:childTnLst>
                                    <p:animEffect transition="out" filter="fade">
                                      <p:cBhvr>
                                        <p:cTn id="625" dur="2000" tmFilter="0, 0; .2, .5; .8, .5; 1, 0"/>
                                        <p:tgtEl>
                                          <p:spTgt spid="185"/>
                                        </p:tgtEl>
                                      </p:cBhvr>
                                    </p:animEffect>
                                    <p:animScale>
                                      <p:cBhvr>
                                        <p:cTn id="626" dur="1000" autoRev="1" fill="hold"/>
                                        <p:tgtEl>
                                          <p:spTgt spid="185"/>
                                        </p:tgtEl>
                                      </p:cBhvr>
                                      <p:by x="105000" y="105000"/>
                                    </p:animScale>
                                  </p:childTnLst>
                                </p:cTn>
                              </p:par>
                              <p:par>
                                <p:cTn id="627" presetID="26" presetClass="emph" presetSubtype="0" dur="2000" repeatCount="indefinite" fill="hold" grpId="0" nodeType="withEffect">
                                  <p:stCondLst>
                                    <p:cond delay="4000"/>
                                  </p:stCondLst>
                                  <p:childTnLst>
                                    <p:animEffect transition="out" filter="fade">
                                      <p:cBhvr>
                                        <p:cTn id="628" dur="2000" tmFilter="0, 0; .2, .5; .8, .5; 1, 0"/>
                                        <p:tgtEl>
                                          <p:spTgt spid="202"/>
                                        </p:tgtEl>
                                      </p:cBhvr>
                                    </p:animEffect>
                                    <p:animScale>
                                      <p:cBhvr>
                                        <p:cTn id="629" dur="1000" autoRev="1" fill="hold"/>
                                        <p:tgtEl>
                                          <p:spTgt spid="202"/>
                                        </p:tgtEl>
                                      </p:cBhvr>
                                      <p:by x="105000" y="105000"/>
                                    </p:animScale>
                                  </p:childTnLst>
                                </p:cTn>
                              </p:par>
                              <p:par>
                                <p:cTn id="630" presetID="26" presetClass="emph" presetSubtype="0" dur="2000" repeatCount="indefinite" fill="hold" grpId="0" nodeType="withEffect">
                                  <p:stCondLst>
                                    <p:cond delay="4250"/>
                                  </p:stCondLst>
                                  <p:childTnLst>
                                    <p:animEffect transition="out" filter="fade">
                                      <p:cBhvr>
                                        <p:cTn id="631" dur="2000" tmFilter="0, 0; .2, .5; .8, .5; 1, 0"/>
                                        <p:tgtEl>
                                          <p:spTgt spid="71"/>
                                        </p:tgtEl>
                                      </p:cBhvr>
                                    </p:animEffect>
                                    <p:animScale>
                                      <p:cBhvr>
                                        <p:cTn id="632" dur="1000" autoRev="1" fill="hold"/>
                                        <p:tgtEl>
                                          <p:spTgt spid="71"/>
                                        </p:tgtEl>
                                      </p:cBhvr>
                                      <p:by x="105000" y="105000"/>
                                    </p:animScale>
                                  </p:childTnLst>
                                </p:cTn>
                              </p:par>
                              <p:par>
                                <p:cTn id="633" presetID="26" presetClass="emph" presetSubtype="0" dur="2000" repeatCount="indefinite" fill="hold" grpId="0" nodeType="withEffect">
                                  <p:stCondLst>
                                    <p:cond delay="4250"/>
                                  </p:stCondLst>
                                  <p:childTnLst>
                                    <p:animEffect transition="out" filter="fade">
                                      <p:cBhvr>
                                        <p:cTn id="634" dur="2000" tmFilter="0, 0; .2, .5; .8, .5; 1, 0"/>
                                        <p:tgtEl>
                                          <p:spTgt spid="87"/>
                                        </p:tgtEl>
                                      </p:cBhvr>
                                    </p:animEffect>
                                    <p:animScale>
                                      <p:cBhvr>
                                        <p:cTn id="635" dur="1000" autoRev="1" fill="hold"/>
                                        <p:tgtEl>
                                          <p:spTgt spid="87"/>
                                        </p:tgtEl>
                                      </p:cBhvr>
                                      <p:by x="105000" y="105000"/>
                                    </p:animScale>
                                  </p:childTnLst>
                                </p:cTn>
                              </p:par>
                              <p:par>
                                <p:cTn id="636" presetID="26" presetClass="emph" presetSubtype="0" dur="2000" repeatCount="indefinite" fill="hold" grpId="0" nodeType="withEffect">
                                  <p:stCondLst>
                                    <p:cond delay="4250"/>
                                  </p:stCondLst>
                                  <p:childTnLst>
                                    <p:animEffect transition="out" filter="fade">
                                      <p:cBhvr>
                                        <p:cTn id="637" dur="2000" tmFilter="0, 0; .2, .5; .8, .5; 1, 0"/>
                                        <p:tgtEl>
                                          <p:spTgt spid="103"/>
                                        </p:tgtEl>
                                      </p:cBhvr>
                                    </p:animEffect>
                                    <p:animScale>
                                      <p:cBhvr>
                                        <p:cTn id="638" dur="1000" autoRev="1" fill="hold"/>
                                        <p:tgtEl>
                                          <p:spTgt spid="103"/>
                                        </p:tgtEl>
                                      </p:cBhvr>
                                      <p:by x="105000" y="105000"/>
                                    </p:animScale>
                                  </p:childTnLst>
                                </p:cTn>
                              </p:par>
                              <p:par>
                                <p:cTn id="639" presetID="26" presetClass="emph" presetSubtype="0" dur="2000" repeatCount="indefinite" fill="hold" grpId="0" nodeType="withEffect">
                                  <p:stCondLst>
                                    <p:cond delay="4250"/>
                                  </p:stCondLst>
                                  <p:childTnLst>
                                    <p:animEffect transition="out" filter="fade">
                                      <p:cBhvr>
                                        <p:cTn id="640" dur="2000" tmFilter="0, 0; .2, .5; .8, .5; 1, 0"/>
                                        <p:tgtEl>
                                          <p:spTgt spid="119"/>
                                        </p:tgtEl>
                                      </p:cBhvr>
                                    </p:animEffect>
                                    <p:animScale>
                                      <p:cBhvr>
                                        <p:cTn id="641" dur="1000" autoRev="1" fill="hold"/>
                                        <p:tgtEl>
                                          <p:spTgt spid="119"/>
                                        </p:tgtEl>
                                      </p:cBhvr>
                                      <p:by x="105000" y="105000"/>
                                    </p:animScale>
                                  </p:childTnLst>
                                </p:cTn>
                              </p:par>
                              <p:par>
                                <p:cTn id="642" presetID="26" presetClass="emph" presetSubtype="0" dur="2000" repeatCount="indefinite" fill="hold" grpId="0" nodeType="withEffect">
                                  <p:stCondLst>
                                    <p:cond delay="4250"/>
                                  </p:stCondLst>
                                  <p:childTnLst>
                                    <p:animEffect transition="out" filter="fade">
                                      <p:cBhvr>
                                        <p:cTn id="643" dur="2000" tmFilter="0, 0; .2, .5; .8, .5; 1, 0"/>
                                        <p:tgtEl>
                                          <p:spTgt spid="135"/>
                                        </p:tgtEl>
                                      </p:cBhvr>
                                    </p:animEffect>
                                    <p:animScale>
                                      <p:cBhvr>
                                        <p:cTn id="644" dur="1000" autoRev="1" fill="hold"/>
                                        <p:tgtEl>
                                          <p:spTgt spid="135"/>
                                        </p:tgtEl>
                                      </p:cBhvr>
                                      <p:by x="105000" y="105000"/>
                                    </p:animScale>
                                  </p:childTnLst>
                                </p:cTn>
                              </p:par>
                              <p:par>
                                <p:cTn id="645" presetID="26" presetClass="emph" presetSubtype="0" dur="2000" repeatCount="indefinite" fill="hold" grpId="0" nodeType="withEffect">
                                  <p:stCondLst>
                                    <p:cond delay="4250"/>
                                  </p:stCondLst>
                                  <p:childTnLst>
                                    <p:animEffect transition="out" filter="fade">
                                      <p:cBhvr>
                                        <p:cTn id="646" dur="2000" tmFilter="0, 0; .2, .5; .8, .5; 1, 0"/>
                                        <p:tgtEl>
                                          <p:spTgt spid="152"/>
                                        </p:tgtEl>
                                      </p:cBhvr>
                                    </p:animEffect>
                                    <p:animScale>
                                      <p:cBhvr>
                                        <p:cTn id="647" dur="1000" autoRev="1" fill="hold"/>
                                        <p:tgtEl>
                                          <p:spTgt spid="152"/>
                                        </p:tgtEl>
                                      </p:cBhvr>
                                      <p:by x="105000" y="105000"/>
                                    </p:animScale>
                                  </p:childTnLst>
                                </p:cTn>
                              </p:par>
                              <p:par>
                                <p:cTn id="648" presetID="26" presetClass="emph" presetSubtype="0" dur="2000" repeatCount="indefinite" fill="hold" grpId="0" nodeType="withEffect">
                                  <p:stCondLst>
                                    <p:cond delay="4250"/>
                                  </p:stCondLst>
                                  <p:childTnLst>
                                    <p:animEffect transition="out" filter="fade">
                                      <p:cBhvr>
                                        <p:cTn id="649" dur="2000" tmFilter="0, 0; .2, .5; .8, .5; 1, 0"/>
                                        <p:tgtEl>
                                          <p:spTgt spid="169"/>
                                        </p:tgtEl>
                                      </p:cBhvr>
                                    </p:animEffect>
                                    <p:animScale>
                                      <p:cBhvr>
                                        <p:cTn id="650" dur="1000" autoRev="1" fill="hold"/>
                                        <p:tgtEl>
                                          <p:spTgt spid="169"/>
                                        </p:tgtEl>
                                      </p:cBhvr>
                                      <p:by x="105000" y="105000"/>
                                    </p:animScale>
                                  </p:childTnLst>
                                </p:cTn>
                              </p:par>
                              <p:par>
                                <p:cTn id="651" presetID="26" presetClass="emph" presetSubtype="0" dur="2000" repeatCount="indefinite" fill="hold" grpId="0" nodeType="withEffect">
                                  <p:stCondLst>
                                    <p:cond delay="4250"/>
                                  </p:stCondLst>
                                  <p:childTnLst>
                                    <p:animEffect transition="out" filter="fade">
                                      <p:cBhvr>
                                        <p:cTn id="652" dur="2000" tmFilter="0, 0; .2, .5; .8, .5; 1, 0"/>
                                        <p:tgtEl>
                                          <p:spTgt spid="186"/>
                                        </p:tgtEl>
                                      </p:cBhvr>
                                    </p:animEffect>
                                    <p:animScale>
                                      <p:cBhvr>
                                        <p:cTn id="653" dur="1000" autoRev="1" fill="hold"/>
                                        <p:tgtEl>
                                          <p:spTgt spid="186"/>
                                        </p:tgtEl>
                                      </p:cBhvr>
                                      <p:by x="105000" y="105000"/>
                                    </p:animScale>
                                  </p:childTnLst>
                                </p:cTn>
                              </p:par>
                              <p:par>
                                <p:cTn id="654" presetID="26" presetClass="emph" presetSubtype="0" dur="2000" repeatCount="indefinite" fill="hold" grpId="0" nodeType="withEffect">
                                  <p:stCondLst>
                                    <p:cond delay="4500"/>
                                  </p:stCondLst>
                                  <p:childTnLst>
                                    <p:animEffect transition="out" filter="fade">
                                      <p:cBhvr>
                                        <p:cTn id="655" dur="2000" tmFilter="0, 0; .2, .5; .8, .5; 1, 0"/>
                                        <p:tgtEl>
                                          <p:spTgt spid="88"/>
                                        </p:tgtEl>
                                      </p:cBhvr>
                                    </p:animEffect>
                                    <p:animScale>
                                      <p:cBhvr>
                                        <p:cTn id="656" dur="1000" autoRev="1" fill="hold"/>
                                        <p:tgtEl>
                                          <p:spTgt spid="88"/>
                                        </p:tgtEl>
                                      </p:cBhvr>
                                      <p:by x="105000" y="105000"/>
                                    </p:animScale>
                                  </p:childTnLst>
                                </p:cTn>
                              </p:par>
                              <p:par>
                                <p:cTn id="657" presetID="26" presetClass="emph" presetSubtype="0" dur="2000" repeatCount="indefinite" fill="hold" grpId="0" nodeType="withEffect">
                                  <p:stCondLst>
                                    <p:cond delay="4500"/>
                                  </p:stCondLst>
                                  <p:childTnLst>
                                    <p:animEffect transition="out" filter="fade">
                                      <p:cBhvr>
                                        <p:cTn id="658" dur="2000" tmFilter="0, 0; .2, .5; .8, .5; 1, 0"/>
                                        <p:tgtEl>
                                          <p:spTgt spid="104"/>
                                        </p:tgtEl>
                                      </p:cBhvr>
                                    </p:animEffect>
                                    <p:animScale>
                                      <p:cBhvr>
                                        <p:cTn id="659" dur="1000" autoRev="1" fill="hold"/>
                                        <p:tgtEl>
                                          <p:spTgt spid="104"/>
                                        </p:tgtEl>
                                      </p:cBhvr>
                                      <p:by x="105000" y="105000"/>
                                    </p:animScale>
                                  </p:childTnLst>
                                </p:cTn>
                              </p:par>
                              <p:par>
                                <p:cTn id="660" presetID="26" presetClass="emph" presetSubtype="0" dur="2000" repeatCount="indefinite" fill="hold" grpId="0" nodeType="withEffect">
                                  <p:stCondLst>
                                    <p:cond delay="4500"/>
                                  </p:stCondLst>
                                  <p:childTnLst>
                                    <p:animEffect transition="out" filter="fade">
                                      <p:cBhvr>
                                        <p:cTn id="661" dur="2000" tmFilter="0, 0; .2, .5; .8, .5; 1, 0"/>
                                        <p:tgtEl>
                                          <p:spTgt spid="120"/>
                                        </p:tgtEl>
                                      </p:cBhvr>
                                    </p:animEffect>
                                    <p:animScale>
                                      <p:cBhvr>
                                        <p:cTn id="662" dur="1000" autoRev="1" fill="hold"/>
                                        <p:tgtEl>
                                          <p:spTgt spid="120"/>
                                        </p:tgtEl>
                                      </p:cBhvr>
                                      <p:by x="105000" y="105000"/>
                                    </p:animScale>
                                  </p:childTnLst>
                                </p:cTn>
                              </p:par>
                              <p:par>
                                <p:cTn id="663" presetID="26" presetClass="emph" presetSubtype="0" dur="2000" repeatCount="indefinite" fill="hold" grpId="0" nodeType="withEffect">
                                  <p:stCondLst>
                                    <p:cond delay="4500"/>
                                  </p:stCondLst>
                                  <p:childTnLst>
                                    <p:animEffect transition="out" filter="fade">
                                      <p:cBhvr>
                                        <p:cTn id="664" dur="2000" tmFilter="0, 0; .2, .5; .8, .5; 1, 0"/>
                                        <p:tgtEl>
                                          <p:spTgt spid="136"/>
                                        </p:tgtEl>
                                      </p:cBhvr>
                                    </p:animEffect>
                                    <p:animScale>
                                      <p:cBhvr>
                                        <p:cTn id="665" dur="1000" autoRev="1" fill="hold"/>
                                        <p:tgtEl>
                                          <p:spTgt spid="136"/>
                                        </p:tgtEl>
                                      </p:cBhvr>
                                      <p:by x="105000" y="105000"/>
                                    </p:animScale>
                                  </p:childTnLst>
                                </p:cTn>
                              </p:par>
                              <p:par>
                                <p:cTn id="666" presetID="26" presetClass="emph" presetSubtype="0" dur="2000" repeatCount="indefinite" fill="hold" grpId="0" nodeType="withEffect">
                                  <p:stCondLst>
                                    <p:cond delay="4500"/>
                                  </p:stCondLst>
                                  <p:childTnLst>
                                    <p:animEffect transition="out" filter="fade">
                                      <p:cBhvr>
                                        <p:cTn id="667" dur="2000" tmFilter="0, 0; .2, .5; .8, .5; 1, 0"/>
                                        <p:tgtEl>
                                          <p:spTgt spid="153"/>
                                        </p:tgtEl>
                                      </p:cBhvr>
                                    </p:animEffect>
                                    <p:animScale>
                                      <p:cBhvr>
                                        <p:cTn id="668" dur="1000" autoRev="1" fill="hold"/>
                                        <p:tgtEl>
                                          <p:spTgt spid="153"/>
                                        </p:tgtEl>
                                      </p:cBhvr>
                                      <p:by x="105000" y="105000"/>
                                    </p:animScale>
                                  </p:childTnLst>
                                </p:cTn>
                              </p:par>
                              <p:par>
                                <p:cTn id="669" presetID="26" presetClass="emph" presetSubtype="0" dur="2000" repeatCount="indefinite" fill="hold" grpId="0" nodeType="withEffect">
                                  <p:stCondLst>
                                    <p:cond delay="4500"/>
                                  </p:stCondLst>
                                  <p:childTnLst>
                                    <p:animEffect transition="out" filter="fade">
                                      <p:cBhvr>
                                        <p:cTn id="670" dur="2000" tmFilter="0, 0; .2, .5; .8, .5; 1, 0"/>
                                        <p:tgtEl>
                                          <p:spTgt spid="170"/>
                                        </p:tgtEl>
                                      </p:cBhvr>
                                    </p:animEffect>
                                    <p:animScale>
                                      <p:cBhvr>
                                        <p:cTn id="671" dur="1000" autoRev="1" fill="hold"/>
                                        <p:tgtEl>
                                          <p:spTgt spid="170"/>
                                        </p:tgtEl>
                                      </p:cBhvr>
                                      <p:by x="105000" y="105000"/>
                                    </p:animScale>
                                  </p:childTnLst>
                                </p:cTn>
                              </p:par>
                              <p:par>
                                <p:cTn id="672" presetID="26" presetClass="emph" presetSubtype="0" dur="2000" repeatCount="indefinite" fill="hold" grpId="0" nodeType="withEffect">
                                  <p:stCondLst>
                                    <p:cond delay="4750"/>
                                  </p:stCondLst>
                                  <p:childTnLst>
                                    <p:animEffect transition="out" filter="fade">
                                      <p:cBhvr>
                                        <p:cTn id="673" dur="2000" tmFilter="0, 0; .2, .5; .8, .5; 1, 0"/>
                                        <p:tgtEl>
                                          <p:spTgt spid="105"/>
                                        </p:tgtEl>
                                      </p:cBhvr>
                                    </p:animEffect>
                                    <p:animScale>
                                      <p:cBhvr>
                                        <p:cTn id="674" dur="1000" autoRev="1" fill="hold"/>
                                        <p:tgtEl>
                                          <p:spTgt spid="105"/>
                                        </p:tgtEl>
                                      </p:cBhvr>
                                      <p:by x="105000" y="105000"/>
                                    </p:animScale>
                                  </p:childTnLst>
                                </p:cTn>
                              </p:par>
                              <p:par>
                                <p:cTn id="675" presetID="26" presetClass="emph" presetSubtype="0" dur="2000" repeatCount="indefinite" fill="hold" grpId="0" nodeType="withEffect">
                                  <p:stCondLst>
                                    <p:cond delay="4750"/>
                                  </p:stCondLst>
                                  <p:childTnLst>
                                    <p:animEffect transition="out" filter="fade">
                                      <p:cBhvr>
                                        <p:cTn id="676" dur="2000" tmFilter="0, 0; .2, .5; .8, .5; 1, 0"/>
                                        <p:tgtEl>
                                          <p:spTgt spid="121"/>
                                        </p:tgtEl>
                                      </p:cBhvr>
                                    </p:animEffect>
                                    <p:animScale>
                                      <p:cBhvr>
                                        <p:cTn id="677" dur="1000" autoRev="1" fill="hold"/>
                                        <p:tgtEl>
                                          <p:spTgt spid="121"/>
                                        </p:tgtEl>
                                      </p:cBhvr>
                                      <p:by x="105000" y="105000"/>
                                    </p:animScale>
                                  </p:childTnLst>
                                </p:cTn>
                              </p:par>
                              <p:par>
                                <p:cTn id="678" presetID="26" presetClass="emph" presetSubtype="0" dur="2000" repeatCount="indefinite" fill="hold" grpId="0" nodeType="withEffect">
                                  <p:stCondLst>
                                    <p:cond delay="4750"/>
                                  </p:stCondLst>
                                  <p:childTnLst>
                                    <p:animEffect transition="out" filter="fade">
                                      <p:cBhvr>
                                        <p:cTn id="679" dur="2000" tmFilter="0, 0; .2, .5; .8, .5; 1, 0"/>
                                        <p:tgtEl>
                                          <p:spTgt spid="137"/>
                                        </p:tgtEl>
                                      </p:cBhvr>
                                    </p:animEffect>
                                    <p:animScale>
                                      <p:cBhvr>
                                        <p:cTn id="680" dur="1000" autoRev="1" fill="hold"/>
                                        <p:tgtEl>
                                          <p:spTgt spid="137"/>
                                        </p:tgtEl>
                                      </p:cBhvr>
                                      <p:by x="105000" y="105000"/>
                                    </p:animScale>
                                  </p:childTnLst>
                                </p:cTn>
                              </p:par>
                              <p:par>
                                <p:cTn id="681" presetID="26" presetClass="emph" presetSubtype="0" dur="2000" repeatCount="indefinite" fill="hold" grpId="0" nodeType="withEffect">
                                  <p:stCondLst>
                                    <p:cond delay="4750"/>
                                  </p:stCondLst>
                                  <p:childTnLst>
                                    <p:animEffect transition="out" filter="fade">
                                      <p:cBhvr>
                                        <p:cTn id="682" dur="2000" tmFilter="0, 0; .2, .5; .8, .5; 1, 0"/>
                                        <p:tgtEl>
                                          <p:spTgt spid="154"/>
                                        </p:tgtEl>
                                      </p:cBhvr>
                                    </p:animEffect>
                                    <p:animScale>
                                      <p:cBhvr>
                                        <p:cTn id="683" dur="1000" autoRev="1" fill="hold"/>
                                        <p:tgtEl>
                                          <p:spTgt spid="154"/>
                                        </p:tgtEl>
                                      </p:cBhvr>
                                      <p:by x="105000" y="105000"/>
                                    </p:animScale>
                                  </p:childTnLst>
                                </p:cTn>
                              </p:par>
                              <p:par>
                                <p:cTn id="684" presetID="26" presetClass="emph" presetSubtype="0" dur="2000" repeatCount="indefinite" fill="hold" grpId="0" nodeType="withEffect">
                                  <p:stCondLst>
                                    <p:cond delay="5000"/>
                                  </p:stCondLst>
                                  <p:childTnLst>
                                    <p:animEffect transition="out" filter="fade">
                                      <p:cBhvr>
                                        <p:cTn id="685" dur="2000" tmFilter="0, 0; .2, .5; .8, .5; 1, 0"/>
                                        <p:tgtEl>
                                          <p:spTgt spid="122"/>
                                        </p:tgtEl>
                                      </p:cBhvr>
                                    </p:animEffect>
                                    <p:animScale>
                                      <p:cBhvr>
                                        <p:cTn id="686" dur="1000" autoRev="1" fill="hold"/>
                                        <p:tgtEl>
                                          <p:spTgt spid="122"/>
                                        </p:tgtEl>
                                      </p:cBhvr>
                                      <p:by x="105000" y="105000"/>
                                    </p:animScale>
                                  </p:childTnLst>
                                </p:cTn>
                              </p:par>
                              <p:par>
                                <p:cTn id="687" presetID="26" presetClass="emph" presetSubtype="0" dur="2000" repeatCount="indefinite" fill="hold" grpId="0" nodeType="withEffect">
                                  <p:stCondLst>
                                    <p:cond delay="5000"/>
                                  </p:stCondLst>
                                  <p:childTnLst>
                                    <p:animEffect transition="out" filter="fade">
                                      <p:cBhvr>
                                        <p:cTn id="688" dur="2000" tmFilter="0, 0; .2, .5; .8, .5; 1, 0"/>
                                        <p:tgtEl>
                                          <p:spTgt spid="138"/>
                                        </p:tgtEl>
                                      </p:cBhvr>
                                    </p:animEffect>
                                    <p:animScale>
                                      <p:cBhvr>
                                        <p:cTn id="689" dur="1000" autoRev="1" fill="hold"/>
                                        <p:tgtEl>
                                          <p:spTgt spid="138"/>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2" grpId="0" animBg="1"/>
      <p:bldP spid="138" grpId="0" animBg="1"/>
      <p:bldP spid="105" grpId="0" animBg="1"/>
      <p:bldP spid="121" grpId="0" animBg="1"/>
      <p:bldP spid="137" grpId="0" animBg="1"/>
      <p:bldP spid="154" grpId="0" animBg="1"/>
      <p:bldP spid="88" grpId="0" animBg="1"/>
      <p:bldP spid="104" grpId="0" animBg="1"/>
      <p:bldP spid="120" grpId="0" animBg="1"/>
      <p:bldP spid="136" grpId="0" animBg="1"/>
      <p:bldP spid="153" grpId="0" animBg="1"/>
      <p:bldP spid="170" grpId="0" animBg="1"/>
      <p:bldP spid="71" grpId="0" animBg="1"/>
      <p:bldP spid="87" grpId="0" animBg="1"/>
      <p:bldP spid="103" grpId="0" animBg="1"/>
      <p:bldP spid="119" grpId="0" animBg="1"/>
      <p:bldP spid="135" grpId="0" animBg="1"/>
      <p:bldP spid="152" grpId="0" animBg="1"/>
      <p:bldP spid="169" grpId="0" animBg="1"/>
      <p:bldP spid="186" grpId="0" animBg="1"/>
      <p:bldP spid="54" grpId="0" animBg="1"/>
      <p:bldP spid="70" grpId="0" animBg="1"/>
      <p:bldP spid="86" grpId="0" animBg="1"/>
      <p:bldP spid="102" grpId="0" animBg="1"/>
      <p:bldP spid="118" grpId="0" animBg="1"/>
      <p:bldP spid="134" grpId="0" animBg="1"/>
      <p:bldP spid="151" grpId="0" animBg="1"/>
      <p:bldP spid="168" grpId="0" animBg="1"/>
      <p:bldP spid="185" grpId="0" animBg="1"/>
      <p:bldP spid="202" grpId="0" animBg="1"/>
      <p:bldP spid="37" grpId="0" animBg="1"/>
      <p:bldP spid="53" grpId="0" animBg="1"/>
      <p:bldP spid="69" grpId="0" animBg="1"/>
      <p:bldP spid="85" grpId="0" animBg="1"/>
      <p:bldP spid="101" grpId="0" animBg="1"/>
      <p:bldP spid="117" grpId="0" animBg="1"/>
      <p:bldP spid="133" grpId="0" animBg="1"/>
      <p:bldP spid="150" grpId="0" animBg="1"/>
      <p:bldP spid="167" grpId="0" animBg="1"/>
      <p:bldP spid="184" grpId="0" animBg="1"/>
      <p:bldP spid="201" grpId="0" animBg="1"/>
      <p:bldP spid="218" grpId="0" animBg="1"/>
      <p:bldP spid="5" grpId="0" animBg="1"/>
      <p:bldP spid="22" grpId="0" animBg="1"/>
      <p:bldP spid="38" grpId="0" animBg="1"/>
      <p:bldP spid="203" grpId="0" animBg="1"/>
      <p:bldP spid="219" grpId="0" animBg="1"/>
      <p:bldP spid="6" grpId="0" animBg="1"/>
      <p:bldP spid="23" grpId="0" animBg="1"/>
      <p:bldP spid="39" grpId="0" animBg="1"/>
      <p:bldP spid="55" grpId="0" animBg="1"/>
      <p:bldP spid="187" grpId="0" animBg="1"/>
      <p:bldP spid="204" grpId="0" animBg="1"/>
      <p:bldP spid="220" grpId="0" animBg="1"/>
      <p:bldP spid="7" grpId="0" animBg="1"/>
      <p:bldP spid="24" grpId="0" animBg="1"/>
      <p:bldP spid="40" grpId="0" animBg="1"/>
      <p:bldP spid="56" grpId="0" animBg="1"/>
      <p:bldP spid="72" grpId="0" animBg="1"/>
      <p:bldP spid="171" grpId="0" animBg="1"/>
      <p:bldP spid="188" grpId="0" animBg="1"/>
      <p:bldP spid="205" grpId="0" animBg="1"/>
      <p:bldP spid="221" grpId="0" animBg="1"/>
      <p:bldP spid="8" grpId="0" animBg="1"/>
      <p:bldP spid="25" grpId="0" animBg="1"/>
      <p:bldP spid="41" grpId="0" animBg="1"/>
      <p:bldP spid="57" grpId="0" animBg="1"/>
      <p:bldP spid="73" grpId="0" animBg="1"/>
      <p:bldP spid="89" grpId="0" animBg="1"/>
      <p:bldP spid="155" grpId="0" animBg="1"/>
      <p:bldP spid="172" grpId="0" animBg="1"/>
      <p:bldP spid="189" grpId="0" animBg="1"/>
      <p:bldP spid="206" grpId="0" animBg="1"/>
      <p:bldP spid="222" grpId="0" animBg="1"/>
      <p:bldP spid="11" grpId="0" animBg="1"/>
      <p:bldP spid="26" grpId="0" animBg="1"/>
      <p:bldP spid="42" grpId="0" animBg="1"/>
      <p:bldP spid="58" grpId="0" animBg="1"/>
      <p:bldP spid="74" grpId="0" animBg="1"/>
      <p:bldP spid="90" grpId="0" animBg="1"/>
      <p:bldP spid="106" grpId="0" animBg="1"/>
      <p:bldP spid="139" grpId="0" animBg="1"/>
      <p:bldP spid="156" grpId="0" animBg="1"/>
      <p:bldP spid="173" grpId="0" animBg="1"/>
      <p:bldP spid="190" grpId="0" animBg="1"/>
      <p:bldP spid="207" grpId="0" animBg="1"/>
      <p:bldP spid="223" grpId="0" animBg="1"/>
      <p:bldP spid="12" grpId="0" animBg="1"/>
      <p:bldP spid="27" grpId="0" animBg="1"/>
      <p:bldP spid="43" grpId="0" animBg="1"/>
      <p:bldP spid="59" grpId="0" animBg="1"/>
      <p:bldP spid="75" grpId="0" animBg="1"/>
      <p:bldP spid="91" grpId="0" animBg="1"/>
      <p:bldP spid="107" grpId="0" animBg="1"/>
      <p:bldP spid="123" grpId="0" animBg="1"/>
      <p:bldP spid="140" grpId="0" animBg="1"/>
      <p:bldP spid="157" grpId="0" animBg="1"/>
      <p:bldP spid="174" grpId="0" animBg="1"/>
      <p:bldP spid="191" grpId="0" animBg="1"/>
      <p:bldP spid="208" grpId="0" animBg="1"/>
      <p:bldP spid="224" grpId="0" animBg="1"/>
      <p:bldP spid="13" grpId="0" animBg="1"/>
      <p:bldP spid="28" grpId="0" animBg="1"/>
      <p:bldP spid="44" grpId="0" animBg="1"/>
      <p:bldP spid="60" grpId="0" animBg="1"/>
      <p:bldP spid="76" grpId="0" animBg="1"/>
      <p:bldP spid="92" grpId="0" animBg="1"/>
      <p:bldP spid="108" grpId="0" animBg="1"/>
      <p:bldP spid="124" grpId="0" animBg="1"/>
      <p:bldP spid="141" grpId="0" animBg="1"/>
      <p:bldP spid="158" grpId="0" animBg="1"/>
      <p:bldP spid="175" grpId="0" animBg="1"/>
      <p:bldP spid="192" grpId="0" animBg="1"/>
      <p:bldP spid="209" grpId="0" animBg="1"/>
      <p:bldP spid="225" grpId="0" animBg="1"/>
      <p:bldP spid="14" grpId="0" animBg="1"/>
      <p:bldP spid="29" grpId="0" animBg="1"/>
      <p:bldP spid="45" grpId="0" animBg="1"/>
      <p:bldP spid="61" grpId="0" animBg="1"/>
      <p:bldP spid="77" grpId="0" animBg="1"/>
      <p:bldP spid="93" grpId="0" animBg="1"/>
      <p:bldP spid="109" grpId="0" animBg="1"/>
      <p:bldP spid="125" grpId="0" animBg="1"/>
      <p:bldP spid="142" grpId="0" animBg="1"/>
      <p:bldP spid="159" grpId="0" animBg="1"/>
      <p:bldP spid="176" grpId="0" animBg="1"/>
      <p:bldP spid="193" grpId="0" animBg="1"/>
      <p:bldP spid="210" grpId="0" animBg="1"/>
      <p:bldP spid="226" grpId="0" animBg="1"/>
      <p:bldP spid="15" grpId="0" animBg="1"/>
      <p:bldP spid="30" grpId="0" animBg="1"/>
      <p:bldP spid="46" grpId="0" animBg="1"/>
      <p:bldP spid="62" grpId="0" animBg="1"/>
      <p:bldP spid="78" grpId="0" animBg="1"/>
      <p:bldP spid="94" grpId="0" animBg="1"/>
      <p:bldP spid="110" grpId="0" animBg="1"/>
      <p:bldP spid="126" grpId="0" animBg="1"/>
      <p:bldP spid="143" grpId="0" animBg="1"/>
      <p:bldP spid="160" grpId="0" animBg="1"/>
      <p:bldP spid="177" grpId="0" animBg="1"/>
      <p:bldP spid="194" grpId="0" animBg="1"/>
      <p:bldP spid="211" grpId="0" animBg="1"/>
      <p:bldP spid="227" grpId="0" animBg="1"/>
      <p:bldP spid="16" grpId="0" animBg="1"/>
      <p:bldP spid="31" grpId="0" animBg="1"/>
      <p:bldP spid="47" grpId="0" animBg="1"/>
      <p:bldP spid="63" grpId="0" animBg="1"/>
      <p:bldP spid="79" grpId="0" animBg="1"/>
      <p:bldP spid="95" grpId="0" animBg="1"/>
      <p:bldP spid="111" grpId="0" animBg="1"/>
      <p:bldP spid="127" grpId="0" animBg="1"/>
      <p:bldP spid="144" grpId="0" animBg="1"/>
      <p:bldP spid="161" grpId="0" animBg="1"/>
      <p:bldP spid="178" grpId="0" animBg="1"/>
      <p:bldP spid="195" grpId="0" animBg="1"/>
      <p:bldP spid="212" grpId="0" animBg="1"/>
      <p:bldP spid="228" grpId="0" animBg="1"/>
      <p:bldP spid="17" grpId="0" animBg="1"/>
      <p:bldP spid="32" grpId="0" animBg="1"/>
      <p:bldP spid="48" grpId="0" animBg="1"/>
      <p:bldP spid="64" grpId="0" animBg="1"/>
      <p:bldP spid="80" grpId="0" animBg="1"/>
      <p:bldP spid="96" grpId="0" animBg="1"/>
      <p:bldP spid="112" grpId="0" animBg="1"/>
      <p:bldP spid="128" grpId="0" animBg="1"/>
      <p:bldP spid="145" grpId="0" animBg="1"/>
      <p:bldP spid="162" grpId="0" animBg="1"/>
      <p:bldP spid="179" grpId="0" animBg="1"/>
      <p:bldP spid="196" grpId="0" animBg="1"/>
      <p:bldP spid="213" grpId="0" animBg="1"/>
      <p:bldP spid="229" grpId="0" animBg="1"/>
      <p:bldP spid="18" grpId="0" animBg="1"/>
      <p:bldP spid="33" grpId="0" animBg="1"/>
      <p:bldP spid="49" grpId="0" animBg="1"/>
      <p:bldP spid="65" grpId="0" animBg="1"/>
      <p:bldP spid="81" grpId="0" animBg="1"/>
      <p:bldP spid="97" grpId="0" animBg="1"/>
      <p:bldP spid="113" grpId="0" animBg="1"/>
      <p:bldP spid="129" grpId="0" animBg="1"/>
      <p:bldP spid="146" grpId="0" animBg="1"/>
      <p:bldP spid="163" grpId="0" animBg="1"/>
      <p:bldP spid="180" grpId="0" animBg="1"/>
      <p:bldP spid="197" grpId="0" animBg="1"/>
      <p:bldP spid="214" grpId="0" animBg="1"/>
      <p:bldP spid="230" grpId="0" animBg="1"/>
      <p:bldP spid="19" grpId="0" animBg="1"/>
      <p:bldP spid="34" grpId="0" animBg="1"/>
      <p:bldP spid="50" grpId="0" animBg="1"/>
      <p:bldP spid="66" grpId="0" animBg="1"/>
      <p:bldP spid="82" grpId="0" animBg="1"/>
      <p:bldP spid="98" grpId="0" animBg="1"/>
      <p:bldP spid="114" grpId="0" animBg="1"/>
      <p:bldP spid="130" grpId="0" animBg="1"/>
      <p:bldP spid="147" grpId="0" animBg="1"/>
      <p:bldP spid="164" grpId="0" animBg="1"/>
      <p:bldP spid="181" grpId="0" animBg="1"/>
      <p:bldP spid="198" grpId="0" animBg="1"/>
      <p:bldP spid="215" grpId="0" animBg="1"/>
      <p:bldP spid="231" grpId="0" animBg="1"/>
      <p:bldP spid="20" grpId="0" animBg="1"/>
      <p:bldP spid="35" grpId="0" animBg="1"/>
      <p:bldP spid="51" grpId="0" animBg="1"/>
      <p:bldP spid="67" grpId="0" animBg="1"/>
      <p:bldP spid="83" grpId="0" animBg="1"/>
      <p:bldP spid="99" grpId="0" animBg="1"/>
      <p:bldP spid="115" grpId="0" animBg="1"/>
      <p:bldP spid="131" grpId="0" animBg="1"/>
      <p:bldP spid="148" grpId="0" animBg="1"/>
      <p:bldP spid="165" grpId="0" animBg="1"/>
      <p:bldP spid="182" grpId="0" animBg="1"/>
      <p:bldP spid="199" grpId="0" animBg="1"/>
      <p:bldP spid="216" grpId="0" animBg="1"/>
      <p:bldP spid="232" grpId="0" animBg="1"/>
      <p:bldP spid="21" grpId="0" animBg="1"/>
      <p:bldP spid="36" grpId="0" animBg="1"/>
      <p:bldP spid="52" grpId="0" animBg="1"/>
      <p:bldP spid="68" grpId="0" animBg="1"/>
      <p:bldP spid="84" grpId="0" animBg="1"/>
      <p:bldP spid="100" grpId="0" animBg="1"/>
      <p:bldP spid="116" grpId="0" animBg="1"/>
      <p:bldP spid="132" grpId="0" animBg="1"/>
      <p:bldP spid="149" grpId="0" animBg="1"/>
      <p:bldP spid="166" grpId="0" animBg="1"/>
      <p:bldP spid="183" grpId="0" animBg="1"/>
      <p:bldP spid="200" grpId="0" animBg="1"/>
      <p:bldP spid="217" grpId="0" animBg="1"/>
      <p:bldP spid="233" grpId="0" animBg="1"/>
      <p:bldP spid="10" grpId="0">
        <p:tmplLst>
          <p:tmpl>
            <p:tnLst>
              <p:par>
                <p:cTn presetID="2" presetClass="entr" presetSubtype="8" decel="100000" fill="hold" nodeType="withEffect">
                  <p:stCondLst>
                    <p:cond delay="0"/>
                  </p:stCondLst>
                  <p:childTnLst>
                    <p:set>
                      <p:cBhvr>
                        <p:cTn dur="1" fill="hold">
                          <p:stCondLst>
                            <p:cond delay="0"/>
                          </p:stCondLst>
                        </p:cTn>
                        <p:tgtEl>
                          <p:spTgt spid="10"/>
                        </p:tgtEl>
                        <p:attrNameLst>
                          <p:attrName>style.visibility</p:attrName>
                        </p:attrNameLst>
                      </p:cBhvr>
                      <p:to>
                        <p:strVal val="visible"/>
                      </p:to>
                    </p:set>
                    <p:anim calcmode="lin" valueType="num">
                      <p:cBhvr additive="base">
                        <p:cTn dur="1000" fill="hold"/>
                        <p:tgtEl>
                          <p:spTgt spid="10"/>
                        </p:tgtEl>
                        <p:attrNameLst>
                          <p:attrName>ppt_x</p:attrName>
                        </p:attrNameLst>
                      </p:cBhvr>
                      <p:tavLst>
                        <p:tav tm="0">
                          <p:val>
                            <p:strVal val="0-#ppt_w/2"/>
                          </p:val>
                        </p:tav>
                        <p:tav tm="100000">
                          <p:val>
                            <p:strVal val="#ppt_x"/>
                          </p:val>
                        </p:tav>
                      </p:tavLst>
                    </p:anim>
                    <p:anim calcmode="lin" valueType="num">
                      <p:cBhvr additive="base">
                        <p:cTn dur="1000" fill="hold"/>
                        <p:tgtEl>
                          <p:spTgt spid="10"/>
                        </p:tgtEl>
                        <p:attrNameLst>
                          <p:attrName>ppt_y</p:attrName>
                        </p:attrNameLst>
                      </p:cBhvr>
                      <p:tavLst>
                        <p:tav tm="0">
                          <p:val>
                            <p:strVal val="#ppt_y"/>
                          </p:val>
                        </p:tav>
                        <p:tav tm="100000">
                          <p:val>
                            <p:strVal val="#ppt_y"/>
                          </p:val>
                        </p:tav>
                      </p:tavLst>
                    </p:anim>
                  </p:childTnLst>
                </p:cTn>
              </p:par>
            </p:tnLst>
          </p:tmpl>
        </p:tmplLst>
      </p:bldP>
    </p:bldLst>
  </p:timing>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HEADING/TEXT 1 column">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E142C2B3-180D-4FB0-AC93-9006D3D27C01}"/>
              </a:ext>
            </a:extLst>
          </p:cNvPr>
          <p:cNvGraphicFramePr>
            <a:graphicFrameLocks noChangeAspect="1"/>
          </p:cNvGraphicFramePr>
          <p:nvPr userDrawn="1">
            <p:custDataLst>
              <p:tags r:id="rId1"/>
            </p:custDataLst>
            <p:extLst>
              <p:ext uri="{D42A27DB-BD31-4B8C-83A1-F6EECF244321}">
                <p14:modId xmlns:p14="http://schemas.microsoft.com/office/powerpoint/2010/main" val="29825841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6" name="Objekt 5" hidden="1">
                        <a:extLst>
                          <a:ext uri="{FF2B5EF4-FFF2-40B4-BE49-F238E27FC236}">
                            <a16:creationId xmlns:a16="http://schemas.microsoft.com/office/drawing/2014/main" id="{E142C2B3-180D-4FB0-AC93-9006D3D27C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ihandform: Form 12">
            <a:extLst>
              <a:ext uri="{FF2B5EF4-FFF2-40B4-BE49-F238E27FC236}">
                <a16:creationId xmlns:a16="http://schemas.microsoft.com/office/drawing/2014/main" id="{50EC640D-C73C-4FD9-AD9A-88EE410704F4}"/>
              </a:ext>
            </a:extLst>
          </p:cNvPr>
          <p:cNvSpPr/>
          <p:nvPr/>
        </p:nvSpPr>
        <p:spPr>
          <a:xfrm>
            <a:off x="2362200" y="1975611"/>
            <a:ext cx="9829800" cy="4882390"/>
          </a:xfrm>
          <a:custGeom>
            <a:avLst/>
            <a:gdLst>
              <a:gd name="connsiteX0" fmla="*/ 910059 w 9829800"/>
              <a:gd name="connsiteY0" fmla="*/ 0 h 4882390"/>
              <a:gd name="connsiteX1" fmla="*/ 3015085 w 9829800"/>
              <a:gd name="connsiteY1" fmla="*/ 0 h 4882390"/>
              <a:gd name="connsiteX2" fmla="*/ 7981950 w 9829800"/>
              <a:gd name="connsiteY2" fmla="*/ 0 h 4882390"/>
              <a:gd name="connsiteX3" fmla="*/ 9829800 w 9829800"/>
              <a:gd name="connsiteY3" fmla="*/ 0 h 4882390"/>
              <a:gd name="connsiteX4" fmla="*/ 9829800 w 9829800"/>
              <a:gd name="connsiteY4" fmla="*/ 4882390 h 4882390"/>
              <a:gd name="connsiteX5" fmla="*/ 7981950 w 9829800"/>
              <a:gd name="connsiteY5" fmla="*/ 4882390 h 4882390"/>
              <a:gd name="connsiteX6" fmla="*/ 2183098 w 9829800"/>
              <a:gd name="connsiteY6" fmla="*/ 4882390 h 4882390"/>
              <a:gd name="connsiteX7" fmla="*/ 78072 w 9829800"/>
              <a:gd name="connsiteY7" fmla="*/ 4882390 h 4882390"/>
              <a:gd name="connsiteX8" fmla="*/ 0 w 9829800"/>
              <a:gd name="connsiteY8" fmla="*/ 4804318 h 4882390"/>
              <a:gd name="connsiteX9" fmla="*/ 831987 w 9829800"/>
              <a:gd name="connsiteY9" fmla="*/ 78072 h 4882390"/>
              <a:gd name="connsiteX10" fmla="*/ 910059 w 9829800"/>
              <a:gd name="connsiteY10" fmla="*/ 0 h 4882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829800" h="4882390">
                <a:moveTo>
                  <a:pt x="910059" y="0"/>
                </a:moveTo>
                <a:lnTo>
                  <a:pt x="3015085" y="0"/>
                </a:lnTo>
                <a:lnTo>
                  <a:pt x="7981950" y="0"/>
                </a:lnTo>
                <a:lnTo>
                  <a:pt x="9829800" y="0"/>
                </a:lnTo>
                <a:lnTo>
                  <a:pt x="9829800" y="4882390"/>
                </a:lnTo>
                <a:lnTo>
                  <a:pt x="7981950" y="4882390"/>
                </a:lnTo>
                <a:lnTo>
                  <a:pt x="2183098" y="4882390"/>
                </a:lnTo>
                <a:lnTo>
                  <a:pt x="78072" y="4882390"/>
                </a:lnTo>
                <a:cubicBezTo>
                  <a:pt x="34957" y="4882390"/>
                  <a:pt x="0" y="4847433"/>
                  <a:pt x="0" y="4804318"/>
                </a:cubicBezTo>
                <a:lnTo>
                  <a:pt x="831987" y="78072"/>
                </a:lnTo>
                <a:cubicBezTo>
                  <a:pt x="831987" y="34957"/>
                  <a:pt x="866945" y="0"/>
                  <a:pt x="910059" y="0"/>
                </a:cubicBezTo>
                <a:close/>
              </a:path>
            </a:pathLst>
          </a:custGeom>
          <a:gradFill>
            <a:gsLst>
              <a:gs pos="0">
                <a:schemeClr val="bg1"/>
              </a:gs>
              <a:gs pos="95000">
                <a:srgbClr val="ECF0F4"/>
              </a:gs>
            </a:gsLst>
            <a:lin ang="5400000" scaled="1"/>
          </a:gradFill>
          <a:ln w="11652" cap="flat">
            <a:noFill/>
            <a:prstDash val="solid"/>
            <a:miter/>
          </a:ln>
        </p:spPr>
        <p:txBody>
          <a:bodyPr rtlCol="0" anchor="ctr"/>
          <a:lstStyle/>
          <a:p>
            <a:pPr rtl="0"/>
            <a:endParaRPr lang="en-US"/>
          </a:p>
        </p:txBody>
      </p:sp>
      <p:sp>
        <p:nvSpPr>
          <p:cNvPr id="2" name="Titel 1">
            <a:extLst>
              <a:ext uri="{FF2B5EF4-FFF2-40B4-BE49-F238E27FC236}">
                <a16:creationId xmlns:a16="http://schemas.microsoft.com/office/drawing/2014/main" id="{0526DC72-FA1D-422D-8055-3374742D122B}"/>
              </a:ext>
            </a:extLst>
          </p:cNvPr>
          <p:cNvSpPr>
            <a:spLocks noGrp="1"/>
          </p:cNvSpPr>
          <p:nvPr>
            <p:ph type="title"/>
          </p:nvPr>
        </p:nvSpPr>
        <p:spPr/>
        <p:txBody>
          <a:bodyPr vert="horz"/>
          <a:lstStyle>
            <a:lvl1pPr rtl="0">
              <a:lnSpc>
                <a:spcPct val="100000"/>
              </a:lnSpc>
              <a:defRPr/>
            </a:lvl1pPr>
          </a:lstStyle>
          <a:p>
            <a:r>
              <a:rPr lang="en-US" err="1"/>
              <a:t>Mastertitelformat bearbeiten</a:t>
            </a:r>
            <a:endParaRPr lang="en-US"/>
          </a:p>
        </p:txBody>
      </p:sp>
      <p:sp>
        <p:nvSpPr>
          <p:cNvPr id="3" name="Foliennummernplatzhalter 2">
            <a:extLst>
              <a:ext uri="{FF2B5EF4-FFF2-40B4-BE49-F238E27FC236}">
                <a16:creationId xmlns:a16="http://schemas.microsoft.com/office/drawing/2014/main" id="{5B327254-466C-4606-8589-BCC72CBDADDF}"/>
              </a:ext>
            </a:extLst>
          </p:cNvPr>
          <p:cNvSpPr>
            <a:spLocks noGrp="1"/>
          </p:cNvSpPr>
          <p:nvPr>
            <p:ph type="sldNum" sz="quarter" idx="10"/>
          </p:nvPr>
        </p:nvSpPr>
        <p:spPr/>
        <p:txBody>
          <a:bodyPr/>
          <a:lstStyle>
            <a:lvl1pPr rtl="0">
              <a:defRPr/>
            </a:lvl1pPr>
          </a:lstStyle>
          <a:p>
            <a:fld id="{A04BEB4F-8CE1-4F18-986F-6CE0A0BE9470}" type="slidenum">
              <a:rPr lang="en-US" smtClean="0"/>
              <a:t>‹#›</a:t>
            </a:fld>
            <a:endParaRPr lang="en-US"/>
          </a:p>
        </p:txBody>
      </p:sp>
      <p:sp>
        <p:nvSpPr>
          <p:cNvPr id="5" name="Textplatzhalter 9">
            <a:extLst>
              <a:ext uri="{FF2B5EF4-FFF2-40B4-BE49-F238E27FC236}">
                <a16:creationId xmlns:a16="http://schemas.microsoft.com/office/drawing/2014/main" id="{6024922C-391C-46EA-9F1C-F5344AAB64C8}"/>
              </a:ext>
            </a:extLst>
          </p:cNvPr>
          <p:cNvSpPr>
            <a:spLocks noGrp="1"/>
          </p:cNvSpPr>
          <p:nvPr>
            <p:ph type="body" sz="quarter" idx="11"/>
          </p:nvPr>
        </p:nvSpPr>
        <p:spPr>
          <a:xfrm>
            <a:off x="815951" y="1979612"/>
            <a:ext cx="10560096" cy="4338638"/>
          </a:xfrm>
          <a:prstGeom prst="rect">
            <a:avLst/>
          </a:prstGeom>
        </p:spPr>
        <p:txBody>
          <a:bodyPr lIns="0" tIns="0" rIns="0" bIns="0">
            <a:normAutofit/>
          </a:bodyPr>
          <a:lstStyle>
            <a:lvl1pPr rtl="0">
              <a:defRPr sz="1800"/>
            </a:lvl1pPr>
            <a:lvl2pPr rtl="0">
              <a:defRPr sz="1800"/>
            </a:lvl2pPr>
            <a:lvl3pPr rtl="0">
              <a:defRPr sz="1800"/>
            </a:lvl3pPr>
            <a:lvl4pPr rtl="0">
              <a:defRPr sz="1800"/>
            </a:lvl4pPr>
            <a:lvl5pPr rtl="0">
              <a:defRPr sz="1800"/>
            </a:lvl5pPr>
          </a:lstStyle>
          <a:p>
            <a:pPr lvl="0"/>
            <a:r>
              <a:rPr lang="en-US" err="1"/>
              <a:t>Mastertextformat bearbeiten</a:t>
            </a:r>
            <a:endParaRPr lang="en-US"/>
          </a:p>
          <a:p>
            <a:pPr lvl="1"/>
            <a:r>
              <a:rPr lang="en-US" err="1"/>
              <a:t>Zweite Ebene</a:t>
            </a:r>
          </a:p>
          <a:p>
            <a:pPr lvl="2"/>
            <a:r>
              <a:rPr lang="en-US" err="1"/>
              <a:t>Dritte Ebene</a:t>
            </a:r>
          </a:p>
          <a:p>
            <a:pPr lvl="3"/>
            <a:r>
              <a:rPr lang="en-US" err="1"/>
              <a:t>Vierte Ebene</a:t>
            </a:r>
          </a:p>
          <a:p>
            <a:pPr lvl="4"/>
            <a:r>
              <a:rPr lang="en-US" err="1"/>
              <a:t>Fünfte Ebene</a:t>
            </a:r>
          </a:p>
        </p:txBody>
      </p:sp>
    </p:spTree>
    <p:extLst>
      <p:ext uri="{BB962C8B-B14F-4D97-AF65-F5344CB8AC3E}">
        <p14:creationId xmlns:p14="http://schemas.microsoft.com/office/powerpoint/2010/main" val="405832520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2" presetClass="entr" presetSubtype="8" dur="1000" decel="10000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0-#ppt_w/2"/>
                                          </p:val>
                                        </p:tav>
                                        <p:tav tm="100000">
                                          <p:val>
                                            <p:strVal val="#ppt_x"/>
                                          </p:val>
                                        </p:tav>
                                      </p:tavLst>
                                    </p:anim>
                                    <p:anim calcmode="lin" valueType="num">
                                      <p:cBhvr additive="base">
                                        <p:cTn id="8" dur="1000" fill="hold"/>
                                        <p:tgtEl>
                                          <p:spTgt spid="2"/>
                                        </p:tgtEl>
                                        <p:attrNameLst>
                                          <p:attrName>ppt_y</p:attrName>
                                        </p:attrNameLst>
                                      </p:cBhvr>
                                      <p:tavLst>
                                        <p:tav tm="0">
                                          <p:val>
                                            <p:strVal val="#ppt_y"/>
                                          </p:val>
                                        </p:tav>
                                        <p:tav tm="100000">
                                          <p:val>
                                            <p:strVal val="#ppt_y"/>
                                          </p:val>
                                        </p:tav>
                                      </p:tavLst>
                                    </p:anim>
                                  </p:childTnLst>
                                </p:cTn>
                              </p:par>
                              <p:par>
                                <p:cTn id="9" presetID="2" presetClass="entr" presetSubtype="8" dur="1000" decel="100000" fill="hold" grpId="0" nodeType="withEffect">
                                  <p:stCondLst>
                                    <p:cond delay="25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1000" fill="hold"/>
                                        <p:tgtEl>
                                          <p:spTgt spid="5"/>
                                        </p:tgtEl>
                                        <p:attrNameLst>
                                          <p:attrName>ppt_x</p:attrName>
                                        </p:attrNameLst>
                                      </p:cBhvr>
                                      <p:tavLst>
                                        <p:tav tm="0">
                                          <p:val>
                                            <p:strVal val="0-#ppt_w/2"/>
                                          </p:val>
                                        </p:tav>
                                        <p:tav tm="100000">
                                          <p:val>
                                            <p:strVal val="#ppt_x"/>
                                          </p:val>
                                        </p:tav>
                                      </p:tavLst>
                                    </p:anim>
                                    <p:anim calcmode="lin" valueType="num">
                                      <p:cBhvr additive="base">
                                        <p:cTn id="12" dur="100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uiExpand="1">
        <p:tmplLst>
          <p:tmpl>
            <p:tnLst>
              <p:par>
                <p:cTn presetID="2" presetClass="entr" presetSubtype="8" decel="100000" fill="hold" nodeType="withEffect">
                  <p:stCondLst>
                    <p:cond delay="250"/>
                  </p:stCondLst>
                  <p:childTnLst>
                    <p:set>
                      <p:cBhvr>
                        <p:cTn dur="1" fill="hold">
                          <p:stCondLst>
                            <p:cond delay="0"/>
                          </p:stCondLst>
                        </p:cTn>
                        <p:tgtEl>
                          <p:spTgt spid="5"/>
                        </p:tgtEl>
                        <p:attrNameLst>
                          <p:attrName>style.visibility</p:attrName>
                        </p:attrNameLst>
                      </p:cBhvr>
                      <p:to>
                        <p:strVal val="visible"/>
                      </p:to>
                    </p:set>
                    <p:anim calcmode="lin" valueType="num">
                      <p:cBhvr additive="base">
                        <p:cTn dur="1000" fill="hold"/>
                        <p:tgtEl>
                          <p:spTgt spid="5"/>
                        </p:tgtEl>
                        <p:attrNameLst>
                          <p:attrName>ppt_x</p:attrName>
                        </p:attrNameLst>
                      </p:cBhvr>
                      <p:tavLst>
                        <p:tav tm="0">
                          <p:val>
                            <p:strVal val="0-#ppt_w/2"/>
                          </p:val>
                        </p:tav>
                        <p:tav tm="100000">
                          <p:val>
                            <p:strVal val="#ppt_x"/>
                          </p:val>
                        </p:tav>
                      </p:tavLst>
                    </p:anim>
                    <p:anim calcmode="lin" valueType="num">
                      <p:cBhvr additive="base">
                        <p:cTn dur="1000" fill="hold"/>
                        <p:tgtEl>
                          <p:spTgt spid="5"/>
                        </p:tgtEl>
                        <p:attrNameLst>
                          <p:attrName>ppt_y</p:attrName>
                        </p:attrNameLst>
                      </p:cBhvr>
                      <p:tavLst>
                        <p:tav tm="0">
                          <p:val>
                            <p:strVal val="#ppt_y"/>
                          </p:val>
                        </p:tav>
                        <p:tav tm="100000">
                          <p:val>
                            <p:strVal val="#ppt_y"/>
                          </p:val>
                        </p:tav>
                      </p:tavLst>
                    </p:anim>
                  </p:childTnLst>
                </p:cTn>
              </p:par>
            </p:tnLst>
          </p:tmpl>
        </p:tmplLst>
      </p:bldP>
    </p:bld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0_Custom Layout">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AE7DC9F4-9F6B-497B-AAC3-9E8DE27E9050}"/>
              </a:ext>
            </a:extLst>
          </p:cNvPr>
          <p:cNvSpPr>
            <a:spLocks noGrp="1"/>
          </p:cNvSpPr>
          <p:nvPr>
            <p:ph type="pic" sz="quarter" idx="13"/>
          </p:nvPr>
        </p:nvSpPr>
        <p:spPr>
          <a:xfrm>
            <a:off x="2233376" y="3216359"/>
            <a:ext cx="940720" cy="940842"/>
          </a:xfrm>
          <a:custGeom>
            <a:avLst/>
            <a:gdLst>
              <a:gd name="connsiteX0" fmla="*/ 940842 w 1881684"/>
              <a:gd name="connsiteY0" fmla="*/ 0 h 1881684"/>
              <a:gd name="connsiteX1" fmla="*/ 1881684 w 1881684"/>
              <a:gd name="connsiteY1" fmla="*/ 940842 h 1881684"/>
              <a:gd name="connsiteX2" fmla="*/ 940842 w 1881684"/>
              <a:gd name="connsiteY2" fmla="*/ 1881684 h 1881684"/>
              <a:gd name="connsiteX3" fmla="*/ 0 w 1881684"/>
              <a:gd name="connsiteY3" fmla="*/ 940842 h 1881684"/>
              <a:gd name="connsiteX4" fmla="*/ 940842 w 1881684"/>
              <a:gd name="connsiteY4" fmla="*/ 0 h 18816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1683" h="1881683">
                <a:moveTo>
                  <a:pt x="940842" y="0"/>
                </a:moveTo>
                <a:cubicBezTo>
                  <a:pt x="1460455" y="0"/>
                  <a:pt x="1881684" y="421229"/>
                  <a:pt x="1881684" y="940842"/>
                </a:cubicBezTo>
                <a:cubicBezTo>
                  <a:pt x="1881684" y="1460455"/>
                  <a:pt x="1460455" y="1881684"/>
                  <a:pt x="940842" y="1881684"/>
                </a:cubicBezTo>
                <a:cubicBezTo>
                  <a:pt x="421229" y="1881684"/>
                  <a:pt x="0" y="1460455"/>
                  <a:pt x="0" y="940842"/>
                </a:cubicBezTo>
                <a:cubicBezTo>
                  <a:pt x="0" y="421229"/>
                  <a:pt x="421229" y="0"/>
                  <a:pt x="940842" y="0"/>
                </a:cubicBez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
        <p:nvSpPr>
          <p:cNvPr id="15" name="Picture Placeholder 14">
            <a:extLst>
              <a:ext uri="{FF2B5EF4-FFF2-40B4-BE49-F238E27FC236}">
                <a16:creationId xmlns:a16="http://schemas.microsoft.com/office/drawing/2014/main" id="{32995364-51BD-4985-8454-19E8A6AB8079}"/>
              </a:ext>
            </a:extLst>
          </p:cNvPr>
          <p:cNvSpPr>
            <a:spLocks noGrp="1"/>
          </p:cNvSpPr>
          <p:nvPr>
            <p:ph type="pic" sz="quarter" idx="14"/>
          </p:nvPr>
        </p:nvSpPr>
        <p:spPr>
          <a:xfrm>
            <a:off x="3917742" y="2708357"/>
            <a:ext cx="940720" cy="940842"/>
          </a:xfrm>
          <a:custGeom>
            <a:avLst/>
            <a:gdLst>
              <a:gd name="connsiteX0" fmla="*/ 940842 w 1881684"/>
              <a:gd name="connsiteY0" fmla="*/ 0 h 1881684"/>
              <a:gd name="connsiteX1" fmla="*/ 1881684 w 1881684"/>
              <a:gd name="connsiteY1" fmla="*/ 940842 h 1881684"/>
              <a:gd name="connsiteX2" fmla="*/ 940842 w 1881684"/>
              <a:gd name="connsiteY2" fmla="*/ 1881684 h 1881684"/>
              <a:gd name="connsiteX3" fmla="*/ 0 w 1881684"/>
              <a:gd name="connsiteY3" fmla="*/ 940842 h 1881684"/>
              <a:gd name="connsiteX4" fmla="*/ 940842 w 1881684"/>
              <a:gd name="connsiteY4" fmla="*/ 0 h 18816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1683" h="1881683">
                <a:moveTo>
                  <a:pt x="940842" y="0"/>
                </a:moveTo>
                <a:cubicBezTo>
                  <a:pt x="1460455" y="0"/>
                  <a:pt x="1881684" y="421229"/>
                  <a:pt x="1881684" y="940842"/>
                </a:cubicBezTo>
                <a:cubicBezTo>
                  <a:pt x="1881684" y="1460455"/>
                  <a:pt x="1460455" y="1881684"/>
                  <a:pt x="940842" y="1881684"/>
                </a:cubicBezTo>
                <a:cubicBezTo>
                  <a:pt x="421229" y="1881684"/>
                  <a:pt x="0" y="1460455"/>
                  <a:pt x="0" y="940842"/>
                </a:cubicBezTo>
                <a:cubicBezTo>
                  <a:pt x="0" y="421229"/>
                  <a:pt x="421229" y="0"/>
                  <a:pt x="940842" y="0"/>
                </a:cubicBez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
        <p:nvSpPr>
          <p:cNvPr id="16" name="Picture Placeholder 15">
            <a:extLst>
              <a:ext uri="{FF2B5EF4-FFF2-40B4-BE49-F238E27FC236}">
                <a16:creationId xmlns:a16="http://schemas.microsoft.com/office/drawing/2014/main" id="{07915F63-D1C5-4E30-8D74-897BEDC3A77E}"/>
              </a:ext>
            </a:extLst>
          </p:cNvPr>
          <p:cNvSpPr>
            <a:spLocks noGrp="1"/>
          </p:cNvSpPr>
          <p:nvPr>
            <p:ph type="pic" sz="quarter" idx="15"/>
          </p:nvPr>
        </p:nvSpPr>
        <p:spPr>
          <a:xfrm>
            <a:off x="5637379" y="3216359"/>
            <a:ext cx="940720" cy="940842"/>
          </a:xfrm>
          <a:custGeom>
            <a:avLst/>
            <a:gdLst>
              <a:gd name="connsiteX0" fmla="*/ 940842 w 1881684"/>
              <a:gd name="connsiteY0" fmla="*/ 0 h 1881684"/>
              <a:gd name="connsiteX1" fmla="*/ 1881684 w 1881684"/>
              <a:gd name="connsiteY1" fmla="*/ 940842 h 1881684"/>
              <a:gd name="connsiteX2" fmla="*/ 940842 w 1881684"/>
              <a:gd name="connsiteY2" fmla="*/ 1881684 h 1881684"/>
              <a:gd name="connsiteX3" fmla="*/ 0 w 1881684"/>
              <a:gd name="connsiteY3" fmla="*/ 940842 h 1881684"/>
              <a:gd name="connsiteX4" fmla="*/ 940842 w 1881684"/>
              <a:gd name="connsiteY4" fmla="*/ 0 h 18816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1683" h="1881683">
                <a:moveTo>
                  <a:pt x="940842" y="0"/>
                </a:moveTo>
                <a:cubicBezTo>
                  <a:pt x="1460455" y="0"/>
                  <a:pt x="1881684" y="421229"/>
                  <a:pt x="1881684" y="940842"/>
                </a:cubicBezTo>
                <a:cubicBezTo>
                  <a:pt x="1881684" y="1460455"/>
                  <a:pt x="1460455" y="1881684"/>
                  <a:pt x="940842" y="1881684"/>
                </a:cubicBezTo>
                <a:cubicBezTo>
                  <a:pt x="421229" y="1881684"/>
                  <a:pt x="0" y="1460455"/>
                  <a:pt x="0" y="940842"/>
                </a:cubicBezTo>
                <a:cubicBezTo>
                  <a:pt x="0" y="421229"/>
                  <a:pt x="421229" y="0"/>
                  <a:pt x="940842" y="0"/>
                </a:cubicBez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
        <p:nvSpPr>
          <p:cNvPr id="17" name="Picture Placeholder 16">
            <a:extLst>
              <a:ext uri="{FF2B5EF4-FFF2-40B4-BE49-F238E27FC236}">
                <a16:creationId xmlns:a16="http://schemas.microsoft.com/office/drawing/2014/main" id="{8039340C-5876-416E-AF2A-C528D6F8B7D0}"/>
              </a:ext>
            </a:extLst>
          </p:cNvPr>
          <p:cNvSpPr>
            <a:spLocks noGrp="1"/>
          </p:cNvSpPr>
          <p:nvPr>
            <p:ph type="pic" sz="quarter" idx="16"/>
          </p:nvPr>
        </p:nvSpPr>
        <p:spPr>
          <a:xfrm>
            <a:off x="7321745" y="2708357"/>
            <a:ext cx="940720" cy="940842"/>
          </a:xfrm>
          <a:custGeom>
            <a:avLst/>
            <a:gdLst>
              <a:gd name="connsiteX0" fmla="*/ 940842 w 1881684"/>
              <a:gd name="connsiteY0" fmla="*/ 0 h 1881684"/>
              <a:gd name="connsiteX1" fmla="*/ 1881684 w 1881684"/>
              <a:gd name="connsiteY1" fmla="*/ 940842 h 1881684"/>
              <a:gd name="connsiteX2" fmla="*/ 940842 w 1881684"/>
              <a:gd name="connsiteY2" fmla="*/ 1881684 h 1881684"/>
              <a:gd name="connsiteX3" fmla="*/ 0 w 1881684"/>
              <a:gd name="connsiteY3" fmla="*/ 940842 h 1881684"/>
              <a:gd name="connsiteX4" fmla="*/ 940842 w 1881684"/>
              <a:gd name="connsiteY4" fmla="*/ 0 h 18816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1683" h="1881683">
                <a:moveTo>
                  <a:pt x="940842" y="0"/>
                </a:moveTo>
                <a:cubicBezTo>
                  <a:pt x="1460455" y="0"/>
                  <a:pt x="1881684" y="421229"/>
                  <a:pt x="1881684" y="940842"/>
                </a:cubicBezTo>
                <a:cubicBezTo>
                  <a:pt x="1881684" y="1460455"/>
                  <a:pt x="1460455" y="1881684"/>
                  <a:pt x="940842" y="1881684"/>
                </a:cubicBezTo>
                <a:cubicBezTo>
                  <a:pt x="421229" y="1881684"/>
                  <a:pt x="0" y="1460455"/>
                  <a:pt x="0" y="940842"/>
                </a:cubicBezTo>
                <a:cubicBezTo>
                  <a:pt x="0" y="421229"/>
                  <a:pt x="421229" y="0"/>
                  <a:pt x="940842" y="0"/>
                </a:cubicBez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
        <p:nvSpPr>
          <p:cNvPr id="18" name="Picture Placeholder 17">
            <a:extLst>
              <a:ext uri="{FF2B5EF4-FFF2-40B4-BE49-F238E27FC236}">
                <a16:creationId xmlns:a16="http://schemas.microsoft.com/office/drawing/2014/main" id="{D02425C2-6AD1-470A-9A0D-69A86B1DDF45}"/>
              </a:ext>
            </a:extLst>
          </p:cNvPr>
          <p:cNvSpPr>
            <a:spLocks noGrp="1"/>
          </p:cNvSpPr>
          <p:nvPr>
            <p:ph type="pic" sz="quarter" idx="17"/>
          </p:nvPr>
        </p:nvSpPr>
        <p:spPr>
          <a:xfrm>
            <a:off x="9031322" y="3216359"/>
            <a:ext cx="940720" cy="940842"/>
          </a:xfrm>
          <a:custGeom>
            <a:avLst/>
            <a:gdLst>
              <a:gd name="connsiteX0" fmla="*/ 940842 w 1881684"/>
              <a:gd name="connsiteY0" fmla="*/ 0 h 1881684"/>
              <a:gd name="connsiteX1" fmla="*/ 1881684 w 1881684"/>
              <a:gd name="connsiteY1" fmla="*/ 940842 h 1881684"/>
              <a:gd name="connsiteX2" fmla="*/ 940842 w 1881684"/>
              <a:gd name="connsiteY2" fmla="*/ 1881684 h 1881684"/>
              <a:gd name="connsiteX3" fmla="*/ 0 w 1881684"/>
              <a:gd name="connsiteY3" fmla="*/ 940842 h 1881684"/>
              <a:gd name="connsiteX4" fmla="*/ 940842 w 1881684"/>
              <a:gd name="connsiteY4" fmla="*/ 0 h 18816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1683" h="1881683">
                <a:moveTo>
                  <a:pt x="940842" y="0"/>
                </a:moveTo>
                <a:cubicBezTo>
                  <a:pt x="1460454" y="0"/>
                  <a:pt x="1881684" y="421229"/>
                  <a:pt x="1881684" y="940842"/>
                </a:cubicBezTo>
                <a:cubicBezTo>
                  <a:pt x="1881684" y="1460455"/>
                  <a:pt x="1460454" y="1881684"/>
                  <a:pt x="940842" y="1881684"/>
                </a:cubicBezTo>
                <a:cubicBezTo>
                  <a:pt x="421230" y="1881684"/>
                  <a:pt x="0" y="1460455"/>
                  <a:pt x="0" y="940842"/>
                </a:cubicBezTo>
                <a:cubicBezTo>
                  <a:pt x="0" y="421229"/>
                  <a:pt x="421230" y="0"/>
                  <a:pt x="940842" y="0"/>
                </a:cubicBez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Tree>
    <p:extLst>
      <p:ext uri="{BB962C8B-B14F-4D97-AF65-F5344CB8AC3E}">
        <p14:creationId xmlns:p14="http://schemas.microsoft.com/office/powerpoint/2010/main" val="2922642622"/>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1" dur="1500" decel="100000" fill="hold" grpId="0" nodeType="withEffect">
                                  <p:stCondLst>
                                    <p:cond delay="50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1500" fill="hold"/>
                                        <p:tgtEl>
                                          <p:spTgt spid="14"/>
                                        </p:tgtEl>
                                        <p:attrNameLst>
                                          <p:attrName>ppt_x</p:attrName>
                                        </p:attrNameLst>
                                      </p:cBhvr>
                                      <p:tavLst>
                                        <p:tav tm="0">
                                          <p:val>
                                            <p:strVal val="#ppt_x"/>
                                          </p:val>
                                        </p:tav>
                                        <p:tav tm="100000">
                                          <p:val>
                                            <p:strVal val="#ppt_x"/>
                                          </p:val>
                                        </p:tav>
                                      </p:tavLst>
                                    </p:anim>
                                    <p:anim calcmode="lin" valueType="num">
                                      <p:cBhvr additive="base">
                                        <p:cTn id="8" dur="1500" fill="hold"/>
                                        <p:tgtEl>
                                          <p:spTgt spid="14"/>
                                        </p:tgtEl>
                                        <p:attrNameLst>
                                          <p:attrName>ppt_y</p:attrName>
                                        </p:attrNameLst>
                                      </p:cBhvr>
                                      <p:tavLst>
                                        <p:tav tm="0">
                                          <p:val>
                                            <p:strVal val="0-#ppt_h/2"/>
                                          </p:val>
                                        </p:tav>
                                        <p:tav tm="100000">
                                          <p:val>
                                            <p:strVal val="#ppt_y"/>
                                          </p:val>
                                        </p:tav>
                                      </p:tavLst>
                                    </p:anim>
                                  </p:childTnLst>
                                </p:cTn>
                              </p:par>
                              <p:par>
                                <p:cTn id="9" presetID="2" presetClass="entr" presetSubtype="4" dur="1500" decel="100000" fill="hold" grpId="0" nodeType="withEffect">
                                  <p:stCondLst>
                                    <p:cond delay="800"/>
                                  </p:stCondLst>
                                  <p:childTnLst>
                                    <p:set>
                                      <p:cBhvr>
                                        <p:cTn id="10" dur="1" fill="hold">
                                          <p:stCondLst>
                                            <p:cond delay="0"/>
                                          </p:stCondLst>
                                        </p:cTn>
                                        <p:tgtEl>
                                          <p:spTgt spid="15"/>
                                        </p:tgtEl>
                                        <p:attrNameLst>
                                          <p:attrName>style.visibility</p:attrName>
                                        </p:attrNameLst>
                                      </p:cBhvr>
                                      <p:to>
                                        <p:strVal val="visible"/>
                                      </p:to>
                                    </p:set>
                                    <p:anim calcmode="lin" valueType="num">
                                      <p:cBhvr additive="base">
                                        <p:cTn id="11" dur="1500" fill="hold"/>
                                        <p:tgtEl>
                                          <p:spTgt spid="15"/>
                                        </p:tgtEl>
                                        <p:attrNameLst>
                                          <p:attrName>ppt_x</p:attrName>
                                        </p:attrNameLst>
                                      </p:cBhvr>
                                      <p:tavLst>
                                        <p:tav tm="0">
                                          <p:val>
                                            <p:strVal val="#ppt_x"/>
                                          </p:val>
                                        </p:tav>
                                        <p:tav tm="100000">
                                          <p:val>
                                            <p:strVal val="#ppt_x"/>
                                          </p:val>
                                        </p:tav>
                                      </p:tavLst>
                                    </p:anim>
                                    <p:anim calcmode="lin" valueType="num">
                                      <p:cBhvr additive="base">
                                        <p:cTn id="12" dur="1500" fill="hold"/>
                                        <p:tgtEl>
                                          <p:spTgt spid="15"/>
                                        </p:tgtEl>
                                        <p:attrNameLst>
                                          <p:attrName>ppt_y</p:attrName>
                                        </p:attrNameLst>
                                      </p:cBhvr>
                                      <p:tavLst>
                                        <p:tav tm="0">
                                          <p:val>
                                            <p:strVal val="1+#ppt_h/2"/>
                                          </p:val>
                                        </p:tav>
                                        <p:tav tm="100000">
                                          <p:val>
                                            <p:strVal val="#ppt_y"/>
                                          </p:val>
                                        </p:tav>
                                      </p:tavLst>
                                    </p:anim>
                                  </p:childTnLst>
                                </p:cTn>
                              </p:par>
                              <p:par>
                                <p:cTn id="13" presetID="2" presetClass="entr" presetSubtype="1" dur="1500" decel="100000" fill="hold" grpId="0" nodeType="withEffect">
                                  <p:stCondLst>
                                    <p:cond delay="1100"/>
                                  </p:stCondLst>
                                  <p:childTnLst>
                                    <p:set>
                                      <p:cBhvr>
                                        <p:cTn id="14" dur="1" fill="hold">
                                          <p:stCondLst>
                                            <p:cond delay="0"/>
                                          </p:stCondLst>
                                        </p:cTn>
                                        <p:tgtEl>
                                          <p:spTgt spid="16"/>
                                        </p:tgtEl>
                                        <p:attrNameLst>
                                          <p:attrName>style.visibility</p:attrName>
                                        </p:attrNameLst>
                                      </p:cBhvr>
                                      <p:to>
                                        <p:strVal val="visible"/>
                                      </p:to>
                                    </p:set>
                                    <p:anim calcmode="lin" valueType="num">
                                      <p:cBhvr additive="base">
                                        <p:cTn id="15" dur="1500" fill="hold"/>
                                        <p:tgtEl>
                                          <p:spTgt spid="16"/>
                                        </p:tgtEl>
                                        <p:attrNameLst>
                                          <p:attrName>ppt_x</p:attrName>
                                        </p:attrNameLst>
                                      </p:cBhvr>
                                      <p:tavLst>
                                        <p:tav tm="0">
                                          <p:val>
                                            <p:strVal val="#ppt_x"/>
                                          </p:val>
                                        </p:tav>
                                        <p:tav tm="100000">
                                          <p:val>
                                            <p:strVal val="#ppt_x"/>
                                          </p:val>
                                        </p:tav>
                                      </p:tavLst>
                                    </p:anim>
                                    <p:anim calcmode="lin" valueType="num">
                                      <p:cBhvr additive="base">
                                        <p:cTn id="16" dur="1500" fill="hold"/>
                                        <p:tgtEl>
                                          <p:spTgt spid="16"/>
                                        </p:tgtEl>
                                        <p:attrNameLst>
                                          <p:attrName>ppt_y</p:attrName>
                                        </p:attrNameLst>
                                      </p:cBhvr>
                                      <p:tavLst>
                                        <p:tav tm="0">
                                          <p:val>
                                            <p:strVal val="0-#ppt_h/2"/>
                                          </p:val>
                                        </p:tav>
                                        <p:tav tm="100000">
                                          <p:val>
                                            <p:strVal val="#ppt_y"/>
                                          </p:val>
                                        </p:tav>
                                      </p:tavLst>
                                    </p:anim>
                                  </p:childTnLst>
                                </p:cTn>
                              </p:par>
                              <p:par>
                                <p:cTn id="17" presetID="2" presetClass="entr" presetSubtype="4" dur="1500" decel="100000" fill="hold" grpId="0" nodeType="withEffect">
                                  <p:stCondLst>
                                    <p:cond delay="1400"/>
                                  </p:stCondLst>
                                  <p:childTnLst>
                                    <p:set>
                                      <p:cBhvr>
                                        <p:cTn id="18" dur="1" fill="hold">
                                          <p:stCondLst>
                                            <p:cond delay="0"/>
                                          </p:stCondLst>
                                        </p:cTn>
                                        <p:tgtEl>
                                          <p:spTgt spid="17"/>
                                        </p:tgtEl>
                                        <p:attrNameLst>
                                          <p:attrName>style.visibility</p:attrName>
                                        </p:attrNameLst>
                                      </p:cBhvr>
                                      <p:to>
                                        <p:strVal val="visible"/>
                                      </p:to>
                                    </p:set>
                                    <p:anim calcmode="lin" valueType="num">
                                      <p:cBhvr additive="base">
                                        <p:cTn id="19" dur="1500" fill="hold"/>
                                        <p:tgtEl>
                                          <p:spTgt spid="17"/>
                                        </p:tgtEl>
                                        <p:attrNameLst>
                                          <p:attrName>ppt_x</p:attrName>
                                        </p:attrNameLst>
                                      </p:cBhvr>
                                      <p:tavLst>
                                        <p:tav tm="0">
                                          <p:val>
                                            <p:strVal val="#ppt_x"/>
                                          </p:val>
                                        </p:tav>
                                        <p:tav tm="100000">
                                          <p:val>
                                            <p:strVal val="#ppt_x"/>
                                          </p:val>
                                        </p:tav>
                                      </p:tavLst>
                                    </p:anim>
                                    <p:anim calcmode="lin" valueType="num">
                                      <p:cBhvr additive="base">
                                        <p:cTn id="20" dur="1500" fill="hold"/>
                                        <p:tgtEl>
                                          <p:spTgt spid="17"/>
                                        </p:tgtEl>
                                        <p:attrNameLst>
                                          <p:attrName>ppt_y</p:attrName>
                                        </p:attrNameLst>
                                      </p:cBhvr>
                                      <p:tavLst>
                                        <p:tav tm="0">
                                          <p:val>
                                            <p:strVal val="1+#ppt_h/2"/>
                                          </p:val>
                                        </p:tav>
                                        <p:tav tm="100000">
                                          <p:val>
                                            <p:strVal val="#ppt_y"/>
                                          </p:val>
                                        </p:tav>
                                      </p:tavLst>
                                    </p:anim>
                                  </p:childTnLst>
                                </p:cTn>
                              </p:par>
                              <p:par>
                                <p:cTn id="21" presetID="2" presetClass="entr" presetSubtype="1" dur="1500" decel="100000" fill="hold" grpId="0" nodeType="withEffect">
                                  <p:stCondLst>
                                    <p:cond delay="1700"/>
                                  </p:stCondLst>
                                  <p:childTnLst>
                                    <p:set>
                                      <p:cBhvr>
                                        <p:cTn id="22" dur="1" fill="hold">
                                          <p:stCondLst>
                                            <p:cond delay="0"/>
                                          </p:stCondLst>
                                        </p:cTn>
                                        <p:tgtEl>
                                          <p:spTgt spid="18"/>
                                        </p:tgtEl>
                                        <p:attrNameLst>
                                          <p:attrName>style.visibility</p:attrName>
                                        </p:attrNameLst>
                                      </p:cBhvr>
                                      <p:to>
                                        <p:strVal val="visible"/>
                                      </p:to>
                                    </p:set>
                                    <p:anim calcmode="lin" valueType="num">
                                      <p:cBhvr additive="base">
                                        <p:cTn id="23" dur="1500" fill="hold"/>
                                        <p:tgtEl>
                                          <p:spTgt spid="18"/>
                                        </p:tgtEl>
                                        <p:attrNameLst>
                                          <p:attrName>ppt_x</p:attrName>
                                        </p:attrNameLst>
                                      </p:cBhvr>
                                      <p:tavLst>
                                        <p:tav tm="0">
                                          <p:val>
                                            <p:strVal val="#ppt_x"/>
                                          </p:val>
                                        </p:tav>
                                        <p:tav tm="100000">
                                          <p:val>
                                            <p:strVal val="#ppt_x"/>
                                          </p:val>
                                        </p:tav>
                                      </p:tavLst>
                                    </p:anim>
                                    <p:anim calcmode="lin" valueType="num">
                                      <p:cBhvr additive="base">
                                        <p:cTn id="24" dur="1500" fill="hold"/>
                                        <p:tgtEl>
                                          <p:spTgt spid="18"/>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animBg="1"/>
      <p:bldP spid="16" grpId="0" animBg="1"/>
      <p:bldP spid="17" grpId="0" animBg="1"/>
      <p:bldP spid="18" grpId="0" animBg="1"/>
    </p:bldLst>
  </p:timing>
</p:sldLayout>
</file>

<file path=ppt/slideLayouts/slideLayout340.xml><?xml version="1.0" encoding="utf-8"?>
<p:sldLayout xmlns:a="http://schemas.openxmlformats.org/drawingml/2006/main" xmlns:r="http://schemas.openxmlformats.org/officeDocument/2006/relationships" xmlns:p="http://schemas.openxmlformats.org/presentationml/2006/main" userDrawn="1">
  <p:cSld name="WELCOME SLIDE">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71E4C93B-31B7-42D7-815C-F39D80E13A1F}"/>
              </a:ext>
            </a:extLst>
          </p:cNvPr>
          <p:cNvGraphicFramePr>
            <a:graphicFrameLocks noChangeAspect="1"/>
          </p:cNvGraphicFramePr>
          <p:nvPr userDrawn="1">
            <p:custDataLst>
              <p:tags r:id="rId1"/>
            </p:custDataLst>
            <p:extLst>
              <p:ext uri="{D42A27DB-BD31-4B8C-83A1-F6EECF244321}">
                <p14:modId xmlns:p14="http://schemas.microsoft.com/office/powerpoint/2010/main" val="9995739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2" name="Objekt 1" hidden="1">
                        <a:extLst>
                          <a:ext uri="{FF2B5EF4-FFF2-40B4-BE49-F238E27FC236}">
                            <a16:creationId xmlns:a16="http://schemas.microsoft.com/office/drawing/2014/main" id="{71E4C93B-31B7-42D7-815C-F39D80E13A1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3" name="Rechteck 32">
            <a:extLst>
              <a:ext uri="{FF2B5EF4-FFF2-40B4-BE49-F238E27FC236}">
                <a16:creationId xmlns:a16="http://schemas.microsoft.com/office/drawing/2014/main" id="{95791B20-6611-4BC3-9643-F8853AFBD8B7}"/>
              </a:ext>
            </a:extLst>
          </p:cNvPr>
          <p:cNvSpPr/>
          <p:nvPr userDrawn="1"/>
        </p:nvSpPr>
        <p:spPr>
          <a:xfrm>
            <a:off x="0" y="0"/>
            <a:ext cx="5772243" cy="990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64" name="Bildplatzhalter 63">
            <a:extLst>
              <a:ext uri="{FF2B5EF4-FFF2-40B4-BE49-F238E27FC236}">
                <a16:creationId xmlns:a16="http://schemas.microsoft.com/office/drawing/2014/main" id="{27D8A489-906F-4514-8E3F-C8B31E0E5A05}"/>
              </a:ext>
            </a:extLst>
          </p:cNvPr>
          <p:cNvSpPr>
            <a:spLocks noGrp="1"/>
          </p:cNvSpPr>
          <p:nvPr>
            <p:ph type="pic" sz="quarter" idx="10"/>
          </p:nvPr>
        </p:nvSpPr>
        <p:spPr>
          <a:xfrm>
            <a:off x="0" y="0"/>
            <a:ext cx="12191999" cy="6858000"/>
          </a:xfrm>
          <a:custGeom>
            <a:avLst/>
            <a:gdLst>
              <a:gd name="connsiteX0" fmla="*/ 5788920 w 12191999"/>
              <a:gd name="connsiteY0" fmla="*/ 3246099 h 6858000"/>
              <a:gd name="connsiteX1" fmla="*/ 5801118 w 12191999"/>
              <a:gd name="connsiteY1" fmla="*/ 3246099 h 6858000"/>
              <a:gd name="connsiteX2" fmla="*/ 5820770 w 12191999"/>
              <a:gd name="connsiteY2" fmla="*/ 3254231 h 6858000"/>
              <a:gd name="connsiteX3" fmla="*/ 5827546 w 12191999"/>
              <a:gd name="connsiteY3" fmla="*/ 3277949 h 6858000"/>
              <a:gd name="connsiteX4" fmla="*/ 5827546 w 12191999"/>
              <a:gd name="connsiteY4" fmla="*/ 3283370 h 6858000"/>
              <a:gd name="connsiteX5" fmla="*/ 5820092 w 12191999"/>
              <a:gd name="connsiteY5" fmla="*/ 3307089 h 6858000"/>
              <a:gd name="connsiteX6" fmla="*/ 5799762 w 12191999"/>
              <a:gd name="connsiteY6" fmla="*/ 3315220 h 6858000"/>
              <a:gd name="connsiteX7" fmla="*/ 5788920 w 12191999"/>
              <a:gd name="connsiteY7" fmla="*/ 3315220 h 6858000"/>
              <a:gd name="connsiteX8" fmla="*/ 5303038 w 12191999"/>
              <a:gd name="connsiteY8" fmla="*/ 3246099 h 6858000"/>
              <a:gd name="connsiteX9" fmla="*/ 5315236 w 12191999"/>
              <a:gd name="connsiteY9" fmla="*/ 3246099 h 6858000"/>
              <a:gd name="connsiteX10" fmla="*/ 5334888 w 12191999"/>
              <a:gd name="connsiteY10" fmla="*/ 3254231 h 6858000"/>
              <a:gd name="connsiteX11" fmla="*/ 5341664 w 12191999"/>
              <a:gd name="connsiteY11" fmla="*/ 3277949 h 6858000"/>
              <a:gd name="connsiteX12" fmla="*/ 5341664 w 12191999"/>
              <a:gd name="connsiteY12" fmla="*/ 3283370 h 6858000"/>
              <a:gd name="connsiteX13" fmla="*/ 5334210 w 12191999"/>
              <a:gd name="connsiteY13" fmla="*/ 3307089 h 6858000"/>
              <a:gd name="connsiteX14" fmla="*/ 5313880 w 12191999"/>
              <a:gd name="connsiteY14" fmla="*/ 3315220 h 6858000"/>
              <a:gd name="connsiteX15" fmla="*/ 5303038 w 12191999"/>
              <a:gd name="connsiteY15" fmla="*/ 3315220 h 6858000"/>
              <a:gd name="connsiteX16" fmla="*/ 4985215 w 12191999"/>
              <a:gd name="connsiteY16" fmla="*/ 3246099 h 6858000"/>
              <a:gd name="connsiteX17" fmla="*/ 5002835 w 12191999"/>
              <a:gd name="connsiteY17" fmla="*/ 3246099 h 6858000"/>
              <a:gd name="connsiteX18" fmla="*/ 5015710 w 12191999"/>
              <a:gd name="connsiteY18" fmla="*/ 3250165 h 6858000"/>
              <a:gd name="connsiteX19" fmla="*/ 5019776 w 12191999"/>
              <a:gd name="connsiteY19" fmla="*/ 3262363 h 6858000"/>
              <a:gd name="connsiteX20" fmla="*/ 5015033 w 12191999"/>
              <a:gd name="connsiteY20" fmla="*/ 3273883 h 6858000"/>
              <a:gd name="connsiteX21" fmla="*/ 5002157 w 12191999"/>
              <a:gd name="connsiteY21" fmla="*/ 3277949 h 6858000"/>
              <a:gd name="connsiteX22" fmla="*/ 4985215 w 12191999"/>
              <a:gd name="connsiteY22" fmla="*/ 3277949 h 6858000"/>
              <a:gd name="connsiteX23" fmla="*/ 6397458 w 12191999"/>
              <a:gd name="connsiteY23" fmla="*/ 3245421 h 6858000"/>
              <a:gd name="connsiteX24" fmla="*/ 6414400 w 12191999"/>
              <a:gd name="connsiteY24" fmla="*/ 3253553 h 6858000"/>
              <a:gd name="connsiteX25" fmla="*/ 6420499 w 12191999"/>
              <a:gd name="connsiteY25" fmla="*/ 3277949 h 6858000"/>
              <a:gd name="connsiteX26" fmla="*/ 6420499 w 12191999"/>
              <a:gd name="connsiteY26" fmla="*/ 3283370 h 6858000"/>
              <a:gd name="connsiteX27" fmla="*/ 6414400 w 12191999"/>
              <a:gd name="connsiteY27" fmla="*/ 3307766 h 6858000"/>
              <a:gd name="connsiteX28" fmla="*/ 6397458 w 12191999"/>
              <a:gd name="connsiteY28" fmla="*/ 3315898 h 6858000"/>
              <a:gd name="connsiteX29" fmla="*/ 6380517 w 12191999"/>
              <a:gd name="connsiteY29" fmla="*/ 3307088 h 6858000"/>
              <a:gd name="connsiteX30" fmla="*/ 6374418 w 12191999"/>
              <a:gd name="connsiteY30" fmla="*/ 3282692 h 6858000"/>
              <a:gd name="connsiteX31" fmla="*/ 6374418 w 12191999"/>
              <a:gd name="connsiteY31" fmla="*/ 3277271 h 6858000"/>
              <a:gd name="connsiteX32" fmla="*/ 6380517 w 12191999"/>
              <a:gd name="connsiteY32" fmla="*/ 3253553 h 6858000"/>
              <a:gd name="connsiteX33" fmla="*/ 6397458 w 12191999"/>
              <a:gd name="connsiteY33" fmla="*/ 3245421 h 6858000"/>
              <a:gd name="connsiteX34" fmla="*/ 4831387 w 12191999"/>
              <a:gd name="connsiteY34" fmla="*/ 3245421 h 6858000"/>
              <a:gd name="connsiteX35" fmla="*/ 4848329 w 12191999"/>
              <a:gd name="connsiteY35" fmla="*/ 3253553 h 6858000"/>
              <a:gd name="connsiteX36" fmla="*/ 4854428 w 12191999"/>
              <a:gd name="connsiteY36" fmla="*/ 3277949 h 6858000"/>
              <a:gd name="connsiteX37" fmla="*/ 4854428 w 12191999"/>
              <a:gd name="connsiteY37" fmla="*/ 3283370 h 6858000"/>
              <a:gd name="connsiteX38" fmla="*/ 4848329 w 12191999"/>
              <a:gd name="connsiteY38" fmla="*/ 3307766 h 6858000"/>
              <a:gd name="connsiteX39" fmla="*/ 4831387 w 12191999"/>
              <a:gd name="connsiteY39" fmla="*/ 3315898 h 6858000"/>
              <a:gd name="connsiteX40" fmla="*/ 4814446 w 12191999"/>
              <a:gd name="connsiteY40" fmla="*/ 3307088 h 6858000"/>
              <a:gd name="connsiteX41" fmla="*/ 4808347 w 12191999"/>
              <a:gd name="connsiteY41" fmla="*/ 3282692 h 6858000"/>
              <a:gd name="connsiteX42" fmla="*/ 4808347 w 12191999"/>
              <a:gd name="connsiteY42" fmla="*/ 3277271 h 6858000"/>
              <a:gd name="connsiteX43" fmla="*/ 4814446 w 12191999"/>
              <a:gd name="connsiteY43" fmla="*/ 3253553 h 6858000"/>
              <a:gd name="connsiteX44" fmla="*/ 4831387 w 12191999"/>
              <a:gd name="connsiteY44" fmla="*/ 3245421 h 6858000"/>
              <a:gd name="connsiteX45" fmla="*/ 6211780 w 12191999"/>
              <a:gd name="connsiteY45" fmla="*/ 3233223 h 6858000"/>
              <a:gd name="connsiteX46" fmla="*/ 6211780 w 12191999"/>
              <a:gd name="connsiteY46" fmla="*/ 3328773 h 6858000"/>
              <a:gd name="connsiteX47" fmla="*/ 6272092 w 12191999"/>
              <a:gd name="connsiteY47" fmla="*/ 3328773 h 6858000"/>
              <a:gd name="connsiteX48" fmla="*/ 6272092 w 12191999"/>
              <a:gd name="connsiteY48" fmla="*/ 3315220 h 6858000"/>
              <a:gd name="connsiteX49" fmla="*/ 6228721 w 12191999"/>
              <a:gd name="connsiteY49" fmla="*/ 3315220 h 6858000"/>
              <a:gd name="connsiteX50" fmla="*/ 6228721 w 12191999"/>
              <a:gd name="connsiteY50" fmla="*/ 3233223 h 6858000"/>
              <a:gd name="connsiteX51" fmla="*/ 5132947 w 12191999"/>
              <a:gd name="connsiteY51" fmla="*/ 3233223 h 6858000"/>
              <a:gd name="connsiteX52" fmla="*/ 5132947 w 12191999"/>
              <a:gd name="connsiteY52" fmla="*/ 3328773 h 6858000"/>
              <a:gd name="connsiteX53" fmla="*/ 5193258 w 12191999"/>
              <a:gd name="connsiteY53" fmla="*/ 3328773 h 6858000"/>
              <a:gd name="connsiteX54" fmla="*/ 5193258 w 12191999"/>
              <a:gd name="connsiteY54" fmla="*/ 3315220 h 6858000"/>
              <a:gd name="connsiteX55" fmla="*/ 5149888 w 12191999"/>
              <a:gd name="connsiteY55" fmla="*/ 3315220 h 6858000"/>
              <a:gd name="connsiteX56" fmla="*/ 5149888 w 12191999"/>
              <a:gd name="connsiteY56" fmla="*/ 3233223 h 6858000"/>
              <a:gd name="connsiteX57" fmla="*/ 7150338 w 12191999"/>
              <a:gd name="connsiteY57" fmla="*/ 3232546 h 6858000"/>
              <a:gd name="connsiteX58" fmla="*/ 7150338 w 12191999"/>
              <a:gd name="connsiteY58" fmla="*/ 3328096 h 6858000"/>
              <a:gd name="connsiteX59" fmla="*/ 7166602 w 12191999"/>
              <a:gd name="connsiteY59" fmla="*/ 3328096 h 6858000"/>
              <a:gd name="connsiteX60" fmla="*/ 7166602 w 12191999"/>
              <a:gd name="connsiteY60" fmla="*/ 3232546 h 6858000"/>
              <a:gd name="connsiteX61" fmla="*/ 6980246 w 12191999"/>
              <a:gd name="connsiteY61" fmla="*/ 3232546 h 6858000"/>
              <a:gd name="connsiteX62" fmla="*/ 6980246 w 12191999"/>
              <a:gd name="connsiteY62" fmla="*/ 3246099 h 6858000"/>
              <a:gd name="connsiteX63" fmla="*/ 7010063 w 12191999"/>
              <a:gd name="connsiteY63" fmla="*/ 3246099 h 6858000"/>
              <a:gd name="connsiteX64" fmla="*/ 7010063 w 12191999"/>
              <a:gd name="connsiteY64" fmla="*/ 3328096 h 6858000"/>
              <a:gd name="connsiteX65" fmla="*/ 7026327 w 12191999"/>
              <a:gd name="connsiteY65" fmla="*/ 3328096 h 6858000"/>
              <a:gd name="connsiteX66" fmla="*/ 7026327 w 12191999"/>
              <a:gd name="connsiteY66" fmla="*/ 3246099 h 6858000"/>
              <a:gd name="connsiteX67" fmla="*/ 7056144 w 12191999"/>
              <a:gd name="connsiteY67" fmla="*/ 3246099 h 6858000"/>
              <a:gd name="connsiteX68" fmla="*/ 7056144 w 12191999"/>
              <a:gd name="connsiteY68" fmla="*/ 3232546 h 6858000"/>
              <a:gd name="connsiteX69" fmla="*/ 6707827 w 12191999"/>
              <a:gd name="connsiteY69" fmla="*/ 3232546 h 6858000"/>
              <a:gd name="connsiteX70" fmla="*/ 6707827 w 12191999"/>
              <a:gd name="connsiteY70" fmla="*/ 3328096 h 6858000"/>
              <a:gd name="connsiteX71" fmla="*/ 6724091 w 12191999"/>
              <a:gd name="connsiteY71" fmla="*/ 3328096 h 6858000"/>
              <a:gd name="connsiteX72" fmla="*/ 6724091 w 12191999"/>
              <a:gd name="connsiteY72" fmla="*/ 3232546 h 6858000"/>
              <a:gd name="connsiteX73" fmla="*/ 5941394 w 12191999"/>
              <a:gd name="connsiteY73" fmla="*/ 3232546 h 6858000"/>
              <a:gd name="connsiteX74" fmla="*/ 5941394 w 12191999"/>
              <a:gd name="connsiteY74" fmla="*/ 3328096 h 6858000"/>
              <a:gd name="connsiteX75" fmla="*/ 6003739 w 12191999"/>
              <a:gd name="connsiteY75" fmla="*/ 3328096 h 6858000"/>
              <a:gd name="connsiteX76" fmla="*/ 6003739 w 12191999"/>
              <a:gd name="connsiteY76" fmla="*/ 3314543 h 6858000"/>
              <a:gd name="connsiteX77" fmla="*/ 5957658 w 12191999"/>
              <a:gd name="connsiteY77" fmla="*/ 3314543 h 6858000"/>
              <a:gd name="connsiteX78" fmla="*/ 5957658 w 12191999"/>
              <a:gd name="connsiteY78" fmla="*/ 3285403 h 6858000"/>
              <a:gd name="connsiteX79" fmla="*/ 5996962 w 12191999"/>
              <a:gd name="connsiteY79" fmla="*/ 3285403 h 6858000"/>
              <a:gd name="connsiteX80" fmla="*/ 5997640 w 12191999"/>
              <a:gd name="connsiteY80" fmla="*/ 3285403 h 6858000"/>
              <a:gd name="connsiteX81" fmla="*/ 5997640 w 12191999"/>
              <a:gd name="connsiteY81" fmla="*/ 3272528 h 6858000"/>
              <a:gd name="connsiteX82" fmla="*/ 5958335 w 12191999"/>
              <a:gd name="connsiteY82" fmla="*/ 3272528 h 6858000"/>
              <a:gd name="connsiteX83" fmla="*/ 5958335 w 12191999"/>
              <a:gd name="connsiteY83" fmla="*/ 3246099 h 6858000"/>
              <a:gd name="connsiteX84" fmla="*/ 6003739 w 12191999"/>
              <a:gd name="connsiteY84" fmla="*/ 3246099 h 6858000"/>
              <a:gd name="connsiteX85" fmla="*/ 6003739 w 12191999"/>
              <a:gd name="connsiteY85" fmla="*/ 3232546 h 6858000"/>
              <a:gd name="connsiteX86" fmla="*/ 5772657 w 12191999"/>
              <a:gd name="connsiteY86" fmla="*/ 3232546 h 6858000"/>
              <a:gd name="connsiteX87" fmla="*/ 5772657 w 12191999"/>
              <a:gd name="connsiteY87" fmla="*/ 3327418 h 6858000"/>
              <a:gd name="connsiteX88" fmla="*/ 5799762 w 12191999"/>
              <a:gd name="connsiteY88" fmla="*/ 3327418 h 6858000"/>
              <a:gd name="connsiteX89" fmla="*/ 5822804 w 12191999"/>
              <a:gd name="connsiteY89" fmla="*/ 3321997 h 6858000"/>
              <a:gd name="connsiteX90" fmla="*/ 5838389 w 12191999"/>
              <a:gd name="connsiteY90" fmla="*/ 3306411 h 6858000"/>
              <a:gd name="connsiteX91" fmla="*/ 5843810 w 12191999"/>
              <a:gd name="connsiteY91" fmla="*/ 3282693 h 6858000"/>
              <a:gd name="connsiteX92" fmla="*/ 5843810 w 12191999"/>
              <a:gd name="connsiteY92" fmla="*/ 3277949 h 6858000"/>
              <a:gd name="connsiteX93" fmla="*/ 5838389 w 12191999"/>
              <a:gd name="connsiteY93" fmla="*/ 3254231 h 6858000"/>
              <a:gd name="connsiteX94" fmla="*/ 5823480 w 12191999"/>
              <a:gd name="connsiteY94" fmla="*/ 3237967 h 6858000"/>
              <a:gd name="connsiteX95" fmla="*/ 5801118 w 12191999"/>
              <a:gd name="connsiteY95" fmla="*/ 3232546 h 6858000"/>
              <a:gd name="connsiteX96" fmla="*/ 5655421 w 12191999"/>
              <a:gd name="connsiteY96" fmla="*/ 3232546 h 6858000"/>
              <a:gd name="connsiteX97" fmla="*/ 5655421 w 12191999"/>
              <a:gd name="connsiteY97" fmla="*/ 3328096 h 6858000"/>
              <a:gd name="connsiteX98" fmla="*/ 5671685 w 12191999"/>
              <a:gd name="connsiteY98" fmla="*/ 3328096 h 6858000"/>
              <a:gd name="connsiteX99" fmla="*/ 5671685 w 12191999"/>
              <a:gd name="connsiteY99" fmla="*/ 3232546 h 6858000"/>
              <a:gd name="connsiteX100" fmla="*/ 5448058 w 12191999"/>
              <a:gd name="connsiteY100" fmla="*/ 3232546 h 6858000"/>
              <a:gd name="connsiteX101" fmla="*/ 5470420 w 12191999"/>
              <a:gd name="connsiteY101" fmla="*/ 3328096 h 6858000"/>
              <a:gd name="connsiteX102" fmla="*/ 5486685 w 12191999"/>
              <a:gd name="connsiteY102" fmla="*/ 3328096 h 6858000"/>
              <a:gd name="connsiteX103" fmla="*/ 5504980 w 12191999"/>
              <a:gd name="connsiteY103" fmla="*/ 3258297 h 6858000"/>
              <a:gd name="connsiteX104" fmla="*/ 5523277 w 12191999"/>
              <a:gd name="connsiteY104" fmla="*/ 3328096 h 6858000"/>
              <a:gd name="connsiteX105" fmla="*/ 5538863 w 12191999"/>
              <a:gd name="connsiteY105" fmla="*/ 3328096 h 6858000"/>
              <a:gd name="connsiteX106" fmla="*/ 5561226 w 12191999"/>
              <a:gd name="connsiteY106" fmla="*/ 3232546 h 6858000"/>
              <a:gd name="connsiteX107" fmla="*/ 5544962 w 12191999"/>
              <a:gd name="connsiteY107" fmla="*/ 3232546 h 6858000"/>
              <a:gd name="connsiteX108" fmla="*/ 5530055 w 12191999"/>
              <a:gd name="connsiteY108" fmla="*/ 3304378 h 6858000"/>
              <a:gd name="connsiteX109" fmla="*/ 5511757 w 12191999"/>
              <a:gd name="connsiteY109" fmla="*/ 3232546 h 6858000"/>
              <a:gd name="connsiteX110" fmla="*/ 5497527 w 12191999"/>
              <a:gd name="connsiteY110" fmla="*/ 3232546 h 6858000"/>
              <a:gd name="connsiteX111" fmla="*/ 5479229 w 12191999"/>
              <a:gd name="connsiteY111" fmla="*/ 3304378 h 6858000"/>
              <a:gd name="connsiteX112" fmla="*/ 5464321 w 12191999"/>
              <a:gd name="connsiteY112" fmla="*/ 3232546 h 6858000"/>
              <a:gd name="connsiteX113" fmla="*/ 5286775 w 12191999"/>
              <a:gd name="connsiteY113" fmla="*/ 3232546 h 6858000"/>
              <a:gd name="connsiteX114" fmla="*/ 5286775 w 12191999"/>
              <a:gd name="connsiteY114" fmla="*/ 3327418 h 6858000"/>
              <a:gd name="connsiteX115" fmla="*/ 5313880 w 12191999"/>
              <a:gd name="connsiteY115" fmla="*/ 3327418 h 6858000"/>
              <a:gd name="connsiteX116" fmla="*/ 5336922 w 12191999"/>
              <a:gd name="connsiteY116" fmla="*/ 3321997 h 6858000"/>
              <a:gd name="connsiteX117" fmla="*/ 5352507 w 12191999"/>
              <a:gd name="connsiteY117" fmla="*/ 3306411 h 6858000"/>
              <a:gd name="connsiteX118" fmla="*/ 5357928 w 12191999"/>
              <a:gd name="connsiteY118" fmla="*/ 3282693 h 6858000"/>
              <a:gd name="connsiteX119" fmla="*/ 5357928 w 12191999"/>
              <a:gd name="connsiteY119" fmla="*/ 3277949 h 6858000"/>
              <a:gd name="connsiteX120" fmla="*/ 5352507 w 12191999"/>
              <a:gd name="connsiteY120" fmla="*/ 3254231 h 6858000"/>
              <a:gd name="connsiteX121" fmla="*/ 5337598 w 12191999"/>
              <a:gd name="connsiteY121" fmla="*/ 3237967 h 6858000"/>
              <a:gd name="connsiteX122" fmla="*/ 5315236 w 12191999"/>
              <a:gd name="connsiteY122" fmla="*/ 3232546 h 6858000"/>
              <a:gd name="connsiteX123" fmla="*/ 4968274 w 12191999"/>
              <a:gd name="connsiteY123" fmla="*/ 3232546 h 6858000"/>
              <a:gd name="connsiteX124" fmla="*/ 4968274 w 12191999"/>
              <a:gd name="connsiteY124" fmla="*/ 3328096 h 6858000"/>
              <a:gd name="connsiteX125" fmla="*/ 4985215 w 12191999"/>
              <a:gd name="connsiteY125" fmla="*/ 3328096 h 6858000"/>
              <a:gd name="connsiteX126" fmla="*/ 4985215 w 12191999"/>
              <a:gd name="connsiteY126" fmla="*/ 3291502 h 6858000"/>
              <a:gd name="connsiteX127" fmla="*/ 5003512 w 12191999"/>
              <a:gd name="connsiteY127" fmla="*/ 3291502 h 6858000"/>
              <a:gd name="connsiteX128" fmla="*/ 5023164 w 12191999"/>
              <a:gd name="connsiteY128" fmla="*/ 3328774 h 6858000"/>
              <a:gd name="connsiteX129" fmla="*/ 5040784 w 12191999"/>
              <a:gd name="connsiteY129" fmla="*/ 3328774 h 6858000"/>
              <a:gd name="connsiteX130" fmla="*/ 5040784 w 12191999"/>
              <a:gd name="connsiteY130" fmla="*/ 3328096 h 6858000"/>
              <a:gd name="connsiteX131" fmla="*/ 5019098 w 12191999"/>
              <a:gd name="connsiteY131" fmla="*/ 3288114 h 6858000"/>
              <a:gd name="connsiteX132" fmla="*/ 5031974 w 12191999"/>
              <a:gd name="connsiteY132" fmla="*/ 3277949 h 6858000"/>
              <a:gd name="connsiteX133" fmla="*/ 5036718 w 12191999"/>
              <a:gd name="connsiteY133" fmla="*/ 3261685 h 6858000"/>
              <a:gd name="connsiteX134" fmla="*/ 5027908 w 12191999"/>
              <a:gd name="connsiteY134" fmla="*/ 3240000 h 6858000"/>
              <a:gd name="connsiteX135" fmla="*/ 5002157 w 12191999"/>
              <a:gd name="connsiteY135" fmla="*/ 3232546 h 6858000"/>
              <a:gd name="connsiteX136" fmla="*/ 4589463 w 12191999"/>
              <a:gd name="connsiteY136" fmla="*/ 3232546 h 6858000"/>
              <a:gd name="connsiteX137" fmla="*/ 4611826 w 12191999"/>
              <a:gd name="connsiteY137" fmla="*/ 3328096 h 6858000"/>
              <a:gd name="connsiteX138" fmla="*/ 4627412 w 12191999"/>
              <a:gd name="connsiteY138" fmla="*/ 3328096 h 6858000"/>
              <a:gd name="connsiteX139" fmla="*/ 4645709 w 12191999"/>
              <a:gd name="connsiteY139" fmla="*/ 3258297 h 6858000"/>
              <a:gd name="connsiteX140" fmla="*/ 4664006 w 12191999"/>
              <a:gd name="connsiteY140" fmla="*/ 3328096 h 6858000"/>
              <a:gd name="connsiteX141" fmla="*/ 4679592 w 12191999"/>
              <a:gd name="connsiteY141" fmla="*/ 3328096 h 6858000"/>
              <a:gd name="connsiteX142" fmla="*/ 4701955 w 12191999"/>
              <a:gd name="connsiteY142" fmla="*/ 3232546 h 6858000"/>
              <a:gd name="connsiteX143" fmla="*/ 4685692 w 12191999"/>
              <a:gd name="connsiteY143" fmla="*/ 3232546 h 6858000"/>
              <a:gd name="connsiteX144" fmla="*/ 4670782 w 12191999"/>
              <a:gd name="connsiteY144" fmla="*/ 3304378 h 6858000"/>
              <a:gd name="connsiteX145" fmla="*/ 4653164 w 12191999"/>
              <a:gd name="connsiteY145" fmla="*/ 3232546 h 6858000"/>
              <a:gd name="connsiteX146" fmla="*/ 4638932 w 12191999"/>
              <a:gd name="connsiteY146" fmla="*/ 3232546 h 6858000"/>
              <a:gd name="connsiteX147" fmla="*/ 4620635 w 12191999"/>
              <a:gd name="connsiteY147" fmla="*/ 3304378 h 6858000"/>
              <a:gd name="connsiteX148" fmla="*/ 4605727 w 12191999"/>
              <a:gd name="connsiteY148" fmla="*/ 3232546 h 6858000"/>
              <a:gd name="connsiteX149" fmla="*/ 7468161 w 12191999"/>
              <a:gd name="connsiteY149" fmla="*/ 3231868 h 6858000"/>
              <a:gd name="connsiteX150" fmla="*/ 7443766 w 12191999"/>
              <a:gd name="connsiteY150" fmla="*/ 3239322 h 6858000"/>
              <a:gd name="connsiteX151" fmla="*/ 7434278 w 12191999"/>
              <a:gd name="connsiteY151" fmla="*/ 3258297 h 6858000"/>
              <a:gd name="connsiteX152" fmla="*/ 7447154 w 12191999"/>
              <a:gd name="connsiteY152" fmla="*/ 3279982 h 6858000"/>
              <a:gd name="connsiteX153" fmla="*/ 7465451 w 12191999"/>
              <a:gd name="connsiteY153" fmla="*/ 3287436 h 6858000"/>
              <a:gd name="connsiteX154" fmla="*/ 7481714 w 12191999"/>
              <a:gd name="connsiteY154" fmla="*/ 3294213 h 6858000"/>
              <a:gd name="connsiteX155" fmla="*/ 7486458 w 12191999"/>
              <a:gd name="connsiteY155" fmla="*/ 3303700 h 6858000"/>
              <a:gd name="connsiteX156" fmla="*/ 7481714 w 12191999"/>
              <a:gd name="connsiteY156" fmla="*/ 3312509 h 6858000"/>
              <a:gd name="connsiteX157" fmla="*/ 7468839 w 12191999"/>
              <a:gd name="connsiteY157" fmla="*/ 3315898 h 6858000"/>
              <a:gd name="connsiteX158" fmla="*/ 7453253 w 12191999"/>
              <a:gd name="connsiteY158" fmla="*/ 3311154 h 6858000"/>
              <a:gd name="connsiteX159" fmla="*/ 7447831 w 12191999"/>
              <a:gd name="connsiteY159" fmla="*/ 3298279 h 6858000"/>
              <a:gd name="connsiteX160" fmla="*/ 7430890 w 12191999"/>
              <a:gd name="connsiteY160" fmla="*/ 3298279 h 6858000"/>
              <a:gd name="connsiteX161" fmla="*/ 7435634 w 12191999"/>
              <a:gd name="connsiteY161" fmla="*/ 3313865 h 6858000"/>
              <a:gd name="connsiteX162" fmla="*/ 7449187 w 12191999"/>
              <a:gd name="connsiteY162" fmla="*/ 3324707 h 6858000"/>
              <a:gd name="connsiteX163" fmla="*/ 7468161 w 12191999"/>
              <a:gd name="connsiteY163" fmla="*/ 3328773 h 6858000"/>
              <a:gd name="connsiteX164" fmla="*/ 7493235 w 12191999"/>
              <a:gd name="connsiteY164" fmla="*/ 3321997 h 6858000"/>
              <a:gd name="connsiteX165" fmla="*/ 7502722 w 12191999"/>
              <a:gd name="connsiteY165" fmla="*/ 3303022 h 6858000"/>
              <a:gd name="connsiteX166" fmla="*/ 7499334 w 12191999"/>
              <a:gd name="connsiteY166" fmla="*/ 3290147 h 6858000"/>
              <a:gd name="connsiteX167" fmla="*/ 7489169 w 12191999"/>
              <a:gd name="connsiteY167" fmla="*/ 3280659 h 6858000"/>
              <a:gd name="connsiteX168" fmla="*/ 7471550 w 12191999"/>
              <a:gd name="connsiteY168" fmla="*/ 3273205 h 6858000"/>
              <a:gd name="connsiteX169" fmla="*/ 7455286 w 12191999"/>
              <a:gd name="connsiteY169" fmla="*/ 3266429 h 6858000"/>
              <a:gd name="connsiteX170" fmla="*/ 7450542 w 12191999"/>
              <a:gd name="connsiteY170" fmla="*/ 3257619 h 6858000"/>
              <a:gd name="connsiteX171" fmla="*/ 7455286 w 12191999"/>
              <a:gd name="connsiteY171" fmla="*/ 3248132 h 6858000"/>
              <a:gd name="connsiteX172" fmla="*/ 7468161 w 12191999"/>
              <a:gd name="connsiteY172" fmla="*/ 3244744 h 6858000"/>
              <a:gd name="connsiteX173" fmla="*/ 7481714 w 12191999"/>
              <a:gd name="connsiteY173" fmla="*/ 3248809 h 6858000"/>
              <a:gd name="connsiteX174" fmla="*/ 7486458 w 12191999"/>
              <a:gd name="connsiteY174" fmla="*/ 3260330 h 6858000"/>
              <a:gd name="connsiteX175" fmla="*/ 7502722 w 12191999"/>
              <a:gd name="connsiteY175" fmla="*/ 3260330 h 6858000"/>
              <a:gd name="connsiteX176" fmla="*/ 7497978 w 12191999"/>
              <a:gd name="connsiteY176" fmla="*/ 3245421 h 6858000"/>
              <a:gd name="connsiteX177" fmla="*/ 7485780 w 12191999"/>
              <a:gd name="connsiteY177" fmla="*/ 3235256 h 6858000"/>
              <a:gd name="connsiteX178" fmla="*/ 7468161 w 12191999"/>
              <a:gd name="connsiteY178" fmla="*/ 3231868 h 6858000"/>
              <a:gd name="connsiteX179" fmla="*/ 7303489 w 12191999"/>
              <a:gd name="connsiteY179" fmla="*/ 3231868 h 6858000"/>
              <a:gd name="connsiteX180" fmla="*/ 7282482 w 12191999"/>
              <a:gd name="connsiteY180" fmla="*/ 3237289 h 6858000"/>
              <a:gd name="connsiteX181" fmla="*/ 7268928 w 12191999"/>
              <a:gd name="connsiteY181" fmla="*/ 3252875 h 6858000"/>
              <a:gd name="connsiteX182" fmla="*/ 7264185 w 12191999"/>
              <a:gd name="connsiteY182" fmla="*/ 3276594 h 6858000"/>
              <a:gd name="connsiteX183" fmla="*/ 7264185 w 12191999"/>
              <a:gd name="connsiteY183" fmla="*/ 3285403 h 6858000"/>
              <a:gd name="connsiteX184" fmla="*/ 7268928 w 12191999"/>
              <a:gd name="connsiteY184" fmla="*/ 3308444 h 6858000"/>
              <a:gd name="connsiteX185" fmla="*/ 7282482 w 12191999"/>
              <a:gd name="connsiteY185" fmla="*/ 3324030 h 6858000"/>
              <a:gd name="connsiteX186" fmla="*/ 7302811 w 12191999"/>
              <a:gd name="connsiteY186" fmla="*/ 3329451 h 6858000"/>
              <a:gd name="connsiteX187" fmla="*/ 7329240 w 12191999"/>
              <a:gd name="connsiteY187" fmla="*/ 3320641 h 6858000"/>
              <a:gd name="connsiteX188" fmla="*/ 7340102 w 12191999"/>
              <a:gd name="connsiteY188" fmla="*/ 3298279 h 6858000"/>
              <a:gd name="connsiteX189" fmla="*/ 7340760 w 12191999"/>
              <a:gd name="connsiteY189" fmla="*/ 3298279 h 6858000"/>
              <a:gd name="connsiteX190" fmla="*/ 7340760 w 12191999"/>
              <a:gd name="connsiteY190" fmla="*/ 3296923 h 6858000"/>
              <a:gd name="connsiteX191" fmla="*/ 7340102 w 12191999"/>
              <a:gd name="connsiteY191" fmla="*/ 3298279 h 6858000"/>
              <a:gd name="connsiteX192" fmla="*/ 7323819 w 12191999"/>
              <a:gd name="connsiteY192" fmla="*/ 3298279 h 6858000"/>
              <a:gd name="connsiteX193" fmla="*/ 7317720 w 12191999"/>
              <a:gd name="connsiteY193" fmla="*/ 3313187 h 6858000"/>
              <a:gd name="connsiteX194" fmla="*/ 7302811 w 12191999"/>
              <a:gd name="connsiteY194" fmla="*/ 3317253 h 6858000"/>
              <a:gd name="connsiteX195" fmla="*/ 7286548 w 12191999"/>
              <a:gd name="connsiteY195" fmla="*/ 3309121 h 6858000"/>
              <a:gd name="connsiteX196" fmla="*/ 7281126 w 12191999"/>
              <a:gd name="connsiteY196" fmla="*/ 3285403 h 6858000"/>
              <a:gd name="connsiteX197" fmla="*/ 7281126 w 12191999"/>
              <a:gd name="connsiteY197" fmla="*/ 3276594 h 6858000"/>
              <a:gd name="connsiteX198" fmla="*/ 7287225 w 12191999"/>
              <a:gd name="connsiteY198" fmla="*/ 3253553 h 6858000"/>
              <a:gd name="connsiteX199" fmla="*/ 7304167 w 12191999"/>
              <a:gd name="connsiteY199" fmla="*/ 3245421 h 6858000"/>
              <a:gd name="connsiteX200" fmla="*/ 7318398 w 12191999"/>
              <a:gd name="connsiteY200" fmla="*/ 3250165 h 6858000"/>
              <a:gd name="connsiteX201" fmla="*/ 7324497 w 12191999"/>
              <a:gd name="connsiteY201" fmla="*/ 3265073 h 6858000"/>
              <a:gd name="connsiteX202" fmla="*/ 7340760 w 12191999"/>
              <a:gd name="connsiteY202" fmla="*/ 3265073 h 6858000"/>
              <a:gd name="connsiteX203" fmla="*/ 7329240 w 12191999"/>
              <a:gd name="connsiteY203" fmla="*/ 3240678 h 6858000"/>
              <a:gd name="connsiteX204" fmla="*/ 7303489 w 12191999"/>
              <a:gd name="connsiteY204" fmla="*/ 3231868 h 6858000"/>
              <a:gd name="connsiteX205" fmla="*/ 6856912 w 12191999"/>
              <a:gd name="connsiteY205" fmla="*/ 3231868 h 6858000"/>
              <a:gd name="connsiteX206" fmla="*/ 6832516 w 12191999"/>
              <a:gd name="connsiteY206" fmla="*/ 3239322 h 6858000"/>
              <a:gd name="connsiteX207" fmla="*/ 6823029 w 12191999"/>
              <a:gd name="connsiteY207" fmla="*/ 3258297 h 6858000"/>
              <a:gd name="connsiteX208" fmla="*/ 6835905 w 12191999"/>
              <a:gd name="connsiteY208" fmla="*/ 3279982 h 6858000"/>
              <a:gd name="connsiteX209" fmla="*/ 6854202 w 12191999"/>
              <a:gd name="connsiteY209" fmla="*/ 3287436 h 6858000"/>
              <a:gd name="connsiteX210" fmla="*/ 6870465 w 12191999"/>
              <a:gd name="connsiteY210" fmla="*/ 3294213 h 6858000"/>
              <a:gd name="connsiteX211" fmla="*/ 6875209 w 12191999"/>
              <a:gd name="connsiteY211" fmla="*/ 3303700 h 6858000"/>
              <a:gd name="connsiteX212" fmla="*/ 6870465 w 12191999"/>
              <a:gd name="connsiteY212" fmla="*/ 3312509 h 6858000"/>
              <a:gd name="connsiteX213" fmla="*/ 6857590 w 12191999"/>
              <a:gd name="connsiteY213" fmla="*/ 3315898 h 6858000"/>
              <a:gd name="connsiteX214" fmla="*/ 6842004 w 12191999"/>
              <a:gd name="connsiteY214" fmla="*/ 3311154 h 6858000"/>
              <a:gd name="connsiteX215" fmla="*/ 6836582 w 12191999"/>
              <a:gd name="connsiteY215" fmla="*/ 3298279 h 6858000"/>
              <a:gd name="connsiteX216" fmla="*/ 6819641 w 12191999"/>
              <a:gd name="connsiteY216" fmla="*/ 3298279 h 6858000"/>
              <a:gd name="connsiteX217" fmla="*/ 6824384 w 12191999"/>
              <a:gd name="connsiteY217" fmla="*/ 3313865 h 6858000"/>
              <a:gd name="connsiteX218" fmla="*/ 6837938 w 12191999"/>
              <a:gd name="connsiteY218" fmla="*/ 3324707 h 6858000"/>
              <a:gd name="connsiteX219" fmla="*/ 6856912 w 12191999"/>
              <a:gd name="connsiteY219" fmla="*/ 3328773 h 6858000"/>
              <a:gd name="connsiteX220" fmla="*/ 6881986 w 12191999"/>
              <a:gd name="connsiteY220" fmla="*/ 3321997 h 6858000"/>
              <a:gd name="connsiteX221" fmla="*/ 6891473 w 12191999"/>
              <a:gd name="connsiteY221" fmla="*/ 3303022 h 6858000"/>
              <a:gd name="connsiteX222" fmla="*/ 6888085 w 12191999"/>
              <a:gd name="connsiteY222" fmla="*/ 3290147 h 6858000"/>
              <a:gd name="connsiteX223" fmla="*/ 6877920 w 12191999"/>
              <a:gd name="connsiteY223" fmla="*/ 3280659 h 6858000"/>
              <a:gd name="connsiteX224" fmla="*/ 6860301 w 12191999"/>
              <a:gd name="connsiteY224" fmla="*/ 3273205 h 6858000"/>
              <a:gd name="connsiteX225" fmla="*/ 6844037 w 12191999"/>
              <a:gd name="connsiteY225" fmla="*/ 3266429 h 6858000"/>
              <a:gd name="connsiteX226" fmla="*/ 6839293 w 12191999"/>
              <a:gd name="connsiteY226" fmla="*/ 3257619 h 6858000"/>
              <a:gd name="connsiteX227" fmla="*/ 6844037 w 12191999"/>
              <a:gd name="connsiteY227" fmla="*/ 3248132 h 6858000"/>
              <a:gd name="connsiteX228" fmla="*/ 6856912 w 12191999"/>
              <a:gd name="connsiteY228" fmla="*/ 3244744 h 6858000"/>
              <a:gd name="connsiteX229" fmla="*/ 6870465 w 12191999"/>
              <a:gd name="connsiteY229" fmla="*/ 3248809 h 6858000"/>
              <a:gd name="connsiteX230" fmla="*/ 6875209 w 12191999"/>
              <a:gd name="connsiteY230" fmla="*/ 3260330 h 6858000"/>
              <a:gd name="connsiteX231" fmla="*/ 6891473 w 12191999"/>
              <a:gd name="connsiteY231" fmla="*/ 3260330 h 6858000"/>
              <a:gd name="connsiteX232" fmla="*/ 6886729 w 12191999"/>
              <a:gd name="connsiteY232" fmla="*/ 3245421 h 6858000"/>
              <a:gd name="connsiteX233" fmla="*/ 6874531 w 12191999"/>
              <a:gd name="connsiteY233" fmla="*/ 3235256 h 6858000"/>
              <a:gd name="connsiteX234" fmla="*/ 6856912 w 12191999"/>
              <a:gd name="connsiteY234" fmla="*/ 3231868 h 6858000"/>
              <a:gd name="connsiteX235" fmla="*/ 6398136 w 12191999"/>
              <a:gd name="connsiteY235" fmla="*/ 3231868 h 6858000"/>
              <a:gd name="connsiteX236" fmla="*/ 6377128 w 12191999"/>
              <a:gd name="connsiteY236" fmla="*/ 3237289 h 6858000"/>
              <a:gd name="connsiteX237" fmla="*/ 6362898 w 12191999"/>
              <a:gd name="connsiteY237" fmla="*/ 3253553 h 6858000"/>
              <a:gd name="connsiteX238" fmla="*/ 6358154 w 12191999"/>
              <a:gd name="connsiteY238" fmla="*/ 3277949 h 6858000"/>
              <a:gd name="connsiteX239" fmla="*/ 6358154 w 12191999"/>
              <a:gd name="connsiteY239" fmla="*/ 3283370 h 6858000"/>
              <a:gd name="connsiteX240" fmla="*/ 6362898 w 12191999"/>
              <a:gd name="connsiteY240" fmla="*/ 3307766 h 6858000"/>
              <a:gd name="connsiteX241" fmla="*/ 6377128 w 12191999"/>
              <a:gd name="connsiteY241" fmla="*/ 3324030 h 6858000"/>
              <a:gd name="connsiteX242" fmla="*/ 6398136 w 12191999"/>
              <a:gd name="connsiteY242" fmla="*/ 3329451 h 6858000"/>
              <a:gd name="connsiteX243" fmla="*/ 6419143 w 12191999"/>
              <a:gd name="connsiteY243" fmla="*/ 3324030 h 6858000"/>
              <a:gd name="connsiteX244" fmla="*/ 6432697 w 12191999"/>
              <a:gd name="connsiteY244" fmla="*/ 3307766 h 6858000"/>
              <a:gd name="connsiteX245" fmla="*/ 6437440 w 12191999"/>
              <a:gd name="connsiteY245" fmla="*/ 3283370 h 6858000"/>
              <a:gd name="connsiteX246" fmla="*/ 6438118 w 12191999"/>
              <a:gd name="connsiteY246" fmla="*/ 3283370 h 6858000"/>
              <a:gd name="connsiteX247" fmla="*/ 6438118 w 12191999"/>
              <a:gd name="connsiteY247" fmla="*/ 3277949 h 6858000"/>
              <a:gd name="connsiteX248" fmla="*/ 6433374 w 12191999"/>
              <a:gd name="connsiteY248" fmla="*/ 3253553 h 6858000"/>
              <a:gd name="connsiteX249" fmla="*/ 6419143 w 12191999"/>
              <a:gd name="connsiteY249" fmla="*/ 3237289 h 6858000"/>
              <a:gd name="connsiteX250" fmla="*/ 6398136 w 12191999"/>
              <a:gd name="connsiteY250" fmla="*/ 3231868 h 6858000"/>
              <a:gd name="connsiteX251" fmla="*/ 4832065 w 12191999"/>
              <a:gd name="connsiteY251" fmla="*/ 3231868 h 6858000"/>
              <a:gd name="connsiteX252" fmla="*/ 4811057 w 12191999"/>
              <a:gd name="connsiteY252" fmla="*/ 3237289 h 6858000"/>
              <a:gd name="connsiteX253" fmla="*/ 4796828 w 12191999"/>
              <a:gd name="connsiteY253" fmla="*/ 3253553 h 6858000"/>
              <a:gd name="connsiteX254" fmla="*/ 4792083 w 12191999"/>
              <a:gd name="connsiteY254" fmla="*/ 3277949 h 6858000"/>
              <a:gd name="connsiteX255" fmla="*/ 4792083 w 12191999"/>
              <a:gd name="connsiteY255" fmla="*/ 3283370 h 6858000"/>
              <a:gd name="connsiteX256" fmla="*/ 4796828 w 12191999"/>
              <a:gd name="connsiteY256" fmla="*/ 3307766 h 6858000"/>
              <a:gd name="connsiteX257" fmla="*/ 4811057 w 12191999"/>
              <a:gd name="connsiteY257" fmla="*/ 3324030 h 6858000"/>
              <a:gd name="connsiteX258" fmla="*/ 4832065 w 12191999"/>
              <a:gd name="connsiteY258" fmla="*/ 3329451 h 6858000"/>
              <a:gd name="connsiteX259" fmla="*/ 4853072 w 12191999"/>
              <a:gd name="connsiteY259" fmla="*/ 3324030 h 6858000"/>
              <a:gd name="connsiteX260" fmla="*/ 4866626 w 12191999"/>
              <a:gd name="connsiteY260" fmla="*/ 3307766 h 6858000"/>
              <a:gd name="connsiteX261" fmla="*/ 4871369 w 12191999"/>
              <a:gd name="connsiteY261" fmla="*/ 3283370 h 6858000"/>
              <a:gd name="connsiteX262" fmla="*/ 4872047 w 12191999"/>
              <a:gd name="connsiteY262" fmla="*/ 3283370 h 6858000"/>
              <a:gd name="connsiteX263" fmla="*/ 4872047 w 12191999"/>
              <a:gd name="connsiteY263" fmla="*/ 3277949 h 6858000"/>
              <a:gd name="connsiteX264" fmla="*/ 4867303 w 12191999"/>
              <a:gd name="connsiteY264" fmla="*/ 3253553 h 6858000"/>
              <a:gd name="connsiteX265" fmla="*/ 4853072 w 12191999"/>
              <a:gd name="connsiteY265" fmla="*/ 3237289 h 6858000"/>
              <a:gd name="connsiteX266" fmla="*/ 4832065 w 12191999"/>
              <a:gd name="connsiteY266" fmla="*/ 3231868 h 6858000"/>
              <a:gd name="connsiteX267" fmla="*/ 6570939 w 12191999"/>
              <a:gd name="connsiteY267" fmla="*/ 3231190 h 6858000"/>
              <a:gd name="connsiteX268" fmla="*/ 6541800 w 12191999"/>
              <a:gd name="connsiteY268" fmla="*/ 3243388 h 6858000"/>
              <a:gd name="connsiteX269" fmla="*/ 6531635 w 12191999"/>
              <a:gd name="connsiteY269" fmla="*/ 3277271 h 6858000"/>
              <a:gd name="connsiteX270" fmla="*/ 6531635 w 12191999"/>
              <a:gd name="connsiteY270" fmla="*/ 3284725 h 6858000"/>
              <a:gd name="connsiteX271" fmla="*/ 6537056 w 12191999"/>
              <a:gd name="connsiteY271" fmla="*/ 3308443 h 6858000"/>
              <a:gd name="connsiteX272" fmla="*/ 6551287 w 12191999"/>
              <a:gd name="connsiteY272" fmla="*/ 3324029 h 6858000"/>
              <a:gd name="connsiteX273" fmla="*/ 6572295 w 12191999"/>
              <a:gd name="connsiteY273" fmla="*/ 3329451 h 6858000"/>
              <a:gd name="connsiteX274" fmla="*/ 6593302 w 12191999"/>
              <a:gd name="connsiteY274" fmla="*/ 3326062 h 6858000"/>
              <a:gd name="connsiteX275" fmla="*/ 6607533 w 12191999"/>
              <a:gd name="connsiteY275" fmla="*/ 3315897 h 6858000"/>
              <a:gd name="connsiteX276" fmla="*/ 6607533 w 12191999"/>
              <a:gd name="connsiteY276" fmla="*/ 3279304 h 6858000"/>
              <a:gd name="connsiteX277" fmla="*/ 6571617 w 12191999"/>
              <a:gd name="connsiteY277" fmla="*/ 3279304 h 6858000"/>
              <a:gd name="connsiteX278" fmla="*/ 6571617 w 12191999"/>
              <a:gd name="connsiteY278" fmla="*/ 3292179 h 6858000"/>
              <a:gd name="connsiteX279" fmla="*/ 6591269 w 12191999"/>
              <a:gd name="connsiteY279" fmla="*/ 3292179 h 6858000"/>
              <a:gd name="connsiteX280" fmla="*/ 6591269 w 12191999"/>
              <a:gd name="connsiteY280" fmla="*/ 3311154 h 6858000"/>
              <a:gd name="connsiteX281" fmla="*/ 6572972 w 12191999"/>
              <a:gd name="connsiteY281" fmla="*/ 3317253 h 6858000"/>
              <a:gd name="connsiteX282" fmla="*/ 6554675 w 12191999"/>
              <a:gd name="connsiteY282" fmla="*/ 3308443 h 6858000"/>
              <a:gd name="connsiteX283" fmla="*/ 6547899 w 12191999"/>
              <a:gd name="connsiteY283" fmla="*/ 3284725 h 6858000"/>
              <a:gd name="connsiteX284" fmla="*/ 6547899 w 12191999"/>
              <a:gd name="connsiteY284" fmla="*/ 3277271 h 6858000"/>
              <a:gd name="connsiteX285" fmla="*/ 6553998 w 12191999"/>
              <a:gd name="connsiteY285" fmla="*/ 3253553 h 6858000"/>
              <a:gd name="connsiteX286" fmla="*/ 6570939 w 12191999"/>
              <a:gd name="connsiteY286" fmla="*/ 3245421 h 6858000"/>
              <a:gd name="connsiteX287" fmla="*/ 6591269 w 12191999"/>
              <a:gd name="connsiteY287" fmla="*/ 3262362 h 6858000"/>
              <a:gd name="connsiteX288" fmla="*/ 6607533 w 12191999"/>
              <a:gd name="connsiteY288" fmla="*/ 3262362 h 6858000"/>
              <a:gd name="connsiteX289" fmla="*/ 6596013 w 12191999"/>
              <a:gd name="connsiteY289" fmla="*/ 3239322 h 6858000"/>
              <a:gd name="connsiteX290" fmla="*/ 6570939 w 12191999"/>
              <a:gd name="connsiteY290" fmla="*/ 3231190 h 6858000"/>
              <a:gd name="connsiteX291" fmla="*/ 6488943 w 12191999"/>
              <a:gd name="connsiteY291" fmla="*/ 3019083 h 6858000"/>
              <a:gd name="connsiteX292" fmla="*/ 6550610 w 12191999"/>
              <a:gd name="connsiteY292" fmla="*/ 3019083 h 6858000"/>
              <a:gd name="connsiteX293" fmla="*/ 6550610 w 12191999"/>
              <a:gd name="connsiteY293" fmla="*/ 3076006 h 6858000"/>
              <a:gd name="connsiteX294" fmla="*/ 6488943 w 12191999"/>
              <a:gd name="connsiteY294" fmla="*/ 3076006 h 6858000"/>
              <a:gd name="connsiteX295" fmla="*/ 6476745 w 12191999"/>
              <a:gd name="connsiteY295" fmla="*/ 3063808 h 6858000"/>
              <a:gd name="connsiteX296" fmla="*/ 6476745 w 12191999"/>
              <a:gd name="connsiteY296" fmla="*/ 3031281 h 6858000"/>
              <a:gd name="connsiteX297" fmla="*/ 6488943 w 12191999"/>
              <a:gd name="connsiteY297" fmla="*/ 3019083 h 6858000"/>
              <a:gd name="connsiteX298" fmla="*/ 5127526 w 12191999"/>
              <a:gd name="connsiteY298" fmla="*/ 2880163 h 6858000"/>
              <a:gd name="connsiteX299" fmla="*/ 5176316 w 12191999"/>
              <a:gd name="connsiteY299" fmla="*/ 2880163 h 6858000"/>
              <a:gd name="connsiteX300" fmla="*/ 5188515 w 12191999"/>
              <a:gd name="connsiteY300" fmla="*/ 2892361 h 6858000"/>
              <a:gd name="connsiteX301" fmla="*/ 5188515 w 12191999"/>
              <a:gd name="connsiteY301" fmla="*/ 2937764 h 6858000"/>
              <a:gd name="connsiteX302" fmla="*/ 5115327 w 12191999"/>
              <a:gd name="connsiteY302" fmla="*/ 2937764 h 6858000"/>
              <a:gd name="connsiteX303" fmla="*/ 5115327 w 12191999"/>
              <a:gd name="connsiteY303" fmla="*/ 2892361 h 6858000"/>
              <a:gd name="connsiteX304" fmla="*/ 5127526 w 12191999"/>
              <a:gd name="connsiteY304" fmla="*/ 2880163 h 6858000"/>
              <a:gd name="connsiteX305" fmla="*/ 7131364 w 12191999"/>
              <a:gd name="connsiteY305" fmla="*/ 2798166 h 6858000"/>
              <a:gd name="connsiteX306" fmla="*/ 7131364 w 12191999"/>
              <a:gd name="connsiteY306" fmla="*/ 3158003 h 6858000"/>
              <a:gd name="connsiteX307" fmla="*/ 7262152 w 12191999"/>
              <a:gd name="connsiteY307" fmla="*/ 3158003 h 6858000"/>
              <a:gd name="connsiteX308" fmla="*/ 7262830 w 12191999"/>
              <a:gd name="connsiteY308" fmla="*/ 2879485 h 6858000"/>
              <a:gd name="connsiteX309" fmla="*/ 7291292 w 12191999"/>
              <a:gd name="connsiteY309" fmla="*/ 2879485 h 6858000"/>
              <a:gd name="connsiteX310" fmla="*/ 7310944 w 12191999"/>
              <a:gd name="connsiteY310" fmla="*/ 2904558 h 6858000"/>
              <a:gd name="connsiteX311" fmla="*/ 7369223 w 12191999"/>
              <a:gd name="connsiteY311" fmla="*/ 3158003 h 6858000"/>
              <a:gd name="connsiteX312" fmla="*/ 7503399 w 12191999"/>
              <a:gd name="connsiteY312" fmla="*/ 3158003 h 6858000"/>
              <a:gd name="connsiteX313" fmla="*/ 7429534 w 12191999"/>
              <a:gd name="connsiteY313" fmla="*/ 2838826 h 6858000"/>
              <a:gd name="connsiteX314" fmla="*/ 7377354 w 12191999"/>
              <a:gd name="connsiteY314" fmla="*/ 2798166 h 6858000"/>
              <a:gd name="connsiteX315" fmla="*/ 7131364 w 12191999"/>
              <a:gd name="connsiteY315" fmla="*/ 2798166 h 6858000"/>
              <a:gd name="connsiteX316" fmla="*/ 6736966 w 12191999"/>
              <a:gd name="connsiteY316" fmla="*/ 2798166 h 6858000"/>
              <a:gd name="connsiteX317" fmla="*/ 6736966 w 12191999"/>
              <a:gd name="connsiteY317" fmla="*/ 3158003 h 6858000"/>
              <a:gd name="connsiteX318" fmla="*/ 6867754 w 12191999"/>
              <a:gd name="connsiteY318" fmla="*/ 3158003 h 6858000"/>
              <a:gd name="connsiteX319" fmla="*/ 6868432 w 12191999"/>
              <a:gd name="connsiteY319" fmla="*/ 3158003 h 6858000"/>
              <a:gd name="connsiteX320" fmla="*/ 6868432 w 12191999"/>
              <a:gd name="connsiteY320" fmla="*/ 2879485 h 6858000"/>
              <a:gd name="connsiteX321" fmla="*/ 6896894 w 12191999"/>
              <a:gd name="connsiteY321" fmla="*/ 2879485 h 6858000"/>
              <a:gd name="connsiteX322" fmla="*/ 6916546 w 12191999"/>
              <a:gd name="connsiteY322" fmla="*/ 2904558 h 6858000"/>
              <a:gd name="connsiteX323" fmla="*/ 6974825 w 12191999"/>
              <a:gd name="connsiteY323" fmla="*/ 3158003 h 6858000"/>
              <a:gd name="connsiteX324" fmla="*/ 7109001 w 12191999"/>
              <a:gd name="connsiteY324" fmla="*/ 3158003 h 6858000"/>
              <a:gd name="connsiteX325" fmla="*/ 7035136 w 12191999"/>
              <a:gd name="connsiteY325" fmla="*/ 2838826 h 6858000"/>
              <a:gd name="connsiteX326" fmla="*/ 6982957 w 12191999"/>
              <a:gd name="connsiteY326" fmla="*/ 2798166 h 6858000"/>
              <a:gd name="connsiteX327" fmla="*/ 6736966 w 12191999"/>
              <a:gd name="connsiteY327" fmla="*/ 2798166 h 6858000"/>
              <a:gd name="connsiteX328" fmla="*/ 6387294 w 12191999"/>
              <a:gd name="connsiteY328" fmla="*/ 2798166 h 6858000"/>
              <a:gd name="connsiteX329" fmla="*/ 6346634 w 12191999"/>
              <a:gd name="connsiteY329" fmla="*/ 2838826 h 6858000"/>
              <a:gd name="connsiteX330" fmla="*/ 6346634 w 12191999"/>
              <a:gd name="connsiteY330" fmla="*/ 2880840 h 6858000"/>
              <a:gd name="connsiteX331" fmla="*/ 6539090 w 12191999"/>
              <a:gd name="connsiteY331" fmla="*/ 2880840 h 6858000"/>
              <a:gd name="connsiteX332" fmla="*/ 6551287 w 12191999"/>
              <a:gd name="connsiteY332" fmla="*/ 2893038 h 6858000"/>
              <a:gd name="connsiteX333" fmla="*/ 6551287 w 12191999"/>
              <a:gd name="connsiteY333" fmla="*/ 2937764 h 6858000"/>
              <a:gd name="connsiteX334" fmla="*/ 6387294 w 12191999"/>
              <a:gd name="connsiteY334" fmla="*/ 2937764 h 6858000"/>
              <a:gd name="connsiteX335" fmla="*/ 6346634 w 12191999"/>
              <a:gd name="connsiteY335" fmla="*/ 2978423 h 6858000"/>
              <a:gd name="connsiteX336" fmla="*/ 6346634 w 12191999"/>
              <a:gd name="connsiteY336" fmla="*/ 3117343 h 6858000"/>
              <a:gd name="connsiteX337" fmla="*/ 6387294 w 12191999"/>
              <a:gd name="connsiteY337" fmla="*/ 3158003 h 6858000"/>
              <a:gd name="connsiteX338" fmla="*/ 6681398 w 12191999"/>
              <a:gd name="connsiteY338" fmla="*/ 3158003 h 6858000"/>
              <a:gd name="connsiteX339" fmla="*/ 6681398 w 12191999"/>
              <a:gd name="connsiteY339" fmla="*/ 2838826 h 6858000"/>
              <a:gd name="connsiteX340" fmla="*/ 6640738 w 12191999"/>
              <a:gd name="connsiteY340" fmla="*/ 2798166 h 6858000"/>
              <a:gd name="connsiteX341" fmla="*/ 5746228 w 12191999"/>
              <a:gd name="connsiteY341" fmla="*/ 2798166 h 6858000"/>
              <a:gd name="connsiteX342" fmla="*/ 5746228 w 12191999"/>
              <a:gd name="connsiteY342" fmla="*/ 3158003 h 6858000"/>
              <a:gd name="connsiteX343" fmla="*/ 5877016 w 12191999"/>
              <a:gd name="connsiteY343" fmla="*/ 3158003 h 6858000"/>
              <a:gd name="connsiteX344" fmla="*/ 5877016 w 12191999"/>
              <a:gd name="connsiteY344" fmla="*/ 2880163 h 6858000"/>
              <a:gd name="connsiteX345" fmla="*/ 5950881 w 12191999"/>
              <a:gd name="connsiteY345" fmla="*/ 2880163 h 6858000"/>
              <a:gd name="connsiteX346" fmla="*/ 5951559 w 12191999"/>
              <a:gd name="connsiteY346" fmla="*/ 3158003 h 6858000"/>
              <a:gd name="connsiteX347" fmla="*/ 6082347 w 12191999"/>
              <a:gd name="connsiteY347" fmla="*/ 3158003 h 6858000"/>
              <a:gd name="connsiteX348" fmla="*/ 6082347 w 12191999"/>
              <a:gd name="connsiteY348" fmla="*/ 2880163 h 6858000"/>
              <a:gd name="connsiteX349" fmla="*/ 6110809 w 12191999"/>
              <a:gd name="connsiteY349" fmla="*/ 2880163 h 6858000"/>
              <a:gd name="connsiteX350" fmla="*/ 6130461 w 12191999"/>
              <a:gd name="connsiteY350" fmla="*/ 2905236 h 6858000"/>
              <a:gd name="connsiteX351" fmla="*/ 6188062 w 12191999"/>
              <a:gd name="connsiteY351" fmla="*/ 3158003 h 6858000"/>
              <a:gd name="connsiteX352" fmla="*/ 6322239 w 12191999"/>
              <a:gd name="connsiteY352" fmla="*/ 3158003 h 6858000"/>
              <a:gd name="connsiteX353" fmla="*/ 6248374 w 12191999"/>
              <a:gd name="connsiteY353" fmla="*/ 2838826 h 6858000"/>
              <a:gd name="connsiteX354" fmla="*/ 6196194 w 12191999"/>
              <a:gd name="connsiteY354" fmla="*/ 2798166 h 6858000"/>
              <a:gd name="connsiteX355" fmla="*/ 5746228 w 12191999"/>
              <a:gd name="connsiteY355" fmla="*/ 2798166 h 6858000"/>
              <a:gd name="connsiteX356" fmla="*/ 5025876 w 12191999"/>
              <a:gd name="connsiteY356" fmla="*/ 2798166 h 6858000"/>
              <a:gd name="connsiteX357" fmla="*/ 4985216 w 12191999"/>
              <a:gd name="connsiteY357" fmla="*/ 2838826 h 6858000"/>
              <a:gd name="connsiteX358" fmla="*/ 4985216 w 12191999"/>
              <a:gd name="connsiteY358" fmla="*/ 3117343 h 6858000"/>
              <a:gd name="connsiteX359" fmla="*/ 5025876 w 12191999"/>
              <a:gd name="connsiteY359" fmla="*/ 3158003 h 6858000"/>
              <a:gd name="connsiteX360" fmla="*/ 5279320 w 12191999"/>
              <a:gd name="connsiteY360" fmla="*/ 3158003 h 6858000"/>
              <a:gd name="connsiteX361" fmla="*/ 5319981 w 12191999"/>
              <a:gd name="connsiteY361" fmla="*/ 3117343 h 6858000"/>
              <a:gd name="connsiteX362" fmla="*/ 5319981 w 12191999"/>
              <a:gd name="connsiteY362" fmla="*/ 3076684 h 6858000"/>
              <a:gd name="connsiteX363" fmla="*/ 5127526 w 12191999"/>
              <a:gd name="connsiteY363" fmla="*/ 3076684 h 6858000"/>
              <a:gd name="connsiteX364" fmla="*/ 5115327 w 12191999"/>
              <a:gd name="connsiteY364" fmla="*/ 3064486 h 6858000"/>
              <a:gd name="connsiteX365" fmla="*/ 5115327 w 12191999"/>
              <a:gd name="connsiteY365" fmla="*/ 3019761 h 6858000"/>
              <a:gd name="connsiteX366" fmla="*/ 5319981 w 12191999"/>
              <a:gd name="connsiteY366" fmla="*/ 3019761 h 6858000"/>
              <a:gd name="connsiteX367" fmla="*/ 5319981 w 12191999"/>
              <a:gd name="connsiteY367" fmla="*/ 2838826 h 6858000"/>
              <a:gd name="connsiteX368" fmla="*/ 5279320 w 12191999"/>
              <a:gd name="connsiteY368" fmla="*/ 2798166 h 6858000"/>
              <a:gd name="connsiteX369" fmla="*/ 5561227 w 12191999"/>
              <a:gd name="connsiteY369" fmla="*/ 2651114 h 6858000"/>
              <a:gd name="connsiteX370" fmla="*/ 5560549 w 12191999"/>
              <a:gd name="connsiteY370" fmla="*/ 3158003 h 6858000"/>
              <a:gd name="connsiteX371" fmla="*/ 5692015 w 12191999"/>
              <a:gd name="connsiteY371" fmla="*/ 3158003 h 6858000"/>
              <a:gd name="connsiteX372" fmla="*/ 5692015 w 12191999"/>
              <a:gd name="connsiteY372" fmla="*/ 2651114 h 6858000"/>
              <a:gd name="connsiteX373" fmla="*/ 5374870 w 12191999"/>
              <a:gd name="connsiteY373" fmla="*/ 2651114 h 6858000"/>
              <a:gd name="connsiteX374" fmla="*/ 5374870 w 12191999"/>
              <a:gd name="connsiteY374" fmla="*/ 3158003 h 6858000"/>
              <a:gd name="connsiteX375" fmla="*/ 5505658 w 12191999"/>
              <a:gd name="connsiteY375" fmla="*/ 3158003 h 6858000"/>
              <a:gd name="connsiteX376" fmla="*/ 5505658 w 12191999"/>
              <a:gd name="connsiteY376" fmla="*/ 2651114 h 6858000"/>
              <a:gd name="connsiteX377" fmla="*/ 4589463 w 12191999"/>
              <a:gd name="connsiteY377" fmla="*/ 2650436 h 6858000"/>
              <a:gd name="connsiteX378" fmla="*/ 4589463 w 12191999"/>
              <a:gd name="connsiteY378" fmla="*/ 3158003 h 6858000"/>
              <a:gd name="connsiteX379" fmla="*/ 4720251 w 12191999"/>
              <a:gd name="connsiteY379" fmla="*/ 3158003 h 6858000"/>
              <a:gd name="connsiteX380" fmla="*/ 4720929 w 12191999"/>
              <a:gd name="connsiteY380" fmla="*/ 2878807 h 6858000"/>
              <a:gd name="connsiteX381" fmla="*/ 4749391 w 12191999"/>
              <a:gd name="connsiteY381" fmla="*/ 2878807 h 6858000"/>
              <a:gd name="connsiteX382" fmla="*/ 4769043 w 12191999"/>
              <a:gd name="connsiteY382" fmla="*/ 2903881 h 6858000"/>
              <a:gd name="connsiteX383" fmla="*/ 4827322 w 12191999"/>
              <a:gd name="connsiteY383" fmla="*/ 3157325 h 6858000"/>
              <a:gd name="connsiteX384" fmla="*/ 4961498 w 12191999"/>
              <a:gd name="connsiteY384" fmla="*/ 3157325 h 6858000"/>
              <a:gd name="connsiteX385" fmla="*/ 4887633 w 12191999"/>
              <a:gd name="connsiteY385" fmla="*/ 2838148 h 6858000"/>
              <a:gd name="connsiteX386" fmla="*/ 4835453 w 12191999"/>
              <a:gd name="connsiteY386" fmla="*/ 2797488 h 6858000"/>
              <a:gd name="connsiteX387" fmla="*/ 4720929 w 12191999"/>
              <a:gd name="connsiteY387" fmla="*/ 2797488 h 6858000"/>
              <a:gd name="connsiteX388" fmla="*/ 4720251 w 12191999"/>
              <a:gd name="connsiteY388" fmla="*/ 2650436 h 6858000"/>
              <a:gd name="connsiteX389" fmla="*/ 7537283 w 12191999"/>
              <a:gd name="connsiteY389" fmla="*/ 2567085 h 6858000"/>
              <a:gd name="connsiteX390" fmla="*/ 7647741 w 12191999"/>
              <a:gd name="connsiteY390" fmla="*/ 2678221 h 6858000"/>
              <a:gd name="connsiteX391" fmla="*/ 7535927 w 12191999"/>
              <a:gd name="connsiteY391" fmla="*/ 2790712 h 6858000"/>
              <a:gd name="connsiteX392" fmla="*/ 7480359 w 12191999"/>
              <a:gd name="connsiteY392" fmla="*/ 2775804 h 6858000"/>
              <a:gd name="connsiteX393" fmla="*/ 7502722 w 12191999"/>
              <a:gd name="connsiteY393" fmla="*/ 2773093 h 6858000"/>
              <a:gd name="connsiteX394" fmla="*/ 7524407 w 12191999"/>
              <a:gd name="connsiteY394" fmla="*/ 2765639 h 6858000"/>
              <a:gd name="connsiteX395" fmla="*/ 7550836 w 12191999"/>
              <a:gd name="connsiteY395" fmla="*/ 2748020 h 6858000"/>
              <a:gd name="connsiteX396" fmla="*/ 7569810 w 12191999"/>
              <a:gd name="connsiteY396" fmla="*/ 2731078 h 6858000"/>
              <a:gd name="connsiteX397" fmla="*/ 7592851 w 12191999"/>
              <a:gd name="connsiteY397" fmla="*/ 2718203 h 6858000"/>
              <a:gd name="connsiteX398" fmla="*/ 7601660 w 12191999"/>
              <a:gd name="connsiteY398" fmla="*/ 2716170 h 6858000"/>
              <a:gd name="connsiteX399" fmla="*/ 7617924 w 12191999"/>
              <a:gd name="connsiteY399" fmla="*/ 2712104 h 6858000"/>
              <a:gd name="connsiteX400" fmla="*/ 7630122 w 12191999"/>
              <a:gd name="connsiteY400" fmla="*/ 2708716 h 6858000"/>
              <a:gd name="connsiteX401" fmla="*/ 7631477 w 12191999"/>
              <a:gd name="connsiteY401" fmla="*/ 2707360 h 6858000"/>
              <a:gd name="connsiteX402" fmla="*/ 7629444 w 12191999"/>
              <a:gd name="connsiteY402" fmla="*/ 2706005 h 6858000"/>
              <a:gd name="connsiteX403" fmla="*/ 7613858 w 12191999"/>
              <a:gd name="connsiteY403" fmla="*/ 2700584 h 6858000"/>
              <a:gd name="connsiteX404" fmla="*/ 7603693 w 12191999"/>
              <a:gd name="connsiteY404" fmla="*/ 2700584 h 6858000"/>
              <a:gd name="connsiteX405" fmla="*/ 7590140 w 12191999"/>
              <a:gd name="connsiteY405" fmla="*/ 2708038 h 6858000"/>
              <a:gd name="connsiteX406" fmla="*/ 7568455 w 12191999"/>
              <a:gd name="connsiteY406" fmla="*/ 2720913 h 6858000"/>
              <a:gd name="connsiteX407" fmla="*/ 7550836 w 12191999"/>
              <a:gd name="connsiteY407" fmla="*/ 2725657 h 6858000"/>
              <a:gd name="connsiteX408" fmla="*/ 7546092 w 12191999"/>
              <a:gd name="connsiteY408" fmla="*/ 2725657 h 6858000"/>
              <a:gd name="connsiteX409" fmla="*/ 7560323 w 12191999"/>
              <a:gd name="connsiteY409" fmla="*/ 2714137 h 6858000"/>
              <a:gd name="connsiteX410" fmla="*/ 7569810 w 12191999"/>
              <a:gd name="connsiteY410" fmla="*/ 2702617 h 6858000"/>
              <a:gd name="connsiteX411" fmla="*/ 7586752 w 12191999"/>
              <a:gd name="connsiteY411" fmla="*/ 2690419 h 6858000"/>
              <a:gd name="connsiteX412" fmla="*/ 7600983 w 12191999"/>
              <a:gd name="connsiteY412" fmla="*/ 2682287 h 6858000"/>
              <a:gd name="connsiteX413" fmla="*/ 7609792 w 12191999"/>
              <a:gd name="connsiteY413" fmla="*/ 2678899 h 6858000"/>
              <a:gd name="connsiteX414" fmla="*/ 7615891 w 12191999"/>
              <a:gd name="connsiteY414" fmla="*/ 2678221 h 6858000"/>
              <a:gd name="connsiteX415" fmla="*/ 7632833 w 12191999"/>
              <a:gd name="connsiteY415" fmla="*/ 2672122 h 6858000"/>
              <a:gd name="connsiteX416" fmla="*/ 7640287 w 12191999"/>
              <a:gd name="connsiteY416" fmla="*/ 2670089 h 6858000"/>
              <a:gd name="connsiteX417" fmla="*/ 7640964 w 12191999"/>
              <a:gd name="connsiteY417" fmla="*/ 2668734 h 6858000"/>
              <a:gd name="connsiteX418" fmla="*/ 7640287 w 12191999"/>
              <a:gd name="connsiteY418" fmla="*/ 2668056 h 6858000"/>
              <a:gd name="connsiteX419" fmla="*/ 7621312 w 12191999"/>
              <a:gd name="connsiteY419" fmla="*/ 2663312 h 6858000"/>
              <a:gd name="connsiteX420" fmla="*/ 7605726 w 12191999"/>
              <a:gd name="connsiteY420" fmla="*/ 2665345 h 6858000"/>
              <a:gd name="connsiteX421" fmla="*/ 7592173 w 12191999"/>
              <a:gd name="connsiteY421" fmla="*/ 2675510 h 6858000"/>
              <a:gd name="connsiteX422" fmla="*/ 7588107 w 12191999"/>
              <a:gd name="connsiteY422" fmla="*/ 2678221 h 6858000"/>
              <a:gd name="connsiteX423" fmla="*/ 7570488 w 12191999"/>
              <a:gd name="connsiteY423" fmla="*/ 2687031 h 6858000"/>
              <a:gd name="connsiteX424" fmla="*/ 7552191 w 12191999"/>
              <a:gd name="connsiteY424" fmla="*/ 2689741 h 6858000"/>
              <a:gd name="connsiteX425" fmla="*/ 7546770 w 12191999"/>
              <a:gd name="connsiteY425" fmla="*/ 2686353 h 6858000"/>
              <a:gd name="connsiteX426" fmla="*/ 7544737 w 12191999"/>
              <a:gd name="connsiteY426" fmla="*/ 2678221 h 6858000"/>
              <a:gd name="connsiteX427" fmla="*/ 7544059 w 12191999"/>
              <a:gd name="connsiteY427" fmla="*/ 2672800 h 6858000"/>
              <a:gd name="connsiteX428" fmla="*/ 7544737 w 12191999"/>
              <a:gd name="connsiteY428" fmla="*/ 2657214 h 6858000"/>
              <a:gd name="connsiteX429" fmla="*/ 7546092 w 12191999"/>
              <a:gd name="connsiteY429" fmla="*/ 2642983 h 6858000"/>
              <a:gd name="connsiteX430" fmla="*/ 7526440 w 12191999"/>
              <a:gd name="connsiteY430" fmla="*/ 2623331 h 6858000"/>
              <a:gd name="connsiteX431" fmla="*/ 7493235 w 12191999"/>
              <a:gd name="connsiteY431" fmla="*/ 2584704 h 6858000"/>
              <a:gd name="connsiteX432" fmla="*/ 7491202 w 12191999"/>
              <a:gd name="connsiteY432" fmla="*/ 2581316 h 6858000"/>
              <a:gd name="connsiteX433" fmla="*/ 7489169 w 12191999"/>
              <a:gd name="connsiteY433" fmla="*/ 2582671 h 6858000"/>
              <a:gd name="connsiteX434" fmla="*/ 7483070 w 12191999"/>
              <a:gd name="connsiteY434" fmla="*/ 2608422 h 6858000"/>
              <a:gd name="connsiteX435" fmla="*/ 7495945 w 12191999"/>
              <a:gd name="connsiteY435" fmla="*/ 2633495 h 6858000"/>
              <a:gd name="connsiteX436" fmla="*/ 7505433 w 12191999"/>
              <a:gd name="connsiteY436" fmla="*/ 2647049 h 6858000"/>
              <a:gd name="connsiteX437" fmla="*/ 7507466 w 12191999"/>
              <a:gd name="connsiteY437" fmla="*/ 2659924 h 6858000"/>
              <a:gd name="connsiteX438" fmla="*/ 7497301 w 12191999"/>
              <a:gd name="connsiteY438" fmla="*/ 2652470 h 6858000"/>
              <a:gd name="connsiteX439" fmla="*/ 7487136 w 12191999"/>
              <a:gd name="connsiteY439" fmla="*/ 2645016 h 6858000"/>
              <a:gd name="connsiteX440" fmla="*/ 7466128 w 12191999"/>
              <a:gd name="connsiteY440" fmla="*/ 2626719 h 6858000"/>
              <a:gd name="connsiteX441" fmla="*/ 7464773 w 12191999"/>
              <a:gd name="connsiteY441" fmla="*/ 2626719 h 6858000"/>
              <a:gd name="connsiteX442" fmla="*/ 7463418 w 12191999"/>
              <a:gd name="connsiteY442" fmla="*/ 2629429 h 6858000"/>
              <a:gd name="connsiteX443" fmla="*/ 7467484 w 12191999"/>
              <a:gd name="connsiteY443" fmla="*/ 2661957 h 6858000"/>
              <a:gd name="connsiteX444" fmla="*/ 7480359 w 12191999"/>
              <a:gd name="connsiteY444" fmla="*/ 2676866 h 6858000"/>
              <a:gd name="connsiteX445" fmla="*/ 7489846 w 12191999"/>
              <a:gd name="connsiteY445" fmla="*/ 2685675 h 6858000"/>
              <a:gd name="connsiteX446" fmla="*/ 7496623 w 12191999"/>
              <a:gd name="connsiteY446" fmla="*/ 2695840 h 6858000"/>
              <a:gd name="connsiteX447" fmla="*/ 7493912 w 12191999"/>
              <a:gd name="connsiteY447" fmla="*/ 2708716 h 6858000"/>
              <a:gd name="connsiteX448" fmla="*/ 7487814 w 12191999"/>
              <a:gd name="connsiteY448" fmla="*/ 2717525 h 6858000"/>
              <a:gd name="connsiteX449" fmla="*/ 7472905 w 12191999"/>
              <a:gd name="connsiteY449" fmla="*/ 2718880 h 6858000"/>
              <a:gd name="connsiteX450" fmla="*/ 7466128 w 12191999"/>
              <a:gd name="connsiteY450" fmla="*/ 2724979 h 6858000"/>
              <a:gd name="connsiteX451" fmla="*/ 7462740 w 12191999"/>
              <a:gd name="connsiteY451" fmla="*/ 2735822 h 6858000"/>
              <a:gd name="connsiteX452" fmla="*/ 7466806 w 12191999"/>
              <a:gd name="connsiteY452" fmla="*/ 2746665 h 6858000"/>
              <a:gd name="connsiteX453" fmla="*/ 7469517 w 12191999"/>
              <a:gd name="connsiteY453" fmla="*/ 2748697 h 6858000"/>
              <a:gd name="connsiteX454" fmla="*/ 7475616 w 12191999"/>
              <a:gd name="connsiteY454" fmla="*/ 2745987 h 6858000"/>
              <a:gd name="connsiteX455" fmla="*/ 7499334 w 12191999"/>
              <a:gd name="connsiteY455" fmla="*/ 2732434 h 6858000"/>
              <a:gd name="connsiteX456" fmla="*/ 7487136 w 12191999"/>
              <a:gd name="connsiteY456" fmla="*/ 2743954 h 6858000"/>
              <a:gd name="connsiteX457" fmla="*/ 7460029 w 12191999"/>
              <a:gd name="connsiteY457" fmla="*/ 2755474 h 6858000"/>
              <a:gd name="connsiteX458" fmla="*/ 7455963 w 12191999"/>
              <a:gd name="connsiteY458" fmla="*/ 2754119 h 6858000"/>
              <a:gd name="connsiteX459" fmla="*/ 7426146 w 12191999"/>
              <a:gd name="connsiteY459" fmla="*/ 2678221 h 6858000"/>
              <a:gd name="connsiteX460" fmla="*/ 7537283 w 12191999"/>
              <a:gd name="connsiteY460" fmla="*/ 2567085 h 6858000"/>
              <a:gd name="connsiteX461" fmla="*/ 7535927 w 12191999"/>
              <a:gd name="connsiteY461" fmla="*/ 2552854 h 6858000"/>
              <a:gd name="connsiteX462" fmla="*/ 7409205 w 12191999"/>
              <a:gd name="connsiteY462" fmla="*/ 2679576 h 6858000"/>
              <a:gd name="connsiteX463" fmla="*/ 7535927 w 12191999"/>
              <a:gd name="connsiteY463" fmla="*/ 2806299 h 6858000"/>
              <a:gd name="connsiteX464" fmla="*/ 7662650 w 12191999"/>
              <a:gd name="connsiteY464" fmla="*/ 2679576 h 6858000"/>
              <a:gd name="connsiteX465" fmla="*/ 7535927 w 12191999"/>
              <a:gd name="connsiteY465" fmla="*/ 2552854 h 6858000"/>
              <a:gd name="connsiteX466" fmla="*/ 0 w 12191999"/>
              <a:gd name="connsiteY466" fmla="*/ 0 h 6858000"/>
              <a:gd name="connsiteX467" fmla="*/ 12191999 w 12191999"/>
              <a:gd name="connsiteY467" fmla="*/ 0 h 6858000"/>
              <a:gd name="connsiteX468" fmla="*/ 12191999 w 12191999"/>
              <a:gd name="connsiteY468" fmla="*/ 6858000 h 6858000"/>
              <a:gd name="connsiteX469" fmla="*/ 0 w 12191999"/>
              <a:gd name="connsiteY46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Lst>
            <a:rect l="l" t="t" r="r" b="b"/>
            <a:pathLst>
              <a:path w="12191999" h="6858000">
                <a:moveTo>
                  <a:pt x="5788920" y="3246099"/>
                </a:moveTo>
                <a:lnTo>
                  <a:pt x="5801118" y="3246099"/>
                </a:lnTo>
                <a:cubicBezTo>
                  <a:pt x="5809927" y="3246099"/>
                  <a:pt x="5816026" y="3248810"/>
                  <a:pt x="5820770" y="3254231"/>
                </a:cubicBezTo>
                <a:cubicBezTo>
                  <a:pt x="5825513" y="3259652"/>
                  <a:pt x="5827546" y="3267784"/>
                  <a:pt x="5827546" y="3277949"/>
                </a:cubicBezTo>
                <a:lnTo>
                  <a:pt x="5827546" y="3283370"/>
                </a:lnTo>
                <a:cubicBezTo>
                  <a:pt x="5826869" y="3293535"/>
                  <a:pt x="5824836" y="3301667"/>
                  <a:pt x="5820092" y="3307089"/>
                </a:cubicBezTo>
                <a:cubicBezTo>
                  <a:pt x="5815348" y="3312510"/>
                  <a:pt x="5808572" y="3315220"/>
                  <a:pt x="5799762" y="3315220"/>
                </a:cubicBezTo>
                <a:lnTo>
                  <a:pt x="5788920" y="3315220"/>
                </a:lnTo>
                <a:close/>
                <a:moveTo>
                  <a:pt x="5303038" y="3246099"/>
                </a:moveTo>
                <a:lnTo>
                  <a:pt x="5315236" y="3246099"/>
                </a:lnTo>
                <a:cubicBezTo>
                  <a:pt x="5324045" y="3246099"/>
                  <a:pt x="5330144" y="3248810"/>
                  <a:pt x="5334888" y="3254231"/>
                </a:cubicBezTo>
                <a:cubicBezTo>
                  <a:pt x="5339631" y="3259652"/>
                  <a:pt x="5341664" y="3267784"/>
                  <a:pt x="5341664" y="3277949"/>
                </a:cubicBezTo>
                <a:lnTo>
                  <a:pt x="5341664" y="3283370"/>
                </a:lnTo>
                <a:cubicBezTo>
                  <a:pt x="5340987" y="3293535"/>
                  <a:pt x="5338954" y="3301667"/>
                  <a:pt x="5334210" y="3307089"/>
                </a:cubicBezTo>
                <a:cubicBezTo>
                  <a:pt x="5329467" y="3312510"/>
                  <a:pt x="5322690" y="3315220"/>
                  <a:pt x="5313880" y="3315220"/>
                </a:cubicBezTo>
                <a:lnTo>
                  <a:pt x="5303038" y="3315220"/>
                </a:lnTo>
                <a:close/>
                <a:moveTo>
                  <a:pt x="4985215" y="3246099"/>
                </a:moveTo>
                <a:lnTo>
                  <a:pt x="5002835" y="3246099"/>
                </a:lnTo>
                <a:cubicBezTo>
                  <a:pt x="5008256" y="3246099"/>
                  <a:pt x="5013000" y="3246777"/>
                  <a:pt x="5015710" y="3250165"/>
                </a:cubicBezTo>
                <a:cubicBezTo>
                  <a:pt x="5018421" y="3253553"/>
                  <a:pt x="5019776" y="3256942"/>
                  <a:pt x="5019776" y="3262363"/>
                </a:cubicBezTo>
                <a:cubicBezTo>
                  <a:pt x="5019776" y="3267107"/>
                  <a:pt x="5018421" y="3271173"/>
                  <a:pt x="5015033" y="3273883"/>
                </a:cubicBezTo>
                <a:cubicBezTo>
                  <a:pt x="5012322" y="3276594"/>
                  <a:pt x="5007578" y="3277949"/>
                  <a:pt x="5002157" y="3277949"/>
                </a:cubicBezTo>
                <a:lnTo>
                  <a:pt x="4985215" y="3277949"/>
                </a:lnTo>
                <a:close/>
                <a:moveTo>
                  <a:pt x="6397458" y="3245421"/>
                </a:moveTo>
                <a:cubicBezTo>
                  <a:pt x="6404912" y="3245421"/>
                  <a:pt x="6410334" y="3248132"/>
                  <a:pt x="6414400" y="3253553"/>
                </a:cubicBezTo>
                <a:cubicBezTo>
                  <a:pt x="6418466" y="3258974"/>
                  <a:pt x="6420499" y="3267106"/>
                  <a:pt x="6420499" y="3277949"/>
                </a:cubicBezTo>
                <a:lnTo>
                  <a:pt x="6420499" y="3283370"/>
                </a:lnTo>
                <a:cubicBezTo>
                  <a:pt x="6420499" y="3294213"/>
                  <a:pt x="6418466" y="3302345"/>
                  <a:pt x="6414400" y="3307766"/>
                </a:cubicBezTo>
                <a:cubicBezTo>
                  <a:pt x="6410334" y="3313187"/>
                  <a:pt x="6404912" y="3315898"/>
                  <a:pt x="6397458" y="3315898"/>
                </a:cubicBezTo>
                <a:cubicBezTo>
                  <a:pt x="6390004" y="3315898"/>
                  <a:pt x="6384583" y="3312509"/>
                  <a:pt x="6380517" y="3307088"/>
                </a:cubicBezTo>
                <a:cubicBezTo>
                  <a:pt x="6376451" y="3300989"/>
                  <a:pt x="6374418" y="3293535"/>
                  <a:pt x="6374418" y="3282692"/>
                </a:cubicBezTo>
                <a:lnTo>
                  <a:pt x="6374418" y="3277271"/>
                </a:lnTo>
                <a:cubicBezTo>
                  <a:pt x="6374418" y="3267106"/>
                  <a:pt x="6376451" y="3258974"/>
                  <a:pt x="6380517" y="3253553"/>
                </a:cubicBezTo>
                <a:cubicBezTo>
                  <a:pt x="6384583" y="3248132"/>
                  <a:pt x="6390004" y="3245421"/>
                  <a:pt x="6397458" y="3245421"/>
                </a:cubicBezTo>
                <a:close/>
                <a:moveTo>
                  <a:pt x="4831387" y="3245421"/>
                </a:moveTo>
                <a:cubicBezTo>
                  <a:pt x="4838842" y="3245421"/>
                  <a:pt x="4844263" y="3248132"/>
                  <a:pt x="4848329" y="3253553"/>
                </a:cubicBezTo>
                <a:cubicBezTo>
                  <a:pt x="4852395" y="3258974"/>
                  <a:pt x="4854428" y="3267106"/>
                  <a:pt x="4854428" y="3277949"/>
                </a:cubicBezTo>
                <a:lnTo>
                  <a:pt x="4854428" y="3283370"/>
                </a:lnTo>
                <a:cubicBezTo>
                  <a:pt x="4854428" y="3294213"/>
                  <a:pt x="4852395" y="3302345"/>
                  <a:pt x="4848329" y="3307766"/>
                </a:cubicBezTo>
                <a:cubicBezTo>
                  <a:pt x="4844263" y="3313187"/>
                  <a:pt x="4838842" y="3315898"/>
                  <a:pt x="4831387" y="3315898"/>
                </a:cubicBezTo>
                <a:cubicBezTo>
                  <a:pt x="4823933" y="3315898"/>
                  <a:pt x="4818512" y="3312509"/>
                  <a:pt x="4814446" y="3307088"/>
                </a:cubicBezTo>
                <a:cubicBezTo>
                  <a:pt x="4810380" y="3300989"/>
                  <a:pt x="4808347" y="3293535"/>
                  <a:pt x="4808347" y="3282692"/>
                </a:cubicBezTo>
                <a:lnTo>
                  <a:pt x="4808347" y="3277271"/>
                </a:lnTo>
                <a:cubicBezTo>
                  <a:pt x="4808347" y="3267106"/>
                  <a:pt x="4810380" y="3258974"/>
                  <a:pt x="4814446" y="3253553"/>
                </a:cubicBezTo>
                <a:cubicBezTo>
                  <a:pt x="4818512" y="3248132"/>
                  <a:pt x="4823933" y="3245421"/>
                  <a:pt x="4831387" y="3245421"/>
                </a:cubicBezTo>
                <a:close/>
                <a:moveTo>
                  <a:pt x="6211780" y="3233223"/>
                </a:moveTo>
                <a:lnTo>
                  <a:pt x="6211780" y="3328773"/>
                </a:lnTo>
                <a:lnTo>
                  <a:pt x="6272092" y="3328773"/>
                </a:lnTo>
                <a:lnTo>
                  <a:pt x="6272092" y="3315220"/>
                </a:lnTo>
                <a:lnTo>
                  <a:pt x="6228721" y="3315220"/>
                </a:lnTo>
                <a:lnTo>
                  <a:pt x="6228721" y="3233223"/>
                </a:lnTo>
                <a:close/>
                <a:moveTo>
                  <a:pt x="5132947" y="3233223"/>
                </a:moveTo>
                <a:lnTo>
                  <a:pt x="5132947" y="3328773"/>
                </a:lnTo>
                <a:lnTo>
                  <a:pt x="5193258" y="3328773"/>
                </a:lnTo>
                <a:lnTo>
                  <a:pt x="5193258" y="3315220"/>
                </a:lnTo>
                <a:lnTo>
                  <a:pt x="5149888" y="3315220"/>
                </a:lnTo>
                <a:lnTo>
                  <a:pt x="5149888" y="3233223"/>
                </a:lnTo>
                <a:close/>
                <a:moveTo>
                  <a:pt x="7150338" y="3232546"/>
                </a:moveTo>
                <a:lnTo>
                  <a:pt x="7150338" y="3328096"/>
                </a:lnTo>
                <a:lnTo>
                  <a:pt x="7166602" y="3328096"/>
                </a:lnTo>
                <a:lnTo>
                  <a:pt x="7166602" y="3232546"/>
                </a:lnTo>
                <a:close/>
                <a:moveTo>
                  <a:pt x="6980246" y="3232546"/>
                </a:moveTo>
                <a:lnTo>
                  <a:pt x="6980246" y="3246099"/>
                </a:lnTo>
                <a:lnTo>
                  <a:pt x="7010063" y="3246099"/>
                </a:lnTo>
                <a:lnTo>
                  <a:pt x="7010063" y="3328096"/>
                </a:lnTo>
                <a:lnTo>
                  <a:pt x="7026327" y="3328096"/>
                </a:lnTo>
                <a:lnTo>
                  <a:pt x="7026327" y="3246099"/>
                </a:lnTo>
                <a:lnTo>
                  <a:pt x="7056144" y="3246099"/>
                </a:lnTo>
                <a:lnTo>
                  <a:pt x="7056144" y="3232546"/>
                </a:lnTo>
                <a:close/>
                <a:moveTo>
                  <a:pt x="6707827" y="3232546"/>
                </a:moveTo>
                <a:lnTo>
                  <a:pt x="6707827" y="3328096"/>
                </a:lnTo>
                <a:lnTo>
                  <a:pt x="6724091" y="3328096"/>
                </a:lnTo>
                <a:lnTo>
                  <a:pt x="6724091" y="3232546"/>
                </a:lnTo>
                <a:close/>
                <a:moveTo>
                  <a:pt x="5941394" y="3232546"/>
                </a:moveTo>
                <a:lnTo>
                  <a:pt x="5941394" y="3328096"/>
                </a:lnTo>
                <a:lnTo>
                  <a:pt x="6003739" y="3328096"/>
                </a:lnTo>
                <a:lnTo>
                  <a:pt x="6003739" y="3314543"/>
                </a:lnTo>
                <a:lnTo>
                  <a:pt x="5957658" y="3314543"/>
                </a:lnTo>
                <a:lnTo>
                  <a:pt x="5957658" y="3285403"/>
                </a:lnTo>
                <a:lnTo>
                  <a:pt x="5996962" y="3285403"/>
                </a:lnTo>
                <a:lnTo>
                  <a:pt x="5997640" y="3285403"/>
                </a:lnTo>
                <a:lnTo>
                  <a:pt x="5997640" y="3272528"/>
                </a:lnTo>
                <a:lnTo>
                  <a:pt x="5958335" y="3272528"/>
                </a:lnTo>
                <a:lnTo>
                  <a:pt x="5958335" y="3246099"/>
                </a:lnTo>
                <a:lnTo>
                  <a:pt x="6003739" y="3246099"/>
                </a:lnTo>
                <a:lnTo>
                  <a:pt x="6003739" y="3232546"/>
                </a:lnTo>
                <a:close/>
                <a:moveTo>
                  <a:pt x="5772657" y="3232546"/>
                </a:moveTo>
                <a:lnTo>
                  <a:pt x="5772657" y="3327418"/>
                </a:lnTo>
                <a:lnTo>
                  <a:pt x="5799762" y="3327418"/>
                </a:lnTo>
                <a:cubicBezTo>
                  <a:pt x="5808572" y="3327418"/>
                  <a:pt x="5816026" y="3325385"/>
                  <a:pt x="5822804" y="3321997"/>
                </a:cubicBezTo>
                <a:cubicBezTo>
                  <a:pt x="5829579" y="3318609"/>
                  <a:pt x="5835001" y="3313187"/>
                  <a:pt x="5838389" y="3306411"/>
                </a:cubicBezTo>
                <a:cubicBezTo>
                  <a:pt x="5841777" y="3299634"/>
                  <a:pt x="5843810" y="3291502"/>
                  <a:pt x="5843810" y="3282693"/>
                </a:cubicBezTo>
                <a:lnTo>
                  <a:pt x="5843810" y="3277949"/>
                </a:lnTo>
                <a:cubicBezTo>
                  <a:pt x="5843810" y="3269140"/>
                  <a:pt x="5841777" y="3261008"/>
                  <a:pt x="5838389" y="3254231"/>
                </a:cubicBezTo>
                <a:cubicBezTo>
                  <a:pt x="5835001" y="3246777"/>
                  <a:pt x="5830257" y="3242033"/>
                  <a:pt x="5823480" y="3237967"/>
                </a:cubicBezTo>
                <a:cubicBezTo>
                  <a:pt x="5817381" y="3234579"/>
                  <a:pt x="5809250" y="3232546"/>
                  <a:pt x="5801118" y="3232546"/>
                </a:cubicBezTo>
                <a:close/>
                <a:moveTo>
                  <a:pt x="5655421" y="3232546"/>
                </a:moveTo>
                <a:lnTo>
                  <a:pt x="5655421" y="3328096"/>
                </a:lnTo>
                <a:lnTo>
                  <a:pt x="5671685" y="3328096"/>
                </a:lnTo>
                <a:lnTo>
                  <a:pt x="5671685" y="3232546"/>
                </a:lnTo>
                <a:close/>
                <a:moveTo>
                  <a:pt x="5448058" y="3232546"/>
                </a:moveTo>
                <a:lnTo>
                  <a:pt x="5470420" y="3328096"/>
                </a:lnTo>
                <a:lnTo>
                  <a:pt x="5486685" y="3328096"/>
                </a:lnTo>
                <a:lnTo>
                  <a:pt x="5504980" y="3258297"/>
                </a:lnTo>
                <a:lnTo>
                  <a:pt x="5523277" y="3328096"/>
                </a:lnTo>
                <a:lnTo>
                  <a:pt x="5538863" y="3328096"/>
                </a:lnTo>
                <a:lnTo>
                  <a:pt x="5561226" y="3232546"/>
                </a:lnTo>
                <a:lnTo>
                  <a:pt x="5544962" y="3232546"/>
                </a:lnTo>
                <a:lnTo>
                  <a:pt x="5530055" y="3304378"/>
                </a:lnTo>
                <a:lnTo>
                  <a:pt x="5511757" y="3232546"/>
                </a:lnTo>
                <a:lnTo>
                  <a:pt x="5497527" y="3232546"/>
                </a:lnTo>
                <a:lnTo>
                  <a:pt x="5479229" y="3304378"/>
                </a:lnTo>
                <a:lnTo>
                  <a:pt x="5464321" y="3232546"/>
                </a:lnTo>
                <a:close/>
                <a:moveTo>
                  <a:pt x="5286775" y="3232546"/>
                </a:moveTo>
                <a:lnTo>
                  <a:pt x="5286775" y="3327418"/>
                </a:lnTo>
                <a:lnTo>
                  <a:pt x="5313880" y="3327418"/>
                </a:lnTo>
                <a:cubicBezTo>
                  <a:pt x="5322690" y="3327418"/>
                  <a:pt x="5330144" y="3325385"/>
                  <a:pt x="5336922" y="3321997"/>
                </a:cubicBezTo>
                <a:cubicBezTo>
                  <a:pt x="5343697" y="3318609"/>
                  <a:pt x="5349119" y="3313187"/>
                  <a:pt x="5352507" y="3306411"/>
                </a:cubicBezTo>
                <a:cubicBezTo>
                  <a:pt x="5355895" y="3299634"/>
                  <a:pt x="5357928" y="3291502"/>
                  <a:pt x="5357928" y="3282693"/>
                </a:cubicBezTo>
                <a:lnTo>
                  <a:pt x="5357928" y="3277949"/>
                </a:lnTo>
                <a:cubicBezTo>
                  <a:pt x="5357928" y="3269140"/>
                  <a:pt x="5355895" y="3261008"/>
                  <a:pt x="5352507" y="3254231"/>
                </a:cubicBezTo>
                <a:cubicBezTo>
                  <a:pt x="5349119" y="3246777"/>
                  <a:pt x="5344375" y="3242033"/>
                  <a:pt x="5337598" y="3237967"/>
                </a:cubicBezTo>
                <a:cubicBezTo>
                  <a:pt x="5331501" y="3234579"/>
                  <a:pt x="5323368" y="3232546"/>
                  <a:pt x="5315236" y="3232546"/>
                </a:cubicBezTo>
                <a:close/>
                <a:moveTo>
                  <a:pt x="4968274" y="3232546"/>
                </a:moveTo>
                <a:lnTo>
                  <a:pt x="4968274" y="3328096"/>
                </a:lnTo>
                <a:lnTo>
                  <a:pt x="4985215" y="3328096"/>
                </a:lnTo>
                <a:lnTo>
                  <a:pt x="4985215" y="3291502"/>
                </a:lnTo>
                <a:lnTo>
                  <a:pt x="5003512" y="3291502"/>
                </a:lnTo>
                <a:lnTo>
                  <a:pt x="5023164" y="3328774"/>
                </a:lnTo>
                <a:lnTo>
                  <a:pt x="5040784" y="3328774"/>
                </a:lnTo>
                <a:lnTo>
                  <a:pt x="5040784" y="3328096"/>
                </a:lnTo>
                <a:lnTo>
                  <a:pt x="5019098" y="3288114"/>
                </a:lnTo>
                <a:cubicBezTo>
                  <a:pt x="5024520" y="3285403"/>
                  <a:pt x="5028586" y="3282015"/>
                  <a:pt x="5031974" y="3277949"/>
                </a:cubicBezTo>
                <a:cubicBezTo>
                  <a:pt x="5035362" y="3273206"/>
                  <a:pt x="5036718" y="3267784"/>
                  <a:pt x="5036718" y="3261685"/>
                </a:cubicBezTo>
                <a:cubicBezTo>
                  <a:pt x="5036718" y="3252198"/>
                  <a:pt x="5034007" y="3244744"/>
                  <a:pt x="5027908" y="3240000"/>
                </a:cubicBezTo>
                <a:cubicBezTo>
                  <a:pt x="5021809" y="3235257"/>
                  <a:pt x="5013000" y="3232546"/>
                  <a:pt x="5002157" y="3232546"/>
                </a:cubicBezTo>
                <a:close/>
                <a:moveTo>
                  <a:pt x="4589463" y="3232546"/>
                </a:moveTo>
                <a:lnTo>
                  <a:pt x="4611826" y="3328096"/>
                </a:lnTo>
                <a:lnTo>
                  <a:pt x="4627412" y="3328096"/>
                </a:lnTo>
                <a:lnTo>
                  <a:pt x="4645709" y="3258297"/>
                </a:lnTo>
                <a:lnTo>
                  <a:pt x="4664006" y="3328096"/>
                </a:lnTo>
                <a:lnTo>
                  <a:pt x="4679592" y="3328096"/>
                </a:lnTo>
                <a:lnTo>
                  <a:pt x="4701955" y="3232546"/>
                </a:lnTo>
                <a:lnTo>
                  <a:pt x="4685692" y="3232546"/>
                </a:lnTo>
                <a:lnTo>
                  <a:pt x="4670782" y="3304378"/>
                </a:lnTo>
                <a:lnTo>
                  <a:pt x="4653164" y="3232546"/>
                </a:lnTo>
                <a:lnTo>
                  <a:pt x="4638932" y="3232546"/>
                </a:lnTo>
                <a:lnTo>
                  <a:pt x="4620635" y="3304378"/>
                </a:lnTo>
                <a:lnTo>
                  <a:pt x="4605727" y="3232546"/>
                </a:lnTo>
                <a:close/>
                <a:moveTo>
                  <a:pt x="7468161" y="3231868"/>
                </a:moveTo>
                <a:cubicBezTo>
                  <a:pt x="7457996" y="3231868"/>
                  <a:pt x="7449865" y="3234579"/>
                  <a:pt x="7443766" y="3239322"/>
                </a:cubicBezTo>
                <a:cubicBezTo>
                  <a:pt x="7437667" y="3244066"/>
                  <a:pt x="7434278" y="3250842"/>
                  <a:pt x="7434278" y="3258297"/>
                </a:cubicBezTo>
                <a:cubicBezTo>
                  <a:pt x="7434278" y="3267106"/>
                  <a:pt x="7438344" y="3274561"/>
                  <a:pt x="7447154" y="3279982"/>
                </a:cubicBezTo>
                <a:cubicBezTo>
                  <a:pt x="7451897" y="3282692"/>
                  <a:pt x="7457996" y="3285403"/>
                  <a:pt x="7465451" y="3287436"/>
                </a:cubicBezTo>
                <a:cubicBezTo>
                  <a:pt x="7473583" y="3289469"/>
                  <a:pt x="7479004" y="3292180"/>
                  <a:pt x="7481714" y="3294213"/>
                </a:cubicBezTo>
                <a:cubicBezTo>
                  <a:pt x="7485103" y="3296246"/>
                  <a:pt x="7486458" y="3299634"/>
                  <a:pt x="7486458" y="3303700"/>
                </a:cubicBezTo>
                <a:cubicBezTo>
                  <a:pt x="7486458" y="3307766"/>
                  <a:pt x="7485103" y="3310477"/>
                  <a:pt x="7481714" y="3312509"/>
                </a:cubicBezTo>
                <a:cubicBezTo>
                  <a:pt x="7479004" y="3314542"/>
                  <a:pt x="7474938" y="3315898"/>
                  <a:pt x="7468839" y="3315898"/>
                </a:cubicBezTo>
                <a:cubicBezTo>
                  <a:pt x="7462062" y="3315898"/>
                  <a:pt x="7456641" y="3313865"/>
                  <a:pt x="7453253" y="3311154"/>
                </a:cubicBezTo>
                <a:cubicBezTo>
                  <a:pt x="7449865" y="3307766"/>
                  <a:pt x="7447831" y="3303700"/>
                  <a:pt x="7447831" y="3298279"/>
                </a:cubicBezTo>
                <a:lnTo>
                  <a:pt x="7430890" y="3298279"/>
                </a:lnTo>
                <a:cubicBezTo>
                  <a:pt x="7430890" y="3304378"/>
                  <a:pt x="7432245" y="3309121"/>
                  <a:pt x="7435634" y="3313865"/>
                </a:cubicBezTo>
                <a:cubicBezTo>
                  <a:pt x="7439022" y="3318608"/>
                  <a:pt x="7443766" y="3321997"/>
                  <a:pt x="7449187" y="3324707"/>
                </a:cubicBezTo>
                <a:cubicBezTo>
                  <a:pt x="7454608" y="3327418"/>
                  <a:pt x="7461385" y="3328773"/>
                  <a:pt x="7468161" y="3328773"/>
                </a:cubicBezTo>
                <a:cubicBezTo>
                  <a:pt x="7479004" y="3328773"/>
                  <a:pt x="7487136" y="3326740"/>
                  <a:pt x="7493235" y="3321997"/>
                </a:cubicBezTo>
                <a:cubicBezTo>
                  <a:pt x="7500011" y="3317253"/>
                  <a:pt x="7502722" y="3311154"/>
                  <a:pt x="7502722" y="3303022"/>
                </a:cubicBezTo>
                <a:cubicBezTo>
                  <a:pt x="7502722" y="3298279"/>
                  <a:pt x="7501367" y="3293535"/>
                  <a:pt x="7499334" y="3290147"/>
                </a:cubicBezTo>
                <a:cubicBezTo>
                  <a:pt x="7497301" y="3286758"/>
                  <a:pt x="7493912" y="3283370"/>
                  <a:pt x="7489169" y="3280659"/>
                </a:cubicBezTo>
                <a:cubicBezTo>
                  <a:pt x="7485103" y="3277949"/>
                  <a:pt x="7479004" y="3275238"/>
                  <a:pt x="7471550" y="3273205"/>
                </a:cubicBezTo>
                <a:cubicBezTo>
                  <a:pt x="7464095" y="3271172"/>
                  <a:pt x="7458674" y="3268462"/>
                  <a:pt x="7455286" y="3266429"/>
                </a:cubicBezTo>
                <a:cubicBezTo>
                  <a:pt x="7451897" y="3263718"/>
                  <a:pt x="7450542" y="3261007"/>
                  <a:pt x="7450542" y="3257619"/>
                </a:cubicBezTo>
                <a:cubicBezTo>
                  <a:pt x="7450542" y="3253553"/>
                  <a:pt x="7452575" y="3250165"/>
                  <a:pt x="7455286" y="3248132"/>
                </a:cubicBezTo>
                <a:cubicBezTo>
                  <a:pt x="7458674" y="3246099"/>
                  <a:pt x="7462740" y="3244744"/>
                  <a:pt x="7468161" y="3244744"/>
                </a:cubicBezTo>
                <a:cubicBezTo>
                  <a:pt x="7474260" y="3244744"/>
                  <a:pt x="7478326" y="3246099"/>
                  <a:pt x="7481714" y="3248809"/>
                </a:cubicBezTo>
                <a:cubicBezTo>
                  <a:pt x="7485103" y="3251520"/>
                  <a:pt x="7486458" y="3255586"/>
                  <a:pt x="7486458" y="3260330"/>
                </a:cubicBezTo>
                <a:lnTo>
                  <a:pt x="7502722" y="3260330"/>
                </a:lnTo>
                <a:cubicBezTo>
                  <a:pt x="7502722" y="3254908"/>
                  <a:pt x="7500689" y="3250165"/>
                  <a:pt x="7497978" y="3245421"/>
                </a:cubicBezTo>
                <a:cubicBezTo>
                  <a:pt x="7495268" y="3241355"/>
                  <a:pt x="7491202" y="3237967"/>
                  <a:pt x="7485780" y="3235256"/>
                </a:cubicBezTo>
                <a:cubicBezTo>
                  <a:pt x="7481037" y="3233223"/>
                  <a:pt x="7474938" y="3231868"/>
                  <a:pt x="7468161" y="3231868"/>
                </a:cubicBezTo>
                <a:close/>
                <a:moveTo>
                  <a:pt x="7303489" y="3231868"/>
                </a:moveTo>
                <a:cubicBezTo>
                  <a:pt x="7295357" y="3231868"/>
                  <a:pt x="7288581" y="3233901"/>
                  <a:pt x="7282482" y="3237289"/>
                </a:cubicBezTo>
                <a:cubicBezTo>
                  <a:pt x="7276383" y="3240678"/>
                  <a:pt x="7272317" y="3246099"/>
                  <a:pt x="7268928" y="3252875"/>
                </a:cubicBezTo>
                <a:cubicBezTo>
                  <a:pt x="7265540" y="3259652"/>
                  <a:pt x="7264185" y="3267784"/>
                  <a:pt x="7264185" y="3276594"/>
                </a:cubicBezTo>
                <a:lnTo>
                  <a:pt x="7264185" y="3285403"/>
                </a:lnTo>
                <a:cubicBezTo>
                  <a:pt x="7264185" y="3294213"/>
                  <a:pt x="7265540" y="3301667"/>
                  <a:pt x="7268928" y="3308444"/>
                </a:cubicBezTo>
                <a:cubicBezTo>
                  <a:pt x="7272317" y="3315220"/>
                  <a:pt x="7276383" y="3320641"/>
                  <a:pt x="7282482" y="3324030"/>
                </a:cubicBezTo>
                <a:cubicBezTo>
                  <a:pt x="7288581" y="3327418"/>
                  <a:pt x="7295357" y="3329451"/>
                  <a:pt x="7302811" y="3329451"/>
                </a:cubicBezTo>
                <a:cubicBezTo>
                  <a:pt x="7313654" y="3329451"/>
                  <a:pt x="7322464" y="3326063"/>
                  <a:pt x="7329240" y="3320641"/>
                </a:cubicBezTo>
                <a:lnTo>
                  <a:pt x="7340102" y="3298279"/>
                </a:lnTo>
                <a:lnTo>
                  <a:pt x="7340760" y="3298279"/>
                </a:lnTo>
                <a:lnTo>
                  <a:pt x="7340760" y="3296923"/>
                </a:lnTo>
                <a:lnTo>
                  <a:pt x="7340102" y="3298279"/>
                </a:lnTo>
                <a:lnTo>
                  <a:pt x="7323819" y="3298279"/>
                </a:lnTo>
                <a:cubicBezTo>
                  <a:pt x="7323141" y="3305055"/>
                  <a:pt x="7321108" y="3310477"/>
                  <a:pt x="7317720" y="3313187"/>
                </a:cubicBezTo>
                <a:cubicBezTo>
                  <a:pt x="7314332" y="3315898"/>
                  <a:pt x="7309588" y="3317253"/>
                  <a:pt x="7302811" y="3317253"/>
                </a:cubicBezTo>
                <a:cubicBezTo>
                  <a:pt x="7295357" y="3317253"/>
                  <a:pt x="7289936" y="3314542"/>
                  <a:pt x="7286548" y="3309121"/>
                </a:cubicBezTo>
                <a:cubicBezTo>
                  <a:pt x="7283159" y="3303700"/>
                  <a:pt x="7281126" y="3295568"/>
                  <a:pt x="7281126" y="3285403"/>
                </a:cubicBezTo>
                <a:lnTo>
                  <a:pt x="7281126" y="3276594"/>
                </a:lnTo>
                <a:cubicBezTo>
                  <a:pt x="7281126" y="3266429"/>
                  <a:pt x="7283159" y="3258974"/>
                  <a:pt x="7287225" y="3253553"/>
                </a:cubicBezTo>
                <a:cubicBezTo>
                  <a:pt x="7291291" y="3248132"/>
                  <a:pt x="7296713" y="3245421"/>
                  <a:pt x="7304167" y="3245421"/>
                </a:cubicBezTo>
                <a:cubicBezTo>
                  <a:pt x="7310266" y="3245421"/>
                  <a:pt x="7315009" y="3247454"/>
                  <a:pt x="7318398" y="3250165"/>
                </a:cubicBezTo>
                <a:cubicBezTo>
                  <a:pt x="7321786" y="3253553"/>
                  <a:pt x="7323819" y="3258297"/>
                  <a:pt x="7324497" y="3265073"/>
                </a:cubicBezTo>
                <a:lnTo>
                  <a:pt x="7340760" y="3265073"/>
                </a:lnTo>
                <a:cubicBezTo>
                  <a:pt x="7339405" y="3254231"/>
                  <a:pt x="7335339" y="3246099"/>
                  <a:pt x="7329240" y="3240678"/>
                </a:cubicBezTo>
                <a:cubicBezTo>
                  <a:pt x="7322464" y="3234579"/>
                  <a:pt x="7314332" y="3231868"/>
                  <a:pt x="7303489" y="3231868"/>
                </a:cubicBezTo>
                <a:close/>
                <a:moveTo>
                  <a:pt x="6856912" y="3231868"/>
                </a:moveTo>
                <a:cubicBezTo>
                  <a:pt x="6846747" y="3231868"/>
                  <a:pt x="6838615" y="3234579"/>
                  <a:pt x="6832516" y="3239322"/>
                </a:cubicBezTo>
                <a:cubicBezTo>
                  <a:pt x="6826418" y="3244066"/>
                  <a:pt x="6823029" y="3250842"/>
                  <a:pt x="6823029" y="3258297"/>
                </a:cubicBezTo>
                <a:cubicBezTo>
                  <a:pt x="6823029" y="3267106"/>
                  <a:pt x="6827095" y="3274561"/>
                  <a:pt x="6835905" y="3279982"/>
                </a:cubicBezTo>
                <a:cubicBezTo>
                  <a:pt x="6840648" y="3282692"/>
                  <a:pt x="6846747" y="3285403"/>
                  <a:pt x="6854202" y="3287436"/>
                </a:cubicBezTo>
                <a:cubicBezTo>
                  <a:pt x="6862333" y="3289469"/>
                  <a:pt x="6867755" y="3292180"/>
                  <a:pt x="6870465" y="3294213"/>
                </a:cubicBezTo>
                <a:cubicBezTo>
                  <a:pt x="6873854" y="3296246"/>
                  <a:pt x="6875209" y="3299634"/>
                  <a:pt x="6875209" y="3303700"/>
                </a:cubicBezTo>
                <a:cubicBezTo>
                  <a:pt x="6875209" y="3307766"/>
                  <a:pt x="6873854" y="3310477"/>
                  <a:pt x="6870465" y="3312509"/>
                </a:cubicBezTo>
                <a:cubicBezTo>
                  <a:pt x="6867755" y="3314542"/>
                  <a:pt x="6863689" y="3315898"/>
                  <a:pt x="6857590" y="3315898"/>
                </a:cubicBezTo>
                <a:cubicBezTo>
                  <a:pt x="6850813" y="3315898"/>
                  <a:pt x="6845392" y="3313865"/>
                  <a:pt x="6842004" y="3311154"/>
                </a:cubicBezTo>
                <a:cubicBezTo>
                  <a:pt x="6838615" y="3307766"/>
                  <a:pt x="6836582" y="3303700"/>
                  <a:pt x="6836582" y="3298279"/>
                </a:cubicBezTo>
                <a:lnTo>
                  <a:pt x="6819641" y="3298279"/>
                </a:lnTo>
                <a:cubicBezTo>
                  <a:pt x="6819641" y="3304378"/>
                  <a:pt x="6820996" y="3309121"/>
                  <a:pt x="6824384" y="3313865"/>
                </a:cubicBezTo>
                <a:cubicBezTo>
                  <a:pt x="6827773" y="3318608"/>
                  <a:pt x="6832516" y="3321997"/>
                  <a:pt x="6837938" y="3324707"/>
                </a:cubicBezTo>
                <a:cubicBezTo>
                  <a:pt x="6843359" y="3327418"/>
                  <a:pt x="6850136" y="3328773"/>
                  <a:pt x="6856912" y="3328773"/>
                </a:cubicBezTo>
                <a:cubicBezTo>
                  <a:pt x="6867755" y="3328773"/>
                  <a:pt x="6875887" y="3326740"/>
                  <a:pt x="6881986" y="3321997"/>
                </a:cubicBezTo>
                <a:cubicBezTo>
                  <a:pt x="6888762" y="3317253"/>
                  <a:pt x="6891473" y="3311154"/>
                  <a:pt x="6891473" y="3303022"/>
                </a:cubicBezTo>
                <a:cubicBezTo>
                  <a:pt x="6891473" y="3298279"/>
                  <a:pt x="6890118" y="3293535"/>
                  <a:pt x="6888085" y="3290147"/>
                </a:cubicBezTo>
                <a:cubicBezTo>
                  <a:pt x="6886052" y="3286758"/>
                  <a:pt x="6882663" y="3283370"/>
                  <a:pt x="6877920" y="3280659"/>
                </a:cubicBezTo>
                <a:cubicBezTo>
                  <a:pt x="6873854" y="3277949"/>
                  <a:pt x="6867755" y="3275238"/>
                  <a:pt x="6860301" y="3273205"/>
                </a:cubicBezTo>
                <a:cubicBezTo>
                  <a:pt x="6852846" y="3271172"/>
                  <a:pt x="6847425" y="3268462"/>
                  <a:pt x="6844037" y="3266429"/>
                </a:cubicBezTo>
                <a:cubicBezTo>
                  <a:pt x="6840648" y="3263718"/>
                  <a:pt x="6839293" y="3261007"/>
                  <a:pt x="6839293" y="3257619"/>
                </a:cubicBezTo>
                <a:cubicBezTo>
                  <a:pt x="6839293" y="3253553"/>
                  <a:pt x="6841326" y="3250165"/>
                  <a:pt x="6844037" y="3248132"/>
                </a:cubicBezTo>
                <a:cubicBezTo>
                  <a:pt x="6847425" y="3246099"/>
                  <a:pt x="6851491" y="3244744"/>
                  <a:pt x="6856912" y="3244744"/>
                </a:cubicBezTo>
                <a:cubicBezTo>
                  <a:pt x="6863011" y="3244744"/>
                  <a:pt x="6867077" y="3246099"/>
                  <a:pt x="6870465" y="3248809"/>
                </a:cubicBezTo>
                <a:cubicBezTo>
                  <a:pt x="6873854" y="3251520"/>
                  <a:pt x="6875209" y="3255586"/>
                  <a:pt x="6875209" y="3260330"/>
                </a:cubicBezTo>
                <a:lnTo>
                  <a:pt x="6891473" y="3260330"/>
                </a:lnTo>
                <a:cubicBezTo>
                  <a:pt x="6891473" y="3254908"/>
                  <a:pt x="6889440" y="3250165"/>
                  <a:pt x="6886729" y="3245421"/>
                </a:cubicBezTo>
                <a:cubicBezTo>
                  <a:pt x="6884019" y="3241355"/>
                  <a:pt x="6879953" y="3237967"/>
                  <a:pt x="6874531" y="3235256"/>
                </a:cubicBezTo>
                <a:cubicBezTo>
                  <a:pt x="6869788" y="3233223"/>
                  <a:pt x="6863689" y="3231868"/>
                  <a:pt x="6856912" y="3231868"/>
                </a:cubicBezTo>
                <a:close/>
                <a:moveTo>
                  <a:pt x="6398136" y="3231868"/>
                </a:moveTo>
                <a:cubicBezTo>
                  <a:pt x="6390004" y="3231868"/>
                  <a:pt x="6383227" y="3233223"/>
                  <a:pt x="6377128" y="3237289"/>
                </a:cubicBezTo>
                <a:cubicBezTo>
                  <a:pt x="6371029" y="3240678"/>
                  <a:pt x="6366286" y="3246099"/>
                  <a:pt x="6362898" y="3253553"/>
                </a:cubicBezTo>
                <a:cubicBezTo>
                  <a:pt x="6359509" y="3260330"/>
                  <a:pt x="6358154" y="3268462"/>
                  <a:pt x="6358154" y="3277949"/>
                </a:cubicBezTo>
                <a:lnTo>
                  <a:pt x="6358154" y="3283370"/>
                </a:lnTo>
                <a:cubicBezTo>
                  <a:pt x="6358154" y="3292857"/>
                  <a:pt x="6359509" y="3300989"/>
                  <a:pt x="6362898" y="3307766"/>
                </a:cubicBezTo>
                <a:cubicBezTo>
                  <a:pt x="6366286" y="3314542"/>
                  <a:pt x="6371029" y="3319964"/>
                  <a:pt x="6377128" y="3324030"/>
                </a:cubicBezTo>
                <a:cubicBezTo>
                  <a:pt x="6383227" y="3327418"/>
                  <a:pt x="6390682" y="3329451"/>
                  <a:pt x="6398136" y="3329451"/>
                </a:cubicBezTo>
                <a:cubicBezTo>
                  <a:pt x="6406268" y="3329451"/>
                  <a:pt x="6413044" y="3328096"/>
                  <a:pt x="6419143" y="3324030"/>
                </a:cubicBezTo>
                <a:cubicBezTo>
                  <a:pt x="6424565" y="3319964"/>
                  <a:pt x="6429308" y="3314542"/>
                  <a:pt x="6432697" y="3307766"/>
                </a:cubicBezTo>
                <a:cubicBezTo>
                  <a:pt x="6436085" y="3300989"/>
                  <a:pt x="6437440" y="3292857"/>
                  <a:pt x="6437440" y="3283370"/>
                </a:cubicBezTo>
                <a:lnTo>
                  <a:pt x="6438118" y="3283370"/>
                </a:lnTo>
                <a:lnTo>
                  <a:pt x="6438118" y="3277949"/>
                </a:lnTo>
                <a:cubicBezTo>
                  <a:pt x="6438118" y="3268462"/>
                  <a:pt x="6436763" y="3260330"/>
                  <a:pt x="6433374" y="3253553"/>
                </a:cubicBezTo>
                <a:cubicBezTo>
                  <a:pt x="6429986" y="3246099"/>
                  <a:pt x="6425242" y="3241355"/>
                  <a:pt x="6419143" y="3237289"/>
                </a:cubicBezTo>
                <a:cubicBezTo>
                  <a:pt x="6413044" y="3233901"/>
                  <a:pt x="6405590" y="3231868"/>
                  <a:pt x="6398136" y="3231868"/>
                </a:cubicBezTo>
                <a:close/>
                <a:moveTo>
                  <a:pt x="4832065" y="3231868"/>
                </a:moveTo>
                <a:cubicBezTo>
                  <a:pt x="4823933" y="3231868"/>
                  <a:pt x="4817156" y="3233223"/>
                  <a:pt x="4811057" y="3237289"/>
                </a:cubicBezTo>
                <a:cubicBezTo>
                  <a:pt x="4804959" y="3240678"/>
                  <a:pt x="4800215" y="3246099"/>
                  <a:pt x="4796828" y="3253553"/>
                </a:cubicBezTo>
                <a:cubicBezTo>
                  <a:pt x="4793438" y="3260330"/>
                  <a:pt x="4792083" y="3268462"/>
                  <a:pt x="4792083" y="3277949"/>
                </a:cubicBezTo>
                <a:lnTo>
                  <a:pt x="4792083" y="3283370"/>
                </a:lnTo>
                <a:cubicBezTo>
                  <a:pt x="4792083" y="3292857"/>
                  <a:pt x="4793438" y="3300989"/>
                  <a:pt x="4796828" y="3307766"/>
                </a:cubicBezTo>
                <a:cubicBezTo>
                  <a:pt x="4800215" y="3314542"/>
                  <a:pt x="4804959" y="3319964"/>
                  <a:pt x="4811057" y="3324030"/>
                </a:cubicBezTo>
                <a:cubicBezTo>
                  <a:pt x="4817156" y="3327418"/>
                  <a:pt x="4824611" y="3329451"/>
                  <a:pt x="4832065" y="3329451"/>
                </a:cubicBezTo>
                <a:cubicBezTo>
                  <a:pt x="4840198" y="3329451"/>
                  <a:pt x="4846973" y="3328096"/>
                  <a:pt x="4853072" y="3324030"/>
                </a:cubicBezTo>
                <a:cubicBezTo>
                  <a:pt x="4858494" y="3319964"/>
                  <a:pt x="4863237" y="3314542"/>
                  <a:pt x="4866626" y="3307766"/>
                </a:cubicBezTo>
                <a:cubicBezTo>
                  <a:pt x="4870014" y="3300989"/>
                  <a:pt x="4871369" y="3292857"/>
                  <a:pt x="4871369" y="3283370"/>
                </a:cubicBezTo>
                <a:lnTo>
                  <a:pt x="4872047" y="3283370"/>
                </a:lnTo>
                <a:lnTo>
                  <a:pt x="4872047" y="3277949"/>
                </a:lnTo>
                <a:cubicBezTo>
                  <a:pt x="4872047" y="3268462"/>
                  <a:pt x="4870692" y="3260330"/>
                  <a:pt x="4867303" y="3253553"/>
                </a:cubicBezTo>
                <a:cubicBezTo>
                  <a:pt x="4863915" y="3246099"/>
                  <a:pt x="4859171" y="3241355"/>
                  <a:pt x="4853072" y="3237289"/>
                </a:cubicBezTo>
                <a:cubicBezTo>
                  <a:pt x="4846973" y="3233901"/>
                  <a:pt x="4839519" y="3231868"/>
                  <a:pt x="4832065" y="3231868"/>
                </a:cubicBezTo>
                <a:close/>
                <a:moveTo>
                  <a:pt x="6570939" y="3231190"/>
                </a:moveTo>
                <a:cubicBezTo>
                  <a:pt x="6558064" y="3231190"/>
                  <a:pt x="6548576" y="3235256"/>
                  <a:pt x="6541800" y="3243388"/>
                </a:cubicBezTo>
                <a:cubicBezTo>
                  <a:pt x="6535023" y="3251520"/>
                  <a:pt x="6531635" y="3263040"/>
                  <a:pt x="6531635" y="3277271"/>
                </a:cubicBezTo>
                <a:lnTo>
                  <a:pt x="6531635" y="3284725"/>
                </a:lnTo>
                <a:cubicBezTo>
                  <a:pt x="6531635" y="3293535"/>
                  <a:pt x="6533668" y="3301667"/>
                  <a:pt x="6537056" y="3308443"/>
                </a:cubicBezTo>
                <a:cubicBezTo>
                  <a:pt x="6540444" y="3315220"/>
                  <a:pt x="6545188" y="3320641"/>
                  <a:pt x="6551287" y="3324029"/>
                </a:cubicBezTo>
                <a:cubicBezTo>
                  <a:pt x="6557386" y="3327418"/>
                  <a:pt x="6564163" y="3329451"/>
                  <a:pt x="6572295" y="3329451"/>
                </a:cubicBezTo>
                <a:cubicBezTo>
                  <a:pt x="6580426" y="3329451"/>
                  <a:pt x="6587203" y="3328095"/>
                  <a:pt x="6593302" y="3326062"/>
                </a:cubicBezTo>
                <a:cubicBezTo>
                  <a:pt x="6599401" y="3324029"/>
                  <a:pt x="6604144" y="3320641"/>
                  <a:pt x="6607533" y="3315897"/>
                </a:cubicBezTo>
                <a:lnTo>
                  <a:pt x="6607533" y="3279304"/>
                </a:lnTo>
                <a:lnTo>
                  <a:pt x="6571617" y="3279304"/>
                </a:lnTo>
                <a:lnTo>
                  <a:pt x="6571617" y="3292179"/>
                </a:lnTo>
                <a:lnTo>
                  <a:pt x="6591269" y="3292179"/>
                </a:lnTo>
                <a:lnTo>
                  <a:pt x="6591269" y="3311154"/>
                </a:lnTo>
                <a:cubicBezTo>
                  <a:pt x="6587203" y="3315220"/>
                  <a:pt x="6581782" y="3317253"/>
                  <a:pt x="6572972" y="3317253"/>
                </a:cubicBezTo>
                <a:cubicBezTo>
                  <a:pt x="6564840" y="3317253"/>
                  <a:pt x="6558741" y="3313864"/>
                  <a:pt x="6554675" y="3308443"/>
                </a:cubicBezTo>
                <a:cubicBezTo>
                  <a:pt x="6549932" y="3303022"/>
                  <a:pt x="6547899" y="3294890"/>
                  <a:pt x="6547899" y="3284725"/>
                </a:cubicBezTo>
                <a:lnTo>
                  <a:pt x="6547899" y="3277271"/>
                </a:lnTo>
                <a:cubicBezTo>
                  <a:pt x="6547899" y="3267106"/>
                  <a:pt x="6549932" y="3258974"/>
                  <a:pt x="6553998" y="3253553"/>
                </a:cubicBezTo>
                <a:cubicBezTo>
                  <a:pt x="6558064" y="3248131"/>
                  <a:pt x="6563485" y="3245421"/>
                  <a:pt x="6570939" y="3245421"/>
                </a:cubicBezTo>
                <a:cubicBezTo>
                  <a:pt x="6582459" y="3245421"/>
                  <a:pt x="6589236" y="3250842"/>
                  <a:pt x="6591269" y="3262362"/>
                </a:cubicBezTo>
                <a:lnTo>
                  <a:pt x="6607533" y="3262362"/>
                </a:lnTo>
                <a:cubicBezTo>
                  <a:pt x="6606178" y="3252197"/>
                  <a:pt x="6602112" y="3244743"/>
                  <a:pt x="6596013" y="3239322"/>
                </a:cubicBezTo>
                <a:cubicBezTo>
                  <a:pt x="6589914" y="3233901"/>
                  <a:pt x="6581782" y="3231190"/>
                  <a:pt x="6570939" y="3231190"/>
                </a:cubicBezTo>
                <a:close/>
                <a:moveTo>
                  <a:pt x="6488943" y="3019083"/>
                </a:moveTo>
                <a:lnTo>
                  <a:pt x="6550610" y="3019083"/>
                </a:lnTo>
                <a:lnTo>
                  <a:pt x="6550610" y="3076006"/>
                </a:lnTo>
                <a:lnTo>
                  <a:pt x="6488943" y="3076006"/>
                </a:lnTo>
                <a:cubicBezTo>
                  <a:pt x="6482166" y="3076006"/>
                  <a:pt x="6476745" y="3070585"/>
                  <a:pt x="6476745" y="3063808"/>
                </a:cubicBezTo>
                <a:lnTo>
                  <a:pt x="6476745" y="3031281"/>
                </a:lnTo>
                <a:cubicBezTo>
                  <a:pt x="6476745" y="3024504"/>
                  <a:pt x="6482166" y="3019083"/>
                  <a:pt x="6488943" y="3019083"/>
                </a:cubicBezTo>
                <a:close/>
                <a:moveTo>
                  <a:pt x="5127526" y="2880163"/>
                </a:moveTo>
                <a:lnTo>
                  <a:pt x="5176316" y="2880163"/>
                </a:lnTo>
                <a:cubicBezTo>
                  <a:pt x="5183094" y="2880163"/>
                  <a:pt x="5188515" y="2885584"/>
                  <a:pt x="5188515" y="2892361"/>
                </a:cubicBezTo>
                <a:lnTo>
                  <a:pt x="5188515" y="2937764"/>
                </a:lnTo>
                <a:lnTo>
                  <a:pt x="5115327" y="2937764"/>
                </a:lnTo>
                <a:lnTo>
                  <a:pt x="5115327" y="2892361"/>
                </a:lnTo>
                <a:cubicBezTo>
                  <a:pt x="5115327" y="2885584"/>
                  <a:pt x="5120748" y="2880163"/>
                  <a:pt x="5127526" y="2880163"/>
                </a:cubicBezTo>
                <a:close/>
                <a:moveTo>
                  <a:pt x="7131364" y="2798166"/>
                </a:moveTo>
                <a:lnTo>
                  <a:pt x="7131364" y="3158003"/>
                </a:lnTo>
                <a:lnTo>
                  <a:pt x="7262152" y="3158003"/>
                </a:lnTo>
                <a:lnTo>
                  <a:pt x="7262830" y="2879485"/>
                </a:lnTo>
                <a:cubicBezTo>
                  <a:pt x="7262830" y="2879485"/>
                  <a:pt x="7291292" y="2879485"/>
                  <a:pt x="7291292" y="2879485"/>
                </a:cubicBezTo>
                <a:cubicBezTo>
                  <a:pt x="7302134" y="2879485"/>
                  <a:pt x="7305522" y="2881518"/>
                  <a:pt x="7310944" y="2904558"/>
                </a:cubicBezTo>
                <a:lnTo>
                  <a:pt x="7369223" y="3158003"/>
                </a:lnTo>
                <a:lnTo>
                  <a:pt x="7503399" y="3158003"/>
                </a:lnTo>
                <a:cubicBezTo>
                  <a:pt x="7503399" y="3158003"/>
                  <a:pt x="7435633" y="2867287"/>
                  <a:pt x="7429534" y="2838826"/>
                </a:cubicBezTo>
                <a:cubicBezTo>
                  <a:pt x="7423435" y="2811042"/>
                  <a:pt x="7399717" y="2798166"/>
                  <a:pt x="7377354" y="2798166"/>
                </a:cubicBezTo>
                <a:cubicBezTo>
                  <a:pt x="7360413" y="2798166"/>
                  <a:pt x="7131364" y="2798166"/>
                  <a:pt x="7131364" y="2798166"/>
                </a:cubicBezTo>
                <a:close/>
                <a:moveTo>
                  <a:pt x="6736966" y="2798166"/>
                </a:moveTo>
                <a:lnTo>
                  <a:pt x="6736966" y="3158003"/>
                </a:lnTo>
                <a:lnTo>
                  <a:pt x="6867754" y="3158003"/>
                </a:lnTo>
                <a:lnTo>
                  <a:pt x="6868432" y="3158003"/>
                </a:lnTo>
                <a:lnTo>
                  <a:pt x="6868432" y="2879485"/>
                </a:lnTo>
                <a:cubicBezTo>
                  <a:pt x="6868432" y="2879485"/>
                  <a:pt x="6896894" y="2879485"/>
                  <a:pt x="6896894" y="2879485"/>
                </a:cubicBezTo>
                <a:cubicBezTo>
                  <a:pt x="6907736" y="2879485"/>
                  <a:pt x="6911125" y="2881518"/>
                  <a:pt x="6916546" y="2904558"/>
                </a:cubicBezTo>
                <a:lnTo>
                  <a:pt x="6974825" y="3158003"/>
                </a:lnTo>
                <a:lnTo>
                  <a:pt x="7109001" y="3158003"/>
                </a:lnTo>
                <a:cubicBezTo>
                  <a:pt x="7109001" y="3158003"/>
                  <a:pt x="7041235" y="2867287"/>
                  <a:pt x="7035136" y="2838826"/>
                </a:cubicBezTo>
                <a:cubicBezTo>
                  <a:pt x="7029037" y="2811042"/>
                  <a:pt x="7005319" y="2798166"/>
                  <a:pt x="6982957" y="2798166"/>
                </a:cubicBezTo>
                <a:cubicBezTo>
                  <a:pt x="6966015" y="2798166"/>
                  <a:pt x="6736966" y="2798166"/>
                  <a:pt x="6736966" y="2798166"/>
                </a:cubicBezTo>
                <a:close/>
                <a:moveTo>
                  <a:pt x="6387294" y="2798166"/>
                </a:moveTo>
                <a:cubicBezTo>
                  <a:pt x="6364931" y="2798166"/>
                  <a:pt x="6346634" y="2816463"/>
                  <a:pt x="6346634" y="2838826"/>
                </a:cubicBezTo>
                <a:lnTo>
                  <a:pt x="6346634" y="2880840"/>
                </a:lnTo>
                <a:lnTo>
                  <a:pt x="6539090" y="2880840"/>
                </a:lnTo>
                <a:cubicBezTo>
                  <a:pt x="6545866" y="2880840"/>
                  <a:pt x="6551287" y="2886262"/>
                  <a:pt x="6551287" y="2893038"/>
                </a:cubicBezTo>
                <a:lnTo>
                  <a:pt x="6551287" y="2937764"/>
                </a:lnTo>
                <a:lnTo>
                  <a:pt x="6387294" y="2937764"/>
                </a:lnTo>
                <a:cubicBezTo>
                  <a:pt x="6364931" y="2937764"/>
                  <a:pt x="6346634" y="2956061"/>
                  <a:pt x="6346634" y="2978423"/>
                </a:cubicBezTo>
                <a:lnTo>
                  <a:pt x="6346634" y="3117343"/>
                </a:lnTo>
                <a:cubicBezTo>
                  <a:pt x="6346634" y="3139706"/>
                  <a:pt x="6364931" y="3158003"/>
                  <a:pt x="6387294" y="3158003"/>
                </a:cubicBezTo>
                <a:lnTo>
                  <a:pt x="6681398" y="3158003"/>
                </a:lnTo>
                <a:lnTo>
                  <a:pt x="6681398" y="2838826"/>
                </a:lnTo>
                <a:cubicBezTo>
                  <a:pt x="6681398" y="2816463"/>
                  <a:pt x="6663101" y="2798166"/>
                  <a:pt x="6640738" y="2798166"/>
                </a:cubicBezTo>
                <a:close/>
                <a:moveTo>
                  <a:pt x="5746228" y="2798166"/>
                </a:moveTo>
                <a:lnTo>
                  <a:pt x="5746228" y="3158003"/>
                </a:lnTo>
                <a:lnTo>
                  <a:pt x="5877016" y="3158003"/>
                </a:lnTo>
                <a:lnTo>
                  <a:pt x="5877016" y="2880163"/>
                </a:lnTo>
                <a:lnTo>
                  <a:pt x="5950881" y="2880163"/>
                </a:lnTo>
                <a:lnTo>
                  <a:pt x="5951559" y="3158003"/>
                </a:lnTo>
                <a:lnTo>
                  <a:pt x="6082347" y="3158003"/>
                </a:lnTo>
                <a:lnTo>
                  <a:pt x="6082347" y="2880163"/>
                </a:lnTo>
                <a:cubicBezTo>
                  <a:pt x="6082347" y="2880163"/>
                  <a:pt x="6110809" y="2880163"/>
                  <a:pt x="6110809" y="2880163"/>
                </a:cubicBezTo>
                <a:cubicBezTo>
                  <a:pt x="6121652" y="2880163"/>
                  <a:pt x="6125040" y="2882196"/>
                  <a:pt x="6130461" y="2905236"/>
                </a:cubicBezTo>
                <a:lnTo>
                  <a:pt x="6188062" y="3158003"/>
                </a:lnTo>
                <a:lnTo>
                  <a:pt x="6322239" y="3158003"/>
                </a:lnTo>
                <a:cubicBezTo>
                  <a:pt x="6322239" y="3158003"/>
                  <a:pt x="6254473" y="2867287"/>
                  <a:pt x="6248374" y="2838826"/>
                </a:cubicBezTo>
                <a:cubicBezTo>
                  <a:pt x="6242275" y="2811042"/>
                  <a:pt x="6218557" y="2798166"/>
                  <a:pt x="6196194" y="2798166"/>
                </a:cubicBezTo>
                <a:cubicBezTo>
                  <a:pt x="6179253" y="2798166"/>
                  <a:pt x="5746228" y="2798166"/>
                  <a:pt x="5746228" y="2798166"/>
                </a:cubicBezTo>
                <a:close/>
                <a:moveTo>
                  <a:pt x="5025876" y="2798166"/>
                </a:moveTo>
                <a:cubicBezTo>
                  <a:pt x="5003513" y="2798166"/>
                  <a:pt x="4985216" y="2816463"/>
                  <a:pt x="4985216" y="2838826"/>
                </a:cubicBezTo>
                <a:lnTo>
                  <a:pt x="4985216" y="3117343"/>
                </a:lnTo>
                <a:cubicBezTo>
                  <a:pt x="4985216" y="3139706"/>
                  <a:pt x="5003513" y="3158003"/>
                  <a:pt x="5025876" y="3158003"/>
                </a:cubicBezTo>
                <a:lnTo>
                  <a:pt x="5279320" y="3158003"/>
                </a:lnTo>
                <a:cubicBezTo>
                  <a:pt x="5301683" y="3158003"/>
                  <a:pt x="5319981" y="3139706"/>
                  <a:pt x="5319981" y="3117343"/>
                </a:cubicBezTo>
                <a:lnTo>
                  <a:pt x="5319981" y="3076684"/>
                </a:lnTo>
                <a:lnTo>
                  <a:pt x="5127526" y="3076684"/>
                </a:lnTo>
                <a:cubicBezTo>
                  <a:pt x="5120748" y="3076684"/>
                  <a:pt x="5115327" y="3071263"/>
                  <a:pt x="5115327" y="3064486"/>
                </a:cubicBezTo>
                <a:lnTo>
                  <a:pt x="5115327" y="3019761"/>
                </a:lnTo>
                <a:lnTo>
                  <a:pt x="5319981" y="3019761"/>
                </a:lnTo>
                <a:lnTo>
                  <a:pt x="5319981" y="2838826"/>
                </a:lnTo>
                <a:cubicBezTo>
                  <a:pt x="5319981" y="2816463"/>
                  <a:pt x="5301683" y="2798166"/>
                  <a:pt x="5279320" y="2798166"/>
                </a:cubicBezTo>
                <a:close/>
                <a:moveTo>
                  <a:pt x="5561227" y="2651114"/>
                </a:moveTo>
                <a:lnTo>
                  <a:pt x="5560549" y="3158003"/>
                </a:lnTo>
                <a:lnTo>
                  <a:pt x="5692015" y="3158003"/>
                </a:lnTo>
                <a:lnTo>
                  <a:pt x="5692015" y="2651114"/>
                </a:lnTo>
                <a:close/>
                <a:moveTo>
                  <a:pt x="5374870" y="2651114"/>
                </a:moveTo>
                <a:lnTo>
                  <a:pt x="5374870" y="3158003"/>
                </a:lnTo>
                <a:lnTo>
                  <a:pt x="5505658" y="3158003"/>
                </a:lnTo>
                <a:lnTo>
                  <a:pt x="5505658" y="2651114"/>
                </a:lnTo>
                <a:close/>
                <a:moveTo>
                  <a:pt x="4589463" y="2650436"/>
                </a:moveTo>
                <a:lnTo>
                  <a:pt x="4589463" y="3158003"/>
                </a:lnTo>
                <a:lnTo>
                  <a:pt x="4720251" y="3158003"/>
                </a:lnTo>
                <a:lnTo>
                  <a:pt x="4720929" y="2878807"/>
                </a:lnTo>
                <a:cubicBezTo>
                  <a:pt x="4720929" y="2878807"/>
                  <a:pt x="4749391" y="2878807"/>
                  <a:pt x="4749391" y="2878807"/>
                </a:cubicBezTo>
                <a:cubicBezTo>
                  <a:pt x="4760233" y="2878807"/>
                  <a:pt x="4763622" y="2880840"/>
                  <a:pt x="4769043" y="2903881"/>
                </a:cubicBezTo>
                <a:lnTo>
                  <a:pt x="4827322" y="3157325"/>
                </a:lnTo>
                <a:lnTo>
                  <a:pt x="4961498" y="3157325"/>
                </a:lnTo>
                <a:cubicBezTo>
                  <a:pt x="4961498" y="3157325"/>
                  <a:pt x="4893732" y="2866609"/>
                  <a:pt x="4887633" y="2838148"/>
                </a:cubicBezTo>
                <a:cubicBezTo>
                  <a:pt x="4881534" y="2810364"/>
                  <a:pt x="4857816" y="2797488"/>
                  <a:pt x="4835453" y="2797488"/>
                </a:cubicBezTo>
                <a:cubicBezTo>
                  <a:pt x="4831388" y="2797488"/>
                  <a:pt x="4720929" y="2797488"/>
                  <a:pt x="4720929" y="2797488"/>
                </a:cubicBezTo>
                <a:lnTo>
                  <a:pt x="4720251" y="2650436"/>
                </a:lnTo>
                <a:close/>
                <a:moveTo>
                  <a:pt x="7537283" y="2567085"/>
                </a:moveTo>
                <a:cubicBezTo>
                  <a:pt x="7598272" y="2567085"/>
                  <a:pt x="7647741" y="2616554"/>
                  <a:pt x="7647741" y="2678221"/>
                </a:cubicBezTo>
                <a:cubicBezTo>
                  <a:pt x="7646386" y="2739210"/>
                  <a:pt x="7596239" y="2790712"/>
                  <a:pt x="7535927" y="2790712"/>
                </a:cubicBezTo>
                <a:cubicBezTo>
                  <a:pt x="7515597" y="2790712"/>
                  <a:pt x="7496623" y="2785291"/>
                  <a:pt x="7480359" y="2775804"/>
                </a:cubicBezTo>
                <a:cubicBezTo>
                  <a:pt x="7487136" y="2775804"/>
                  <a:pt x="7495945" y="2774449"/>
                  <a:pt x="7502722" y="2773093"/>
                </a:cubicBezTo>
                <a:cubicBezTo>
                  <a:pt x="7510176" y="2771738"/>
                  <a:pt x="7517631" y="2769027"/>
                  <a:pt x="7524407" y="2765639"/>
                </a:cubicBezTo>
                <a:cubicBezTo>
                  <a:pt x="7533894" y="2761573"/>
                  <a:pt x="7543382" y="2756829"/>
                  <a:pt x="7550836" y="2748020"/>
                </a:cubicBezTo>
                <a:cubicBezTo>
                  <a:pt x="7556257" y="2741921"/>
                  <a:pt x="7563034" y="2735144"/>
                  <a:pt x="7569810" y="2731078"/>
                </a:cubicBezTo>
                <a:cubicBezTo>
                  <a:pt x="7577265" y="2726335"/>
                  <a:pt x="7584719" y="2721591"/>
                  <a:pt x="7592851" y="2718203"/>
                </a:cubicBezTo>
                <a:cubicBezTo>
                  <a:pt x="7595561" y="2716848"/>
                  <a:pt x="7598950" y="2716170"/>
                  <a:pt x="7601660" y="2716170"/>
                </a:cubicBezTo>
                <a:cubicBezTo>
                  <a:pt x="7607082" y="2716170"/>
                  <a:pt x="7612503" y="2714137"/>
                  <a:pt x="7617924" y="2712104"/>
                </a:cubicBezTo>
                <a:cubicBezTo>
                  <a:pt x="7621990" y="2710749"/>
                  <a:pt x="7626056" y="2709393"/>
                  <a:pt x="7630122" y="2708716"/>
                </a:cubicBezTo>
                <a:cubicBezTo>
                  <a:pt x="7630800" y="2708716"/>
                  <a:pt x="7631477" y="2708716"/>
                  <a:pt x="7631477" y="2707360"/>
                </a:cubicBezTo>
                <a:cubicBezTo>
                  <a:pt x="7631477" y="2706005"/>
                  <a:pt x="7630122" y="2706683"/>
                  <a:pt x="7629444" y="2706005"/>
                </a:cubicBezTo>
                <a:cubicBezTo>
                  <a:pt x="7624023" y="2704650"/>
                  <a:pt x="7618602" y="2702617"/>
                  <a:pt x="7613858" y="2700584"/>
                </a:cubicBezTo>
                <a:cubicBezTo>
                  <a:pt x="7610470" y="2699906"/>
                  <a:pt x="7607082" y="2699228"/>
                  <a:pt x="7603693" y="2700584"/>
                </a:cubicBezTo>
                <a:cubicBezTo>
                  <a:pt x="7598272" y="2701939"/>
                  <a:pt x="7594206" y="2704650"/>
                  <a:pt x="7590140" y="2708038"/>
                </a:cubicBezTo>
                <a:cubicBezTo>
                  <a:pt x="7583363" y="2713459"/>
                  <a:pt x="7575909" y="2718203"/>
                  <a:pt x="7568455" y="2720913"/>
                </a:cubicBezTo>
                <a:cubicBezTo>
                  <a:pt x="7563034" y="2723624"/>
                  <a:pt x="7556935" y="2724979"/>
                  <a:pt x="7550836" y="2725657"/>
                </a:cubicBezTo>
                <a:cubicBezTo>
                  <a:pt x="7549480" y="2725657"/>
                  <a:pt x="7547448" y="2726335"/>
                  <a:pt x="7546092" y="2725657"/>
                </a:cubicBezTo>
                <a:cubicBezTo>
                  <a:pt x="7550836" y="2722269"/>
                  <a:pt x="7556257" y="2719558"/>
                  <a:pt x="7560323" y="2714137"/>
                </a:cubicBezTo>
                <a:cubicBezTo>
                  <a:pt x="7563711" y="2710071"/>
                  <a:pt x="7566422" y="2706005"/>
                  <a:pt x="7569810" y="2702617"/>
                </a:cubicBezTo>
                <a:cubicBezTo>
                  <a:pt x="7575232" y="2697873"/>
                  <a:pt x="7580653" y="2693807"/>
                  <a:pt x="7586752" y="2690419"/>
                </a:cubicBezTo>
                <a:lnTo>
                  <a:pt x="7600983" y="2682287"/>
                </a:lnTo>
                <a:cubicBezTo>
                  <a:pt x="7603693" y="2680932"/>
                  <a:pt x="7607082" y="2679576"/>
                  <a:pt x="7609792" y="2678899"/>
                </a:cubicBezTo>
                <a:cubicBezTo>
                  <a:pt x="7611825" y="2678221"/>
                  <a:pt x="7613858" y="2678221"/>
                  <a:pt x="7615891" y="2678221"/>
                </a:cubicBezTo>
                <a:cubicBezTo>
                  <a:pt x="7621312" y="2678221"/>
                  <a:pt x="7627411" y="2674155"/>
                  <a:pt x="7632833" y="2672122"/>
                </a:cubicBezTo>
                <a:cubicBezTo>
                  <a:pt x="7635543" y="2671444"/>
                  <a:pt x="7638254" y="2671444"/>
                  <a:pt x="7640287" y="2670089"/>
                </a:cubicBezTo>
                <a:cubicBezTo>
                  <a:pt x="7640964" y="2670089"/>
                  <a:pt x="7640964" y="2669411"/>
                  <a:pt x="7640964" y="2668734"/>
                </a:cubicBezTo>
                <a:lnTo>
                  <a:pt x="7640287" y="2668056"/>
                </a:lnTo>
                <a:cubicBezTo>
                  <a:pt x="7633510" y="2667378"/>
                  <a:pt x="7628089" y="2665345"/>
                  <a:pt x="7621312" y="2663312"/>
                </a:cubicBezTo>
                <a:cubicBezTo>
                  <a:pt x="7615891" y="2662635"/>
                  <a:pt x="7610470" y="2662635"/>
                  <a:pt x="7605726" y="2665345"/>
                </a:cubicBezTo>
                <a:cubicBezTo>
                  <a:pt x="7600983" y="2668734"/>
                  <a:pt x="7596917" y="2672122"/>
                  <a:pt x="7592173" y="2675510"/>
                </a:cubicBezTo>
                <a:cubicBezTo>
                  <a:pt x="7590818" y="2676188"/>
                  <a:pt x="7589463" y="2677543"/>
                  <a:pt x="7588107" y="2678221"/>
                </a:cubicBezTo>
                <a:cubicBezTo>
                  <a:pt x="7582686" y="2681609"/>
                  <a:pt x="7576587" y="2684998"/>
                  <a:pt x="7570488" y="2687031"/>
                </a:cubicBezTo>
                <a:cubicBezTo>
                  <a:pt x="7564389" y="2689063"/>
                  <a:pt x="7558290" y="2689741"/>
                  <a:pt x="7552191" y="2689741"/>
                </a:cubicBezTo>
                <a:cubicBezTo>
                  <a:pt x="7550158" y="2689741"/>
                  <a:pt x="7548125" y="2688386"/>
                  <a:pt x="7546770" y="2686353"/>
                </a:cubicBezTo>
                <a:cubicBezTo>
                  <a:pt x="7545415" y="2683642"/>
                  <a:pt x="7544737" y="2680932"/>
                  <a:pt x="7544737" y="2678221"/>
                </a:cubicBezTo>
                <a:cubicBezTo>
                  <a:pt x="7544737" y="2676188"/>
                  <a:pt x="7544737" y="2674833"/>
                  <a:pt x="7544059" y="2672800"/>
                </a:cubicBezTo>
                <a:cubicBezTo>
                  <a:pt x="7544059" y="2668056"/>
                  <a:pt x="7543382" y="2661957"/>
                  <a:pt x="7544737" y="2657214"/>
                </a:cubicBezTo>
                <a:cubicBezTo>
                  <a:pt x="7545415" y="2652470"/>
                  <a:pt x="7546770" y="2647726"/>
                  <a:pt x="7546092" y="2642983"/>
                </a:cubicBezTo>
                <a:cubicBezTo>
                  <a:pt x="7544737" y="2638917"/>
                  <a:pt x="7539316" y="2634173"/>
                  <a:pt x="7526440" y="2623331"/>
                </a:cubicBezTo>
                <a:cubicBezTo>
                  <a:pt x="7513565" y="2611810"/>
                  <a:pt x="7500011" y="2596902"/>
                  <a:pt x="7493235" y="2584704"/>
                </a:cubicBezTo>
                <a:cubicBezTo>
                  <a:pt x="7492557" y="2583349"/>
                  <a:pt x="7491879" y="2581993"/>
                  <a:pt x="7491202" y="2581316"/>
                </a:cubicBezTo>
                <a:cubicBezTo>
                  <a:pt x="7489846" y="2581316"/>
                  <a:pt x="7489846" y="2581993"/>
                  <a:pt x="7489169" y="2582671"/>
                </a:cubicBezTo>
                <a:cubicBezTo>
                  <a:pt x="7483748" y="2590125"/>
                  <a:pt x="7481714" y="2598935"/>
                  <a:pt x="7483070" y="2608422"/>
                </a:cubicBezTo>
                <a:cubicBezTo>
                  <a:pt x="7485103" y="2617909"/>
                  <a:pt x="7489169" y="2626041"/>
                  <a:pt x="7495945" y="2633495"/>
                </a:cubicBezTo>
                <a:cubicBezTo>
                  <a:pt x="7499334" y="2637561"/>
                  <a:pt x="7503400" y="2642983"/>
                  <a:pt x="7505433" y="2647049"/>
                </a:cubicBezTo>
                <a:cubicBezTo>
                  <a:pt x="7507466" y="2651115"/>
                  <a:pt x="7508143" y="2655181"/>
                  <a:pt x="7507466" y="2659924"/>
                </a:cubicBezTo>
                <a:lnTo>
                  <a:pt x="7497301" y="2652470"/>
                </a:lnTo>
                <a:cubicBezTo>
                  <a:pt x="7497301" y="2652470"/>
                  <a:pt x="7493235" y="2649759"/>
                  <a:pt x="7487136" y="2645016"/>
                </a:cubicBezTo>
                <a:cubicBezTo>
                  <a:pt x="7481714" y="2640950"/>
                  <a:pt x="7475616" y="2637561"/>
                  <a:pt x="7466128" y="2626719"/>
                </a:cubicBezTo>
                <a:cubicBezTo>
                  <a:pt x="7466128" y="2626041"/>
                  <a:pt x="7465451" y="2626041"/>
                  <a:pt x="7464773" y="2626719"/>
                </a:cubicBezTo>
                <a:cubicBezTo>
                  <a:pt x="7464095" y="2627397"/>
                  <a:pt x="7464095" y="2628074"/>
                  <a:pt x="7463418" y="2629429"/>
                </a:cubicBezTo>
                <a:cubicBezTo>
                  <a:pt x="7462062" y="2640272"/>
                  <a:pt x="7461385" y="2653148"/>
                  <a:pt x="7467484" y="2661957"/>
                </a:cubicBezTo>
                <a:cubicBezTo>
                  <a:pt x="7470872" y="2667378"/>
                  <a:pt x="7475616" y="2672122"/>
                  <a:pt x="7480359" y="2676866"/>
                </a:cubicBezTo>
                <a:cubicBezTo>
                  <a:pt x="7483748" y="2679576"/>
                  <a:pt x="7486458" y="2682965"/>
                  <a:pt x="7489846" y="2685675"/>
                </a:cubicBezTo>
                <a:cubicBezTo>
                  <a:pt x="7493235" y="2688386"/>
                  <a:pt x="7496623" y="2691774"/>
                  <a:pt x="7496623" y="2695840"/>
                </a:cubicBezTo>
                <a:cubicBezTo>
                  <a:pt x="7497301" y="2700584"/>
                  <a:pt x="7495268" y="2704650"/>
                  <a:pt x="7493912" y="2708716"/>
                </a:cubicBezTo>
                <a:cubicBezTo>
                  <a:pt x="7491879" y="2712104"/>
                  <a:pt x="7490524" y="2715492"/>
                  <a:pt x="7487814" y="2717525"/>
                </a:cubicBezTo>
                <a:cubicBezTo>
                  <a:pt x="7483748" y="2720236"/>
                  <a:pt x="7477649" y="2718203"/>
                  <a:pt x="7472905" y="2718880"/>
                </a:cubicBezTo>
                <a:cubicBezTo>
                  <a:pt x="7469517" y="2718880"/>
                  <a:pt x="7467484" y="2722269"/>
                  <a:pt x="7466128" y="2724979"/>
                </a:cubicBezTo>
                <a:cubicBezTo>
                  <a:pt x="7464095" y="2728368"/>
                  <a:pt x="7462062" y="2731756"/>
                  <a:pt x="7462740" y="2735822"/>
                </a:cubicBezTo>
                <a:cubicBezTo>
                  <a:pt x="7463418" y="2740566"/>
                  <a:pt x="7465451" y="2744632"/>
                  <a:pt x="7466806" y="2746665"/>
                </a:cubicBezTo>
                <a:cubicBezTo>
                  <a:pt x="7467484" y="2747342"/>
                  <a:pt x="7468161" y="2748697"/>
                  <a:pt x="7469517" y="2748697"/>
                </a:cubicBezTo>
                <a:cubicBezTo>
                  <a:pt x="7471550" y="2748020"/>
                  <a:pt x="7473583" y="2747342"/>
                  <a:pt x="7475616" y="2745987"/>
                </a:cubicBezTo>
                <a:cubicBezTo>
                  <a:pt x="7485103" y="2737855"/>
                  <a:pt x="7489169" y="2735144"/>
                  <a:pt x="7499334" y="2732434"/>
                </a:cubicBezTo>
                <a:cubicBezTo>
                  <a:pt x="7493235" y="2735144"/>
                  <a:pt x="7488491" y="2741921"/>
                  <a:pt x="7487136" y="2743954"/>
                </a:cubicBezTo>
                <a:cubicBezTo>
                  <a:pt x="7479004" y="2753441"/>
                  <a:pt x="7471550" y="2757507"/>
                  <a:pt x="7460029" y="2755474"/>
                </a:cubicBezTo>
                <a:cubicBezTo>
                  <a:pt x="7457319" y="2754796"/>
                  <a:pt x="7455963" y="2754119"/>
                  <a:pt x="7455963" y="2754119"/>
                </a:cubicBezTo>
                <a:cubicBezTo>
                  <a:pt x="7445121" y="2742599"/>
                  <a:pt x="7426146" y="2716170"/>
                  <a:pt x="7426146" y="2678221"/>
                </a:cubicBezTo>
                <a:cubicBezTo>
                  <a:pt x="7426146" y="2617232"/>
                  <a:pt x="7475616" y="2567085"/>
                  <a:pt x="7537283" y="2567085"/>
                </a:cubicBezTo>
                <a:close/>
                <a:moveTo>
                  <a:pt x="7535927" y="2552854"/>
                </a:moveTo>
                <a:cubicBezTo>
                  <a:pt x="7466128" y="2552854"/>
                  <a:pt x="7409205" y="2609777"/>
                  <a:pt x="7409205" y="2679576"/>
                </a:cubicBezTo>
                <a:cubicBezTo>
                  <a:pt x="7409205" y="2749375"/>
                  <a:pt x="7466128" y="2806299"/>
                  <a:pt x="7535927" y="2806299"/>
                </a:cubicBezTo>
                <a:cubicBezTo>
                  <a:pt x="7605726" y="2806299"/>
                  <a:pt x="7662650" y="2749375"/>
                  <a:pt x="7662650" y="2679576"/>
                </a:cubicBezTo>
                <a:cubicBezTo>
                  <a:pt x="7662650" y="2609777"/>
                  <a:pt x="7605726" y="2552854"/>
                  <a:pt x="7535927" y="2552854"/>
                </a:cubicBezTo>
                <a:close/>
                <a:moveTo>
                  <a:pt x="0" y="0"/>
                </a:moveTo>
                <a:lnTo>
                  <a:pt x="12191999" y="0"/>
                </a:lnTo>
                <a:lnTo>
                  <a:pt x="12191999" y="6858000"/>
                </a:lnTo>
                <a:lnTo>
                  <a:pt x="0" y="6858000"/>
                </a:lnTo>
                <a:close/>
              </a:path>
            </a:pathLst>
          </a:custGeom>
          <a:blipFill>
            <a:blip r:embed="rId5"/>
            <a:stretch>
              <a:fillRect/>
            </a:stretch>
          </a:blipFill>
        </p:spPr>
        <p:txBody>
          <a:bodyPr wrap="square">
            <a:noAutofit/>
          </a:bodyPr>
          <a:lstStyle>
            <a:lvl1pPr marL="285750" indent="-285750" algn="ctr" rtl="0">
              <a:buFontTx/>
              <a:buBlip>
                <a:blip r:embed="rId6"/>
              </a:buBlip>
              <a:defRPr>
                <a:solidFill>
                  <a:schemeClr val="bg1"/>
                </a:solidFill>
              </a:defRPr>
            </a:lvl1pPr>
          </a:lstStyle>
          <a:p>
            <a:endParaRPr lang="en-US"/>
          </a:p>
          <a:p>
            <a:endParaRPr lang="en-US"/>
          </a:p>
          <a:p>
            <a:r>
              <a:rPr lang="en-US"/>
              <a:t>Fill image placeholder and make the image 30% darker!</a:t>
            </a:r>
          </a:p>
        </p:txBody>
      </p:sp>
      <p:sp>
        <p:nvSpPr>
          <p:cNvPr id="65" name="Titel 1">
            <a:extLst>
              <a:ext uri="{FF2B5EF4-FFF2-40B4-BE49-F238E27FC236}">
                <a16:creationId xmlns:a16="http://schemas.microsoft.com/office/drawing/2014/main" id="{E49B6C10-9696-4A20-A390-BBF8A02CA45E}"/>
              </a:ext>
            </a:extLst>
          </p:cNvPr>
          <p:cNvSpPr>
            <a:spLocks noGrp="1"/>
          </p:cNvSpPr>
          <p:nvPr>
            <p:ph type="title" hasCustomPrompt="1"/>
          </p:nvPr>
        </p:nvSpPr>
        <p:spPr>
          <a:xfrm>
            <a:off x="815952" y="3728788"/>
            <a:ext cx="10560096" cy="1148012"/>
          </a:xfrm>
        </p:spPr>
        <p:txBody>
          <a:bodyPr vert="horz" anchor="t">
            <a:normAutofit/>
          </a:bodyPr>
          <a:lstStyle>
            <a:lvl1pPr algn="ctr" rtl="0">
              <a:lnSpc>
                <a:spcPct val="100000"/>
              </a:lnSpc>
              <a:defRPr sz="3600">
                <a:solidFill>
                  <a:schemeClr val="bg1"/>
                </a:solidFill>
              </a:defRPr>
            </a:lvl1pPr>
          </a:lstStyle>
          <a:p>
            <a:r>
              <a:rPr lang="en-US"/>
              <a:t>Headline</a:t>
            </a:r>
          </a:p>
        </p:txBody>
      </p:sp>
      <p:grpSp>
        <p:nvGrpSpPr>
          <p:cNvPr id="3" name="Grafik 1">
            <a:extLst>
              <a:ext uri="{FF2B5EF4-FFF2-40B4-BE49-F238E27FC236}">
                <a16:creationId xmlns:a16="http://schemas.microsoft.com/office/drawing/2014/main" id="{E72B9C0B-F869-48CB-84AA-6132E62EFC1D}"/>
              </a:ext>
            </a:extLst>
          </p:cNvPr>
          <p:cNvGrpSpPr/>
          <p:nvPr/>
        </p:nvGrpSpPr>
        <p:grpSpPr>
          <a:xfrm>
            <a:off x="4588770" y="2552700"/>
            <a:ext cx="3077435" cy="777671"/>
            <a:chOff x="4591049" y="2550319"/>
            <a:chExt cx="3068013" cy="775290"/>
          </a:xfrm>
          <a:solidFill>
            <a:schemeClr val="accent1"/>
          </a:solidFill>
        </p:grpSpPr>
        <p:grpSp>
          <p:nvGrpSpPr>
            <p:cNvPr id="4" name="Grafik 1">
              <a:extLst>
                <a:ext uri="{FF2B5EF4-FFF2-40B4-BE49-F238E27FC236}">
                  <a16:creationId xmlns:a16="http://schemas.microsoft.com/office/drawing/2014/main" id="{E72B9C0B-F869-48CB-84AA-6132E62EFC1D}"/>
                </a:ext>
              </a:extLst>
            </p:cNvPr>
            <p:cNvGrpSpPr/>
            <p:nvPr/>
          </p:nvGrpSpPr>
          <p:grpSpPr>
            <a:xfrm>
              <a:off x="4591049" y="2647737"/>
              <a:ext cx="2909031" cy="506712"/>
              <a:chOff x="4591049" y="2647737"/>
              <a:chExt cx="2909031" cy="506712"/>
            </a:xfrm>
            <a:solidFill>
              <a:srgbClr val="E42313"/>
            </a:solidFill>
          </p:grpSpPr>
          <p:sp>
            <p:nvSpPr>
              <p:cNvPr id="5" name="Freihandform: Form 4">
                <a:extLst>
                  <a:ext uri="{FF2B5EF4-FFF2-40B4-BE49-F238E27FC236}">
                    <a16:creationId xmlns:a16="http://schemas.microsoft.com/office/drawing/2014/main" id="{58083A5F-77D4-479C-8508-64182CD83B35}"/>
                  </a:ext>
                </a:extLst>
              </p:cNvPr>
              <p:cNvSpPr/>
              <p:nvPr/>
            </p:nvSpPr>
            <p:spPr>
              <a:xfrm>
                <a:off x="4591049" y="2647737"/>
                <a:ext cx="371408" cy="506712"/>
              </a:xfrm>
              <a:custGeom>
                <a:avLst/>
                <a:gdLst>
                  <a:gd name="connsiteX0" fmla="*/ 130568 w 371408"/>
                  <a:gd name="connsiteY0" fmla="*/ 506713 h 506712"/>
                  <a:gd name="connsiteX1" fmla="*/ 0 w 371408"/>
                  <a:gd name="connsiteY1" fmla="*/ 506713 h 506712"/>
                  <a:gd name="connsiteX2" fmla="*/ 0 w 371408"/>
                  <a:gd name="connsiteY2" fmla="*/ 0 h 506712"/>
                  <a:gd name="connsiteX3" fmla="*/ 130568 w 371408"/>
                  <a:gd name="connsiteY3" fmla="*/ 0 h 506712"/>
                  <a:gd name="connsiteX4" fmla="*/ 131245 w 371408"/>
                  <a:gd name="connsiteY4" fmla="*/ 146805 h 506712"/>
                  <a:gd name="connsiteX5" fmla="*/ 245576 w 371408"/>
                  <a:gd name="connsiteY5" fmla="*/ 146805 h 506712"/>
                  <a:gd name="connsiteX6" fmla="*/ 297668 w 371408"/>
                  <a:gd name="connsiteY6" fmla="*/ 187396 h 506712"/>
                  <a:gd name="connsiteX7" fmla="*/ 371409 w 371408"/>
                  <a:gd name="connsiteY7" fmla="*/ 506036 h 506712"/>
                  <a:gd name="connsiteX8" fmla="*/ 237458 w 371408"/>
                  <a:gd name="connsiteY8" fmla="*/ 506036 h 506712"/>
                  <a:gd name="connsiteX9" fmla="*/ 179278 w 371408"/>
                  <a:gd name="connsiteY9" fmla="*/ 253018 h 506712"/>
                  <a:gd name="connsiteX10" fmla="*/ 159658 w 371408"/>
                  <a:gd name="connsiteY10" fmla="*/ 227987 h 506712"/>
                  <a:gd name="connsiteX11" fmla="*/ 131245 w 371408"/>
                  <a:gd name="connsiteY11" fmla="*/ 227987 h 506712"/>
                  <a:gd name="connsiteX12" fmla="*/ 130568 w 371408"/>
                  <a:gd name="connsiteY12" fmla="*/ 506713 h 506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1408" h="506712">
                    <a:moveTo>
                      <a:pt x="130568" y="506713"/>
                    </a:moveTo>
                    <a:lnTo>
                      <a:pt x="0" y="506713"/>
                    </a:lnTo>
                    <a:lnTo>
                      <a:pt x="0" y="0"/>
                    </a:lnTo>
                    <a:lnTo>
                      <a:pt x="130568" y="0"/>
                    </a:lnTo>
                    <a:lnTo>
                      <a:pt x="131245" y="146805"/>
                    </a:lnTo>
                    <a:cubicBezTo>
                      <a:pt x="131245" y="146805"/>
                      <a:pt x="241517" y="146805"/>
                      <a:pt x="245576" y="146805"/>
                    </a:cubicBezTo>
                    <a:cubicBezTo>
                      <a:pt x="267902" y="146805"/>
                      <a:pt x="291580" y="159659"/>
                      <a:pt x="297668" y="187396"/>
                    </a:cubicBezTo>
                    <a:cubicBezTo>
                      <a:pt x="303757" y="215810"/>
                      <a:pt x="371409" y="506036"/>
                      <a:pt x="371409" y="506036"/>
                    </a:cubicBezTo>
                    <a:lnTo>
                      <a:pt x="237458" y="506036"/>
                    </a:lnTo>
                    <a:lnTo>
                      <a:pt x="179278" y="253018"/>
                    </a:lnTo>
                    <a:cubicBezTo>
                      <a:pt x="173865" y="230017"/>
                      <a:pt x="170483" y="227987"/>
                      <a:pt x="159658" y="227987"/>
                    </a:cubicBezTo>
                    <a:cubicBezTo>
                      <a:pt x="159658" y="227987"/>
                      <a:pt x="131245" y="227987"/>
                      <a:pt x="131245" y="227987"/>
                    </a:cubicBezTo>
                    <a:lnTo>
                      <a:pt x="130568" y="506713"/>
                    </a:lnTo>
                    <a:close/>
                  </a:path>
                </a:pathLst>
              </a:custGeom>
              <a:solidFill>
                <a:srgbClr val="E42313"/>
              </a:solidFill>
              <a:ln w="6756" cap="flat">
                <a:noFill/>
                <a:prstDash val="solid"/>
                <a:miter/>
              </a:ln>
            </p:spPr>
            <p:txBody>
              <a:bodyPr rtlCol="0" anchor="ctr"/>
              <a:lstStyle/>
              <a:p>
                <a:pPr rtl="0"/>
                <a:endParaRPr lang="en-US"/>
              </a:p>
            </p:txBody>
          </p:sp>
          <p:sp>
            <p:nvSpPr>
              <p:cNvPr id="6" name="Freihandform: Form 5">
                <a:extLst>
                  <a:ext uri="{FF2B5EF4-FFF2-40B4-BE49-F238E27FC236}">
                    <a16:creationId xmlns:a16="http://schemas.microsoft.com/office/drawing/2014/main" id="{579284D4-7742-420B-AEF0-593FD613EBDC}"/>
                  </a:ext>
                </a:extLst>
              </p:cNvPr>
              <p:cNvSpPr/>
              <p:nvPr/>
            </p:nvSpPr>
            <p:spPr>
              <a:xfrm>
                <a:off x="4986136" y="2795218"/>
                <a:ext cx="334200" cy="359231"/>
              </a:xfrm>
              <a:custGeom>
                <a:avLst/>
                <a:gdLst>
                  <a:gd name="connsiteX0" fmla="*/ 129892 w 334200"/>
                  <a:gd name="connsiteY0" fmla="*/ 139363 h 359231"/>
                  <a:gd name="connsiteX1" fmla="*/ 129892 w 334200"/>
                  <a:gd name="connsiteY1" fmla="*/ 94036 h 359231"/>
                  <a:gd name="connsiteX2" fmla="*/ 142069 w 334200"/>
                  <a:gd name="connsiteY2" fmla="*/ 81859 h 359231"/>
                  <a:gd name="connsiteX3" fmla="*/ 190778 w 334200"/>
                  <a:gd name="connsiteY3" fmla="*/ 81859 h 359231"/>
                  <a:gd name="connsiteX4" fmla="*/ 202956 w 334200"/>
                  <a:gd name="connsiteY4" fmla="*/ 94036 h 359231"/>
                  <a:gd name="connsiteX5" fmla="*/ 202956 w 334200"/>
                  <a:gd name="connsiteY5" fmla="*/ 139363 h 359231"/>
                  <a:gd name="connsiteX6" fmla="*/ 129892 w 334200"/>
                  <a:gd name="connsiteY6" fmla="*/ 139363 h 359231"/>
                  <a:gd name="connsiteX7" fmla="*/ 334200 w 334200"/>
                  <a:gd name="connsiteY7" fmla="*/ 40591 h 359231"/>
                  <a:gd name="connsiteX8" fmla="*/ 293609 w 334200"/>
                  <a:gd name="connsiteY8" fmla="*/ 0 h 359231"/>
                  <a:gd name="connsiteX9" fmla="*/ 40591 w 334200"/>
                  <a:gd name="connsiteY9" fmla="*/ 0 h 359231"/>
                  <a:gd name="connsiteX10" fmla="*/ 0 w 334200"/>
                  <a:gd name="connsiteY10" fmla="*/ 40591 h 359231"/>
                  <a:gd name="connsiteX11" fmla="*/ 0 w 334200"/>
                  <a:gd name="connsiteY11" fmla="*/ 318641 h 359231"/>
                  <a:gd name="connsiteX12" fmla="*/ 40591 w 334200"/>
                  <a:gd name="connsiteY12" fmla="*/ 359232 h 359231"/>
                  <a:gd name="connsiteX13" fmla="*/ 293609 w 334200"/>
                  <a:gd name="connsiteY13" fmla="*/ 359232 h 359231"/>
                  <a:gd name="connsiteX14" fmla="*/ 334200 w 334200"/>
                  <a:gd name="connsiteY14" fmla="*/ 318641 h 359231"/>
                  <a:gd name="connsiteX15" fmla="*/ 334200 w 334200"/>
                  <a:gd name="connsiteY15" fmla="*/ 278049 h 359231"/>
                  <a:gd name="connsiteX16" fmla="*/ 142069 w 334200"/>
                  <a:gd name="connsiteY16" fmla="*/ 278049 h 359231"/>
                  <a:gd name="connsiteX17" fmla="*/ 129892 w 334200"/>
                  <a:gd name="connsiteY17" fmla="*/ 265872 h 359231"/>
                  <a:gd name="connsiteX18" fmla="*/ 129892 w 334200"/>
                  <a:gd name="connsiteY18" fmla="*/ 221222 h 359231"/>
                  <a:gd name="connsiteX19" fmla="*/ 334200 w 334200"/>
                  <a:gd name="connsiteY19" fmla="*/ 221222 h 359231"/>
                  <a:gd name="connsiteX20" fmla="*/ 334200 w 334200"/>
                  <a:gd name="connsiteY20" fmla="*/ 40591 h 3592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34200" h="359231">
                    <a:moveTo>
                      <a:pt x="129892" y="139363"/>
                    </a:moveTo>
                    <a:lnTo>
                      <a:pt x="129892" y="94036"/>
                    </a:lnTo>
                    <a:cubicBezTo>
                      <a:pt x="129892" y="87271"/>
                      <a:pt x="135304" y="81859"/>
                      <a:pt x="142069" y="81859"/>
                    </a:cubicBezTo>
                    <a:lnTo>
                      <a:pt x="190778" y="81859"/>
                    </a:lnTo>
                    <a:cubicBezTo>
                      <a:pt x="197544" y="81859"/>
                      <a:pt x="202956" y="87271"/>
                      <a:pt x="202956" y="94036"/>
                    </a:cubicBezTo>
                    <a:lnTo>
                      <a:pt x="202956" y="139363"/>
                    </a:lnTo>
                    <a:lnTo>
                      <a:pt x="129892" y="139363"/>
                    </a:lnTo>
                    <a:close/>
                    <a:moveTo>
                      <a:pt x="334200" y="40591"/>
                    </a:moveTo>
                    <a:cubicBezTo>
                      <a:pt x="334200" y="18266"/>
                      <a:pt x="315934" y="0"/>
                      <a:pt x="293609" y="0"/>
                    </a:cubicBezTo>
                    <a:lnTo>
                      <a:pt x="40591" y="0"/>
                    </a:lnTo>
                    <a:cubicBezTo>
                      <a:pt x="18266" y="0"/>
                      <a:pt x="0" y="18266"/>
                      <a:pt x="0" y="40591"/>
                    </a:cubicBezTo>
                    <a:lnTo>
                      <a:pt x="0" y="318641"/>
                    </a:lnTo>
                    <a:cubicBezTo>
                      <a:pt x="0" y="340966"/>
                      <a:pt x="18266" y="359232"/>
                      <a:pt x="40591" y="359232"/>
                    </a:cubicBezTo>
                    <a:lnTo>
                      <a:pt x="293609" y="359232"/>
                    </a:lnTo>
                    <a:cubicBezTo>
                      <a:pt x="315934" y="359232"/>
                      <a:pt x="334200" y="340966"/>
                      <a:pt x="334200" y="318641"/>
                    </a:cubicBezTo>
                    <a:lnTo>
                      <a:pt x="334200" y="278049"/>
                    </a:lnTo>
                    <a:lnTo>
                      <a:pt x="142069" y="278049"/>
                    </a:lnTo>
                    <a:cubicBezTo>
                      <a:pt x="135304" y="278049"/>
                      <a:pt x="129892" y="272637"/>
                      <a:pt x="129892" y="265872"/>
                    </a:cubicBezTo>
                    <a:lnTo>
                      <a:pt x="129892" y="221222"/>
                    </a:lnTo>
                    <a:lnTo>
                      <a:pt x="334200" y="221222"/>
                    </a:lnTo>
                    <a:lnTo>
                      <a:pt x="334200" y="40591"/>
                    </a:lnTo>
                    <a:close/>
                  </a:path>
                </a:pathLst>
              </a:custGeom>
              <a:solidFill>
                <a:srgbClr val="E42313"/>
              </a:solidFill>
              <a:ln w="6756" cap="flat">
                <a:noFill/>
                <a:prstDash val="solid"/>
                <a:miter/>
              </a:ln>
            </p:spPr>
            <p:txBody>
              <a:bodyPr rtlCol="0" anchor="ctr"/>
              <a:lstStyle/>
              <a:p>
                <a:pPr rtl="0"/>
                <a:endParaRPr lang="en-US"/>
              </a:p>
            </p:txBody>
          </p:sp>
          <p:sp>
            <p:nvSpPr>
              <p:cNvPr id="7" name="Freihandform: Form 6">
                <a:extLst>
                  <a:ext uri="{FF2B5EF4-FFF2-40B4-BE49-F238E27FC236}">
                    <a16:creationId xmlns:a16="http://schemas.microsoft.com/office/drawing/2014/main" id="{2C1D9E28-FAB9-4CC4-89E4-6856ADF02602}"/>
                  </a:ext>
                </a:extLst>
              </p:cNvPr>
              <p:cNvSpPr/>
              <p:nvPr/>
            </p:nvSpPr>
            <p:spPr>
              <a:xfrm>
                <a:off x="5375134" y="2648414"/>
                <a:ext cx="130568" cy="506036"/>
              </a:xfrm>
              <a:custGeom>
                <a:avLst/>
                <a:gdLst>
                  <a:gd name="connsiteX0" fmla="*/ 130568 w 130568"/>
                  <a:gd name="connsiteY0" fmla="*/ 506036 h 506036"/>
                  <a:gd name="connsiteX1" fmla="*/ 0 w 130568"/>
                  <a:gd name="connsiteY1" fmla="*/ 506036 h 506036"/>
                  <a:gd name="connsiteX2" fmla="*/ 0 w 130568"/>
                  <a:gd name="connsiteY2" fmla="*/ 0 h 506036"/>
                  <a:gd name="connsiteX3" fmla="*/ 130568 w 130568"/>
                  <a:gd name="connsiteY3" fmla="*/ 0 h 506036"/>
                </a:gdLst>
                <a:ahLst/>
                <a:cxnLst>
                  <a:cxn ang="0">
                    <a:pos x="connsiteX0" y="connsiteY0"/>
                  </a:cxn>
                  <a:cxn ang="0">
                    <a:pos x="connsiteX1" y="connsiteY1"/>
                  </a:cxn>
                  <a:cxn ang="0">
                    <a:pos x="connsiteX2" y="connsiteY2"/>
                  </a:cxn>
                  <a:cxn ang="0">
                    <a:pos x="connsiteX3" y="connsiteY3"/>
                  </a:cxn>
                </a:cxnLst>
                <a:rect l="l" t="t" r="r" b="b"/>
                <a:pathLst>
                  <a:path w="130568" h="506035">
                    <a:moveTo>
                      <a:pt x="130568" y="506036"/>
                    </a:moveTo>
                    <a:lnTo>
                      <a:pt x="0" y="506036"/>
                    </a:lnTo>
                    <a:lnTo>
                      <a:pt x="0" y="0"/>
                    </a:lnTo>
                    <a:lnTo>
                      <a:pt x="130568" y="0"/>
                    </a:lnTo>
                    <a:close/>
                  </a:path>
                </a:pathLst>
              </a:custGeom>
              <a:solidFill>
                <a:srgbClr val="E42313"/>
              </a:solidFill>
              <a:ln w="6756" cap="flat">
                <a:noFill/>
                <a:prstDash val="solid"/>
                <a:miter/>
              </a:ln>
            </p:spPr>
            <p:txBody>
              <a:bodyPr rtlCol="0" anchor="ctr"/>
              <a:lstStyle/>
              <a:p>
                <a:pPr rtl="0"/>
                <a:endParaRPr lang="en-US"/>
              </a:p>
            </p:txBody>
          </p:sp>
          <p:sp>
            <p:nvSpPr>
              <p:cNvPr id="8" name="Freihandform: Form 7">
                <a:extLst>
                  <a:ext uri="{FF2B5EF4-FFF2-40B4-BE49-F238E27FC236}">
                    <a16:creationId xmlns:a16="http://schemas.microsoft.com/office/drawing/2014/main" id="{B1111EF9-F8B0-41DB-A38B-C294A1CD9955}"/>
                  </a:ext>
                </a:extLst>
              </p:cNvPr>
              <p:cNvSpPr/>
              <p:nvPr/>
            </p:nvSpPr>
            <p:spPr>
              <a:xfrm>
                <a:off x="5560500" y="2648414"/>
                <a:ext cx="131244" cy="506036"/>
              </a:xfrm>
              <a:custGeom>
                <a:avLst/>
                <a:gdLst>
                  <a:gd name="connsiteX0" fmla="*/ 131245 w 131244"/>
                  <a:gd name="connsiteY0" fmla="*/ 506036 h 506036"/>
                  <a:gd name="connsiteX1" fmla="*/ 0 w 131244"/>
                  <a:gd name="connsiteY1" fmla="*/ 506036 h 506036"/>
                  <a:gd name="connsiteX2" fmla="*/ 676 w 131244"/>
                  <a:gd name="connsiteY2" fmla="*/ 0 h 506036"/>
                  <a:gd name="connsiteX3" fmla="*/ 131245 w 131244"/>
                  <a:gd name="connsiteY3" fmla="*/ 0 h 506036"/>
                </a:gdLst>
                <a:ahLst/>
                <a:cxnLst>
                  <a:cxn ang="0">
                    <a:pos x="connsiteX0" y="connsiteY0"/>
                  </a:cxn>
                  <a:cxn ang="0">
                    <a:pos x="connsiteX1" y="connsiteY1"/>
                  </a:cxn>
                  <a:cxn ang="0">
                    <a:pos x="connsiteX2" y="connsiteY2"/>
                  </a:cxn>
                  <a:cxn ang="0">
                    <a:pos x="connsiteX3" y="connsiteY3"/>
                  </a:cxn>
                </a:cxnLst>
                <a:rect l="l" t="t" r="r" b="b"/>
                <a:pathLst>
                  <a:path w="131244" h="506035">
                    <a:moveTo>
                      <a:pt x="131245" y="506036"/>
                    </a:moveTo>
                    <a:lnTo>
                      <a:pt x="0" y="506036"/>
                    </a:lnTo>
                    <a:lnTo>
                      <a:pt x="676" y="0"/>
                    </a:lnTo>
                    <a:lnTo>
                      <a:pt x="131245" y="0"/>
                    </a:lnTo>
                    <a:close/>
                  </a:path>
                </a:pathLst>
              </a:custGeom>
              <a:solidFill>
                <a:srgbClr val="E42313"/>
              </a:solidFill>
              <a:ln w="6756" cap="flat">
                <a:noFill/>
                <a:prstDash val="solid"/>
                <a:miter/>
              </a:ln>
            </p:spPr>
            <p:txBody>
              <a:bodyPr rtlCol="0" anchor="ctr"/>
              <a:lstStyle/>
              <a:p>
                <a:pPr rtl="0"/>
                <a:endParaRPr lang="en-US"/>
              </a:p>
            </p:txBody>
          </p:sp>
          <p:sp>
            <p:nvSpPr>
              <p:cNvPr id="9" name="Freihandform: Form 8">
                <a:extLst>
                  <a:ext uri="{FF2B5EF4-FFF2-40B4-BE49-F238E27FC236}">
                    <a16:creationId xmlns:a16="http://schemas.microsoft.com/office/drawing/2014/main" id="{026DEAB6-643A-4744-AA87-D92715142968}"/>
                  </a:ext>
                </a:extLst>
              </p:cNvPr>
              <p:cNvSpPr/>
              <p:nvPr/>
            </p:nvSpPr>
            <p:spPr>
              <a:xfrm>
                <a:off x="5745866" y="2795218"/>
                <a:ext cx="575041" cy="359231"/>
              </a:xfrm>
              <a:custGeom>
                <a:avLst/>
                <a:gdLst>
                  <a:gd name="connsiteX0" fmla="*/ 335553 w 575041"/>
                  <a:gd name="connsiteY0" fmla="*/ 359232 h 359231"/>
                  <a:gd name="connsiteX1" fmla="*/ 204985 w 575041"/>
                  <a:gd name="connsiteY1" fmla="*/ 359232 h 359231"/>
                  <a:gd name="connsiteX2" fmla="*/ 204309 w 575041"/>
                  <a:gd name="connsiteY2" fmla="*/ 81859 h 359231"/>
                  <a:gd name="connsiteX3" fmla="*/ 130568 w 575041"/>
                  <a:gd name="connsiteY3" fmla="*/ 81859 h 359231"/>
                  <a:gd name="connsiteX4" fmla="*/ 130568 w 575041"/>
                  <a:gd name="connsiteY4" fmla="*/ 359232 h 359231"/>
                  <a:gd name="connsiteX5" fmla="*/ 0 w 575041"/>
                  <a:gd name="connsiteY5" fmla="*/ 359232 h 359231"/>
                  <a:gd name="connsiteX6" fmla="*/ 0 w 575041"/>
                  <a:gd name="connsiteY6" fmla="*/ 0 h 359231"/>
                  <a:gd name="connsiteX7" fmla="*/ 449209 w 575041"/>
                  <a:gd name="connsiteY7" fmla="*/ 0 h 359231"/>
                  <a:gd name="connsiteX8" fmla="*/ 501301 w 575041"/>
                  <a:gd name="connsiteY8" fmla="*/ 40591 h 359231"/>
                  <a:gd name="connsiteX9" fmla="*/ 575041 w 575041"/>
                  <a:gd name="connsiteY9" fmla="*/ 359232 h 359231"/>
                  <a:gd name="connsiteX10" fmla="*/ 441090 w 575041"/>
                  <a:gd name="connsiteY10" fmla="*/ 359232 h 359231"/>
                  <a:gd name="connsiteX11" fmla="*/ 383586 w 575041"/>
                  <a:gd name="connsiteY11" fmla="*/ 106890 h 359231"/>
                  <a:gd name="connsiteX12" fmla="*/ 363967 w 575041"/>
                  <a:gd name="connsiteY12" fmla="*/ 81859 h 359231"/>
                  <a:gd name="connsiteX13" fmla="*/ 335553 w 575041"/>
                  <a:gd name="connsiteY13" fmla="*/ 81859 h 359231"/>
                  <a:gd name="connsiteX14" fmla="*/ 335553 w 575041"/>
                  <a:gd name="connsiteY14" fmla="*/ 359232 h 3592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5041" h="359231">
                    <a:moveTo>
                      <a:pt x="335553" y="359232"/>
                    </a:moveTo>
                    <a:lnTo>
                      <a:pt x="204985" y="359232"/>
                    </a:lnTo>
                    <a:lnTo>
                      <a:pt x="204309" y="81859"/>
                    </a:lnTo>
                    <a:lnTo>
                      <a:pt x="130568" y="81859"/>
                    </a:lnTo>
                    <a:lnTo>
                      <a:pt x="130568" y="359232"/>
                    </a:lnTo>
                    <a:lnTo>
                      <a:pt x="0" y="359232"/>
                    </a:lnTo>
                    <a:lnTo>
                      <a:pt x="0" y="0"/>
                    </a:lnTo>
                    <a:cubicBezTo>
                      <a:pt x="0" y="0"/>
                      <a:pt x="432296" y="0"/>
                      <a:pt x="449209" y="0"/>
                    </a:cubicBezTo>
                    <a:cubicBezTo>
                      <a:pt x="471534" y="0"/>
                      <a:pt x="495212" y="12854"/>
                      <a:pt x="501301" y="40591"/>
                    </a:cubicBezTo>
                    <a:cubicBezTo>
                      <a:pt x="507389" y="69005"/>
                      <a:pt x="575041" y="359232"/>
                      <a:pt x="575041" y="359232"/>
                    </a:cubicBezTo>
                    <a:lnTo>
                      <a:pt x="441090" y="359232"/>
                    </a:lnTo>
                    <a:lnTo>
                      <a:pt x="383586" y="106890"/>
                    </a:lnTo>
                    <a:cubicBezTo>
                      <a:pt x="378174" y="83888"/>
                      <a:pt x="374792" y="81859"/>
                      <a:pt x="363967" y="81859"/>
                    </a:cubicBezTo>
                    <a:cubicBezTo>
                      <a:pt x="363967" y="81859"/>
                      <a:pt x="335553" y="81859"/>
                      <a:pt x="335553" y="81859"/>
                    </a:cubicBezTo>
                    <a:lnTo>
                      <a:pt x="335553" y="359232"/>
                    </a:lnTo>
                    <a:close/>
                  </a:path>
                </a:pathLst>
              </a:custGeom>
              <a:solidFill>
                <a:srgbClr val="E42313"/>
              </a:solidFill>
              <a:ln w="6756" cap="flat">
                <a:noFill/>
                <a:prstDash val="solid"/>
                <a:miter/>
              </a:ln>
            </p:spPr>
            <p:txBody>
              <a:bodyPr rtlCol="0" anchor="ctr"/>
              <a:lstStyle/>
              <a:p>
                <a:pPr rtl="0"/>
                <a:endParaRPr lang="en-US"/>
              </a:p>
            </p:txBody>
          </p:sp>
          <p:sp>
            <p:nvSpPr>
              <p:cNvPr id="10" name="Freihandform: Form 9">
                <a:extLst>
                  <a:ext uri="{FF2B5EF4-FFF2-40B4-BE49-F238E27FC236}">
                    <a16:creationId xmlns:a16="http://schemas.microsoft.com/office/drawing/2014/main" id="{137E4C79-C1AE-4EB2-900E-ABAED0229BFA}"/>
                  </a:ext>
                </a:extLst>
              </p:cNvPr>
              <p:cNvSpPr/>
              <p:nvPr/>
            </p:nvSpPr>
            <p:spPr>
              <a:xfrm>
                <a:off x="6345262" y="2795218"/>
                <a:ext cx="334200" cy="359231"/>
              </a:xfrm>
              <a:custGeom>
                <a:avLst/>
                <a:gdLst>
                  <a:gd name="connsiteX0" fmla="*/ 0 w 334200"/>
                  <a:gd name="connsiteY0" fmla="*/ 40591 h 359231"/>
                  <a:gd name="connsiteX1" fmla="*/ 40591 w 334200"/>
                  <a:gd name="connsiteY1" fmla="*/ 0 h 359231"/>
                  <a:gd name="connsiteX2" fmla="*/ 293609 w 334200"/>
                  <a:gd name="connsiteY2" fmla="*/ 0 h 359231"/>
                  <a:gd name="connsiteX3" fmla="*/ 334201 w 334200"/>
                  <a:gd name="connsiteY3" fmla="*/ 40591 h 359231"/>
                  <a:gd name="connsiteX4" fmla="*/ 334201 w 334200"/>
                  <a:gd name="connsiteY4" fmla="*/ 359232 h 359231"/>
                  <a:gd name="connsiteX5" fmla="*/ 40591 w 334200"/>
                  <a:gd name="connsiteY5" fmla="*/ 359232 h 359231"/>
                  <a:gd name="connsiteX6" fmla="*/ 0 w 334200"/>
                  <a:gd name="connsiteY6" fmla="*/ 318641 h 359231"/>
                  <a:gd name="connsiteX7" fmla="*/ 0 w 334200"/>
                  <a:gd name="connsiteY7" fmla="*/ 179954 h 359231"/>
                  <a:gd name="connsiteX8" fmla="*/ 40591 w 334200"/>
                  <a:gd name="connsiteY8" fmla="*/ 139363 h 359231"/>
                  <a:gd name="connsiteX9" fmla="*/ 204309 w 334200"/>
                  <a:gd name="connsiteY9" fmla="*/ 139363 h 359231"/>
                  <a:gd name="connsiteX10" fmla="*/ 204309 w 334200"/>
                  <a:gd name="connsiteY10" fmla="*/ 94713 h 359231"/>
                  <a:gd name="connsiteX11" fmla="*/ 192132 w 334200"/>
                  <a:gd name="connsiteY11" fmla="*/ 82535 h 359231"/>
                  <a:gd name="connsiteX12" fmla="*/ 0 w 334200"/>
                  <a:gd name="connsiteY12" fmla="*/ 82535 h 359231"/>
                  <a:gd name="connsiteX13" fmla="*/ 0 w 334200"/>
                  <a:gd name="connsiteY13" fmla="*/ 40591 h 359231"/>
                  <a:gd name="connsiteX14" fmla="*/ 203632 w 334200"/>
                  <a:gd name="connsiteY14" fmla="*/ 220545 h 359231"/>
                  <a:gd name="connsiteX15" fmla="*/ 142069 w 334200"/>
                  <a:gd name="connsiteY15" fmla="*/ 220545 h 359231"/>
                  <a:gd name="connsiteX16" fmla="*/ 129892 w 334200"/>
                  <a:gd name="connsiteY16" fmla="*/ 232723 h 359231"/>
                  <a:gd name="connsiteX17" fmla="*/ 129892 w 334200"/>
                  <a:gd name="connsiteY17" fmla="*/ 265196 h 359231"/>
                  <a:gd name="connsiteX18" fmla="*/ 142069 w 334200"/>
                  <a:gd name="connsiteY18" fmla="*/ 277373 h 359231"/>
                  <a:gd name="connsiteX19" fmla="*/ 203632 w 334200"/>
                  <a:gd name="connsiteY19" fmla="*/ 277373 h 359231"/>
                  <a:gd name="connsiteX20" fmla="*/ 203632 w 334200"/>
                  <a:gd name="connsiteY20" fmla="*/ 220545 h 3592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34200" h="359231">
                    <a:moveTo>
                      <a:pt x="0" y="40591"/>
                    </a:moveTo>
                    <a:cubicBezTo>
                      <a:pt x="0" y="18266"/>
                      <a:pt x="18266" y="0"/>
                      <a:pt x="40591" y="0"/>
                    </a:cubicBezTo>
                    <a:lnTo>
                      <a:pt x="293609" y="0"/>
                    </a:lnTo>
                    <a:cubicBezTo>
                      <a:pt x="315934" y="0"/>
                      <a:pt x="334201" y="18266"/>
                      <a:pt x="334201" y="40591"/>
                    </a:cubicBezTo>
                    <a:lnTo>
                      <a:pt x="334201" y="359232"/>
                    </a:lnTo>
                    <a:lnTo>
                      <a:pt x="40591" y="359232"/>
                    </a:lnTo>
                    <a:cubicBezTo>
                      <a:pt x="18266" y="359232"/>
                      <a:pt x="0" y="340966"/>
                      <a:pt x="0" y="318641"/>
                    </a:cubicBezTo>
                    <a:lnTo>
                      <a:pt x="0" y="179954"/>
                    </a:lnTo>
                    <a:cubicBezTo>
                      <a:pt x="0" y="157629"/>
                      <a:pt x="18266" y="139363"/>
                      <a:pt x="40591" y="139363"/>
                    </a:cubicBezTo>
                    <a:lnTo>
                      <a:pt x="204309" y="139363"/>
                    </a:lnTo>
                    <a:lnTo>
                      <a:pt x="204309" y="94713"/>
                    </a:lnTo>
                    <a:cubicBezTo>
                      <a:pt x="204309" y="87947"/>
                      <a:pt x="198897" y="82535"/>
                      <a:pt x="192132" y="82535"/>
                    </a:cubicBezTo>
                    <a:lnTo>
                      <a:pt x="0" y="82535"/>
                    </a:lnTo>
                    <a:lnTo>
                      <a:pt x="0" y="40591"/>
                    </a:lnTo>
                    <a:close/>
                    <a:moveTo>
                      <a:pt x="203632" y="220545"/>
                    </a:moveTo>
                    <a:lnTo>
                      <a:pt x="142069" y="220545"/>
                    </a:lnTo>
                    <a:cubicBezTo>
                      <a:pt x="135304" y="220545"/>
                      <a:pt x="129892" y="225957"/>
                      <a:pt x="129892" y="232723"/>
                    </a:cubicBezTo>
                    <a:lnTo>
                      <a:pt x="129892" y="265196"/>
                    </a:lnTo>
                    <a:cubicBezTo>
                      <a:pt x="129892" y="271961"/>
                      <a:pt x="135304" y="277373"/>
                      <a:pt x="142069" y="277373"/>
                    </a:cubicBezTo>
                    <a:lnTo>
                      <a:pt x="203632" y="277373"/>
                    </a:lnTo>
                    <a:lnTo>
                      <a:pt x="203632" y="220545"/>
                    </a:lnTo>
                    <a:close/>
                  </a:path>
                </a:pathLst>
              </a:custGeom>
              <a:solidFill>
                <a:srgbClr val="E42313"/>
              </a:solidFill>
              <a:ln w="6756" cap="flat">
                <a:noFill/>
                <a:prstDash val="solid"/>
                <a:miter/>
              </a:ln>
            </p:spPr>
            <p:txBody>
              <a:bodyPr rtlCol="0" anchor="ctr"/>
              <a:lstStyle/>
              <a:p>
                <a:pPr rtl="0"/>
                <a:endParaRPr lang="en-US"/>
              </a:p>
            </p:txBody>
          </p:sp>
          <p:sp>
            <p:nvSpPr>
              <p:cNvPr id="11" name="Freihandform: Form 10">
                <a:extLst>
                  <a:ext uri="{FF2B5EF4-FFF2-40B4-BE49-F238E27FC236}">
                    <a16:creationId xmlns:a16="http://schemas.microsoft.com/office/drawing/2014/main" id="{553C28DD-4771-494C-8B79-F72570976330}"/>
                  </a:ext>
                </a:extLst>
              </p:cNvPr>
              <p:cNvSpPr/>
              <p:nvPr/>
            </p:nvSpPr>
            <p:spPr>
              <a:xfrm>
                <a:off x="6734937" y="2795218"/>
                <a:ext cx="371408" cy="359231"/>
              </a:xfrm>
              <a:custGeom>
                <a:avLst/>
                <a:gdLst>
                  <a:gd name="connsiteX0" fmla="*/ 130568 w 371408"/>
                  <a:gd name="connsiteY0" fmla="*/ 359232 h 359231"/>
                  <a:gd name="connsiteX1" fmla="*/ 0 w 371408"/>
                  <a:gd name="connsiteY1" fmla="*/ 359232 h 359231"/>
                  <a:gd name="connsiteX2" fmla="*/ 0 w 371408"/>
                  <a:gd name="connsiteY2" fmla="*/ 0 h 359231"/>
                  <a:gd name="connsiteX3" fmla="*/ 245577 w 371408"/>
                  <a:gd name="connsiteY3" fmla="*/ 0 h 359231"/>
                  <a:gd name="connsiteX4" fmla="*/ 297668 w 371408"/>
                  <a:gd name="connsiteY4" fmla="*/ 40591 h 359231"/>
                  <a:gd name="connsiteX5" fmla="*/ 371409 w 371408"/>
                  <a:gd name="connsiteY5" fmla="*/ 359232 h 359231"/>
                  <a:gd name="connsiteX6" fmla="*/ 237458 w 371408"/>
                  <a:gd name="connsiteY6" fmla="*/ 359232 h 359231"/>
                  <a:gd name="connsiteX7" fmla="*/ 179278 w 371408"/>
                  <a:gd name="connsiteY7" fmla="*/ 106214 h 359231"/>
                  <a:gd name="connsiteX8" fmla="*/ 159659 w 371408"/>
                  <a:gd name="connsiteY8" fmla="*/ 81182 h 359231"/>
                  <a:gd name="connsiteX9" fmla="*/ 131245 w 371408"/>
                  <a:gd name="connsiteY9" fmla="*/ 81182 h 359231"/>
                  <a:gd name="connsiteX10" fmla="*/ 131245 w 371408"/>
                  <a:gd name="connsiteY10" fmla="*/ 359232 h 3592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71408" h="359231">
                    <a:moveTo>
                      <a:pt x="130568" y="359232"/>
                    </a:moveTo>
                    <a:lnTo>
                      <a:pt x="0" y="359232"/>
                    </a:lnTo>
                    <a:lnTo>
                      <a:pt x="0" y="0"/>
                    </a:lnTo>
                    <a:cubicBezTo>
                      <a:pt x="0" y="0"/>
                      <a:pt x="228664" y="0"/>
                      <a:pt x="245577" y="0"/>
                    </a:cubicBezTo>
                    <a:cubicBezTo>
                      <a:pt x="267902" y="0"/>
                      <a:pt x="291580" y="12854"/>
                      <a:pt x="297668" y="40591"/>
                    </a:cubicBezTo>
                    <a:cubicBezTo>
                      <a:pt x="303757" y="69005"/>
                      <a:pt x="371409" y="359232"/>
                      <a:pt x="371409" y="359232"/>
                    </a:cubicBezTo>
                    <a:lnTo>
                      <a:pt x="237458" y="359232"/>
                    </a:lnTo>
                    <a:lnTo>
                      <a:pt x="179278" y="106214"/>
                    </a:lnTo>
                    <a:cubicBezTo>
                      <a:pt x="173865" y="83212"/>
                      <a:pt x="170483" y="81182"/>
                      <a:pt x="159659" y="81182"/>
                    </a:cubicBezTo>
                    <a:cubicBezTo>
                      <a:pt x="159659" y="81182"/>
                      <a:pt x="131245" y="81182"/>
                      <a:pt x="131245" y="81182"/>
                    </a:cubicBezTo>
                    <a:lnTo>
                      <a:pt x="131245" y="359232"/>
                    </a:lnTo>
                    <a:close/>
                  </a:path>
                </a:pathLst>
              </a:custGeom>
              <a:solidFill>
                <a:srgbClr val="E42313"/>
              </a:solidFill>
              <a:ln w="6756" cap="flat">
                <a:noFill/>
                <a:prstDash val="solid"/>
                <a:miter/>
              </a:ln>
            </p:spPr>
            <p:txBody>
              <a:bodyPr rtlCol="0" anchor="ctr"/>
              <a:lstStyle/>
              <a:p>
                <a:pPr rtl="0"/>
                <a:endParaRPr lang="en-US"/>
              </a:p>
            </p:txBody>
          </p:sp>
          <p:sp>
            <p:nvSpPr>
              <p:cNvPr id="12" name="Freihandform: Form 11">
                <a:extLst>
                  <a:ext uri="{FF2B5EF4-FFF2-40B4-BE49-F238E27FC236}">
                    <a16:creationId xmlns:a16="http://schemas.microsoft.com/office/drawing/2014/main" id="{F0A37EDF-F005-4EAF-A322-521F22B924A6}"/>
                  </a:ext>
                </a:extLst>
              </p:cNvPr>
              <p:cNvSpPr/>
              <p:nvPr/>
            </p:nvSpPr>
            <p:spPr>
              <a:xfrm>
                <a:off x="7128671" y="2795218"/>
                <a:ext cx="371408" cy="359231"/>
              </a:xfrm>
              <a:custGeom>
                <a:avLst/>
                <a:gdLst>
                  <a:gd name="connsiteX0" fmla="*/ 130568 w 371408"/>
                  <a:gd name="connsiteY0" fmla="*/ 359232 h 359231"/>
                  <a:gd name="connsiteX1" fmla="*/ 0 w 371408"/>
                  <a:gd name="connsiteY1" fmla="*/ 359232 h 359231"/>
                  <a:gd name="connsiteX2" fmla="*/ 0 w 371408"/>
                  <a:gd name="connsiteY2" fmla="*/ 0 h 359231"/>
                  <a:gd name="connsiteX3" fmla="*/ 245576 w 371408"/>
                  <a:gd name="connsiteY3" fmla="*/ 0 h 359231"/>
                  <a:gd name="connsiteX4" fmla="*/ 297668 w 371408"/>
                  <a:gd name="connsiteY4" fmla="*/ 40591 h 359231"/>
                  <a:gd name="connsiteX5" fmla="*/ 371409 w 371408"/>
                  <a:gd name="connsiteY5" fmla="*/ 359232 h 359231"/>
                  <a:gd name="connsiteX6" fmla="*/ 237458 w 371408"/>
                  <a:gd name="connsiteY6" fmla="*/ 359232 h 359231"/>
                  <a:gd name="connsiteX7" fmla="*/ 179278 w 371408"/>
                  <a:gd name="connsiteY7" fmla="*/ 106214 h 359231"/>
                  <a:gd name="connsiteX8" fmla="*/ 159659 w 371408"/>
                  <a:gd name="connsiteY8" fmla="*/ 81182 h 359231"/>
                  <a:gd name="connsiteX9" fmla="*/ 131245 w 371408"/>
                  <a:gd name="connsiteY9" fmla="*/ 81182 h 359231"/>
                  <a:gd name="connsiteX10" fmla="*/ 130568 w 371408"/>
                  <a:gd name="connsiteY10" fmla="*/ 359232 h 3592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71408" h="359231">
                    <a:moveTo>
                      <a:pt x="130568" y="359232"/>
                    </a:moveTo>
                    <a:lnTo>
                      <a:pt x="0" y="359232"/>
                    </a:lnTo>
                    <a:lnTo>
                      <a:pt x="0" y="0"/>
                    </a:lnTo>
                    <a:cubicBezTo>
                      <a:pt x="0" y="0"/>
                      <a:pt x="228663" y="0"/>
                      <a:pt x="245576" y="0"/>
                    </a:cubicBezTo>
                    <a:cubicBezTo>
                      <a:pt x="267902" y="0"/>
                      <a:pt x="291580" y="12854"/>
                      <a:pt x="297668" y="40591"/>
                    </a:cubicBezTo>
                    <a:cubicBezTo>
                      <a:pt x="303757" y="69005"/>
                      <a:pt x="371409" y="359232"/>
                      <a:pt x="371409" y="359232"/>
                    </a:cubicBezTo>
                    <a:lnTo>
                      <a:pt x="237458" y="359232"/>
                    </a:lnTo>
                    <a:lnTo>
                      <a:pt x="179278" y="106214"/>
                    </a:lnTo>
                    <a:cubicBezTo>
                      <a:pt x="173865" y="83212"/>
                      <a:pt x="170483" y="81182"/>
                      <a:pt x="159659" y="81182"/>
                    </a:cubicBezTo>
                    <a:cubicBezTo>
                      <a:pt x="159659" y="81182"/>
                      <a:pt x="131245" y="81182"/>
                      <a:pt x="131245" y="81182"/>
                    </a:cubicBezTo>
                    <a:lnTo>
                      <a:pt x="130568" y="359232"/>
                    </a:lnTo>
                    <a:close/>
                  </a:path>
                </a:pathLst>
              </a:custGeom>
              <a:solidFill>
                <a:srgbClr val="E42313"/>
              </a:solidFill>
              <a:ln w="6756" cap="flat">
                <a:noFill/>
                <a:prstDash val="solid"/>
                <a:miter/>
              </a:ln>
            </p:spPr>
            <p:txBody>
              <a:bodyPr rtlCol="0" anchor="ctr"/>
              <a:lstStyle/>
              <a:p>
                <a:pPr rtl="0"/>
                <a:endParaRPr lang="en-US"/>
              </a:p>
            </p:txBody>
          </p:sp>
        </p:grpSp>
        <p:grpSp>
          <p:nvGrpSpPr>
            <p:cNvPr id="13" name="Grafik 1">
              <a:extLst>
                <a:ext uri="{FF2B5EF4-FFF2-40B4-BE49-F238E27FC236}">
                  <a16:creationId xmlns:a16="http://schemas.microsoft.com/office/drawing/2014/main" id="{E72B9C0B-F869-48CB-84AA-6132E62EFC1D}"/>
                </a:ext>
              </a:extLst>
            </p:cNvPr>
            <p:cNvGrpSpPr/>
            <p:nvPr/>
          </p:nvGrpSpPr>
          <p:grpSpPr>
            <a:xfrm>
              <a:off x="4591049" y="3227514"/>
              <a:ext cx="2908354" cy="98095"/>
              <a:chOff x="4591049" y="3227514"/>
              <a:chExt cx="2908354" cy="98095"/>
            </a:xfrm>
            <a:solidFill>
              <a:srgbClr val="004A99"/>
            </a:solidFill>
          </p:grpSpPr>
          <p:sp>
            <p:nvSpPr>
              <p:cNvPr id="14" name="Freihandform: Form 13">
                <a:extLst>
                  <a:ext uri="{FF2B5EF4-FFF2-40B4-BE49-F238E27FC236}">
                    <a16:creationId xmlns:a16="http://schemas.microsoft.com/office/drawing/2014/main" id="{343F8408-BC72-40CC-A7BC-F2E8825533AD}"/>
                  </a:ext>
                </a:extLst>
              </p:cNvPr>
              <p:cNvSpPr/>
              <p:nvPr/>
            </p:nvSpPr>
            <p:spPr>
              <a:xfrm>
                <a:off x="4591049" y="3228867"/>
                <a:ext cx="112302" cy="95389"/>
              </a:xfrm>
              <a:custGeom>
                <a:avLst/>
                <a:gdLst>
                  <a:gd name="connsiteX0" fmla="*/ 81182 w 112302"/>
                  <a:gd name="connsiteY0" fmla="*/ 71711 h 95389"/>
                  <a:gd name="connsiteX1" fmla="*/ 96066 w 112302"/>
                  <a:gd name="connsiteY1" fmla="*/ 0 h 95389"/>
                  <a:gd name="connsiteX2" fmla="*/ 112302 w 112302"/>
                  <a:gd name="connsiteY2" fmla="*/ 0 h 95389"/>
                  <a:gd name="connsiteX3" fmla="*/ 89977 w 112302"/>
                  <a:gd name="connsiteY3" fmla="*/ 95389 h 95389"/>
                  <a:gd name="connsiteX4" fmla="*/ 74417 w 112302"/>
                  <a:gd name="connsiteY4" fmla="*/ 95389 h 95389"/>
                  <a:gd name="connsiteX5" fmla="*/ 56151 w 112302"/>
                  <a:gd name="connsiteY5" fmla="*/ 25708 h 95389"/>
                  <a:gd name="connsiteX6" fmla="*/ 37885 w 112302"/>
                  <a:gd name="connsiteY6" fmla="*/ 95389 h 95389"/>
                  <a:gd name="connsiteX7" fmla="*/ 22325 w 112302"/>
                  <a:gd name="connsiteY7" fmla="*/ 95389 h 95389"/>
                  <a:gd name="connsiteX8" fmla="*/ 0 w 112302"/>
                  <a:gd name="connsiteY8" fmla="*/ 0 h 95389"/>
                  <a:gd name="connsiteX9" fmla="*/ 16236 w 112302"/>
                  <a:gd name="connsiteY9" fmla="*/ 0 h 95389"/>
                  <a:gd name="connsiteX10" fmla="*/ 31120 w 112302"/>
                  <a:gd name="connsiteY10" fmla="*/ 71711 h 95389"/>
                  <a:gd name="connsiteX11" fmla="*/ 49386 w 112302"/>
                  <a:gd name="connsiteY11" fmla="*/ 0 h 95389"/>
                  <a:gd name="connsiteX12" fmla="*/ 63593 w 112302"/>
                  <a:gd name="connsiteY12" fmla="*/ 0 h 95389"/>
                  <a:gd name="connsiteX13" fmla="*/ 81182 w 112302"/>
                  <a:gd name="connsiteY13" fmla="*/ 71711 h 95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2302" h="95389">
                    <a:moveTo>
                      <a:pt x="81182" y="71711"/>
                    </a:moveTo>
                    <a:lnTo>
                      <a:pt x="96066" y="0"/>
                    </a:lnTo>
                    <a:lnTo>
                      <a:pt x="112302" y="0"/>
                    </a:lnTo>
                    <a:lnTo>
                      <a:pt x="89977" y="95389"/>
                    </a:lnTo>
                    <a:lnTo>
                      <a:pt x="74417" y="95389"/>
                    </a:lnTo>
                    <a:lnTo>
                      <a:pt x="56151" y="25708"/>
                    </a:lnTo>
                    <a:lnTo>
                      <a:pt x="37885" y="95389"/>
                    </a:lnTo>
                    <a:lnTo>
                      <a:pt x="22325" y="95389"/>
                    </a:lnTo>
                    <a:lnTo>
                      <a:pt x="0" y="0"/>
                    </a:lnTo>
                    <a:lnTo>
                      <a:pt x="16236" y="0"/>
                    </a:lnTo>
                    <a:lnTo>
                      <a:pt x="31120" y="71711"/>
                    </a:lnTo>
                    <a:lnTo>
                      <a:pt x="49386" y="0"/>
                    </a:lnTo>
                    <a:lnTo>
                      <a:pt x="63593" y="0"/>
                    </a:lnTo>
                    <a:lnTo>
                      <a:pt x="81182" y="71711"/>
                    </a:lnTo>
                    <a:close/>
                  </a:path>
                </a:pathLst>
              </a:custGeom>
              <a:solidFill>
                <a:srgbClr val="004A99"/>
              </a:solidFill>
              <a:ln w="6756" cap="flat">
                <a:noFill/>
                <a:prstDash val="solid"/>
                <a:miter/>
              </a:ln>
            </p:spPr>
            <p:txBody>
              <a:bodyPr rtlCol="0" anchor="ctr"/>
              <a:lstStyle/>
              <a:p>
                <a:pPr rtl="0"/>
                <a:endParaRPr lang="en-US"/>
              </a:p>
            </p:txBody>
          </p:sp>
          <p:sp>
            <p:nvSpPr>
              <p:cNvPr id="15" name="Freihandform: Form 14">
                <a:extLst>
                  <a:ext uri="{FF2B5EF4-FFF2-40B4-BE49-F238E27FC236}">
                    <a16:creationId xmlns:a16="http://schemas.microsoft.com/office/drawing/2014/main" id="{7A388A9B-D78F-4A1B-8E62-90E301794707}"/>
                  </a:ext>
                </a:extLst>
              </p:cNvPr>
              <p:cNvSpPr/>
              <p:nvPr/>
            </p:nvSpPr>
            <p:spPr>
              <a:xfrm>
                <a:off x="4793328" y="3228191"/>
                <a:ext cx="79829" cy="97418"/>
              </a:xfrm>
              <a:custGeom>
                <a:avLst/>
                <a:gdLst>
                  <a:gd name="connsiteX0" fmla="*/ 79153 w 79829"/>
                  <a:gd name="connsiteY0" fmla="*/ 51415 h 97418"/>
                  <a:gd name="connsiteX1" fmla="*/ 74417 w 79829"/>
                  <a:gd name="connsiteY1" fmla="*/ 75770 h 97418"/>
                  <a:gd name="connsiteX2" fmla="*/ 60887 w 79829"/>
                  <a:gd name="connsiteY2" fmla="*/ 92007 h 97418"/>
                  <a:gd name="connsiteX3" fmla="*/ 39915 w 79829"/>
                  <a:gd name="connsiteY3" fmla="*/ 97419 h 97418"/>
                  <a:gd name="connsiteX4" fmla="*/ 18943 w 79829"/>
                  <a:gd name="connsiteY4" fmla="*/ 92007 h 97418"/>
                  <a:gd name="connsiteX5" fmla="*/ 4736 w 79829"/>
                  <a:gd name="connsiteY5" fmla="*/ 75770 h 97418"/>
                  <a:gd name="connsiteX6" fmla="*/ 0 w 79829"/>
                  <a:gd name="connsiteY6" fmla="*/ 51415 h 97418"/>
                  <a:gd name="connsiteX7" fmla="*/ 0 w 79829"/>
                  <a:gd name="connsiteY7" fmla="*/ 46003 h 97418"/>
                  <a:gd name="connsiteX8" fmla="*/ 4736 w 79829"/>
                  <a:gd name="connsiteY8" fmla="*/ 21649 h 97418"/>
                  <a:gd name="connsiteX9" fmla="*/ 18943 w 79829"/>
                  <a:gd name="connsiteY9" fmla="*/ 5412 h 97418"/>
                  <a:gd name="connsiteX10" fmla="*/ 39915 w 79829"/>
                  <a:gd name="connsiteY10" fmla="*/ 0 h 97418"/>
                  <a:gd name="connsiteX11" fmla="*/ 60887 w 79829"/>
                  <a:gd name="connsiteY11" fmla="*/ 5412 h 97418"/>
                  <a:gd name="connsiteX12" fmla="*/ 75094 w 79829"/>
                  <a:gd name="connsiteY12" fmla="*/ 21649 h 97418"/>
                  <a:gd name="connsiteX13" fmla="*/ 79829 w 79829"/>
                  <a:gd name="connsiteY13" fmla="*/ 46003 h 97418"/>
                  <a:gd name="connsiteX14" fmla="*/ 79829 w 79829"/>
                  <a:gd name="connsiteY14" fmla="*/ 51415 h 97418"/>
                  <a:gd name="connsiteX15" fmla="*/ 62240 w 79829"/>
                  <a:gd name="connsiteY15" fmla="*/ 46003 h 97418"/>
                  <a:gd name="connsiteX16" fmla="*/ 56151 w 79829"/>
                  <a:gd name="connsiteY16" fmla="*/ 21649 h 97418"/>
                  <a:gd name="connsiteX17" fmla="*/ 39238 w 79829"/>
                  <a:gd name="connsiteY17" fmla="*/ 13530 h 97418"/>
                  <a:gd name="connsiteX18" fmla="*/ 22325 w 79829"/>
                  <a:gd name="connsiteY18" fmla="*/ 21649 h 97418"/>
                  <a:gd name="connsiteX19" fmla="*/ 16236 w 79829"/>
                  <a:gd name="connsiteY19" fmla="*/ 45327 h 97418"/>
                  <a:gd name="connsiteX20" fmla="*/ 16236 w 79829"/>
                  <a:gd name="connsiteY20" fmla="*/ 50739 h 97418"/>
                  <a:gd name="connsiteX21" fmla="*/ 22325 w 79829"/>
                  <a:gd name="connsiteY21" fmla="*/ 75094 h 97418"/>
                  <a:gd name="connsiteX22" fmla="*/ 39238 w 79829"/>
                  <a:gd name="connsiteY22" fmla="*/ 83888 h 97418"/>
                  <a:gd name="connsiteX23" fmla="*/ 56151 w 79829"/>
                  <a:gd name="connsiteY23" fmla="*/ 75770 h 97418"/>
                  <a:gd name="connsiteX24" fmla="*/ 62240 w 79829"/>
                  <a:gd name="connsiteY24" fmla="*/ 51415 h 97418"/>
                  <a:gd name="connsiteX25" fmla="*/ 62240 w 79829"/>
                  <a:gd name="connsiteY25" fmla="*/ 46003 h 97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79829" h="97418">
                    <a:moveTo>
                      <a:pt x="79153" y="51415"/>
                    </a:moveTo>
                    <a:cubicBezTo>
                      <a:pt x="79153" y="60887"/>
                      <a:pt x="77800" y="69005"/>
                      <a:pt x="74417" y="75770"/>
                    </a:cubicBezTo>
                    <a:cubicBezTo>
                      <a:pt x="71035" y="82535"/>
                      <a:pt x="66299" y="87947"/>
                      <a:pt x="60887" y="92007"/>
                    </a:cubicBezTo>
                    <a:cubicBezTo>
                      <a:pt x="54798" y="96066"/>
                      <a:pt x="48033" y="97419"/>
                      <a:pt x="39915" y="97419"/>
                    </a:cubicBezTo>
                    <a:cubicBezTo>
                      <a:pt x="32473" y="97419"/>
                      <a:pt x="25031" y="95389"/>
                      <a:pt x="18943" y="92007"/>
                    </a:cubicBezTo>
                    <a:cubicBezTo>
                      <a:pt x="12854" y="87947"/>
                      <a:pt x="8118" y="82535"/>
                      <a:pt x="4736" y="75770"/>
                    </a:cubicBezTo>
                    <a:cubicBezTo>
                      <a:pt x="1353" y="69005"/>
                      <a:pt x="0" y="60887"/>
                      <a:pt x="0" y="51415"/>
                    </a:cubicBezTo>
                    <a:lnTo>
                      <a:pt x="0" y="46003"/>
                    </a:lnTo>
                    <a:cubicBezTo>
                      <a:pt x="0" y="36532"/>
                      <a:pt x="1353" y="28414"/>
                      <a:pt x="4736" y="21649"/>
                    </a:cubicBezTo>
                    <a:cubicBezTo>
                      <a:pt x="8118" y="14207"/>
                      <a:pt x="12854" y="8795"/>
                      <a:pt x="18943" y="5412"/>
                    </a:cubicBezTo>
                    <a:cubicBezTo>
                      <a:pt x="25031" y="1353"/>
                      <a:pt x="31796" y="0"/>
                      <a:pt x="39915" y="0"/>
                    </a:cubicBezTo>
                    <a:cubicBezTo>
                      <a:pt x="47356" y="0"/>
                      <a:pt x="54798" y="2030"/>
                      <a:pt x="60887" y="5412"/>
                    </a:cubicBezTo>
                    <a:cubicBezTo>
                      <a:pt x="66975" y="9471"/>
                      <a:pt x="71711" y="14207"/>
                      <a:pt x="75094" y="21649"/>
                    </a:cubicBezTo>
                    <a:cubicBezTo>
                      <a:pt x="78476" y="28414"/>
                      <a:pt x="79829" y="36532"/>
                      <a:pt x="79829" y="46003"/>
                    </a:cubicBezTo>
                    <a:lnTo>
                      <a:pt x="79829" y="51415"/>
                    </a:lnTo>
                    <a:close/>
                    <a:moveTo>
                      <a:pt x="62240" y="46003"/>
                    </a:moveTo>
                    <a:cubicBezTo>
                      <a:pt x="62240" y="35179"/>
                      <a:pt x="60210" y="27061"/>
                      <a:pt x="56151" y="21649"/>
                    </a:cubicBezTo>
                    <a:cubicBezTo>
                      <a:pt x="52092" y="16236"/>
                      <a:pt x="46680" y="13530"/>
                      <a:pt x="39238" y="13530"/>
                    </a:cubicBezTo>
                    <a:cubicBezTo>
                      <a:pt x="31796" y="13530"/>
                      <a:pt x="26384" y="16236"/>
                      <a:pt x="22325" y="21649"/>
                    </a:cubicBezTo>
                    <a:cubicBezTo>
                      <a:pt x="18266" y="27061"/>
                      <a:pt x="16236" y="35179"/>
                      <a:pt x="16236" y="45327"/>
                    </a:cubicBezTo>
                    <a:lnTo>
                      <a:pt x="16236" y="50739"/>
                    </a:lnTo>
                    <a:cubicBezTo>
                      <a:pt x="16236" y="61563"/>
                      <a:pt x="18266" y="69005"/>
                      <a:pt x="22325" y="75094"/>
                    </a:cubicBezTo>
                    <a:cubicBezTo>
                      <a:pt x="26384" y="80506"/>
                      <a:pt x="31796" y="83888"/>
                      <a:pt x="39238" y="83888"/>
                    </a:cubicBezTo>
                    <a:cubicBezTo>
                      <a:pt x="46680" y="83888"/>
                      <a:pt x="52092" y="81182"/>
                      <a:pt x="56151" y="75770"/>
                    </a:cubicBezTo>
                    <a:cubicBezTo>
                      <a:pt x="60210" y="70358"/>
                      <a:pt x="62240" y="62240"/>
                      <a:pt x="62240" y="51415"/>
                    </a:cubicBezTo>
                    <a:lnTo>
                      <a:pt x="62240" y="46003"/>
                    </a:lnTo>
                    <a:close/>
                  </a:path>
                </a:pathLst>
              </a:custGeom>
              <a:solidFill>
                <a:srgbClr val="004A99"/>
              </a:solidFill>
              <a:ln w="6756" cap="flat">
                <a:noFill/>
                <a:prstDash val="solid"/>
                <a:miter/>
              </a:ln>
            </p:spPr>
            <p:txBody>
              <a:bodyPr rtlCol="0" anchor="ctr"/>
              <a:lstStyle/>
              <a:p>
                <a:pPr rtl="0"/>
                <a:endParaRPr lang="en-US"/>
              </a:p>
            </p:txBody>
          </p:sp>
          <p:sp>
            <p:nvSpPr>
              <p:cNvPr id="16" name="Freihandform: Form 15">
                <a:extLst>
                  <a:ext uri="{FF2B5EF4-FFF2-40B4-BE49-F238E27FC236}">
                    <a16:creationId xmlns:a16="http://schemas.microsoft.com/office/drawing/2014/main" id="{509569AE-9E67-46F9-883D-90CB7FD78A9A}"/>
                  </a:ext>
                </a:extLst>
              </p:cNvPr>
              <p:cNvSpPr/>
              <p:nvPr/>
            </p:nvSpPr>
            <p:spPr>
              <a:xfrm>
                <a:off x="4969223" y="3228867"/>
                <a:ext cx="72387" cy="96065"/>
              </a:xfrm>
              <a:custGeom>
                <a:avLst/>
                <a:gdLst>
                  <a:gd name="connsiteX0" fmla="*/ 35179 w 72387"/>
                  <a:gd name="connsiteY0" fmla="*/ 58857 h 96065"/>
                  <a:gd name="connsiteX1" fmla="*/ 16913 w 72387"/>
                  <a:gd name="connsiteY1" fmla="*/ 58857 h 96065"/>
                  <a:gd name="connsiteX2" fmla="*/ 16913 w 72387"/>
                  <a:gd name="connsiteY2" fmla="*/ 95389 h 96065"/>
                  <a:gd name="connsiteX3" fmla="*/ 0 w 72387"/>
                  <a:gd name="connsiteY3" fmla="*/ 95389 h 96065"/>
                  <a:gd name="connsiteX4" fmla="*/ 0 w 72387"/>
                  <a:gd name="connsiteY4" fmla="*/ 0 h 96065"/>
                  <a:gd name="connsiteX5" fmla="*/ 33826 w 72387"/>
                  <a:gd name="connsiteY5" fmla="*/ 0 h 96065"/>
                  <a:gd name="connsiteX6" fmla="*/ 59534 w 72387"/>
                  <a:gd name="connsiteY6" fmla="*/ 7442 h 96065"/>
                  <a:gd name="connsiteX7" fmla="*/ 68328 w 72387"/>
                  <a:gd name="connsiteY7" fmla="*/ 29090 h 96065"/>
                  <a:gd name="connsiteX8" fmla="*/ 63593 w 72387"/>
                  <a:gd name="connsiteY8" fmla="*/ 45327 h 96065"/>
                  <a:gd name="connsiteX9" fmla="*/ 50739 w 72387"/>
                  <a:gd name="connsiteY9" fmla="*/ 55475 h 96065"/>
                  <a:gd name="connsiteX10" fmla="*/ 72388 w 72387"/>
                  <a:gd name="connsiteY10" fmla="*/ 95389 h 96065"/>
                  <a:gd name="connsiteX11" fmla="*/ 72388 w 72387"/>
                  <a:gd name="connsiteY11" fmla="*/ 96066 h 96065"/>
                  <a:gd name="connsiteX12" fmla="*/ 54798 w 72387"/>
                  <a:gd name="connsiteY12" fmla="*/ 96066 h 96065"/>
                  <a:gd name="connsiteX13" fmla="*/ 35179 w 72387"/>
                  <a:gd name="connsiteY13" fmla="*/ 58857 h 96065"/>
                  <a:gd name="connsiteX14" fmla="*/ 16913 w 72387"/>
                  <a:gd name="connsiteY14" fmla="*/ 45327 h 96065"/>
                  <a:gd name="connsiteX15" fmla="*/ 33826 w 72387"/>
                  <a:gd name="connsiteY15" fmla="*/ 45327 h 96065"/>
                  <a:gd name="connsiteX16" fmla="*/ 46680 w 72387"/>
                  <a:gd name="connsiteY16" fmla="*/ 41268 h 96065"/>
                  <a:gd name="connsiteX17" fmla="*/ 51415 w 72387"/>
                  <a:gd name="connsiteY17" fmla="*/ 29767 h 96065"/>
                  <a:gd name="connsiteX18" fmla="*/ 47356 w 72387"/>
                  <a:gd name="connsiteY18" fmla="*/ 17589 h 96065"/>
                  <a:gd name="connsiteX19" fmla="*/ 34502 w 72387"/>
                  <a:gd name="connsiteY19" fmla="*/ 13530 h 96065"/>
                  <a:gd name="connsiteX20" fmla="*/ 16913 w 72387"/>
                  <a:gd name="connsiteY20" fmla="*/ 13530 h 96065"/>
                  <a:gd name="connsiteX21" fmla="*/ 16913 w 72387"/>
                  <a:gd name="connsiteY21" fmla="*/ 45327 h 96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2387" h="96065">
                    <a:moveTo>
                      <a:pt x="35179" y="58857"/>
                    </a:moveTo>
                    <a:lnTo>
                      <a:pt x="16913" y="58857"/>
                    </a:lnTo>
                    <a:lnTo>
                      <a:pt x="16913" y="95389"/>
                    </a:lnTo>
                    <a:lnTo>
                      <a:pt x="0" y="95389"/>
                    </a:lnTo>
                    <a:lnTo>
                      <a:pt x="0" y="0"/>
                    </a:lnTo>
                    <a:lnTo>
                      <a:pt x="33826" y="0"/>
                    </a:lnTo>
                    <a:cubicBezTo>
                      <a:pt x="44650" y="0"/>
                      <a:pt x="53445" y="2706"/>
                      <a:pt x="59534" y="7442"/>
                    </a:cubicBezTo>
                    <a:cubicBezTo>
                      <a:pt x="65622" y="12177"/>
                      <a:pt x="68328" y="19619"/>
                      <a:pt x="68328" y="29090"/>
                    </a:cubicBezTo>
                    <a:cubicBezTo>
                      <a:pt x="68328" y="35179"/>
                      <a:pt x="66975" y="40591"/>
                      <a:pt x="63593" y="45327"/>
                    </a:cubicBezTo>
                    <a:cubicBezTo>
                      <a:pt x="60210" y="49386"/>
                      <a:pt x="56151" y="52768"/>
                      <a:pt x="50739" y="55475"/>
                    </a:cubicBezTo>
                    <a:lnTo>
                      <a:pt x="72388" y="95389"/>
                    </a:lnTo>
                    <a:lnTo>
                      <a:pt x="72388" y="96066"/>
                    </a:lnTo>
                    <a:lnTo>
                      <a:pt x="54798" y="96066"/>
                    </a:lnTo>
                    <a:lnTo>
                      <a:pt x="35179" y="58857"/>
                    </a:lnTo>
                    <a:close/>
                    <a:moveTo>
                      <a:pt x="16913" y="45327"/>
                    </a:moveTo>
                    <a:lnTo>
                      <a:pt x="33826" y="45327"/>
                    </a:lnTo>
                    <a:cubicBezTo>
                      <a:pt x="39238" y="45327"/>
                      <a:pt x="43974" y="43974"/>
                      <a:pt x="46680" y="41268"/>
                    </a:cubicBezTo>
                    <a:cubicBezTo>
                      <a:pt x="50062" y="38562"/>
                      <a:pt x="51415" y="34502"/>
                      <a:pt x="51415" y="29767"/>
                    </a:cubicBezTo>
                    <a:cubicBezTo>
                      <a:pt x="51415" y="24355"/>
                      <a:pt x="50062" y="20972"/>
                      <a:pt x="47356" y="17589"/>
                    </a:cubicBezTo>
                    <a:cubicBezTo>
                      <a:pt x="44650" y="14207"/>
                      <a:pt x="39915" y="13530"/>
                      <a:pt x="34502" y="13530"/>
                    </a:cubicBezTo>
                    <a:lnTo>
                      <a:pt x="16913" y="13530"/>
                    </a:lnTo>
                    <a:lnTo>
                      <a:pt x="16913" y="45327"/>
                    </a:lnTo>
                    <a:close/>
                  </a:path>
                </a:pathLst>
              </a:custGeom>
              <a:solidFill>
                <a:srgbClr val="004A99"/>
              </a:solidFill>
              <a:ln w="6756" cap="flat">
                <a:noFill/>
                <a:prstDash val="solid"/>
                <a:miter/>
              </a:ln>
            </p:spPr>
            <p:txBody>
              <a:bodyPr rtlCol="0" anchor="ctr"/>
              <a:lstStyle/>
              <a:p>
                <a:pPr rtl="0"/>
                <a:endParaRPr lang="en-US"/>
              </a:p>
            </p:txBody>
          </p:sp>
          <p:sp>
            <p:nvSpPr>
              <p:cNvPr id="17" name="Freihandform: Form 16">
                <a:extLst>
                  <a:ext uri="{FF2B5EF4-FFF2-40B4-BE49-F238E27FC236}">
                    <a16:creationId xmlns:a16="http://schemas.microsoft.com/office/drawing/2014/main" id="{44E13A90-B692-434D-980B-6C31734AFFDB}"/>
                  </a:ext>
                </a:extLst>
              </p:cNvPr>
              <p:cNvSpPr/>
              <p:nvPr/>
            </p:nvSpPr>
            <p:spPr>
              <a:xfrm>
                <a:off x="5133617" y="3229544"/>
                <a:ext cx="60210" cy="95389"/>
              </a:xfrm>
              <a:custGeom>
                <a:avLst/>
                <a:gdLst>
                  <a:gd name="connsiteX0" fmla="*/ 16913 w 60210"/>
                  <a:gd name="connsiteY0" fmla="*/ 81859 h 95389"/>
                  <a:gd name="connsiteX1" fmla="*/ 60210 w 60210"/>
                  <a:gd name="connsiteY1" fmla="*/ 81859 h 95389"/>
                  <a:gd name="connsiteX2" fmla="*/ 60210 w 60210"/>
                  <a:gd name="connsiteY2" fmla="*/ 95389 h 95389"/>
                  <a:gd name="connsiteX3" fmla="*/ 0 w 60210"/>
                  <a:gd name="connsiteY3" fmla="*/ 95389 h 95389"/>
                  <a:gd name="connsiteX4" fmla="*/ 0 w 60210"/>
                  <a:gd name="connsiteY4" fmla="*/ 0 h 95389"/>
                  <a:gd name="connsiteX5" fmla="*/ 16913 w 60210"/>
                  <a:gd name="connsiteY5" fmla="*/ 0 h 95389"/>
                  <a:gd name="connsiteX6" fmla="*/ 16913 w 60210"/>
                  <a:gd name="connsiteY6" fmla="*/ 81859 h 95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210" h="95389">
                    <a:moveTo>
                      <a:pt x="16913" y="81859"/>
                    </a:moveTo>
                    <a:lnTo>
                      <a:pt x="60210" y="81859"/>
                    </a:lnTo>
                    <a:lnTo>
                      <a:pt x="60210" y="95389"/>
                    </a:lnTo>
                    <a:lnTo>
                      <a:pt x="0" y="95389"/>
                    </a:lnTo>
                    <a:lnTo>
                      <a:pt x="0" y="0"/>
                    </a:lnTo>
                    <a:lnTo>
                      <a:pt x="16913" y="0"/>
                    </a:lnTo>
                    <a:lnTo>
                      <a:pt x="16913" y="81859"/>
                    </a:lnTo>
                    <a:close/>
                  </a:path>
                </a:pathLst>
              </a:custGeom>
              <a:solidFill>
                <a:srgbClr val="004A99"/>
              </a:solidFill>
              <a:ln w="6756" cap="flat">
                <a:noFill/>
                <a:prstDash val="solid"/>
                <a:miter/>
              </a:ln>
            </p:spPr>
            <p:txBody>
              <a:bodyPr rtlCol="0" anchor="ctr"/>
              <a:lstStyle/>
              <a:p>
                <a:pPr rtl="0"/>
                <a:endParaRPr lang="en-US"/>
              </a:p>
            </p:txBody>
          </p:sp>
          <p:sp>
            <p:nvSpPr>
              <p:cNvPr id="18" name="Freihandform: Form 17">
                <a:extLst>
                  <a:ext uri="{FF2B5EF4-FFF2-40B4-BE49-F238E27FC236}">
                    <a16:creationId xmlns:a16="http://schemas.microsoft.com/office/drawing/2014/main" id="{6E57E184-3ED3-4E2B-809C-62EEA18CB7A6}"/>
                  </a:ext>
                </a:extLst>
              </p:cNvPr>
              <p:cNvSpPr/>
              <p:nvPr/>
            </p:nvSpPr>
            <p:spPr>
              <a:xfrm>
                <a:off x="5287187" y="3228867"/>
                <a:ext cx="71034" cy="95389"/>
              </a:xfrm>
              <a:custGeom>
                <a:avLst/>
                <a:gdLst>
                  <a:gd name="connsiteX0" fmla="*/ 0 w 71034"/>
                  <a:gd name="connsiteY0" fmla="*/ 95389 h 95389"/>
                  <a:gd name="connsiteX1" fmla="*/ 0 w 71034"/>
                  <a:gd name="connsiteY1" fmla="*/ 0 h 95389"/>
                  <a:gd name="connsiteX2" fmla="*/ 28414 w 71034"/>
                  <a:gd name="connsiteY2" fmla="*/ 0 h 95389"/>
                  <a:gd name="connsiteX3" fmla="*/ 50739 w 71034"/>
                  <a:gd name="connsiteY3" fmla="*/ 5412 h 95389"/>
                  <a:gd name="connsiteX4" fmla="*/ 65622 w 71034"/>
                  <a:gd name="connsiteY4" fmla="*/ 21649 h 95389"/>
                  <a:gd name="connsiteX5" fmla="*/ 71034 w 71034"/>
                  <a:gd name="connsiteY5" fmla="*/ 45327 h 95389"/>
                  <a:gd name="connsiteX6" fmla="*/ 71034 w 71034"/>
                  <a:gd name="connsiteY6" fmla="*/ 50062 h 95389"/>
                  <a:gd name="connsiteX7" fmla="*/ 65622 w 71034"/>
                  <a:gd name="connsiteY7" fmla="*/ 73741 h 95389"/>
                  <a:gd name="connsiteX8" fmla="*/ 50062 w 71034"/>
                  <a:gd name="connsiteY8" fmla="*/ 89301 h 95389"/>
                  <a:gd name="connsiteX9" fmla="*/ 27061 w 71034"/>
                  <a:gd name="connsiteY9" fmla="*/ 94713 h 95389"/>
                  <a:gd name="connsiteX10" fmla="*/ 0 w 71034"/>
                  <a:gd name="connsiteY10" fmla="*/ 94713 h 95389"/>
                  <a:gd name="connsiteX11" fmla="*/ 16236 w 71034"/>
                  <a:gd name="connsiteY11" fmla="*/ 13530 h 95389"/>
                  <a:gd name="connsiteX12" fmla="*/ 16236 w 71034"/>
                  <a:gd name="connsiteY12" fmla="*/ 82535 h 95389"/>
                  <a:gd name="connsiteX13" fmla="*/ 27061 w 71034"/>
                  <a:gd name="connsiteY13" fmla="*/ 82535 h 95389"/>
                  <a:gd name="connsiteX14" fmla="*/ 47356 w 71034"/>
                  <a:gd name="connsiteY14" fmla="*/ 74417 h 95389"/>
                  <a:gd name="connsiteX15" fmla="*/ 54798 w 71034"/>
                  <a:gd name="connsiteY15" fmla="*/ 50739 h 95389"/>
                  <a:gd name="connsiteX16" fmla="*/ 54798 w 71034"/>
                  <a:gd name="connsiteY16" fmla="*/ 45327 h 95389"/>
                  <a:gd name="connsiteX17" fmla="*/ 48033 w 71034"/>
                  <a:gd name="connsiteY17" fmla="*/ 21649 h 95389"/>
                  <a:gd name="connsiteX18" fmla="*/ 28414 w 71034"/>
                  <a:gd name="connsiteY18" fmla="*/ 13530 h 95389"/>
                  <a:gd name="connsiteX19" fmla="*/ 16236 w 71034"/>
                  <a:gd name="connsiteY19" fmla="*/ 13530 h 95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1034" h="95389">
                    <a:moveTo>
                      <a:pt x="0" y="95389"/>
                    </a:moveTo>
                    <a:lnTo>
                      <a:pt x="0" y="0"/>
                    </a:lnTo>
                    <a:lnTo>
                      <a:pt x="28414" y="0"/>
                    </a:lnTo>
                    <a:cubicBezTo>
                      <a:pt x="36532" y="0"/>
                      <a:pt x="44650" y="2030"/>
                      <a:pt x="50739" y="5412"/>
                    </a:cubicBezTo>
                    <a:cubicBezTo>
                      <a:pt x="57504" y="9471"/>
                      <a:pt x="62240" y="14207"/>
                      <a:pt x="65622" y="21649"/>
                    </a:cubicBezTo>
                    <a:cubicBezTo>
                      <a:pt x="69005" y="28414"/>
                      <a:pt x="71034" y="36532"/>
                      <a:pt x="71034" y="45327"/>
                    </a:cubicBezTo>
                    <a:lnTo>
                      <a:pt x="71034" y="50062"/>
                    </a:lnTo>
                    <a:cubicBezTo>
                      <a:pt x="71034" y="58857"/>
                      <a:pt x="69005" y="66975"/>
                      <a:pt x="65622" y="73741"/>
                    </a:cubicBezTo>
                    <a:cubicBezTo>
                      <a:pt x="62240" y="80506"/>
                      <a:pt x="56828" y="85918"/>
                      <a:pt x="50062" y="89301"/>
                    </a:cubicBezTo>
                    <a:cubicBezTo>
                      <a:pt x="43297" y="92683"/>
                      <a:pt x="35855" y="94713"/>
                      <a:pt x="27061" y="94713"/>
                    </a:cubicBezTo>
                    <a:lnTo>
                      <a:pt x="0" y="94713"/>
                    </a:lnTo>
                    <a:close/>
                    <a:moveTo>
                      <a:pt x="16236" y="13530"/>
                    </a:moveTo>
                    <a:lnTo>
                      <a:pt x="16236" y="82535"/>
                    </a:lnTo>
                    <a:lnTo>
                      <a:pt x="27061" y="82535"/>
                    </a:lnTo>
                    <a:cubicBezTo>
                      <a:pt x="35855" y="82535"/>
                      <a:pt x="42621" y="79829"/>
                      <a:pt x="47356" y="74417"/>
                    </a:cubicBezTo>
                    <a:cubicBezTo>
                      <a:pt x="52092" y="69005"/>
                      <a:pt x="54122" y="60887"/>
                      <a:pt x="54798" y="50739"/>
                    </a:cubicBezTo>
                    <a:lnTo>
                      <a:pt x="54798" y="45327"/>
                    </a:lnTo>
                    <a:cubicBezTo>
                      <a:pt x="54798" y="35179"/>
                      <a:pt x="52768" y="27061"/>
                      <a:pt x="48033" y="21649"/>
                    </a:cubicBezTo>
                    <a:cubicBezTo>
                      <a:pt x="43297" y="16236"/>
                      <a:pt x="37209" y="13530"/>
                      <a:pt x="28414" y="13530"/>
                    </a:cubicBezTo>
                    <a:lnTo>
                      <a:pt x="16236" y="13530"/>
                    </a:lnTo>
                    <a:close/>
                  </a:path>
                </a:pathLst>
              </a:custGeom>
              <a:solidFill>
                <a:srgbClr val="004A99"/>
              </a:solidFill>
              <a:ln w="6756" cap="flat">
                <a:noFill/>
                <a:prstDash val="solid"/>
                <a:miter/>
              </a:ln>
            </p:spPr>
            <p:txBody>
              <a:bodyPr rtlCol="0" anchor="ctr"/>
              <a:lstStyle/>
              <a:p>
                <a:pPr rtl="0"/>
                <a:endParaRPr lang="en-US"/>
              </a:p>
            </p:txBody>
          </p:sp>
          <p:sp>
            <p:nvSpPr>
              <p:cNvPr id="19" name="Freihandform: Form 18">
                <a:extLst>
                  <a:ext uri="{FF2B5EF4-FFF2-40B4-BE49-F238E27FC236}">
                    <a16:creationId xmlns:a16="http://schemas.microsoft.com/office/drawing/2014/main" id="{37F12070-7049-454F-B3DF-8F630B280409}"/>
                  </a:ext>
                </a:extLst>
              </p:cNvPr>
              <p:cNvSpPr/>
              <p:nvPr/>
            </p:nvSpPr>
            <p:spPr>
              <a:xfrm>
                <a:off x="5448198" y="3228867"/>
                <a:ext cx="112978" cy="95389"/>
              </a:xfrm>
              <a:custGeom>
                <a:avLst/>
                <a:gdLst>
                  <a:gd name="connsiteX0" fmla="*/ 81859 w 112978"/>
                  <a:gd name="connsiteY0" fmla="*/ 71711 h 95389"/>
                  <a:gd name="connsiteX1" fmla="*/ 96742 w 112978"/>
                  <a:gd name="connsiteY1" fmla="*/ 0 h 95389"/>
                  <a:gd name="connsiteX2" fmla="*/ 112979 w 112978"/>
                  <a:gd name="connsiteY2" fmla="*/ 0 h 95389"/>
                  <a:gd name="connsiteX3" fmla="*/ 90654 w 112978"/>
                  <a:gd name="connsiteY3" fmla="*/ 95389 h 95389"/>
                  <a:gd name="connsiteX4" fmla="*/ 75094 w 112978"/>
                  <a:gd name="connsiteY4" fmla="*/ 95389 h 95389"/>
                  <a:gd name="connsiteX5" fmla="*/ 56828 w 112978"/>
                  <a:gd name="connsiteY5" fmla="*/ 25708 h 95389"/>
                  <a:gd name="connsiteX6" fmla="*/ 38562 w 112978"/>
                  <a:gd name="connsiteY6" fmla="*/ 95389 h 95389"/>
                  <a:gd name="connsiteX7" fmla="*/ 22325 w 112978"/>
                  <a:gd name="connsiteY7" fmla="*/ 95389 h 95389"/>
                  <a:gd name="connsiteX8" fmla="*/ 0 w 112978"/>
                  <a:gd name="connsiteY8" fmla="*/ 0 h 95389"/>
                  <a:gd name="connsiteX9" fmla="*/ 16237 w 112978"/>
                  <a:gd name="connsiteY9" fmla="*/ 0 h 95389"/>
                  <a:gd name="connsiteX10" fmla="*/ 31120 w 112978"/>
                  <a:gd name="connsiteY10" fmla="*/ 71711 h 95389"/>
                  <a:gd name="connsiteX11" fmla="*/ 49386 w 112978"/>
                  <a:gd name="connsiteY11" fmla="*/ 0 h 95389"/>
                  <a:gd name="connsiteX12" fmla="*/ 63593 w 112978"/>
                  <a:gd name="connsiteY12" fmla="*/ 0 h 95389"/>
                  <a:gd name="connsiteX13" fmla="*/ 81859 w 112978"/>
                  <a:gd name="connsiteY13" fmla="*/ 71711 h 95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2977" h="95389">
                    <a:moveTo>
                      <a:pt x="81859" y="71711"/>
                    </a:moveTo>
                    <a:lnTo>
                      <a:pt x="96742" y="0"/>
                    </a:lnTo>
                    <a:lnTo>
                      <a:pt x="112979" y="0"/>
                    </a:lnTo>
                    <a:lnTo>
                      <a:pt x="90654" y="95389"/>
                    </a:lnTo>
                    <a:lnTo>
                      <a:pt x="75094" y="95389"/>
                    </a:lnTo>
                    <a:lnTo>
                      <a:pt x="56828" y="25708"/>
                    </a:lnTo>
                    <a:lnTo>
                      <a:pt x="38562" y="95389"/>
                    </a:lnTo>
                    <a:lnTo>
                      <a:pt x="22325" y="95389"/>
                    </a:lnTo>
                    <a:lnTo>
                      <a:pt x="0" y="0"/>
                    </a:lnTo>
                    <a:lnTo>
                      <a:pt x="16237" y="0"/>
                    </a:lnTo>
                    <a:lnTo>
                      <a:pt x="31120" y="71711"/>
                    </a:lnTo>
                    <a:lnTo>
                      <a:pt x="49386" y="0"/>
                    </a:lnTo>
                    <a:lnTo>
                      <a:pt x="63593" y="0"/>
                    </a:lnTo>
                    <a:lnTo>
                      <a:pt x="81859" y="71711"/>
                    </a:lnTo>
                    <a:close/>
                  </a:path>
                </a:pathLst>
              </a:custGeom>
              <a:solidFill>
                <a:srgbClr val="004A99"/>
              </a:solidFill>
              <a:ln w="6756" cap="flat">
                <a:noFill/>
                <a:prstDash val="solid"/>
                <a:miter/>
              </a:ln>
            </p:spPr>
            <p:txBody>
              <a:bodyPr rtlCol="0" anchor="ctr"/>
              <a:lstStyle/>
              <a:p>
                <a:pPr rtl="0"/>
                <a:endParaRPr lang="en-US"/>
              </a:p>
            </p:txBody>
          </p:sp>
          <p:sp>
            <p:nvSpPr>
              <p:cNvPr id="20" name="Freihandform: Form 19">
                <a:extLst>
                  <a:ext uri="{FF2B5EF4-FFF2-40B4-BE49-F238E27FC236}">
                    <a16:creationId xmlns:a16="http://schemas.microsoft.com/office/drawing/2014/main" id="{2338123D-D495-423F-8F95-A09D0183CFAF}"/>
                  </a:ext>
                </a:extLst>
              </p:cNvPr>
              <p:cNvSpPr/>
              <p:nvPr/>
            </p:nvSpPr>
            <p:spPr>
              <a:xfrm>
                <a:off x="5655213" y="3228867"/>
                <a:ext cx="16236" cy="95389"/>
              </a:xfrm>
              <a:custGeom>
                <a:avLst/>
                <a:gdLst>
                  <a:gd name="connsiteX0" fmla="*/ 16236 w 16236"/>
                  <a:gd name="connsiteY0" fmla="*/ 95389 h 95389"/>
                  <a:gd name="connsiteX1" fmla="*/ 0 w 16236"/>
                  <a:gd name="connsiteY1" fmla="*/ 95389 h 95389"/>
                  <a:gd name="connsiteX2" fmla="*/ 0 w 16236"/>
                  <a:gd name="connsiteY2" fmla="*/ 0 h 95389"/>
                  <a:gd name="connsiteX3" fmla="*/ 16236 w 16236"/>
                  <a:gd name="connsiteY3" fmla="*/ 0 h 95389"/>
                  <a:gd name="connsiteX4" fmla="*/ 16236 w 16236"/>
                  <a:gd name="connsiteY4" fmla="*/ 95389 h 953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36" h="95389">
                    <a:moveTo>
                      <a:pt x="16236" y="95389"/>
                    </a:moveTo>
                    <a:lnTo>
                      <a:pt x="0" y="95389"/>
                    </a:lnTo>
                    <a:lnTo>
                      <a:pt x="0" y="0"/>
                    </a:lnTo>
                    <a:lnTo>
                      <a:pt x="16236" y="0"/>
                    </a:lnTo>
                    <a:lnTo>
                      <a:pt x="16236" y="95389"/>
                    </a:lnTo>
                    <a:close/>
                  </a:path>
                </a:pathLst>
              </a:custGeom>
              <a:solidFill>
                <a:srgbClr val="004A99"/>
              </a:solidFill>
              <a:ln w="6756" cap="flat">
                <a:noFill/>
                <a:prstDash val="solid"/>
                <a:miter/>
              </a:ln>
            </p:spPr>
            <p:txBody>
              <a:bodyPr rtlCol="0" anchor="ctr"/>
              <a:lstStyle/>
              <a:p>
                <a:pPr rtl="0"/>
                <a:endParaRPr lang="en-US"/>
              </a:p>
            </p:txBody>
          </p:sp>
          <p:sp>
            <p:nvSpPr>
              <p:cNvPr id="21" name="Freihandform: Form 20">
                <a:extLst>
                  <a:ext uri="{FF2B5EF4-FFF2-40B4-BE49-F238E27FC236}">
                    <a16:creationId xmlns:a16="http://schemas.microsoft.com/office/drawing/2014/main" id="{2D35AB38-CA29-427B-B916-02403D33A6E5}"/>
                  </a:ext>
                </a:extLst>
              </p:cNvPr>
              <p:cNvSpPr/>
              <p:nvPr/>
            </p:nvSpPr>
            <p:spPr>
              <a:xfrm>
                <a:off x="5772251" y="3228867"/>
                <a:ext cx="71034" cy="95389"/>
              </a:xfrm>
              <a:custGeom>
                <a:avLst/>
                <a:gdLst>
                  <a:gd name="connsiteX0" fmla="*/ 0 w 71034"/>
                  <a:gd name="connsiteY0" fmla="*/ 95389 h 95389"/>
                  <a:gd name="connsiteX1" fmla="*/ 0 w 71034"/>
                  <a:gd name="connsiteY1" fmla="*/ 0 h 95389"/>
                  <a:gd name="connsiteX2" fmla="*/ 28414 w 71034"/>
                  <a:gd name="connsiteY2" fmla="*/ 0 h 95389"/>
                  <a:gd name="connsiteX3" fmla="*/ 50739 w 71034"/>
                  <a:gd name="connsiteY3" fmla="*/ 5412 h 95389"/>
                  <a:gd name="connsiteX4" fmla="*/ 65622 w 71034"/>
                  <a:gd name="connsiteY4" fmla="*/ 21649 h 95389"/>
                  <a:gd name="connsiteX5" fmla="*/ 71034 w 71034"/>
                  <a:gd name="connsiteY5" fmla="*/ 45327 h 95389"/>
                  <a:gd name="connsiteX6" fmla="*/ 71034 w 71034"/>
                  <a:gd name="connsiteY6" fmla="*/ 50062 h 95389"/>
                  <a:gd name="connsiteX7" fmla="*/ 65622 w 71034"/>
                  <a:gd name="connsiteY7" fmla="*/ 73741 h 95389"/>
                  <a:gd name="connsiteX8" fmla="*/ 50062 w 71034"/>
                  <a:gd name="connsiteY8" fmla="*/ 89301 h 95389"/>
                  <a:gd name="connsiteX9" fmla="*/ 27061 w 71034"/>
                  <a:gd name="connsiteY9" fmla="*/ 94713 h 95389"/>
                  <a:gd name="connsiteX10" fmla="*/ 0 w 71034"/>
                  <a:gd name="connsiteY10" fmla="*/ 94713 h 95389"/>
                  <a:gd name="connsiteX11" fmla="*/ 16236 w 71034"/>
                  <a:gd name="connsiteY11" fmla="*/ 13530 h 95389"/>
                  <a:gd name="connsiteX12" fmla="*/ 16236 w 71034"/>
                  <a:gd name="connsiteY12" fmla="*/ 82535 h 95389"/>
                  <a:gd name="connsiteX13" fmla="*/ 27061 w 71034"/>
                  <a:gd name="connsiteY13" fmla="*/ 82535 h 95389"/>
                  <a:gd name="connsiteX14" fmla="*/ 47356 w 71034"/>
                  <a:gd name="connsiteY14" fmla="*/ 74417 h 95389"/>
                  <a:gd name="connsiteX15" fmla="*/ 54798 w 71034"/>
                  <a:gd name="connsiteY15" fmla="*/ 50739 h 95389"/>
                  <a:gd name="connsiteX16" fmla="*/ 54798 w 71034"/>
                  <a:gd name="connsiteY16" fmla="*/ 45327 h 95389"/>
                  <a:gd name="connsiteX17" fmla="*/ 48033 w 71034"/>
                  <a:gd name="connsiteY17" fmla="*/ 21649 h 95389"/>
                  <a:gd name="connsiteX18" fmla="*/ 28414 w 71034"/>
                  <a:gd name="connsiteY18" fmla="*/ 13530 h 95389"/>
                  <a:gd name="connsiteX19" fmla="*/ 16236 w 71034"/>
                  <a:gd name="connsiteY19" fmla="*/ 13530 h 95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1034" h="95389">
                    <a:moveTo>
                      <a:pt x="0" y="95389"/>
                    </a:moveTo>
                    <a:lnTo>
                      <a:pt x="0" y="0"/>
                    </a:lnTo>
                    <a:lnTo>
                      <a:pt x="28414" y="0"/>
                    </a:lnTo>
                    <a:cubicBezTo>
                      <a:pt x="36532" y="0"/>
                      <a:pt x="44650" y="2030"/>
                      <a:pt x="50739" y="5412"/>
                    </a:cubicBezTo>
                    <a:cubicBezTo>
                      <a:pt x="57504" y="9471"/>
                      <a:pt x="62240" y="14207"/>
                      <a:pt x="65622" y="21649"/>
                    </a:cubicBezTo>
                    <a:cubicBezTo>
                      <a:pt x="69005" y="28414"/>
                      <a:pt x="71034" y="36532"/>
                      <a:pt x="71034" y="45327"/>
                    </a:cubicBezTo>
                    <a:lnTo>
                      <a:pt x="71034" y="50062"/>
                    </a:lnTo>
                    <a:cubicBezTo>
                      <a:pt x="71034" y="58857"/>
                      <a:pt x="69005" y="66975"/>
                      <a:pt x="65622" y="73741"/>
                    </a:cubicBezTo>
                    <a:cubicBezTo>
                      <a:pt x="62240" y="80506"/>
                      <a:pt x="56828" y="85918"/>
                      <a:pt x="50062" y="89301"/>
                    </a:cubicBezTo>
                    <a:cubicBezTo>
                      <a:pt x="43297" y="92683"/>
                      <a:pt x="35855" y="94713"/>
                      <a:pt x="27061" y="94713"/>
                    </a:cubicBezTo>
                    <a:lnTo>
                      <a:pt x="0" y="94713"/>
                    </a:lnTo>
                    <a:close/>
                    <a:moveTo>
                      <a:pt x="16236" y="13530"/>
                    </a:moveTo>
                    <a:lnTo>
                      <a:pt x="16236" y="82535"/>
                    </a:lnTo>
                    <a:lnTo>
                      <a:pt x="27061" y="82535"/>
                    </a:lnTo>
                    <a:cubicBezTo>
                      <a:pt x="35855" y="82535"/>
                      <a:pt x="42621" y="79829"/>
                      <a:pt x="47356" y="74417"/>
                    </a:cubicBezTo>
                    <a:cubicBezTo>
                      <a:pt x="52092" y="69005"/>
                      <a:pt x="54122" y="60887"/>
                      <a:pt x="54798" y="50739"/>
                    </a:cubicBezTo>
                    <a:lnTo>
                      <a:pt x="54798" y="45327"/>
                    </a:lnTo>
                    <a:cubicBezTo>
                      <a:pt x="54798" y="35179"/>
                      <a:pt x="52768" y="27061"/>
                      <a:pt x="48033" y="21649"/>
                    </a:cubicBezTo>
                    <a:cubicBezTo>
                      <a:pt x="43297" y="16236"/>
                      <a:pt x="37209" y="13530"/>
                      <a:pt x="28414" y="13530"/>
                    </a:cubicBezTo>
                    <a:lnTo>
                      <a:pt x="16236" y="13530"/>
                    </a:lnTo>
                    <a:close/>
                  </a:path>
                </a:pathLst>
              </a:custGeom>
              <a:solidFill>
                <a:srgbClr val="004A99"/>
              </a:solidFill>
              <a:ln w="6756" cap="flat">
                <a:noFill/>
                <a:prstDash val="solid"/>
                <a:miter/>
              </a:ln>
            </p:spPr>
            <p:txBody>
              <a:bodyPr rtlCol="0" anchor="ctr"/>
              <a:lstStyle/>
              <a:p>
                <a:pPr rtl="0"/>
                <a:endParaRPr lang="en-US"/>
              </a:p>
            </p:txBody>
          </p:sp>
          <p:sp>
            <p:nvSpPr>
              <p:cNvPr id="22" name="Freihandform: Form 21">
                <a:extLst>
                  <a:ext uri="{FF2B5EF4-FFF2-40B4-BE49-F238E27FC236}">
                    <a16:creationId xmlns:a16="http://schemas.microsoft.com/office/drawing/2014/main" id="{0B93FAB7-9A61-4F3B-96F3-91C389ED4B16}"/>
                  </a:ext>
                </a:extLst>
              </p:cNvPr>
              <p:cNvSpPr/>
              <p:nvPr/>
            </p:nvSpPr>
            <p:spPr>
              <a:xfrm>
                <a:off x="5940704" y="3228867"/>
                <a:ext cx="62239" cy="95389"/>
              </a:xfrm>
              <a:custGeom>
                <a:avLst/>
                <a:gdLst>
                  <a:gd name="connsiteX0" fmla="*/ 55475 w 62239"/>
                  <a:gd name="connsiteY0" fmla="*/ 52768 h 95389"/>
                  <a:gd name="connsiteX1" fmla="*/ 16236 w 62239"/>
                  <a:gd name="connsiteY1" fmla="*/ 52768 h 95389"/>
                  <a:gd name="connsiteX2" fmla="*/ 16236 w 62239"/>
                  <a:gd name="connsiteY2" fmla="*/ 81859 h 95389"/>
                  <a:gd name="connsiteX3" fmla="*/ 62240 w 62239"/>
                  <a:gd name="connsiteY3" fmla="*/ 81859 h 95389"/>
                  <a:gd name="connsiteX4" fmla="*/ 62240 w 62239"/>
                  <a:gd name="connsiteY4" fmla="*/ 95389 h 95389"/>
                  <a:gd name="connsiteX5" fmla="*/ 0 w 62239"/>
                  <a:gd name="connsiteY5" fmla="*/ 95389 h 95389"/>
                  <a:gd name="connsiteX6" fmla="*/ 0 w 62239"/>
                  <a:gd name="connsiteY6" fmla="*/ 0 h 95389"/>
                  <a:gd name="connsiteX7" fmla="*/ 62240 w 62239"/>
                  <a:gd name="connsiteY7" fmla="*/ 0 h 95389"/>
                  <a:gd name="connsiteX8" fmla="*/ 62240 w 62239"/>
                  <a:gd name="connsiteY8" fmla="*/ 13530 h 95389"/>
                  <a:gd name="connsiteX9" fmla="*/ 16913 w 62239"/>
                  <a:gd name="connsiteY9" fmla="*/ 13530 h 95389"/>
                  <a:gd name="connsiteX10" fmla="*/ 16913 w 62239"/>
                  <a:gd name="connsiteY10" fmla="*/ 39915 h 95389"/>
                  <a:gd name="connsiteX11" fmla="*/ 56151 w 62239"/>
                  <a:gd name="connsiteY11" fmla="*/ 39915 h 95389"/>
                  <a:gd name="connsiteX12" fmla="*/ 56151 w 62239"/>
                  <a:gd name="connsiteY12" fmla="*/ 52768 h 95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2238" h="95389">
                    <a:moveTo>
                      <a:pt x="55475" y="52768"/>
                    </a:moveTo>
                    <a:lnTo>
                      <a:pt x="16236" y="52768"/>
                    </a:lnTo>
                    <a:lnTo>
                      <a:pt x="16236" y="81859"/>
                    </a:lnTo>
                    <a:lnTo>
                      <a:pt x="62240" y="81859"/>
                    </a:lnTo>
                    <a:lnTo>
                      <a:pt x="62240" y="95389"/>
                    </a:lnTo>
                    <a:lnTo>
                      <a:pt x="0" y="95389"/>
                    </a:lnTo>
                    <a:lnTo>
                      <a:pt x="0" y="0"/>
                    </a:lnTo>
                    <a:lnTo>
                      <a:pt x="62240" y="0"/>
                    </a:lnTo>
                    <a:lnTo>
                      <a:pt x="62240" y="13530"/>
                    </a:lnTo>
                    <a:lnTo>
                      <a:pt x="16913" y="13530"/>
                    </a:lnTo>
                    <a:lnTo>
                      <a:pt x="16913" y="39915"/>
                    </a:lnTo>
                    <a:lnTo>
                      <a:pt x="56151" y="39915"/>
                    </a:lnTo>
                    <a:lnTo>
                      <a:pt x="56151" y="52768"/>
                    </a:lnTo>
                    <a:close/>
                  </a:path>
                </a:pathLst>
              </a:custGeom>
              <a:solidFill>
                <a:srgbClr val="004A99"/>
              </a:solidFill>
              <a:ln w="6756" cap="flat">
                <a:noFill/>
                <a:prstDash val="solid"/>
                <a:miter/>
              </a:ln>
            </p:spPr>
            <p:txBody>
              <a:bodyPr rtlCol="0" anchor="ctr"/>
              <a:lstStyle/>
              <a:p>
                <a:pPr rtl="0"/>
                <a:endParaRPr lang="en-US"/>
              </a:p>
            </p:txBody>
          </p:sp>
          <p:sp>
            <p:nvSpPr>
              <p:cNvPr id="23" name="Freihandform: Form 22">
                <a:extLst>
                  <a:ext uri="{FF2B5EF4-FFF2-40B4-BE49-F238E27FC236}">
                    <a16:creationId xmlns:a16="http://schemas.microsoft.com/office/drawing/2014/main" id="{C3F59078-7F42-461C-9332-17B2B5F1ACD7}"/>
                  </a:ext>
                </a:extLst>
              </p:cNvPr>
              <p:cNvSpPr/>
              <p:nvPr/>
            </p:nvSpPr>
            <p:spPr>
              <a:xfrm>
                <a:off x="6210635" y="3229544"/>
                <a:ext cx="60210" cy="95389"/>
              </a:xfrm>
              <a:custGeom>
                <a:avLst/>
                <a:gdLst>
                  <a:gd name="connsiteX0" fmla="*/ 16913 w 60210"/>
                  <a:gd name="connsiteY0" fmla="*/ 81859 h 95389"/>
                  <a:gd name="connsiteX1" fmla="*/ 60210 w 60210"/>
                  <a:gd name="connsiteY1" fmla="*/ 81859 h 95389"/>
                  <a:gd name="connsiteX2" fmla="*/ 60210 w 60210"/>
                  <a:gd name="connsiteY2" fmla="*/ 95389 h 95389"/>
                  <a:gd name="connsiteX3" fmla="*/ 0 w 60210"/>
                  <a:gd name="connsiteY3" fmla="*/ 95389 h 95389"/>
                  <a:gd name="connsiteX4" fmla="*/ 0 w 60210"/>
                  <a:gd name="connsiteY4" fmla="*/ 0 h 95389"/>
                  <a:gd name="connsiteX5" fmla="*/ 16913 w 60210"/>
                  <a:gd name="connsiteY5" fmla="*/ 0 h 95389"/>
                  <a:gd name="connsiteX6" fmla="*/ 16913 w 60210"/>
                  <a:gd name="connsiteY6" fmla="*/ 81859 h 95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210" h="95389">
                    <a:moveTo>
                      <a:pt x="16913" y="81859"/>
                    </a:moveTo>
                    <a:lnTo>
                      <a:pt x="60210" y="81859"/>
                    </a:lnTo>
                    <a:lnTo>
                      <a:pt x="60210" y="95389"/>
                    </a:lnTo>
                    <a:lnTo>
                      <a:pt x="0" y="95389"/>
                    </a:lnTo>
                    <a:lnTo>
                      <a:pt x="0" y="0"/>
                    </a:lnTo>
                    <a:lnTo>
                      <a:pt x="16913" y="0"/>
                    </a:lnTo>
                    <a:lnTo>
                      <a:pt x="16913" y="81859"/>
                    </a:lnTo>
                    <a:close/>
                  </a:path>
                </a:pathLst>
              </a:custGeom>
              <a:solidFill>
                <a:srgbClr val="004A99"/>
              </a:solidFill>
              <a:ln w="6756" cap="flat">
                <a:noFill/>
                <a:prstDash val="solid"/>
                <a:miter/>
              </a:ln>
            </p:spPr>
            <p:txBody>
              <a:bodyPr rtlCol="0" anchor="ctr"/>
              <a:lstStyle/>
              <a:p>
                <a:pPr rtl="0"/>
                <a:endParaRPr lang="en-US"/>
              </a:p>
            </p:txBody>
          </p:sp>
          <p:sp>
            <p:nvSpPr>
              <p:cNvPr id="24" name="Freihandform: Form 23">
                <a:extLst>
                  <a:ext uri="{FF2B5EF4-FFF2-40B4-BE49-F238E27FC236}">
                    <a16:creationId xmlns:a16="http://schemas.microsoft.com/office/drawing/2014/main" id="{8EB320AE-D1BC-45DD-B518-090EC46EA751}"/>
                  </a:ext>
                </a:extLst>
              </p:cNvPr>
              <p:cNvSpPr/>
              <p:nvPr/>
            </p:nvSpPr>
            <p:spPr>
              <a:xfrm>
                <a:off x="6356763" y="3228191"/>
                <a:ext cx="79829" cy="97418"/>
              </a:xfrm>
              <a:custGeom>
                <a:avLst/>
                <a:gdLst>
                  <a:gd name="connsiteX0" fmla="*/ 79153 w 79829"/>
                  <a:gd name="connsiteY0" fmla="*/ 51415 h 97418"/>
                  <a:gd name="connsiteX1" fmla="*/ 74417 w 79829"/>
                  <a:gd name="connsiteY1" fmla="*/ 75770 h 97418"/>
                  <a:gd name="connsiteX2" fmla="*/ 60887 w 79829"/>
                  <a:gd name="connsiteY2" fmla="*/ 92007 h 97418"/>
                  <a:gd name="connsiteX3" fmla="*/ 39915 w 79829"/>
                  <a:gd name="connsiteY3" fmla="*/ 97419 h 97418"/>
                  <a:gd name="connsiteX4" fmla="*/ 18942 w 79829"/>
                  <a:gd name="connsiteY4" fmla="*/ 92007 h 97418"/>
                  <a:gd name="connsiteX5" fmla="*/ 4736 w 79829"/>
                  <a:gd name="connsiteY5" fmla="*/ 75770 h 97418"/>
                  <a:gd name="connsiteX6" fmla="*/ 0 w 79829"/>
                  <a:gd name="connsiteY6" fmla="*/ 51415 h 97418"/>
                  <a:gd name="connsiteX7" fmla="*/ 0 w 79829"/>
                  <a:gd name="connsiteY7" fmla="*/ 46003 h 97418"/>
                  <a:gd name="connsiteX8" fmla="*/ 4736 w 79829"/>
                  <a:gd name="connsiteY8" fmla="*/ 21649 h 97418"/>
                  <a:gd name="connsiteX9" fmla="*/ 18942 w 79829"/>
                  <a:gd name="connsiteY9" fmla="*/ 5412 h 97418"/>
                  <a:gd name="connsiteX10" fmla="*/ 39915 w 79829"/>
                  <a:gd name="connsiteY10" fmla="*/ 0 h 97418"/>
                  <a:gd name="connsiteX11" fmla="*/ 60887 w 79829"/>
                  <a:gd name="connsiteY11" fmla="*/ 5412 h 97418"/>
                  <a:gd name="connsiteX12" fmla="*/ 75094 w 79829"/>
                  <a:gd name="connsiteY12" fmla="*/ 21649 h 97418"/>
                  <a:gd name="connsiteX13" fmla="*/ 79829 w 79829"/>
                  <a:gd name="connsiteY13" fmla="*/ 46003 h 97418"/>
                  <a:gd name="connsiteX14" fmla="*/ 79829 w 79829"/>
                  <a:gd name="connsiteY14" fmla="*/ 51415 h 97418"/>
                  <a:gd name="connsiteX15" fmla="*/ 62240 w 79829"/>
                  <a:gd name="connsiteY15" fmla="*/ 46003 h 97418"/>
                  <a:gd name="connsiteX16" fmla="*/ 56151 w 79829"/>
                  <a:gd name="connsiteY16" fmla="*/ 21649 h 97418"/>
                  <a:gd name="connsiteX17" fmla="*/ 39238 w 79829"/>
                  <a:gd name="connsiteY17" fmla="*/ 13530 h 97418"/>
                  <a:gd name="connsiteX18" fmla="*/ 22325 w 79829"/>
                  <a:gd name="connsiteY18" fmla="*/ 21649 h 97418"/>
                  <a:gd name="connsiteX19" fmla="*/ 16236 w 79829"/>
                  <a:gd name="connsiteY19" fmla="*/ 45327 h 97418"/>
                  <a:gd name="connsiteX20" fmla="*/ 16236 w 79829"/>
                  <a:gd name="connsiteY20" fmla="*/ 50739 h 97418"/>
                  <a:gd name="connsiteX21" fmla="*/ 22325 w 79829"/>
                  <a:gd name="connsiteY21" fmla="*/ 75094 h 97418"/>
                  <a:gd name="connsiteX22" fmla="*/ 39238 w 79829"/>
                  <a:gd name="connsiteY22" fmla="*/ 83888 h 97418"/>
                  <a:gd name="connsiteX23" fmla="*/ 56151 w 79829"/>
                  <a:gd name="connsiteY23" fmla="*/ 75770 h 97418"/>
                  <a:gd name="connsiteX24" fmla="*/ 62240 w 79829"/>
                  <a:gd name="connsiteY24" fmla="*/ 51415 h 97418"/>
                  <a:gd name="connsiteX25" fmla="*/ 62240 w 79829"/>
                  <a:gd name="connsiteY25" fmla="*/ 46003 h 97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79829" h="97418">
                    <a:moveTo>
                      <a:pt x="79153" y="51415"/>
                    </a:moveTo>
                    <a:cubicBezTo>
                      <a:pt x="79153" y="60887"/>
                      <a:pt x="77800" y="69005"/>
                      <a:pt x="74417" y="75770"/>
                    </a:cubicBezTo>
                    <a:cubicBezTo>
                      <a:pt x="71034" y="82535"/>
                      <a:pt x="66299" y="87947"/>
                      <a:pt x="60887" y="92007"/>
                    </a:cubicBezTo>
                    <a:cubicBezTo>
                      <a:pt x="54798" y="96066"/>
                      <a:pt x="48033" y="97419"/>
                      <a:pt x="39915" y="97419"/>
                    </a:cubicBezTo>
                    <a:cubicBezTo>
                      <a:pt x="32473" y="97419"/>
                      <a:pt x="25031" y="95389"/>
                      <a:pt x="18942" y="92007"/>
                    </a:cubicBezTo>
                    <a:cubicBezTo>
                      <a:pt x="12854" y="87947"/>
                      <a:pt x="8118" y="82535"/>
                      <a:pt x="4736" y="75770"/>
                    </a:cubicBezTo>
                    <a:cubicBezTo>
                      <a:pt x="1353" y="69005"/>
                      <a:pt x="0" y="60887"/>
                      <a:pt x="0" y="51415"/>
                    </a:cubicBezTo>
                    <a:lnTo>
                      <a:pt x="0" y="46003"/>
                    </a:lnTo>
                    <a:cubicBezTo>
                      <a:pt x="0" y="36532"/>
                      <a:pt x="1353" y="28414"/>
                      <a:pt x="4736" y="21649"/>
                    </a:cubicBezTo>
                    <a:cubicBezTo>
                      <a:pt x="8118" y="14207"/>
                      <a:pt x="12854" y="8795"/>
                      <a:pt x="18942" y="5412"/>
                    </a:cubicBezTo>
                    <a:cubicBezTo>
                      <a:pt x="25031" y="1353"/>
                      <a:pt x="31796" y="0"/>
                      <a:pt x="39915" y="0"/>
                    </a:cubicBezTo>
                    <a:cubicBezTo>
                      <a:pt x="47356" y="0"/>
                      <a:pt x="54798" y="2030"/>
                      <a:pt x="60887" y="5412"/>
                    </a:cubicBezTo>
                    <a:cubicBezTo>
                      <a:pt x="66975" y="9471"/>
                      <a:pt x="71711" y="14207"/>
                      <a:pt x="75094" y="21649"/>
                    </a:cubicBezTo>
                    <a:cubicBezTo>
                      <a:pt x="78476" y="28414"/>
                      <a:pt x="79829" y="36532"/>
                      <a:pt x="79829" y="46003"/>
                    </a:cubicBezTo>
                    <a:lnTo>
                      <a:pt x="79829" y="51415"/>
                    </a:lnTo>
                    <a:close/>
                    <a:moveTo>
                      <a:pt x="62240" y="46003"/>
                    </a:moveTo>
                    <a:cubicBezTo>
                      <a:pt x="62240" y="35179"/>
                      <a:pt x="60210" y="27061"/>
                      <a:pt x="56151" y="21649"/>
                    </a:cubicBezTo>
                    <a:cubicBezTo>
                      <a:pt x="52092" y="16236"/>
                      <a:pt x="46680" y="13530"/>
                      <a:pt x="39238" y="13530"/>
                    </a:cubicBezTo>
                    <a:cubicBezTo>
                      <a:pt x="31796" y="13530"/>
                      <a:pt x="26384" y="16236"/>
                      <a:pt x="22325" y="21649"/>
                    </a:cubicBezTo>
                    <a:cubicBezTo>
                      <a:pt x="18266" y="27061"/>
                      <a:pt x="16236" y="35179"/>
                      <a:pt x="16236" y="45327"/>
                    </a:cubicBezTo>
                    <a:lnTo>
                      <a:pt x="16236" y="50739"/>
                    </a:lnTo>
                    <a:cubicBezTo>
                      <a:pt x="16236" y="61563"/>
                      <a:pt x="18266" y="69005"/>
                      <a:pt x="22325" y="75094"/>
                    </a:cubicBezTo>
                    <a:cubicBezTo>
                      <a:pt x="26384" y="80506"/>
                      <a:pt x="31796" y="83888"/>
                      <a:pt x="39238" y="83888"/>
                    </a:cubicBezTo>
                    <a:cubicBezTo>
                      <a:pt x="46680" y="83888"/>
                      <a:pt x="52092" y="81182"/>
                      <a:pt x="56151" y="75770"/>
                    </a:cubicBezTo>
                    <a:cubicBezTo>
                      <a:pt x="60210" y="70358"/>
                      <a:pt x="62240" y="62240"/>
                      <a:pt x="62240" y="51415"/>
                    </a:cubicBezTo>
                    <a:lnTo>
                      <a:pt x="62240" y="46003"/>
                    </a:lnTo>
                    <a:close/>
                  </a:path>
                </a:pathLst>
              </a:custGeom>
              <a:solidFill>
                <a:srgbClr val="004A99"/>
              </a:solidFill>
              <a:ln w="6756" cap="flat">
                <a:noFill/>
                <a:prstDash val="solid"/>
                <a:miter/>
              </a:ln>
            </p:spPr>
            <p:txBody>
              <a:bodyPr rtlCol="0" anchor="ctr"/>
              <a:lstStyle/>
              <a:p>
                <a:pPr rtl="0"/>
                <a:endParaRPr lang="en-US"/>
              </a:p>
            </p:txBody>
          </p:sp>
          <p:sp>
            <p:nvSpPr>
              <p:cNvPr id="25" name="Freihandform: Form 24">
                <a:extLst>
                  <a:ext uri="{FF2B5EF4-FFF2-40B4-BE49-F238E27FC236}">
                    <a16:creationId xmlns:a16="http://schemas.microsoft.com/office/drawing/2014/main" id="{A0FBCC5B-BA7C-47F3-96C4-EAB9A5269DE9}"/>
                  </a:ext>
                </a:extLst>
              </p:cNvPr>
              <p:cNvSpPr/>
              <p:nvPr/>
            </p:nvSpPr>
            <p:spPr>
              <a:xfrm>
                <a:off x="6529952" y="3227514"/>
                <a:ext cx="75769" cy="98095"/>
              </a:xfrm>
              <a:custGeom>
                <a:avLst/>
                <a:gdLst>
                  <a:gd name="connsiteX0" fmla="*/ 75770 w 75769"/>
                  <a:gd name="connsiteY0" fmla="*/ 84565 h 98095"/>
                  <a:gd name="connsiteX1" fmla="*/ 61563 w 75769"/>
                  <a:gd name="connsiteY1" fmla="*/ 94713 h 98095"/>
                  <a:gd name="connsiteX2" fmla="*/ 40591 w 75769"/>
                  <a:gd name="connsiteY2" fmla="*/ 98095 h 98095"/>
                  <a:gd name="connsiteX3" fmla="*/ 19619 w 75769"/>
                  <a:gd name="connsiteY3" fmla="*/ 92683 h 98095"/>
                  <a:gd name="connsiteX4" fmla="*/ 5412 w 75769"/>
                  <a:gd name="connsiteY4" fmla="*/ 77123 h 98095"/>
                  <a:gd name="connsiteX5" fmla="*/ 0 w 75769"/>
                  <a:gd name="connsiteY5" fmla="*/ 53445 h 98095"/>
                  <a:gd name="connsiteX6" fmla="*/ 0 w 75769"/>
                  <a:gd name="connsiteY6" fmla="*/ 46003 h 98095"/>
                  <a:gd name="connsiteX7" fmla="*/ 10148 w 75769"/>
                  <a:gd name="connsiteY7" fmla="*/ 12177 h 98095"/>
                  <a:gd name="connsiteX8" fmla="*/ 39238 w 75769"/>
                  <a:gd name="connsiteY8" fmla="*/ 0 h 98095"/>
                  <a:gd name="connsiteX9" fmla="*/ 64269 w 75769"/>
                  <a:gd name="connsiteY9" fmla="*/ 8118 h 98095"/>
                  <a:gd name="connsiteX10" fmla="*/ 75770 w 75769"/>
                  <a:gd name="connsiteY10" fmla="*/ 31120 h 98095"/>
                  <a:gd name="connsiteX11" fmla="*/ 59534 w 75769"/>
                  <a:gd name="connsiteY11" fmla="*/ 31120 h 98095"/>
                  <a:gd name="connsiteX12" fmla="*/ 39238 w 75769"/>
                  <a:gd name="connsiteY12" fmla="*/ 14207 h 98095"/>
                  <a:gd name="connsiteX13" fmla="*/ 22325 w 75769"/>
                  <a:gd name="connsiteY13" fmla="*/ 22325 h 98095"/>
                  <a:gd name="connsiteX14" fmla="*/ 16236 w 75769"/>
                  <a:gd name="connsiteY14" fmla="*/ 46003 h 98095"/>
                  <a:gd name="connsiteX15" fmla="*/ 16236 w 75769"/>
                  <a:gd name="connsiteY15" fmla="*/ 53445 h 98095"/>
                  <a:gd name="connsiteX16" fmla="*/ 23002 w 75769"/>
                  <a:gd name="connsiteY16" fmla="*/ 77123 h 98095"/>
                  <a:gd name="connsiteX17" fmla="*/ 41268 w 75769"/>
                  <a:gd name="connsiteY17" fmla="*/ 85918 h 98095"/>
                  <a:gd name="connsiteX18" fmla="*/ 59534 w 75769"/>
                  <a:gd name="connsiteY18" fmla="*/ 79829 h 98095"/>
                  <a:gd name="connsiteX19" fmla="*/ 59534 w 75769"/>
                  <a:gd name="connsiteY19" fmla="*/ 60887 h 98095"/>
                  <a:gd name="connsiteX20" fmla="*/ 39915 w 75769"/>
                  <a:gd name="connsiteY20" fmla="*/ 60887 h 98095"/>
                  <a:gd name="connsiteX21" fmla="*/ 39915 w 75769"/>
                  <a:gd name="connsiteY21" fmla="*/ 48033 h 98095"/>
                  <a:gd name="connsiteX22" fmla="*/ 75770 w 75769"/>
                  <a:gd name="connsiteY22" fmla="*/ 48033 h 98095"/>
                  <a:gd name="connsiteX23" fmla="*/ 75770 w 75769"/>
                  <a:gd name="connsiteY23" fmla="*/ 84565 h 98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5769" h="98095">
                    <a:moveTo>
                      <a:pt x="75770" y="84565"/>
                    </a:moveTo>
                    <a:cubicBezTo>
                      <a:pt x="72387" y="89301"/>
                      <a:pt x="67652" y="92683"/>
                      <a:pt x="61563" y="94713"/>
                    </a:cubicBezTo>
                    <a:cubicBezTo>
                      <a:pt x="55474" y="96742"/>
                      <a:pt x="48709" y="98095"/>
                      <a:pt x="40591" y="98095"/>
                    </a:cubicBezTo>
                    <a:cubicBezTo>
                      <a:pt x="32473" y="98095"/>
                      <a:pt x="25708" y="96066"/>
                      <a:pt x="19619" y="92683"/>
                    </a:cubicBezTo>
                    <a:cubicBezTo>
                      <a:pt x="13530" y="89301"/>
                      <a:pt x="8795" y="83888"/>
                      <a:pt x="5412" y="77123"/>
                    </a:cubicBezTo>
                    <a:cubicBezTo>
                      <a:pt x="2029" y="70358"/>
                      <a:pt x="0" y="62240"/>
                      <a:pt x="0" y="53445"/>
                    </a:cubicBezTo>
                    <a:lnTo>
                      <a:pt x="0" y="46003"/>
                    </a:lnTo>
                    <a:cubicBezTo>
                      <a:pt x="0" y="31796"/>
                      <a:pt x="3383" y="20296"/>
                      <a:pt x="10148" y="12177"/>
                    </a:cubicBezTo>
                    <a:cubicBezTo>
                      <a:pt x="16913" y="4059"/>
                      <a:pt x="26384" y="0"/>
                      <a:pt x="39238" y="0"/>
                    </a:cubicBezTo>
                    <a:cubicBezTo>
                      <a:pt x="50062" y="0"/>
                      <a:pt x="58181" y="2706"/>
                      <a:pt x="64269" y="8118"/>
                    </a:cubicBezTo>
                    <a:cubicBezTo>
                      <a:pt x="70358" y="13530"/>
                      <a:pt x="74417" y="20972"/>
                      <a:pt x="75770" y="31120"/>
                    </a:cubicBezTo>
                    <a:lnTo>
                      <a:pt x="59534" y="31120"/>
                    </a:lnTo>
                    <a:cubicBezTo>
                      <a:pt x="57504" y="19619"/>
                      <a:pt x="50739" y="14207"/>
                      <a:pt x="39238" y="14207"/>
                    </a:cubicBezTo>
                    <a:cubicBezTo>
                      <a:pt x="31796" y="14207"/>
                      <a:pt x="26384" y="16913"/>
                      <a:pt x="22325" y="22325"/>
                    </a:cubicBezTo>
                    <a:cubicBezTo>
                      <a:pt x="18266" y="27737"/>
                      <a:pt x="16236" y="35856"/>
                      <a:pt x="16236" y="46003"/>
                    </a:cubicBezTo>
                    <a:lnTo>
                      <a:pt x="16236" y="53445"/>
                    </a:lnTo>
                    <a:cubicBezTo>
                      <a:pt x="16236" y="63593"/>
                      <a:pt x="18266" y="71711"/>
                      <a:pt x="23002" y="77123"/>
                    </a:cubicBezTo>
                    <a:cubicBezTo>
                      <a:pt x="27061" y="82535"/>
                      <a:pt x="33149" y="85918"/>
                      <a:pt x="41268" y="85918"/>
                    </a:cubicBezTo>
                    <a:cubicBezTo>
                      <a:pt x="50062" y="85918"/>
                      <a:pt x="55474" y="83888"/>
                      <a:pt x="59534" y="79829"/>
                    </a:cubicBezTo>
                    <a:lnTo>
                      <a:pt x="59534" y="60887"/>
                    </a:lnTo>
                    <a:lnTo>
                      <a:pt x="39915" y="60887"/>
                    </a:lnTo>
                    <a:lnTo>
                      <a:pt x="39915" y="48033"/>
                    </a:lnTo>
                    <a:lnTo>
                      <a:pt x="75770" y="48033"/>
                    </a:lnTo>
                    <a:lnTo>
                      <a:pt x="75770" y="84565"/>
                    </a:lnTo>
                    <a:close/>
                  </a:path>
                </a:pathLst>
              </a:custGeom>
              <a:solidFill>
                <a:srgbClr val="004A99"/>
              </a:solidFill>
              <a:ln w="6756" cap="flat">
                <a:noFill/>
                <a:prstDash val="solid"/>
                <a:miter/>
              </a:ln>
            </p:spPr>
            <p:txBody>
              <a:bodyPr rtlCol="0" anchor="ctr"/>
              <a:lstStyle/>
              <a:p>
                <a:pPr rtl="0"/>
                <a:endParaRPr lang="en-US"/>
              </a:p>
            </p:txBody>
          </p:sp>
          <p:sp>
            <p:nvSpPr>
              <p:cNvPr id="26" name="Freihandform: Form 25">
                <a:extLst>
                  <a:ext uri="{FF2B5EF4-FFF2-40B4-BE49-F238E27FC236}">
                    <a16:creationId xmlns:a16="http://schemas.microsoft.com/office/drawing/2014/main" id="{06DD5BB8-27C8-431D-89D4-34D0451FEAA1}"/>
                  </a:ext>
                </a:extLst>
              </p:cNvPr>
              <p:cNvSpPr/>
              <p:nvPr/>
            </p:nvSpPr>
            <p:spPr>
              <a:xfrm>
                <a:off x="6705847" y="3228867"/>
                <a:ext cx="16236" cy="95389"/>
              </a:xfrm>
              <a:custGeom>
                <a:avLst/>
                <a:gdLst>
                  <a:gd name="connsiteX0" fmla="*/ 16236 w 16236"/>
                  <a:gd name="connsiteY0" fmla="*/ 95389 h 95389"/>
                  <a:gd name="connsiteX1" fmla="*/ 0 w 16236"/>
                  <a:gd name="connsiteY1" fmla="*/ 95389 h 95389"/>
                  <a:gd name="connsiteX2" fmla="*/ 0 w 16236"/>
                  <a:gd name="connsiteY2" fmla="*/ 0 h 95389"/>
                  <a:gd name="connsiteX3" fmla="*/ 16236 w 16236"/>
                  <a:gd name="connsiteY3" fmla="*/ 0 h 95389"/>
                  <a:gd name="connsiteX4" fmla="*/ 16236 w 16236"/>
                  <a:gd name="connsiteY4" fmla="*/ 95389 h 953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36" h="95389">
                    <a:moveTo>
                      <a:pt x="16236" y="95389"/>
                    </a:moveTo>
                    <a:lnTo>
                      <a:pt x="0" y="95389"/>
                    </a:lnTo>
                    <a:lnTo>
                      <a:pt x="0" y="0"/>
                    </a:lnTo>
                    <a:lnTo>
                      <a:pt x="16236" y="0"/>
                    </a:lnTo>
                    <a:lnTo>
                      <a:pt x="16236" y="95389"/>
                    </a:lnTo>
                    <a:close/>
                  </a:path>
                </a:pathLst>
              </a:custGeom>
              <a:solidFill>
                <a:srgbClr val="004A99"/>
              </a:solidFill>
              <a:ln w="6756" cap="flat">
                <a:noFill/>
                <a:prstDash val="solid"/>
                <a:miter/>
              </a:ln>
            </p:spPr>
            <p:txBody>
              <a:bodyPr rtlCol="0" anchor="ctr"/>
              <a:lstStyle/>
              <a:p>
                <a:pPr rtl="0"/>
                <a:endParaRPr lang="en-US"/>
              </a:p>
            </p:txBody>
          </p:sp>
          <p:sp>
            <p:nvSpPr>
              <p:cNvPr id="27" name="Freihandform: Form 26">
                <a:extLst>
                  <a:ext uri="{FF2B5EF4-FFF2-40B4-BE49-F238E27FC236}">
                    <a16:creationId xmlns:a16="http://schemas.microsoft.com/office/drawing/2014/main" id="{53D7A65E-6CBB-4998-87DD-7F285993709B}"/>
                  </a:ext>
                </a:extLst>
              </p:cNvPr>
              <p:cNvSpPr/>
              <p:nvPr/>
            </p:nvSpPr>
            <p:spPr>
              <a:xfrm>
                <a:off x="6817472" y="3228191"/>
                <a:ext cx="71711" cy="96742"/>
              </a:xfrm>
              <a:custGeom>
                <a:avLst/>
                <a:gdLst>
                  <a:gd name="connsiteX0" fmla="*/ 55474 w 71711"/>
                  <a:gd name="connsiteY0" fmla="*/ 71711 h 96742"/>
                  <a:gd name="connsiteX1" fmla="*/ 50739 w 71711"/>
                  <a:gd name="connsiteY1" fmla="*/ 62240 h 96742"/>
                  <a:gd name="connsiteX2" fmla="*/ 34503 w 71711"/>
                  <a:gd name="connsiteY2" fmla="*/ 55475 h 96742"/>
                  <a:gd name="connsiteX3" fmla="*/ 16236 w 71711"/>
                  <a:gd name="connsiteY3" fmla="*/ 48033 h 96742"/>
                  <a:gd name="connsiteX4" fmla="*/ 3383 w 71711"/>
                  <a:gd name="connsiteY4" fmla="*/ 26384 h 96742"/>
                  <a:gd name="connsiteX5" fmla="*/ 12854 w 71711"/>
                  <a:gd name="connsiteY5" fmla="*/ 7442 h 96742"/>
                  <a:gd name="connsiteX6" fmla="*/ 37209 w 71711"/>
                  <a:gd name="connsiteY6" fmla="*/ 0 h 96742"/>
                  <a:gd name="connsiteX7" fmla="*/ 54798 w 71711"/>
                  <a:gd name="connsiteY7" fmla="*/ 3383 h 96742"/>
                  <a:gd name="connsiteX8" fmla="*/ 66975 w 71711"/>
                  <a:gd name="connsiteY8" fmla="*/ 13530 h 96742"/>
                  <a:gd name="connsiteX9" fmla="*/ 71711 w 71711"/>
                  <a:gd name="connsiteY9" fmla="*/ 28414 h 96742"/>
                  <a:gd name="connsiteX10" fmla="*/ 55474 w 71711"/>
                  <a:gd name="connsiteY10" fmla="*/ 28414 h 96742"/>
                  <a:gd name="connsiteX11" fmla="*/ 50739 w 71711"/>
                  <a:gd name="connsiteY11" fmla="*/ 16913 h 96742"/>
                  <a:gd name="connsiteX12" fmla="*/ 37209 w 71711"/>
                  <a:gd name="connsiteY12" fmla="*/ 12854 h 96742"/>
                  <a:gd name="connsiteX13" fmla="*/ 24355 w 71711"/>
                  <a:gd name="connsiteY13" fmla="*/ 16236 h 96742"/>
                  <a:gd name="connsiteX14" fmla="*/ 19619 w 71711"/>
                  <a:gd name="connsiteY14" fmla="*/ 25708 h 96742"/>
                  <a:gd name="connsiteX15" fmla="*/ 24355 w 71711"/>
                  <a:gd name="connsiteY15" fmla="*/ 34503 h 96742"/>
                  <a:gd name="connsiteX16" fmla="*/ 40591 w 71711"/>
                  <a:gd name="connsiteY16" fmla="*/ 41268 h 96742"/>
                  <a:gd name="connsiteX17" fmla="*/ 58181 w 71711"/>
                  <a:gd name="connsiteY17" fmla="*/ 48709 h 96742"/>
                  <a:gd name="connsiteX18" fmla="*/ 68328 w 71711"/>
                  <a:gd name="connsiteY18" fmla="*/ 58181 h 96742"/>
                  <a:gd name="connsiteX19" fmla="*/ 71711 w 71711"/>
                  <a:gd name="connsiteY19" fmla="*/ 71035 h 96742"/>
                  <a:gd name="connsiteX20" fmla="*/ 62240 w 71711"/>
                  <a:gd name="connsiteY20" fmla="*/ 89977 h 96742"/>
                  <a:gd name="connsiteX21" fmla="*/ 37209 w 71711"/>
                  <a:gd name="connsiteY21" fmla="*/ 96742 h 96742"/>
                  <a:gd name="connsiteX22" fmla="*/ 18266 w 71711"/>
                  <a:gd name="connsiteY22" fmla="*/ 92683 h 96742"/>
                  <a:gd name="connsiteX23" fmla="*/ 4736 w 71711"/>
                  <a:gd name="connsiteY23" fmla="*/ 81859 h 96742"/>
                  <a:gd name="connsiteX24" fmla="*/ 0 w 71711"/>
                  <a:gd name="connsiteY24" fmla="*/ 66299 h 96742"/>
                  <a:gd name="connsiteX25" fmla="*/ 16913 w 71711"/>
                  <a:gd name="connsiteY25" fmla="*/ 66299 h 96742"/>
                  <a:gd name="connsiteX26" fmla="*/ 22325 w 71711"/>
                  <a:gd name="connsiteY26" fmla="*/ 79153 h 96742"/>
                  <a:gd name="connsiteX27" fmla="*/ 37885 w 71711"/>
                  <a:gd name="connsiteY27" fmla="*/ 83888 h 96742"/>
                  <a:gd name="connsiteX28" fmla="*/ 50739 w 71711"/>
                  <a:gd name="connsiteY28" fmla="*/ 80506 h 96742"/>
                  <a:gd name="connsiteX29" fmla="*/ 55474 w 71711"/>
                  <a:gd name="connsiteY29" fmla="*/ 71711 h 96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1711" h="96742">
                    <a:moveTo>
                      <a:pt x="55474" y="71711"/>
                    </a:moveTo>
                    <a:cubicBezTo>
                      <a:pt x="55474" y="67652"/>
                      <a:pt x="54122" y="64269"/>
                      <a:pt x="50739" y="62240"/>
                    </a:cubicBezTo>
                    <a:cubicBezTo>
                      <a:pt x="48033" y="60210"/>
                      <a:pt x="42621" y="57504"/>
                      <a:pt x="34503" y="55475"/>
                    </a:cubicBezTo>
                    <a:cubicBezTo>
                      <a:pt x="27061" y="53445"/>
                      <a:pt x="20972" y="50739"/>
                      <a:pt x="16236" y="48033"/>
                    </a:cubicBezTo>
                    <a:cubicBezTo>
                      <a:pt x="7442" y="42621"/>
                      <a:pt x="3383" y="35179"/>
                      <a:pt x="3383" y="26384"/>
                    </a:cubicBezTo>
                    <a:cubicBezTo>
                      <a:pt x="3383" y="18943"/>
                      <a:pt x="6765" y="12177"/>
                      <a:pt x="12854" y="7442"/>
                    </a:cubicBezTo>
                    <a:cubicBezTo>
                      <a:pt x="18942" y="2706"/>
                      <a:pt x="27061" y="0"/>
                      <a:pt x="37209" y="0"/>
                    </a:cubicBezTo>
                    <a:cubicBezTo>
                      <a:pt x="43974" y="0"/>
                      <a:pt x="50062" y="1353"/>
                      <a:pt x="54798" y="3383"/>
                    </a:cubicBezTo>
                    <a:cubicBezTo>
                      <a:pt x="60210" y="6089"/>
                      <a:pt x="64269" y="9471"/>
                      <a:pt x="66975" y="13530"/>
                    </a:cubicBezTo>
                    <a:cubicBezTo>
                      <a:pt x="69681" y="18266"/>
                      <a:pt x="71711" y="23002"/>
                      <a:pt x="71711" y="28414"/>
                    </a:cubicBezTo>
                    <a:lnTo>
                      <a:pt x="55474" y="28414"/>
                    </a:lnTo>
                    <a:cubicBezTo>
                      <a:pt x="55474" y="23678"/>
                      <a:pt x="54122" y="19619"/>
                      <a:pt x="50739" y="16913"/>
                    </a:cubicBezTo>
                    <a:cubicBezTo>
                      <a:pt x="47356" y="14207"/>
                      <a:pt x="43297" y="12854"/>
                      <a:pt x="37209" y="12854"/>
                    </a:cubicBezTo>
                    <a:cubicBezTo>
                      <a:pt x="31796" y="12854"/>
                      <a:pt x="27737" y="14207"/>
                      <a:pt x="24355" y="16236"/>
                    </a:cubicBezTo>
                    <a:cubicBezTo>
                      <a:pt x="21648" y="18266"/>
                      <a:pt x="19619" y="21649"/>
                      <a:pt x="19619" y="25708"/>
                    </a:cubicBezTo>
                    <a:cubicBezTo>
                      <a:pt x="19619" y="29090"/>
                      <a:pt x="20972" y="31796"/>
                      <a:pt x="24355" y="34503"/>
                    </a:cubicBezTo>
                    <a:cubicBezTo>
                      <a:pt x="27737" y="36532"/>
                      <a:pt x="33149" y="39238"/>
                      <a:pt x="40591" y="41268"/>
                    </a:cubicBezTo>
                    <a:cubicBezTo>
                      <a:pt x="48033" y="43297"/>
                      <a:pt x="54122" y="46003"/>
                      <a:pt x="58181" y="48709"/>
                    </a:cubicBezTo>
                    <a:cubicBezTo>
                      <a:pt x="62916" y="51415"/>
                      <a:pt x="66299" y="54798"/>
                      <a:pt x="68328" y="58181"/>
                    </a:cubicBezTo>
                    <a:cubicBezTo>
                      <a:pt x="70358" y="61563"/>
                      <a:pt x="71711" y="66299"/>
                      <a:pt x="71711" y="71035"/>
                    </a:cubicBezTo>
                    <a:cubicBezTo>
                      <a:pt x="71711" y="79153"/>
                      <a:pt x="69005" y="85241"/>
                      <a:pt x="62240" y="89977"/>
                    </a:cubicBezTo>
                    <a:cubicBezTo>
                      <a:pt x="56151" y="94713"/>
                      <a:pt x="48033" y="96742"/>
                      <a:pt x="37209" y="96742"/>
                    </a:cubicBezTo>
                    <a:cubicBezTo>
                      <a:pt x="30443" y="96742"/>
                      <a:pt x="23678" y="95389"/>
                      <a:pt x="18266" y="92683"/>
                    </a:cubicBezTo>
                    <a:cubicBezTo>
                      <a:pt x="12854" y="89977"/>
                      <a:pt x="8118" y="86594"/>
                      <a:pt x="4736" y="81859"/>
                    </a:cubicBezTo>
                    <a:cubicBezTo>
                      <a:pt x="1353" y="77123"/>
                      <a:pt x="0" y="72388"/>
                      <a:pt x="0" y="66299"/>
                    </a:cubicBezTo>
                    <a:lnTo>
                      <a:pt x="16913" y="66299"/>
                    </a:lnTo>
                    <a:cubicBezTo>
                      <a:pt x="16913" y="71711"/>
                      <a:pt x="18942" y="75770"/>
                      <a:pt x="22325" y="79153"/>
                    </a:cubicBezTo>
                    <a:cubicBezTo>
                      <a:pt x="25708" y="81859"/>
                      <a:pt x="31120" y="83888"/>
                      <a:pt x="37885" y="83888"/>
                    </a:cubicBezTo>
                    <a:cubicBezTo>
                      <a:pt x="43974" y="83888"/>
                      <a:pt x="48033" y="82535"/>
                      <a:pt x="50739" y="80506"/>
                    </a:cubicBezTo>
                    <a:cubicBezTo>
                      <a:pt x="54122" y="78476"/>
                      <a:pt x="55474" y="75770"/>
                      <a:pt x="55474" y="71711"/>
                    </a:cubicBezTo>
                    <a:close/>
                  </a:path>
                </a:pathLst>
              </a:custGeom>
              <a:solidFill>
                <a:srgbClr val="004A99"/>
              </a:solidFill>
              <a:ln w="6756" cap="flat">
                <a:noFill/>
                <a:prstDash val="solid"/>
                <a:miter/>
              </a:ln>
            </p:spPr>
            <p:txBody>
              <a:bodyPr rtlCol="0" anchor="ctr"/>
              <a:lstStyle/>
              <a:p>
                <a:pPr rtl="0"/>
                <a:endParaRPr lang="en-US"/>
              </a:p>
            </p:txBody>
          </p:sp>
          <p:sp>
            <p:nvSpPr>
              <p:cNvPr id="28" name="Freihandform: Form 27">
                <a:extLst>
                  <a:ext uri="{FF2B5EF4-FFF2-40B4-BE49-F238E27FC236}">
                    <a16:creationId xmlns:a16="http://schemas.microsoft.com/office/drawing/2014/main" id="{57F4C5C4-093E-44EF-9042-2DFC9868FA2E}"/>
                  </a:ext>
                </a:extLst>
              </p:cNvPr>
              <p:cNvSpPr/>
              <p:nvPr/>
            </p:nvSpPr>
            <p:spPr>
              <a:xfrm>
                <a:off x="6977807" y="3228867"/>
                <a:ext cx="75770" cy="95389"/>
              </a:xfrm>
              <a:custGeom>
                <a:avLst/>
                <a:gdLst>
                  <a:gd name="connsiteX0" fmla="*/ 75770 w 75770"/>
                  <a:gd name="connsiteY0" fmla="*/ 13530 h 95389"/>
                  <a:gd name="connsiteX1" fmla="*/ 46003 w 75770"/>
                  <a:gd name="connsiteY1" fmla="*/ 13530 h 95389"/>
                  <a:gd name="connsiteX2" fmla="*/ 46003 w 75770"/>
                  <a:gd name="connsiteY2" fmla="*/ 95389 h 95389"/>
                  <a:gd name="connsiteX3" fmla="*/ 29767 w 75770"/>
                  <a:gd name="connsiteY3" fmla="*/ 95389 h 95389"/>
                  <a:gd name="connsiteX4" fmla="*/ 29767 w 75770"/>
                  <a:gd name="connsiteY4" fmla="*/ 13530 h 95389"/>
                  <a:gd name="connsiteX5" fmla="*/ 0 w 75770"/>
                  <a:gd name="connsiteY5" fmla="*/ 13530 h 95389"/>
                  <a:gd name="connsiteX6" fmla="*/ 0 w 75770"/>
                  <a:gd name="connsiteY6" fmla="*/ 0 h 95389"/>
                  <a:gd name="connsiteX7" fmla="*/ 75770 w 75770"/>
                  <a:gd name="connsiteY7" fmla="*/ 0 h 95389"/>
                  <a:gd name="connsiteX8" fmla="*/ 75770 w 75770"/>
                  <a:gd name="connsiteY8" fmla="*/ 13530 h 95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770" h="95389">
                    <a:moveTo>
                      <a:pt x="75770" y="13530"/>
                    </a:moveTo>
                    <a:lnTo>
                      <a:pt x="46003" y="13530"/>
                    </a:lnTo>
                    <a:lnTo>
                      <a:pt x="46003" y="95389"/>
                    </a:lnTo>
                    <a:lnTo>
                      <a:pt x="29767" y="95389"/>
                    </a:lnTo>
                    <a:lnTo>
                      <a:pt x="29767" y="13530"/>
                    </a:lnTo>
                    <a:lnTo>
                      <a:pt x="0" y="13530"/>
                    </a:lnTo>
                    <a:lnTo>
                      <a:pt x="0" y="0"/>
                    </a:lnTo>
                    <a:lnTo>
                      <a:pt x="75770" y="0"/>
                    </a:lnTo>
                    <a:lnTo>
                      <a:pt x="75770" y="13530"/>
                    </a:lnTo>
                    <a:close/>
                  </a:path>
                </a:pathLst>
              </a:custGeom>
              <a:solidFill>
                <a:srgbClr val="004A99"/>
              </a:solidFill>
              <a:ln w="6756" cap="flat">
                <a:noFill/>
                <a:prstDash val="solid"/>
                <a:miter/>
              </a:ln>
            </p:spPr>
            <p:txBody>
              <a:bodyPr rtlCol="0" anchor="ctr"/>
              <a:lstStyle/>
              <a:p>
                <a:pPr rtl="0"/>
                <a:endParaRPr lang="en-US"/>
              </a:p>
            </p:txBody>
          </p:sp>
          <p:sp>
            <p:nvSpPr>
              <p:cNvPr id="29" name="Freihandform: Form 28">
                <a:extLst>
                  <a:ext uri="{FF2B5EF4-FFF2-40B4-BE49-F238E27FC236}">
                    <a16:creationId xmlns:a16="http://schemas.microsoft.com/office/drawing/2014/main" id="{3AF4947B-CC88-4605-8C34-08AB1307A907}"/>
                  </a:ext>
                </a:extLst>
              </p:cNvPr>
              <p:cNvSpPr/>
              <p:nvPr/>
            </p:nvSpPr>
            <p:spPr>
              <a:xfrm>
                <a:off x="7147614" y="3228867"/>
                <a:ext cx="16236" cy="95389"/>
              </a:xfrm>
              <a:custGeom>
                <a:avLst/>
                <a:gdLst>
                  <a:gd name="connsiteX0" fmla="*/ 16236 w 16236"/>
                  <a:gd name="connsiteY0" fmla="*/ 95389 h 95389"/>
                  <a:gd name="connsiteX1" fmla="*/ 0 w 16236"/>
                  <a:gd name="connsiteY1" fmla="*/ 95389 h 95389"/>
                  <a:gd name="connsiteX2" fmla="*/ 0 w 16236"/>
                  <a:gd name="connsiteY2" fmla="*/ 0 h 95389"/>
                  <a:gd name="connsiteX3" fmla="*/ 16236 w 16236"/>
                  <a:gd name="connsiteY3" fmla="*/ 0 h 95389"/>
                  <a:gd name="connsiteX4" fmla="*/ 16236 w 16236"/>
                  <a:gd name="connsiteY4" fmla="*/ 95389 h 953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36" h="95389">
                    <a:moveTo>
                      <a:pt x="16236" y="95389"/>
                    </a:moveTo>
                    <a:lnTo>
                      <a:pt x="0" y="95389"/>
                    </a:lnTo>
                    <a:lnTo>
                      <a:pt x="0" y="0"/>
                    </a:lnTo>
                    <a:lnTo>
                      <a:pt x="16236" y="0"/>
                    </a:lnTo>
                    <a:lnTo>
                      <a:pt x="16236" y="95389"/>
                    </a:lnTo>
                    <a:close/>
                  </a:path>
                </a:pathLst>
              </a:custGeom>
              <a:solidFill>
                <a:srgbClr val="004A99"/>
              </a:solidFill>
              <a:ln w="6756" cap="flat">
                <a:noFill/>
                <a:prstDash val="solid"/>
                <a:miter/>
              </a:ln>
            </p:spPr>
            <p:txBody>
              <a:bodyPr rtlCol="0" anchor="ctr"/>
              <a:lstStyle/>
              <a:p>
                <a:pPr rtl="0"/>
                <a:endParaRPr lang="en-US"/>
              </a:p>
            </p:txBody>
          </p:sp>
          <p:sp>
            <p:nvSpPr>
              <p:cNvPr id="30" name="Freihandform: Form 29">
                <a:extLst>
                  <a:ext uri="{FF2B5EF4-FFF2-40B4-BE49-F238E27FC236}">
                    <a16:creationId xmlns:a16="http://schemas.microsoft.com/office/drawing/2014/main" id="{4CDD3972-8235-4199-A92B-882076855A26}"/>
                  </a:ext>
                </a:extLst>
              </p:cNvPr>
              <p:cNvSpPr/>
              <p:nvPr/>
            </p:nvSpPr>
            <p:spPr>
              <a:xfrm>
                <a:off x="7261269" y="3228191"/>
                <a:ext cx="76446" cy="97418"/>
              </a:xfrm>
              <a:custGeom>
                <a:avLst/>
                <a:gdLst>
                  <a:gd name="connsiteX0" fmla="*/ 76447 w 76446"/>
                  <a:gd name="connsiteY0" fmla="*/ 64946 h 97418"/>
                  <a:gd name="connsiteX1" fmla="*/ 64946 w 76446"/>
                  <a:gd name="connsiteY1" fmla="*/ 88624 h 97418"/>
                  <a:gd name="connsiteX2" fmla="*/ 38561 w 76446"/>
                  <a:gd name="connsiteY2" fmla="*/ 97419 h 97418"/>
                  <a:gd name="connsiteX3" fmla="*/ 18266 w 76446"/>
                  <a:gd name="connsiteY3" fmla="*/ 92007 h 97418"/>
                  <a:gd name="connsiteX4" fmla="*/ 4736 w 76446"/>
                  <a:gd name="connsiteY4" fmla="*/ 76447 h 97418"/>
                  <a:gd name="connsiteX5" fmla="*/ 0 w 76446"/>
                  <a:gd name="connsiteY5" fmla="*/ 53445 h 97418"/>
                  <a:gd name="connsiteX6" fmla="*/ 0 w 76446"/>
                  <a:gd name="connsiteY6" fmla="*/ 44650 h 97418"/>
                  <a:gd name="connsiteX7" fmla="*/ 4736 w 76446"/>
                  <a:gd name="connsiteY7" fmla="*/ 20972 h 97418"/>
                  <a:gd name="connsiteX8" fmla="*/ 18266 w 76446"/>
                  <a:gd name="connsiteY8" fmla="*/ 5412 h 97418"/>
                  <a:gd name="connsiteX9" fmla="*/ 39238 w 76446"/>
                  <a:gd name="connsiteY9" fmla="*/ 0 h 97418"/>
                  <a:gd name="connsiteX10" fmla="*/ 64946 w 76446"/>
                  <a:gd name="connsiteY10" fmla="*/ 8795 h 97418"/>
                  <a:gd name="connsiteX11" fmla="*/ 76447 w 76446"/>
                  <a:gd name="connsiteY11" fmla="*/ 33149 h 97418"/>
                  <a:gd name="connsiteX12" fmla="*/ 60210 w 76446"/>
                  <a:gd name="connsiteY12" fmla="*/ 33149 h 97418"/>
                  <a:gd name="connsiteX13" fmla="*/ 54122 w 76446"/>
                  <a:gd name="connsiteY13" fmla="*/ 18266 h 97418"/>
                  <a:gd name="connsiteX14" fmla="*/ 39915 w 76446"/>
                  <a:gd name="connsiteY14" fmla="*/ 13530 h 97418"/>
                  <a:gd name="connsiteX15" fmla="*/ 23002 w 76446"/>
                  <a:gd name="connsiteY15" fmla="*/ 21649 h 97418"/>
                  <a:gd name="connsiteX16" fmla="*/ 16913 w 76446"/>
                  <a:gd name="connsiteY16" fmla="*/ 44650 h 97418"/>
                  <a:gd name="connsiteX17" fmla="*/ 16913 w 76446"/>
                  <a:gd name="connsiteY17" fmla="*/ 53445 h 97418"/>
                  <a:gd name="connsiteX18" fmla="*/ 22325 w 76446"/>
                  <a:gd name="connsiteY18" fmla="*/ 77123 h 97418"/>
                  <a:gd name="connsiteX19" fmla="*/ 38561 w 76446"/>
                  <a:gd name="connsiteY19" fmla="*/ 85241 h 97418"/>
                  <a:gd name="connsiteX20" fmla="*/ 53445 w 76446"/>
                  <a:gd name="connsiteY20" fmla="*/ 81182 h 97418"/>
                  <a:gd name="connsiteX21" fmla="*/ 59534 w 76446"/>
                  <a:gd name="connsiteY21" fmla="*/ 66299 h 97418"/>
                  <a:gd name="connsiteX22" fmla="*/ 76447 w 76446"/>
                  <a:gd name="connsiteY22" fmla="*/ 66299 h 97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6446" h="97418">
                    <a:moveTo>
                      <a:pt x="76447" y="64946"/>
                    </a:moveTo>
                    <a:cubicBezTo>
                      <a:pt x="75770" y="75094"/>
                      <a:pt x="71711" y="83212"/>
                      <a:pt x="64946" y="88624"/>
                    </a:cubicBezTo>
                    <a:cubicBezTo>
                      <a:pt x="58180" y="94036"/>
                      <a:pt x="49386" y="97419"/>
                      <a:pt x="38561" y="97419"/>
                    </a:cubicBezTo>
                    <a:cubicBezTo>
                      <a:pt x="31120" y="97419"/>
                      <a:pt x="24355" y="95389"/>
                      <a:pt x="18266" y="92007"/>
                    </a:cubicBezTo>
                    <a:cubicBezTo>
                      <a:pt x="12177" y="88624"/>
                      <a:pt x="8118" y="83212"/>
                      <a:pt x="4736" y="76447"/>
                    </a:cubicBezTo>
                    <a:cubicBezTo>
                      <a:pt x="1353" y="69681"/>
                      <a:pt x="0" y="62240"/>
                      <a:pt x="0" y="53445"/>
                    </a:cubicBezTo>
                    <a:lnTo>
                      <a:pt x="0" y="44650"/>
                    </a:lnTo>
                    <a:cubicBezTo>
                      <a:pt x="0" y="35856"/>
                      <a:pt x="1353" y="27737"/>
                      <a:pt x="4736" y="20972"/>
                    </a:cubicBezTo>
                    <a:cubicBezTo>
                      <a:pt x="8118" y="14207"/>
                      <a:pt x="12177" y="8795"/>
                      <a:pt x="18266" y="5412"/>
                    </a:cubicBezTo>
                    <a:cubicBezTo>
                      <a:pt x="24355" y="2030"/>
                      <a:pt x="31120" y="0"/>
                      <a:pt x="39238" y="0"/>
                    </a:cubicBezTo>
                    <a:cubicBezTo>
                      <a:pt x="50062" y="0"/>
                      <a:pt x="58180" y="2706"/>
                      <a:pt x="64946" y="8795"/>
                    </a:cubicBezTo>
                    <a:cubicBezTo>
                      <a:pt x="71034" y="14207"/>
                      <a:pt x="75093" y="22325"/>
                      <a:pt x="76447" y="33149"/>
                    </a:cubicBezTo>
                    <a:lnTo>
                      <a:pt x="60210" y="33149"/>
                    </a:lnTo>
                    <a:cubicBezTo>
                      <a:pt x="59534" y="26384"/>
                      <a:pt x="57504" y="21649"/>
                      <a:pt x="54122" y="18266"/>
                    </a:cubicBezTo>
                    <a:cubicBezTo>
                      <a:pt x="50739" y="15560"/>
                      <a:pt x="46003" y="13530"/>
                      <a:pt x="39915" y="13530"/>
                    </a:cubicBezTo>
                    <a:cubicBezTo>
                      <a:pt x="32473" y="13530"/>
                      <a:pt x="27061" y="16236"/>
                      <a:pt x="23002" y="21649"/>
                    </a:cubicBezTo>
                    <a:cubicBezTo>
                      <a:pt x="18942" y="27061"/>
                      <a:pt x="16913" y="34503"/>
                      <a:pt x="16913" y="44650"/>
                    </a:cubicBezTo>
                    <a:lnTo>
                      <a:pt x="16913" y="53445"/>
                    </a:lnTo>
                    <a:cubicBezTo>
                      <a:pt x="16913" y="63593"/>
                      <a:pt x="18942" y="71711"/>
                      <a:pt x="22325" y="77123"/>
                    </a:cubicBezTo>
                    <a:cubicBezTo>
                      <a:pt x="25708" y="82535"/>
                      <a:pt x="31120" y="85241"/>
                      <a:pt x="38561" y="85241"/>
                    </a:cubicBezTo>
                    <a:cubicBezTo>
                      <a:pt x="45327" y="85241"/>
                      <a:pt x="50062" y="83888"/>
                      <a:pt x="53445" y="81182"/>
                    </a:cubicBezTo>
                    <a:cubicBezTo>
                      <a:pt x="56828" y="78476"/>
                      <a:pt x="58857" y="73064"/>
                      <a:pt x="59534" y="66299"/>
                    </a:cubicBezTo>
                    <a:lnTo>
                      <a:pt x="76447" y="66299"/>
                    </a:lnTo>
                    <a:close/>
                  </a:path>
                </a:pathLst>
              </a:custGeom>
              <a:solidFill>
                <a:srgbClr val="004A99"/>
              </a:solidFill>
              <a:ln w="6756" cap="flat">
                <a:noFill/>
                <a:prstDash val="solid"/>
                <a:miter/>
              </a:ln>
            </p:spPr>
            <p:txBody>
              <a:bodyPr rtlCol="0" anchor="ctr"/>
              <a:lstStyle/>
              <a:p>
                <a:pPr rtl="0"/>
                <a:endParaRPr lang="en-US"/>
              </a:p>
            </p:txBody>
          </p:sp>
          <p:sp>
            <p:nvSpPr>
              <p:cNvPr id="31" name="Freihandform: Form 30">
                <a:extLst>
                  <a:ext uri="{FF2B5EF4-FFF2-40B4-BE49-F238E27FC236}">
                    <a16:creationId xmlns:a16="http://schemas.microsoft.com/office/drawing/2014/main" id="{3C708605-FEAB-4084-9334-AD8BAB1B2ECE}"/>
                  </a:ext>
                </a:extLst>
              </p:cNvPr>
              <p:cNvSpPr/>
              <p:nvPr/>
            </p:nvSpPr>
            <p:spPr>
              <a:xfrm>
                <a:off x="7427692" y="3228191"/>
                <a:ext cx="71711" cy="96742"/>
              </a:xfrm>
              <a:custGeom>
                <a:avLst/>
                <a:gdLst>
                  <a:gd name="connsiteX0" fmla="*/ 55475 w 71711"/>
                  <a:gd name="connsiteY0" fmla="*/ 71711 h 96742"/>
                  <a:gd name="connsiteX1" fmla="*/ 50739 w 71711"/>
                  <a:gd name="connsiteY1" fmla="*/ 62240 h 96742"/>
                  <a:gd name="connsiteX2" fmla="*/ 34503 w 71711"/>
                  <a:gd name="connsiteY2" fmla="*/ 55475 h 96742"/>
                  <a:gd name="connsiteX3" fmla="*/ 16237 w 71711"/>
                  <a:gd name="connsiteY3" fmla="*/ 48033 h 96742"/>
                  <a:gd name="connsiteX4" fmla="*/ 3383 w 71711"/>
                  <a:gd name="connsiteY4" fmla="*/ 26384 h 96742"/>
                  <a:gd name="connsiteX5" fmla="*/ 12854 w 71711"/>
                  <a:gd name="connsiteY5" fmla="*/ 7442 h 96742"/>
                  <a:gd name="connsiteX6" fmla="*/ 37209 w 71711"/>
                  <a:gd name="connsiteY6" fmla="*/ 0 h 96742"/>
                  <a:gd name="connsiteX7" fmla="*/ 54798 w 71711"/>
                  <a:gd name="connsiteY7" fmla="*/ 3383 h 96742"/>
                  <a:gd name="connsiteX8" fmla="*/ 66976 w 71711"/>
                  <a:gd name="connsiteY8" fmla="*/ 13530 h 96742"/>
                  <a:gd name="connsiteX9" fmla="*/ 71711 w 71711"/>
                  <a:gd name="connsiteY9" fmla="*/ 28414 h 96742"/>
                  <a:gd name="connsiteX10" fmla="*/ 55475 w 71711"/>
                  <a:gd name="connsiteY10" fmla="*/ 28414 h 96742"/>
                  <a:gd name="connsiteX11" fmla="*/ 50739 w 71711"/>
                  <a:gd name="connsiteY11" fmla="*/ 16913 h 96742"/>
                  <a:gd name="connsiteX12" fmla="*/ 37209 w 71711"/>
                  <a:gd name="connsiteY12" fmla="*/ 12854 h 96742"/>
                  <a:gd name="connsiteX13" fmla="*/ 24355 w 71711"/>
                  <a:gd name="connsiteY13" fmla="*/ 16236 h 96742"/>
                  <a:gd name="connsiteX14" fmla="*/ 19619 w 71711"/>
                  <a:gd name="connsiteY14" fmla="*/ 25708 h 96742"/>
                  <a:gd name="connsiteX15" fmla="*/ 24355 w 71711"/>
                  <a:gd name="connsiteY15" fmla="*/ 34503 h 96742"/>
                  <a:gd name="connsiteX16" fmla="*/ 40591 w 71711"/>
                  <a:gd name="connsiteY16" fmla="*/ 41268 h 96742"/>
                  <a:gd name="connsiteX17" fmla="*/ 58181 w 71711"/>
                  <a:gd name="connsiteY17" fmla="*/ 48709 h 96742"/>
                  <a:gd name="connsiteX18" fmla="*/ 68328 w 71711"/>
                  <a:gd name="connsiteY18" fmla="*/ 58181 h 96742"/>
                  <a:gd name="connsiteX19" fmla="*/ 71711 w 71711"/>
                  <a:gd name="connsiteY19" fmla="*/ 71035 h 96742"/>
                  <a:gd name="connsiteX20" fmla="*/ 62240 w 71711"/>
                  <a:gd name="connsiteY20" fmla="*/ 89977 h 96742"/>
                  <a:gd name="connsiteX21" fmla="*/ 37209 w 71711"/>
                  <a:gd name="connsiteY21" fmla="*/ 96742 h 96742"/>
                  <a:gd name="connsiteX22" fmla="*/ 18266 w 71711"/>
                  <a:gd name="connsiteY22" fmla="*/ 92683 h 96742"/>
                  <a:gd name="connsiteX23" fmla="*/ 4736 w 71711"/>
                  <a:gd name="connsiteY23" fmla="*/ 81859 h 96742"/>
                  <a:gd name="connsiteX24" fmla="*/ 0 w 71711"/>
                  <a:gd name="connsiteY24" fmla="*/ 66299 h 96742"/>
                  <a:gd name="connsiteX25" fmla="*/ 16913 w 71711"/>
                  <a:gd name="connsiteY25" fmla="*/ 66299 h 96742"/>
                  <a:gd name="connsiteX26" fmla="*/ 22325 w 71711"/>
                  <a:gd name="connsiteY26" fmla="*/ 79153 h 96742"/>
                  <a:gd name="connsiteX27" fmla="*/ 37885 w 71711"/>
                  <a:gd name="connsiteY27" fmla="*/ 83888 h 96742"/>
                  <a:gd name="connsiteX28" fmla="*/ 50739 w 71711"/>
                  <a:gd name="connsiteY28" fmla="*/ 80506 h 96742"/>
                  <a:gd name="connsiteX29" fmla="*/ 55475 w 71711"/>
                  <a:gd name="connsiteY29" fmla="*/ 71711 h 96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1711" h="96742">
                    <a:moveTo>
                      <a:pt x="55475" y="71711"/>
                    </a:moveTo>
                    <a:cubicBezTo>
                      <a:pt x="55475" y="67652"/>
                      <a:pt x="54122" y="64269"/>
                      <a:pt x="50739" y="62240"/>
                    </a:cubicBezTo>
                    <a:cubicBezTo>
                      <a:pt x="48033" y="60210"/>
                      <a:pt x="42621" y="57504"/>
                      <a:pt x="34503" y="55475"/>
                    </a:cubicBezTo>
                    <a:cubicBezTo>
                      <a:pt x="27061" y="53445"/>
                      <a:pt x="20972" y="50739"/>
                      <a:pt x="16237" y="48033"/>
                    </a:cubicBezTo>
                    <a:cubicBezTo>
                      <a:pt x="7442" y="42621"/>
                      <a:pt x="3383" y="35179"/>
                      <a:pt x="3383" y="26384"/>
                    </a:cubicBezTo>
                    <a:cubicBezTo>
                      <a:pt x="3383" y="18943"/>
                      <a:pt x="6765" y="12177"/>
                      <a:pt x="12854" y="7442"/>
                    </a:cubicBezTo>
                    <a:cubicBezTo>
                      <a:pt x="18943" y="2706"/>
                      <a:pt x="27061" y="0"/>
                      <a:pt x="37209" y="0"/>
                    </a:cubicBezTo>
                    <a:cubicBezTo>
                      <a:pt x="43974" y="0"/>
                      <a:pt x="50063" y="1353"/>
                      <a:pt x="54798" y="3383"/>
                    </a:cubicBezTo>
                    <a:cubicBezTo>
                      <a:pt x="60210" y="6089"/>
                      <a:pt x="64269" y="9471"/>
                      <a:pt x="66976" y="13530"/>
                    </a:cubicBezTo>
                    <a:cubicBezTo>
                      <a:pt x="69682" y="18266"/>
                      <a:pt x="71711" y="23002"/>
                      <a:pt x="71711" y="28414"/>
                    </a:cubicBezTo>
                    <a:lnTo>
                      <a:pt x="55475" y="28414"/>
                    </a:lnTo>
                    <a:cubicBezTo>
                      <a:pt x="55475" y="23678"/>
                      <a:pt x="54122" y="19619"/>
                      <a:pt x="50739" y="16913"/>
                    </a:cubicBezTo>
                    <a:cubicBezTo>
                      <a:pt x="47356" y="14207"/>
                      <a:pt x="43297" y="12854"/>
                      <a:pt x="37209" y="12854"/>
                    </a:cubicBezTo>
                    <a:cubicBezTo>
                      <a:pt x="31796" y="12854"/>
                      <a:pt x="27737" y="14207"/>
                      <a:pt x="24355" y="16236"/>
                    </a:cubicBezTo>
                    <a:cubicBezTo>
                      <a:pt x="21649" y="18266"/>
                      <a:pt x="19619" y="21649"/>
                      <a:pt x="19619" y="25708"/>
                    </a:cubicBezTo>
                    <a:cubicBezTo>
                      <a:pt x="19619" y="29090"/>
                      <a:pt x="20972" y="31796"/>
                      <a:pt x="24355" y="34503"/>
                    </a:cubicBezTo>
                    <a:cubicBezTo>
                      <a:pt x="27737" y="36532"/>
                      <a:pt x="33150" y="39238"/>
                      <a:pt x="40591" y="41268"/>
                    </a:cubicBezTo>
                    <a:cubicBezTo>
                      <a:pt x="48033" y="43297"/>
                      <a:pt x="54122" y="46003"/>
                      <a:pt x="58181" y="48709"/>
                    </a:cubicBezTo>
                    <a:cubicBezTo>
                      <a:pt x="62916" y="51415"/>
                      <a:pt x="66299" y="54798"/>
                      <a:pt x="68328" y="58181"/>
                    </a:cubicBezTo>
                    <a:cubicBezTo>
                      <a:pt x="70358" y="61563"/>
                      <a:pt x="71711" y="66299"/>
                      <a:pt x="71711" y="71035"/>
                    </a:cubicBezTo>
                    <a:cubicBezTo>
                      <a:pt x="71711" y="79153"/>
                      <a:pt x="69005" y="85241"/>
                      <a:pt x="62240" y="89977"/>
                    </a:cubicBezTo>
                    <a:cubicBezTo>
                      <a:pt x="56151" y="94713"/>
                      <a:pt x="48033" y="96742"/>
                      <a:pt x="37209" y="96742"/>
                    </a:cubicBezTo>
                    <a:cubicBezTo>
                      <a:pt x="30443" y="96742"/>
                      <a:pt x="23678" y="95389"/>
                      <a:pt x="18266" y="92683"/>
                    </a:cubicBezTo>
                    <a:cubicBezTo>
                      <a:pt x="12854" y="89977"/>
                      <a:pt x="8118" y="86594"/>
                      <a:pt x="4736" y="81859"/>
                    </a:cubicBezTo>
                    <a:cubicBezTo>
                      <a:pt x="1353" y="77123"/>
                      <a:pt x="0" y="72388"/>
                      <a:pt x="0" y="66299"/>
                    </a:cubicBezTo>
                    <a:lnTo>
                      <a:pt x="16913" y="66299"/>
                    </a:lnTo>
                    <a:cubicBezTo>
                      <a:pt x="16913" y="71711"/>
                      <a:pt x="18943" y="75770"/>
                      <a:pt x="22325" y="79153"/>
                    </a:cubicBezTo>
                    <a:cubicBezTo>
                      <a:pt x="25708" y="81859"/>
                      <a:pt x="31120" y="83888"/>
                      <a:pt x="37885" y="83888"/>
                    </a:cubicBezTo>
                    <a:cubicBezTo>
                      <a:pt x="43974" y="83888"/>
                      <a:pt x="48033" y="82535"/>
                      <a:pt x="50739" y="80506"/>
                    </a:cubicBezTo>
                    <a:cubicBezTo>
                      <a:pt x="54122" y="78476"/>
                      <a:pt x="55475" y="75770"/>
                      <a:pt x="55475" y="71711"/>
                    </a:cubicBezTo>
                    <a:close/>
                  </a:path>
                </a:pathLst>
              </a:custGeom>
              <a:solidFill>
                <a:srgbClr val="004A99"/>
              </a:solidFill>
              <a:ln w="6756" cap="flat">
                <a:noFill/>
                <a:prstDash val="solid"/>
                <a:miter/>
              </a:ln>
            </p:spPr>
            <p:txBody>
              <a:bodyPr rtlCol="0" anchor="ctr"/>
              <a:lstStyle/>
              <a:p>
                <a:pPr rtl="0"/>
                <a:endParaRPr lang="en-US"/>
              </a:p>
            </p:txBody>
          </p:sp>
        </p:grpSp>
        <p:sp>
          <p:nvSpPr>
            <p:cNvPr id="32" name="Freihandform: Form 31">
              <a:extLst>
                <a:ext uri="{FF2B5EF4-FFF2-40B4-BE49-F238E27FC236}">
                  <a16:creationId xmlns:a16="http://schemas.microsoft.com/office/drawing/2014/main" id="{E23EDC2F-FF0E-4BB9-B227-857CBF2307F9}"/>
                </a:ext>
              </a:extLst>
            </p:cNvPr>
            <p:cNvSpPr/>
            <p:nvPr/>
          </p:nvSpPr>
          <p:spPr>
            <a:xfrm>
              <a:off x="7406044" y="2550319"/>
              <a:ext cx="253018" cy="253018"/>
            </a:xfrm>
            <a:custGeom>
              <a:avLst/>
              <a:gdLst>
                <a:gd name="connsiteX0" fmla="*/ 126509 w 253018"/>
                <a:gd name="connsiteY0" fmla="*/ 0 h 253018"/>
                <a:gd name="connsiteX1" fmla="*/ 0 w 253018"/>
                <a:gd name="connsiteY1" fmla="*/ 126509 h 253018"/>
                <a:gd name="connsiteX2" fmla="*/ 126509 w 253018"/>
                <a:gd name="connsiteY2" fmla="*/ 253018 h 253018"/>
                <a:gd name="connsiteX3" fmla="*/ 253018 w 253018"/>
                <a:gd name="connsiteY3" fmla="*/ 126509 h 253018"/>
                <a:gd name="connsiteX4" fmla="*/ 126509 w 253018"/>
                <a:gd name="connsiteY4" fmla="*/ 0 h 253018"/>
                <a:gd name="connsiteX5" fmla="*/ 126509 w 253018"/>
                <a:gd name="connsiteY5" fmla="*/ 237458 h 253018"/>
                <a:gd name="connsiteX6" fmla="*/ 71034 w 253018"/>
                <a:gd name="connsiteY6" fmla="*/ 222575 h 253018"/>
                <a:gd name="connsiteX7" fmla="*/ 93360 w 253018"/>
                <a:gd name="connsiteY7" fmla="*/ 219869 h 253018"/>
                <a:gd name="connsiteX8" fmla="*/ 115008 w 253018"/>
                <a:gd name="connsiteY8" fmla="*/ 212427 h 253018"/>
                <a:gd name="connsiteX9" fmla="*/ 141392 w 253018"/>
                <a:gd name="connsiteY9" fmla="*/ 194838 h 253018"/>
                <a:gd name="connsiteX10" fmla="*/ 160335 w 253018"/>
                <a:gd name="connsiteY10" fmla="*/ 177925 h 253018"/>
                <a:gd name="connsiteX11" fmla="*/ 183337 w 253018"/>
                <a:gd name="connsiteY11" fmla="*/ 165071 h 253018"/>
                <a:gd name="connsiteX12" fmla="*/ 192131 w 253018"/>
                <a:gd name="connsiteY12" fmla="*/ 163041 h 253018"/>
                <a:gd name="connsiteX13" fmla="*/ 208368 w 253018"/>
                <a:gd name="connsiteY13" fmla="*/ 158982 h 253018"/>
                <a:gd name="connsiteX14" fmla="*/ 220545 w 253018"/>
                <a:gd name="connsiteY14" fmla="*/ 155599 h 253018"/>
                <a:gd name="connsiteX15" fmla="*/ 221898 w 253018"/>
                <a:gd name="connsiteY15" fmla="*/ 154246 h 253018"/>
                <a:gd name="connsiteX16" fmla="*/ 219869 w 253018"/>
                <a:gd name="connsiteY16" fmla="*/ 152893 h 253018"/>
                <a:gd name="connsiteX17" fmla="*/ 204309 w 253018"/>
                <a:gd name="connsiteY17" fmla="*/ 147481 h 253018"/>
                <a:gd name="connsiteX18" fmla="*/ 194161 w 253018"/>
                <a:gd name="connsiteY18" fmla="*/ 147481 h 253018"/>
                <a:gd name="connsiteX19" fmla="*/ 180630 w 253018"/>
                <a:gd name="connsiteY19" fmla="*/ 154923 h 253018"/>
                <a:gd name="connsiteX20" fmla="*/ 158982 w 253018"/>
                <a:gd name="connsiteY20" fmla="*/ 167777 h 253018"/>
                <a:gd name="connsiteX21" fmla="*/ 141392 w 253018"/>
                <a:gd name="connsiteY21" fmla="*/ 172512 h 253018"/>
                <a:gd name="connsiteX22" fmla="*/ 136657 w 253018"/>
                <a:gd name="connsiteY22" fmla="*/ 172512 h 253018"/>
                <a:gd name="connsiteX23" fmla="*/ 150864 w 253018"/>
                <a:gd name="connsiteY23" fmla="*/ 161012 h 253018"/>
                <a:gd name="connsiteX24" fmla="*/ 160335 w 253018"/>
                <a:gd name="connsiteY24" fmla="*/ 149511 h 253018"/>
                <a:gd name="connsiteX25" fmla="*/ 177248 w 253018"/>
                <a:gd name="connsiteY25" fmla="*/ 137333 h 253018"/>
                <a:gd name="connsiteX26" fmla="*/ 191455 w 253018"/>
                <a:gd name="connsiteY26" fmla="*/ 129215 h 253018"/>
                <a:gd name="connsiteX27" fmla="*/ 200250 w 253018"/>
                <a:gd name="connsiteY27" fmla="*/ 125833 h 253018"/>
                <a:gd name="connsiteX28" fmla="*/ 206338 w 253018"/>
                <a:gd name="connsiteY28" fmla="*/ 125156 h 253018"/>
                <a:gd name="connsiteX29" fmla="*/ 223251 w 253018"/>
                <a:gd name="connsiteY29" fmla="*/ 119067 h 253018"/>
                <a:gd name="connsiteX30" fmla="*/ 230693 w 253018"/>
                <a:gd name="connsiteY30" fmla="*/ 117038 h 253018"/>
                <a:gd name="connsiteX31" fmla="*/ 231369 w 253018"/>
                <a:gd name="connsiteY31" fmla="*/ 115685 h 253018"/>
                <a:gd name="connsiteX32" fmla="*/ 230693 w 253018"/>
                <a:gd name="connsiteY32" fmla="*/ 115008 h 253018"/>
                <a:gd name="connsiteX33" fmla="*/ 211750 w 253018"/>
                <a:gd name="connsiteY33" fmla="*/ 110273 h 253018"/>
                <a:gd name="connsiteX34" fmla="*/ 196191 w 253018"/>
                <a:gd name="connsiteY34" fmla="*/ 112302 h 253018"/>
                <a:gd name="connsiteX35" fmla="*/ 182660 w 253018"/>
                <a:gd name="connsiteY35" fmla="*/ 122450 h 253018"/>
                <a:gd name="connsiteX36" fmla="*/ 178601 w 253018"/>
                <a:gd name="connsiteY36" fmla="*/ 125156 h 253018"/>
                <a:gd name="connsiteX37" fmla="*/ 161011 w 253018"/>
                <a:gd name="connsiteY37" fmla="*/ 133951 h 253018"/>
                <a:gd name="connsiteX38" fmla="*/ 142746 w 253018"/>
                <a:gd name="connsiteY38" fmla="*/ 136657 h 253018"/>
                <a:gd name="connsiteX39" fmla="*/ 137333 w 253018"/>
                <a:gd name="connsiteY39" fmla="*/ 133274 h 253018"/>
                <a:gd name="connsiteX40" fmla="*/ 135304 w 253018"/>
                <a:gd name="connsiteY40" fmla="*/ 125156 h 253018"/>
                <a:gd name="connsiteX41" fmla="*/ 134627 w 253018"/>
                <a:gd name="connsiteY41" fmla="*/ 119744 h 253018"/>
                <a:gd name="connsiteX42" fmla="*/ 135304 w 253018"/>
                <a:gd name="connsiteY42" fmla="*/ 104184 h 253018"/>
                <a:gd name="connsiteX43" fmla="*/ 136657 w 253018"/>
                <a:gd name="connsiteY43" fmla="*/ 89977 h 253018"/>
                <a:gd name="connsiteX44" fmla="*/ 117038 w 253018"/>
                <a:gd name="connsiteY44" fmla="*/ 70358 h 253018"/>
                <a:gd name="connsiteX45" fmla="*/ 83888 w 253018"/>
                <a:gd name="connsiteY45" fmla="*/ 31796 h 253018"/>
                <a:gd name="connsiteX46" fmla="*/ 81859 w 253018"/>
                <a:gd name="connsiteY46" fmla="*/ 28414 h 253018"/>
                <a:gd name="connsiteX47" fmla="*/ 79829 w 253018"/>
                <a:gd name="connsiteY47" fmla="*/ 29767 h 253018"/>
                <a:gd name="connsiteX48" fmla="*/ 73741 w 253018"/>
                <a:gd name="connsiteY48" fmla="*/ 55475 h 253018"/>
                <a:gd name="connsiteX49" fmla="*/ 86594 w 253018"/>
                <a:gd name="connsiteY49" fmla="*/ 80506 h 253018"/>
                <a:gd name="connsiteX50" fmla="*/ 96066 w 253018"/>
                <a:gd name="connsiteY50" fmla="*/ 94036 h 253018"/>
                <a:gd name="connsiteX51" fmla="*/ 98095 w 253018"/>
                <a:gd name="connsiteY51" fmla="*/ 106890 h 253018"/>
                <a:gd name="connsiteX52" fmla="*/ 87947 w 253018"/>
                <a:gd name="connsiteY52" fmla="*/ 99448 h 253018"/>
                <a:gd name="connsiteX53" fmla="*/ 77800 w 253018"/>
                <a:gd name="connsiteY53" fmla="*/ 92007 h 253018"/>
                <a:gd name="connsiteX54" fmla="*/ 56828 w 253018"/>
                <a:gd name="connsiteY54" fmla="*/ 73741 h 253018"/>
                <a:gd name="connsiteX55" fmla="*/ 55474 w 253018"/>
                <a:gd name="connsiteY55" fmla="*/ 73741 h 253018"/>
                <a:gd name="connsiteX56" fmla="*/ 54122 w 253018"/>
                <a:gd name="connsiteY56" fmla="*/ 76447 h 253018"/>
                <a:gd name="connsiteX57" fmla="*/ 58181 w 253018"/>
                <a:gd name="connsiteY57" fmla="*/ 108920 h 253018"/>
                <a:gd name="connsiteX58" fmla="*/ 71034 w 253018"/>
                <a:gd name="connsiteY58" fmla="*/ 123803 h 253018"/>
                <a:gd name="connsiteX59" fmla="*/ 80506 w 253018"/>
                <a:gd name="connsiteY59" fmla="*/ 132598 h 253018"/>
                <a:gd name="connsiteX60" fmla="*/ 87271 w 253018"/>
                <a:gd name="connsiteY60" fmla="*/ 142746 h 253018"/>
                <a:gd name="connsiteX61" fmla="*/ 84565 w 253018"/>
                <a:gd name="connsiteY61" fmla="*/ 155599 h 253018"/>
                <a:gd name="connsiteX62" fmla="*/ 78476 w 253018"/>
                <a:gd name="connsiteY62" fmla="*/ 164394 h 253018"/>
                <a:gd name="connsiteX63" fmla="*/ 63593 w 253018"/>
                <a:gd name="connsiteY63" fmla="*/ 165747 h 253018"/>
                <a:gd name="connsiteX64" fmla="*/ 56828 w 253018"/>
                <a:gd name="connsiteY64" fmla="*/ 171836 h 253018"/>
                <a:gd name="connsiteX65" fmla="*/ 53445 w 253018"/>
                <a:gd name="connsiteY65" fmla="*/ 182660 h 253018"/>
                <a:gd name="connsiteX66" fmla="*/ 57504 w 253018"/>
                <a:gd name="connsiteY66" fmla="*/ 193484 h 253018"/>
                <a:gd name="connsiteX67" fmla="*/ 60210 w 253018"/>
                <a:gd name="connsiteY67" fmla="*/ 195514 h 253018"/>
                <a:gd name="connsiteX68" fmla="*/ 66299 w 253018"/>
                <a:gd name="connsiteY68" fmla="*/ 192808 h 253018"/>
                <a:gd name="connsiteX69" fmla="*/ 89977 w 253018"/>
                <a:gd name="connsiteY69" fmla="*/ 179278 h 253018"/>
                <a:gd name="connsiteX70" fmla="*/ 77800 w 253018"/>
                <a:gd name="connsiteY70" fmla="*/ 190778 h 253018"/>
                <a:gd name="connsiteX71" fmla="*/ 50739 w 253018"/>
                <a:gd name="connsiteY71" fmla="*/ 202279 h 253018"/>
                <a:gd name="connsiteX72" fmla="*/ 46680 w 253018"/>
                <a:gd name="connsiteY72" fmla="*/ 200926 h 253018"/>
                <a:gd name="connsiteX73" fmla="*/ 16913 w 253018"/>
                <a:gd name="connsiteY73" fmla="*/ 125156 h 253018"/>
                <a:gd name="connsiteX74" fmla="*/ 127862 w 253018"/>
                <a:gd name="connsiteY74" fmla="*/ 14207 h 253018"/>
                <a:gd name="connsiteX75" fmla="*/ 238135 w 253018"/>
                <a:gd name="connsiteY75" fmla="*/ 125156 h 253018"/>
                <a:gd name="connsiteX76" fmla="*/ 126509 w 253018"/>
                <a:gd name="connsiteY76" fmla="*/ 237458 h 25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253017" h="253017">
                  <a:moveTo>
                    <a:pt x="126509" y="0"/>
                  </a:moveTo>
                  <a:cubicBezTo>
                    <a:pt x="56828" y="0"/>
                    <a:pt x="0" y="56828"/>
                    <a:pt x="0" y="126509"/>
                  </a:cubicBezTo>
                  <a:cubicBezTo>
                    <a:pt x="0" y="196191"/>
                    <a:pt x="56828" y="253018"/>
                    <a:pt x="126509" y="253018"/>
                  </a:cubicBezTo>
                  <a:cubicBezTo>
                    <a:pt x="196191" y="253018"/>
                    <a:pt x="253018" y="196191"/>
                    <a:pt x="253018" y="126509"/>
                  </a:cubicBezTo>
                  <a:cubicBezTo>
                    <a:pt x="253018" y="56828"/>
                    <a:pt x="196191" y="0"/>
                    <a:pt x="126509" y="0"/>
                  </a:cubicBezTo>
                  <a:close/>
                  <a:moveTo>
                    <a:pt x="126509" y="237458"/>
                  </a:moveTo>
                  <a:cubicBezTo>
                    <a:pt x="106213" y="237458"/>
                    <a:pt x="87271" y="232046"/>
                    <a:pt x="71034" y="222575"/>
                  </a:cubicBezTo>
                  <a:cubicBezTo>
                    <a:pt x="77800" y="222575"/>
                    <a:pt x="86594" y="221222"/>
                    <a:pt x="93360" y="219869"/>
                  </a:cubicBezTo>
                  <a:cubicBezTo>
                    <a:pt x="100801" y="218516"/>
                    <a:pt x="108243" y="215810"/>
                    <a:pt x="115008" y="212427"/>
                  </a:cubicBezTo>
                  <a:cubicBezTo>
                    <a:pt x="124479" y="208368"/>
                    <a:pt x="133951" y="203632"/>
                    <a:pt x="141392" y="194838"/>
                  </a:cubicBezTo>
                  <a:cubicBezTo>
                    <a:pt x="146804" y="188749"/>
                    <a:pt x="153570" y="181984"/>
                    <a:pt x="160335" y="177925"/>
                  </a:cubicBezTo>
                  <a:cubicBezTo>
                    <a:pt x="167777" y="173189"/>
                    <a:pt x="175218" y="168453"/>
                    <a:pt x="183337" y="165071"/>
                  </a:cubicBezTo>
                  <a:cubicBezTo>
                    <a:pt x="186043" y="163718"/>
                    <a:pt x="189425" y="163041"/>
                    <a:pt x="192131" y="163041"/>
                  </a:cubicBezTo>
                  <a:cubicBezTo>
                    <a:pt x="197543" y="163041"/>
                    <a:pt x="202956" y="161012"/>
                    <a:pt x="208368" y="158982"/>
                  </a:cubicBezTo>
                  <a:cubicBezTo>
                    <a:pt x="212427" y="157629"/>
                    <a:pt x="216486" y="156276"/>
                    <a:pt x="220545" y="155599"/>
                  </a:cubicBezTo>
                  <a:cubicBezTo>
                    <a:pt x="221222" y="155599"/>
                    <a:pt x="221898" y="155599"/>
                    <a:pt x="221898" y="154246"/>
                  </a:cubicBezTo>
                  <a:cubicBezTo>
                    <a:pt x="221898" y="152893"/>
                    <a:pt x="220545" y="153570"/>
                    <a:pt x="219869" y="152893"/>
                  </a:cubicBezTo>
                  <a:cubicBezTo>
                    <a:pt x="214456" y="151540"/>
                    <a:pt x="209044" y="149511"/>
                    <a:pt x="204309" y="147481"/>
                  </a:cubicBezTo>
                  <a:cubicBezTo>
                    <a:pt x="200926" y="146805"/>
                    <a:pt x="197543" y="146128"/>
                    <a:pt x="194161" y="147481"/>
                  </a:cubicBezTo>
                  <a:cubicBezTo>
                    <a:pt x="188749" y="148834"/>
                    <a:pt x="184690" y="151540"/>
                    <a:pt x="180630" y="154923"/>
                  </a:cubicBezTo>
                  <a:cubicBezTo>
                    <a:pt x="173865" y="160335"/>
                    <a:pt x="166424" y="165071"/>
                    <a:pt x="158982" y="167777"/>
                  </a:cubicBezTo>
                  <a:cubicBezTo>
                    <a:pt x="153570" y="170483"/>
                    <a:pt x="147481" y="171836"/>
                    <a:pt x="141392" y="172512"/>
                  </a:cubicBezTo>
                  <a:cubicBezTo>
                    <a:pt x="140039" y="172512"/>
                    <a:pt x="138010" y="173189"/>
                    <a:pt x="136657" y="172512"/>
                  </a:cubicBezTo>
                  <a:cubicBezTo>
                    <a:pt x="141392" y="169130"/>
                    <a:pt x="146804" y="166424"/>
                    <a:pt x="150864" y="161012"/>
                  </a:cubicBezTo>
                  <a:cubicBezTo>
                    <a:pt x="154246" y="156952"/>
                    <a:pt x="156952" y="152893"/>
                    <a:pt x="160335" y="149511"/>
                  </a:cubicBezTo>
                  <a:cubicBezTo>
                    <a:pt x="165747" y="144775"/>
                    <a:pt x="171159" y="140716"/>
                    <a:pt x="177248" y="137333"/>
                  </a:cubicBezTo>
                  <a:lnTo>
                    <a:pt x="191455" y="129215"/>
                  </a:lnTo>
                  <a:cubicBezTo>
                    <a:pt x="194161" y="127862"/>
                    <a:pt x="197543" y="126509"/>
                    <a:pt x="200250" y="125833"/>
                  </a:cubicBezTo>
                  <a:cubicBezTo>
                    <a:pt x="202279" y="125156"/>
                    <a:pt x="204309" y="125156"/>
                    <a:pt x="206338" y="125156"/>
                  </a:cubicBezTo>
                  <a:cubicBezTo>
                    <a:pt x="211750" y="125156"/>
                    <a:pt x="217839" y="121097"/>
                    <a:pt x="223251" y="119067"/>
                  </a:cubicBezTo>
                  <a:cubicBezTo>
                    <a:pt x="225957" y="118391"/>
                    <a:pt x="228663" y="118391"/>
                    <a:pt x="230693" y="117038"/>
                  </a:cubicBezTo>
                  <a:cubicBezTo>
                    <a:pt x="231369" y="117038"/>
                    <a:pt x="231369" y="116361"/>
                    <a:pt x="231369" y="115685"/>
                  </a:cubicBezTo>
                  <a:lnTo>
                    <a:pt x="230693" y="115008"/>
                  </a:lnTo>
                  <a:cubicBezTo>
                    <a:pt x="223928" y="114332"/>
                    <a:pt x="218516" y="112302"/>
                    <a:pt x="211750" y="110273"/>
                  </a:cubicBezTo>
                  <a:cubicBezTo>
                    <a:pt x="206338" y="109596"/>
                    <a:pt x="200926" y="109596"/>
                    <a:pt x="196191" y="112302"/>
                  </a:cubicBezTo>
                  <a:cubicBezTo>
                    <a:pt x="191455" y="115685"/>
                    <a:pt x="187396" y="119067"/>
                    <a:pt x="182660" y="122450"/>
                  </a:cubicBezTo>
                  <a:cubicBezTo>
                    <a:pt x="181307" y="123126"/>
                    <a:pt x="179954" y="124480"/>
                    <a:pt x="178601" y="125156"/>
                  </a:cubicBezTo>
                  <a:cubicBezTo>
                    <a:pt x="173189" y="128539"/>
                    <a:pt x="167100" y="131921"/>
                    <a:pt x="161011" y="133951"/>
                  </a:cubicBezTo>
                  <a:cubicBezTo>
                    <a:pt x="154923" y="135980"/>
                    <a:pt x="148834" y="136657"/>
                    <a:pt x="142746" y="136657"/>
                  </a:cubicBezTo>
                  <a:cubicBezTo>
                    <a:pt x="140716" y="136657"/>
                    <a:pt x="138686" y="135304"/>
                    <a:pt x="137333" y="133274"/>
                  </a:cubicBezTo>
                  <a:cubicBezTo>
                    <a:pt x="135980" y="130568"/>
                    <a:pt x="135304" y="127862"/>
                    <a:pt x="135304" y="125156"/>
                  </a:cubicBezTo>
                  <a:cubicBezTo>
                    <a:pt x="135304" y="123126"/>
                    <a:pt x="135304" y="121773"/>
                    <a:pt x="134627" y="119744"/>
                  </a:cubicBezTo>
                  <a:cubicBezTo>
                    <a:pt x="134627" y="115008"/>
                    <a:pt x="133951" y="108920"/>
                    <a:pt x="135304" y="104184"/>
                  </a:cubicBezTo>
                  <a:cubicBezTo>
                    <a:pt x="135980" y="99448"/>
                    <a:pt x="137333" y="94713"/>
                    <a:pt x="136657" y="89977"/>
                  </a:cubicBezTo>
                  <a:cubicBezTo>
                    <a:pt x="135304" y="85918"/>
                    <a:pt x="129892" y="81182"/>
                    <a:pt x="117038" y="70358"/>
                  </a:cubicBezTo>
                  <a:cubicBezTo>
                    <a:pt x="104184" y="58857"/>
                    <a:pt x="90654" y="43974"/>
                    <a:pt x="83888" y="31796"/>
                  </a:cubicBezTo>
                  <a:cubicBezTo>
                    <a:pt x="83212" y="30443"/>
                    <a:pt x="82535" y="29090"/>
                    <a:pt x="81859" y="28414"/>
                  </a:cubicBezTo>
                  <a:cubicBezTo>
                    <a:pt x="80506" y="28414"/>
                    <a:pt x="80506" y="29090"/>
                    <a:pt x="79829" y="29767"/>
                  </a:cubicBezTo>
                  <a:cubicBezTo>
                    <a:pt x="74417" y="37209"/>
                    <a:pt x="72387" y="46003"/>
                    <a:pt x="73741" y="55475"/>
                  </a:cubicBezTo>
                  <a:cubicBezTo>
                    <a:pt x="75770" y="64946"/>
                    <a:pt x="79829" y="73064"/>
                    <a:pt x="86594" y="80506"/>
                  </a:cubicBezTo>
                  <a:cubicBezTo>
                    <a:pt x="89977" y="84565"/>
                    <a:pt x="94036" y="89977"/>
                    <a:pt x="96066" y="94036"/>
                  </a:cubicBezTo>
                  <a:cubicBezTo>
                    <a:pt x="98095" y="98095"/>
                    <a:pt x="98772" y="102154"/>
                    <a:pt x="98095" y="106890"/>
                  </a:cubicBezTo>
                  <a:lnTo>
                    <a:pt x="87947" y="99448"/>
                  </a:lnTo>
                  <a:cubicBezTo>
                    <a:pt x="87947" y="99448"/>
                    <a:pt x="83888" y="96742"/>
                    <a:pt x="77800" y="92007"/>
                  </a:cubicBezTo>
                  <a:cubicBezTo>
                    <a:pt x="72387" y="87947"/>
                    <a:pt x="66299" y="84565"/>
                    <a:pt x="56828" y="73741"/>
                  </a:cubicBezTo>
                  <a:cubicBezTo>
                    <a:pt x="56828" y="73064"/>
                    <a:pt x="56151" y="73064"/>
                    <a:pt x="55474" y="73741"/>
                  </a:cubicBezTo>
                  <a:cubicBezTo>
                    <a:pt x="54798" y="74417"/>
                    <a:pt x="54798" y="75094"/>
                    <a:pt x="54122" y="76447"/>
                  </a:cubicBezTo>
                  <a:cubicBezTo>
                    <a:pt x="52768" y="87271"/>
                    <a:pt x="52092" y="100125"/>
                    <a:pt x="58181" y="108920"/>
                  </a:cubicBezTo>
                  <a:cubicBezTo>
                    <a:pt x="61563" y="114332"/>
                    <a:pt x="66299" y="119067"/>
                    <a:pt x="71034" y="123803"/>
                  </a:cubicBezTo>
                  <a:cubicBezTo>
                    <a:pt x="74417" y="126509"/>
                    <a:pt x="77123" y="129892"/>
                    <a:pt x="80506" y="132598"/>
                  </a:cubicBezTo>
                  <a:cubicBezTo>
                    <a:pt x="83888" y="135304"/>
                    <a:pt x="87271" y="138686"/>
                    <a:pt x="87271" y="142746"/>
                  </a:cubicBezTo>
                  <a:cubicBezTo>
                    <a:pt x="87947" y="147481"/>
                    <a:pt x="85918" y="151540"/>
                    <a:pt x="84565" y="155599"/>
                  </a:cubicBezTo>
                  <a:cubicBezTo>
                    <a:pt x="82535" y="158982"/>
                    <a:pt x="81182" y="162365"/>
                    <a:pt x="78476" y="164394"/>
                  </a:cubicBezTo>
                  <a:cubicBezTo>
                    <a:pt x="74417" y="167100"/>
                    <a:pt x="68328" y="165071"/>
                    <a:pt x="63593" y="165747"/>
                  </a:cubicBezTo>
                  <a:cubicBezTo>
                    <a:pt x="60210" y="165747"/>
                    <a:pt x="58181" y="169130"/>
                    <a:pt x="56828" y="171836"/>
                  </a:cubicBezTo>
                  <a:cubicBezTo>
                    <a:pt x="54798" y="175218"/>
                    <a:pt x="52768" y="178601"/>
                    <a:pt x="53445" y="182660"/>
                  </a:cubicBezTo>
                  <a:cubicBezTo>
                    <a:pt x="54122" y="187396"/>
                    <a:pt x="56151" y="191455"/>
                    <a:pt x="57504" y="193484"/>
                  </a:cubicBezTo>
                  <a:cubicBezTo>
                    <a:pt x="58181" y="194161"/>
                    <a:pt x="58857" y="195514"/>
                    <a:pt x="60210" y="195514"/>
                  </a:cubicBezTo>
                  <a:cubicBezTo>
                    <a:pt x="62240" y="194838"/>
                    <a:pt x="64269" y="194161"/>
                    <a:pt x="66299" y="192808"/>
                  </a:cubicBezTo>
                  <a:cubicBezTo>
                    <a:pt x="75770" y="184690"/>
                    <a:pt x="79829" y="181984"/>
                    <a:pt x="89977" y="179278"/>
                  </a:cubicBezTo>
                  <a:cubicBezTo>
                    <a:pt x="83888" y="181984"/>
                    <a:pt x="79153" y="188749"/>
                    <a:pt x="77800" y="190778"/>
                  </a:cubicBezTo>
                  <a:cubicBezTo>
                    <a:pt x="69681" y="200250"/>
                    <a:pt x="62240" y="204309"/>
                    <a:pt x="50739" y="202279"/>
                  </a:cubicBezTo>
                  <a:cubicBezTo>
                    <a:pt x="48033" y="201603"/>
                    <a:pt x="46680" y="200926"/>
                    <a:pt x="46680" y="200926"/>
                  </a:cubicBezTo>
                  <a:cubicBezTo>
                    <a:pt x="35855" y="189425"/>
                    <a:pt x="16913" y="163041"/>
                    <a:pt x="16913" y="125156"/>
                  </a:cubicBezTo>
                  <a:cubicBezTo>
                    <a:pt x="16913" y="64269"/>
                    <a:pt x="66299" y="14207"/>
                    <a:pt x="127862" y="14207"/>
                  </a:cubicBezTo>
                  <a:cubicBezTo>
                    <a:pt x="188749" y="14207"/>
                    <a:pt x="238135" y="63593"/>
                    <a:pt x="238135" y="125156"/>
                  </a:cubicBezTo>
                  <a:cubicBezTo>
                    <a:pt x="236782" y="186043"/>
                    <a:pt x="186719" y="237458"/>
                    <a:pt x="126509" y="237458"/>
                  </a:cubicBezTo>
                  <a:close/>
                </a:path>
              </a:pathLst>
            </a:custGeom>
            <a:solidFill>
              <a:srgbClr val="004A99"/>
            </a:solidFill>
            <a:ln w="6756" cap="flat">
              <a:noFill/>
              <a:prstDash val="solid"/>
              <a:miter/>
            </a:ln>
          </p:spPr>
          <p:txBody>
            <a:bodyPr rtlCol="0" anchor="ctr"/>
            <a:lstStyle/>
            <a:p>
              <a:pPr rtl="0"/>
              <a:endParaRPr lang="en-US"/>
            </a:p>
          </p:txBody>
        </p:sp>
      </p:grpSp>
    </p:spTree>
    <p:extLst>
      <p:ext uri="{BB962C8B-B14F-4D97-AF65-F5344CB8AC3E}">
        <p14:creationId xmlns:p14="http://schemas.microsoft.com/office/powerpoint/2010/main" val="211877946"/>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p:stCondLst>
                              <p:cond delay="0"/>
                            </p:stCondLst>
                            <p:childTnLst>
                              <p:par>
                                <p:cTn id="5" presetID="10" presetClass="exit" presetSubtype="0" dur="1000" fill="hold" nodeType="clickEffect">
                                  <p:stCondLst>
                                    <p:cond delay="0"/>
                                  </p:stCondLst>
                                  <p:childTnLst>
                                    <p:animEffect transition="out" filter="fade">
                                      <p:cBhvr>
                                        <p:cTn id="6" dur="1000"/>
                                        <p:tgtEl>
                                          <p:spTgt spid="3"/>
                                        </p:tgtEl>
                                      </p:cBhvr>
                                    </p:animEffect>
                                    <p:set>
                                      <p:cBhvr>
                                        <p:cTn id="7" dur="1" fill="hold">
                                          <p:stCondLst>
                                            <p:cond delay="999"/>
                                          </p:stCondLst>
                                        </p:cTn>
                                        <p:tgtEl>
                                          <p:spTgt spid="3"/>
                                        </p:tgtEl>
                                        <p:attrNameLst>
                                          <p:attrName>style.visibility</p:attrName>
                                        </p:attrNameLst>
                                      </p:cBhvr>
                                      <p:to>
                                        <p:strVal val="hidden"/>
                                      </p:to>
                                    </p:set>
                                  </p:childTnLst>
                                </p:cTn>
                              </p:par>
                            </p:childTnLst>
                          </p:cTn>
                        </p:par>
                        <p:par>
                          <p:cTn id="8" fill="hold" nodeType="afterGroup">
                            <p:stCondLst>
                              <p:cond delay="1000"/>
                            </p:stCondLst>
                            <p:childTnLst>
                              <p:par>
                                <p:cTn id="9" presetID="10" presetClass="entr" presetSubtype="0" dur="1000" fill="hold" grpId="0" nodeType="afterEffect">
                                  <p:stCondLst>
                                    <p:cond delay="0"/>
                                  </p:stCondLst>
                                  <p:childTnLst>
                                    <p:set>
                                      <p:cBhvr>
                                        <p:cTn id="10" dur="1" fill="hold">
                                          <p:stCondLst>
                                            <p:cond delay="0"/>
                                          </p:stCondLst>
                                        </p:cTn>
                                        <p:tgtEl>
                                          <p:spTgt spid="64"/>
                                        </p:tgtEl>
                                        <p:attrNameLst>
                                          <p:attrName>style.visibility</p:attrName>
                                        </p:attrNameLst>
                                      </p:cBhvr>
                                      <p:to>
                                        <p:strVal val="visible"/>
                                      </p:to>
                                    </p:set>
                                    <p:animEffect transition="in" filter="fade">
                                      <p:cBhvr>
                                        <p:cTn id="11" dur="1000"/>
                                        <p:tgtEl>
                                          <p:spTgt spid="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animBg="1"/>
    </p:bldLst>
  </p:timing>
</p:sldLayout>
</file>

<file path=ppt/slideLayouts/slideLayout341.xml><?xml version="1.0" encoding="utf-8"?>
<p:sldLayout xmlns:a="http://schemas.openxmlformats.org/drawingml/2006/main" xmlns:r="http://schemas.openxmlformats.org/officeDocument/2006/relationships" xmlns:p="http://schemas.openxmlformats.org/presentationml/2006/main" userDrawn="1">
  <p:cSld name="2_STRICTLY CONFIDENTIAL with headline">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86B09ADF-ABBA-4CAF-872F-3BAB02A31B1B}"/>
              </a:ext>
            </a:extLst>
          </p:cNvPr>
          <p:cNvGraphicFramePr>
            <a:graphicFrameLocks noChangeAspect="1"/>
          </p:cNvGraphicFramePr>
          <p:nvPr userDrawn="1">
            <p:custDataLst>
              <p:tags r:id="rId1"/>
            </p:custDataLst>
            <p:extLst>
              <p:ext uri="{D42A27DB-BD31-4B8C-83A1-F6EECF244321}">
                <p14:modId xmlns:p14="http://schemas.microsoft.com/office/powerpoint/2010/main" val="41401928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2" name="Objekt 1" hidden="1">
                        <a:extLst>
                          <a:ext uri="{FF2B5EF4-FFF2-40B4-BE49-F238E27FC236}">
                            <a16:creationId xmlns:a16="http://schemas.microsoft.com/office/drawing/2014/main" id="{86B09ADF-ABBA-4CAF-872F-3BAB02A31B1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Box 32">
            <a:extLst>
              <a:ext uri="{FF2B5EF4-FFF2-40B4-BE49-F238E27FC236}">
                <a16:creationId xmlns:a16="http://schemas.microsoft.com/office/drawing/2014/main" id="{B5E247E6-9C02-45E3-A547-02C506DDBE07}"/>
              </a:ext>
            </a:extLst>
          </p:cNvPr>
          <p:cNvSpPr txBox="1"/>
          <p:nvPr userDrawn="1"/>
        </p:nvSpPr>
        <p:spPr>
          <a:xfrm rot="16200000">
            <a:off x="-764733" y="3510426"/>
            <a:ext cx="2079095" cy="180049"/>
          </a:xfrm>
          <a:prstGeom prst="rect">
            <a:avLst/>
          </a:prstGeom>
          <a:noFill/>
          <a:ln w="9525">
            <a:noFill/>
          </a:ln>
        </p:spPr>
        <p:txBody>
          <a:bodyPr vert="horz" wrap="none" lIns="0" tIns="0" rIns="0" bIns="0" rtlCol="0">
            <a:spAutoFit/>
          </a:bodyPr>
          <a:lstStyle/>
          <a:p>
            <a:pPr algn="ctr" rtl="0">
              <a:lnSpc>
                <a:spcPct val="90000"/>
              </a:lnSpc>
              <a:spcBef>
                <a:spcPts val="400"/>
              </a:spcBef>
              <a:buClr>
                <a:srgbClr val="000000"/>
              </a:buClr>
              <a:buSzTx/>
            </a:pPr>
            <a:r>
              <a:rPr lang="en-US" sz="1300" b="1" noProof="0">
                <a:solidFill>
                  <a:srgbClr val="E32119"/>
                </a:solidFill>
                <a:latin typeface="+mj-lt"/>
                <a:cs typeface="Arial Narrow" pitchFamily="34" charset="0"/>
              </a:rPr>
              <a:t>STRICTLY CONFIDENTIAL</a:t>
            </a:r>
          </a:p>
        </p:txBody>
      </p:sp>
      <p:sp>
        <p:nvSpPr>
          <p:cNvPr id="6" name="Inhaltsplatzhalter 5">
            <a:extLst>
              <a:ext uri="{FF2B5EF4-FFF2-40B4-BE49-F238E27FC236}">
                <a16:creationId xmlns:a16="http://schemas.microsoft.com/office/drawing/2014/main" id="{58965A59-EA23-4443-A22E-9428FB3359A3}"/>
              </a:ext>
            </a:extLst>
          </p:cNvPr>
          <p:cNvSpPr>
            <a:spLocks noGrp="1"/>
          </p:cNvSpPr>
          <p:nvPr>
            <p:ph sz="quarter" idx="12"/>
          </p:nvPr>
        </p:nvSpPr>
        <p:spPr>
          <a:xfrm>
            <a:off x="815951" y="2205038"/>
            <a:ext cx="10560096" cy="4117214"/>
          </a:xfrm>
        </p:spPr>
        <p:txBody>
          <a:bodyPr>
            <a:noAutofit/>
          </a:bodyPr>
          <a:lstStyle>
            <a:lvl1pPr rtl="0">
              <a:defRPr/>
            </a:lvl1pPr>
            <a:lvl2pPr rtl="0">
              <a:defRPr/>
            </a:lvl2pPr>
            <a:lvl3pPr rtl="0">
              <a:defRPr/>
            </a:lvl3pPr>
            <a:lvl4pPr rtl="0">
              <a:defRPr/>
            </a:lvl4pPr>
            <a:lvl5pPr rtl="0">
              <a:defRPr/>
            </a:lvl5pPr>
          </a:lstStyle>
          <a:p>
            <a:pPr lvl="0"/>
            <a:r>
              <a:rPr lang="en-US" err="1"/>
              <a:t>Mastertextformat bearbeiten</a:t>
            </a:r>
            <a:endParaRPr lang="en-US"/>
          </a:p>
          <a:p>
            <a:pPr lvl="1"/>
            <a:r>
              <a:rPr lang="en-US" err="1"/>
              <a:t>Zweite Ebene</a:t>
            </a:r>
          </a:p>
          <a:p>
            <a:pPr lvl="2"/>
            <a:r>
              <a:rPr lang="en-US" err="1"/>
              <a:t>Dritte Ebene</a:t>
            </a:r>
          </a:p>
          <a:p>
            <a:pPr lvl="3"/>
            <a:r>
              <a:rPr lang="en-US" err="1"/>
              <a:t>Vierte Ebene</a:t>
            </a:r>
          </a:p>
          <a:p>
            <a:pPr lvl="4"/>
            <a:r>
              <a:rPr lang="en-US" err="1"/>
              <a:t>Fünfte Ebene</a:t>
            </a:r>
          </a:p>
        </p:txBody>
      </p:sp>
      <p:sp>
        <p:nvSpPr>
          <p:cNvPr id="10" name="Foliennummernplatzhalter 1">
            <a:extLst>
              <a:ext uri="{FF2B5EF4-FFF2-40B4-BE49-F238E27FC236}">
                <a16:creationId xmlns:a16="http://schemas.microsoft.com/office/drawing/2014/main" id="{C48900FF-2716-4A9B-BFCC-84CCB4586810}"/>
              </a:ext>
            </a:extLst>
          </p:cNvPr>
          <p:cNvSpPr>
            <a:spLocks noGrp="1"/>
          </p:cNvSpPr>
          <p:nvPr>
            <p:ph type="sldNum" sz="quarter" idx="4"/>
          </p:nvPr>
        </p:nvSpPr>
        <p:spPr>
          <a:xfrm>
            <a:off x="10839449" y="172800"/>
            <a:ext cx="536597" cy="365125"/>
          </a:xfrm>
          <a:prstGeom prst="rect">
            <a:avLst/>
          </a:prstGeom>
        </p:spPr>
        <p:txBody>
          <a:bodyPr vert="horz" lIns="91440" tIns="45720" rIns="0" bIns="45720" rtlCol="0" anchor="ctr"/>
          <a:lstStyle>
            <a:lvl1pPr algn="r" rtl="0">
              <a:defRPr sz="1000" spc="170" baseline="0">
                <a:solidFill>
                  <a:schemeClr val="accent3"/>
                </a:solidFill>
                <a:latin typeface="Roboto Bold" panose="02000000000000000000" pitchFamily="2" charset="0"/>
                <a:ea typeface="Roboto Bold" panose="02000000000000000000" pitchFamily="2" charset="0"/>
              </a:defRPr>
            </a:lvl1pPr>
          </a:lstStyle>
          <a:p>
            <a:fld id="{A04BEB4F-8CE1-4F18-986F-6CE0A0BE9470}" type="slidenum">
              <a:rPr lang="en-US" smtClean="0"/>
              <a:t>‹#›</a:t>
            </a:fld>
            <a:endParaRPr lang="en-US"/>
          </a:p>
        </p:txBody>
      </p:sp>
      <p:sp>
        <p:nvSpPr>
          <p:cNvPr id="12" name="Titel 1">
            <a:extLst>
              <a:ext uri="{FF2B5EF4-FFF2-40B4-BE49-F238E27FC236}">
                <a16:creationId xmlns:a16="http://schemas.microsoft.com/office/drawing/2014/main" id="{522544BB-3150-4352-9DF6-A8CE670E1FC2}"/>
              </a:ext>
            </a:extLst>
          </p:cNvPr>
          <p:cNvSpPr>
            <a:spLocks noGrp="1"/>
          </p:cNvSpPr>
          <p:nvPr>
            <p:ph type="title" hasCustomPrompt="1"/>
          </p:nvPr>
        </p:nvSpPr>
        <p:spPr>
          <a:xfrm>
            <a:off x="815952" y="733402"/>
            <a:ext cx="10560096" cy="767737"/>
          </a:xfrm>
        </p:spPr>
        <p:txBody>
          <a:bodyPr vert="horz">
            <a:noAutofit/>
          </a:bodyPr>
          <a:lstStyle>
            <a:lvl1pPr rtl="0">
              <a:lnSpc>
                <a:spcPct val="100000"/>
              </a:lnSpc>
              <a:defRPr/>
            </a:lvl1pPr>
          </a:lstStyle>
          <a:p>
            <a:r>
              <a:rPr lang="en-US"/>
              <a:t>Headline</a:t>
            </a:r>
          </a:p>
        </p:txBody>
      </p:sp>
      <p:sp>
        <p:nvSpPr>
          <p:cNvPr id="14" name="Text Placeholder 6">
            <a:extLst>
              <a:ext uri="{FF2B5EF4-FFF2-40B4-BE49-F238E27FC236}">
                <a16:creationId xmlns:a16="http://schemas.microsoft.com/office/drawing/2014/main" id="{8390CA35-66CE-4524-940C-63A4C0F7EB5C}"/>
              </a:ext>
            </a:extLst>
          </p:cNvPr>
          <p:cNvSpPr>
            <a:spLocks noGrp="1"/>
          </p:cNvSpPr>
          <p:nvPr>
            <p:ph type="body" sz="quarter" idx="15" hasCustomPrompt="1"/>
          </p:nvPr>
        </p:nvSpPr>
        <p:spPr>
          <a:xfrm>
            <a:off x="815951" y="6322252"/>
            <a:ext cx="10566400" cy="535748"/>
          </a:xfrm>
        </p:spPr>
        <p:txBody>
          <a:bodyPr wrap="square" tIns="72000" bIns="72000">
            <a:normAutofit/>
          </a:bodyPr>
          <a:lstStyle>
            <a:lvl1pPr marL="0" indent="0" rtl="0">
              <a:lnSpc>
                <a:spcPct val="100000"/>
              </a:lnSpc>
              <a:spcAft>
                <a:spcPct val="0"/>
              </a:spcAft>
              <a:buFont typeface="Arial" panose="020B0604020202020204" pitchFamily="34" charset="0"/>
              <a:buNone/>
              <a:defRPr sz="1000"/>
            </a:lvl1pPr>
          </a:lstStyle>
          <a:p>
            <a:pPr lvl="0"/>
            <a:r>
              <a:rPr lang="en-US"/>
              <a:t>Footnote</a:t>
            </a:r>
          </a:p>
        </p:txBody>
      </p:sp>
      <p:sp>
        <p:nvSpPr>
          <p:cNvPr id="15" name="Text Placeholder 16">
            <a:extLst>
              <a:ext uri="{FF2B5EF4-FFF2-40B4-BE49-F238E27FC236}">
                <a16:creationId xmlns:a16="http://schemas.microsoft.com/office/drawing/2014/main" id="{61312586-D35A-43DC-8251-7A3D927C4109}"/>
              </a:ext>
            </a:extLst>
          </p:cNvPr>
          <p:cNvSpPr>
            <a:spLocks noGrp="1"/>
          </p:cNvSpPr>
          <p:nvPr>
            <p:ph type="body" sz="quarter" idx="18" hasCustomPrompt="1"/>
          </p:nvPr>
        </p:nvSpPr>
        <p:spPr>
          <a:xfrm>
            <a:off x="812799" y="1501138"/>
            <a:ext cx="10569551" cy="451487"/>
          </a:xfrm>
        </p:spPr>
        <p:txBody>
          <a:bodyPr tIns="72000"/>
          <a:lstStyle>
            <a:lvl1pPr marL="0" indent="0" rtl="0">
              <a:buFont typeface="Arial" panose="020B0604020202020204" pitchFamily="34" charset="0"/>
              <a:buNone/>
              <a:defRPr lang="de-DE" sz="1800" kern="1200">
                <a:solidFill>
                  <a:schemeClr val="tx2"/>
                </a:solidFill>
                <a:latin typeface="+mj-lt"/>
                <a:ea typeface="+mj-ea"/>
                <a:cs typeface="+mj-cs"/>
              </a:defRPr>
            </a:lvl1pPr>
          </a:lstStyle>
          <a:p>
            <a:pPr lvl="0"/>
            <a:r>
              <a:rPr lang="en-US" err="1"/>
              <a:t>Subheadline</a:t>
            </a:r>
            <a:endParaRPr lang="en-US"/>
          </a:p>
        </p:txBody>
      </p:sp>
    </p:spTree>
    <p:extLst>
      <p:ext uri="{BB962C8B-B14F-4D97-AF65-F5344CB8AC3E}">
        <p14:creationId xmlns:p14="http://schemas.microsoft.com/office/powerpoint/2010/main" val="1689542723"/>
      </p:ext>
    </p:extLst>
  </p:cSld>
  <p:clrMapOvr>
    <a:masterClrMapping/>
  </p:clrMapOv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1_Custom Layout">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D891C536-C71D-43CE-BF4D-B9B329D1B407}"/>
              </a:ext>
            </a:extLst>
          </p:cNvPr>
          <p:cNvSpPr>
            <a:spLocks noGrp="1"/>
          </p:cNvSpPr>
          <p:nvPr>
            <p:ph type="pic" sz="quarter" idx="15"/>
          </p:nvPr>
        </p:nvSpPr>
        <p:spPr>
          <a:xfrm>
            <a:off x="1147470" y="2745873"/>
            <a:ext cx="955706" cy="955830"/>
          </a:xfrm>
          <a:custGeom>
            <a:avLst/>
            <a:gdLst>
              <a:gd name="connsiteX0" fmla="*/ 955830 w 1911660"/>
              <a:gd name="connsiteY0" fmla="*/ 0 h 1911660"/>
              <a:gd name="connsiteX1" fmla="*/ 1911660 w 1911660"/>
              <a:gd name="connsiteY1" fmla="*/ 955830 h 1911660"/>
              <a:gd name="connsiteX2" fmla="*/ 955830 w 1911660"/>
              <a:gd name="connsiteY2" fmla="*/ 1911660 h 1911660"/>
              <a:gd name="connsiteX3" fmla="*/ 0 w 1911660"/>
              <a:gd name="connsiteY3" fmla="*/ 955830 h 1911660"/>
              <a:gd name="connsiteX4" fmla="*/ 955830 w 1911660"/>
              <a:gd name="connsiteY4" fmla="*/ 0 h 19116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1659" h="1911659">
                <a:moveTo>
                  <a:pt x="955830" y="0"/>
                </a:moveTo>
                <a:cubicBezTo>
                  <a:pt x="1483720" y="0"/>
                  <a:pt x="1911660" y="427940"/>
                  <a:pt x="1911660" y="955830"/>
                </a:cubicBezTo>
                <a:cubicBezTo>
                  <a:pt x="1911660" y="1483720"/>
                  <a:pt x="1483720" y="1911660"/>
                  <a:pt x="955830" y="1911660"/>
                </a:cubicBezTo>
                <a:cubicBezTo>
                  <a:pt x="427940" y="1911660"/>
                  <a:pt x="0" y="1483720"/>
                  <a:pt x="0" y="955830"/>
                </a:cubicBezTo>
                <a:cubicBezTo>
                  <a:pt x="0" y="427940"/>
                  <a:pt x="427940" y="0"/>
                  <a:pt x="955830" y="0"/>
                </a:cubicBez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
        <p:nvSpPr>
          <p:cNvPr id="14" name="Picture Placeholder 13">
            <a:extLst>
              <a:ext uri="{FF2B5EF4-FFF2-40B4-BE49-F238E27FC236}">
                <a16:creationId xmlns:a16="http://schemas.microsoft.com/office/drawing/2014/main" id="{6EB235DB-2D95-4CB0-8307-58A1C6583880}"/>
              </a:ext>
            </a:extLst>
          </p:cNvPr>
          <p:cNvSpPr>
            <a:spLocks noGrp="1"/>
          </p:cNvSpPr>
          <p:nvPr>
            <p:ph type="pic" sz="quarter" idx="16"/>
          </p:nvPr>
        </p:nvSpPr>
        <p:spPr>
          <a:xfrm>
            <a:off x="3382809" y="2745873"/>
            <a:ext cx="955706" cy="955830"/>
          </a:xfrm>
          <a:custGeom>
            <a:avLst/>
            <a:gdLst>
              <a:gd name="connsiteX0" fmla="*/ 955830 w 1911660"/>
              <a:gd name="connsiteY0" fmla="*/ 0 h 1911660"/>
              <a:gd name="connsiteX1" fmla="*/ 1911660 w 1911660"/>
              <a:gd name="connsiteY1" fmla="*/ 955830 h 1911660"/>
              <a:gd name="connsiteX2" fmla="*/ 955830 w 1911660"/>
              <a:gd name="connsiteY2" fmla="*/ 1911660 h 1911660"/>
              <a:gd name="connsiteX3" fmla="*/ 0 w 1911660"/>
              <a:gd name="connsiteY3" fmla="*/ 955830 h 1911660"/>
              <a:gd name="connsiteX4" fmla="*/ 955830 w 1911660"/>
              <a:gd name="connsiteY4" fmla="*/ 0 h 19116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1659" h="1911659">
                <a:moveTo>
                  <a:pt x="955830" y="0"/>
                </a:moveTo>
                <a:cubicBezTo>
                  <a:pt x="1483720" y="0"/>
                  <a:pt x="1911660" y="427940"/>
                  <a:pt x="1911660" y="955830"/>
                </a:cubicBezTo>
                <a:cubicBezTo>
                  <a:pt x="1911660" y="1483720"/>
                  <a:pt x="1483720" y="1911660"/>
                  <a:pt x="955830" y="1911660"/>
                </a:cubicBezTo>
                <a:cubicBezTo>
                  <a:pt x="427940" y="1911660"/>
                  <a:pt x="0" y="1483720"/>
                  <a:pt x="0" y="955830"/>
                </a:cubicBezTo>
                <a:cubicBezTo>
                  <a:pt x="0" y="427940"/>
                  <a:pt x="427940" y="0"/>
                  <a:pt x="955830" y="0"/>
                </a:cubicBez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
        <p:nvSpPr>
          <p:cNvPr id="15" name="Picture Placeholder 14">
            <a:extLst>
              <a:ext uri="{FF2B5EF4-FFF2-40B4-BE49-F238E27FC236}">
                <a16:creationId xmlns:a16="http://schemas.microsoft.com/office/drawing/2014/main" id="{D228DFF4-14CD-4364-BC23-932EEA85A154}"/>
              </a:ext>
            </a:extLst>
          </p:cNvPr>
          <p:cNvSpPr>
            <a:spLocks noGrp="1"/>
          </p:cNvSpPr>
          <p:nvPr>
            <p:ph type="pic" sz="quarter" idx="17"/>
          </p:nvPr>
        </p:nvSpPr>
        <p:spPr>
          <a:xfrm>
            <a:off x="5618147" y="2745873"/>
            <a:ext cx="955706" cy="955830"/>
          </a:xfrm>
          <a:custGeom>
            <a:avLst/>
            <a:gdLst>
              <a:gd name="connsiteX0" fmla="*/ 955830 w 1911660"/>
              <a:gd name="connsiteY0" fmla="*/ 0 h 1911660"/>
              <a:gd name="connsiteX1" fmla="*/ 1911660 w 1911660"/>
              <a:gd name="connsiteY1" fmla="*/ 955830 h 1911660"/>
              <a:gd name="connsiteX2" fmla="*/ 955830 w 1911660"/>
              <a:gd name="connsiteY2" fmla="*/ 1911660 h 1911660"/>
              <a:gd name="connsiteX3" fmla="*/ 0 w 1911660"/>
              <a:gd name="connsiteY3" fmla="*/ 955830 h 1911660"/>
              <a:gd name="connsiteX4" fmla="*/ 955830 w 1911660"/>
              <a:gd name="connsiteY4" fmla="*/ 0 h 19116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1659" h="1911659">
                <a:moveTo>
                  <a:pt x="955830" y="0"/>
                </a:moveTo>
                <a:cubicBezTo>
                  <a:pt x="1483720" y="0"/>
                  <a:pt x="1911660" y="427940"/>
                  <a:pt x="1911660" y="955830"/>
                </a:cubicBezTo>
                <a:cubicBezTo>
                  <a:pt x="1911660" y="1483720"/>
                  <a:pt x="1483720" y="1911660"/>
                  <a:pt x="955830" y="1911660"/>
                </a:cubicBezTo>
                <a:cubicBezTo>
                  <a:pt x="427940" y="1911660"/>
                  <a:pt x="0" y="1483720"/>
                  <a:pt x="0" y="955830"/>
                </a:cubicBezTo>
                <a:cubicBezTo>
                  <a:pt x="0" y="427940"/>
                  <a:pt x="427940" y="0"/>
                  <a:pt x="955830" y="0"/>
                </a:cubicBez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
        <p:nvSpPr>
          <p:cNvPr id="16" name="Picture Placeholder 15">
            <a:extLst>
              <a:ext uri="{FF2B5EF4-FFF2-40B4-BE49-F238E27FC236}">
                <a16:creationId xmlns:a16="http://schemas.microsoft.com/office/drawing/2014/main" id="{005DBB6D-5C8B-4551-88AB-55D90B681B26}"/>
              </a:ext>
            </a:extLst>
          </p:cNvPr>
          <p:cNvSpPr>
            <a:spLocks noGrp="1"/>
          </p:cNvSpPr>
          <p:nvPr>
            <p:ph type="pic" sz="quarter" idx="18"/>
          </p:nvPr>
        </p:nvSpPr>
        <p:spPr>
          <a:xfrm>
            <a:off x="7853486" y="2745873"/>
            <a:ext cx="955705" cy="955830"/>
          </a:xfrm>
          <a:custGeom>
            <a:avLst/>
            <a:gdLst>
              <a:gd name="connsiteX0" fmla="*/ 955830 w 1911659"/>
              <a:gd name="connsiteY0" fmla="*/ 0 h 1911660"/>
              <a:gd name="connsiteX1" fmla="*/ 1911659 w 1911659"/>
              <a:gd name="connsiteY1" fmla="*/ 955830 h 1911660"/>
              <a:gd name="connsiteX2" fmla="*/ 955830 w 1911659"/>
              <a:gd name="connsiteY2" fmla="*/ 1911660 h 1911660"/>
              <a:gd name="connsiteX3" fmla="*/ 0 w 1911659"/>
              <a:gd name="connsiteY3" fmla="*/ 955830 h 1911660"/>
              <a:gd name="connsiteX4" fmla="*/ 955830 w 1911659"/>
              <a:gd name="connsiteY4" fmla="*/ 0 h 19116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1659" h="1911659">
                <a:moveTo>
                  <a:pt x="955830" y="0"/>
                </a:moveTo>
                <a:cubicBezTo>
                  <a:pt x="1483719" y="0"/>
                  <a:pt x="1911659" y="427940"/>
                  <a:pt x="1911659" y="955830"/>
                </a:cubicBezTo>
                <a:cubicBezTo>
                  <a:pt x="1911659" y="1483720"/>
                  <a:pt x="1483719" y="1911660"/>
                  <a:pt x="955830" y="1911660"/>
                </a:cubicBezTo>
                <a:cubicBezTo>
                  <a:pt x="427940" y="1911660"/>
                  <a:pt x="0" y="1483720"/>
                  <a:pt x="0" y="955830"/>
                </a:cubicBezTo>
                <a:cubicBezTo>
                  <a:pt x="0" y="427940"/>
                  <a:pt x="427940" y="0"/>
                  <a:pt x="955830" y="0"/>
                </a:cubicBez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
        <p:nvSpPr>
          <p:cNvPr id="17" name="Picture Placeholder 16">
            <a:extLst>
              <a:ext uri="{FF2B5EF4-FFF2-40B4-BE49-F238E27FC236}">
                <a16:creationId xmlns:a16="http://schemas.microsoft.com/office/drawing/2014/main" id="{2403ED0C-CEF4-4ED5-9432-B1D0EFE4B495}"/>
              </a:ext>
            </a:extLst>
          </p:cNvPr>
          <p:cNvSpPr>
            <a:spLocks noGrp="1"/>
          </p:cNvSpPr>
          <p:nvPr>
            <p:ph type="pic" sz="quarter" idx="19"/>
          </p:nvPr>
        </p:nvSpPr>
        <p:spPr>
          <a:xfrm>
            <a:off x="10088824" y="2745873"/>
            <a:ext cx="955706" cy="955830"/>
          </a:xfrm>
          <a:custGeom>
            <a:avLst/>
            <a:gdLst>
              <a:gd name="connsiteX0" fmla="*/ 955828 w 1911660"/>
              <a:gd name="connsiteY0" fmla="*/ 0 h 1911660"/>
              <a:gd name="connsiteX1" fmla="*/ 1911660 w 1911660"/>
              <a:gd name="connsiteY1" fmla="*/ 955830 h 1911660"/>
              <a:gd name="connsiteX2" fmla="*/ 955828 w 1911660"/>
              <a:gd name="connsiteY2" fmla="*/ 1911660 h 1911660"/>
              <a:gd name="connsiteX3" fmla="*/ 0 w 1911660"/>
              <a:gd name="connsiteY3" fmla="*/ 955830 h 1911660"/>
              <a:gd name="connsiteX4" fmla="*/ 955828 w 1911660"/>
              <a:gd name="connsiteY4" fmla="*/ 0 h 19116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1659" h="1911659">
                <a:moveTo>
                  <a:pt x="955828" y="0"/>
                </a:moveTo>
                <a:cubicBezTo>
                  <a:pt x="1483720" y="0"/>
                  <a:pt x="1911660" y="427940"/>
                  <a:pt x="1911660" y="955830"/>
                </a:cubicBezTo>
                <a:cubicBezTo>
                  <a:pt x="1911660" y="1483720"/>
                  <a:pt x="1483720" y="1911660"/>
                  <a:pt x="955828" y="1911660"/>
                </a:cubicBezTo>
                <a:cubicBezTo>
                  <a:pt x="427940" y="1911660"/>
                  <a:pt x="0" y="1483720"/>
                  <a:pt x="0" y="955830"/>
                </a:cubicBezTo>
                <a:cubicBezTo>
                  <a:pt x="0" y="427940"/>
                  <a:pt x="427940" y="0"/>
                  <a:pt x="955828" y="0"/>
                </a:cubicBez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Tree>
    <p:extLst>
      <p:ext uri="{BB962C8B-B14F-4D97-AF65-F5344CB8AC3E}">
        <p14:creationId xmlns:p14="http://schemas.microsoft.com/office/powerpoint/2010/main" val="379317132"/>
      </p:ext>
    </p:extLst>
  </p:cSld>
  <p:clrMapOvr>
    <a:masterClrMapping/>
  </p:clrMapOv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ED8B4229-4B33-4A0A-AF4B-FF49C5161567}"/>
              </a:ext>
            </a:extLst>
          </p:cNvPr>
          <p:cNvSpPr>
            <a:spLocks noGrp="1"/>
          </p:cNvSpPr>
          <p:nvPr>
            <p:ph type="pic" sz="quarter" idx="13"/>
          </p:nvPr>
        </p:nvSpPr>
        <p:spPr>
          <a:xfrm>
            <a:off x="6096000" y="647700"/>
            <a:ext cx="6096000" cy="5524500"/>
          </a:xfrm>
          <a:custGeom>
            <a:avLst/>
            <a:gdLst>
              <a:gd name="connsiteX0" fmla="*/ 2264824 w 12193588"/>
              <a:gd name="connsiteY0" fmla="*/ 0 h 11049000"/>
              <a:gd name="connsiteX1" fmla="*/ 12193588 w 12193588"/>
              <a:gd name="connsiteY1" fmla="*/ 0 h 11049000"/>
              <a:gd name="connsiteX2" fmla="*/ 12193588 w 12193588"/>
              <a:gd name="connsiteY2" fmla="*/ 11049000 h 11049000"/>
              <a:gd name="connsiteX3" fmla="*/ 2264824 w 12193588"/>
              <a:gd name="connsiteY3" fmla="*/ 11049000 h 11049000"/>
              <a:gd name="connsiteX4" fmla="*/ 0 w 12193588"/>
              <a:gd name="connsiteY4" fmla="*/ 5524500 h 11049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3588" h="11049000">
                <a:moveTo>
                  <a:pt x="2264824" y="0"/>
                </a:moveTo>
                <a:lnTo>
                  <a:pt x="12193588" y="0"/>
                </a:lnTo>
                <a:lnTo>
                  <a:pt x="12193588" y="11049000"/>
                </a:lnTo>
                <a:lnTo>
                  <a:pt x="2264824" y="11049000"/>
                </a:lnTo>
                <a:lnTo>
                  <a:pt x="0" y="5524500"/>
                </a:lnTo>
                <a:close/>
              </a:path>
            </a:pathLst>
          </a:custGeom>
          <a:pattFill prst="pct60">
            <a:fgClr>
              <a:schemeClr val="bg1"/>
            </a:fgClr>
            <a:bgClr>
              <a:schemeClr val="bg1">
                <a:lumMod val="85000"/>
              </a:schemeClr>
            </a:bgClr>
          </a:pattFill>
          <a:effectLst>
            <a:outerShdw blurRad="711200" dist="863600" dir="10800000" sx="94000" sy="94000" algn="r" rotWithShape="0">
              <a:schemeClr val="accent1">
                <a:lumMod val="50000"/>
                <a:alpha val="63000"/>
              </a:schemeClr>
            </a:outerShdw>
          </a:effectLst>
        </p:spPr>
        <p:txBody>
          <a:bodyPr wrap="square" anchor="ctr">
            <a:noAutofit/>
          </a:bodyPr>
          <a:lstStyle>
            <a:lvl1pPr marL="0" indent="0" algn="ctr">
              <a:buFontTx/>
              <a:buNone/>
              <a:defRPr sz="1200"/>
            </a:lvl1pPr>
          </a:lstStyle>
          <a:p>
            <a:endParaRPr lang="en-US"/>
          </a:p>
        </p:txBody>
      </p:sp>
    </p:spTree>
    <p:extLst>
      <p:ext uri="{BB962C8B-B14F-4D97-AF65-F5344CB8AC3E}">
        <p14:creationId xmlns:p14="http://schemas.microsoft.com/office/powerpoint/2010/main" val="2579850919"/>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2" dur="1300" decel="100000"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1300" fill="hold"/>
                                        <p:tgtEl>
                                          <p:spTgt spid="12"/>
                                        </p:tgtEl>
                                        <p:attrNameLst>
                                          <p:attrName>ppt_x</p:attrName>
                                        </p:attrNameLst>
                                      </p:cBhvr>
                                      <p:tavLst>
                                        <p:tav tm="0">
                                          <p:val>
                                            <p:strVal val="1+#ppt_w/2"/>
                                          </p:val>
                                        </p:tav>
                                        <p:tav tm="100000">
                                          <p:val>
                                            <p:strVal val="#ppt_x"/>
                                          </p:val>
                                        </p:tav>
                                      </p:tavLst>
                                    </p:anim>
                                    <p:anim calcmode="lin" valueType="num">
                                      <p:cBhvr additive="base">
                                        <p:cTn id="8" dur="130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13_Custom Layout">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A1483D13-6DD3-40B5-B94A-22A72B88E395}"/>
              </a:ext>
            </a:extLst>
          </p:cNvPr>
          <p:cNvSpPr>
            <a:spLocks noGrp="1"/>
          </p:cNvSpPr>
          <p:nvPr>
            <p:ph type="pic" sz="quarter" idx="15"/>
          </p:nvPr>
        </p:nvSpPr>
        <p:spPr>
          <a:xfrm>
            <a:off x="1538960" y="3617088"/>
            <a:ext cx="1281061" cy="1542737"/>
          </a:xfrm>
          <a:custGeom>
            <a:avLst/>
            <a:gdLst>
              <a:gd name="connsiteX0" fmla="*/ 0 w 2562456"/>
              <a:gd name="connsiteY0" fmla="*/ 0 h 3085473"/>
              <a:gd name="connsiteX1" fmla="*/ 2562456 w 2562456"/>
              <a:gd name="connsiteY1" fmla="*/ 0 h 3085473"/>
              <a:gd name="connsiteX2" fmla="*/ 2562456 w 2562456"/>
              <a:gd name="connsiteY2" fmla="*/ 3085473 h 3085473"/>
              <a:gd name="connsiteX3" fmla="*/ 0 w 2562456"/>
              <a:gd name="connsiteY3" fmla="*/ 3085473 h 3085473"/>
            </a:gdLst>
            <a:ahLst/>
            <a:cxnLst>
              <a:cxn ang="0">
                <a:pos x="connsiteX0" y="connsiteY0"/>
              </a:cxn>
              <a:cxn ang="0">
                <a:pos x="connsiteX1" y="connsiteY1"/>
              </a:cxn>
              <a:cxn ang="0">
                <a:pos x="connsiteX2" y="connsiteY2"/>
              </a:cxn>
              <a:cxn ang="0">
                <a:pos x="connsiteX3" y="connsiteY3"/>
              </a:cxn>
            </a:cxnLst>
            <a:rect l="l" t="t" r="r" b="b"/>
            <a:pathLst>
              <a:path w="2562456" h="3085473">
                <a:moveTo>
                  <a:pt x="0" y="0"/>
                </a:moveTo>
                <a:lnTo>
                  <a:pt x="2562456" y="0"/>
                </a:lnTo>
                <a:lnTo>
                  <a:pt x="2562456" y="3085473"/>
                </a:lnTo>
                <a:lnTo>
                  <a:pt x="0" y="3085473"/>
                </a:ln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
        <p:nvSpPr>
          <p:cNvPr id="11" name="Picture Placeholder 10">
            <a:extLst>
              <a:ext uri="{FF2B5EF4-FFF2-40B4-BE49-F238E27FC236}">
                <a16:creationId xmlns:a16="http://schemas.microsoft.com/office/drawing/2014/main" id="{C223C6C0-40B2-4B91-8B1C-E3376A7BC535}"/>
              </a:ext>
            </a:extLst>
          </p:cNvPr>
          <p:cNvSpPr>
            <a:spLocks noGrp="1"/>
          </p:cNvSpPr>
          <p:nvPr>
            <p:ph type="pic" sz="quarter" idx="16"/>
          </p:nvPr>
        </p:nvSpPr>
        <p:spPr>
          <a:xfrm>
            <a:off x="5949199" y="503585"/>
            <a:ext cx="1869580" cy="1855686"/>
          </a:xfrm>
          <a:custGeom>
            <a:avLst/>
            <a:gdLst>
              <a:gd name="connsiteX0" fmla="*/ 0 w 3739647"/>
              <a:gd name="connsiteY0" fmla="*/ 0 h 3711371"/>
              <a:gd name="connsiteX1" fmla="*/ 3739647 w 3739647"/>
              <a:gd name="connsiteY1" fmla="*/ 0 h 3711371"/>
              <a:gd name="connsiteX2" fmla="*/ 3739647 w 3739647"/>
              <a:gd name="connsiteY2" fmla="*/ 3711371 h 3711371"/>
              <a:gd name="connsiteX3" fmla="*/ 0 w 3739647"/>
              <a:gd name="connsiteY3" fmla="*/ 3711371 h 3711371"/>
            </a:gdLst>
            <a:ahLst/>
            <a:cxnLst>
              <a:cxn ang="0">
                <a:pos x="connsiteX0" y="connsiteY0"/>
              </a:cxn>
              <a:cxn ang="0">
                <a:pos x="connsiteX1" y="connsiteY1"/>
              </a:cxn>
              <a:cxn ang="0">
                <a:pos x="connsiteX2" y="connsiteY2"/>
              </a:cxn>
              <a:cxn ang="0">
                <a:pos x="connsiteX3" y="connsiteY3"/>
              </a:cxn>
            </a:cxnLst>
            <a:rect l="l" t="t" r="r" b="b"/>
            <a:pathLst>
              <a:path w="3739647" h="3711371">
                <a:moveTo>
                  <a:pt x="0" y="0"/>
                </a:moveTo>
                <a:lnTo>
                  <a:pt x="3739647" y="0"/>
                </a:lnTo>
                <a:lnTo>
                  <a:pt x="3739647" y="3711371"/>
                </a:lnTo>
                <a:lnTo>
                  <a:pt x="0" y="3711371"/>
                </a:ln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
        <p:nvSpPr>
          <p:cNvPr id="12" name="Picture Placeholder 11">
            <a:extLst>
              <a:ext uri="{FF2B5EF4-FFF2-40B4-BE49-F238E27FC236}">
                <a16:creationId xmlns:a16="http://schemas.microsoft.com/office/drawing/2014/main" id="{D0AAA611-0D8A-4CBD-84B9-375447BB51AB}"/>
              </a:ext>
            </a:extLst>
          </p:cNvPr>
          <p:cNvSpPr>
            <a:spLocks noGrp="1"/>
          </p:cNvSpPr>
          <p:nvPr>
            <p:ph type="pic" sz="quarter" idx="17"/>
          </p:nvPr>
        </p:nvSpPr>
        <p:spPr>
          <a:xfrm>
            <a:off x="5570055" y="4461938"/>
            <a:ext cx="1869580" cy="1084781"/>
          </a:xfrm>
          <a:custGeom>
            <a:avLst/>
            <a:gdLst>
              <a:gd name="connsiteX0" fmla="*/ 0 w 3739647"/>
              <a:gd name="connsiteY0" fmla="*/ 0 h 2169562"/>
              <a:gd name="connsiteX1" fmla="*/ 3739647 w 3739647"/>
              <a:gd name="connsiteY1" fmla="*/ 0 h 2169562"/>
              <a:gd name="connsiteX2" fmla="*/ 3739647 w 3739647"/>
              <a:gd name="connsiteY2" fmla="*/ 2169562 h 2169562"/>
              <a:gd name="connsiteX3" fmla="*/ 0 w 3739647"/>
              <a:gd name="connsiteY3" fmla="*/ 2169562 h 2169562"/>
            </a:gdLst>
            <a:ahLst/>
            <a:cxnLst>
              <a:cxn ang="0">
                <a:pos x="connsiteX0" y="connsiteY0"/>
              </a:cxn>
              <a:cxn ang="0">
                <a:pos x="connsiteX1" y="connsiteY1"/>
              </a:cxn>
              <a:cxn ang="0">
                <a:pos x="connsiteX2" y="connsiteY2"/>
              </a:cxn>
              <a:cxn ang="0">
                <a:pos x="connsiteX3" y="connsiteY3"/>
              </a:cxn>
            </a:cxnLst>
            <a:rect l="l" t="t" r="r" b="b"/>
            <a:pathLst>
              <a:path w="3739647" h="2169562">
                <a:moveTo>
                  <a:pt x="0" y="0"/>
                </a:moveTo>
                <a:lnTo>
                  <a:pt x="3739647" y="0"/>
                </a:lnTo>
                <a:lnTo>
                  <a:pt x="3739647" y="2169562"/>
                </a:lnTo>
                <a:lnTo>
                  <a:pt x="0" y="2169562"/>
                </a:ln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
        <p:nvSpPr>
          <p:cNvPr id="13" name="Picture Placeholder 12">
            <a:extLst>
              <a:ext uri="{FF2B5EF4-FFF2-40B4-BE49-F238E27FC236}">
                <a16:creationId xmlns:a16="http://schemas.microsoft.com/office/drawing/2014/main" id="{9EE5DA75-D57A-445B-800D-4D886BEE4E5A}"/>
              </a:ext>
            </a:extLst>
          </p:cNvPr>
          <p:cNvSpPr>
            <a:spLocks noGrp="1"/>
          </p:cNvSpPr>
          <p:nvPr>
            <p:ph type="pic" sz="quarter" idx="18"/>
          </p:nvPr>
        </p:nvSpPr>
        <p:spPr>
          <a:xfrm>
            <a:off x="8314024" y="3731007"/>
            <a:ext cx="1231893" cy="1205416"/>
          </a:xfrm>
          <a:custGeom>
            <a:avLst/>
            <a:gdLst>
              <a:gd name="connsiteX0" fmla="*/ 0 w 2464106"/>
              <a:gd name="connsiteY0" fmla="*/ 0 h 2410831"/>
              <a:gd name="connsiteX1" fmla="*/ 2464106 w 2464106"/>
              <a:gd name="connsiteY1" fmla="*/ 0 h 2410831"/>
              <a:gd name="connsiteX2" fmla="*/ 2464106 w 2464106"/>
              <a:gd name="connsiteY2" fmla="*/ 2410831 h 2410831"/>
              <a:gd name="connsiteX3" fmla="*/ 0 w 2464106"/>
              <a:gd name="connsiteY3" fmla="*/ 2410831 h 2410831"/>
            </a:gdLst>
            <a:ahLst/>
            <a:cxnLst>
              <a:cxn ang="0">
                <a:pos x="connsiteX0" y="connsiteY0"/>
              </a:cxn>
              <a:cxn ang="0">
                <a:pos x="connsiteX1" y="connsiteY1"/>
              </a:cxn>
              <a:cxn ang="0">
                <a:pos x="connsiteX2" y="connsiteY2"/>
              </a:cxn>
              <a:cxn ang="0">
                <a:pos x="connsiteX3" y="connsiteY3"/>
              </a:cxn>
            </a:cxnLst>
            <a:rect l="l" t="t" r="r" b="b"/>
            <a:pathLst>
              <a:path w="2464106" h="2410831">
                <a:moveTo>
                  <a:pt x="0" y="0"/>
                </a:moveTo>
                <a:lnTo>
                  <a:pt x="2464106" y="0"/>
                </a:lnTo>
                <a:lnTo>
                  <a:pt x="2464106" y="2410831"/>
                </a:lnTo>
                <a:lnTo>
                  <a:pt x="0" y="2410831"/>
                </a:ln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Tree>
    <p:extLst>
      <p:ext uri="{BB962C8B-B14F-4D97-AF65-F5344CB8AC3E}">
        <p14:creationId xmlns:p14="http://schemas.microsoft.com/office/powerpoint/2010/main" val="3082321958"/>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10" presetClass="entr" presetSubtype="0" dur="30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300"/>
                                        <p:tgtEl>
                                          <p:spTgt spid="10"/>
                                        </p:tgtEl>
                                      </p:cBhvr>
                                    </p:animEffect>
                                  </p:childTnLst>
                                </p:cTn>
                              </p:par>
                              <p:par>
                                <p:cTn id="8" presetID="10" presetClass="entr" presetSubtype="0" dur="300" fill="hold" grpId="0" nodeType="withEffect">
                                  <p:stCondLst>
                                    <p:cond delay="30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300"/>
                                        <p:tgtEl>
                                          <p:spTgt spid="12"/>
                                        </p:tgtEl>
                                      </p:cBhvr>
                                    </p:animEffect>
                                  </p:childTnLst>
                                </p:cTn>
                              </p:par>
                              <p:par>
                                <p:cTn id="11" presetID="10" presetClass="entr" presetSubtype="0" dur="300" fill="hold" grpId="0" nodeType="withEffect">
                                  <p:stCondLst>
                                    <p:cond delay="600"/>
                                  </p:stCondLst>
                                  <p:childTnLst>
                                    <p:set>
                                      <p:cBhvr>
                                        <p:cTn id="12" dur="1" fill="hold">
                                          <p:stCondLst>
                                            <p:cond delay="0"/>
                                          </p:stCondLst>
                                        </p:cTn>
                                        <p:tgtEl>
                                          <p:spTgt spid="11"/>
                                        </p:tgtEl>
                                        <p:attrNameLst>
                                          <p:attrName>style.visibility</p:attrName>
                                        </p:attrNameLst>
                                      </p:cBhvr>
                                      <p:to>
                                        <p:strVal val="visible"/>
                                      </p:to>
                                    </p:set>
                                    <p:animEffect transition="in" filter="fade">
                                      <p:cBhvr>
                                        <p:cTn id="13" dur="300"/>
                                        <p:tgtEl>
                                          <p:spTgt spid="11"/>
                                        </p:tgtEl>
                                      </p:cBhvr>
                                    </p:animEffect>
                                  </p:childTnLst>
                                </p:cTn>
                              </p:par>
                              <p:par>
                                <p:cTn id="14" presetID="10" presetClass="entr" presetSubtype="0" dur="300" fill="hold" grpId="0" nodeType="withEffect">
                                  <p:stCondLst>
                                    <p:cond delay="900"/>
                                  </p:stCondLst>
                                  <p:childTnLst>
                                    <p:set>
                                      <p:cBhvr>
                                        <p:cTn id="15" dur="1" fill="hold">
                                          <p:stCondLst>
                                            <p:cond delay="0"/>
                                          </p:stCondLst>
                                        </p:cTn>
                                        <p:tgtEl>
                                          <p:spTgt spid="13"/>
                                        </p:tgtEl>
                                        <p:attrNameLst>
                                          <p:attrName>style.visibility</p:attrName>
                                        </p:attrNameLst>
                                      </p:cBhvr>
                                      <p:to>
                                        <p:strVal val="visible"/>
                                      </p:to>
                                    </p:set>
                                    <p:animEffect transition="in" filter="fade">
                                      <p:cBhvr>
                                        <p:cTn id="16" dur="3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3" grpId="0" animBg="1"/>
    </p:bld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2" name="Picture Placeholder 7">
            <a:extLst>
              <a:ext uri="{FF2B5EF4-FFF2-40B4-BE49-F238E27FC236}">
                <a16:creationId xmlns:a16="http://schemas.microsoft.com/office/drawing/2014/main" id="{9BE362C5-03AE-447C-8B47-3D5F40463679}"/>
              </a:ext>
            </a:extLst>
          </p:cNvPr>
          <p:cNvSpPr>
            <a:spLocks noGrp="1"/>
          </p:cNvSpPr>
          <p:nvPr>
            <p:ph type="pic" sz="quarter" idx="15"/>
          </p:nvPr>
        </p:nvSpPr>
        <p:spPr>
          <a:xfrm>
            <a:off x="0" y="0"/>
            <a:ext cx="12192000" cy="6858000"/>
          </a:xfrm>
          <a:custGeom>
            <a:avLst/>
            <a:gdLst>
              <a:gd name="connsiteX0" fmla="*/ 0 w 10345056"/>
              <a:gd name="connsiteY0" fmla="*/ 0 h 10610851"/>
              <a:gd name="connsiteX1" fmla="*/ 10345056 w 10345056"/>
              <a:gd name="connsiteY1" fmla="*/ 0 h 10610851"/>
              <a:gd name="connsiteX2" fmla="*/ 10345056 w 10345056"/>
              <a:gd name="connsiteY2" fmla="*/ 10610851 h 10610851"/>
              <a:gd name="connsiteX3" fmla="*/ 0 w 10345056"/>
              <a:gd name="connsiteY3" fmla="*/ 10610851 h 10610851"/>
            </a:gdLst>
            <a:ahLst/>
            <a:cxnLst>
              <a:cxn ang="0">
                <a:pos x="connsiteX0" y="connsiteY0"/>
              </a:cxn>
              <a:cxn ang="0">
                <a:pos x="connsiteX1" y="connsiteY1"/>
              </a:cxn>
              <a:cxn ang="0">
                <a:pos x="connsiteX2" y="connsiteY2"/>
              </a:cxn>
              <a:cxn ang="0">
                <a:pos x="connsiteX3" y="connsiteY3"/>
              </a:cxn>
            </a:cxnLst>
            <a:rect l="l" t="t" r="r" b="b"/>
            <a:pathLst>
              <a:path w="10345056" h="10610851">
                <a:moveTo>
                  <a:pt x="0" y="0"/>
                </a:moveTo>
                <a:lnTo>
                  <a:pt x="10345056" y="0"/>
                </a:lnTo>
                <a:lnTo>
                  <a:pt x="10345056" y="10610851"/>
                </a:lnTo>
                <a:lnTo>
                  <a:pt x="0" y="10610851"/>
                </a:lnTo>
                <a:close/>
              </a:path>
            </a:pathLst>
          </a:custGeom>
          <a:blipFill dpi="0" rotWithShape="1">
            <a:blip r:embed="rId2"/>
            <a:stretch>
              <a:fillRect/>
            </a:stretch>
          </a:blipFill>
          <a:effectLst/>
        </p:spPr>
        <p:txBody>
          <a:bodyPr wrap="square" anchor="ctr">
            <a:noAutofit/>
          </a:bodyPr>
          <a:lstStyle>
            <a:lvl1pPr marL="0" indent="0" algn="ctr">
              <a:buFontTx/>
              <a:buNone/>
              <a:defRPr sz="1200"/>
            </a:lvl1pPr>
          </a:lstStyle>
          <a:p>
            <a:endParaRPr lang="en-US"/>
          </a:p>
        </p:txBody>
      </p:sp>
    </p:spTree>
    <p:extLst>
      <p:ext uri="{BB962C8B-B14F-4D97-AF65-F5344CB8AC3E}">
        <p14:creationId xmlns:p14="http://schemas.microsoft.com/office/powerpoint/2010/main" val="4188332149"/>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4" dur="2000" decel="10000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2000" fill="hold"/>
                                        <p:tgtEl>
                                          <p:spTgt spid="2"/>
                                        </p:tgtEl>
                                        <p:attrNameLst>
                                          <p:attrName>ppt_x</p:attrName>
                                        </p:attrNameLst>
                                      </p:cBhvr>
                                      <p:tavLst>
                                        <p:tav tm="0">
                                          <p:val>
                                            <p:strVal val="#ppt_x"/>
                                          </p:val>
                                        </p:tav>
                                        <p:tav tm="100000">
                                          <p:val>
                                            <p:strVal val="#ppt_x"/>
                                          </p:val>
                                        </p:tav>
                                      </p:tavLst>
                                    </p:anim>
                                    <p:anim calcmode="lin" valueType="num">
                                      <p:cBhvr additive="base">
                                        <p:cTn id="8" dur="2000" fill="hold"/>
                                        <p:tgtEl>
                                          <p:spTgt spid="2"/>
                                        </p:tgtEl>
                                        <p:attrNameLst>
                                          <p:attrName>ppt_y</p:attrName>
                                        </p:attrNameLst>
                                      </p:cBhvr>
                                      <p:tavLst>
                                        <p:tav tm="0">
                                          <p:val>
                                            <p:strVal val="1+#ppt_h/2"/>
                                          </p:val>
                                        </p:tav>
                                        <p:tav tm="100000">
                                          <p:val>
                                            <p:strVal val="#ppt_y"/>
                                          </p:val>
                                        </p:tav>
                                      </p:tavLst>
                                    </p:anim>
                                  </p:childTnLst>
                                </p:cTn>
                              </p:par>
                              <p:par>
                                <p:cTn id="9" presetID="6" presetClass="emph" presetSubtype="0" dur="500" accel="100000" fill="hold" grpId="1" nodeType="withEffect">
                                  <p:stCondLst>
                                    <p:cond delay="2000"/>
                                  </p:stCondLst>
                                  <p:childTnLst>
                                    <p:animScale>
                                      <p:cBhvr>
                                        <p:cTn id="10" dur="500" fill="hold"/>
                                        <p:tgtEl>
                                          <p:spTgt spid="2"/>
                                        </p:tgtEl>
                                      </p:cBhvr>
                                      <p:by x="90000" y="9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4_Custom Layout">
    <p:spTree>
      <p:nvGrpSpPr>
        <p:cNvPr id="1" name=""/>
        <p:cNvGrpSpPr/>
        <p:nvPr/>
      </p:nvGrpSpPr>
      <p:grpSpPr>
        <a:xfrm>
          <a:off x="0" y="0"/>
          <a:ext cx="0" cy="0"/>
          <a:chOff x="0" y="0"/>
          <a:chExt cx="0" cy="0"/>
        </a:xfrm>
      </p:grpSpPr>
      <p:sp>
        <p:nvSpPr>
          <p:cNvPr id="17" name="Picture Placeholder 75">
            <a:extLst>
              <a:ext uri="{FF2B5EF4-FFF2-40B4-BE49-F238E27FC236}">
                <a16:creationId xmlns:a16="http://schemas.microsoft.com/office/drawing/2014/main" id="{DE1F0CA1-994C-4B15-BD61-C1FC8BE244E3}"/>
              </a:ext>
            </a:extLst>
          </p:cNvPr>
          <p:cNvSpPr>
            <a:spLocks noGrp="1"/>
          </p:cNvSpPr>
          <p:nvPr>
            <p:ph type="pic" sz="quarter" idx="34"/>
          </p:nvPr>
        </p:nvSpPr>
        <p:spPr>
          <a:xfrm>
            <a:off x="5795324" y="-2019910"/>
            <a:ext cx="3973245" cy="2235242"/>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tx1">
              <a:alpha val="4000"/>
            </a:schemeClr>
          </a:solidFill>
          <a:effectLst>
            <a:outerShdw blurRad="876300" dist="787400" dir="2400000" algn="ctr" rotWithShape="0">
              <a:schemeClr val="tx1">
                <a:alpha val="34000"/>
              </a:schemeClr>
            </a:outerShdw>
            <a:reflection blurRad="76200" stA="48000" endPos="98000" dir="5400000" sy="-100000" algn="bl" rotWithShape="0"/>
          </a:effectLst>
          <a:scene3d>
            <a:camera prst="orthographicFront">
              <a:rot lat="19848000" lon="3234000" rev="17862000"/>
            </a:camera>
            <a:lightRig rig="soft" dir="t"/>
          </a:scene3d>
          <a:sp3d extrusionH="95250" prstMaterial="plastic"/>
        </p:spPr>
        <p:txBody>
          <a:bodyPr wrap="square" anchor="ctr">
            <a:noAutofit/>
          </a:bodyPr>
          <a:lstStyle>
            <a:lvl1pPr algn="ctr">
              <a:defRPr sz="1200"/>
            </a:lvl1pPr>
          </a:lstStyle>
          <a:p>
            <a:endParaRPr lang="en-US"/>
          </a:p>
        </p:txBody>
      </p:sp>
      <p:sp>
        <p:nvSpPr>
          <p:cNvPr id="18" name="Picture Placeholder 75">
            <a:extLst>
              <a:ext uri="{FF2B5EF4-FFF2-40B4-BE49-F238E27FC236}">
                <a16:creationId xmlns:a16="http://schemas.microsoft.com/office/drawing/2014/main" id="{CCDC6E92-1B4E-4F2A-BD85-917834D7D1BF}"/>
              </a:ext>
            </a:extLst>
          </p:cNvPr>
          <p:cNvSpPr>
            <a:spLocks noGrp="1"/>
          </p:cNvSpPr>
          <p:nvPr>
            <p:ph type="pic" sz="quarter" idx="35"/>
          </p:nvPr>
        </p:nvSpPr>
        <p:spPr>
          <a:xfrm>
            <a:off x="8398700" y="-594066"/>
            <a:ext cx="3973245" cy="2235242"/>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tx1">
              <a:alpha val="4000"/>
            </a:schemeClr>
          </a:solidFill>
          <a:effectLst>
            <a:outerShdw blurRad="876300" dist="787400" dir="2400000" algn="ctr" rotWithShape="0">
              <a:schemeClr val="tx1">
                <a:alpha val="34000"/>
              </a:schemeClr>
            </a:outerShdw>
            <a:reflection blurRad="76200" stA="48000" endPos="98000" dir="5400000" sy="-100000" algn="bl" rotWithShape="0"/>
          </a:effectLst>
          <a:scene3d>
            <a:camera prst="orthographicFront">
              <a:rot lat="19848000" lon="3234000" rev="17862000"/>
            </a:camera>
            <a:lightRig rig="soft" dir="t"/>
          </a:scene3d>
          <a:sp3d extrusionH="95250" prstMaterial="plastic"/>
        </p:spPr>
        <p:txBody>
          <a:bodyPr wrap="square" anchor="ctr">
            <a:noAutofit/>
          </a:bodyPr>
          <a:lstStyle>
            <a:lvl1pPr algn="ctr">
              <a:defRPr sz="1200"/>
            </a:lvl1pPr>
          </a:lstStyle>
          <a:p>
            <a:endParaRPr lang="en-US"/>
          </a:p>
        </p:txBody>
      </p:sp>
      <p:sp>
        <p:nvSpPr>
          <p:cNvPr id="19" name="Picture Placeholder 75">
            <a:extLst>
              <a:ext uri="{FF2B5EF4-FFF2-40B4-BE49-F238E27FC236}">
                <a16:creationId xmlns:a16="http://schemas.microsoft.com/office/drawing/2014/main" id="{60FE58BF-2882-4922-8BE2-DC5C806999A3}"/>
              </a:ext>
            </a:extLst>
          </p:cNvPr>
          <p:cNvSpPr>
            <a:spLocks noGrp="1"/>
          </p:cNvSpPr>
          <p:nvPr>
            <p:ph type="pic" sz="quarter" idx="36"/>
          </p:nvPr>
        </p:nvSpPr>
        <p:spPr>
          <a:xfrm>
            <a:off x="11002077" y="831779"/>
            <a:ext cx="3973245" cy="2235242"/>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tx1">
              <a:alpha val="4000"/>
            </a:schemeClr>
          </a:solidFill>
          <a:effectLst>
            <a:outerShdw blurRad="876300" dist="787400" dir="2400000" algn="ctr" rotWithShape="0">
              <a:schemeClr val="tx1">
                <a:alpha val="34000"/>
              </a:schemeClr>
            </a:outerShdw>
            <a:reflection blurRad="76200" stA="48000" endPos="98000" dir="5400000" sy="-100000" algn="bl" rotWithShape="0"/>
          </a:effectLst>
          <a:scene3d>
            <a:camera prst="orthographicFront">
              <a:rot lat="19848000" lon="3234000" rev="17862000"/>
            </a:camera>
            <a:lightRig rig="soft" dir="t"/>
          </a:scene3d>
          <a:sp3d extrusionH="95250" prstMaterial="plastic"/>
        </p:spPr>
        <p:txBody>
          <a:bodyPr wrap="square" anchor="ctr">
            <a:noAutofit/>
          </a:bodyPr>
          <a:lstStyle>
            <a:lvl1pPr algn="ctr">
              <a:defRPr sz="1200"/>
            </a:lvl1pPr>
          </a:lstStyle>
          <a:p>
            <a:endParaRPr lang="en-US"/>
          </a:p>
        </p:txBody>
      </p:sp>
      <p:sp>
        <p:nvSpPr>
          <p:cNvPr id="13" name="Picture Placeholder 75">
            <a:extLst>
              <a:ext uri="{FF2B5EF4-FFF2-40B4-BE49-F238E27FC236}">
                <a16:creationId xmlns:a16="http://schemas.microsoft.com/office/drawing/2014/main" id="{DFC0A416-BD43-4889-A746-153B68F952A1}"/>
              </a:ext>
            </a:extLst>
          </p:cNvPr>
          <p:cNvSpPr>
            <a:spLocks noGrp="1"/>
          </p:cNvSpPr>
          <p:nvPr>
            <p:ph type="pic" sz="quarter" idx="30"/>
          </p:nvPr>
        </p:nvSpPr>
        <p:spPr>
          <a:xfrm>
            <a:off x="3092594" y="-1470698"/>
            <a:ext cx="3973245" cy="2235242"/>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tx1">
              <a:alpha val="4000"/>
            </a:schemeClr>
          </a:solidFill>
          <a:effectLst>
            <a:outerShdw blurRad="876300" dist="787400" dir="2400000" algn="ctr" rotWithShape="0">
              <a:schemeClr val="tx1">
                <a:alpha val="34000"/>
              </a:schemeClr>
            </a:outerShdw>
            <a:reflection blurRad="76200" stA="48000" endPos="98000" dir="5400000" sy="-100000" algn="bl" rotWithShape="0"/>
          </a:effectLst>
          <a:scene3d>
            <a:camera prst="orthographicFront">
              <a:rot lat="19848000" lon="3234000" rev="17862000"/>
            </a:camera>
            <a:lightRig rig="soft" dir="t"/>
          </a:scene3d>
          <a:sp3d extrusionH="95250" prstMaterial="plastic"/>
        </p:spPr>
        <p:txBody>
          <a:bodyPr wrap="square" anchor="ctr">
            <a:noAutofit/>
          </a:bodyPr>
          <a:lstStyle>
            <a:lvl1pPr algn="ctr">
              <a:defRPr sz="1200"/>
            </a:lvl1pPr>
          </a:lstStyle>
          <a:p>
            <a:endParaRPr lang="en-US"/>
          </a:p>
        </p:txBody>
      </p:sp>
      <p:sp>
        <p:nvSpPr>
          <p:cNvPr id="14" name="Picture Placeholder 75">
            <a:extLst>
              <a:ext uri="{FF2B5EF4-FFF2-40B4-BE49-F238E27FC236}">
                <a16:creationId xmlns:a16="http://schemas.microsoft.com/office/drawing/2014/main" id="{0B4C680D-3D96-4F02-8FDE-6C344B4EA949}"/>
              </a:ext>
            </a:extLst>
          </p:cNvPr>
          <p:cNvSpPr>
            <a:spLocks noGrp="1"/>
          </p:cNvSpPr>
          <p:nvPr>
            <p:ph type="pic" sz="quarter" idx="31"/>
          </p:nvPr>
        </p:nvSpPr>
        <p:spPr>
          <a:xfrm>
            <a:off x="5695970" y="-44854"/>
            <a:ext cx="3973245" cy="2235242"/>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tx1">
              <a:alpha val="4000"/>
            </a:schemeClr>
          </a:solidFill>
          <a:effectLst>
            <a:outerShdw blurRad="876300" dist="787400" dir="2400000" algn="ctr" rotWithShape="0">
              <a:schemeClr val="tx1">
                <a:alpha val="34000"/>
              </a:schemeClr>
            </a:outerShdw>
            <a:reflection blurRad="76200" stA="48000" endPos="98000" dir="5400000" sy="-100000" algn="bl" rotWithShape="0"/>
          </a:effectLst>
          <a:scene3d>
            <a:camera prst="orthographicFront">
              <a:rot lat="19848000" lon="3234000" rev="17862000"/>
            </a:camera>
            <a:lightRig rig="soft" dir="t"/>
          </a:scene3d>
          <a:sp3d extrusionH="95250" prstMaterial="plastic"/>
        </p:spPr>
        <p:txBody>
          <a:bodyPr wrap="square" anchor="ctr">
            <a:noAutofit/>
          </a:bodyPr>
          <a:lstStyle>
            <a:lvl1pPr algn="ctr">
              <a:defRPr sz="1200"/>
            </a:lvl1pPr>
          </a:lstStyle>
          <a:p>
            <a:endParaRPr lang="en-US"/>
          </a:p>
        </p:txBody>
      </p:sp>
      <p:sp>
        <p:nvSpPr>
          <p:cNvPr id="15" name="Picture Placeholder 75">
            <a:extLst>
              <a:ext uri="{FF2B5EF4-FFF2-40B4-BE49-F238E27FC236}">
                <a16:creationId xmlns:a16="http://schemas.microsoft.com/office/drawing/2014/main" id="{0136ECC1-14F7-404A-BB65-765B022634A5}"/>
              </a:ext>
            </a:extLst>
          </p:cNvPr>
          <p:cNvSpPr>
            <a:spLocks noGrp="1"/>
          </p:cNvSpPr>
          <p:nvPr>
            <p:ph type="pic" sz="quarter" idx="32"/>
          </p:nvPr>
        </p:nvSpPr>
        <p:spPr>
          <a:xfrm>
            <a:off x="8307095" y="1365493"/>
            <a:ext cx="3973245" cy="2235242"/>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tx1">
              <a:alpha val="4000"/>
            </a:schemeClr>
          </a:solidFill>
          <a:effectLst>
            <a:outerShdw blurRad="876300" dist="787400" dir="2400000" algn="ctr" rotWithShape="0">
              <a:schemeClr val="tx1">
                <a:alpha val="34000"/>
              </a:schemeClr>
            </a:outerShdw>
            <a:reflection blurRad="76200" stA="48000" endPos="98000" dir="5400000" sy="-100000" algn="bl" rotWithShape="0"/>
          </a:effectLst>
          <a:scene3d>
            <a:camera prst="orthographicFront">
              <a:rot lat="19848000" lon="3234000" rev="17862000"/>
            </a:camera>
            <a:lightRig rig="soft" dir="t"/>
          </a:scene3d>
          <a:sp3d extrusionH="95250" prstMaterial="plastic"/>
        </p:spPr>
        <p:txBody>
          <a:bodyPr wrap="square" anchor="ctr">
            <a:noAutofit/>
          </a:bodyPr>
          <a:lstStyle>
            <a:lvl1pPr algn="ctr">
              <a:defRPr sz="1200"/>
            </a:lvl1pPr>
          </a:lstStyle>
          <a:p>
            <a:endParaRPr lang="en-US"/>
          </a:p>
        </p:txBody>
      </p:sp>
      <p:sp>
        <p:nvSpPr>
          <p:cNvPr id="16" name="Picture Placeholder 75">
            <a:extLst>
              <a:ext uri="{FF2B5EF4-FFF2-40B4-BE49-F238E27FC236}">
                <a16:creationId xmlns:a16="http://schemas.microsoft.com/office/drawing/2014/main" id="{61F32264-5F7E-4A46-97AB-AABAB86F1EA9}"/>
              </a:ext>
            </a:extLst>
          </p:cNvPr>
          <p:cNvSpPr>
            <a:spLocks noGrp="1"/>
          </p:cNvSpPr>
          <p:nvPr>
            <p:ph type="pic" sz="quarter" idx="33"/>
          </p:nvPr>
        </p:nvSpPr>
        <p:spPr>
          <a:xfrm>
            <a:off x="10911794" y="2784466"/>
            <a:ext cx="3973245" cy="2235242"/>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tx1">
              <a:alpha val="4000"/>
            </a:schemeClr>
          </a:solidFill>
          <a:effectLst>
            <a:outerShdw blurRad="876300" dist="787400" dir="2400000" algn="ctr" rotWithShape="0">
              <a:schemeClr val="tx1">
                <a:alpha val="34000"/>
              </a:schemeClr>
            </a:outerShdw>
            <a:reflection blurRad="76200" stA="48000" endPos="98000" dir="5400000" sy="-100000" algn="bl" rotWithShape="0"/>
          </a:effectLst>
          <a:scene3d>
            <a:camera prst="orthographicFront">
              <a:rot lat="19848000" lon="3234000" rev="17862000"/>
            </a:camera>
            <a:lightRig rig="soft" dir="t"/>
          </a:scene3d>
          <a:sp3d extrusionH="95250" prstMaterial="plastic"/>
        </p:spPr>
        <p:txBody>
          <a:bodyPr wrap="square" anchor="ctr">
            <a:noAutofit/>
          </a:bodyPr>
          <a:lstStyle>
            <a:lvl1pPr algn="ctr">
              <a:defRPr sz="1200"/>
            </a:lvl1pPr>
          </a:lstStyle>
          <a:p>
            <a:endParaRPr lang="en-US"/>
          </a:p>
        </p:txBody>
      </p:sp>
      <p:sp>
        <p:nvSpPr>
          <p:cNvPr id="2" name="Picture Placeholder 75">
            <a:extLst>
              <a:ext uri="{FF2B5EF4-FFF2-40B4-BE49-F238E27FC236}">
                <a16:creationId xmlns:a16="http://schemas.microsoft.com/office/drawing/2014/main" id="{35C81404-E27E-4F36-A623-E57FC83C04C2}"/>
              </a:ext>
            </a:extLst>
          </p:cNvPr>
          <p:cNvSpPr>
            <a:spLocks noGrp="1"/>
          </p:cNvSpPr>
          <p:nvPr>
            <p:ph type="pic" sz="quarter" idx="24"/>
          </p:nvPr>
        </p:nvSpPr>
        <p:spPr>
          <a:xfrm>
            <a:off x="151309" y="-1058251"/>
            <a:ext cx="3973245" cy="2235242"/>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tx1">
              <a:alpha val="4000"/>
            </a:schemeClr>
          </a:solidFill>
          <a:effectLst>
            <a:outerShdw blurRad="876300" dist="787400" dir="2400000" algn="ctr" rotWithShape="0">
              <a:schemeClr val="tx1">
                <a:alpha val="34000"/>
              </a:schemeClr>
            </a:outerShdw>
            <a:reflection blurRad="76200" stA="48000" endPos="98000" dir="5400000" sy="-100000" algn="bl" rotWithShape="0"/>
          </a:effectLst>
          <a:scene3d>
            <a:camera prst="orthographicFront">
              <a:rot lat="19848000" lon="3234000" rev="17862000"/>
            </a:camera>
            <a:lightRig rig="soft" dir="t"/>
          </a:scene3d>
          <a:sp3d extrusionH="95250" prstMaterial="plastic"/>
        </p:spPr>
        <p:txBody>
          <a:bodyPr wrap="square" anchor="ctr">
            <a:noAutofit/>
          </a:bodyPr>
          <a:lstStyle>
            <a:lvl1pPr algn="ctr">
              <a:defRPr sz="1200"/>
            </a:lvl1pPr>
          </a:lstStyle>
          <a:p>
            <a:endParaRPr lang="en-US"/>
          </a:p>
        </p:txBody>
      </p:sp>
      <p:sp>
        <p:nvSpPr>
          <p:cNvPr id="8" name="Picture Placeholder 75">
            <a:extLst>
              <a:ext uri="{FF2B5EF4-FFF2-40B4-BE49-F238E27FC236}">
                <a16:creationId xmlns:a16="http://schemas.microsoft.com/office/drawing/2014/main" id="{65B77482-57E1-46FD-913A-0092573AC5F1}"/>
              </a:ext>
            </a:extLst>
          </p:cNvPr>
          <p:cNvSpPr>
            <a:spLocks noGrp="1"/>
          </p:cNvSpPr>
          <p:nvPr>
            <p:ph type="pic" sz="quarter" idx="25"/>
          </p:nvPr>
        </p:nvSpPr>
        <p:spPr>
          <a:xfrm>
            <a:off x="2754685" y="367594"/>
            <a:ext cx="3973245" cy="2235242"/>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tx1">
              <a:alpha val="4000"/>
            </a:schemeClr>
          </a:solidFill>
          <a:effectLst>
            <a:outerShdw blurRad="876300" dist="787400" dir="2400000" algn="ctr" rotWithShape="0">
              <a:schemeClr val="tx1">
                <a:alpha val="34000"/>
              </a:schemeClr>
            </a:outerShdw>
            <a:reflection blurRad="76200" stA="48000" endPos="98000" dir="5400000" sy="-100000" algn="bl" rotWithShape="0"/>
          </a:effectLst>
          <a:scene3d>
            <a:camera prst="orthographicFront">
              <a:rot lat="19848000" lon="3234000" rev="17862000"/>
            </a:camera>
            <a:lightRig rig="soft" dir="t"/>
          </a:scene3d>
          <a:sp3d extrusionH="95250" prstMaterial="plastic"/>
        </p:spPr>
        <p:txBody>
          <a:bodyPr wrap="square" anchor="ctr">
            <a:noAutofit/>
          </a:bodyPr>
          <a:lstStyle>
            <a:lvl1pPr algn="ctr">
              <a:defRPr sz="1200"/>
            </a:lvl1pPr>
          </a:lstStyle>
          <a:p>
            <a:endParaRPr lang="en-US"/>
          </a:p>
        </p:txBody>
      </p:sp>
      <p:sp>
        <p:nvSpPr>
          <p:cNvPr id="9" name="Picture Placeholder 75">
            <a:extLst>
              <a:ext uri="{FF2B5EF4-FFF2-40B4-BE49-F238E27FC236}">
                <a16:creationId xmlns:a16="http://schemas.microsoft.com/office/drawing/2014/main" id="{B37A391A-9563-4D8D-9F81-AF2A558906BA}"/>
              </a:ext>
            </a:extLst>
          </p:cNvPr>
          <p:cNvSpPr>
            <a:spLocks noGrp="1"/>
          </p:cNvSpPr>
          <p:nvPr>
            <p:ph type="pic" sz="quarter" idx="26"/>
          </p:nvPr>
        </p:nvSpPr>
        <p:spPr>
          <a:xfrm>
            <a:off x="5358062" y="1793439"/>
            <a:ext cx="3973245" cy="2235242"/>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tx1">
              <a:alpha val="4000"/>
            </a:schemeClr>
          </a:solidFill>
          <a:effectLst>
            <a:outerShdw blurRad="876300" dist="787400" dir="2400000" algn="ctr" rotWithShape="0">
              <a:schemeClr val="tx1">
                <a:alpha val="34000"/>
              </a:schemeClr>
            </a:outerShdw>
            <a:reflection blurRad="76200" stA="48000" endPos="98000" dir="5400000" sy="-100000" algn="bl" rotWithShape="0"/>
          </a:effectLst>
          <a:scene3d>
            <a:camera prst="orthographicFront">
              <a:rot lat="19848000" lon="3234000" rev="17862000"/>
            </a:camera>
            <a:lightRig rig="soft" dir="t"/>
          </a:scene3d>
          <a:sp3d extrusionH="95250" prstMaterial="plastic"/>
        </p:spPr>
        <p:txBody>
          <a:bodyPr wrap="square" anchor="ctr">
            <a:noAutofit/>
          </a:bodyPr>
          <a:lstStyle>
            <a:lvl1pPr algn="ctr">
              <a:defRPr sz="1200"/>
            </a:lvl1pPr>
          </a:lstStyle>
          <a:p>
            <a:endParaRPr lang="en-US"/>
          </a:p>
        </p:txBody>
      </p:sp>
      <p:sp>
        <p:nvSpPr>
          <p:cNvPr id="10" name="Picture Placeholder 75">
            <a:extLst>
              <a:ext uri="{FF2B5EF4-FFF2-40B4-BE49-F238E27FC236}">
                <a16:creationId xmlns:a16="http://schemas.microsoft.com/office/drawing/2014/main" id="{905913FF-40D6-422E-AE96-62587D32CE1B}"/>
              </a:ext>
            </a:extLst>
          </p:cNvPr>
          <p:cNvSpPr>
            <a:spLocks noGrp="1"/>
          </p:cNvSpPr>
          <p:nvPr>
            <p:ph type="pic" sz="quarter" idx="27"/>
          </p:nvPr>
        </p:nvSpPr>
        <p:spPr>
          <a:xfrm>
            <a:off x="7969186" y="3203785"/>
            <a:ext cx="3973245" cy="2235242"/>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tx1">
              <a:alpha val="4000"/>
            </a:schemeClr>
          </a:solidFill>
          <a:effectLst>
            <a:outerShdw blurRad="876300" dist="787400" dir="2400000" algn="ctr" rotWithShape="0">
              <a:schemeClr val="tx1">
                <a:alpha val="34000"/>
              </a:schemeClr>
            </a:outerShdw>
            <a:reflection blurRad="76200" stA="48000" endPos="98000" dir="5400000" sy="-100000" algn="bl" rotWithShape="0"/>
          </a:effectLst>
          <a:scene3d>
            <a:camera prst="orthographicFront">
              <a:rot lat="19848000" lon="3234000" rev="17862000"/>
            </a:camera>
            <a:lightRig rig="soft" dir="t"/>
          </a:scene3d>
          <a:sp3d extrusionH="95250" prstMaterial="plastic"/>
        </p:spPr>
        <p:txBody>
          <a:bodyPr wrap="square" anchor="ctr">
            <a:noAutofit/>
          </a:bodyPr>
          <a:lstStyle>
            <a:lvl1pPr algn="ctr">
              <a:defRPr sz="1200"/>
            </a:lvl1pPr>
          </a:lstStyle>
          <a:p>
            <a:endParaRPr lang="en-US"/>
          </a:p>
        </p:txBody>
      </p:sp>
      <p:sp>
        <p:nvSpPr>
          <p:cNvPr id="11" name="Picture Placeholder 75">
            <a:extLst>
              <a:ext uri="{FF2B5EF4-FFF2-40B4-BE49-F238E27FC236}">
                <a16:creationId xmlns:a16="http://schemas.microsoft.com/office/drawing/2014/main" id="{139B3716-743D-4E4C-8E9E-28622348549F}"/>
              </a:ext>
            </a:extLst>
          </p:cNvPr>
          <p:cNvSpPr>
            <a:spLocks noGrp="1"/>
          </p:cNvSpPr>
          <p:nvPr>
            <p:ph type="pic" sz="quarter" idx="28"/>
          </p:nvPr>
        </p:nvSpPr>
        <p:spPr>
          <a:xfrm>
            <a:off x="10573886" y="4622758"/>
            <a:ext cx="3973245" cy="2235242"/>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tx1">
              <a:alpha val="4000"/>
            </a:schemeClr>
          </a:solidFill>
          <a:effectLst>
            <a:outerShdw blurRad="876300" dist="787400" dir="2400000" algn="ctr" rotWithShape="0">
              <a:schemeClr val="tx1">
                <a:alpha val="34000"/>
              </a:schemeClr>
            </a:outerShdw>
            <a:reflection blurRad="76200" stA="48000" endPos="98000" dir="5400000" sy="-100000" algn="bl" rotWithShape="0"/>
          </a:effectLst>
          <a:scene3d>
            <a:camera prst="orthographicFront">
              <a:rot lat="19848000" lon="3234000" rev="17862000"/>
            </a:camera>
            <a:lightRig rig="soft" dir="t"/>
          </a:scene3d>
          <a:sp3d extrusionH="95250" prstMaterial="plastic"/>
        </p:spPr>
        <p:txBody>
          <a:bodyPr wrap="square" anchor="ctr">
            <a:noAutofit/>
          </a:bodyPr>
          <a:lstStyle>
            <a:lvl1pPr algn="ctr">
              <a:defRPr sz="1200"/>
            </a:lvl1pPr>
          </a:lstStyle>
          <a:p>
            <a:endParaRPr lang="en-US"/>
          </a:p>
        </p:txBody>
      </p:sp>
    </p:spTree>
    <p:extLst>
      <p:ext uri="{BB962C8B-B14F-4D97-AF65-F5344CB8AC3E}">
        <p14:creationId xmlns:p14="http://schemas.microsoft.com/office/powerpoint/2010/main" val="780117625"/>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4" dur="1500" decel="10000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 calcmode="lin" valueType="num">
                                      <p:cBhvr additive="base">
                                        <p:cTn id="7" dur="1500" fill="hold"/>
                                        <p:tgtEl>
                                          <p:spTgt spid="17"/>
                                        </p:tgtEl>
                                        <p:attrNameLst>
                                          <p:attrName>ppt_x</p:attrName>
                                        </p:attrNameLst>
                                      </p:cBhvr>
                                      <p:tavLst>
                                        <p:tav tm="0">
                                          <p:val>
                                            <p:strVal val="#ppt_x"/>
                                          </p:val>
                                        </p:tav>
                                        <p:tav tm="100000">
                                          <p:val>
                                            <p:strVal val="#ppt_x"/>
                                          </p:val>
                                        </p:tav>
                                      </p:tavLst>
                                    </p:anim>
                                    <p:anim calcmode="lin" valueType="num">
                                      <p:cBhvr additive="base">
                                        <p:cTn id="8" dur="1500" fill="hold"/>
                                        <p:tgtEl>
                                          <p:spTgt spid="17"/>
                                        </p:tgtEl>
                                        <p:attrNameLst>
                                          <p:attrName>ppt_y</p:attrName>
                                        </p:attrNameLst>
                                      </p:cBhvr>
                                      <p:tavLst>
                                        <p:tav tm="0">
                                          <p:val>
                                            <p:strVal val="1+#ppt_h/2"/>
                                          </p:val>
                                        </p:tav>
                                        <p:tav tm="100000">
                                          <p:val>
                                            <p:strVal val="#ppt_y"/>
                                          </p:val>
                                        </p:tav>
                                      </p:tavLst>
                                    </p:anim>
                                  </p:childTnLst>
                                </p:cTn>
                              </p:par>
                              <p:par>
                                <p:cTn id="9" presetID="2" presetClass="entr" presetSubtype="4" dur="1500" decel="100000" fill="hold" grpId="0" nodeType="withEffect">
                                  <p:stCondLst>
                                    <p:cond delay="100"/>
                                  </p:stCondLst>
                                  <p:childTnLst>
                                    <p:set>
                                      <p:cBhvr>
                                        <p:cTn id="10" dur="1" fill="hold">
                                          <p:stCondLst>
                                            <p:cond delay="0"/>
                                          </p:stCondLst>
                                        </p:cTn>
                                        <p:tgtEl>
                                          <p:spTgt spid="18"/>
                                        </p:tgtEl>
                                        <p:attrNameLst>
                                          <p:attrName>style.visibility</p:attrName>
                                        </p:attrNameLst>
                                      </p:cBhvr>
                                      <p:to>
                                        <p:strVal val="visible"/>
                                      </p:to>
                                    </p:set>
                                    <p:anim calcmode="lin" valueType="num">
                                      <p:cBhvr additive="base">
                                        <p:cTn id="11" dur="1500" fill="hold"/>
                                        <p:tgtEl>
                                          <p:spTgt spid="18"/>
                                        </p:tgtEl>
                                        <p:attrNameLst>
                                          <p:attrName>ppt_x</p:attrName>
                                        </p:attrNameLst>
                                      </p:cBhvr>
                                      <p:tavLst>
                                        <p:tav tm="0">
                                          <p:val>
                                            <p:strVal val="#ppt_x"/>
                                          </p:val>
                                        </p:tav>
                                        <p:tav tm="100000">
                                          <p:val>
                                            <p:strVal val="#ppt_x"/>
                                          </p:val>
                                        </p:tav>
                                      </p:tavLst>
                                    </p:anim>
                                    <p:anim calcmode="lin" valueType="num">
                                      <p:cBhvr additive="base">
                                        <p:cTn id="12" dur="1500" fill="hold"/>
                                        <p:tgtEl>
                                          <p:spTgt spid="18"/>
                                        </p:tgtEl>
                                        <p:attrNameLst>
                                          <p:attrName>ppt_y</p:attrName>
                                        </p:attrNameLst>
                                      </p:cBhvr>
                                      <p:tavLst>
                                        <p:tav tm="0">
                                          <p:val>
                                            <p:strVal val="1+#ppt_h/2"/>
                                          </p:val>
                                        </p:tav>
                                        <p:tav tm="100000">
                                          <p:val>
                                            <p:strVal val="#ppt_y"/>
                                          </p:val>
                                        </p:tav>
                                      </p:tavLst>
                                    </p:anim>
                                  </p:childTnLst>
                                </p:cTn>
                              </p:par>
                              <p:par>
                                <p:cTn id="13" presetID="2" presetClass="entr" presetSubtype="4" dur="1500" decel="100000" fill="hold" grpId="0" nodeType="withEffect">
                                  <p:stCondLst>
                                    <p:cond delay="200"/>
                                  </p:stCondLst>
                                  <p:childTnLst>
                                    <p:set>
                                      <p:cBhvr>
                                        <p:cTn id="14" dur="1" fill="hold">
                                          <p:stCondLst>
                                            <p:cond delay="0"/>
                                          </p:stCondLst>
                                        </p:cTn>
                                        <p:tgtEl>
                                          <p:spTgt spid="19"/>
                                        </p:tgtEl>
                                        <p:attrNameLst>
                                          <p:attrName>style.visibility</p:attrName>
                                        </p:attrNameLst>
                                      </p:cBhvr>
                                      <p:to>
                                        <p:strVal val="visible"/>
                                      </p:to>
                                    </p:set>
                                    <p:anim calcmode="lin" valueType="num">
                                      <p:cBhvr additive="base">
                                        <p:cTn id="15" dur="1500" fill="hold"/>
                                        <p:tgtEl>
                                          <p:spTgt spid="19"/>
                                        </p:tgtEl>
                                        <p:attrNameLst>
                                          <p:attrName>ppt_x</p:attrName>
                                        </p:attrNameLst>
                                      </p:cBhvr>
                                      <p:tavLst>
                                        <p:tav tm="0">
                                          <p:val>
                                            <p:strVal val="#ppt_x"/>
                                          </p:val>
                                        </p:tav>
                                        <p:tav tm="100000">
                                          <p:val>
                                            <p:strVal val="#ppt_x"/>
                                          </p:val>
                                        </p:tav>
                                      </p:tavLst>
                                    </p:anim>
                                    <p:anim calcmode="lin" valueType="num">
                                      <p:cBhvr additive="base">
                                        <p:cTn id="16" dur="1500" fill="hold"/>
                                        <p:tgtEl>
                                          <p:spTgt spid="19"/>
                                        </p:tgtEl>
                                        <p:attrNameLst>
                                          <p:attrName>ppt_y</p:attrName>
                                        </p:attrNameLst>
                                      </p:cBhvr>
                                      <p:tavLst>
                                        <p:tav tm="0">
                                          <p:val>
                                            <p:strVal val="1+#ppt_h/2"/>
                                          </p:val>
                                        </p:tav>
                                        <p:tav tm="100000">
                                          <p:val>
                                            <p:strVal val="#ppt_y"/>
                                          </p:val>
                                        </p:tav>
                                      </p:tavLst>
                                    </p:anim>
                                  </p:childTnLst>
                                </p:cTn>
                              </p:par>
                              <p:par>
                                <p:cTn id="17" presetID="2" presetClass="entr" presetSubtype="4" dur="1500" decel="100000" fill="hold" grpId="0" nodeType="withEffect">
                                  <p:stCondLst>
                                    <p:cond delay="300"/>
                                  </p:stCondLst>
                                  <p:childTnLst>
                                    <p:set>
                                      <p:cBhvr>
                                        <p:cTn id="18" dur="1" fill="hold">
                                          <p:stCondLst>
                                            <p:cond delay="0"/>
                                          </p:stCondLst>
                                        </p:cTn>
                                        <p:tgtEl>
                                          <p:spTgt spid="13"/>
                                        </p:tgtEl>
                                        <p:attrNameLst>
                                          <p:attrName>style.visibility</p:attrName>
                                        </p:attrNameLst>
                                      </p:cBhvr>
                                      <p:to>
                                        <p:strVal val="visible"/>
                                      </p:to>
                                    </p:set>
                                    <p:anim calcmode="lin" valueType="num">
                                      <p:cBhvr additive="base">
                                        <p:cTn id="19" dur="1500" fill="hold"/>
                                        <p:tgtEl>
                                          <p:spTgt spid="13"/>
                                        </p:tgtEl>
                                        <p:attrNameLst>
                                          <p:attrName>ppt_x</p:attrName>
                                        </p:attrNameLst>
                                      </p:cBhvr>
                                      <p:tavLst>
                                        <p:tav tm="0">
                                          <p:val>
                                            <p:strVal val="#ppt_x"/>
                                          </p:val>
                                        </p:tav>
                                        <p:tav tm="100000">
                                          <p:val>
                                            <p:strVal val="#ppt_x"/>
                                          </p:val>
                                        </p:tav>
                                      </p:tavLst>
                                    </p:anim>
                                    <p:anim calcmode="lin" valueType="num">
                                      <p:cBhvr additive="base">
                                        <p:cTn id="20" dur="1500" fill="hold"/>
                                        <p:tgtEl>
                                          <p:spTgt spid="13"/>
                                        </p:tgtEl>
                                        <p:attrNameLst>
                                          <p:attrName>ppt_y</p:attrName>
                                        </p:attrNameLst>
                                      </p:cBhvr>
                                      <p:tavLst>
                                        <p:tav tm="0">
                                          <p:val>
                                            <p:strVal val="1+#ppt_h/2"/>
                                          </p:val>
                                        </p:tav>
                                        <p:tav tm="100000">
                                          <p:val>
                                            <p:strVal val="#ppt_y"/>
                                          </p:val>
                                        </p:tav>
                                      </p:tavLst>
                                    </p:anim>
                                  </p:childTnLst>
                                </p:cTn>
                              </p:par>
                              <p:par>
                                <p:cTn id="21" presetID="2" presetClass="entr" presetSubtype="4" dur="1500" decel="100000" fill="hold" grpId="0" nodeType="withEffect">
                                  <p:stCondLst>
                                    <p:cond delay="400"/>
                                  </p:stCondLst>
                                  <p:childTnLst>
                                    <p:set>
                                      <p:cBhvr>
                                        <p:cTn id="22" dur="1" fill="hold">
                                          <p:stCondLst>
                                            <p:cond delay="0"/>
                                          </p:stCondLst>
                                        </p:cTn>
                                        <p:tgtEl>
                                          <p:spTgt spid="14"/>
                                        </p:tgtEl>
                                        <p:attrNameLst>
                                          <p:attrName>style.visibility</p:attrName>
                                        </p:attrNameLst>
                                      </p:cBhvr>
                                      <p:to>
                                        <p:strVal val="visible"/>
                                      </p:to>
                                    </p:set>
                                    <p:anim calcmode="lin" valueType="num">
                                      <p:cBhvr additive="base">
                                        <p:cTn id="23" dur="1500" fill="hold"/>
                                        <p:tgtEl>
                                          <p:spTgt spid="14"/>
                                        </p:tgtEl>
                                        <p:attrNameLst>
                                          <p:attrName>ppt_x</p:attrName>
                                        </p:attrNameLst>
                                      </p:cBhvr>
                                      <p:tavLst>
                                        <p:tav tm="0">
                                          <p:val>
                                            <p:strVal val="#ppt_x"/>
                                          </p:val>
                                        </p:tav>
                                        <p:tav tm="100000">
                                          <p:val>
                                            <p:strVal val="#ppt_x"/>
                                          </p:val>
                                        </p:tav>
                                      </p:tavLst>
                                    </p:anim>
                                    <p:anim calcmode="lin" valueType="num">
                                      <p:cBhvr additive="base">
                                        <p:cTn id="24" dur="1500" fill="hold"/>
                                        <p:tgtEl>
                                          <p:spTgt spid="14"/>
                                        </p:tgtEl>
                                        <p:attrNameLst>
                                          <p:attrName>ppt_y</p:attrName>
                                        </p:attrNameLst>
                                      </p:cBhvr>
                                      <p:tavLst>
                                        <p:tav tm="0">
                                          <p:val>
                                            <p:strVal val="1+#ppt_h/2"/>
                                          </p:val>
                                        </p:tav>
                                        <p:tav tm="100000">
                                          <p:val>
                                            <p:strVal val="#ppt_y"/>
                                          </p:val>
                                        </p:tav>
                                      </p:tavLst>
                                    </p:anim>
                                  </p:childTnLst>
                                </p:cTn>
                              </p:par>
                              <p:par>
                                <p:cTn id="25" presetID="2" presetClass="entr" presetSubtype="4" dur="1500" decel="100000" fill="hold" grpId="0" nodeType="withEffect">
                                  <p:stCondLst>
                                    <p:cond delay="500"/>
                                  </p:stCondLst>
                                  <p:childTnLst>
                                    <p:set>
                                      <p:cBhvr>
                                        <p:cTn id="26" dur="1" fill="hold">
                                          <p:stCondLst>
                                            <p:cond delay="0"/>
                                          </p:stCondLst>
                                        </p:cTn>
                                        <p:tgtEl>
                                          <p:spTgt spid="15"/>
                                        </p:tgtEl>
                                        <p:attrNameLst>
                                          <p:attrName>style.visibility</p:attrName>
                                        </p:attrNameLst>
                                      </p:cBhvr>
                                      <p:to>
                                        <p:strVal val="visible"/>
                                      </p:to>
                                    </p:set>
                                    <p:anim calcmode="lin" valueType="num">
                                      <p:cBhvr additive="base">
                                        <p:cTn id="27" dur="1500" fill="hold"/>
                                        <p:tgtEl>
                                          <p:spTgt spid="15"/>
                                        </p:tgtEl>
                                        <p:attrNameLst>
                                          <p:attrName>ppt_x</p:attrName>
                                        </p:attrNameLst>
                                      </p:cBhvr>
                                      <p:tavLst>
                                        <p:tav tm="0">
                                          <p:val>
                                            <p:strVal val="#ppt_x"/>
                                          </p:val>
                                        </p:tav>
                                        <p:tav tm="100000">
                                          <p:val>
                                            <p:strVal val="#ppt_x"/>
                                          </p:val>
                                        </p:tav>
                                      </p:tavLst>
                                    </p:anim>
                                    <p:anim calcmode="lin" valueType="num">
                                      <p:cBhvr additive="base">
                                        <p:cTn id="28" dur="1500" fill="hold"/>
                                        <p:tgtEl>
                                          <p:spTgt spid="15"/>
                                        </p:tgtEl>
                                        <p:attrNameLst>
                                          <p:attrName>ppt_y</p:attrName>
                                        </p:attrNameLst>
                                      </p:cBhvr>
                                      <p:tavLst>
                                        <p:tav tm="0">
                                          <p:val>
                                            <p:strVal val="1+#ppt_h/2"/>
                                          </p:val>
                                        </p:tav>
                                        <p:tav tm="100000">
                                          <p:val>
                                            <p:strVal val="#ppt_y"/>
                                          </p:val>
                                        </p:tav>
                                      </p:tavLst>
                                    </p:anim>
                                  </p:childTnLst>
                                </p:cTn>
                              </p:par>
                              <p:par>
                                <p:cTn id="29" presetID="2" presetClass="entr" presetSubtype="4" dur="1500" decel="100000" fill="hold" grpId="0" nodeType="withEffect">
                                  <p:stCondLst>
                                    <p:cond delay="600"/>
                                  </p:stCondLst>
                                  <p:childTnLst>
                                    <p:set>
                                      <p:cBhvr>
                                        <p:cTn id="30" dur="1" fill="hold">
                                          <p:stCondLst>
                                            <p:cond delay="0"/>
                                          </p:stCondLst>
                                        </p:cTn>
                                        <p:tgtEl>
                                          <p:spTgt spid="16"/>
                                        </p:tgtEl>
                                        <p:attrNameLst>
                                          <p:attrName>style.visibility</p:attrName>
                                        </p:attrNameLst>
                                      </p:cBhvr>
                                      <p:to>
                                        <p:strVal val="visible"/>
                                      </p:to>
                                    </p:set>
                                    <p:anim calcmode="lin" valueType="num">
                                      <p:cBhvr additive="base">
                                        <p:cTn id="31" dur="1500" fill="hold"/>
                                        <p:tgtEl>
                                          <p:spTgt spid="16"/>
                                        </p:tgtEl>
                                        <p:attrNameLst>
                                          <p:attrName>ppt_x</p:attrName>
                                        </p:attrNameLst>
                                      </p:cBhvr>
                                      <p:tavLst>
                                        <p:tav tm="0">
                                          <p:val>
                                            <p:strVal val="#ppt_x"/>
                                          </p:val>
                                        </p:tav>
                                        <p:tav tm="100000">
                                          <p:val>
                                            <p:strVal val="#ppt_x"/>
                                          </p:val>
                                        </p:tav>
                                      </p:tavLst>
                                    </p:anim>
                                    <p:anim calcmode="lin" valueType="num">
                                      <p:cBhvr additive="base">
                                        <p:cTn id="32" dur="1500" fill="hold"/>
                                        <p:tgtEl>
                                          <p:spTgt spid="16"/>
                                        </p:tgtEl>
                                        <p:attrNameLst>
                                          <p:attrName>ppt_y</p:attrName>
                                        </p:attrNameLst>
                                      </p:cBhvr>
                                      <p:tavLst>
                                        <p:tav tm="0">
                                          <p:val>
                                            <p:strVal val="1+#ppt_h/2"/>
                                          </p:val>
                                        </p:tav>
                                        <p:tav tm="100000">
                                          <p:val>
                                            <p:strVal val="#ppt_y"/>
                                          </p:val>
                                        </p:tav>
                                      </p:tavLst>
                                    </p:anim>
                                  </p:childTnLst>
                                </p:cTn>
                              </p:par>
                              <p:par>
                                <p:cTn id="33" presetID="2" presetClass="entr" presetSubtype="4" dur="1500" decel="100000" fill="hold" grpId="0" nodeType="withEffect">
                                  <p:stCondLst>
                                    <p:cond delay="700"/>
                                  </p:stCondLst>
                                  <p:childTnLst>
                                    <p:set>
                                      <p:cBhvr>
                                        <p:cTn id="34" dur="1" fill="hold">
                                          <p:stCondLst>
                                            <p:cond delay="0"/>
                                          </p:stCondLst>
                                        </p:cTn>
                                        <p:tgtEl>
                                          <p:spTgt spid="2"/>
                                        </p:tgtEl>
                                        <p:attrNameLst>
                                          <p:attrName>style.visibility</p:attrName>
                                        </p:attrNameLst>
                                      </p:cBhvr>
                                      <p:to>
                                        <p:strVal val="visible"/>
                                      </p:to>
                                    </p:set>
                                    <p:anim calcmode="lin" valueType="num">
                                      <p:cBhvr additive="base">
                                        <p:cTn id="35" dur="1500" fill="hold"/>
                                        <p:tgtEl>
                                          <p:spTgt spid="2"/>
                                        </p:tgtEl>
                                        <p:attrNameLst>
                                          <p:attrName>ppt_x</p:attrName>
                                        </p:attrNameLst>
                                      </p:cBhvr>
                                      <p:tavLst>
                                        <p:tav tm="0">
                                          <p:val>
                                            <p:strVal val="#ppt_x"/>
                                          </p:val>
                                        </p:tav>
                                        <p:tav tm="100000">
                                          <p:val>
                                            <p:strVal val="#ppt_x"/>
                                          </p:val>
                                        </p:tav>
                                      </p:tavLst>
                                    </p:anim>
                                    <p:anim calcmode="lin" valueType="num">
                                      <p:cBhvr additive="base">
                                        <p:cTn id="36" dur="1500" fill="hold"/>
                                        <p:tgtEl>
                                          <p:spTgt spid="2"/>
                                        </p:tgtEl>
                                        <p:attrNameLst>
                                          <p:attrName>ppt_y</p:attrName>
                                        </p:attrNameLst>
                                      </p:cBhvr>
                                      <p:tavLst>
                                        <p:tav tm="0">
                                          <p:val>
                                            <p:strVal val="1+#ppt_h/2"/>
                                          </p:val>
                                        </p:tav>
                                        <p:tav tm="100000">
                                          <p:val>
                                            <p:strVal val="#ppt_y"/>
                                          </p:val>
                                        </p:tav>
                                      </p:tavLst>
                                    </p:anim>
                                  </p:childTnLst>
                                </p:cTn>
                              </p:par>
                              <p:par>
                                <p:cTn id="37" presetID="2" presetClass="entr" presetSubtype="4" dur="1500" decel="100000" fill="hold" grpId="0" nodeType="withEffect">
                                  <p:stCondLst>
                                    <p:cond delay="800"/>
                                  </p:stCondLst>
                                  <p:childTnLst>
                                    <p:set>
                                      <p:cBhvr>
                                        <p:cTn id="38" dur="1" fill="hold">
                                          <p:stCondLst>
                                            <p:cond delay="0"/>
                                          </p:stCondLst>
                                        </p:cTn>
                                        <p:tgtEl>
                                          <p:spTgt spid="8"/>
                                        </p:tgtEl>
                                        <p:attrNameLst>
                                          <p:attrName>style.visibility</p:attrName>
                                        </p:attrNameLst>
                                      </p:cBhvr>
                                      <p:to>
                                        <p:strVal val="visible"/>
                                      </p:to>
                                    </p:set>
                                    <p:anim calcmode="lin" valueType="num">
                                      <p:cBhvr additive="base">
                                        <p:cTn id="39" dur="1500" fill="hold"/>
                                        <p:tgtEl>
                                          <p:spTgt spid="8"/>
                                        </p:tgtEl>
                                        <p:attrNameLst>
                                          <p:attrName>ppt_x</p:attrName>
                                        </p:attrNameLst>
                                      </p:cBhvr>
                                      <p:tavLst>
                                        <p:tav tm="0">
                                          <p:val>
                                            <p:strVal val="#ppt_x"/>
                                          </p:val>
                                        </p:tav>
                                        <p:tav tm="100000">
                                          <p:val>
                                            <p:strVal val="#ppt_x"/>
                                          </p:val>
                                        </p:tav>
                                      </p:tavLst>
                                    </p:anim>
                                    <p:anim calcmode="lin" valueType="num">
                                      <p:cBhvr additive="base">
                                        <p:cTn id="40" dur="1500" fill="hold"/>
                                        <p:tgtEl>
                                          <p:spTgt spid="8"/>
                                        </p:tgtEl>
                                        <p:attrNameLst>
                                          <p:attrName>ppt_y</p:attrName>
                                        </p:attrNameLst>
                                      </p:cBhvr>
                                      <p:tavLst>
                                        <p:tav tm="0">
                                          <p:val>
                                            <p:strVal val="1+#ppt_h/2"/>
                                          </p:val>
                                        </p:tav>
                                        <p:tav tm="100000">
                                          <p:val>
                                            <p:strVal val="#ppt_y"/>
                                          </p:val>
                                        </p:tav>
                                      </p:tavLst>
                                    </p:anim>
                                  </p:childTnLst>
                                </p:cTn>
                              </p:par>
                              <p:par>
                                <p:cTn id="41" presetID="2" presetClass="entr" presetSubtype="4" dur="1500" decel="100000" fill="hold" grpId="0" nodeType="withEffect">
                                  <p:stCondLst>
                                    <p:cond delay="900"/>
                                  </p:stCondLst>
                                  <p:childTnLst>
                                    <p:set>
                                      <p:cBhvr>
                                        <p:cTn id="42" dur="1" fill="hold">
                                          <p:stCondLst>
                                            <p:cond delay="0"/>
                                          </p:stCondLst>
                                        </p:cTn>
                                        <p:tgtEl>
                                          <p:spTgt spid="9"/>
                                        </p:tgtEl>
                                        <p:attrNameLst>
                                          <p:attrName>style.visibility</p:attrName>
                                        </p:attrNameLst>
                                      </p:cBhvr>
                                      <p:to>
                                        <p:strVal val="visible"/>
                                      </p:to>
                                    </p:set>
                                    <p:anim calcmode="lin" valueType="num">
                                      <p:cBhvr additive="base">
                                        <p:cTn id="43" dur="1500" fill="hold"/>
                                        <p:tgtEl>
                                          <p:spTgt spid="9"/>
                                        </p:tgtEl>
                                        <p:attrNameLst>
                                          <p:attrName>ppt_x</p:attrName>
                                        </p:attrNameLst>
                                      </p:cBhvr>
                                      <p:tavLst>
                                        <p:tav tm="0">
                                          <p:val>
                                            <p:strVal val="#ppt_x"/>
                                          </p:val>
                                        </p:tav>
                                        <p:tav tm="100000">
                                          <p:val>
                                            <p:strVal val="#ppt_x"/>
                                          </p:val>
                                        </p:tav>
                                      </p:tavLst>
                                    </p:anim>
                                    <p:anim calcmode="lin" valueType="num">
                                      <p:cBhvr additive="base">
                                        <p:cTn id="44" dur="1500" fill="hold"/>
                                        <p:tgtEl>
                                          <p:spTgt spid="9"/>
                                        </p:tgtEl>
                                        <p:attrNameLst>
                                          <p:attrName>ppt_y</p:attrName>
                                        </p:attrNameLst>
                                      </p:cBhvr>
                                      <p:tavLst>
                                        <p:tav tm="0">
                                          <p:val>
                                            <p:strVal val="1+#ppt_h/2"/>
                                          </p:val>
                                        </p:tav>
                                        <p:tav tm="100000">
                                          <p:val>
                                            <p:strVal val="#ppt_y"/>
                                          </p:val>
                                        </p:tav>
                                      </p:tavLst>
                                    </p:anim>
                                  </p:childTnLst>
                                </p:cTn>
                              </p:par>
                              <p:par>
                                <p:cTn id="45" presetID="2" presetClass="entr" presetSubtype="4" dur="1500" decel="100000" fill="hold" grpId="0" nodeType="withEffect">
                                  <p:stCondLst>
                                    <p:cond delay="1000"/>
                                  </p:stCondLst>
                                  <p:childTnLst>
                                    <p:set>
                                      <p:cBhvr>
                                        <p:cTn id="46" dur="1" fill="hold">
                                          <p:stCondLst>
                                            <p:cond delay="0"/>
                                          </p:stCondLst>
                                        </p:cTn>
                                        <p:tgtEl>
                                          <p:spTgt spid="10"/>
                                        </p:tgtEl>
                                        <p:attrNameLst>
                                          <p:attrName>style.visibility</p:attrName>
                                        </p:attrNameLst>
                                      </p:cBhvr>
                                      <p:to>
                                        <p:strVal val="visible"/>
                                      </p:to>
                                    </p:set>
                                    <p:anim calcmode="lin" valueType="num">
                                      <p:cBhvr additive="base">
                                        <p:cTn id="47" dur="1500" fill="hold"/>
                                        <p:tgtEl>
                                          <p:spTgt spid="10"/>
                                        </p:tgtEl>
                                        <p:attrNameLst>
                                          <p:attrName>ppt_x</p:attrName>
                                        </p:attrNameLst>
                                      </p:cBhvr>
                                      <p:tavLst>
                                        <p:tav tm="0">
                                          <p:val>
                                            <p:strVal val="#ppt_x"/>
                                          </p:val>
                                        </p:tav>
                                        <p:tav tm="100000">
                                          <p:val>
                                            <p:strVal val="#ppt_x"/>
                                          </p:val>
                                        </p:tav>
                                      </p:tavLst>
                                    </p:anim>
                                    <p:anim calcmode="lin" valueType="num">
                                      <p:cBhvr additive="base">
                                        <p:cTn id="48" dur="1500" fill="hold"/>
                                        <p:tgtEl>
                                          <p:spTgt spid="10"/>
                                        </p:tgtEl>
                                        <p:attrNameLst>
                                          <p:attrName>ppt_y</p:attrName>
                                        </p:attrNameLst>
                                      </p:cBhvr>
                                      <p:tavLst>
                                        <p:tav tm="0">
                                          <p:val>
                                            <p:strVal val="1+#ppt_h/2"/>
                                          </p:val>
                                        </p:tav>
                                        <p:tav tm="100000">
                                          <p:val>
                                            <p:strVal val="#ppt_y"/>
                                          </p:val>
                                        </p:tav>
                                      </p:tavLst>
                                    </p:anim>
                                  </p:childTnLst>
                                </p:cTn>
                              </p:par>
                              <p:par>
                                <p:cTn id="49" presetID="2" presetClass="entr" presetSubtype="4" dur="1500" decel="100000" fill="hold" grpId="0" nodeType="withEffect">
                                  <p:stCondLst>
                                    <p:cond delay="1100"/>
                                  </p:stCondLst>
                                  <p:childTnLst>
                                    <p:set>
                                      <p:cBhvr>
                                        <p:cTn id="50" dur="1" fill="hold">
                                          <p:stCondLst>
                                            <p:cond delay="0"/>
                                          </p:stCondLst>
                                        </p:cTn>
                                        <p:tgtEl>
                                          <p:spTgt spid="11"/>
                                        </p:tgtEl>
                                        <p:attrNameLst>
                                          <p:attrName>style.visibility</p:attrName>
                                        </p:attrNameLst>
                                      </p:cBhvr>
                                      <p:to>
                                        <p:strVal val="visible"/>
                                      </p:to>
                                    </p:set>
                                    <p:anim calcmode="lin" valueType="num">
                                      <p:cBhvr additive="base">
                                        <p:cTn id="51" dur="1500" fill="hold"/>
                                        <p:tgtEl>
                                          <p:spTgt spid="11"/>
                                        </p:tgtEl>
                                        <p:attrNameLst>
                                          <p:attrName>ppt_x</p:attrName>
                                        </p:attrNameLst>
                                      </p:cBhvr>
                                      <p:tavLst>
                                        <p:tav tm="0">
                                          <p:val>
                                            <p:strVal val="#ppt_x"/>
                                          </p:val>
                                        </p:tav>
                                        <p:tav tm="100000">
                                          <p:val>
                                            <p:strVal val="#ppt_x"/>
                                          </p:val>
                                        </p:tav>
                                      </p:tavLst>
                                    </p:anim>
                                    <p:anim calcmode="lin" valueType="num">
                                      <p:cBhvr additive="base">
                                        <p:cTn id="52" dur="1500" fill="hold"/>
                                        <p:tgtEl>
                                          <p:spTgt spid="1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8" grpId="0" animBg="1"/>
      <p:bldP spid="19" grpId="0" animBg="1"/>
      <p:bldP spid="13" grpId="0" animBg="1"/>
      <p:bldP spid="14" grpId="0" animBg="1"/>
      <p:bldP spid="15" grpId="0" animBg="1"/>
      <p:bldP spid="16" grpId="0" animBg="1"/>
      <p:bldP spid="2" grpId="0" animBg="1"/>
      <p:bldP spid="8" grpId="0" animBg="1"/>
      <p:bldP spid="9" grpId="0" animBg="1"/>
      <p:bldP spid="10" grpId="0" animBg="1"/>
      <p:bldP spid="11" grpId="0" animBg="1"/>
    </p:bld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ING/TEXT/IMAGE 1 small">
    <p:spTree>
      <p:nvGrpSpPr>
        <p:cNvPr id="1" name=""/>
        <p:cNvGrpSpPr/>
        <p:nvPr/>
      </p:nvGrpSpPr>
      <p:grpSpPr>
        <a:xfrm>
          <a:off x="0" y="0"/>
          <a:ext cx="0" cy="0"/>
          <a:chOff x="0" y="0"/>
          <a:chExt cx="0" cy="0"/>
        </a:xfrm>
      </p:grpSpPr>
      <p:sp>
        <p:nvSpPr>
          <p:cNvPr id="13" name="Freihandform: Form 12">
            <a:extLst>
              <a:ext uri="{FF2B5EF4-FFF2-40B4-BE49-F238E27FC236}">
                <a16:creationId xmlns:a16="http://schemas.microsoft.com/office/drawing/2014/main" id="{50EC640D-C73C-4FD9-AD9A-88EE410704F4}"/>
              </a:ext>
            </a:extLst>
          </p:cNvPr>
          <p:cNvSpPr/>
          <p:nvPr/>
        </p:nvSpPr>
        <p:spPr>
          <a:xfrm rot="10800000">
            <a:off x="0" y="1975611"/>
            <a:ext cx="9829800" cy="4882390"/>
          </a:xfrm>
          <a:custGeom>
            <a:avLst/>
            <a:gdLst>
              <a:gd name="connsiteX0" fmla="*/ 910059 w 9829800"/>
              <a:gd name="connsiteY0" fmla="*/ 0 h 4882390"/>
              <a:gd name="connsiteX1" fmla="*/ 3015085 w 9829800"/>
              <a:gd name="connsiteY1" fmla="*/ 0 h 4882390"/>
              <a:gd name="connsiteX2" fmla="*/ 7981950 w 9829800"/>
              <a:gd name="connsiteY2" fmla="*/ 0 h 4882390"/>
              <a:gd name="connsiteX3" fmla="*/ 9829800 w 9829800"/>
              <a:gd name="connsiteY3" fmla="*/ 0 h 4882390"/>
              <a:gd name="connsiteX4" fmla="*/ 9829800 w 9829800"/>
              <a:gd name="connsiteY4" fmla="*/ 4882390 h 4882390"/>
              <a:gd name="connsiteX5" fmla="*/ 7981950 w 9829800"/>
              <a:gd name="connsiteY5" fmla="*/ 4882390 h 4882390"/>
              <a:gd name="connsiteX6" fmla="*/ 2183098 w 9829800"/>
              <a:gd name="connsiteY6" fmla="*/ 4882390 h 4882390"/>
              <a:gd name="connsiteX7" fmla="*/ 78072 w 9829800"/>
              <a:gd name="connsiteY7" fmla="*/ 4882390 h 4882390"/>
              <a:gd name="connsiteX8" fmla="*/ 0 w 9829800"/>
              <a:gd name="connsiteY8" fmla="*/ 4804318 h 4882390"/>
              <a:gd name="connsiteX9" fmla="*/ 831987 w 9829800"/>
              <a:gd name="connsiteY9" fmla="*/ 78072 h 4882390"/>
              <a:gd name="connsiteX10" fmla="*/ 910059 w 9829800"/>
              <a:gd name="connsiteY10" fmla="*/ 0 h 4882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829800" h="4882390">
                <a:moveTo>
                  <a:pt x="910059" y="0"/>
                </a:moveTo>
                <a:lnTo>
                  <a:pt x="3015085" y="0"/>
                </a:lnTo>
                <a:lnTo>
                  <a:pt x="7981950" y="0"/>
                </a:lnTo>
                <a:lnTo>
                  <a:pt x="9829800" y="0"/>
                </a:lnTo>
                <a:lnTo>
                  <a:pt x="9829800" y="4882390"/>
                </a:lnTo>
                <a:lnTo>
                  <a:pt x="7981950" y="4882390"/>
                </a:lnTo>
                <a:lnTo>
                  <a:pt x="2183098" y="4882390"/>
                </a:lnTo>
                <a:lnTo>
                  <a:pt x="78072" y="4882390"/>
                </a:lnTo>
                <a:cubicBezTo>
                  <a:pt x="34957" y="4882390"/>
                  <a:pt x="0" y="4847433"/>
                  <a:pt x="0" y="4804318"/>
                </a:cubicBezTo>
                <a:lnTo>
                  <a:pt x="831987" y="78072"/>
                </a:lnTo>
                <a:cubicBezTo>
                  <a:pt x="831987" y="34957"/>
                  <a:pt x="866945" y="0"/>
                  <a:pt x="910059" y="0"/>
                </a:cubicBezTo>
                <a:close/>
              </a:path>
            </a:pathLst>
          </a:custGeom>
          <a:gradFill>
            <a:gsLst>
              <a:gs pos="100000">
                <a:schemeClr val="bg1"/>
              </a:gs>
              <a:gs pos="5000">
                <a:srgbClr val="ECF0F4"/>
              </a:gs>
            </a:gsLst>
            <a:lin ang="5400000" scaled="1"/>
          </a:gradFill>
          <a:ln w="11652" cap="flat">
            <a:noFill/>
            <a:prstDash val="solid"/>
            <a:miter/>
          </a:ln>
        </p:spPr>
        <p:txBody>
          <a:bodyPr rtlCol="0" anchor="ctr"/>
          <a:lstStyle/>
          <a:p>
            <a:endParaRPr lang="de-DE"/>
          </a:p>
        </p:txBody>
      </p:sp>
      <p:sp>
        <p:nvSpPr>
          <p:cNvPr id="2" name="Titel 1">
            <a:extLst>
              <a:ext uri="{FF2B5EF4-FFF2-40B4-BE49-F238E27FC236}">
                <a16:creationId xmlns:a16="http://schemas.microsoft.com/office/drawing/2014/main" id="{0526DC72-FA1D-422D-8055-3374742D122B}"/>
              </a:ext>
            </a:extLst>
          </p:cNvPr>
          <p:cNvSpPr>
            <a:spLocks noGrp="1"/>
          </p:cNvSpPr>
          <p:nvPr>
            <p:ph type="title"/>
          </p:nvPr>
        </p:nvSpPr>
        <p:spPr>
          <a:xfrm>
            <a:off x="815952" y="733402"/>
            <a:ext cx="4931999" cy="767737"/>
          </a:xfrm>
        </p:spPr>
        <p:txBody>
          <a:bodyPr/>
          <a:lstStyle>
            <a:lvl1pPr>
              <a:lnSpc>
                <a:spcPct val="100000"/>
              </a:lnSpc>
              <a:defRPr/>
            </a:lvl1pPr>
          </a:lstStyle>
          <a:p>
            <a:r>
              <a:rPr lang="de-DE"/>
              <a:t>Mastertitelformat bearbeiten</a:t>
            </a:r>
          </a:p>
        </p:txBody>
      </p:sp>
      <p:sp>
        <p:nvSpPr>
          <p:cNvPr id="3" name="Foliennummernplatzhalter 2">
            <a:extLst>
              <a:ext uri="{FF2B5EF4-FFF2-40B4-BE49-F238E27FC236}">
                <a16:creationId xmlns:a16="http://schemas.microsoft.com/office/drawing/2014/main" id="{5B327254-466C-4606-8589-BCC72CBDADDF}"/>
              </a:ext>
            </a:extLst>
          </p:cNvPr>
          <p:cNvSpPr>
            <a:spLocks noGrp="1"/>
          </p:cNvSpPr>
          <p:nvPr>
            <p:ph type="sldNum" sz="quarter" idx="10"/>
          </p:nvPr>
        </p:nvSpPr>
        <p:spPr/>
        <p:txBody>
          <a:bodyPr/>
          <a:lstStyle/>
          <a:p>
            <a:fld id="{A04BEB4F-8CE1-4F18-986F-6CE0A0BE9470}" type="slidenum">
              <a:rPr lang="de-DE" smtClean="0"/>
              <a:t>‹#›</a:t>
            </a:fld>
            <a:endParaRPr lang="de-DE"/>
          </a:p>
        </p:txBody>
      </p:sp>
      <p:sp>
        <p:nvSpPr>
          <p:cNvPr id="5" name="Textplatzhalter 9">
            <a:extLst>
              <a:ext uri="{FF2B5EF4-FFF2-40B4-BE49-F238E27FC236}">
                <a16:creationId xmlns:a16="http://schemas.microsoft.com/office/drawing/2014/main" id="{6024922C-391C-46EA-9F1C-F5344AAB64C8}"/>
              </a:ext>
            </a:extLst>
          </p:cNvPr>
          <p:cNvSpPr>
            <a:spLocks noGrp="1"/>
          </p:cNvSpPr>
          <p:nvPr>
            <p:ph type="body" sz="quarter" idx="11"/>
          </p:nvPr>
        </p:nvSpPr>
        <p:spPr>
          <a:xfrm>
            <a:off x="815951" y="1979612"/>
            <a:ext cx="4932000" cy="4338638"/>
          </a:xfrm>
          <a:prstGeom prst="rect">
            <a:avLst/>
          </a:prstGeom>
        </p:spPr>
        <p:txBody>
          <a:bodyPr lIns="0" tIns="0" rIns="0" bIns="0">
            <a:normAutofit/>
          </a:bodyPr>
          <a:lstStyle>
            <a:lvl1pPr>
              <a:defRPr sz="1800"/>
            </a:lvl1pPr>
            <a:lvl2pPr>
              <a:defRPr sz="1800"/>
            </a:lvl2pPr>
            <a:lvl3pPr>
              <a:defRPr sz="1800"/>
            </a:lvl3pPr>
            <a:lvl4pPr>
              <a:defRPr sz="1800"/>
            </a:lvl4pPr>
            <a:lvl5pPr>
              <a:defRPr sz="18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2" name="Bildplatzhalter 11">
            <a:extLst>
              <a:ext uri="{FF2B5EF4-FFF2-40B4-BE49-F238E27FC236}">
                <a16:creationId xmlns:a16="http://schemas.microsoft.com/office/drawing/2014/main" id="{ADBECC62-C583-4D92-A4EB-968BC29D7750}"/>
              </a:ext>
            </a:extLst>
          </p:cNvPr>
          <p:cNvSpPr>
            <a:spLocks noGrp="1"/>
          </p:cNvSpPr>
          <p:nvPr>
            <p:ph type="pic" sz="quarter" idx="12" hasCustomPrompt="1"/>
          </p:nvPr>
        </p:nvSpPr>
        <p:spPr>
          <a:xfrm>
            <a:off x="6075352" y="0"/>
            <a:ext cx="6116649" cy="3983353"/>
          </a:xfrm>
          <a:custGeom>
            <a:avLst/>
            <a:gdLst>
              <a:gd name="connsiteX0" fmla="*/ 690114 w 6116649"/>
              <a:gd name="connsiteY0" fmla="*/ 0 h 3983353"/>
              <a:gd name="connsiteX1" fmla="*/ 1061419 w 6116649"/>
              <a:gd name="connsiteY1" fmla="*/ 0 h 3983353"/>
              <a:gd name="connsiteX2" fmla="*/ 3906848 w 6116649"/>
              <a:gd name="connsiteY2" fmla="*/ 0 h 3983353"/>
              <a:gd name="connsiteX3" fmla="*/ 6116649 w 6116649"/>
              <a:gd name="connsiteY3" fmla="*/ 0 h 3983353"/>
              <a:gd name="connsiteX4" fmla="*/ 6116649 w 6116649"/>
              <a:gd name="connsiteY4" fmla="*/ 3983353 h 3983353"/>
              <a:gd name="connsiteX5" fmla="*/ 63818 w 6116649"/>
              <a:gd name="connsiteY5" fmla="*/ 3983353 h 3983353"/>
              <a:gd name="connsiteX6" fmla="*/ 0 w 6116649"/>
              <a:gd name="connsiteY6" fmla="*/ 3919536 h 3983353"/>
              <a:gd name="connsiteX7" fmla="*/ 679421 w 6116649"/>
              <a:gd name="connsiteY7" fmla="*/ 59971 h 3983353"/>
              <a:gd name="connsiteX8" fmla="*/ 679045 w 6116649"/>
              <a:gd name="connsiteY8" fmla="*/ 59901 h 3983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116649" h="3983353">
                <a:moveTo>
                  <a:pt x="690114" y="0"/>
                </a:moveTo>
                <a:lnTo>
                  <a:pt x="1061419" y="0"/>
                </a:lnTo>
                <a:lnTo>
                  <a:pt x="3906848" y="0"/>
                </a:lnTo>
                <a:lnTo>
                  <a:pt x="6116649" y="0"/>
                </a:lnTo>
                <a:lnTo>
                  <a:pt x="6116649" y="3983353"/>
                </a:lnTo>
                <a:lnTo>
                  <a:pt x="63818" y="3983353"/>
                </a:lnTo>
                <a:cubicBezTo>
                  <a:pt x="28575" y="3983353"/>
                  <a:pt x="0" y="3954778"/>
                  <a:pt x="0" y="3919536"/>
                </a:cubicBezTo>
                <a:lnTo>
                  <a:pt x="679421" y="59971"/>
                </a:lnTo>
                <a:lnTo>
                  <a:pt x="679045" y="59901"/>
                </a:lnTo>
                <a:close/>
              </a:path>
            </a:pathLst>
          </a:custGeom>
          <a:effectLst>
            <a:outerShdw blurRad="190500" dist="127000" dir="2700000" algn="tl" rotWithShape="0">
              <a:prstClr val="black">
                <a:alpha val="10000"/>
              </a:prstClr>
            </a:outerShdw>
          </a:effectLst>
        </p:spPr>
        <p:txBody>
          <a:bodyPr wrap="square">
            <a:noAutofit/>
          </a:bodyPr>
          <a:lstStyle>
            <a:lvl3pPr marL="990600" marR="0" indent="-285750" algn="l" defTabSz="1644650" rtl="0" eaLnBrk="0" fontAlgn="base" latinLnBrk="0" hangingPunct="0">
              <a:lnSpc>
                <a:spcPct val="130000"/>
              </a:lnSpc>
              <a:spcBef>
                <a:spcPct val="0"/>
              </a:spcBef>
              <a:spcAft>
                <a:spcPts val="1200"/>
              </a:spcAft>
              <a:buClr>
                <a:srgbClr val="004C99"/>
              </a:buClr>
              <a:buSzPct val="120000"/>
              <a:defRPr/>
            </a:lvl3pPr>
          </a:lstStyle>
          <a:p>
            <a:pPr marL="990600" marR="0" lvl="2" indent="-285750" algn="l" defTabSz="1644650" rtl="0" eaLnBrk="0" fontAlgn="base" latinLnBrk="0" hangingPunct="0">
              <a:lnSpc>
                <a:spcPct val="130000"/>
              </a:lnSpc>
              <a:spcBef>
                <a:spcPct val="0"/>
              </a:spcBef>
              <a:spcAft>
                <a:spcPts val="1200"/>
              </a:spcAft>
              <a:buClr>
                <a:srgbClr val="004C99"/>
              </a:buClr>
              <a:buSzPct val="120000"/>
              <a:defRPr/>
            </a:pPr>
            <a:r>
              <a:rPr lang="de-DE"/>
              <a:t>Please insert image</a:t>
            </a:r>
          </a:p>
        </p:txBody>
      </p:sp>
    </p:spTree>
    <p:extLst>
      <p:ext uri="{BB962C8B-B14F-4D97-AF65-F5344CB8AC3E}">
        <p14:creationId xmlns:p14="http://schemas.microsoft.com/office/powerpoint/2010/main" val="521680614"/>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8" dur="1000" decel="10000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0-#ppt_w/2"/>
                                          </p:val>
                                        </p:tav>
                                        <p:tav tm="100000">
                                          <p:val>
                                            <p:strVal val="#ppt_x"/>
                                          </p:val>
                                        </p:tav>
                                      </p:tavLst>
                                    </p:anim>
                                    <p:anim calcmode="lin" valueType="num">
                                      <p:cBhvr additive="base">
                                        <p:cTn id="8" dur="1000" fill="hold"/>
                                        <p:tgtEl>
                                          <p:spTgt spid="2"/>
                                        </p:tgtEl>
                                        <p:attrNameLst>
                                          <p:attrName>ppt_y</p:attrName>
                                        </p:attrNameLst>
                                      </p:cBhvr>
                                      <p:tavLst>
                                        <p:tav tm="0">
                                          <p:val>
                                            <p:strVal val="#ppt_y"/>
                                          </p:val>
                                        </p:tav>
                                        <p:tav tm="100000">
                                          <p:val>
                                            <p:strVal val="#ppt_y"/>
                                          </p:val>
                                        </p:tav>
                                      </p:tavLst>
                                    </p:anim>
                                  </p:childTnLst>
                                </p:cTn>
                              </p:par>
                              <p:par>
                                <p:cTn id="9" presetID="2" presetClass="entr" presetSubtype="8" dur="1000" decel="100000" fill="hold" grpId="0" nodeType="withEffect">
                                  <p:stCondLst>
                                    <p:cond delay="25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1000" fill="hold"/>
                                        <p:tgtEl>
                                          <p:spTgt spid="5"/>
                                        </p:tgtEl>
                                        <p:attrNameLst>
                                          <p:attrName>ppt_x</p:attrName>
                                        </p:attrNameLst>
                                      </p:cBhvr>
                                      <p:tavLst>
                                        <p:tav tm="0">
                                          <p:val>
                                            <p:strVal val="0-#ppt_w/2"/>
                                          </p:val>
                                        </p:tav>
                                        <p:tav tm="100000">
                                          <p:val>
                                            <p:strVal val="#ppt_x"/>
                                          </p:val>
                                        </p:tav>
                                      </p:tavLst>
                                    </p:anim>
                                    <p:anim calcmode="lin" valueType="num">
                                      <p:cBhvr additive="base">
                                        <p:cTn id="12" dur="1000" fill="hold"/>
                                        <p:tgtEl>
                                          <p:spTgt spid="5"/>
                                        </p:tgtEl>
                                        <p:attrNameLst>
                                          <p:attrName>ppt_y</p:attrName>
                                        </p:attrNameLst>
                                      </p:cBhvr>
                                      <p:tavLst>
                                        <p:tav tm="0">
                                          <p:val>
                                            <p:strVal val="#ppt_y"/>
                                          </p:val>
                                        </p:tav>
                                        <p:tav tm="100000">
                                          <p:val>
                                            <p:strVal val="#ppt_y"/>
                                          </p:val>
                                        </p:tav>
                                      </p:tavLst>
                                    </p:anim>
                                  </p:childTnLst>
                                </p:cTn>
                              </p:par>
                              <p:par>
                                <p:cTn id="13" presetID="2" presetClass="entr" presetSubtype="2" dur="1000" decel="100000" fill="hold" grpId="0" nodeType="withEffect">
                                  <p:stCondLst>
                                    <p:cond delay="500"/>
                                  </p:stCondLst>
                                  <p:childTnLst>
                                    <p:set>
                                      <p:cBhvr>
                                        <p:cTn id="14" dur="1" fill="hold">
                                          <p:stCondLst>
                                            <p:cond delay="0"/>
                                          </p:stCondLst>
                                        </p:cTn>
                                        <p:tgtEl>
                                          <p:spTgt spid="12"/>
                                        </p:tgtEl>
                                        <p:attrNameLst>
                                          <p:attrName>style.visibility</p:attrName>
                                        </p:attrNameLst>
                                      </p:cBhvr>
                                      <p:to>
                                        <p:strVal val="visible"/>
                                      </p:to>
                                    </p:set>
                                    <p:anim calcmode="lin" valueType="num">
                                      <p:cBhvr additive="base">
                                        <p:cTn id="15" dur="1000" fill="hold"/>
                                        <p:tgtEl>
                                          <p:spTgt spid="12"/>
                                        </p:tgtEl>
                                        <p:attrNameLst>
                                          <p:attrName>ppt_x</p:attrName>
                                        </p:attrNameLst>
                                      </p:cBhvr>
                                      <p:tavLst>
                                        <p:tav tm="0">
                                          <p:val>
                                            <p:strVal val="1+#ppt_w/2"/>
                                          </p:val>
                                        </p:tav>
                                        <p:tav tm="100000">
                                          <p:val>
                                            <p:strVal val="#ppt_x"/>
                                          </p:val>
                                        </p:tav>
                                      </p:tavLst>
                                    </p:anim>
                                    <p:anim calcmode="lin" valueType="num">
                                      <p:cBhvr additive="base">
                                        <p:cTn id="16" dur="100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2" presetClass="entr" presetSubtype="8" decel="100000" fill="hold" nodeType="withEffect">
                  <p:stCondLst>
                    <p:cond delay="250"/>
                  </p:stCondLst>
                  <p:childTnLst>
                    <p:set>
                      <p:cBhvr>
                        <p:cTn dur="1" fill="hold">
                          <p:stCondLst>
                            <p:cond delay="0"/>
                          </p:stCondLst>
                        </p:cTn>
                        <p:tgtEl>
                          <p:spTgt spid="5"/>
                        </p:tgtEl>
                        <p:attrNameLst>
                          <p:attrName>style.visibility</p:attrName>
                        </p:attrNameLst>
                      </p:cBhvr>
                      <p:to>
                        <p:strVal val="visible"/>
                      </p:to>
                    </p:set>
                    <p:anim calcmode="lin" valueType="num">
                      <p:cBhvr additive="base">
                        <p:cTn dur="1000" fill="hold"/>
                        <p:tgtEl>
                          <p:spTgt spid="5"/>
                        </p:tgtEl>
                        <p:attrNameLst>
                          <p:attrName>ppt_x</p:attrName>
                        </p:attrNameLst>
                      </p:cBhvr>
                      <p:tavLst>
                        <p:tav tm="0">
                          <p:val>
                            <p:strVal val="0-#ppt_w/2"/>
                          </p:val>
                        </p:tav>
                        <p:tav tm="100000">
                          <p:val>
                            <p:strVal val="#ppt_x"/>
                          </p:val>
                        </p:tav>
                      </p:tavLst>
                    </p:anim>
                    <p:anim calcmode="lin" valueType="num">
                      <p:cBhvr additive="base">
                        <p:cTn dur="1000" fill="hold"/>
                        <p:tgtEl>
                          <p:spTgt spid="5"/>
                        </p:tgtEl>
                        <p:attrNameLst>
                          <p:attrName>ppt_y</p:attrName>
                        </p:attrNameLst>
                      </p:cBhvr>
                      <p:tavLst>
                        <p:tav tm="0">
                          <p:val>
                            <p:strVal val="#ppt_y"/>
                          </p:val>
                        </p:tav>
                        <p:tav tm="100000">
                          <p:val>
                            <p:strVal val="#ppt_y"/>
                          </p:val>
                        </p:tav>
                      </p:tavLst>
                    </p:anim>
                  </p:childTnLst>
                </p:cTn>
              </p:par>
            </p:tnLst>
          </p:tmpl>
        </p:tmplLst>
      </p:bldP>
      <p:bldP spid="12" grpId="0"/>
    </p:bld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5_Custom Layout">
    <p:spTree>
      <p:nvGrpSpPr>
        <p:cNvPr id="1" name=""/>
        <p:cNvGrpSpPr/>
        <p:nvPr/>
      </p:nvGrpSpPr>
      <p:grpSpPr>
        <a:xfrm>
          <a:off x="0" y="0"/>
          <a:ext cx="0" cy="0"/>
          <a:chOff x="0" y="0"/>
          <a:chExt cx="0" cy="0"/>
        </a:xfrm>
      </p:grpSpPr>
      <p:sp>
        <p:nvSpPr>
          <p:cNvPr id="48" name="Picture Placeholder 75">
            <a:extLst>
              <a:ext uri="{FF2B5EF4-FFF2-40B4-BE49-F238E27FC236}">
                <a16:creationId xmlns:a16="http://schemas.microsoft.com/office/drawing/2014/main" id="{E663C24A-6D61-4CE5-B812-FEFFD014239B}"/>
              </a:ext>
            </a:extLst>
          </p:cNvPr>
          <p:cNvSpPr>
            <a:spLocks noGrp="1" noChangeAspect="1"/>
          </p:cNvSpPr>
          <p:nvPr>
            <p:ph type="pic" sz="quarter" idx="57"/>
          </p:nvPr>
        </p:nvSpPr>
        <p:spPr>
          <a:xfrm>
            <a:off x="-657118" y="-1490653"/>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49" name="Picture Placeholder 75">
            <a:extLst>
              <a:ext uri="{FF2B5EF4-FFF2-40B4-BE49-F238E27FC236}">
                <a16:creationId xmlns:a16="http://schemas.microsoft.com/office/drawing/2014/main" id="{FC0F3EFD-29EA-4CF3-945D-F2BDFE1089BA}"/>
              </a:ext>
            </a:extLst>
          </p:cNvPr>
          <p:cNvSpPr>
            <a:spLocks noGrp="1" noChangeAspect="1"/>
          </p:cNvSpPr>
          <p:nvPr>
            <p:ph type="pic" sz="quarter" idx="58"/>
          </p:nvPr>
        </p:nvSpPr>
        <p:spPr>
          <a:xfrm>
            <a:off x="-2891069" y="-231196"/>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41" name="Picture Placeholder 75">
            <a:extLst>
              <a:ext uri="{FF2B5EF4-FFF2-40B4-BE49-F238E27FC236}">
                <a16:creationId xmlns:a16="http://schemas.microsoft.com/office/drawing/2014/main" id="{03EDB8AD-F804-43C3-A0D1-C12D7225E290}"/>
              </a:ext>
            </a:extLst>
          </p:cNvPr>
          <p:cNvSpPr>
            <a:spLocks noGrp="1" noChangeAspect="1"/>
          </p:cNvSpPr>
          <p:nvPr>
            <p:ph type="pic" sz="quarter" idx="50"/>
          </p:nvPr>
        </p:nvSpPr>
        <p:spPr>
          <a:xfrm>
            <a:off x="1728774" y="-1139772"/>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42" name="Picture Placeholder 75">
            <a:extLst>
              <a:ext uri="{FF2B5EF4-FFF2-40B4-BE49-F238E27FC236}">
                <a16:creationId xmlns:a16="http://schemas.microsoft.com/office/drawing/2014/main" id="{C5D21686-787F-4D1D-8E80-E2508F394D2B}"/>
              </a:ext>
            </a:extLst>
          </p:cNvPr>
          <p:cNvSpPr>
            <a:spLocks noGrp="1" noChangeAspect="1"/>
          </p:cNvSpPr>
          <p:nvPr>
            <p:ph type="pic" sz="quarter" idx="51"/>
          </p:nvPr>
        </p:nvSpPr>
        <p:spPr>
          <a:xfrm>
            <a:off x="-505177" y="119685"/>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43" name="Picture Placeholder 75">
            <a:extLst>
              <a:ext uri="{FF2B5EF4-FFF2-40B4-BE49-F238E27FC236}">
                <a16:creationId xmlns:a16="http://schemas.microsoft.com/office/drawing/2014/main" id="{A4D6FD94-3DFB-4DD1-A3E1-05F00BC1540C}"/>
              </a:ext>
            </a:extLst>
          </p:cNvPr>
          <p:cNvSpPr>
            <a:spLocks noGrp="1" noChangeAspect="1"/>
          </p:cNvSpPr>
          <p:nvPr>
            <p:ph type="pic" sz="quarter" idx="52"/>
          </p:nvPr>
        </p:nvSpPr>
        <p:spPr>
          <a:xfrm>
            <a:off x="-2739128" y="1379142"/>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28" name="Picture Placeholder 75">
            <a:extLst>
              <a:ext uri="{FF2B5EF4-FFF2-40B4-BE49-F238E27FC236}">
                <a16:creationId xmlns:a16="http://schemas.microsoft.com/office/drawing/2014/main" id="{6CAD025C-A654-4C88-A249-7079110D412A}"/>
              </a:ext>
            </a:extLst>
          </p:cNvPr>
          <p:cNvSpPr>
            <a:spLocks noGrp="1" noChangeAspect="1"/>
          </p:cNvSpPr>
          <p:nvPr>
            <p:ph type="pic" sz="quarter" idx="43"/>
          </p:nvPr>
        </p:nvSpPr>
        <p:spPr>
          <a:xfrm>
            <a:off x="3949279" y="-686603"/>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29" name="Picture Placeholder 75">
            <a:extLst>
              <a:ext uri="{FF2B5EF4-FFF2-40B4-BE49-F238E27FC236}">
                <a16:creationId xmlns:a16="http://schemas.microsoft.com/office/drawing/2014/main" id="{7D2A6AB2-B1B6-4E6E-A516-1624DC823BCE}"/>
              </a:ext>
            </a:extLst>
          </p:cNvPr>
          <p:cNvSpPr>
            <a:spLocks noGrp="1" noChangeAspect="1"/>
          </p:cNvSpPr>
          <p:nvPr>
            <p:ph type="pic" sz="quarter" idx="44"/>
          </p:nvPr>
        </p:nvSpPr>
        <p:spPr>
          <a:xfrm>
            <a:off x="1715328" y="572855"/>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30" name="Picture Placeholder 75">
            <a:extLst>
              <a:ext uri="{FF2B5EF4-FFF2-40B4-BE49-F238E27FC236}">
                <a16:creationId xmlns:a16="http://schemas.microsoft.com/office/drawing/2014/main" id="{9DD0859E-1EE8-4927-8BB2-F5754D3BD7BB}"/>
              </a:ext>
            </a:extLst>
          </p:cNvPr>
          <p:cNvSpPr>
            <a:spLocks noGrp="1" noChangeAspect="1"/>
          </p:cNvSpPr>
          <p:nvPr>
            <p:ph type="pic" sz="quarter" idx="45"/>
          </p:nvPr>
        </p:nvSpPr>
        <p:spPr>
          <a:xfrm>
            <a:off x="-518622" y="1832312"/>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31" name="Picture Placeholder 75">
            <a:extLst>
              <a:ext uri="{FF2B5EF4-FFF2-40B4-BE49-F238E27FC236}">
                <a16:creationId xmlns:a16="http://schemas.microsoft.com/office/drawing/2014/main" id="{F9FC8C08-0383-4EC2-82BB-1133D3D229E0}"/>
              </a:ext>
            </a:extLst>
          </p:cNvPr>
          <p:cNvSpPr>
            <a:spLocks noGrp="1" noChangeAspect="1"/>
          </p:cNvSpPr>
          <p:nvPr>
            <p:ph type="pic" sz="quarter" idx="46"/>
          </p:nvPr>
        </p:nvSpPr>
        <p:spPr>
          <a:xfrm>
            <a:off x="-2752573" y="3091769"/>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16" name="Picture Placeholder 75">
            <a:extLst>
              <a:ext uri="{FF2B5EF4-FFF2-40B4-BE49-F238E27FC236}">
                <a16:creationId xmlns:a16="http://schemas.microsoft.com/office/drawing/2014/main" id="{607EBF97-CA98-44E9-938D-F451E62350C1}"/>
              </a:ext>
            </a:extLst>
          </p:cNvPr>
          <p:cNvSpPr>
            <a:spLocks noGrp="1" noChangeAspect="1"/>
          </p:cNvSpPr>
          <p:nvPr>
            <p:ph type="pic" sz="quarter" idx="37"/>
          </p:nvPr>
        </p:nvSpPr>
        <p:spPr>
          <a:xfrm>
            <a:off x="6942516" y="-686603"/>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17" name="Picture Placeholder 75">
            <a:extLst>
              <a:ext uri="{FF2B5EF4-FFF2-40B4-BE49-F238E27FC236}">
                <a16:creationId xmlns:a16="http://schemas.microsoft.com/office/drawing/2014/main" id="{3D16D7ED-FD8B-4316-A459-2B2FB95393A8}"/>
              </a:ext>
            </a:extLst>
          </p:cNvPr>
          <p:cNvSpPr>
            <a:spLocks noGrp="1" noChangeAspect="1"/>
          </p:cNvSpPr>
          <p:nvPr>
            <p:ph type="pic" sz="quarter" idx="38"/>
          </p:nvPr>
        </p:nvSpPr>
        <p:spPr>
          <a:xfrm>
            <a:off x="4708566" y="572855"/>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18" name="Picture Placeholder 75">
            <a:extLst>
              <a:ext uri="{FF2B5EF4-FFF2-40B4-BE49-F238E27FC236}">
                <a16:creationId xmlns:a16="http://schemas.microsoft.com/office/drawing/2014/main" id="{0CDD9022-DE91-4943-A173-2B143DF81A30}"/>
              </a:ext>
            </a:extLst>
          </p:cNvPr>
          <p:cNvSpPr>
            <a:spLocks noGrp="1" noChangeAspect="1"/>
          </p:cNvSpPr>
          <p:nvPr>
            <p:ph type="pic" sz="quarter" idx="39"/>
          </p:nvPr>
        </p:nvSpPr>
        <p:spPr>
          <a:xfrm>
            <a:off x="2474615" y="1832312"/>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19" name="Picture Placeholder 75">
            <a:extLst>
              <a:ext uri="{FF2B5EF4-FFF2-40B4-BE49-F238E27FC236}">
                <a16:creationId xmlns:a16="http://schemas.microsoft.com/office/drawing/2014/main" id="{ABE95176-571E-450E-92C4-6C81EA4C7A3E}"/>
              </a:ext>
            </a:extLst>
          </p:cNvPr>
          <p:cNvSpPr>
            <a:spLocks noGrp="1" noChangeAspect="1"/>
          </p:cNvSpPr>
          <p:nvPr>
            <p:ph type="pic" sz="quarter" idx="40"/>
          </p:nvPr>
        </p:nvSpPr>
        <p:spPr>
          <a:xfrm>
            <a:off x="240664" y="3091769"/>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20" name="Picture Placeholder 75">
            <a:extLst>
              <a:ext uri="{FF2B5EF4-FFF2-40B4-BE49-F238E27FC236}">
                <a16:creationId xmlns:a16="http://schemas.microsoft.com/office/drawing/2014/main" id="{3EFAEF24-F8F9-40CF-94FB-D6695C184868}"/>
              </a:ext>
            </a:extLst>
          </p:cNvPr>
          <p:cNvSpPr>
            <a:spLocks noGrp="1" noChangeAspect="1"/>
          </p:cNvSpPr>
          <p:nvPr>
            <p:ph type="pic" sz="quarter" idx="41"/>
          </p:nvPr>
        </p:nvSpPr>
        <p:spPr>
          <a:xfrm>
            <a:off x="-1993286" y="4351226"/>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2" name="Picture Placeholder 75">
            <a:extLst>
              <a:ext uri="{FF2B5EF4-FFF2-40B4-BE49-F238E27FC236}">
                <a16:creationId xmlns:a16="http://schemas.microsoft.com/office/drawing/2014/main" id="{35C81404-E27E-4F36-A623-E57FC83C04C2}"/>
              </a:ext>
            </a:extLst>
          </p:cNvPr>
          <p:cNvSpPr>
            <a:spLocks noGrp="1" noChangeAspect="1"/>
          </p:cNvSpPr>
          <p:nvPr>
            <p:ph type="pic" sz="quarter" idx="24"/>
          </p:nvPr>
        </p:nvSpPr>
        <p:spPr>
          <a:xfrm>
            <a:off x="9672465" y="-531152"/>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4" name="Picture Placeholder 75">
            <a:extLst>
              <a:ext uri="{FF2B5EF4-FFF2-40B4-BE49-F238E27FC236}">
                <a16:creationId xmlns:a16="http://schemas.microsoft.com/office/drawing/2014/main" id="{FEAB132E-72A8-4AAE-84A4-48B1A95CEE6C}"/>
              </a:ext>
            </a:extLst>
          </p:cNvPr>
          <p:cNvSpPr>
            <a:spLocks noGrp="1" noChangeAspect="1"/>
          </p:cNvSpPr>
          <p:nvPr>
            <p:ph type="pic" sz="quarter" idx="25"/>
          </p:nvPr>
        </p:nvSpPr>
        <p:spPr>
          <a:xfrm>
            <a:off x="7438514" y="728306"/>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5" name="Picture Placeholder 75">
            <a:extLst>
              <a:ext uri="{FF2B5EF4-FFF2-40B4-BE49-F238E27FC236}">
                <a16:creationId xmlns:a16="http://schemas.microsoft.com/office/drawing/2014/main" id="{243FAE32-B9F4-4AE7-AE82-22570A22956A}"/>
              </a:ext>
            </a:extLst>
          </p:cNvPr>
          <p:cNvSpPr>
            <a:spLocks noGrp="1" noChangeAspect="1"/>
          </p:cNvSpPr>
          <p:nvPr>
            <p:ph type="pic" sz="quarter" idx="26"/>
          </p:nvPr>
        </p:nvSpPr>
        <p:spPr>
          <a:xfrm>
            <a:off x="5204564" y="1987763"/>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6" name="Picture Placeholder 75">
            <a:extLst>
              <a:ext uri="{FF2B5EF4-FFF2-40B4-BE49-F238E27FC236}">
                <a16:creationId xmlns:a16="http://schemas.microsoft.com/office/drawing/2014/main" id="{22DB54D1-378A-4542-9D02-E25B5BADC362}"/>
              </a:ext>
            </a:extLst>
          </p:cNvPr>
          <p:cNvSpPr>
            <a:spLocks noGrp="1" noChangeAspect="1"/>
          </p:cNvSpPr>
          <p:nvPr>
            <p:ph type="pic" sz="quarter" idx="27"/>
          </p:nvPr>
        </p:nvSpPr>
        <p:spPr>
          <a:xfrm>
            <a:off x="2970613" y="3247220"/>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7" name="Picture Placeholder 75">
            <a:extLst>
              <a:ext uri="{FF2B5EF4-FFF2-40B4-BE49-F238E27FC236}">
                <a16:creationId xmlns:a16="http://schemas.microsoft.com/office/drawing/2014/main" id="{8FFD3707-289A-4097-A634-5DFE56AC06FE}"/>
              </a:ext>
            </a:extLst>
          </p:cNvPr>
          <p:cNvSpPr>
            <a:spLocks noGrp="1" noChangeAspect="1"/>
          </p:cNvSpPr>
          <p:nvPr>
            <p:ph type="pic" sz="quarter" idx="28"/>
          </p:nvPr>
        </p:nvSpPr>
        <p:spPr>
          <a:xfrm>
            <a:off x="736662" y="4506677"/>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8" name="Picture Placeholder 75">
            <a:extLst>
              <a:ext uri="{FF2B5EF4-FFF2-40B4-BE49-F238E27FC236}">
                <a16:creationId xmlns:a16="http://schemas.microsoft.com/office/drawing/2014/main" id="{54A7639C-C713-48A6-BCBD-272206505DD0}"/>
              </a:ext>
            </a:extLst>
          </p:cNvPr>
          <p:cNvSpPr>
            <a:spLocks noGrp="1" noChangeAspect="1"/>
          </p:cNvSpPr>
          <p:nvPr>
            <p:ph type="pic" sz="quarter" idx="29"/>
          </p:nvPr>
        </p:nvSpPr>
        <p:spPr>
          <a:xfrm>
            <a:off x="-1497288" y="5766134"/>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10" name="Picture Placeholder 75">
            <a:extLst>
              <a:ext uri="{FF2B5EF4-FFF2-40B4-BE49-F238E27FC236}">
                <a16:creationId xmlns:a16="http://schemas.microsoft.com/office/drawing/2014/main" id="{EADC1BA6-7445-4738-896F-F25E3B51C125}"/>
              </a:ext>
            </a:extLst>
          </p:cNvPr>
          <p:cNvSpPr>
            <a:spLocks noGrp="1" noChangeAspect="1"/>
          </p:cNvSpPr>
          <p:nvPr>
            <p:ph type="pic" sz="quarter" idx="31"/>
          </p:nvPr>
        </p:nvSpPr>
        <p:spPr>
          <a:xfrm>
            <a:off x="10280074" y="813692"/>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11" name="Picture Placeholder 75">
            <a:extLst>
              <a:ext uri="{FF2B5EF4-FFF2-40B4-BE49-F238E27FC236}">
                <a16:creationId xmlns:a16="http://schemas.microsoft.com/office/drawing/2014/main" id="{C2B339F4-9FE6-4B11-BADC-2E50B1ADD1F5}"/>
              </a:ext>
            </a:extLst>
          </p:cNvPr>
          <p:cNvSpPr>
            <a:spLocks noGrp="1" noChangeAspect="1"/>
          </p:cNvSpPr>
          <p:nvPr>
            <p:ph type="pic" sz="quarter" idx="32"/>
          </p:nvPr>
        </p:nvSpPr>
        <p:spPr>
          <a:xfrm>
            <a:off x="8046124" y="2073149"/>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12" name="Picture Placeholder 75">
            <a:extLst>
              <a:ext uri="{FF2B5EF4-FFF2-40B4-BE49-F238E27FC236}">
                <a16:creationId xmlns:a16="http://schemas.microsoft.com/office/drawing/2014/main" id="{FFE71006-16E5-457F-9B4E-4C8C74041CF2}"/>
              </a:ext>
            </a:extLst>
          </p:cNvPr>
          <p:cNvSpPr>
            <a:spLocks noGrp="1" noChangeAspect="1"/>
          </p:cNvSpPr>
          <p:nvPr>
            <p:ph type="pic" sz="quarter" idx="33"/>
          </p:nvPr>
        </p:nvSpPr>
        <p:spPr>
          <a:xfrm>
            <a:off x="5812173" y="3332606"/>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13" name="Picture Placeholder 75">
            <a:extLst>
              <a:ext uri="{FF2B5EF4-FFF2-40B4-BE49-F238E27FC236}">
                <a16:creationId xmlns:a16="http://schemas.microsoft.com/office/drawing/2014/main" id="{6DDB9485-9DF7-49C5-ADFC-F845200EBD64}"/>
              </a:ext>
            </a:extLst>
          </p:cNvPr>
          <p:cNvSpPr>
            <a:spLocks noGrp="1" noChangeAspect="1"/>
          </p:cNvSpPr>
          <p:nvPr>
            <p:ph type="pic" sz="quarter" idx="34"/>
          </p:nvPr>
        </p:nvSpPr>
        <p:spPr>
          <a:xfrm>
            <a:off x="3578222" y="4592063"/>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14" name="Picture Placeholder 75">
            <a:extLst>
              <a:ext uri="{FF2B5EF4-FFF2-40B4-BE49-F238E27FC236}">
                <a16:creationId xmlns:a16="http://schemas.microsoft.com/office/drawing/2014/main" id="{C2FEBF29-F3C4-44EB-A394-6B97F83C159B}"/>
              </a:ext>
            </a:extLst>
          </p:cNvPr>
          <p:cNvSpPr>
            <a:spLocks noGrp="1" noChangeAspect="1"/>
          </p:cNvSpPr>
          <p:nvPr>
            <p:ph type="pic" sz="quarter" idx="35"/>
          </p:nvPr>
        </p:nvSpPr>
        <p:spPr>
          <a:xfrm>
            <a:off x="1344272" y="5851520"/>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53" name="Picture Placeholder 75">
            <a:extLst>
              <a:ext uri="{FF2B5EF4-FFF2-40B4-BE49-F238E27FC236}">
                <a16:creationId xmlns:a16="http://schemas.microsoft.com/office/drawing/2014/main" id="{2F015E8F-22EA-4453-8367-140895DC3255}"/>
              </a:ext>
            </a:extLst>
          </p:cNvPr>
          <p:cNvSpPr>
            <a:spLocks noGrp="1" noChangeAspect="1"/>
          </p:cNvSpPr>
          <p:nvPr>
            <p:ph type="pic" sz="quarter" idx="62"/>
          </p:nvPr>
        </p:nvSpPr>
        <p:spPr>
          <a:xfrm>
            <a:off x="10348604" y="2456075"/>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54" name="Picture Placeholder 75">
            <a:extLst>
              <a:ext uri="{FF2B5EF4-FFF2-40B4-BE49-F238E27FC236}">
                <a16:creationId xmlns:a16="http://schemas.microsoft.com/office/drawing/2014/main" id="{38BD2839-9FD8-4A47-8C6C-BA555D30B060}"/>
              </a:ext>
            </a:extLst>
          </p:cNvPr>
          <p:cNvSpPr>
            <a:spLocks noGrp="1" noChangeAspect="1"/>
          </p:cNvSpPr>
          <p:nvPr>
            <p:ph type="pic" sz="quarter" idx="63"/>
          </p:nvPr>
        </p:nvSpPr>
        <p:spPr>
          <a:xfrm>
            <a:off x="8114654" y="3715532"/>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55" name="Picture Placeholder 75">
            <a:extLst>
              <a:ext uri="{FF2B5EF4-FFF2-40B4-BE49-F238E27FC236}">
                <a16:creationId xmlns:a16="http://schemas.microsoft.com/office/drawing/2014/main" id="{36034C35-1CBE-46E5-9904-EDC510CB644A}"/>
              </a:ext>
            </a:extLst>
          </p:cNvPr>
          <p:cNvSpPr>
            <a:spLocks noGrp="1" noChangeAspect="1"/>
          </p:cNvSpPr>
          <p:nvPr>
            <p:ph type="pic" sz="quarter" idx="64"/>
          </p:nvPr>
        </p:nvSpPr>
        <p:spPr>
          <a:xfrm>
            <a:off x="5880703" y="4974989"/>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56" name="Picture Placeholder 75">
            <a:extLst>
              <a:ext uri="{FF2B5EF4-FFF2-40B4-BE49-F238E27FC236}">
                <a16:creationId xmlns:a16="http://schemas.microsoft.com/office/drawing/2014/main" id="{507BEDBC-9F75-40C5-8467-AA2A8746E709}"/>
              </a:ext>
            </a:extLst>
          </p:cNvPr>
          <p:cNvSpPr>
            <a:spLocks noGrp="1" noChangeAspect="1"/>
          </p:cNvSpPr>
          <p:nvPr>
            <p:ph type="pic" sz="quarter" idx="65"/>
          </p:nvPr>
        </p:nvSpPr>
        <p:spPr>
          <a:xfrm>
            <a:off x="3646752" y="6234445"/>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59" name="Picture Placeholder 75">
            <a:extLst>
              <a:ext uri="{FF2B5EF4-FFF2-40B4-BE49-F238E27FC236}">
                <a16:creationId xmlns:a16="http://schemas.microsoft.com/office/drawing/2014/main" id="{AECDF11A-996B-4276-B504-5061846D8626}"/>
              </a:ext>
            </a:extLst>
          </p:cNvPr>
          <p:cNvSpPr>
            <a:spLocks noGrp="1" noChangeAspect="1"/>
          </p:cNvSpPr>
          <p:nvPr>
            <p:ph type="pic" sz="quarter" idx="68"/>
          </p:nvPr>
        </p:nvSpPr>
        <p:spPr>
          <a:xfrm>
            <a:off x="10536718" y="4037823"/>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60" name="Picture Placeholder 75">
            <a:extLst>
              <a:ext uri="{FF2B5EF4-FFF2-40B4-BE49-F238E27FC236}">
                <a16:creationId xmlns:a16="http://schemas.microsoft.com/office/drawing/2014/main" id="{18FFBB60-78C0-41D6-B988-AE90BC50278F}"/>
              </a:ext>
            </a:extLst>
          </p:cNvPr>
          <p:cNvSpPr>
            <a:spLocks noGrp="1" noChangeAspect="1"/>
          </p:cNvSpPr>
          <p:nvPr>
            <p:ph type="pic" sz="quarter" idx="69"/>
          </p:nvPr>
        </p:nvSpPr>
        <p:spPr>
          <a:xfrm>
            <a:off x="8302767" y="5297280"/>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61" name="Picture Placeholder 75">
            <a:extLst>
              <a:ext uri="{FF2B5EF4-FFF2-40B4-BE49-F238E27FC236}">
                <a16:creationId xmlns:a16="http://schemas.microsoft.com/office/drawing/2014/main" id="{157843DF-2840-468E-B1B3-C729FF5281C6}"/>
              </a:ext>
            </a:extLst>
          </p:cNvPr>
          <p:cNvSpPr>
            <a:spLocks noGrp="1" noChangeAspect="1"/>
          </p:cNvSpPr>
          <p:nvPr>
            <p:ph type="pic" sz="quarter" idx="70"/>
          </p:nvPr>
        </p:nvSpPr>
        <p:spPr>
          <a:xfrm>
            <a:off x="6068817" y="6556737"/>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65" name="Picture Placeholder 75">
            <a:extLst>
              <a:ext uri="{FF2B5EF4-FFF2-40B4-BE49-F238E27FC236}">
                <a16:creationId xmlns:a16="http://schemas.microsoft.com/office/drawing/2014/main" id="{8DF2D5D1-AC63-4DDD-BF20-41ACF22FCE4B}"/>
              </a:ext>
            </a:extLst>
          </p:cNvPr>
          <p:cNvSpPr>
            <a:spLocks noGrp="1" noChangeAspect="1"/>
          </p:cNvSpPr>
          <p:nvPr>
            <p:ph type="pic" sz="quarter" idx="74"/>
          </p:nvPr>
        </p:nvSpPr>
        <p:spPr>
          <a:xfrm>
            <a:off x="11051634" y="5464020"/>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
        <p:nvSpPr>
          <p:cNvPr id="66" name="Picture Placeholder 75">
            <a:extLst>
              <a:ext uri="{FF2B5EF4-FFF2-40B4-BE49-F238E27FC236}">
                <a16:creationId xmlns:a16="http://schemas.microsoft.com/office/drawing/2014/main" id="{3932DA6D-A9C7-4444-87EB-1B1FFD57213B}"/>
              </a:ext>
            </a:extLst>
          </p:cNvPr>
          <p:cNvSpPr>
            <a:spLocks noGrp="1" noChangeAspect="1"/>
          </p:cNvSpPr>
          <p:nvPr>
            <p:ph type="pic" sz="quarter" idx="75"/>
          </p:nvPr>
        </p:nvSpPr>
        <p:spPr>
          <a:xfrm>
            <a:off x="8817684" y="6723477"/>
            <a:ext cx="3283674" cy="1847308"/>
          </a:xfrm>
          <a:custGeom>
            <a:avLst/>
            <a:gdLst>
              <a:gd name="connsiteX0" fmla="*/ 215874 w 10578156"/>
              <a:gd name="connsiteY0" fmla="*/ 0 h 5950214"/>
              <a:gd name="connsiteX1" fmla="*/ 10362282 w 10578156"/>
              <a:gd name="connsiteY1" fmla="*/ 0 h 5950214"/>
              <a:gd name="connsiteX2" fmla="*/ 10578156 w 10578156"/>
              <a:gd name="connsiteY2" fmla="*/ 215874 h 5950214"/>
              <a:gd name="connsiteX3" fmla="*/ 10578156 w 10578156"/>
              <a:gd name="connsiteY3" fmla="*/ 5734340 h 5950214"/>
              <a:gd name="connsiteX4" fmla="*/ 10362282 w 10578156"/>
              <a:gd name="connsiteY4" fmla="*/ 5950214 h 5950214"/>
              <a:gd name="connsiteX5" fmla="*/ 215874 w 10578156"/>
              <a:gd name="connsiteY5" fmla="*/ 5950214 h 5950214"/>
              <a:gd name="connsiteX6" fmla="*/ 0 w 10578156"/>
              <a:gd name="connsiteY6" fmla="*/ 5734340 h 5950214"/>
              <a:gd name="connsiteX7" fmla="*/ 0 w 10578156"/>
              <a:gd name="connsiteY7" fmla="*/ 215874 h 5950214"/>
              <a:gd name="connsiteX8" fmla="*/ 215874 w 10578156"/>
              <a:gd name="connsiteY8" fmla="*/ 0 h 595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8156" h="5950214">
                <a:moveTo>
                  <a:pt x="215874" y="0"/>
                </a:moveTo>
                <a:lnTo>
                  <a:pt x="10362282" y="0"/>
                </a:lnTo>
                <a:cubicBezTo>
                  <a:pt x="10481506" y="0"/>
                  <a:pt x="10578156" y="96650"/>
                  <a:pt x="10578156" y="215874"/>
                </a:cubicBezTo>
                <a:lnTo>
                  <a:pt x="10578156" y="5734340"/>
                </a:lnTo>
                <a:cubicBezTo>
                  <a:pt x="10578156" y="5853564"/>
                  <a:pt x="10481506" y="5950214"/>
                  <a:pt x="10362282" y="5950214"/>
                </a:cubicBezTo>
                <a:lnTo>
                  <a:pt x="215874" y="5950214"/>
                </a:lnTo>
                <a:cubicBezTo>
                  <a:pt x="96650" y="5950214"/>
                  <a:pt x="0" y="5853564"/>
                  <a:pt x="0" y="5734340"/>
                </a:cubicBezTo>
                <a:lnTo>
                  <a:pt x="0" y="215874"/>
                </a:lnTo>
                <a:cubicBezTo>
                  <a:pt x="0" y="96650"/>
                  <a:pt x="96650" y="0"/>
                  <a:pt x="215874" y="0"/>
                </a:cubicBezTo>
                <a:close/>
              </a:path>
            </a:pathLst>
          </a:custGeom>
          <a:solidFill>
            <a:schemeClr val="bg1"/>
          </a:solidFill>
          <a:effectLst>
            <a:outerShdw blurRad="914400" dist="495300" dir="8100000" algn="ctr" rotWithShape="0">
              <a:schemeClr val="tx1">
                <a:lumMod val="75000"/>
                <a:lumOff val="25000"/>
                <a:alpha val="14000"/>
              </a:schemeClr>
            </a:outerShdw>
          </a:effectLst>
          <a:scene3d>
            <a:camera prst="orthographicFront">
              <a:rot lat="19800000" lon="18600000" rev="3600000"/>
            </a:camera>
            <a:lightRig rig="chilly" dir="t"/>
          </a:scene3d>
          <a:sp3d extrusionH="31750" prstMaterial="plastic"/>
        </p:spPr>
        <p:txBody>
          <a:bodyPr wrap="square" anchor="ctr">
            <a:noAutofit/>
          </a:bodyPr>
          <a:lstStyle>
            <a:lvl1pPr algn="ctr">
              <a:defRPr sz="1400"/>
            </a:lvl1pPr>
          </a:lstStyle>
          <a:p>
            <a:endParaRPr lang="en-US"/>
          </a:p>
        </p:txBody>
      </p:sp>
    </p:spTree>
    <p:extLst>
      <p:ext uri="{BB962C8B-B14F-4D97-AF65-F5344CB8AC3E}">
        <p14:creationId xmlns:p14="http://schemas.microsoft.com/office/powerpoint/2010/main" val="3250586894"/>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6" dur="3000" decel="100000" fill="hold" grpId="0" nodeType="withEffect">
                                  <p:stCondLst>
                                    <p:cond delay="0"/>
                                  </p:stCondLst>
                                  <p:childTnLst>
                                    <p:set>
                                      <p:cBhvr>
                                        <p:cTn id="6" dur="1" fill="hold">
                                          <p:stCondLst>
                                            <p:cond delay="0"/>
                                          </p:stCondLst>
                                        </p:cTn>
                                        <p:tgtEl>
                                          <p:spTgt spid="48"/>
                                        </p:tgtEl>
                                        <p:attrNameLst>
                                          <p:attrName>style.visibility</p:attrName>
                                        </p:attrNameLst>
                                      </p:cBhvr>
                                      <p:to>
                                        <p:strVal val="visible"/>
                                      </p:to>
                                    </p:set>
                                    <p:anim calcmode="lin" valueType="num">
                                      <p:cBhvr additive="base">
                                        <p:cTn id="7" dur="3000" fill="hold"/>
                                        <p:tgtEl>
                                          <p:spTgt spid="48"/>
                                        </p:tgtEl>
                                        <p:attrNameLst>
                                          <p:attrName>ppt_x</p:attrName>
                                        </p:attrNameLst>
                                      </p:cBhvr>
                                      <p:tavLst>
                                        <p:tav tm="0">
                                          <p:val>
                                            <p:strVal val="1+#ppt_w/2"/>
                                          </p:val>
                                        </p:tav>
                                        <p:tav tm="100000">
                                          <p:val>
                                            <p:strVal val="#ppt_x"/>
                                          </p:val>
                                        </p:tav>
                                      </p:tavLst>
                                    </p:anim>
                                    <p:anim calcmode="lin" valueType="num">
                                      <p:cBhvr additive="base">
                                        <p:cTn id="8" dur="3000" fill="hold"/>
                                        <p:tgtEl>
                                          <p:spTgt spid="48"/>
                                        </p:tgtEl>
                                        <p:attrNameLst>
                                          <p:attrName>ppt_y</p:attrName>
                                        </p:attrNameLst>
                                      </p:cBhvr>
                                      <p:tavLst>
                                        <p:tav tm="0">
                                          <p:val>
                                            <p:strVal val="1+#ppt_h/2"/>
                                          </p:val>
                                        </p:tav>
                                        <p:tav tm="100000">
                                          <p:val>
                                            <p:strVal val="#ppt_y"/>
                                          </p:val>
                                        </p:tav>
                                      </p:tavLst>
                                    </p:anim>
                                  </p:childTnLst>
                                </p:cTn>
                              </p:par>
                              <p:par>
                                <p:cTn id="9" presetID="2" presetClass="entr" presetSubtype="6" dur="3000" decel="100000" fill="hold" grpId="0" nodeType="withEffect">
                                  <p:stCondLst>
                                    <p:cond delay="0"/>
                                  </p:stCondLst>
                                  <p:childTnLst>
                                    <p:set>
                                      <p:cBhvr>
                                        <p:cTn id="10" dur="1" fill="hold">
                                          <p:stCondLst>
                                            <p:cond delay="0"/>
                                          </p:stCondLst>
                                        </p:cTn>
                                        <p:tgtEl>
                                          <p:spTgt spid="49"/>
                                        </p:tgtEl>
                                        <p:attrNameLst>
                                          <p:attrName>style.visibility</p:attrName>
                                        </p:attrNameLst>
                                      </p:cBhvr>
                                      <p:to>
                                        <p:strVal val="visible"/>
                                      </p:to>
                                    </p:set>
                                    <p:anim calcmode="lin" valueType="num">
                                      <p:cBhvr additive="base">
                                        <p:cTn id="11" dur="3000" fill="hold"/>
                                        <p:tgtEl>
                                          <p:spTgt spid="49"/>
                                        </p:tgtEl>
                                        <p:attrNameLst>
                                          <p:attrName>ppt_x</p:attrName>
                                        </p:attrNameLst>
                                      </p:cBhvr>
                                      <p:tavLst>
                                        <p:tav tm="0">
                                          <p:val>
                                            <p:strVal val="1+#ppt_w/2"/>
                                          </p:val>
                                        </p:tav>
                                        <p:tav tm="100000">
                                          <p:val>
                                            <p:strVal val="#ppt_x"/>
                                          </p:val>
                                        </p:tav>
                                      </p:tavLst>
                                    </p:anim>
                                    <p:anim calcmode="lin" valueType="num">
                                      <p:cBhvr additive="base">
                                        <p:cTn id="12" dur="3000" fill="hold"/>
                                        <p:tgtEl>
                                          <p:spTgt spid="49"/>
                                        </p:tgtEl>
                                        <p:attrNameLst>
                                          <p:attrName>ppt_y</p:attrName>
                                        </p:attrNameLst>
                                      </p:cBhvr>
                                      <p:tavLst>
                                        <p:tav tm="0">
                                          <p:val>
                                            <p:strVal val="1+#ppt_h/2"/>
                                          </p:val>
                                        </p:tav>
                                        <p:tav tm="100000">
                                          <p:val>
                                            <p:strVal val="#ppt_y"/>
                                          </p:val>
                                        </p:tav>
                                      </p:tavLst>
                                    </p:anim>
                                  </p:childTnLst>
                                </p:cTn>
                              </p:par>
                              <p:par>
                                <p:cTn id="13" presetID="2" presetClass="entr" presetSubtype="6" dur="3000" decel="100000" fill="hold" grpId="0" nodeType="withEffect">
                                  <p:stCondLst>
                                    <p:cond delay="0"/>
                                  </p:stCondLst>
                                  <p:childTnLst>
                                    <p:set>
                                      <p:cBhvr>
                                        <p:cTn id="14" dur="1" fill="hold">
                                          <p:stCondLst>
                                            <p:cond delay="0"/>
                                          </p:stCondLst>
                                        </p:cTn>
                                        <p:tgtEl>
                                          <p:spTgt spid="43"/>
                                        </p:tgtEl>
                                        <p:attrNameLst>
                                          <p:attrName>style.visibility</p:attrName>
                                        </p:attrNameLst>
                                      </p:cBhvr>
                                      <p:to>
                                        <p:strVal val="visible"/>
                                      </p:to>
                                    </p:set>
                                    <p:anim calcmode="lin" valueType="num">
                                      <p:cBhvr additive="base">
                                        <p:cTn id="15" dur="3000" fill="hold"/>
                                        <p:tgtEl>
                                          <p:spTgt spid="43"/>
                                        </p:tgtEl>
                                        <p:attrNameLst>
                                          <p:attrName>ppt_x</p:attrName>
                                        </p:attrNameLst>
                                      </p:cBhvr>
                                      <p:tavLst>
                                        <p:tav tm="0">
                                          <p:val>
                                            <p:strVal val="1+#ppt_w/2"/>
                                          </p:val>
                                        </p:tav>
                                        <p:tav tm="100000">
                                          <p:val>
                                            <p:strVal val="#ppt_x"/>
                                          </p:val>
                                        </p:tav>
                                      </p:tavLst>
                                    </p:anim>
                                    <p:anim calcmode="lin" valueType="num">
                                      <p:cBhvr additive="base">
                                        <p:cTn id="16" dur="3000" fill="hold"/>
                                        <p:tgtEl>
                                          <p:spTgt spid="43"/>
                                        </p:tgtEl>
                                        <p:attrNameLst>
                                          <p:attrName>ppt_y</p:attrName>
                                        </p:attrNameLst>
                                      </p:cBhvr>
                                      <p:tavLst>
                                        <p:tav tm="0">
                                          <p:val>
                                            <p:strVal val="1+#ppt_h/2"/>
                                          </p:val>
                                        </p:tav>
                                        <p:tav tm="100000">
                                          <p:val>
                                            <p:strVal val="#ppt_y"/>
                                          </p:val>
                                        </p:tav>
                                      </p:tavLst>
                                    </p:anim>
                                  </p:childTnLst>
                                </p:cTn>
                              </p:par>
                              <p:par>
                                <p:cTn id="17" presetID="2" presetClass="entr" presetSubtype="6" dur="3000" decel="100000" fill="hold" grpId="0" nodeType="withEffect">
                                  <p:stCondLst>
                                    <p:cond delay="0"/>
                                  </p:stCondLst>
                                  <p:childTnLst>
                                    <p:set>
                                      <p:cBhvr>
                                        <p:cTn id="18" dur="1" fill="hold">
                                          <p:stCondLst>
                                            <p:cond delay="0"/>
                                          </p:stCondLst>
                                        </p:cTn>
                                        <p:tgtEl>
                                          <p:spTgt spid="42"/>
                                        </p:tgtEl>
                                        <p:attrNameLst>
                                          <p:attrName>style.visibility</p:attrName>
                                        </p:attrNameLst>
                                      </p:cBhvr>
                                      <p:to>
                                        <p:strVal val="visible"/>
                                      </p:to>
                                    </p:set>
                                    <p:anim calcmode="lin" valueType="num">
                                      <p:cBhvr additive="base">
                                        <p:cTn id="19" dur="3000" fill="hold"/>
                                        <p:tgtEl>
                                          <p:spTgt spid="42"/>
                                        </p:tgtEl>
                                        <p:attrNameLst>
                                          <p:attrName>ppt_x</p:attrName>
                                        </p:attrNameLst>
                                      </p:cBhvr>
                                      <p:tavLst>
                                        <p:tav tm="0">
                                          <p:val>
                                            <p:strVal val="1+#ppt_w/2"/>
                                          </p:val>
                                        </p:tav>
                                        <p:tav tm="100000">
                                          <p:val>
                                            <p:strVal val="#ppt_x"/>
                                          </p:val>
                                        </p:tav>
                                      </p:tavLst>
                                    </p:anim>
                                    <p:anim calcmode="lin" valueType="num">
                                      <p:cBhvr additive="base">
                                        <p:cTn id="20" dur="3000" fill="hold"/>
                                        <p:tgtEl>
                                          <p:spTgt spid="42"/>
                                        </p:tgtEl>
                                        <p:attrNameLst>
                                          <p:attrName>ppt_y</p:attrName>
                                        </p:attrNameLst>
                                      </p:cBhvr>
                                      <p:tavLst>
                                        <p:tav tm="0">
                                          <p:val>
                                            <p:strVal val="1+#ppt_h/2"/>
                                          </p:val>
                                        </p:tav>
                                        <p:tav tm="100000">
                                          <p:val>
                                            <p:strVal val="#ppt_y"/>
                                          </p:val>
                                        </p:tav>
                                      </p:tavLst>
                                    </p:anim>
                                  </p:childTnLst>
                                </p:cTn>
                              </p:par>
                              <p:par>
                                <p:cTn id="21" presetID="2" presetClass="entr" presetSubtype="6" dur="3000" decel="100000" fill="hold" grpId="0" nodeType="withEffect">
                                  <p:stCondLst>
                                    <p:cond delay="0"/>
                                  </p:stCondLst>
                                  <p:childTnLst>
                                    <p:set>
                                      <p:cBhvr>
                                        <p:cTn id="22" dur="1" fill="hold">
                                          <p:stCondLst>
                                            <p:cond delay="0"/>
                                          </p:stCondLst>
                                        </p:cTn>
                                        <p:tgtEl>
                                          <p:spTgt spid="41"/>
                                        </p:tgtEl>
                                        <p:attrNameLst>
                                          <p:attrName>style.visibility</p:attrName>
                                        </p:attrNameLst>
                                      </p:cBhvr>
                                      <p:to>
                                        <p:strVal val="visible"/>
                                      </p:to>
                                    </p:set>
                                    <p:anim calcmode="lin" valueType="num">
                                      <p:cBhvr additive="base">
                                        <p:cTn id="23" dur="3000" fill="hold"/>
                                        <p:tgtEl>
                                          <p:spTgt spid="41"/>
                                        </p:tgtEl>
                                        <p:attrNameLst>
                                          <p:attrName>ppt_x</p:attrName>
                                        </p:attrNameLst>
                                      </p:cBhvr>
                                      <p:tavLst>
                                        <p:tav tm="0">
                                          <p:val>
                                            <p:strVal val="1+#ppt_w/2"/>
                                          </p:val>
                                        </p:tav>
                                        <p:tav tm="100000">
                                          <p:val>
                                            <p:strVal val="#ppt_x"/>
                                          </p:val>
                                        </p:tav>
                                      </p:tavLst>
                                    </p:anim>
                                    <p:anim calcmode="lin" valueType="num">
                                      <p:cBhvr additive="base">
                                        <p:cTn id="24" dur="3000" fill="hold"/>
                                        <p:tgtEl>
                                          <p:spTgt spid="41"/>
                                        </p:tgtEl>
                                        <p:attrNameLst>
                                          <p:attrName>ppt_y</p:attrName>
                                        </p:attrNameLst>
                                      </p:cBhvr>
                                      <p:tavLst>
                                        <p:tav tm="0">
                                          <p:val>
                                            <p:strVal val="1+#ppt_h/2"/>
                                          </p:val>
                                        </p:tav>
                                        <p:tav tm="100000">
                                          <p:val>
                                            <p:strVal val="#ppt_y"/>
                                          </p:val>
                                        </p:tav>
                                      </p:tavLst>
                                    </p:anim>
                                  </p:childTnLst>
                                </p:cTn>
                              </p:par>
                              <p:par>
                                <p:cTn id="25" presetID="2" presetClass="entr" presetSubtype="6" dur="3000" decel="100000" fill="hold" grpId="0" nodeType="withEffect">
                                  <p:stCondLst>
                                    <p:cond delay="0"/>
                                  </p:stCondLst>
                                  <p:childTnLst>
                                    <p:set>
                                      <p:cBhvr>
                                        <p:cTn id="26" dur="1" fill="hold">
                                          <p:stCondLst>
                                            <p:cond delay="0"/>
                                          </p:stCondLst>
                                        </p:cTn>
                                        <p:tgtEl>
                                          <p:spTgt spid="31"/>
                                        </p:tgtEl>
                                        <p:attrNameLst>
                                          <p:attrName>style.visibility</p:attrName>
                                        </p:attrNameLst>
                                      </p:cBhvr>
                                      <p:to>
                                        <p:strVal val="visible"/>
                                      </p:to>
                                    </p:set>
                                    <p:anim calcmode="lin" valueType="num">
                                      <p:cBhvr additive="base">
                                        <p:cTn id="27" dur="3000" fill="hold"/>
                                        <p:tgtEl>
                                          <p:spTgt spid="31"/>
                                        </p:tgtEl>
                                        <p:attrNameLst>
                                          <p:attrName>ppt_x</p:attrName>
                                        </p:attrNameLst>
                                      </p:cBhvr>
                                      <p:tavLst>
                                        <p:tav tm="0">
                                          <p:val>
                                            <p:strVal val="1+#ppt_w/2"/>
                                          </p:val>
                                        </p:tav>
                                        <p:tav tm="100000">
                                          <p:val>
                                            <p:strVal val="#ppt_x"/>
                                          </p:val>
                                        </p:tav>
                                      </p:tavLst>
                                    </p:anim>
                                    <p:anim calcmode="lin" valueType="num">
                                      <p:cBhvr additive="base">
                                        <p:cTn id="28" dur="3000" fill="hold"/>
                                        <p:tgtEl>
                                          <p:spTgt spid="31"/>
                                        </p:tgtEl>
                                        <p:attrNameLst>
                                          <p:attrName>ppt_y</p:attrName>
                                        </p:attrNameLst>
                                      </p:cBhvr>
                                      <p:tavLst>
                                        <p:tav tm="0">
                                          <p:val>
                                            <p:strVal val="1+#ppt_h/2"/>
                                          </p:val>
                                        </p:tav>
                                        <p:tav tm="100000">
                                          <p:val>
                                            <p:strVal val="#ppt_y"/>
                                          </p:val>
                                        </p:tav>
                                      </p:tavLst>
                                    </p:anim>
                                  </p:childTnLst>
                                </p:cTn>
                              </p:par>
                              <p:par>
                                <p:cTn id="29" presetID="2" presetClass="entr" presetSubtype="6" dur="3000" decel="100000" fill="hold" grpId="0" nodeType="withEffect">
                                  <p:stCondLst>
                                    <p:cond delay="0"/>
                                  </p:stCondLst>
                                  <p:childTnLst>
                                    <p:set>
                                      <p:cBhvr>
                                        <p:cTn id="30" dur="1" fill="hold">
                                          <p:stCondLst>
                                            <p:cond delay="0"/>
                                          </p:stCondLst>
                                        </p:cTn>
                                        <p:tgtEl>
                                          <p:spTgt spid="30"/>
                                        </p:tgtEl>
                                        <p:attrNameLst>
                                          <p:attrName>style.visibility</p:attrName>
                                        </p:attrNameLst>
                                      </p:cBhvr>
                                      <p:to>
                                        <p:strVal val="visible"/>
                                      </p:to>
                                    </p:set>
                                    <p:anim calcmode="lin" valueType="num">
                                      <p:cBhvr additive="base">
                                        <p:cTn id="31" dur="3000" fill="hold"/>
                                        <p:tgtEl>
                                          <p:spTgt spid="30"/>
                                        </p:tgtEl>
                                        <p:attrNameLst>
                                          <p:attrName>ppt_x</p:attrName>
                                        </p:attrNameLst>
                                      </p:cBhvr>
                                      <p:tavLst>
                                        <p:tav tm="0">
                                          <p:val>
                                            <p:strVal val="1+#ppt_w/2"/>
                                          </p:val>
                                        </p:tav>
                                        <p:tav tm="100000">
                                          <p:val>
                                            <p:strVal val="#ppt_x"/>
                                          </p:val>
                                        </p:tav>
                                      </p:tavLst>
                                    </p:anim>
                                    <p:anim calcmode="lin" valueType="num">
                                      <p:cBhvr additive="base">
                                        <p:cTn id="32" dur="3000" fill="hold"/>
                                        <p:tgtEl>
                                          <p:spTgt spid="30"/>
                                        </p:tgtEl>
                                        <p:attrNameLst>
                                          <p:attrName>ppt_y</p:attrName>
                                        </p:attrNameLst>
                                      </p:cBhvr>
                                      <p:tavLst>
                                        <p:tav tm="0">
                                          <p:val>
                                            <p:strVal val="1+#ppt_h/2"/>
                                          </p:val>
                                        </p:tav>
                                        <p:tav tm="100000">
                                          <p:val>
                                            <p:strVal val="#ppt_y"/>
                                          </p:val>
                                        </p:tav>
                                      </p:tavLst>
                                    </p:anim>
                                  </p:childTnLst>
                                </p:cTn>
                              </p:par>
                              <p:par>
                                <p:cTn id="33" presetID="2" presetClass="entr" presetSubtype="6" dur="3000" decel="100000" fill="hold" grpId="0" nodeType="withEffect">
                                  <p:stCondLst>
                                    <p:cond delay="0"/>
                                  </p:stCondLst>
                                  <p:childTnLst>
                                    <p:set>
                                      <p:cBhvr>
                                        <p:cTn id="34" dur="1" fill="hold">
                                          <p:stCondLst>
                                            <p:cond delay="0"/>
                                          </p:stCondLst>
                                        </p:cTn>
                                        <p:tgtEl>
                                          <p:spTgt spid="29"/>
                                        </p:tgtEl>
                                        <p:attrNameLst>
                                          <p:attrName>style.visibility</p:attrName>
                                        </p:attrNameLst>
                                      </p:cBhvr>
                                      <p:to>
                                        <p:strVal val="visible"/>
                                      </p:to>
                                    </p:set>
                                    <p:anim calcmode="lin" valueType="num">
                                      <p:cBhvr additive="base">
                                        <p:cTn id="35" dur="3000" fill="hold"/>
                                        <p:tgtEl>
                                          <p:spTgt spid="29"/>
                                        </p:tgtEl>
                                        <p:attrNameLst>
                                          <p:attrName>ppt_x</p:attrName>
                                        </p:attrNameLst>
                                      </p:cBhvr>
                                      <p:tavLst>
                                        <p:tav tm="0">
                                          <p:val>
                                            <p:strVal val="1+#ppt_w/2"/>
                                          </p:val>
                                        </p:tav>
                                        <p:tav tm="100000">
                                          <p:val>
                                            <p:strVal val="#ppt_x"/>
                                          </p:val>
                                        </p:tav>
                                      </p:tavLst>
                                    </p:anim>
                                    <p:anim calcmode="lin" valueType="num">
                                      <p:cBhvr additive="base">
                                        <p:cTn id="36" dur="3000" fill="hold"/>
                                        <p:tgtEl>
                                          <p:spTgt spid="29"/>
                                        </p:tgtEl>
                                        <p:attrNameLst>
                                          <p:attrName>ppt_y</p:attrName>
                                        </p:attrNameLst>
                                      </p:cBhvr>
                                      <p:tavLst>
                                        <p:tav tm="0">
                                          <p:val>
                                            <p:strVal val="1+#ppt_h/2"/>
                                          </p:val>
                                        </p:tav>
                                        <p:tav tm="100000">
                                          <p:val>
                                            <p:strVal val="#ppt_y"/>
                                          </p:val>
                                        </p:tav>
                                      </p:tavLst>
                                    </p:anim>
                                  </p:childTnLst>
                                </p:cTn>
                              </p:par>
                              <p:par>
                                <p:cTn id="37" presetID="2" presetClass="entr" presetSubtype="6" dur="3000" decel="100000" fill="hold" grpId="0" nodeType="withEffect">
                                  <p:stCondLst>
                                    <p:cond delay="0"/>
                                  </p:stCondLst>
                                  <p:childTnLst>
                                    <p:set>
                                      <p:cBhvr>
                                        <p:cTn id="38" dur="1" fill="hold">
                                          <p:stCondLst>
                                            <p:cond delay="0"/>
                                          </p:stCondLst>
                                        </p:cTn>
                                        <p:tgtEl>
                                          <p:spTgt spid="28"/>
                                        </p:tgtEl>
                                        <p:attrNameLst>
                                          <p:attrName>style.visibility</p:attrName>
                                        </p:attrNameLst>
                                      </p:cBhvr>
                                      <p:to>
                                        <p:strVal val="visible"/>
                                      </p:to>
                                    </p:set>
                                    <p:anim calcmode="lin" valueType="num">
                                      <p:cBhvr additive="base">
                                        <p:cTn id="39" dur="3000" fill="hold"/>
                                        <p:tgtEl>
                                          <p:spTgt spid="28"/>
                                        </p:tgtEl>
                                        <p:attrNameLst>
                                          <p:attrName>ppt_x</p:attrName>
                                        </p:attrNameLst>
                                      </p:cBhvr>
                                      <p:tavLst>
                                        <p:tav tm="0">
                                          <p:val>
                                            <p:strVal val="1+#ppt_w/2"/>
                                          </p:val>
                                        </p:tav>
                                        <p:tav tm="100000">
                                          <p:val>
                                            <p:strVal val="#ppt_x"/>
                                          </p:val>
                                        </p:tav>
                                      </p:tavLst>
                                    </p:anim>
                                    <p:anim calcmode="lin" valueType="num">
                                      <p:cBhvr additive="base">
                                        <p:cTn id="40" dur="3000" fill="hold"/>
                                        <p:tgtEl>
                                          <p:spTgt spid="28"/>
                                        </p:tgtEl>
                                        <p:attrNameLst>
                                          <p:attrName>ppt_y</p:attrName>
                                        </p:attrNameLst>
                                      </p:cBhvr>
                                      <p:tavLst>
                                        <p:tav tm="0">
                                          <p:val>
                                            <p:strVal val="1+#ppt_h/2"/>
                                          </p:val>
                                        </p:tav>
                                        <p:tav tm="100000">
                                          <p:val>
                                            <p:strVal val="#ppt_y"/>
                                          </p:val>
                                        </p:tav>
                                      </p:tavLst>
                                    </p:anim>
                                  </p:childTnLst>
                                </p:cTn>
                              </p:par>
                              <p:par>
                                <p:cTn id="41" presetID="2" presetClass="entr" presetSubtype="6" dur="3000" decel="100000" fill="hold" grpId="0" nodeType="withEffect">
                                  <p:stCondLst>
                                    <p:cond delay="0"/>
                                  </p:stCondLst>
                                  <p:childTnLst>
                                    <p:set>
                                      <p:cBhvr>
                                        <p:cTn id="42" dur="1" fill="hold">
                                          <p:stCondLst>
                                            <p:cond delay="0"/>
                                          </p:stCondLst>
                                        </p:cTn>
                                        <p:tgtEl>
                                          <p:spTgt spid="20"/>
                                        </p:tgtEl>
                                        <p:attrNameLst>
                                          <p:attrName>style.visibility</p:attrName>
                                        </p:attrNameLst>
                                      </p:cBhvr>
                                      <p:to>
                                        <p:strVal val="visible"/>
                                      </p:to>
                                    </p:set>
                                    <p:anim calcmode="lin" valueType="num">
                                      <p:cBhvr additive="base">
                                        <p:cTn id="43" dur="3000" fill="hold"/>
                                        <p:tgtEl>
                                          <p:spTgt spid="20"/>
                                        </p:tgtEl>
                                        <p:attrNameLst>
                                          <p:attrName>ppt_x</p:attrName>
                                        </p:attrNameLst>
                                      </p:cBhvr>
                                      <p:tavLst>
                                        <p:tav tm="0">
                                          <p:val>
                                            <p:strVal val="1+#ppt_w/2"/>
                                          </p:val>
                                        </p:tav>
                                        <p:tav tm="100000">
                                          <p:val>
                                            <p:strVal val="#ppt_x"/>
                                          </p:val>
                                        </p:tav>
                                      </p:tavLst>
                                    </p:anim>
                                    <p:anim calcmode="lin" valueType="num">
                                      <p:cBhvr additive="base">
                                        <p:cTn id="44" dur="3000" fill="hold"/>
                                        <p:tgtEl>
                                          <p:spTgt spid="20"/>
                                        </p:tgtEl>
                                        <p:attrNameLst>
                                          <p:attrName>ppt_y</p:attrName>
                                        </p:attrNameLst>
                                      </p:cBhvr>
                                      <p:tavLst>
                                        <p:tav tm="0">
                                          <p:val>
                                            <p:strVal val="1+#ppt_h/2"/>
                                          </p:val>
                                        </p:tav>
                                        <p:tav tm="100000">
                                          <p:val>
                                            <p:strVal val="#ppt_y"/>
                                          </p:val>
                                        </p:tav>
                                      </p:tavLst>
                                    </p:anim>
                                  </p:childTnLst>
                                </p:cTn>
                              </p:par>
                              <p:par>
                                <p:cTn id="45" presetID="2" presetClass="entr" presetSubtype="6" dur="3000" decel="100000" fill="hold" grpId="0" nodeType="withEffect">
                                  <p:stCondLst>
                                    <p:cond delay="0"/>
                                  </p:stCondLst>
                                  <p:childTnLst>
                                    <p:set>
                                      <p:cBhvr>
                                        <p:cTn id="46" dur="1" fill="hold">
                                          <p:stCondLst>
                                            <p:cond delay="0"/>
                                          </p:stCondLst>
                                        </p:cTn>
                                        <p:tgtEl>
                                          <p:spTgt spid="19"/>
                                        </p:tgtEl>
                                        <p:attrNameLst>
                                          <p:attrName>style.visibility</p:attrName>
                                        </p:attrNameLst>
                                      </p:cBhvr>
                                      <p:to>
                                        <p:strVal val="visible"/>
                                      </p:to>
                                    </p:set>
                                    <p:anim calcmode="lin" valueType="num">
                                      <p:cBhvr additive="base">
                                        <p:cTn id="47" dur="3000" fill="hold"/>
                                        <p:tgtEl>
                                          <p:spTgt spid="19"/>
                                        </p:tgtEl>
                                        <p:attrNameLst>
                                          <p:attrName>ppt_x</p:attrName>
                                        </p:attrNameLst>
                                      </p:cBhvr>
                                      <p:tavLst>
                                        <p:tav tm="0">
                                          <p:val>
                                            <p:strVal val="1+#ppt_w/2"/>
                                          </p:val>
                                        </p:tav>
                                        <p:tav tm="100000">
                                          <p:val>
                                            <p:strVal val="#ppt_x"/>
                                          </p:val>
                                        </p:tav>
                                      </p:tavLst>
                                    </p:anim>
                                    <p:anim calcmode="lin" valueType="num">
                                      <p:cBhvr additive="base">
                                        <p:cTn id="48" dur="3000" fill="hold"/>
                                        <p:tgtEl>
                                          <p:spTgt spid="19"/>
                                        </p:tgtEl>
                                        <p:attrNameLst>
                                          <p:attrName>ppt_y</p:attrName>
                                        </p:attrNameLst>
                                      </p:cBhvr>
                                      <p:tavLst>
                                        <p:tav tm="0">
                                          <p:val>
                                            <p:strVal val="1+#ppt_h/2"/>
                                          </p:val>
                                        </p:tav>
                                        <p:tav tm="100000">
                                          <p:val>
                                            <p:strVal val="#ppt_y"/>
                                          </p:val>
                                        </p:tav>
                                      </p:tavLst>
                                    </p:anim>
                                  </p:childTnLst>
                                </p:cTn>
                              </p:par>
                              <p:par>
                                <p:cTn id="49" presetID="2" presetClass="entr" presetSubtype="6" dur="3000" decel="100000" fill="hold" grpId="0" nodeType="withEffect">
                                  <p:stCondLst>
                                    <p:cond delay="0"/>
                                  </p:stCondLst>
                                  <p:childTnLst>
                                    <p:set>
                                      <p:cBhvr>
                                        <p:cTn id="50" dur="1" fill="hold">
                                          <p:stCondLst>
                                            <p:cond delay="0"/>
                                          </p:stCondLst>
                                        </p:cTn>
                                        <p:tgtEl>
                                          <p:spTgt spid="18"/>
                                        </p:tgtEl>
                                        <p:attrNameLst>
                                          <p:attrName>style.visibility</p:attrName>
                                        </p:attrNameLst>
                                      </p:cBhvr>
                                      <p:to>
                                        <p:strVal val="visible"/>
                                      </p:to>
                                    </p:set>
                                    <p:anim calcmode="lin" valueType="num">
                                      <p:cBhvr additive="base">
                                        <p:cTn id="51" dur="3000" fill="hold"/>
                                        <p:tgtEl>
                                          <p:spTgt spid="18"/>
                                        </p:tgtEl>
                                        <p:attrNameLst>
                                          <p:attrName>ppt_x</p:attrName>
                                        </p:attrNameLst>
                                      </p:cBhvr>
                                      <p:tavLst>
                                        <p:tav tm="0">
                                          <p:val>
                                            <p:strVal val="1+#ppt_w/2"/>
                                          </p:val>
                                        </p:tav>
                                        <p:tav tm="100000">
                                          <p:val>
                                            <p:strVal val="#ppt_x"/>
                                          </p:val>
                                        </p:tav>
                                      </p:tavLst>
                                    </p:anim>
                                    <p:anim calcmode="lin" valueType="num">
                                      <p:cBhvr additive="base">
                                        <p:cTn id="52" dur="3000" fill="hold"/>
                                        <p:tgtEl>
                                          <p:spTgt spid="18"/>
                                        </p:tgtEl>
                                        <p:attrNameLst>
                                          <p:attrName>ppt_y</p:attrName>
                                        </p:attrNameLst>
                                      </p:cBhvr>
                                      <p:tavLst>
                                        <p:tav tm="0">
                                          <p:val>
                                            <p:strVal val="1+#ppt_h/2"/>
                                          </p:val>
                                        </p:tav>
                                        <p:tav tm="100000">
                                          <p:val>
                                            <p:strVal val="#ppt_y"/>
                                          </p:val>
                                        </p:tav>
                                      </p:tavLst>
                                    </p:anim>
                                  </p:childTnLst>
                                </p:cTn>
                              </p:par>
                              <p:par>
                                <p:cTn id="53" presetID="2" presetClass="entr" presetSubtype="6" dur="3000" decel="100000" fill="hold" grpId="0" nodeType="withEffect">
                                  <p:stCondLst>
                                    <p:cond delay="0"/>
                                  </p:stCondLst>
                                  <p:childTnLst>
                                    <p:set>
                                      <p:cBhvr>
                                        <p:cTn id="54" dur="1" fill="hold">
                                          <p:stCondLst>
                                            <p:cond delay="0"/>
                                          </p:stCondLst>
                                        </p:cTn>
                                        <p:tgtEl>
                                          <p:spTgt spid="17"/>
                                        </p:tgtEl>
                                        <p:attrNameLst>
                                          <p:attrName>style.visibility</p:attrName>
                                        </p:attrNameLst>
                                      </p:cBhvr>
                                      <p:to>
                                        <p:strVal val="visible"/>
                                      </p:to>
                                    </p:set>
                                    <p:anim calcmode="lin" valueType="num">
                                      <p:cBhvr additive="base">
                                        <p:cTn id="55" dur="3000" fill="hold"/>
                                        <p:tgtEl>
                                          <p:spTgt spid="17"/>
                                        </p:tgtEl>
                                        <p:attrNameLst>
                                          <p:attrName>ppt_x</p:attrName>
                                        </p:attrNameLst>
                                      </p:cBhvr>
                                      <p:tavLst>
                                        <p:tav tm="0">
                                          <p:val>
                                            <p:strVal val="1+#ppt_w/2"/>
                                          </p:val>
                                        </p:tav>
                                        <p:tav tm="100000">
                                          <p:val>
                                            <p:strVal val="#ppt_x"/>
                                          </p:val>
                                        </p:tav>
                                      </p:tavLst>
                                    </p:anim>
                                    <p:anim calcmode="lin" valueType="num">
                                      <p:cBhvr additive="base">
                                        <p:cTn id="56" dur="3000" fill="hold"/>
                                        <p:tgtEl>
                                          <p:spTgt spid="17"/>
                                        </p:tgtEl>
                                        <p:attrNameLst>
                                          <p:attrName>ppt_y</p:attrName>
                                        </p:attrNameLst>
                                      </p:cBhvr>
                                      <p:tavLst>
                                        <p:tav tm="0">
                                          <p:val>
                                            <p:strVal val="1+#ppt_h/2"/>
                                          </p:val>
                                        </p:tav>
                                        <p:tav tm="100000">
                                          <p:val>
                                            <p:strVal val="#ppt_y"/>
                                          </p:val>
                                        </p:tav>
                                      </p:tavLst>
                                    </p:anim>
                                  </p:childTnLst>
                                </p:cTn>
                              </p:par>
                              <p:par>
                                <p:cTn id="57" presetID="2" presetClass="entr" presetSubtype="6" dur="3000" decel="100000" fill="hold" grpId="0" nodeType="withEffect">
                                  <p:stCondLst>
                                    <p:cond delay="0"/>
                                  </p:stCondLst>
                                  <p:childTnLst>
                                    <p:set>
                                      <p:cBhvr>
                                        <p:cTn id="58" dur="1" fill="hold">
                                          <p:stCondLst>
                                            <p:cond delay="0"/>
                                          </p:stCondLst>
                                        </p:cTn>
                                        <p:tgtEl>
                                          <p:spTgt spid="16"/>
                                        </p:tgtEl>
                                        <p:attrNameLst>
                                          <p:attrName>style.visibility</p:attrName>
                                        </p:attrNameLst>
                                      </p:cBhvr>
                                      <p:to>
                                        <p:strVal val="visible"/>
                                      </p:to>
                                    </p:set>
                                    <p:anim calcmode="lin" valueType="num">
                                      <p:cBhvr additive="base">
                                        <p:cTn id="59" dur="3000" fill="hold"/>
                                        <p:tgtEl>
                                          <p:spTgt spid="16"/>
                                        </p:tgtEl>
                                        <p:attrNameLst>
                                          <p:attrName>ppt_x</p:attrName>
                                        </p:attrNameLst>
                                      </p:cBhvr>
                                      <p:tavLst>
                                        <p:tav tm="0">
                                          <p:val>
                                            <p:strVal val="1+#ppt_w/2"/>
                                          </p:val>
                                        </p:tav>
                                        <p:tav tm="100000">
                                          <p:val>
                                            <p:strVal val="#ppt_x"/>
                                          </p:val>
                                        </p:tav>
                                      </p:tavLst>
                                    </p:anim>
                                    <p:anim calcmode="lin" valueType="num">
                                      <p:cBhvr additive="base">
                                        <p:cTn id="60" dur="3000" fill="hold"/>
                                        <p:tgtEl>
                                          <p:spTgt spid="16"/>
                                        </p:tgtEl>
                                        <p:attrNameLst>
                                          <p:attrName>ppt_y</p:attrName>
                                        </p:attrNameLst>
                                      </p:cBhvr>
                                      <p:tavLst>
                                        <p:tav tm="0">
                                          <p:val>
                                            <p:strVal val="1+#ppt_h/2"/>
                                          </p:val>
                                        </p:tav>
                                        <p:tav tm="100000">
                                          <p:val>
                                            <p:strVal val="#ppt_y"/>
                                          </p:val>
                                        </p:tav>
                                      </p:tavLst>
                                    </p:anim>
                                  </p:childTnLst>
                                </p:cTn>
                              </p:par>
                              <p:par>
                                <p:cTn id="61" presetID="2" presetClass="entr" presetSubtype="6" dur="3000" decel="100000" fill="hold" grpId="0" nodeType="withEffect">
                                  <p:stCondLst>
                                    <p:cond delay="0"/>
                                  </p:stCondLst>
                                  <p:childTnLst>
                                    <p:set>
                                      <p:cBhvr>
                                        <p:cTn id="62" dur="1" fill="hold">
                                          <p:stCondLst>
                                            <p:cond delay="0"/>
                                          </p:stCondLst>
                                        </p:cTn>
                                        <p:tgtEl>
                                          <p:spTgt spid="8"/>
                                        </p:tgtEl>
                                        <p:attrNameLst>
                                          <p:attrName>style.visibility</p:attrName>
                                        </p:attrNameLst>
                                      </p:cBhvr>
                                      <p:to>
                                        <p:strVal val="visible"/>
                                      </p:to>
                                    </p:set>
                                    <p:anim calcmode="lin" valueType="num">
                                      <p:cBhvr additive="base">
                                        <p:cTn id="63" dur="3000" fill="hold"/>
                                        <p:tgtEl>
                                          <p:spTgt spid="8"/>
                                        </p:tgtEl>
                                        <p:attrNameLst>
                                          <p:attrName>ppt_x</p:attrName>
                                        </p:attrNameLst>
                                      </p:cBhvr>
                                      <p:tavLst>
                                        <p:tav tm="0">
                                          <p:val>
                                            <p:strVal val="1+#ppt_w/2"/>
                                          </p:val>
                                        </p:tav>
                                        <p:tav tm="100000">
                                          <p:val>
                                            <p:strVal val="#ppt_x"/>
                                          </p:val>
                                        </p:tav>
                                      </p:tavLst>
                                    </p:anim>
                                    <p:anim calcmode="lin" valueType="num">
                                      <p:cBhvr additive="base">
                                        <p:cTn id="64" dur="3000" fill="hold"/>
                                        <p:tgtEl>
                                          <p:spTgt spid="8"/>
                                        </p:tgtEl>
                                        <p:attrNameLst>
                                          <p:attrName>ppt_y</p:attrName>
                                        </p:attrNameLst>
                                      </p:cBhvr>
                                      <p:tavLst>
                                        <p:tav tm="0">
                                          <p:val>
                                            <p:strVal val="1+#ppt_h/2"/>
                                          </p:val>
                                        </p:tav>
                                        <p:tav tm="100000">
                                          <p:val>
                                            <p:strVal val="#ppt_y"/>
                                          </p:val>
                                        </p:tav>
                                      </p:tavLst>
                                    </p:anim>
                                  </p:childTnLst>
                                </p:cTn>
                              </p:par>
                              <p:par>
                                <p:cTn id="65" presetID="2" presetClass="entr" presetSubtype="6" dur="3000" decel="100000" fill="hold" grpId="0" nodeType="withEffect">
                                  <p:stCondLst>
                                    <p:cond delay="0"/>
                                  </p:stCondLst>
                                  <p:childTnLst>
                                    <p:set>
                                      <p:cBhvr>
                                        <p:cTn id="66" dur="1" fill="hold">
                                          <p:stCondLst>
                                            <p:cond delay="0"/>
                                          </p:stCondLst>
                                        </p:cTn>
                                        <p:tgtEl>
                                          <p:spTgt spid="7"/>
                                        </p:tgtEl>
                                        <p:attrNameLst>
                                          <p:attrName>style.visibility</p:attrName>
                                        </p:attrNameLst>
                                      </p:cBhvr>
                                      <p:to>
                                        <p:strVal val="visible"/>
                                      </p:to>
                                    </p:set>
                                    <p:anim calcmode="lin" valueType="num">
                                      <p:cBhvr additive="base">
                                        <p:cTn id="67" dur="3000" fill="hold"/>
                                        <p:tgtEl>
                                          <p:spTgt spid="7"/>
                                        </p:tgtEl>
                                        <p:attrNameLst>
                                          <p:attrName>ppt_x</p:attrName>
                                        </p:attrNameLst>
                                      </p:cBhvr>
                                      <p:tavLst>
                                        <p:tav tm="0">
                                          <p:val>
                                            <p:strVal val="1+#ppt_w/2"/>
                                          </p:val>
                                        </p:tav>
                                        <p:tav tm="100000">
                                          <p:val>
                                            <p:strVal val="#ppt_x"/>
                                          </p:val>
                                        </p:tav>
                                      </p:tavLst>
                                    </p:anim>
                                    <p:anim calcmode="lin" valueType="num">
                                      <p:cBhvr additive="base">
                                        <p:cTn id="68" dur="3000" fill="hold"/>
                                        <p:tgtEl>
                                          <p:spTgt spid="7"/>
                                        </p:tgtEl>
                                        <p:attrNameLst>
                                          <p:attrName>ppt_y</p:attrName>
                                        </p:attrNameLst>
                                      </p:cBhvr>
                                      <p:tavLst>
                                        <p:tav tm="0">
                                          <p:val>
                                            <p:strVal val="1+#ppt_h/2"/>
                                          </p:val>
                                        </p:tav>
                                        <p:tav tm="100000">
                                          <p:val>
                                            <p:strVal val="#ppt_y"/>
                                          </p:val>
                                        </p:tav>
                                      </p:tavLst>
                                    </p:anim>
                                  </p:childTnLst>
                                </p:cTn>
                              </p:par>
                              <p:par>
                                <p:cTn id="69" presetID="2" presetClass="entr" presetSubtype="6" dur="3000" decel="100000" fill="hold" grpId="0" nodeType="withEffect">
                                  <p:stCondLst>
                                    <p:cond delay="0"/>
                                  </p:stCondLst>
                                  <p:childTnLst>
                                    <p:set>
                                      <p:cBhvr>
                                        <p:cTn id="70" dur="1" fill="hold">
                                          <p:stCondLst>
                                            <p:cond delay="0"/>
                                          </p:stCondLst>
                                        </p:cTn>
                                        <p:tgtEl>
                                          <p:spTgt spid="6"/>
                                        </p:tgtEl>
                                        <p:attrNameLst>
                                          <p:attrName>style.visibility</p:attrName>
                                        </p:attrNameLst>
                                      </p:cBhvr>
                                      <p:to>
                                        <p:strVal val="visible"/>
                                      </p:to>
                                    </p:set>
                                    <p:anim calcmode="lin" valueType="num">
                                      <p:cBhvr additive="base">
                                        <p:cTn id="71" dur="3000" fill="hold"/>
                                        <p:tgtEl>
                                          <p:spTgt spid="6"/>
                                        </p:tgtEl>
                                        <p:attrNameLst>
                                          <p:attrName>ppt_x</p:attrName>
                                        </p:attrNameLst>
                                      </p:cBhvr>
                                      <p:tavLst>
                                        <p:tav tm="0">
                                          <p:val>
                                            <p:strVal val="1+#ppt_w/2"/>
                                          </p:val>
                                        </p:tav>
                                        <p:tav tm="100000">
                                          <p:val>
                                            <p:strVal val="#ppt_x"/>
                                          </p:val>
                                        </p:tav>
                                      </p:tavLst>
                                    </p:anim>
                                    <p:anim calcmode="lin" valueType="num">
                                      <p:cBhvr additive="base">
                                        <p:cTn id="72" dur="3000" fill="hold"/>
                                        <p:tgtEl>
                                          <p:spTgt spid="6"/>
                                        </p:tgtEl>
                                        <p:attrNameLst>
                                          <p:attrName>ppt_y</p:attrName>
                                        </p:attrNameLst>
                                      </p:cBhvr>
                                      <p:tavLst>
                                        <p:tav tm="0">
                                          <p:val>
                                            <p:strVal val="1+#ppt_h/2"/>
                                          </p:val>
                                        </p:tav>
                                        <p:tav tm="100000">
                                          <p:val>
                                            <p:strVal val="#ppt_y"/>
                                          </p:val>
                                        </p:tav>
                                      </p:tavLst>
                                    </p:anim>
                                  </p:childTnLst>
                                </p:cTn>
                              </p:par>
                              <p:par>
                                <p:cTn id="73" presetID="2" presetClass="entr" presetSubtype="6" dur="3000" decel="100000" fill="hold" grpId="0" nodeType="withEffect">
                                  <p:stCondLst>
                                    <p:cond delay="0"/>
                                  </p:stCondLst>
                                  <p:childTnLst>
                                    <p:set>
                                      <p:cBhvr>
                                        <p:cTn id="74" dur="1" fill="hold">
                                          <p:stCondLst>
                                            <p:cond delay="0"/>
                                          </p:stCondLst>
                                        </p:cTn>
                                        <p:tgtEl>
                                          <p:spTgt spid="5"/>
                                        </p:tgtEl>
                                        <p:attrNameLst>
                                          <p:attrName>style.visibility</p:attrName>
                                        </p:attrNameLst>
                                      </p:cBhvr>
                                      <p:to>
                                        <p:strVal val="visible"/>
                                      </p:to>
                                    </p:set>
                                    <p:anim calcmode="lin" valueType="num">
                                      <p:cBhvr additive="base">
                                        <p:cTn id="75" dur="3000" fill="hold"/>
                                        <p:tgtEl>
                                          <p:spTgt spid="5"/>
                                        </p:tgtEl>
                                        <p:attrNameLst>
                                          <p:attrName>ppt_x</p:attrName>
                                        </p:attrNameLst>
                                      </p:cBhvr>
                                      <p:tavLst>
                                        <p:tav tm="0">
                                          <p:val>
                                            <p:strVal val="1+#ppt_w/2"/>
                                          </p:val>
                                        </p:tav>
                                        <p:tav tm="100000">
                                          <p:val>
                                            <p:strVal val="#ppt_x"/>
                                          </p:val>
                                        </p:tav>
                                      </p:tavLst>
                                    </p:anim>
                                    <p:anim calcmode="lin" valueType="num">
                                      <p:cBhvr additive="base">
                                        <p:cTn id="76" dur="3000" fill="hold"/>
                                        <p:tgtEl>
                                          <p:spTgt spid="5"/>
                                        </p:tgtEl>
                                        <p:attrNameLst>
                                          <p:attrName>ppt_y</p:attrName>
                                        </p:attrNameLst>
                                      </p:cBhvr>
                                      <p:tavLst>
                                        <p:tav tm="0">
                                          <p:val>
                                            <p:strVal val="1+#ppt_h/2"/>
                                          </p:val>
                                        </p:tav>
                                        <p:tav tm="100000">
                                          <p:val>
                                            <p:strVal val="#ppt_y"/>
                                          </p:val>
                                        </p:tav>
                                      </p:tavLst>
                                    </p:anim>
                                  </p:childTnLst>
                                </p:cTn>
                              </p:par>
                              <p:par>
                                <p:cTn id="77" presetID="2" presetClass="entr" presetSubtype="6" dur="3000" decel="100000" fill="hold" grpId="0" nodeType="withEffect">
                                  <p:stCondLst>
                                    <p:cond delay="0"/>
                                  </p:stCondLst>
                                  <p:childTnLst>
                                    <p:set>
                                      <p:cBhvr>
                                        <p:cTn id="78" dur="1" fill="hold">
                                          <p:stCondLst>
                                            <p:cond delay="0"/>
                                          </p:stCondLst>
                                        </p:cTn>
                                        <p:tgtEl>
                                          <p:spTgt spid="4"/>
                                        </p:tgtEl>
                                        <p:attrNameLst>
                                          <p:attrName>style.visibility</p:attrName>
                                        </p:attrNameLst>
                                      </p:cBhvr>
                                      <p:to>
                                        <p:strVal val="visible"/>
                                      </p:to>
                                    </p:set>
                                    <p:anim calcmode="lin" valueType="num">
                                      <p:cBhvr additive="base">
                                        <p:cTn id="79" dur="3000" fill="hold"/>
                                        <p:tgtEl>
                                          <p:spTgt spid="4"/>
                                        </p:tgtEl>
                                        <p:attrNameLst>
                                          <p:attrName>ppt_x</p:attrName>
                                        </p:attrNameLst>
                                      </p:cBhvr>
                                      <p:tavLst>
                                        <p:tav tm="0">
                                          <p:val>
                                            <p:strVal val="1+#ppt_w/2"/>
                                          </p:val>
                                        </p:tav>
                                        <p:tav tm="100000">
                                          <p:val>
                                            <p:strVal val="#ppt_x"/>
                                          </p:val>
                                        </p:tav>
                                      </p:tavLst>
                                    </p:anim>
                                    <p:anim calcmode="lin" valueType="num">
                                      <p:cBhvr additive="base">
                                        <p:cTn id="80" dur="3000" fill="hold"/>
                                        <p:tgtEl>
                                          <p:spTgt spid="4"/>
                                        </p:tgtEl>
                                        <p:attrNameLst>
                                          <p:attrName>ppt_y</p:attrName>
                                        </p:attrNameLst>
                                      </p:cBhvr>
                                      <p:tavLst>
                                        <p:tav tm="0">
                                          <p:val>
                                            <p:strVal val="1+#ppt_h/2"/>
                                          </p:val>
                                        </p:tav>
                                        <p:tav tm="100000">
                                          <p:val>
                                            <p:strVal val="#ppt_y"/>
                                          </p:val>
                                        </p:tav>
                                      </p:tavLst>
                                    </p:anim>
                                  </p:childTnLst>
                                </p:cTn>
                              </p:par>
                              <p:par>
                                <p:cTn id="81" presetID="2" presetClass="entr" presetSubtype="6" dur="3000" decel="100000" fill="hold" grpId="0" nodeType="withEffect">
                                  <p:stCondLst>
                                    <p:cond delay="0"/>
                                  </p:stCondLst>
                                  <p:childTnLst>
                                    <p:set>
                                      <p:cBhvr>
                                        <p:cTn id="82" dur="1" fill="hold">
                                          <p:stCondLst>
                                            <p:cond delay="0"/>
                                          </p:stCondLst>
                                        </p:cTn>
                                        <p:tgtEl>
                                          <p:spTgt spid="2"/>
                                        </p:tgtEl>
                                        <p:attrNameLst>
                                          <p:attrName>style.visibility</p:attrName>
                                        </p:attrNameLst>
                                      </p:cBhvr>
                                      <p:to>
                                        <p:strVal val="visible"/>
                                      </p:to>
                                    </p:set>
                                    <p:anim calcmode="lin" valueType="num">
                                      <p:cBhvr additive="base">
                                        <p:cTn id="83" dur="3000" fill="hold"/>
                                        <p:tgtEl>
                                          <p:spTgt spid="2"/>
                                        </p:tgtEl>
                                        <p:attrNameLst>
                                          <p:attrName>ppt_x</p:attrName>
                                        </p:attrNameLst>
                                      </p:cBhvr>
                                      <p:tavLst>
                                        <p:tav tm="0">
                                          <p:val>
                                            <p:strVal val="1+#ppt_w/2"/>
                                          </p:val>
                                        </p:tav>
                                        <p:tav tm="100000">
                                          <p:val>
                                            <p:strVal val="#ppt_x"/>
                                          </p:val>
                                        </p:tav>
                                      </p:tavLst>
                                    </p:anim>
                                    <p:anim calcmode="lin" valueType="num">
                                      <p:cBhvr additive="base">
                                        <p:cTn id="84" dur="3000" fill="hold"/>
                                        <p:tgtEl>
                                          <p:spTgt spid="2"/>
                                        </p:tgtEl>
                                        <p:attrNameLst>
                                          <p:attrName>ppt_y</p:attrName>
                                        </p:attrNameLst>
                                      </p:cBhvr>
                                      <p:tavLst>
                                        <p:tav tm="0">
                                          <p:val>
                                            <p:strVal val="1+#ppt_h/2"/>
                                          </p:val>
                                        </p:tav>
                                        <p:tav tm="100000">
                                          <p:val>
                                            <p:strVal val="#ppt_y"/>
                                          </p:val>
                                        </p:tav>
                                      </p:tavLst>
                                    </p:anim>
                                  </p:childTnLst>
                                </p:cTn>
                              </p:par>
                              <p:par>
                                <p:cTn id="85" presetID="2" presetClass="entr" presetSubtype="6" dur="3000" decel="100000" fill="hold" grpId="0" nodeType="withEffect">
                                  <p:stCondLst>
                                    <p:cond delay="0"/>
                                  </p:stCondLst>
                                  <p:childTnLst>
                                    <p:set>
                                      <p:cBhvr>
                                        <p:cTn id="86" dur="1" fill="hold">
                                          <p:stCondLst>
                                            <p:cond delay="0"/>
                                          </p:stCondLst>
                                        </p:cTn>
                                        <p:tgtEl>
                                          <p:spTgt spid="14"/>
                                        </p:tgtEl>
                                        <p:attrNameLst>
                                          <p:attrName>style.visibility</p:attrName>
                                        </p:attrNameLst>
                                      </p:cBhvr>
                                      <p:to>
                                        <p:strVal val="visible"/>
                                      </p:to>
                                    </p:set>
                                    <p:anim calcmode="lin" valueType="num">
                                      <p:cBhvr additive="base">
                                        <p:cTn id="87" dur="3000" fill="hold"/>
                                        <p:tgtEl>
                                          <p:spTgt spid="14"/>
                                        </p:tgtEl>
                                        <p:attrNameLst>
                                          <p:attrName>ppt_x</p:attrName>
                                        </p:attrNameLst>
                                      </p:cBhvr>
                                      <p:tavLst>
                                        <p:tav tm="0">
                                          <p:val>
                                            <p:strVal val="1+#ppt_w/2"/>
                                          </p:val>
                                        </p:tav>
                                        <p:tav tm="100000">
                                          <p:val>
                                            <p:strVal val="#ppt_x"/>
                                          </p:val>
                                        </p:tav>
                                      </p:tavLst>
                                    </p:anim>
                                    <p:anim calcmode="lin" valueType="num">
                                      <p:cBhvr additive="base">
                                        <p:cTn id="88" dur="3000" fill="hold"/>
                                        <p:tgtEl>
                                          <p:spTgt spid="14"/>
                                        </p:tgtEl>
                                        <p:attrNameLst>
                                          <p:attrName>ppt_y</p:attrName>
                                        </p:attrNameLst>
                                      </p:cBhvr>
                                      <p:tavLst>
                                        <p:tav tm="0">
                                          <p:val>
                                            <p:strVal val="1+#ppt_h/2"/>
                                          </p:val>
                                        </p:tav>
                                        <p:tav tm="100000">
                                          <p:val>
                                            <p:strVal val="#ppt_y"/>
                                          </p:val>
                                        </p:tav>
                                      </p:tavLst>
                                    </p:anim>
                                  </p:childTnLst>
                                </p:cTn>
                              </p:par>
                              <p:par>
                                <p:cTn id="89" presetID="2" presetClass="entr" presetSubtype="6" dur="3000" decel="100000" fill="hold" grpId="0" nodeType="withEffect">
                                  <p:stCondLst>
                                    <p:cond delay="0"/>
                                  </p:stCondLst>
                                  <p:childTnLst>
                                    <p:set>
                                      <p:cBhvr>
                                        <p:cTn id="90" dur="1" fill="hold">
                                          <p:stCondLst>
                                            <p:cond delay="0"/>
                                          </p:stCondLst>
                                        </p:cTn>
                                        <p:tgtEl>
                                          <p:spTgt spid="13"/>
                                        </p:tgtEl>
                                        <p:attrNameLst>
                                          <p:attrName>style.visibility</p:attrName>
                                        </p:attrNameLst>
                                      </p:cBhvr>
                                      <p:to>
                                        <p:strVal val="visible"/>
                                      </p:to>
                                    </p:set>
                                    <p:anim calcmode="lin" valueType="num">
                                      <p:cBhvr additive="base">
                                        <p:cTn id="91" dur="3000" fill="hold"/>
                                        <p:tgtEl>
                                          <p:spTgt spid="13"/>
                                        </p:tgtEl>
                                        <p:attrNameLst>
                                          <p:attrName>ppt_x</p:attrName>
                                        </p:attrNameLst>
                                      </p:cBhvr>
                                      <p:tavLst>
                                        <p:tav tm="0">
                                          <p:val>
                                            <p:strVal val="1+#ppt_w/2"/>
                                          </p:val>
                                        </p:tav>
                                        <p:tav tm="100000">
                                          <p:val>
                                            <p:strVal val="#ppt_x"/>
                                          </p:val>
                                        </p:tav>
                                      </p:tavLst>
                                    </p:anim>
                                    <p:anim calcmode="lin" valueType="num">
                                      <p:cBhvr additive="base">
                                        <p:cTn id="92" dur="3000" fill="hold"/>
                                        <p:tgtEl>
                                          <p:spTgt spid="13"/>
                                        </p:tgtEl>
                                        <p:attrNameLst>
                                          <p:attrName>ppt_y</p:attrName>
                                        </p:attrNameLst>
                                      </p:cBhvr>
                                      <p:tavLst>
                                        <p:tav tm="0">
                                          <p:val>
                                            <p:strVal val="1+#ppt_h/2"/>
                                          </p:val>
                                        </p:tav>
                                        <p:tav tm="100000">
                                          <p:val>
                                            <p:strVal val="#ppt_y"/>
                                          </p:val>
                                        </p:tav>
                                      </p:tavLst>
                                    </p:anim>
                                  </p:childTnLst>
                                </p:cTn>
                              </p:par>
                              <p:par>
                                <p:cTn id="93" presetID="2" presetClass="entr" presetSubtype="6" dur="3000" decel="100000" fill="hold" grpId="0" nodeType="withEffect">
                                  <p:stCondLst>
                                    <p:cond delay="0"/>
                                  </p:stCondLst>
                                  <p:childTnLst>
                                    <p:set>
                                      <p:cBhvr>
                                        <p:cTn id="94" dur="1" fill="hold">
                                          <p:stCondLst>
                                            <p:cond delay="0"/>
                                          </p:stCondLst>
                                        </p:cTn>
                                        <p:tgtEl>
                                          <p:spTgt spid="12"/>
                                        </p:tgtEl>
                                        <p:attrNameLst>
                                          <p:attrName>style.visibility</p:attrName>
                                        </p:attrNameLst>
                                      </p:cBhvr>
                                      <p:to>
                                        <p:strVal val="visible"/>
                                      </p:to>
                                    </p:set>
                                    <p:anim calcmode="lin" valueType="num">
                                      <p:cBhvr additive="base">
                                        <p:cTn id="95" dur="3000" fill="hold"/>
                                        <p:tgtEl>
                                          <p:spTgt spid="12"/>
                                        </p:tgtEl>
                                        <p:attrNameLst>
                                          <p:attrName>ppt_x</p:attrName>
                                        </p:attrNameLst>
                                      </p:cBhvr>
                                      <p:tavLst>
                                        <p:tav tm="0">
                                          <p:val>
                                            <p:strVal val="1+#ppt_w/2"/>
                                          </p:val>
                                        </p:tav>
                                        <p:tav tm="100000">
                                          <p:val>
                                            <p:strVal val="#ppt_x"/>
                                          </p:val>
                                        </p:tav>
                                      </p:tavLst>
                                    </p:anim>
                                    <p:anim calcmode="lin" valueType="num">
                                      <p:cBhvr additive="base">
                                        <p:cTn id="96" dur="3000" fill="hold"/>
                                        <p:tgtEl>
                                          <p:spTgt spid="12"/>
                                        </p:tgtEl>
                                        <p:attrNameLst>
                                          <p:attrName>ppt_y</p:attrName>
                                        </p:attrNameLst>
                                      </p:cBhvr>
                                      <p:tavLst>
                                        <p:tav tm="0">
                                          <p:val>
                                            <p:strVal val="1+#ppt_h/2"/>
                                          </p:val>
                                        </p:tav>
                                        <p:tav tm="100000">
                                          <p:val>
                                            <p:strVal val="#ppt_y"/>
                                          </p:val>
                                        </p:tav>
                                      </p:tavLst>
                                    </p:anim>
                                  </p:childTnLst>
                                </p:cTn>
                              </p:par>
                              <p:par>
                                <p:cTn id="97" presetID="2" presetClass="entr" presetSubtype="6" dur="3000" decel="100000" fill="hold" grpId="0" nodeType="withEffect">
                                  <p:stCondLst>
                                    <p:cond delay="0"/>
                                  </p:stCondLst>
                                  <p:childTnLst>
                                    <p:set>
                                      <p:cBhvr>
                                        <p:cTn id="98" dur="1" fill="hold">
                                          <p:stCondLst>
                                            <p:cond delay="0"/>
                                          </p:stCondLst>
                                        </p:cTn>
                                        <p:tgtEl>
                                          <p:spTgt spid="11"/>
                                        </p:tgtEl>
                                        <p:attrNameLst>
                                          <p:attrName>style.visibility</p:attrName>
                                        </p:attrNameLst>
                                      </p:cBhvr>
                                      <p:to>
                                        <p:strVal val="visible"/>
                                      </p:to>
                                    </p:set>
                                    <p:anim calcmode="lin" valueType="num">
                                      <p:cBhvr additive="base">
                                        <p:cTn id="99" dur="3000" fill="hold"/>
                                        <p:tgtEl>
                                          <p:spTgt spid="11"/>
                                        </p:tgtEl>
                                        <p:attrNameLst>
                                          <p:attrName>ppt_x</p:attrName>
                                        </p:attrNameLst>
                                      </p:cBhvr>
                                      <p:tavLst>
                                        <p:tav tm="0">
                                          <p:val>
                                            <p:strVal val="1+#ppt_w/2"/>
                                          </p:val>
                                        </p:tav>
                                        <p:tav tm="100000">
                                          <p:val>
                                            <p:strVal val="#ppt_x"/>
                                          </p:val>
                                        </p:tav>
                                      </p:tavLst>
                                    </p:anim>
                                    <p:anim calcmode="lin" valueType="num">
                                      <p:cBhvr additive="base">
                                        <p:cTn id="100" dur="3000" fill="hold"/>
                                        <p:tgtEl>
                                          <p:spTgt spid="11"/>
                                        </p:tgtEl>
                                        <p:attrNameLst>
                                          <p:attrName>ppt_y</p:attrName>
                                        </p:attrNameLst>
                                      </p:cBhvr>
                                      <p:tavLst>
                                        <p:tav tm="0">
                                          <p:val>
                                            <p:strVal val="1+#ppt_h/2"/>
                                          </p:val>
                                        </p:tav>
                                        <p:tav tm="100000">
                                          <p:val>
                                            <p:strVal val="#ppt_y"/>
                                          </p:val>
                                        </p:tav>
                                      </p:tavLst>
                                    </p:anim>
                                  </p:childTnLst>
                                </p:cTn>
                              </p:par>
                              <p:par>
                                <p:cTn id="101" presetID="2" presetClass="entr" presetSubtype="6" dur="3000" decel="100000" fill="hold" grpId="0" nodeType="withEffect">
                                  <p:stCondLst>
                                    <p:cond delay="0"/>
                                  </p:stCondLst>
                                  <p:childTnLst>
                                    <p:set>
                                      <p:cBhvr>
                                        <p:cTn id="102" dur="1" fill="hold">
                                          <p:stCondLst>
                                            <p:cond delay="0"/>
                                          </p:stCondLst>
                                        </p:cTn>
                                        <p:tgtEl>
                                          <p:spTgt spid="10"/>
                                        </p:tgtEl>
                                        <p:attrNameLst>
                                          <p:attrName>style.visibility</p:attrName>
                                        </p:attrNameLst>
                                      </p:cBhvr>
                                      <p:to>
                                        <p:strVal val="visible"/>
                                      </p:to>
                                    </p:set>
                                    <p:anim calcmode="lin" valueType="num">
                                      <p:cBhvr additive="base">
                                        <p:cTn id="103" dur="3000" fill="hold"/>
                                        <p:tgtEl>
                                          <p:spTgt spid="10"/>
                                        </p:tgtEl>
                                        <p:attrNameLst>
                                          <p:attrName>ppt_x</p:attrName>
                                        </p:attrNameLst>
                                      </p:cBhvr>
                                      <p:tavLst>
                                        <p:tav tm="0">
                                          <p:val>
                                            <p:strVal val="1+#ppt_w/2"/>
                                          </p:val>
                                        </p:tav>
                                        <p:tav tm="100000">
                                          <p:val>
                                            <p:strVal val="#ppt_x"/>
                                          </p:val>
                                        </p:tav>
                                      </p:tavLst>
                                    </p:anim>
                                    <p:anim calcmode="lin" valueType="num">
                                      <p:cBhvr additive="base">
                                        <p:cTn id="104" dur="3000" fill="hold"/>
                                        <p:tgtEl>
                                          <p:spTgt spid="10"/>
                                        </p:tgtEl>
                                        <p:attrNameLst>
                                          <p:attrName>ppt_y</p:attrName>
                                        </p:attrNameLst>
                                      </p:cBhvr>
                                      <p:tavLst>
                                        <p:tav tm="0">
                                          <p:val>
                                            <p:strVal val="1+#ppt_h/2"/>
                                          </p:val>
                                        </p:tav>
                                        <p:tav tm="100000">
                                          <p:val>
                                            <p:strVal val="#ppt_y"/>
                                          </p:val>
                                        </p:tav>
                                      </p:tavLst>
                                    </p:anim>
                                  </p:childTnLst>
                                </p:cTn>
                              </p:par>
                              <p:par>
                                <p:cTn id="105" presetID="2" presetClass="entr" presetSubtype="6" dur="3000" decel="100000" fill="hold" grpId="0" nodeType="withEffect">
                                  <p:stCondLst>
                                    <p:cond delay="0"/>
                                  </p:stCondLst>
                                  <p:childTnLst>
                                    <p:set>
                                      <p:cBhvr>
                                        <p:cTn id="106" dur="1" fill="hold">
                                          <p:stCondLst>
                                            <p:cond delay="0"/>
                                          </p:stCondLst>
                                        </p:cTn>
                                        <p:tgtEl>
                                          <p:spTgt spid="56"/>
                                        </p:tgtEl>
                                        <p:attrNameLst>
                                          <p:attrName>style.visibility</p:attrName>
                                        </p:attrNameLst>
                                      </p:cBhvr>
                                      <p:to>
                                        <p:strVal val="visible"/>
                                      </p:to>
                                    </p:set>
                                    <p:anim calcmode="lin" valueType="num">
                                      <p:cBhvr additive="base">
                                        <p:cTn id="107" dur="3000" fill="hold"/>
                                        <p:tgtEl>
                                          <p:spTgt spid="56"/>
                                        </p:tgtEl>
                                        <p:attrNameLst>
                                          <p:attrName>ppt_x</p:attrName>
                                        </p:attrNameLst>
                                      </p:cBhvr>
                                      <p:tavLst>
                                        <p:tav tm="0">
                                          <p:val>
                                            <p:strVal val="1+#ppt_w/2"/>
                                          </p:val>
                                        </p:tav>
                                        <p:tav tm="100000">
                                          <p:val>
                                            <p:strVal val="#ppt_x"/>
                                          </p:val>
                                        </p:tav>
                                      </p:tavLst>
                                    </p:anim>
                                    <p:anim calcmode="lin" valueType="num">
                                      <p:cBhvr additive="base">
                                        <p:cTn id="108" dur="3000" fill="hold"/>
                                        <p:tgtEl>
                                          <p:spTgt spid="56"/>
                                        </p:tgtEl>
                                        <p:attrNameLst>
                                          <p:attrName>ppt_y</p:attrName>
                                        </p:attrNameLst>
                                      </p:cBhvr>
                                      <p:tavLst>
                                        <p:tav tm="0">
                                          <p:val>
                                            <p:strVal val="1+#ppt_h/2"/>
                                          </p:val>
                                        </p:tav>
                                        <p:tav tm="100000">
                                          <p:val>
                                            <p:strVal val="#ppt_y"/>
                                          </p:val>
                                        </p:tav>
                                      </p:tavLst>
                                    </p:anim>
                                  </p:childTnLst>
                                </p:cTn>
                              </p:par>
                              <p:par>
                                <p:cTn id="109" presetID="2" presetClass="entr" presetSubtype="6" dur="3000" decel="100000" fill="hold" grpId="0" nodeType="withEffect">
                                  <p:stCondLst>
                                    <p:cond delay="0"/>
                                  </p:stCondLst>
                                  <p:childTnLst>
                                    <p:set>
                                      <p:cBhvr>
                                        <p:cTn id="110" dur="1" fill="hold">
                                          <p:stCondLst>
                                            <p:cond delay="0"/>
                                          </p:stCondLst>
                                        </p:cTn>
                                        <p:tgtEl>
                                          <p:spTgt spid="55"/>
                                        </p:tgtEl>
                                        <p:attrNameLst>
                                          <p:attrName>style.visibility</p:attrName>
                                        </p:attrNameLst>
                                      </p:cBhvr>
                                      <p:to>
                                        <p:strVal val="visible"/>
                                      </p:to>
                                    </p:set>
                                    <p:anim calcmode="lin" valueType="num">
                                      <p:cBhvr additive="base">
                                        <p:cTn id="111" dur="3000" fill="hold"/>
                                        <p:tgtEl>
                                          <p:spTgt spid="55"/>
                                        </p:tgtEl>
                                        <p:attrNameLst>
                                          <p:attrName>ppt_x</p:attrName>
                                        </p:attrNameLst>
                                      </p:cBhvr>
                                      <p:tavLst>
                                        <p:tav tm="0">
                                          <p:val>
                                            <p:strVal val="1+#ppt_w/2"/>
                                          </p:val>
                                        </p:tav>
                                        <p:tav tm="100000">
                                          <p:val>
                                            <p:strVal val="#ppt_x"/>
                                          </p:val>
                                        </p:tav>
                                      </p:tavLst>
                                    </p:anim>
                                    <p:anim calcmode="lin" valueType="num">
                                      <p:cBhvr additive="base">
                                        <p:cTn id="112" dur="3000" fill="hold"/>
                                        <p:tgtEl>
                                          <p:spTgt spid="55"/>
                                        </p:tgtEl>
                                        <p:attrNameLst>
                                          <p:attrName>ppt_y</p:attrName>
                                        </p:attrNameLst>
                                      </p:cBhvr>
                                      <p:tavLst>
                                        <p:tav tm="0">
                                          <p:val>
                                            <p:strVal val="1+#ppt_h/2"/>
                                          </p:val>
                                        </p:tav>
                                        <p:tav tm="100000">
                                          <p:val>
                                            <p:strVal val="#ppt_y"/>
                                          </p:val>
                                        </p:tav>
                                      </p:tavLst>
                                    </p:anim>
                                  </p:childTnLst>
                                </p:cTn>
                              </p:par>
                              <p:par>
                                <p:cTn id="113" presetID="2" presetClass="entr" presetSubtype="6" dur="3000" decel="100000" fill="hold" grpId="0" nodeType="withEffect">
                                  <p:stCondLst>
                                    <p:cond delay="0"/>
                                  </p:stCondLst>
                                  <p:childTnLst>
                                    <p:set>
                                      <p:cBhvr>
                                        <p:cTn id="114" dur="1" fill="hold">
                                          <p:stCondLst>
                                            <p:cond delay="0"/>
                                          </p:stCondLst>
                                        </p:cTn>
                                        <p:tgtEl>
                                          <p:spTgt spid="54"/>
                                        </p:tgtEl>
                                        <p:attrNameLst>
                                          <p:attrName>style.visibility</p:attrName>
                                        </p:attrNameLst>
                                      </p:cBhvr>
                                      <p:to>
                                        <p:strVal val="visible"/>
                                      </p:to>
                                    </p:set>
                                    <p:anim calcmode="lin" valueType="num">
                                      <p:cBhvr additive="base">
                                        <p:cTn id="115" dur="3000" fill="hold"/>
                                        <p:tgtEl>
                                          <p:spTgt spid="54"/>
                                        </p:tgtEl>
                                        <p:attrNameLst>
                                          <p:attrName>ppt_x</p:attrName>
                                        </p:attrNameLst>
                                      </p:cBhvr>
                                      <p:tavLst>
                                        <p:tav tm="0">
                                          <p:val>
                                            <p:strVal val="1+#ppt_w/2"/>
                                          </p:val>
                                        </p:tav>
                                        <p:tav tm="100000">
                                          <p:val>
                                            <p:strVal val="#ppt_x"/>
                                          </p:val>
                                        </p:tav>
                                      </p:tavLst>
                                    </p:anim>
                                    <p:anim calcmode="lin" valueType="num">
                                      <p:cBhvr additive="base">
                                        <p:cTn id="116" dur="3000" fill="hold"/>
                                        <p:tgtEl>
                                          <p:spTgt spid="54"/>
                                        </p:tgtEl>
                                        <p:attrNameLst>
                                          <p:attrName>ppt_y</p:attrName>
                                        </p:attrNameLst>
                                      </p:cBhvr>
                                      <p:tavLst>
                                        <p:tav tm="0">
                                          <p:val>
                                            <p:strVal val="1+#ppt_h/2"/>
                                          </p:val>
                                        </p:tav>
                                        <p:tav tm="100000">
                                          <p:val>
                                            <p:strVal val="#ppt_y"/>
                                          </p:val>
                                        </p:tav>
                                      </p:tavLst>
                                    </p:anim>
                                  </p:childTnLst>
                                </p:cTn>
                              </p:par>
                              <p:par>
                                <p:cTn id="117" presetID="2" presetClass="entr" presetSubtype="6" dur="3000" decel="100000" fill="hold" grpId="0" nodeType="withEffect">
                                  <p:stCondLst>
                                    <p:cond delay="0"/>
                                  </p:stCondLst>
                                  <p:childTnLst>
                                    <p:set>
                                      <p:cBhvr>
                                        <p:cTn id="118" dur="1" fill="hold">
                                          <p:stCondLst>
                                            <p:cond delay="0"/>
                                          </p:stCondLst>
                                        </p:cTn>
                                        <p:tgtEl>
                                          <p:spTgt spid="53"/>
                                        </p:tgtEl>
                                        <p:attrNameLst>
                                          <p:attrName>style.visibility</p:attrName>
                                        </p:attrNameLst>
                                      </p:cBhvr>
                                      <p:to>
                                        <p:strVal val="visible"/>
                                      </p:to>
                                    </p:set>
                                    <p:anim calcmode="lin" valueType="num">
                                      <p:cBhvr additive="base">
                                        <p:cTn id="119" dur="3000" fill="hold"/>
                                        <p:tgtEl>
                                          <p:spTgt spid="53"/>
                                        </p:tgtEl>
                                        <p:attrNameLst>
                                          <p:attrName>ppt_x</p:attrName>
                                        </p:attrNameLst>
                                      </p:cBhvr>
                                      <p:tavLst>
                                        <p:tav tm="0">
                                          <p:val>
                                            <p:strVal val="1+#ppt_w/2"/>
                                          </p:val>
                                        </p:tav>
                                        <p:tav tm="100000">
                                          <p:val>
                                            <p:strVal val="#ppt_x"/>
                                          </p:val>
                                        </p:tav>
                                      </p:tavLst>
                                    </p:anim>
                                    <p:anim calcmode="lin" valueType="num">
                                      <p:cBhvr additive="base">
                                        <p:cTn id="120" dur="3000" fill="hold"/>
                                        <p:tgtEl>
                                          <p:spTgt spid="53"/>
                                        </p:tgtEl>
                                        <p:attrNameLst>
                                          <p:attrName>ppt_y</p:attrName>
                                        </p:attrNameLst>
                                      </p:cBhvr>
                                      <p:tavLst>
                                        <p:tav tm="0">
                                          <p:val>
                                            <p:strVal val="1+#ppt_h/2"/>
                                          </p:val>
                                        </p:tav>
                                        <p:tav tm="100000">
                                          <p:val>
                                            <p:strVal val="#ppt_y"/>
                                          </p:val>
                                        </p:tav>
                                      </p:tavLst>
                                    </p:anim>
                                  </p:childTnLst>
                                </p:cTn>
                              </p:par>
                              <p:par>
                                <p:cTn id="121" presetID="2" presetClass="entr" presetSubtype="6" dur="3000" decel="100000" fill="hold" grpId="0" nodeType="withEffect">
                                  <p:stCondLst>
                                    <p:cond delay="0"/>
                                  </p:stCondLst>
                                  <p:childTnLst>
                                    <p:set>
                                      <p:cBhvr>
                                        <p:cTn id="122" dur="1" fill="hold">
                                          <p:stCondLst>
                                            <p:cond delay="0"/>
                                          </p:stCondLst>
                                        </p:cTn>
                                        <p:tgtEl>
                                          <p:spTgt spid="61"/>
                                        </p:tgtEl>
                                        <p:attrNameLst>
                                          <p:attrName>style.visibility</p:attrName>
                                        </p:attrNameLst>
                                      </p:cBhvr>
                                      <p:to>
                                        <p:strVal val="visible"/>
                                      </p:to>
                                    </p:set>
                                    <p:anim calcmode="lin" valueType="num">
                                      <p:cBhvr additive="base">
                                        <p:cTn id="123" dur="3000" fill="hold"/>
                                        <p:tgtEl>
                                          <p:spTgt spid="61"/>
                                        </p:tgtEl>
                                        <p:attrNameLst>
                                          <p:attrName>ppt_x</p:attrName>
                                        </p:attrNameLst>
                                      </p:cBhvr>
                                      <p:tavLst>
                                        <p:tav tm="0">
                                          <p:val>
                                            <p:strVal val="1+#ppt_w/2"/>
                                          </p:val>
                                        </p:tav>
                                        <p:tav tm="100000">
                                          <p:val>
                                            <p:strVal val="#ppt_x"/>
                                          </p:val>
                                        </p:tav>
                                      </p:tavLst>
                                    </p:anim>
                                    <p:anim calcmode="lin" valueType="num">
                                      <p:cBhvr additive="base">
                                        <p:cTn id="124" dur="3000" fill="hold"/>
                                        <p:tgtEl>
                                          <p:spTgt spid="61"/>
                                        </p:tgtEl>
                                        <p:attrNameLst>
                                          <p:attrName>ppt_y</p:attrName>
                                        </p:attrNameLst>
                                      </p:cBhvr>
                                      <p:tavLst>
                                        <p:tav tm="0">
                                          <p:val>
                                            <p:strVal val="1+#ppt_h/2"/>
                                          </p:val>
                                        </p:tav>
                                        <p:tav tm="100000">
                                          <p:val>
                                            <p:strVal val="#ppt_y"/>
                                          </p:val>
                                        </p:tav>
                                      </p:tavLst>
                                    </p:anim>
                                  </p:childTnLst>
                                </p:cTn>
                              </p:par>
                              <p:par>
                                <p:cTn id="125" presetID="2" presetClass="entr" presetSubtype="6" dur="3000" decel="100000" fill="hold" grpId="0" nodeType="withEffect">
                                  <p:stCondLst>
                                    <p:cond delay="0"/>
                                  </p:stCondLst>
                                  <p:childTnLst>
                                    <p:set>
                                      <p:cBhvr>
                                        <p:cTn id="126" dur="1" fill="hold">
                                          <p:stCondLst>
                                            <p:cond delay="0"/>
                                          </p:stCondLst>
                                        </p:cTn>
                                        <p:tgtEl>
                                          <p:spTgt spid="60"/>
                                        </p:tgtEl>
                                        <p:attrNameLst>
                                          <p:attrName>style.visibility</p:attrName>
                                        </p:attrNameLst>
                                      </p:cBhvr>
                                      <p:to>
                                        <p:strVal val="visible"/>
                                      </p:to>
                                    </p:set>
                                    <p:anim calcmode="lin" valueType="num">
                                      <p:cBhvr additive="base">
                                        <p:cTn id="127" dur="3000" fill="hold"/>
                                        <p:tgtEl>
                                          <p:spTgt spid="60"/>
                                        </p:tgtEl>
                                        <p:attrNameLst>
                                          <p:attrName>ppt_x</p:attrName>
                                        </p:attrNameLst>
                                      </p:cBhvr>
                                      <p:tavLst>
                                        <p:tav tm="0">
                                          <p:val>
                                            <p:strVal val="1+#ppt_w/2"/>
                                          </p:val>
                                        </p:tav>
                                        <p:tav tm="100000">
                                          <p:val>
                                            <p:strVal val="#ppt_x"/>
                                          </p:val>
                                        </p:tav>
                                      </p:tavLst>
                                    </p:anim>
                                    <p:anim calcmode="lin" valueType="num">
                                      <p:cBhvr additive="base">
                                        <p:cTn id="128" dur="3000" fill="hold"/>
                                        <p:tgtEl>
                                          <p:spTgt spid="60"/>
                                        </p:tgtEl>
                                        <p:attrNameLst>
                                          <p:attrName>ppt_y</p:attrName>
                                        </p:attrNameLst>
                                      </p:cBhvr>
                                      <p:tavLst>
                                        <p:tav tm="0">
                                          <p:val>
                                            <p:strVal val="1+#ppt_h/2"/>
                                          </p:val>
                                        </p:tav>
                                        <p:tav tm="100000">
                                          <p:val>
                                            <p:strVal val="#ppt_y"/>
                                          </p:val>
                                        </p:tav>
                                      </p:tavLst>
                                    </p:anim>
                                  </p:childTnLst>
                                </p:cTn>
                              </p:par>
                              <p:par>
                                <p:cTn id="129" presetID="2" presetClass="entr" presetSubtype="6" dur="3000" decel="100000" fill="hold" grpId="0" nodeType="withEffect">
                                  <p:stCondLst>
                                    <p:cond delay="0"/>
                                  </p:stCondLst>
                                  <p:childTnLst>
                                    <p:set>
                                      <p:cBhvr>
                                        <p:cTn id="130" dur="1" fill="hold">
                                          <p:stCondLst>
                                            <p:cond delay="0"/>
                                          </p:stCondLst>
                                        </p:cTn>
                                        <p:tgtEl>
                                          <p:spTgt spid="59"/>
                                        </p:tgtEl>
                                        <p:attrNameLst>
                                          <p:attrName>style.visibility</p:attrName>
                                        </p:attrNameLst>
                                      </p:cBhvr>
                                      <p:to>
                                        <p:strVal val="visible"/>
                                      </p:to>
                                    </p:set>
                                    <p:anim calcmode="lin" valueType="num">
                                      <p:cBhvr additive="base">
                                        <p:cTn id="131" dur="3000" fill="hold"/>
                                        <p:tgtEl>
                                          <p:spTgt spid="59"/>
                                        </p:tgtEl>
                                        <p:attrNameLst>
                                          <p:attrName>ppt_x</p:attrName>
                                        </p:attrNameLst>
                                      </p:cBhvr>
                                      <p:tavLst>
                                        <p:tav tm="0">
                                          <p:val>
                                            <p:strVal val="1+#ppt_w/2"/>
                                          </p:val>
                                        </p:tav>
                                        <p:tav tm="100000">
                                          <p:val>
                                            <p:strVal val="#ppt_x"/>
                                          </p:val>
                                        </p:tav>
                                      </p:tavLst>
                                    </p:anim>
                                    <p:anim calcmode="lin" valueType="num">
                                      <p:cBhvr additive="base">
                                        <p:cTn id="132" dur="3000" fill="hold"/>
                                        <p:tgtEl>
                                          <p:spTgt spid="59"/>
                                        </p:tgtEl>
                                        <p:attrNameLst>
                                          <p:attrName>ppt_y</p:attrName>
                                        </p:attrNameLst>
                                      </p:cBhvr>
                                      <p:tavLst>
                                        <p:tav tm="0">
                                          <p:val>
                                            <p:strVal val="1+#ppt_h/2"/>
                                          </p:val>
                                        </p:tav>
                                        <p:tav tm="100000">
                                          <p:val>
                                            <p:strVal val="#ppt_y"/>
                                          </p:val>
                                        </p:tav>
                                      </p:tavLst>
                                    </p:anim>
                                  </p:childTnLst>
                                </p:cTn>
                              </p:par>
                              <p:par>
                                <p:cTn id="133" presetID="2" presetClass="entr" presetSubtype="6" dur="3000" decel="100000" fill="hold" grpId="0" nodeType="withEffect">
                                  <p:stCondLst>
                                    <p:cond delay="0"/>
                                  </p:stCondLst>
                                  <p:childTnLst>
                                    <p:set>
                                      <p:cBhvr>
                                        <p:cTn id="134" dur="1" fill="hold">
                                          <p:stCondLst>
                                            <p:cond delay="0"/>
                                          </p:stCondLst>
                                        </p:cTn>
                                        <p:tgtEl>
                                          <p:spTgt spid="66"/>
                                        </p:tgtEl>
                                        <p:attrNameLst>
                                          <p:attrName>style.visibility</p:attrName>
                                        </p:attrNameLst>
                                      </p:cBhvr>
                                      <p:to>
                                        <p:strVal val="visible"/>
                                      </p:to>
                                    </p:set>
                                    <p:anim calcmode="lin" valueType="num">
                                      <p:cBhvr additive="base">
                                        <p:cTn id="135" dur="3000" fill="hold"/>
                                        <p:tgtEl>
                                          <p:spTgt spid="66"/>
                                        </p:tgtEl>
                                        <p:attrNameLst>
                                          <p:attrName>ppt_x</p:attrName>
                                        </p:attrNameLst>
                                      </p:cBhvr>
                                      <p:tavLst>
                                        <p:tav tm="0">
                                          <p:val>
                                            <p:strVal val="1+#ppt_w/2"/>
                                          </p:val>
                                        </p:tav>
                                        <p:tav tm="100000">
                                          <p:val>
                                            <p:strVal val="#ppt_x"/>
                                          </p:val>
                                        </p:tav>
                                      </p:tavLst>
                                    </p:anim>
                                    <p:anim calcmode="lin" valueType="num">
                                      <p:cBhvr additive="base">
                                        <p:cTn id="136" dur="3000" fill="hold"/>
                                        <p:tgtEl>
                                          <p:spTgt spid="66"/>
                                        </p:tgtEl>
                                        <p:attrNameLst>
                                          <p:attrName>ppt_y</p:attrName>
                                        </p:attrNameLst>
                                      </p:cBhvr>
                                      <p:tavLst>
                                        <p:tav tm="0">
                                          <p:val>
                                            <p:strVal val="1+#ppt_h/2"/>
                                          </p:val>
                                        </p:tav>
                                        <p:tav tm="100000">
                                          <p:val>
                                            <p:strVal val="#ppt_y"/>
                                          </p:val>
                                        </p:tav>
                                      </p:tavLst>
                                    </p:anim>
                                  </p:childTnLst>
                                </p:cTn>
                              </p:par>
                              <p:par>
                                <p:cTn id="137" presetID="2" presetClass="entr" presetSubtype="6" dur="3000" decel="100000" fill="hold" grpId="0" nodeType="withEffect">
                                  <p:stCondLst>
                                    <p:cond delay="0"/>
                                  </p:stCondLst>
                                  <p:childTnLst>
                                    <p:set>
                                      <p:cBhvr>
                                        <p:cTn id="138" dur="1" fill="hold">
                                          <p:stCondLst>
                                            <p:cond delay="0"/>
                                          </p:stCondLst>
                                        </p:cTn>
                                        <p:tgtEl>
                                          <p:spTgt spid="65"/>
                                        </p:tgtEl>
                                        <p:attrNameLst>
                                          <p:attrName>style.visibility</p:attrName>
                                        </p:attrNameLst>
                                      </p:cBhvr>
                                      <p:to>
                                        <p:strVal val="visible"/>
                                      </p:to>
                                    </p:set>
                                    <p:anim calcmode="lin" valueType="num">
                                      <p:cBhvr additive="base">
                                        <p:cTn id="139" dur="3000" fill="hold"/>
                                        <p:tgtEl>
                                          <p:spTgt spid="65"/>
                                        </p:tgtEl>
                                        <p:attrNameLst>
                                          <p:attrName>ppt_x</p:attrName>
                                        </p:attrNameLst>
                                      </p:cBhvr>
                                      <p:tavLst>
                                        <p:tav tm="0">
                                          <p:val>
                                            <p:strVal val="1+#ppt_w/2"/>
                                          </p:val>
                                        </p:tav>
                                        <p:tav tm="100000">
                                          <p:val>
                                            <p:strVal val="#ppt_x"/>
                                          </p:val>
                                        </p:tav>
                                      </p:tavLst>
                                    </p:anim>
                                    <p:anim calcmode="lin" valueType="num">
                                      <p:cBhvr additive="base">
                                        <p:cTn id="140" dur="3000" fill="hold"/>
                                        <p:tgtEl>
                                          <p:spTgt spid="6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animBg="1"/>
      <p:bldP spid="49" grpId="0" animBg="1"/>
      <p:bldP spid="41" grpId="0" animBg="1"/>
      <p:bldP spid="42" grpId="0" animBg="1"/>
      <p:bldP spid="43" grpId="0" animBg="1"/>
      <p:bldP spid="28" grpId="0" animBg="1"/>
      <p:bldP spid="29" grpId="0" animBg="1"/>
      <p:bldP spid="30" grpId="0" animBg="1"/>
      <p:bldP spid="31" grpId="0" animBg="1"/>
      <p:bldP spid="16" grpId="0" animBg="1"/>
      <p:bldP spid="17" grpId="0" animBg="1"/>
      <p:bldP spid="18" grpId="0" animBg="1"/>
      <p:bldP spid="19" grpId="0" animBg="1"/>
      <p:bldP spid="20" grpId="0" animBg="1"/>
      <p:bldP spid="2" grpId="0" animBg="1"/>
      <p:bldP spid="4" grpId="0" animBg="1"/>
      <p:bldP spid="5" grpId="0" animBg="1"/>
      <p:bldP spid="6" grpId="0" animBg="1"/>
      <p:bldP spid="7" grpId="0" animBg="1"/>
      <p:bldP spid="8" grpId="0" animBg="1"/>
      <p:bldP spid="10" grpId="0" animBg="1"/>
      <p:bldP spid="11" grpId="0" animBg="1"/>
      <p:bldP spid="12" grpId="0" animBg="1"/>
      <p:bldP spid="13" grpId="0" animBg="1"/>
      <p:bldP spid="14" grpId="0" animBg="1"/>
      <p:bldP spid="53" grpId="0" animBg="1"/>
      <p:bldP spid="54" grpId="0" animBg="1"/>
      <p:bldP spid="55" grpId="0" animBg="1"/>
      <p:bldP spid="56" grpId="0" animBg="1"/>
      <p:bldP spid="59" grpId="0" animBg="1"/>
      <p:bldP spid="60" grpId="0" animBg="1"/>
      <p:bldP spid="61" grpId="0" animBg="1"/>
      <p:bldP spid="65" grpId="0" animBg="1"/>
      <p:bldP spid="66" grpId="0" animBg="1"/>
    </p:bld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6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B13DB9B-D378-4E6B-8FA4-452DF397F209}"/>
              </a:ext>
            </a:extLst>
          </p:cNvPr>
          <p:cNvSpPr>
            <a:spLocks noGrp="1"/>
          </p:cNvSpPr>
          <p:nvPr>
            <p:ph type="pic" sz="quarter" idx="16"/>
          </p:nvPr>
        </p:nvSpPr>
        <p:spPr>
          <a:xfrm>
            <a:off x="6096000" y="-1"/>
            <a:ext cx="5314258" cy="6858000"/>
          </a:xfrm>
          <a:custGeom>
            <a:avLst/>
            <a:gdLst>
              <a:gd name="connsiteX0" fmla="*/ 0 w 10629900"/>
              <a:gd name="connsiteY0" fmla="*/ 0 h 13715999"/>
              <a:gd name="connsiteX1" fmla="*/ 10629900 w 10629900"/>
              <a:gd name="connsiteY1" fmla="*/ 0 h 13715999"/>
              <a:gd name="connsiteX2" fmla="*/ 10629900 w 10629900"/>
              <a:gd name="connsiteY2" fmla="*/ 13715999 h 13715999"/>
              <a:gd name="connsiteX3" fmla="*/ 0 w 10629900"/>
              <a:gd name="connsiteY3" fmla="*/ 13715999 h 13715999"/>
            </a:gdLst>
            <a:ahLst/>
            <a:cxnLst>
              <a:cxn ang="0">
                <a:pos x="connsiteX0" y="connsiteY0"/>
              </a:cxn>
              <a:cxn ang="0">
                <a:pos x="connsiteX1" y="connsiteY1"/>
              </a:cxn>
              <a:cxn ang="0">
                <a:pos x="connsiteX2" y="connsiteY2"/>
              </a:cxn>
              <a:cxn ang="0">
                <a:pos x="connsiteX3" y="connsiteY3"/>
              </a:cxn>
            </a:cxnLst>
            <a:rect l="l" t="t" r="r" b="b"/>
            <a:pathLst>
              <a:path w="10629900" h="13715999">
                <a:moveTo>
                  <a:pt x="0" y="0"/>
                </a:moveTo>
                <a:lnTo>
                  <a:pt x="10629900" y="0"/>
                </a:lnTo>
                <a:lnTo>
                  <a:pt x="10629900" y="13715999"/>
                </a:lnTo>
                <a:lnTo>
                  <a:pt x="0" y="13715999"/>
                </a:ln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Tree>
    <p:extLst>
      <p:ext uri="{BB962C8B-B14F-4D97-AF65-F5344CB8AC3E}">
        <p14:creationId xmlns:p14="http://schemas.microsoft.com/office/powerpoint/2010/main" val="378882579"/>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1" dur="2000" decel="10000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2000" fill="hold"/>
                                        <p:tgtEl>
                                          <p:spTgt spid="4"/>
                                        </p:tgtEl>
                                        <p:attrNameLst>
                                          <p:attrName>ppt_x</p:attrName>
                                        </p:attrNameLst>
                                      </p:cBhvr>
                                      <p:tavLst>
                                        <p:tav tm="0">
                                          <p:val>
                                            <p:strVal val="#ppt_x"/>
                                          </p:val>
                                        </p:tav>
                                        <p:tav tm="100000">
                                          <p:val>
                                            <p:strVal val="#ppt_x"/>
                                          </p:val>
                                        </p:tav>
                                      </p:tavLst>
                                    </p:anim>
                                    <p:anim calcmode="lin" valueType="num">
                                      <p:cBhvr additive="base">
                                        <p:cTn id="8" dur="2000" fill="hold"/>
                                        <p:tgtEl>
                                          <p:spTgt spid="4"/>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7_Custom Layou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CD2B06C0-CBE8-405B-8A49-1EDA08527EB6}"/>
              </a:ext>
            </a:extLst>
          </p:cNvPr>
          <p:cNvSpPr>
            <a:spLocks noGrp="1"/>
          </p:cNvSpPr>
          <p:nvPr>
            <p:ph type="pic" sz="quarter" idx="16"/>
          </p:nvPr>
        </p:nvSpPr>
        <p:spPr>
          <a:xfrm>
            <a:off x="1566817" y="1035169"/>
            <a:ext cx="3476803" cy="4917057"/>
          </a:xfrm>
          <a:custGeom>
            <a:avLst/>
            <a:gdLst>
              <a:gd name="connsiteX0" fmla="*/ 0 w 10629900"/>
              <a:gd name="connsiteY0" fmla="*/ 0 h 13715999"/>
              <a:gd name="connsiteX1" fmla="*/ 10629900 w 10629900"/>
              <a:gd name="connsiteY1" fmla="*/ 0 h 13715999"/>
              <a:gd name="connsiteX2" fmla="*/ 10629900 w 10629900"/>
              <a:gd name="connsiteY2" fmla="*/ 13715999 h 13715999"/>
              <a:gd name="connsiteX3" fmla="*/ 0 w 10629900"/>
              <a:gd name="connsiteY3" fmla="*/ 13715999 h 13715999"/>
            </a:gdLst>
            <a:ahLst/>
            <a:cxnLst>
              <a:cxn ang="0">
                <a:pos x="connsiteX0" y="connsiteY0"/>
              </a:cxn>
              <a:cxn ang="0">
                <a:pos x="connsiteX1" y="connsiteY1"/>
              </a:cxn>
              <a:cxn ang="0">
                <a:pos x="connsiteX2" y="connsiteY2"/>
              </a:cxn>
              <a:cxn ang="0">
                <a:pos x="connsiteX3" y="connsiteY3"/>
              </a:cxn>
            </a:cxnLst>
            <a:rect l="l" t="t" r="r" b="b"/>
            <a:pathLst>
              <a:path w="10629900" h="13715999">
                <a:moveTo>
                  <a:pt x="0" y="0"/>
                </a:moveTo>
                <a:lnTo>
                  <a:pt x="10629900" y="0"/>
                </a:lnTo>
                <a:lnTo>
                  <a:pt x="10629900" y="13715999"/>
                </a:lnTo>
                <a:lnTo>
                  <a:pt x="0" y="13715999"/>
                </a:ln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Tree>
    <p:extLst>
      <p:ext uri="{BB962C8B-B14F-4D97-AF65-F5344CB8AC3E}">
        <p14:creationId xmlns:p14="http://schemas.microsoft.com/office/powerpoint/2010/main" val="878121437"/>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1" dur="2000" decel="100000" fill="hold" grpId="0" nodeType="withEffect">
                                  <p:stCondLst>
                                    <p:cond delay="100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2000" fill="hold"/>
                                        <p:tgtEl>
                                          <p:spTgt spid="3"/>
                                        </p:tgtEl>
                                        <p:attrNameLst>
                                          <p:attrName>ppt_x</p:attrName>
                                        </p:attrNameLst>
                                      </p:cBhvr>
                                      <p:tavLst>
                                        <p:tav tm="0">
                                          <p:val>
                                            <p:strVal val="#ppt_x"/>
                                          </p:val>
                                        </p:tav>
                                        <p:tav tm="100000">
                                          <p:val>
                                            <p:strVal val="#ppt_x"/>
                                          </p:val>
                                        </p:tav>
                                      </p:tavLst>
                                    </p:anim>
                                    <p:anim calcmode="lin" valueType="num">
                                      <p:cBhvr additive="base">
                                        <p:cTn id="8" dur="2000" fill="hold"/>
                                        <p:tgtEl>
                                          <p:spTgt spid="3"/>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8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CB2A7E9-3614-483C-A98C-8ECE0BE80B01}"/>
              </a:ext>
            </a:extLst>
          </p:cNvPr>
          <p:cNvSpPr>
            <a:spLocks noGrp="1"/>
          </p:cNvSpPr>
          <p:nvPr>
            <p:ph type="pic" sz="quarter" idx="16"/>
          </p:nvPr>
        </p:nvSpPr>
        <p:spPr>
          <a:xfrm>
            <a:off x="781742" y="647700"/>
            <a:ext cx="10628516" cy="5524500"/>
          </a:xfrm>
          <a:custGeom>
            <a:avLst/>
            <a:gdLst>
              <a:gd name="connsiteX0" fmla="*/ 0 w 21259800"/>
              <a:gd name="connsiteY0" fmla="*/ 0 h 11049000"/>
              <a:gd name="connsiteX1" fmla="*/ 21259800 w 21259800"/>
              <a:gd name="connsiteY1" fmla="*/ 0 h 11049000"/>
              <a:gd name="connsiteX2" fmla="*/ 21259800 w 21259800"/>
              <a:gd name="connsiteY2" fmla="*/ 11049000 h 11049000"/>
              <a:gd name="connsiteX3" fmla="*/ 0 w 21259800"/>
              <a:gd name="connsiteY3" fmla="*/ 11049000 h 11049000"/>
            </a:gdLst>
            <a:ahLst/>
            <a:cxnLst>
              <a:cxn ang="0">
                <a:pos x="connsiteX0" y="connsiteY0"/>
              </a:cxn>
              <a:cxn ang="0">
                <a:pos x="connsiteX1" y="connsiteY1"/>
              </a:cxn>
              <a:cxn ang="0">
                <a:pos x="connsiteX2" y="connsiteY2"/>
              </a:cxn>
              <a:cxn ang="0">
                <a:pos x="connsiteX3" y="connsiteY3"/>
              </a:cxn>
            </a:cxnLst>
            <a:rect l="l" t="t" r="r" b="b"/>
            <a:pathLst>
              <a:path w="21259800" h="11049000">
                <a:moveTo>
                  <a:pt x="0" y="0"/>
                </a:moveTo>
                <a:lnTo>
                  <a:pt x="21259800" y="0"/>
                </a:lnTo>
                <a:lnTo>
                  <a:pt x="21259800" y="11049000"/>
                </a:lnTo>
                <a:lnTo>
                  <a:pt x="0" y="11049000"/>
                </a:ln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Tree>
    <p:extLst>
      <p:ext uri="{BB962C8B-B14F-4D97-AF65-F5344CB8AC3E}">
        <p14:creationId xmlns:p14="http://schemas.microsoft.com/office/powerpoint/2010/main" val="1943903991"/>
      </p:ext>
    </p:extLst>
  </p:cSld>
  <p:clrMapOvr>
    <a:masterClrMapping/>
  </p:clrMapOvr>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9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CB2A7E9-3614-483C-A98C-8ECE0BE80B01}"/>
              </a:ext>
            </a:extLst>
          </p:cNvPr>
          <p:cNvSpPr>
            <a:spLocks noGrp="1"/>
          </p:cNvSpPr>
          <p:nvPr>
            <p:ph type="pic" sz="quarter" idx="16"/>
          </p:nvPr>
        </p:nvSpPr>
        <p:spPr>
          <a:xfrm>
            <a:off x="3616788" y="647700"/>
            <a:ext cx="7793470" cy="5524500"/>
          </a:xfrm>
          <a:custGeom>
            <a:avLst/>
            <a:gdLst>
              <a:gd name="connsiteX0" fmla="*/ 0 w 21259800"/>
              <a:gd name="connsiteY0" fmla="*/ 0 h 11049000"/>
              <a:gd name="connsiteX1" fmla="*/ 21259800 w 21259800"/>
              <a:gd name="connsiteY1" fmla="*/ 0 h 11049000"/>
              <a:gd name="connsiteX2" fmla="*/ 21259800 w 21259800"/>
              <a:gd name="connsiteY2" fmla="*/ 11049000 h 11049000"/>
              <a:gd name="connsiteX3" fmla="*/ 0 w 21259800"/>
              <a:gd name="connsiteY3" fmla="*/ 11049000 h 11049000"/>
            </a:gdLst>
            <a:ahLst/>
            <a:cxnLst>
              <a:cxn ang="0">
                <a:pos x="connsiteX0" y="connsiteY0"/>
              </a:cxn>
              <a:cxn ang="0">
                <a:pos x="connsiteX1" y="connsiteY1"/>
              </a:cxn>
              <a:cxn ang="0">
                <a:pos x="connsiteX2" y="connsiteY2"/>
              </a:cxn>
              <a:cxn ang="0">
                <a:pos x="connsiteX3" y="connsiteY3"/>
              </a:cxn>
            </a:cxnLst>
            <a:rect l="l" t="t" r="r" b="b"/>
            <a:pathLst>
              <a:path w="21259800" h="11049000">
                <a:moveTo>
                  <a:pt x="0" y="0"/>
                </a:moveTo>
                <a:lnTo>
                  <a:pt x="21259800" y="0"/>
                </a:lnTo>
                <a:lnTo>
                  <a:pt x="21259800" y="11049000"/>
                </a:lnTo>
                <a:lnTo>
                  <a:pt x="0" y="11049000"/>
                </a:ln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Tree>
    <p:extLst>
      <p:ext uri="{BB962C8B-B14F-4D97-AF65-F5344CB8AC3E}">
        <p14:creationId xmlns:p14="http://schemas.microsoft.com/office/powerpoint/2010/main" val="2271885787"/>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8" dur="1900" decel="10000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900" fill="hold"/>
                                        <p:tgtEl>
                                          <p:spTgt spid="4"/>
                                        </p:tgtEl>
                                        <p:attrNameLst>
                                          <p:attrName>ppt_x</p:attrName>
                                        </p:attrNameLst>
                                      </p:cBhvr>
                                      <p:tavLst>
                                        <p:tav tm="0">
                                          <p:val>
                                            <p:strVal val="0-#ppt_w/2"/>
                                          </p:val>
                                        </p:tav>
                                        <p:tav tm="100000">
                                          <p:val>
                                            <p:strVal val="#ppt_x"/>
                                          </p:val>
                                        </p:tav>
                                      </p:tavLst>
                                    </p:anim>
                                    <p:anim calcmode="lin" valueType="num">
                                      <p:cBhvr additive="base">
                                        <p:cTn id="8" dur="190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20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90EE7DA-954F-470F-B4FB-970B10427B29}"/>
              </a:ext>
            </a:extLst>
          </p:cNvPr>
          <p:cNvSpPr>
            <a:spLocks noGrp="1"/>
          </p:cNvSpPr>
          <p:nvPr>
            <p:ph type="pic" sz="quarter" idx="16"/>
          </p:nvPr>
        </p:nvSpPr>
        <p:spPr>
          <a:xfrm>
            <a:off x="4526197" y="1082616"/>
            <a:ext cx="3139606" cy="4692770"/>
          </a:xfrm>
          <a:custGeom>
            <a:avLst/>
            <a:gdLst>
              <a:gd name="connsiteX0" fmla="*/ 0 w 6280030"/>
              <a:gd name="connsiteY0" fmla="*/ 0 h 9385539"/>
              <a:gd name="connsiteX1" fmla="*/ 6280030 w 6280030"/>
              <a:gd name="connsiteY1" fmla="*/ 0 h 9385539"/>
              <a:gd name="connsiteX2" fmla="*/ 6280030 w 6280030"/>
              <a:gd name="connsiteY2" fmla="*/ 9385539 h 9385539"/>
              <a:gd name="connsiteX3" fmla="*/ 0 w 6280030"/>
              <a:gd name="connsiteY3" fmla="*/ 9385539 h 9385539"/>
            </a:gdLst>
            <a:ahLst/>
            <a:cxnLst>
              <a:cxn ang="0">
                <a:pos x="connsiteX0" y="connsiteY0"/>
              </a:cxn>
              <a:cxn ang="0">
                <a:pos x="connsiteX1" y="connsiteY1"/>
              </a:cxn>
              <a:cxn ang="0">
                <a:pos x="connsiteX2" y="connsiteY2"/>
              </a:cxn>
              <a:cxn ang="0">
                <a:pos x="connsiteX3" y="connsiteY3"/>
              </a:cxn>
            </a:cxnLst>
            <a:rect l="l" t="t" r="r" b="b"/>
            <a:pathLst>
              <a:path w="6280030" h="9385539">
                <a:moveTo>
                  <a:pt x="0" y="0"/>
                </a:moveTo>
                <a:lnTo>
                  <a:pt x="6280030" y="0"/>
                </a:lnTo>
                <a:lnTo>
                  <a:pt x="6280030" y="9385539"/>
                </a:lnTo>
                <a:lnTo>
                  <a:pt x="0" y="9385539"/>
                </a:lnTo>
                <a:close/>
              </a:path>
            </a:pathLst>
          </a:custGeom>
          <a:pattFill prst="pct60">
            <a:fgClr>
              <a:schemeClr val="bg1"/>
            </a:fgClr>
            <a:bgClr>
              <a:schemeClr val="bg1">
                <a:lumMod val="85000"/>
              </a:schemeClr>
            </a:bgClr>
          </a:pattFill>
          <a:effectLst>
            <a:outerShdw dist="266700" dir="2700000" algn="tl" rotWithShape="0">
              <a:prstClr val="black">
                <a:alpha val="23000"/>
              </a:prstClr>
            </a:outerShdw>
          </a:effectLst>
        </p:spPr>
        <p:txBody>
          <a:bodyPr wrap="square" anchor="ctr">
            <a:noAutofit/>
          </a:bodyPr>
          <a:lstStyle>
            <a:lvl1pPr marL="0" indent="0" algn="ctr">
              <a:buFontTx/>
              <a:buNone/>
              <a:defRPr sz="1200"/>
            </a:lvl1pPr>
          </a:lstStyle>
          <a:p>
            <a:endParaRPr lang="en-US"/>
          </a:p>
        </p:txBody>
      </p:sp>
    </p:spTree>
    <p:extLst>
      <p:ext uri="{BB962C8B-B14F-4D97-AF65-F5344CB8AC3E}">
        <p14:creationId xmlns:p14="http://schemas.microsoft.com/office/powerpoint/2010/main" val="1074421494"/>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42" presetClass="path" presetSubtype="0" dur="2000" repeatCount="indefinite" accel="50000" decel="50000" autoRev="1" fill="hold" grpId="0" nodeType="withEffect">
                                  <p:stCondLst>
                                    <p:cond delay="0"/>
                                  </p:stCondLst>
                                  <p:childTnLst>
                                    <p:animMotion origin="layout" path="M 5.55112E-17 0 L -0.02246 -0.05093" pathEditMode="relative" rAng="0" ptsTypes="AA">
                                      <p:cBhvr>
                                        <p:cTn id="6" dur="2000" fill="hold"/>
                                        <p:tgtEl>
                                          <p:spTgt spid="4"/>
                                        </p:tgtEl>
                                        <p:attrNameLst>
                                          <p:attrName>ppt_x</p:attrName>
                                          <p:attrName>ppt_y</p:attrName>
                                        </p:attrNameLst>
                                      </p:cBhvr>
                                      <p:rCtr x="-1126" y="-254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0_Title Slide">
    <p:spTree>
      <p:nvGrpSpPr>
        <p:cNvPr id="1" name=""/>
        <p:cNvGrpSpPr/>
        <p:nvPr/>
      </p:nvGrpSpPr>
      <p:grpSpPr>
        <a:xfrm>
          <a:off x="0" y="0"/>
          <a:ext cx="0" cy="0"/>
          <a:chOff x="0" y="0"/>
          <a:chExt cx="0" cy="0"/>
        </a:xfrm>
      </p:grpSpPr>
      <p:sp>
        <p:nvSpPr>
          <p:cNvPr id="2" name="Rectangle: Diagonal Corners Rounded 1">
            <a:extLst>
              <a:ext uri="{FF2B5EF4-FFF2-40B4-BE49-F238E27FC236}">
                <a16:creationId xmlns:a16="http://schemas.microsoft.com/office/drawing/2014/main" id="{9B7649B2-2893-4336-9F6A-E261B8C7C7DB}"/>
              </a:ext>
            </a:extLst>
          </p:cNvPr>
          <p:cNvSpPr/>
          <p:nvPr userDrawn="1"/>
        </p:nvSpPr>
        <p:spPr>
          <a:xfrm>
            <a:off x="812800" y="728662"/>
            <a:ext cx="10566400" cy="5589588"/>
          </a:xfrm>
          <a:prstGeom prst="round2DiagRect">
            <a:avLst>
              <a:gd name="adj1" fmla="val 4770"/>
              <a:gd name="adj2" fmla="val 0"/>
            </a:avLst>
          </a:prstGeom>
          <a:solidFill>
            <a:schemeClr val="accent1">
              <a:alpha val="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Tree>
    <p:extLst>
      <p:ext uri="{BB962C8B-B14F-4D97-AF65-F5344CB8AC3E}">
        <p14:creationId xmlns:p14="http://schemas.microsoft.com/office/powerpoint/2010/main" val="3801315142"/>
      </p:ext>
    </p:extLst>
  </p:cSld>
  <p:clrMapOvr>
    <a:masterClrMapping/>
  </p:clrMapOvr>
  <p:transition/>
  <p:extLst>
    <p:ext uri="{DCECCB84-F9BA-43D5-87BE-67443E8EF086}">
      <p15:sldGuideLst xmlns:p15="http://schemas.microsoft.com/office/powerpoint/2012/main">
        <p15:guide id="1" orient="horz" pos="4320">
          <p15:clr>
            <a:srgbClr val="FBAE40"/>
          </p15:clr>
        </p15:guide>
        <p15:guide id="2" pos="7681">
          <p15:clr>
            <a:srgbClr val="FBAE40"/>
          </p15:clr>
        </p15:guide>
        <p15:guide id="3" pos="985">
          <p15:clr>
            <a:srgbClr val="FBAE40"/>
          </p15:clr>
        </p15:guide>
        <p15:guide id="4" pos="14377">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41_Custom Layou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D623F710-3A2E-425B-A333-5A92DAD13EA9}"/>
              </a:ext>
            </a:extLst>
          </p:cNvPr>
          <p:cNvSpPr>
            <a:spLocks noGrp="1" noChangeAspect="1"/>
          </p:cNvSpPr>
          <p:nvPr>
            <p:ph type="pic" sz="quarter" idx="13" hasCustomPrompt="1"/>
          </p:nvPr>
        </p:nvSpPr>
        <p:spPr>
          <a:xfrm>
            <a:off x="2910374" y="2477150"/>
            <a:ext cx="2103841" cy="4689762"/>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rot lat="19634922" lon="19414224" rev="3362221"/>
            </a:camera>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
        <p:nvSpPr>
          <p:cNvPr id="6" name="Picture Placeholder 4">
            <a:extLst>
              <a:ext uri="{FF2B5EF4-FFF2-40B4-BE49-F238E27FC236}">
                <a16:creationId xmlns:a16="http://schemas.microsoft.com/office/drawing/2014/main" id="{A28F13BA-1910-4632-AD0A-D7B0A4CE4C4D}"/>
              </a:ext>
            </a:extLst>
          </p:cNvPr>
          <p:cNvSpPr>
            <a:spLocks noGrp="1" noChangeAspect="1"/>
          </p:cNvSpPr>
          <p:nvPr>
            <p:ph type="pic" sz="quarter" idx="14" hasCustomPrompt="1"/>
          </p:nvPr>
        </p:nvSpPr>
        <p:spPr>
          <a:xfrm>
            <a:off x="5003114" y="956923"/>
            <a:ext cx="2103841" cy="4689762"/>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rot lat="19634922" lon="19414224" rev="3362221"/>
            </a:camera>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
        <p:nvSpPr>
          <p:cNvPr id="7" name="Picture Placeholder 4">
            <a:extLst>
              <a:ext uri="{FF2B5EF4-FFF2-40B4-BE49-F238E27FC236}">
                <a16:creationId xmlns:a16="http://schemas.microsoft.com/office/drawing/2014/main" id="{4DD410A9-9FE3-4789-A7BC-46C85AFCD272}"/>
              </a:ext>
            </a:extLst>
          </p:cNvPr>
          <p:cNvSpPr>
            <a:spLocks noGrp="1" noChangeAspect="1"/>
          </p:cNvSpPr>
          <p:nvPr>
            <p:ph type="pic" sz="quarter" idx="15" hasCustomPrompt="1"/>
          </p:nvPr>
        </p:nvSpPr>
        <p:spPr>
          <a:xfrm>
            <a:off x="7128261" y="-473642"/>
            <a:ext cx="2103841" cy="4689762"/>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rot lat="19634922" lon="19414224" rev="3362221"/>
            </a:camera>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Tree>
    <p:extLst>
      <p:ext uri="{BB962C8B-B14F-4D97-AF65-F5344CB8AC3E}">
        <p14:creationId xmlns:p14="http://schemas.microsoft.com/office/powerpoint/2010/main" val="3600335681"/>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10" presetClass="entr" presetSubtype="0" dur="500" fill="hold" grpId="0" nodeType="withEffect">
                                  <p:stCondLst>
                                    <p:cond delay="140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dur="500" fill="hold" grpId="0" nodeType="withEffect">
                                  <p:stCondLst>
                                    <p:cond delay="160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par>
                                <p:cTn id="11" presetID="10" presetClass="entr" presetSubtype="0" dur="500" fill="hold" grpId="0" nodeType="withEffect">
                                  <p:stCondLst>
                                    <p:cond delay="180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42_Custom Layout">
    <p:spTree>
      <p:nvGrpSpPr>
        <p:cNvPr id="1" name=""/>
        <p:cNvGrpSpPr/>
        <p:nvPr/>
      </p:nvGrpSpPr>
      <p:grpSpPr>
        <a:xfrm>
          <a:off x="0" y="0"/>
          <a:ext cx="0" cy="0"/>
          <a:chOff x="0" y="0"/>
          <a:chExt cx="0" cy="0"/>
        </a:xfrm>
      </p:grpSpPr>
      <p:sp>
        <p:nvSpPr>
          <p:cNvPr id="7" name="Picture Placeholder 4">
            <a:extLst>
              <a:ext uri="{FF2B5EF4-FFF2-40B4-BE49-F238E27FC236}">
                <a16:creationId xmlns:a16="http://schemas.microsoft.com/office/drawing/2014/main" id="{4DD410A9-9FE3-4789-A7BC-46C85AFCD272}"/>
              </a:ext>
            </a:extLst>
          </p:cNvPr>
          <p:cNvSpPr>
            <a:spLocks noGrp="1" noChangeAspect="1"/>
          </p:cNvSpPr>
          <p:nvPr>
            <p:ph type="pic" sz="quarter" idx="15" hasCustomPrompt="1"/>
          </p:nvPr>
        </p:nvSpPr>
        <p:spPr>
          <a:xfrm>
            <a:off x="6012984" y="-254938"/>
            <a:ext cx="2103841" cy="4689762"/>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rot lat="19634922" lon="19414224" rev="3362221"/>
            </a:camera>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
        <p:nvSpPr>
          <p:cNvPr id="16" name="Picture Placeholder 4">
            <a:extLst>
              <a:ext uri="{FF2B5EF4-FFF2-40B4-BE49-F238E27FC236}">
                <a16:creationId xmlns:a16="http://schemas.microsoft.com/office/drawing/2014/main" id="{7A52C93F-F0CC-4A4A-ABA9-5A30489F2F8E}"/>
              </a:ext>
            </a:extLst>
          </p:cNvPr>
          <p:cNvSpPr>
            <a:spLocks noGrp="1" noChangeAspect="1"/>
          </p:cNvSpPr>
          <p:nvPr>
            <p:ph type="pic" sz="quarter" idx="16" hasCustomPrompt="1"/>
          </p:nvPr>
        </p:nvSpPr>
        <p:spPr>
          <a:xfrm>
            <a:off x="5311719" y="2240621"/>
            <a:ext cx="2103841" cy="4689762"/>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rot lat="19634922" lon="19414224" rev="3362221"/>
            </a:camera>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
        <p:nvSpPr>
          <p:cNvPr id="17" name="Picture Placeholder 4">
            <a:extLst>
              <a:ext uri="{FF2B5EF4-FFF2-40B4-BE49-F238E27FC236}">
                <a16:creationId xmlns:a16="http://schemas.microsoft.com/office/drawing/2014/main" id="{DAA3E768-26D8-4B93-883E-2190238146FB}"/>
              </a:ext>
            </a:extLst>
          </p:cNvPr>
          <p:cNvSpPr>
            <a:spLocks noGrp="1" noChangeAspect="1"/>
          </p:cNvSpPr>
          <p:nvPr>
            <p:ph type="pic" sz="quarter" idx="17" hasCustomPrompt="1"/>
          </p:nvPr>
        </p:nvSpPr>
        <p:spPr>
          <a:xfrm>
            <a:off x="1322508" y="-438770"/>
            <a:ext cx="2103841" cy="4689762"/>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rot lat="19634922" lon="19414224" rev="3362221"/>
            </a:camera>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
        <p:nvSpPr>
          <p:cNvPr id="18" name="Picture Placeholder 4">
            <a:extLst>
              <a:ext uri="{FF2B5EF4-FFF2-40B4-BE49-F238E27FC236}">
                <a16:creationId xmlns:a16="http://schemas.microsoft.com/office/drawing/2014/main" id="{9A96855E-0C0B-42CE-91C9-AE3C8F1221FD}"/>
              </a:ext>
            </a:extLst>
          </p:cNvPr>
          <p:cNvSpPr>
            <a:spLocks noGrp="1" noChangeAspect="1"/>
          </p:cNvSpPr>
          <p:nvPr>
            <p:ph type="pic" sz="quarter" idx="18" hasCustomPrompt="1"/>
          </p:nvPr>
        </p:nvSpPr>
        <p:spPr>
          <a:xfrm>
            <a:off x="9304707" y="4906796"/>
            <a:ext cx="2103841" cy="4689762"/>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rot lat="19634922" lon="19414224" rev="3362221"/>
            </a:camera>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
        <p:nvSpPr>
          <p:cNvPr id="19" name="Picture Placeholder 4">
            <a:extLst>
              <a:ext uri="{FF2B5EF4-FFF2-40B4-BE49-F238E27FC236}">
                <a16:creationId xmlns:a16="http://schemas.microsoft.com/office/drawing/2014/main" id="{931DAE40-C18E-4237-B28F-25D660550E74}"/>
              </a:ext>
            </a:extLst>
          </p:cNvPr>
          <p:cNvSpPr>
            <a:spLocks noGrp="1" noChangeAspect="1"/>
          </p:cNvSpPr>
          <p:nvPr>
            <p:ph type="pic" sz="quarter" idx="19" hasCustomPrompt="1"/>
          </p:nvPr>
        </p:nvSpPr>
        <p:spPr>
          <a:xfrm>
            <a:off x="10020490" y="2447842"/>
            <a:ext cx="2103841" cy="4689762"/>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rot lat="19634922" lon="19414224" rev="3362221"/>
            </a:camera>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
        <p:nvSpPr>
          <p:cNvPr id="20" name="Picture Placeholder 4">
            <a:extLst>
              <a:ext uri="{FF2B5EF4-FFF2-40B4-BE49-F238E27FC236}">
                <a16:creationId xmlns:a16="http://schemas.microsoft.com/office/drawing/2014/main" id="{02AD1624-5BD6-4E5E-B307-26317D0BDFEC}"/>
              </a:ext>
            </a:extLst>
          </p:cNvPr>
          <p:cNvSpPr>
            <a:spLocks noGrp="1" noChangeAspect="1"/>
          </p:cNvSpPr>
          <p:nvPr>
            <p:ph type="pic" sz="quarter" idx="20" hasCustomPrompt="1"/>
          </p:nvPr>
        </p:nvSpPr>
        <p:spPr>
          <a:xfrm>
            <a:off x="9899782" y="-558075"/>
            <a:ext cx="2103841" cy="4689762"/>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rot lat="19634922" lon="19414224" rev="3362221"/>
            </a:camera>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
        <p:nvSpPr>
          <p:cNvPr id="21" name="Picture Placeholder 4">
            <a:extLst>
              <a:ext uri="{FF2B5EF4-FFF2-40B4-BE49-F238E27FC236}">
                <a16:creationId xmlns:a16="http://schemas.microsoft.com/office/drawing/2014/main" id="{F76A9713-42A3-4558-AF3C-975E68B3604A}"/>
              </a:ext>
            </a:extLst>
          </p:cNvPr>
          <p:cNvSpPr>
            <a:spLocks noGrp="1" noChangeAspect="1"/>
          </p:cNvSpPr>
          <p:nvPr>
            <p:ph type="pic" sz="quarter" idx="21" hasCustomPrompt="1"/>
          </p:nvPr>
        </p:nvSpPr>
        <p:spPr>
          <a:xfrm>
            <a:off x="5917772" y="-3236375"/>
            <a:ext cx="2103841" cy="4689762"/>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rot lat="19634922" lon="19414224" rev="3362221"/>
            </a:camera>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
        <p:nvSpPr>
          <p:cNvPr id="22" name="Picture Placeholder 4">
            <a:extLst>
              <a:ext uri="{FF2B5EF4-FFF2-40B4-BE49-F238E27FC236}">
                <a16:creationId xmlns:a16="http://schemas.microsoft.com/office/drawing/2014/main" id="{AFD2B53B-0A07-43BF-9BEA-C72C900E6505}"/>
              </a:ext>
            </a:extLst>
          </p:cNvPr>
          <p:cNvSpPr>
            <a:spLocks noGrp="1" noChangeAspect="1"/>
          </p:cNvSpPr>
          <p:nvPr>
            <p:ph type="pic" sz="quarter" idx="22" hasCustomPrompt="1"/>
          </p:nvPr>
        </p:nvSpPr>
        <p:spPr>
          <a:xfrm>
            <a:off x="2027017" y="-2899146"/>
            <a:ext cx="2103841" cy="4689762"/>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rot lat="19634922" lon="19414224" rev="3362221"/>
            </a:camera>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Tree>
    <p:extLst>
      <p:ext uri="{BB962C8B-B14F-4D97-AF65-F5344CB8AC3E}">
        <p14:creationId xmlns:p14="http://schemas.microsoft.com/office/powerpoint/2010/main" val="2021175094"/>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10" presetClass="entr" presetSubtype="0" dur="300" fill="hold" grpId="0" nodeType="withEffect">
                                  <p:stCondLst>
                                    <p:cond delay="140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300"/>
                                        <p:tgtEl>
                                          <p:spTgt spid="17"/>
                                        </p:tgtEl>
                                      </p:cBhvr>
                                    </p:animEffect>
                                  </p:childTnLst>
                                </p:cTn>
                              </p:par>
                              <p:par>
                                <p:cTn id="8" presetID="10" presetClass="entr" presetSubtype="0" dur="300" fill="hold" grpId="0" nodeType="withEffect">
                                  <p:stCondLst>
                                    <p:cond delay="160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300"/>
                                        <p:tgtEl>
                                          <p:spTgt spid="16"/>
                                        </p:tgtEl>
                                      </p:cBhvr>
                                    </p:animEffect>
                                  </p:childTnLst>
                                </p:cTn>
                              </p:par>
                              <p:par>
                                <p:cTn id="11" presetID="10" presetClass="entr" presetSubtype="0" dur="300" fill="hold" grpId="0" nodeType="withEffect">
                                  <p:stCondLst>
                                    <p:cond delay="1800"/>
                                  </p:stCondLst>
                                  <p:childTnLst>
                                    <p:set>
                                      <p:cBhvr>
                                        <p:cTn id="12" dur="1" fill="hold">
                                          <p:stCondLst>
                                            <p:cond delay="0"/>
                                          </p:stCondLst>
                                        </p:cTn>
                                        <p:tgtEl>
                                          <p:spTgt spid="18"/>
                                        </p:tgtEl>
                                        <p:attrNameLst>
                                          <p:attrName>style.visibility</p:attrName>
                                        </p:attrNameLst>
                                      </p:cBhvr>
                                      <p:to>
                                        <p:strVal val="visible"/>
                                      </p:to>
                                    </p:set>
                                    <p:animEffect transition="in" filter="fade">
                                      <p:cBhvr>
                                        <p:cTn id="13" dur="300"/>
                                        <p:tgtEl>
                                          <p:spTgt spid="18"/>
                                        </p:tgtEl>
                                      </p:cBhvr>
                                    </p:animEffect>
                                  </p:childTnLst>
                                </p:cTn>
                              </p:par>
                              <p:par>
                                <p:cTn id="14" presetID="10" presetClass="entr" presetSubtype="0" dur="300" fill="hold" grpId="0" nodeType="withEffect">
                                  <p:stCondLst>
                                    <p:cond delay="2000"/>
                                  </p:stCondLst>
                                  <p:childTnLst>
                                    <p:set>
                                      <p:cBhvr>
                                        <p:cTn id="15" dur="1" fill="hold">
                                          <p:stCondLst>
                                            <p:cond delay="0"/>
                                          </p:stCondLst>
                                        </p:cTn>
                                        <p:tgtEl>
                                          <p:spTgt spid="22"/>
                                        </p:tgtEl>
                                        <p:attrNameLst>
                                          <p:attrName>style.visibility</p:attrName>
                                        </p:attrNameLst>
                                      </p:cBhvr>
                                      <p:to>
                                        <p:strVal val="visible"/>
                                      </p:to>
                                    </p:set>
                                    <p:animEffect transition="in" filter="fade">
                                      <p:cBhvr>
                                        <p:cTn id="16" dur="300"/>
                                        <p:tgtEl>
                                          <p:spTgt spid="22"/>
                                        </p:tgtEl>
                                      </p:cBhvr>
                                    </p:animEffect>
                                  </p:childTnLst>
                                </p:cTn>
                              </p:par>
                              <p:par>
                                <p:cTn id="17" presetID="10" presetClass="entr" presetSubtype="0" dur="300" fill="hold" grpId="0" nodeType="withEffect">
                                  <p:stCondLst>
                                    <p:cond delay="220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300"/>
                                        <p:tgtEl>
                                          <p:spTgt spid="7"/>
                                        </p:tgtEl>
                                      </p:cBhvr>
                                    </p:animEffect>
                                  </p:childTnLst>
                                </p:cTn>
                              </p:par>
                              <p:par>
                                <p:cTn id="20" presetID="10" presetClass="entr" presetSubtype="0" dur="300" fill="hold" grpId="0" nodeType="withEffect">
                                  <p:stCondLst>
                                    <p:cond delay="2400"/>
                                  </p:stCondLst>
                                  <p:childTnLst>
                                    <p:set>
                                      <p:cBhvr>
                                        <p:cTn id="21" dur="1" fill="hold">
                                          <p:stCondLst>
                                            <p:cond delay="0"/>
                                          </p:stCondLst>
                                        </p:cTn>
                                        <p:tgtEl>
                                          <p:spTgt spid="19"/>
                                        </p:tgtEl>
                                        <p:attrNameLst>
                                          <p:attrName>style.visibility</p:attrName>
                                        </p:attrNameLst>
                                      </p:cBhvr>
                                      <p:to>
                                        <p:strVal val="visible"/>
                                      </p:to>
                                    </p:set>
                                    <p:animEffect transition="in" filter="fade">
                                      <p:cBhvr>
                                        <p:cTn id="22" dur="300"/>
                                        <p:tgtEl>
                                          <p:spTgt spid="19"/>
                                        </p:tgtEl>
                                      </p:cBhvr>
                                    </p:animEffect>
                                  </p:childTnLst>
                                </p:cTn>
                              </p:par>
                              <p:par>
                                <p:cTn id="23" presetID="10" presetClass="entr" presetSubtype="0" dur="300" fill="hold" grpId="0" nodeType="withEffect">
                                  <p:stCondLst>
                                    <p:cond delay="2600"/>
                                  </p:stCondLst>
                                  <p:childTnLst>
                                    <p:set>
                                      <p:cBhvr>
                                        <p:cTn id="24" dur="1" fill="hold">
                                          <p:stCondLst>
                                            <p:cond delay="0"/>
                                          </p:stCondLst>
                                        </p:cTn>
                                        <p:tgtEl>
                                          <p:spTgt spid="21"/>
                                        </p:tgtEl>
                                        <p:attrNameLst>
                                          <p:attrName>style.visibility</p:attrName>
                                        </p:attrNameLst>
                                      </p:cBhvr>
                                      <p:to>
                                        <p:strVal val="visible"/>
                                      </p:to>
                                    </p:set>
                                    <p:animEffect transition="in" filter="fade">
                                      <p:cBhvr>
                                        <p:cTn id="25" dur="300"/>
                                        <p:tgtEl>
                                          <p:spTgt spid="21"/>
                                        </p:tgtEl>
                                      </p:cBhvr>
                                    </p:animEffect>
                                  </p:childTnLst>
                                </p:cTn>
                              </p:par>
                              <p:par>
                                <p:cTn id="26" presetID="10" presetClass="entr" presetSubtype="0" dur="300" fill="hold" grpId="0" nodeType="withEffect">
                                  <p:stCondLst>
                                    <p:cond delay="2800"/>
                                  </p:stCondLst>
                                  <p:childTnLst>
                                    <p:set>
                                      <p:cBhvr>
                                        <p:cTn id="27" dur="1" fill="hold">
                                          <p:stCondLst>
                                            <p:cond delay="0"/>
                                          </p:stCondLst>
                                        </p:cTn>
                                        <p:tgtEl>
                                          <p:spTgt spid="20"/>
                                        </p:tgtEl>
                                        <p:attrNameLst>
                                          <p:attrName>style.visibility</p:attrName>
                                        </p:attrNameLst>
                                      </p:cBhvr>
                                      <p:to>
                                        <p:strVal val="visible"/>
                                      </p:to>
                                    </p:set>
                                    <p:animEffect transition="in" filter="fade">
                                      <p:cBhvr>
                                        <p:cTn id="28" dur="3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6" grpId="0" animBg="1"/>
      <p:bldP spid="17" grpId="0" animBg="1"/>
      <p:bldP spid="18" grpId="0" animBg="1"/>
      <p:bldP spid="19" grpId="0" animBg="1"/>
      <p:bldP spid="20" grpId="0" animBg="1"/>
      <p:bldP spid="21" grpId="0" animBg="1"/>
      <p:bldP spid="22" grpId="0" animBg="1"/>
    </p:bld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49_Custom Layout">
    <p:spTree>
      <p:nvGrpSpPr>
        <p:cNvPr id="1" name=""/>
        <p:cNvGrpSpPr/>
        <p:nvPr/>
      </p:nvGrpSpPr>
      <p:grpSpPr>
        <a:xfrm>
          <a:off x="0" y="0"/>
          <a:ext cx="0" cy="0"/>
          <a:chOff x="0" y="0"/>
          <a:chExt cx="0" cy="0"/>
        </a:xfrm>
      </p:grpSpPr>
      <p:sp>
        <p:nvSpPr>
          <p:cNvPr id="7" name="Picture Placeholder 4">
            <a:extLst>
              <a:ext uri="{FF2B5EF4-FFF2-40B4-BE49-F238E27FC236}">
                <a16:creationId xmlns:a16="http://schemas.microsoft.com/office/drawing/2014/main" id="{4DD410A9-9FE3-4789-A7BC-46C85AFCD272}"/>
              </a:ext>
            </a:extLst>
          </p:cNvPr>
          <p:cNvSpPr>
            <a:spLocks noGrp="1" noChangeAspect="1"/>
          </p:cNvSpPr>
          <p:nvPr>
            <p:ph type="pic" sz="quarter" idx="15" hasCustomPrompt="1"/>
          </p:nvPr>
        </p:nvSpPr>
        <p:spPr>
          <a:xfrm>
            <a:off x="4527312" y="33960"/>
            <a:ext cx="3080233" cy="6866281"/>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rot lat="19634922" lon="19414224" rev="3362221"/>
            </a:camera>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Tree>
    <p:extLst>
      <p:ext uri="{BB962C8B-B14F-4D97-AF65-F5344CB8AC3E}">
        <p14:creationId xmlns:p14="http://schemas.microsoft.com/office/powerpoint/2010/main" val="3421906332"/>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10" presetClass="entr" presetSubtype="0" dur="300" fill="hold" grpId="0" nodeType="withEffect">
                                  <p:stCondLst>
                                    <p:cond delay="15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3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HEADING/TEXT/IMAGE 1 medium">
    <p:spTree>
      <p:nvGrpSpPr>
        <p:cNvPr id="1" name=""/>
        <p:cNvGrpSpPr/>
        <p:nvPr/>
      </p:nvGrpSpPr>
      <p:grpSpPr>
        <a:xfrm>
          <a:off x="0" y="0"/>
          <a:ext cx="0" cy="0"/>
          <a:chOff x="0" y="0"/>
          <a:chExt cx="0" cy="0"/>
        </a:xfrm>
      </p:grpSpPr>
      <p:sp>
        <p:nvSpPr>
          <p:cNvPr id="13" name="Freihandform: Form 12">
            <a:extLst>
              <a:ext uri="{FF2B5EF4-FFF2-40B4-BE49-F238E27FC236}">
                <a16:creationId xmlns:a16="http://schemas.microsoft.com/office/drawing/2014/main" id="{50EC640D-C73C-4FD9-AD9A-88EE410704F4}"/>
              </a:ext>
            </a:extLst>
          </p:cNvPr>
          <p:cNvSpPr/>
          <p:nvPr/>
        </p:nvSpPr>
        <p:spPr>
          <a:xfrm rot="10800000">
            <a:off x="0" y="1975611"/>
            <a:ext cx="9829800" cy="4882390"/>
          </a:xfrm>
          <a:custGeom>
            <a:avLst/>
            <a:gdLst>
              <a:gd name="connsiteX0" fmla="*/ 910059 w 9829800"/>
              <a:gd name="connsiteY0" fmla="*/ 0 h 4882390"/>
              <a:gd name="connsiteX1" fmla="*/ 3015085 w 9829800"/>
              <a:gd name="connsiteY1" fmla="*/ 0 h 4882390"/>
              <a:gd name="connsiteX2" fmla="*/ 7981950 w 9829800"/>
              <a:gd name="connsiteY2" fmla="*/ 0 h 4882390"/>
              <a:gd name="connsiteX3" fmla="*/ 9829800 w 9829800"/>
              <a:gd name="connsiteY3" fmla="*/ 0 h 4882390"/>
              <a:gd name="connsiteX4" fmla="*/ 9829800 w 9829800"/>
              <a:gd name="connsiteY4" fmla="*/ 4882390 h 4882390"/>
              <a:gd name="connsiteX5" fmla="*/ 7981950 w 9829800"/>
              <a:gd name="connsiteY5" fmla="*/ 4882390 h 4882390"/>
              <a:gd name="connsiteX6" fmla="*/ 2183098 w 9829800"/>
              <a:gd name="connsiteY6" fmla="*/ 4882390 h 4882390"/>
              <a:gd name="connsiteX7" fmla="*/ 78072 w 9829800"/>
              <a:gd name="connsiteY7" fmla="*/ 4882390 h 4882390"/>
              <a:gd name="connsiteX8" fmla="*/ 0 w 9829800"/>
              <a:gd name="connsiteY8" fmla="*/ 4804318 h 4882390"/>
              <a:gd name="connsiteX9" fmla="*/ 831987 w 9829800"/>
              <a:gd name="connsiteY9" fmla="*/ 78072 h 4882390"/>
              <a:gd name="connsiteX10" fmla="*/ 910059 w 9829800"/>
              <a:gd name="connsiteY10" fmla="*/ 0 h 4882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829800" h="4882390">
                <a:moveTo>
                  <a:pt x="910059" y="0"/>
                </a:moveTo>
                <a:lnTo>
                  <a:pt x="3015085" y="0"/>
                </a:lnTo>
                <a:lnTo>
                  <a:pt x="7981950" y="0"/>
                </a:lnTo>
                <a:lnTo>
                  <a:pt x="9829800" y="0"/>
                </a:lnTo>
                <a:lnTo>
                  <a:pt x="9829800" y="4882390"/>
                </a:lnTo>
                <a:lnTo>
                  <a:pt x="7981950" y="4882390"/>
                </a:lnTo>
                <a:lnTo>
                  <a:pt x="2183098" y="4882390"/>
                </a:lnTo>
                <a:lnTo>
                  <a:pt x="78072" y="4882390"/>
                </a:lnTo>
                <a:cubicBezTo>
                  <a:pt x="34957" y="4882390"/>
                  <a:pt x="0" y="4847433"/>
                  <a:pt x="0" y="4804318"/>
                </a:cubicBezTo>
                <a:lnTo>
                  <a:pt x="831987" y="78072"/>
                </a:lnTo>
                <a:cubicBezTo>
                  <a:pt x="831987" y="34957"/>
                  <a:pt x="866945" y="0"/>
                  <a:pt x="910059" y="0"/>
                </a:cubicBezTo>
                <a:close/>
              </a:path>
            </a:pathLst>
          </a:custGeom>
          <a:gradFill>
            <a:gsLst>
              <a:gs pos="100000">
                <a:schemeClr val="bg1"/>
              </a:gs>
              <a:gs pos="5000">
                <a:srgbClr val="ECF0F4"/>
              </a:gs>
            </a:gsLst>
            <a:lin ang="5400000" scaled="1"/>
          </a:gradFill>
          <a:ln w="11652" cap="flat">
            <a:noFill/>
            <a:prstDash val="solid"/>
            <a:miter/>
          </a:ln>
        </p:spPr>
        <p:txBody>
          <a:bodyPr rtlCol="0" anchor="ctr"/>
          <a:lstStyle/>
          <a:p>
            <a:endParaRPr lang="de-DE"/>
          </a:p>
        </p:txBody>
      </p:sp>
      <p:sp>
        <p:nvSpPr>
          <p:cNvPr id="2" name="Titel 1">
            <a:extLst>
              <a:ext uri="{FF2B5EF4-FFF2-40B4-BE49-F238E27FC236}">
                <a16:creationId xmlns:a16="http://schemas.microsoft.com/office/drawing/2014/main" id="{0526DC72-FA1D-422D-8055-3374742D122B}"/>
              </a:ext>
            </a:extLst>
          </p:cNvPr>
          <p:cNvSpPr>
            <a:spLocks noGrp="1"/>
          </p:cNvSpPr>
          <p:nvPr>
            <p:ph type="title"/>
          </p:nvPr>
        </p:nvSpPr>
        <p:spPr>
          <a:xfrm>
            <a:off x="815952" y="733402"/>
            <a:ext cx="4931999" cy="767737"/>
          </a:xfrm>
        </p:spPr>
        <p:txBody>
          <a:bodyPr/>
          <a:lstStyle>
            <a:lvl1pPr>
              <a:lnSpc>
                <a:spcPct val="100000"/>
              </a:lnSpc>
              <a:defRPr/>
            </a:lvl1pPr>
          </a:lstStyle>
          <a:p>
            <a:r>
              <a:rPr lang="de-DE"/>
              <a:t>Mastertitelformat bearbeiten</a:t>
            </a:r>
          </a:p>
        </p:txBody>
      </p:sp>
      <p:sp>
        <p:nvSpPr>
          <p:cNvPr id="3" name="Foliennummernplatzhalter 2">
            <a:extLst>
              <a:ext uri="{FF2B5EF4-FFF2-40B4-BE49-F238E27FC236}">
                <a16:creationId xmlns:a16="http://schemas.microsoft.com/office/drawing/2014/main" id="{5B327254-466C-4606-8589-BCC72CBDADDF}"/>
              </a:ext>
            </a:extLst>
          </p:cNvPr>
          <p:cNvSpPr>
            <a:spLocks noGrp="1"/>
          </p:cNvSpPr>
          <p:nvPr>
            <p:ph type="sldNum" sz="quarter" idx="10"/>
          </p:nvPr>
        </p:nvSpPr>
        <p:spPr/>
        <p:txBody>
          <a:bodyPr/>
          <a:lstStyle/>
          <a:p>
            <a:fld id="{A04BEB4F-8CE1-4F18-986F-6CE0A0BE9470}" type="slidenum">
              <a:rPr lang="de-DE" smtClean="0"/>
              <a:t>‹#›</a:t>
            </a:fld>
            <a:endParaRPr lang="de-DE"/>
          </a:p>
        </p:txBody>
      </p:sp>
      <p:sp>
        <p:nvSpPr>
          <p:cNvPr id="5" name="Textplatzhalter 9">
            <a:extLst>
              <a:ext uri="{FF2B5EF4-FFF2-40B4-BE49-F238E27FC236}">
                <a16:creationId xmlns:a16="http://schemas.microsoft.com/office/drawing/2014/main" id="{6024922C-391C-46EA-9F1C-F5344AAB64C8}"/>
              </a:ext>
            </a:extLst>
          </p:cNvPr>
          <p:cNvSpPr>
            <a:spLocks noGrp="1"/>
          </p:cNvSpPr>
          <p:nvPr>
            <p:ph type="body" sz="quarter" idx="11"/>
          </p:nvPr>
        </p:nvSpPr>
        <p:spPr>
          <a:xfrm>
            <a:off x="815951" y="1979612"/>
            <a:ext cx="4932000" cy="4338638"/>
          </a:xfrm>
          <a:prstGeom prst="rect">
            <a:avLst/>
          </a:prstGeom>
        </p:spPr>
        <p:txBody>
          <a:bodyPr lIns="0" tIns="0" rIns="0" bIns="0">
            <a:normAutofit/>
          </a:bodyPr>
          <a:lstStyle>
            <a:lvl1pPr>
              <a:defRPr sz="1800"/>
            </a:lvl1pPr>
            <a:lvl2pPr>
              <a:defRPr sz="1800"/>
            </a:lvl2pPr>
            <a:lvl3pPr>
              <a:defRPr sz="1800"/>
            </a:lvl3pPr>
            <a:lvl4pPr>
              <a:defRPr sz="1800"/>
            </a:lvl4pPr>
            <a:lvl5pPr>
              <a:defRPr sz="18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1" name="Bildplatzhalter 10">
            <a:extLst>
              <a:ext uri="{FF2B5EF4-FFF2-40B4-BE49-F238E27FC236}">
                <a16:creationId xmlns:a16="http://schemas.microsoft.com/office/drawing/2014/main" id="{4F220719-393E-4BC2-A03B-563818FB1A0F}"/>
              </a:ext>
            </a:extLst>
          </p:cNvPr>
          <p:cNvSpPr>
            <a:spLocks noGrp="1"/>
          </p:cNvSpPr>
          <p:nvPr>
            <p:ph type="pic" sz="quarter" idx="12" hasCustomPrompt="1"/>
          </p:nvPr>
        </p:nvSpPr>
        <p:spPr>
          <a:xfrm>
            <a:off x="6931694" y="0"/>
            <a:ext cx="5260306" cy="5799454"/>
          </a:xfrm>
          <a:custGeom>
            <a:avLst/>
            <a:gdLst>
              <a:gd name="connsiteX0" fmla="*/ 1000463 w 5260306"/>
              <a:gd name="connsiteY0" fmla="*/ 0 h 5799454"/>
              <a:gd name="connsiteX1" fmla="*/ 5260306 w 5260306"/>
              <a:gd name="connsiteY1" fmla="*/ 0 h 5799454"/>
              <a:gd name="connsiteX2" fmla="*/ 5260306 w 5260306"/>
              <a:gd name="connsiteY2" fmla="*/ 5799454 h 5799454"/>
              <a:gd name="connsiteX3" fmla="*/ 116158 w 5260306"/>
              <a:gd name="connsiteY3" fmla="*/ 5799454 h 5799454"/>
              <a:gd name="connsiteX4" fmla="*/ 0 w 5260306"/>
              <a:gd name="connsiteY4" fmla="*/ 5683298 h 57994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60306" h="5799454">
                <a:moveTo>
                  <a:pt x="1000463" y="0"/>
                </a:moveTo>
                <a:lnTo>
                  <a:pt x="5260306" y="0"/>
                </a:lnTo>
                <a:lnTo>
                  <a:pt x="5260306" y="5799454"/>
                </a:lnTo>
                <a:lnTo>
                  <a:pt x="116158" y="5799454"/>
                </a:lnTo>
                <a:cubicBezTo>
                  <a:pt x="52011" y="5799454"/>
                  <a:pt x="0" y="5747444"/>
                  <a:pt x="0" y="5683298"/>
                </a:cubicBezTo>
                <a:close/>
              </a:path>
            </a:pathLst>
          </a:custGeom>
          <a:effectLst>
            <a:outerShdw blurRad="190500" dist="127000" dir="2700000" algn="tl" rotWithShape="0">
              <a:prstClr val="black">
                <a:alpha val="10000"/>
              </a:prstClr>
            </a:outerShdw>
          </a:effectLst>
        </p:spPr>
        <p:txBody>
          <a:bodyPr wrap="square">
            <a:noAutofit/>
          </a:bodyPr>
          <a:lstStyle>
            <a:lvl3pPr marL="990600" marR="0" indent="-285750" algn="l" defTabSz="1644650" rtl="0" eaLnBrk="0" fontAlgn="base" latinLnBrk="0" hangingPunct="0">
              <a:lnSpc>
                <a:spcPct val="130000"/>
              </a:lnSpc>
              <a:spcBef>
                <a:spcPct val="0"/>
              </a:spcBef>
              <a:spcAft>
                <a:spcPts val="1200"/>
              </a:spcAft>
              <a:buClr>
                <a:srgbClr val="004C99"/>
              </a:buClr>
              <a:buSzPct val="120000"/>
              <a:defRPr/>
            </a:lvl3pPr>
          </a:lstStyle>
          <a:p>
            <a:pPr marL="1343025" marR="0" lvl="3" indent="-285750" algn="l" defTabSz="1644650" rtl="0" eaLnBrk="0" fontAlgn="base" latinLnBrk="0" hangingPunct="0">
              <a:lnSpc>
                <a:spcPct val="130000"/>
              </a:lnSpc>
              <a:spcBef>
                <a:spcPct val="0"/>
              </a:spcBef>
              <a:spcAft>
                <a:spcPts val="1200"/>
              </a:spcAft>
              <a:buClr>
                <a:srgbClr val="004C99"/>
              </a:buClr>
              <a:buSzPct val="120000"/>
              <a:defRPr/>
            </a:pPr>
            <a:r>
              <a:rPr lang="de-DE"/>
              <a:t>Please insert image</a:t>
            </a:r>
          </a:p>
        </p:txBody>
      </p:sp>
    </p:spTree>
    <p:extLst>
      <p:ext uri="{BB962C8B-B14F-4D97-AF65-F5344CB8AC3E}">
        <p14:creationId xmlns:p14="http://schemas.microsoft.com/office/powerpoint/2010/main" val="3798643274"/>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8" dur="1000" decel="10000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0-#ppt_w/2"/>
                                          </p:val>
                                        </p:tav>
                                        <p:tav tm="100000">
                                          <p:val>
                                            <p:strVal val="#ppt_x"/>
                                          </p:val>
                                        </p:tav>
                                      </p:tavLst>
                                    </p:anim>
                                    <p:anim calcmode="lin" valueType="num">
                                      <p:cBhvr additive="base">
                                        <p:cTn id="8" dur="1000" fill="hold"/>
                                        <p:tgtEl>
                                          <p:spTgt spid="2"/>
                                        </p:tgtEl>
                                        <p:attrNameLst>
                                          <p:attrName>ppt_y</p:attrName>
                                        </p:attrNameLst>
                                      </p:cBhvr>
                                      <p:tavLst>
                                        <p:tav tm="0">
                                          <p:val>
                                            <p:strVal val="#ppt_y"/>
                                          </p:val>
                                        </p:tav>
                                        <p:tav tm="100000">
                                          <p:val>
                                            <p:strVal val="#ppt_y"/>
                                          </p:val>
                                        </p:tav>
                                      </p:tavLst>
                                    </p:anim>
                                  </p:childTnLst>
                                </p:cTn>
                              </p:par>
                              <p:par>
                                <p:cTn id="9" presetID="2" presetClass="entr" presetSubtype="8" dur="1000" decel="100000" fill="hold" grpId="0" nodeType="withEffect">
                                  <p:stCondLst>
                                    <p:cond delay="25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1000" fill="hold"/>
                                        <p:tgtEl>
                                          <p:spTgt spid="5"/>
                                        </p:tgtEl>
                                        <p:attrNameLst>
                                          <p:attrName>ppt_x</p:attrName>
                                        </p:attrNameLst>
                                      </p:cBhvr>
                                      <p:tavLst>
                                        <p:tav tm="0">
                                          <p:val>
                                            <p:strVal val="0-#ppt_w/2"/>
                                          </p:val>
                                        </p:tav>
                                        <p:tav tm="100000">
                                          <p:val>
                                            <p:strVal val="#ppt_x"/>
                                          </p:val>
                                        </p:tav>
                                      </p:tavLst>
                                    </p:anim>
                                    <p:anim calcmode="lin" valueType="num">
                                      <p:cBhvr additive="base">
                                        <p:cTn id="12" dur="1000" fill="hold"/>
                                        <p:tgtEl>
                                          <p:spTgt spid="5"/>
                                        </p:tgtEl>
                                        <p:attrNameLst>
                                          <p:attrName>ppt_y</p:attrName>
                                        </p:attrNameLst>
                                      </p:cBhvr>
                                      <p:tavLst>
                                        <p:tav tm="0">
                                          <p:val>
                                            <p:strVal val="#ppt_y"/>
                                          </p:val>
                                        </p:tav>
                                        <p:tav tm="100000">
                                          <p:val>
                                            <p:strVal val="#ppt_y"/>
                                          </p:val>
                                        </p:tav>
                                      </p:tavLst>
                                    </p:anim>
                                  </p:childTnLst>
                                </p:cTn>
                              </p:par>
                              <p:par>
                                <p:cTn id="13" presetID="2" presetClass="entr" presetSubtype="2" dur="1000" decel="100000" fill="hold" grpId="0" nodeType="withEffect">
                                  <p:stCondLst>
                                    <p:cond delay="500"/>
                                  </p:stCondLst>
                                  <p:childTnLst>
                                    <p:set>
                                      <p:cBhvr>
                                        <p:cTn id="14" dur="1" fill="hold">
                                          <p:stCondLst>
                                            <p:cond delay="0"/>
                                          </p:stCondLst>
                                        </p:cTn>
                                        <p:tgtEl>
                                          <p:spTgt spid="11"/>
                                        </p:tgtEl>
                                        <p:attrNameLst>
                                          <p:attrName>style.visibility</p:attrName>
                                        </p:attrNameLst>
                                      </p:cBhvr>
                                      <p:to>
                                        <p:strVal val="visible"/>
                                      </p:to>
                                    </p:set>
                                    <p:anim calcmode="lin" valueType="num">
                                      <p:cBhvr additive="base">
                                        <p:cTn id="15" dur="1000" fill="hold"/>
                                        <p:tgtEl>
                                          <p:spTgt spid="11"/>
                                        </p:tgtEl>
                                        <p:attrNameLst>
                                          <p:attrName>ppt_x</p:attrName>
                                        </p:attrNameLst>
                                      </p:cBhvr>
                                      <p:tavLst>
                                        <p:tav tm="0">
                                          <p:val>
                                            <p:strVal val="1+#ppt_w/2"/>
                                          </p:val>
                                        </p:tav>
                                        <p:tav tm="100000">
                                          <p:val>
                                            <p:strVal val="#ppt_x"/>
                                          </p:val>
                                        </p:tav>
                                      </p:tavLst>
                                    </p:anim>
                                    <p:anim calcmode="lin" valueType="num">
                                      <p:cBhvr additive="base">
                                        <p:cTn id="16" dur="10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2" presetClass="entr" presetSubtype="8" decel="100000" fill="hold" nodeType="withEffect">
                  <p:stCondLst>
                    <p:cond delay="250"/>
                  </p:stCondLst>
                  <p:childTnLst>
                    <p:set>
                      <p:cBhvr>
                        <p:cTn dur="1" fill="hold">
                          <p:stCondLst>
                            <p:cond delay="0"/>
                          </p:stCondLst>
                        </p:cTn>
                        <p:tgtEl>
                          <p:spTgt spid="5"/>
                        </p:tgtEl>
                        <p:attrNameLst>
                          <p:attrName>style.visibility</p:attrName>
                        </p:attrNameLst>
                      </p:cBhvr>
                      <p:to>
                        <p:strVal val="visible"/>
                      </p:to>
                    </p:set>
                    <p:anim calcmode="lin" valueType="num">
                      <p:cBhvr additive="base">
                        <p:cTn dur="1000" fill="hold"/>
                        <p:tgtEl>
                          <p:spTgt spid="5"/>
                        </p:tgtEl>
                        <p:attrNameLst>
                          <p:attrName>ppt_x</p:attrName>
                        </p:attrNameLst>
                      </p:cBhvr>
                      <p:tavLst>
                        <p:tav tm="0">
                          <p:val>
                            <p:strVal val="0-#ppt_w/2"/>
                          </p:val>
                        </p:tav>
                        <p:tav tm="100000">
                          <p:val>
                            <p:strVal val="#ppt_x"/>
                          </p:val>
                        </p:tav>
                      </p:tavLst>
                    </p:anim>
                    <p:anim calcmode="lin" valueType="num">
                      <p:cBhvr additive="base">
                        <p:cTn dur="1000" fill="hold"/>
                        <p:tgtEl>
                          <p:spTgt spid="5"/>
                        </p:tgtEl>
                        <p:attrNameLst>
                          <p:attrName>ppt_y</p:attrName>
                        </p:attrNameLst>
                      </p:cBhvr>
                      <p:tavLst>
                        <p:tav tm="0">
                          <p:val>
                            <p:strVal val="#ppt_y"/>
                          </p:val>
                        </p:tav>
                        <p:tav tm="100000">
                          <p:val>
                            <p:strVal val="#ppt_y"/>
                          </p:val>
                        </p:tav>
                      </p:tavLst>
                    </p:anim>
                  </p:childTnLst>
                </p:cTn>
              </p:par>
            </p:tnLst>
          </p:tmpl>
        </p:tmplLst>
      </p:bldP>
      <p:bldP spid="11" grpId="0"/>
    </p:bld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44_Custom Layout">
    <p:spTree>
      <p:nvGrpSpPr>
        <p:cNvPr id="1" name=""/>
        <p:cNvGrpSpPr/>
        <p:nvPr/>
      </p:nvGrpSpPr>
      <p:grpSpPr>
        <a:xfrm>
          <a:off x="0" y="0"/>
          <a:ext cx="0" cy="0"/>
          <a:chOff x="0" y="0"/>
          <a:chExt cx="0" cy="0"/>
        </a:xfrm>
      </p:grpSpPr>
      <p:sp>
        <p:nvSpPr>
          <p:cNvPr id="4" name="Picture Placeholder 4">
            <a:extLst>
              <a:ext uri="{FF2B5EF4-FFF2-40B4-BE49-F238E27FC236}">
                <a16:creationId xmlns:a16="http://schemas.microsoft.com/office/drawing/2014/main" id="{14A02EFB-B385-47FF-9B8B-D0AF70EB0ACA}"/>
              </a:ext>
            </a:extLst>
          </p:cNvPr>
          <p:cNvSpPr>
            <a:spLocks noGrp="1"/>
          </p:cNvSpPr>
          <p:nvPr>
            <p:ph type="pic" sz="quarter" idx="14" hasCustomPrompt="1"/>
          </p:nvPr>
        </p:nvSpPr>
        <p:spPr>
          <a:xfrm>
            <a:off x="3288140" y="625268"/>
            <a:ext cx="2757066" cy="5607464"/>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rot lat="21156044" lon="19471222" rev="2142000"/>
            </a:camera>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Tree>
    <p:extLst>
      <p:ext uri="{BB962C8B-B14F-4D97-AF65-F5344CB8AC3E}">
        <p14:creationId xmlns:p14="http://schemas.microsoft.com/office/powerpoint/2010/main" val="1887204957"/>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10" presetClass="entr" presetSubtype="0" dur="500" fill="hold" grpId="0" nodeType="withEffect">
                                  <p:stCondLst>
                                    <p:cond delay="140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47_Custom Layout">
    <p:spTree>
      <p:nvGrpSpPr>
        <p:cNvPr id="1" name=""/>
        <p:cNvGrpSpPr/>
        <p:nvPr/>
      </p:nvGrpSpPr>
      <p:grpSpPr>
        <a:xfrm>
          <a:off x="0" y="0"/>
          <a:ext cx="0" cy="0"/>
          <a:chOff x="0" y="0"/>
          <a:chExt cx="0" cy="0"/>
        </a:xfrm>
      </p:grpSpPr>
      <p:sp>
        <p:nvSpPr>
          <p:cNvPr id="8" name="Picture Placeholder 4">
            <a:extLst>
              <a:ext uri="{FF2B5EF4-FFF2-40B4-BE49-F238E27FC236}">
                <a16:creationId xmlns:a16="http://schemas.microsoft.com/office/drawing/2014/main" id="{BACFF124-91DE-4270-8B20-C6B773DA6F3E}"/>
              </a:ext>
            </a:extLst>
          </p:cNvPr>
          <p:cNvSpPr>
            <a:spLocks noGrp="1"/>
          </p:cNvSpPr>
          <p:nvPr>
            <p:ph type="pic" sz="quarter" idx="19" hasCustomPrompt="1"/>
          </p:nvPr>
        </p:nvSpPr>
        <p:spPr>
          <a:xfrm>
            <a:off x="1232834" y="1224083"/>
            <a:ext cx="2098275" cy="4255378"/>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rot lat="21156044" lon="19471222" rev="2142000"/>
            </a:camera>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
        <p:nvSpPr>
          <p:cNvPr id="9" name="Picture Placeholder 4">
            <a:extLst>
              <a:ext uri="{FF2B5EF4-FFF2-40B4-BE49-F238E27FC236}">
                <a16:creationId xmlns:a16="http://schemas.microsoft.com/office/drawing/2014/main" id="{D29ACF4C-B280-4B02-861A-2A89FDA38207}"/>
              </a:ext>
            </a:extLst>
          </p:cNvPr>
          <p:cNvSpPr>
            <a:spLocks noGrp="1"/>
          </p:cNvSpPr>
          <p:nvPr>
            <p:ph type="pic" sz="quarter" idx="20" hasCustomPrompt="1"/>
          </p:nvPr>
        </p:nvSpPr>
        <p:spPr>
          <a:xfrm>
            <a:off x="4999243" y="1224083"/>
            <a:ext cx="2098275" cy="4255378"/>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rot lat="21156044" lon="19471222" rev="2142000"/>
            </a:camera>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
        <p:nvSpPr>
          <p:cNvPr id="10" name="Picture Placeholder 4">
            <a:extLst>
              <a:ext uri="{FF2B5EF4-FFF2-40B4-BE49-F238E27FC236}">
                <a16:creationId xmlns:a16="http://schemas.microsoft.com/office/drawing/2014/main" id="{CEFB7973-0670-4441-9F1A-0A9A6A0C786C}"/>
              </a:ext>
            </a:extLst>
          </p:cNvPr>
          <p:cNvSpPr>
            <a:spLocks noGrp="1"/>
          </p:cNvSpPr>
          <p:nvPr>
            <p:ph type="pic" sz="quarter" idx="21" hasCustomPrompt="1"/>
          </p:nvPr>
        </p:nvSpPr>
        <p:spPr>
          <a:xfrm>
            <a:off x="8909132" y="1224083"/>
            <a:ext cx="2098275" cy="4255378"/>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rot lat="21156044" lon="19471222" rev="2142000"/>
            </a:camera>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Tree>
    <p:extLst>
      <p:ext uri="{BB962C8B-B14F-4D97-AF65-F5344CB8AC3E}">
        <p14:creationId xmlns:p14="http://schemas.microsoft.com/office/powerpoint/2010/main" val="1394410863"/>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10" presetClass="entr" presetSubtype="0" dur="300" fill="hold" grpId="0" nodeType="withEffect">
                                  <p:stCondLst>
                                    <p:cond delay="140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300"/>
                                        <p:tgtEl>
                                          <p:spTgt spid="8"/>
                                        </p:tgtEl>
                                      </p:cBhvr>
                                    </p:animEffect>
                                  </p:childTnLst>
                                </p:cTn>
                              </p:par>
                              <p:par>
                                <p:cTn id="8" presetID="10" presetClass="entr" presetSubtype="0" dur="300" fill="hold" grpId="0" nodeType="withEffect">
                                  <p:stCondLst>
                                    <p:cond delay="160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300"/>
                                        <p:tgtEl>
                                          <p:spTgt spid="9"/>
                                        </p:tgtEl>
                                      </p:cBhvr>
                                    </p:animEffect>
                                  </p:childTnLst>
                                </p:cTn>
                              </p:par>
                              <p:par>
                                <p:cTn id="11" presetID="10" presetClass="entr" presetSubtype="0" dur="300" fill="hold" grpId="0" nodeType="withEffect">
                                  <p:stCondLst>
                                    <p:cond delay="18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3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46_Custom Layout">
    <p:spTree>
      <p:nvGrpSpPr>
        <p:cNvPr id="1" name=""/>
        <p:cNvGrpSpPr/>
        <p:nvPr/>
      </p:nvGrpSpPr>
      <p:grpSpPr>
        <a:xfrm>
          <a:off x="0" y="0"/>
          <a:ext cx="0" cy="0"/>
          <a:chOff x="0" y="0"/>
          <a:chExt cx="0" cy="0"/>
        </a:xfrm>
      </p:grpSpPr>
      <p:sp>
        <p:nvSpPr>
          <p:cNvPr id="11" name="Picture Placeholder 4">
            <a:extLst>
              <a:ext uri="{FF2B5EF4-FFF2-40B4-BE49-F238E27FC236}">
                <a16:creationId xmlns:a16="http://schemas.microsoft.com/office/drawing/2014/main" id="{BC04114F-B17C-47EC-AF69-2916485680D0}"/>
              </a:ext>
            </a:extLst>
          </p:cNvPr>
          <p:cNvSpPr>
            <a:spLocks noGrp="1"/>
          </p:cNvSpPr>
          <p:nvPr>
            <p:ph type="pic" sz="quarter" idx="14" hasCustomPrompt="1"/>
          </p:nvPr>
        </p:nvSpPr>
        <p:spPr>
          <a:xfrm>
            <a:off x="3805790" y="369627"/>
            <a:ext cx="2278521" cy="4634173"/>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rot lat="21156044" lon="19471222" rev="2142000"/>
            </a:camera>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
        <p:nvSpPr>
          <p:cNvPr id="12" name="Picture Placeholder 4">
            <a:extLst>
              <a:ext uri="{FF2B5EF4-FFF2-40B4-BE49-F238E27FC236}">
                <a16:creationId xmlns:a16="http://schemas.microsoft.com/office/drawing/2014/main" id="{B6222758-0FAF-4255-9C81-1A0F962F6FB8}"/>
              </a:ext>
            </a:extLst>
          </p:cNvPr>
          <p:cNvSpPr>
            <a:spLocks noGrp="1"/>
          </p:cNvSpPr>
          <p:nvPr>
            <p:ph type="pic" sz="quarter" idx="15" hasCustomPrompt="1"/>
          </p:nvPr>
        </p:nvSpPr>
        <p:spPr>
          <a:xfrm>
            <a:off x="8029802" y="1328498"/>
            <a:ext cx="2278521" cy="4634173"/>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rot lat="21156044" lon="19471222" rev="2142000"/>
            </a:camera>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
        <p:nvSpPr>
          <p:cNvPr id="13" name="Picture Placeholder 4">
            <a:extLst>
              <a:ext uri="{FF2B5EF4-FFF2-40B4-BE49-F238E27FC236}">
                <a16:creationId xmlns:a16="http://schemas.microsoft.com/office/drawing/2014/main" id="{BEC7EB88-1C11-44DF-B215-3D5169279634}"/>
              </a:ext>
            </a:extLst>
          </p:cNvPr>
          <p:cNvSpPr>
            <a:spLocks noGrp="1"/>
          </p:cNvSpPr>
          <p:nvPr>
            <p:ph type="pic" sz="quarter" idx="16" hasCustomPrompt="1"/>
          </p:nvPr>
        </p:nvSpPr>
        <p:spPr>
          <a:xfrm>
            <a:off x="7004941" y="4764436"/>
            <a:ext cx="2278521" cy="4634173"/>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rot lat="21156044" lon="19471222" rev="2142000"/>
            </a:camera>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
        <p:nvSpPr>
          <p:cNvPr id="14" name="Picture Placeholder 4">
            <a:extLst>
              <a:ext uri="{FF2B5EF4-FFF2-40B4-BE49-F238E27FC236}">
                <a16:creationId xmlns:a16="http://schemas.microsoft.com/office/drawing/2014/main" id="{533DC553-12CF-406F-9DB9-67DB3CFD36CA}"/>
              </a:ext>
            </a:extLst>
          </p:cNvPr>
          <p:cNvSpPr>
            <a:spLocks noGrp="1"/>
          </p:cNvSpPr>
          <p:nvPr>
            <p:ph type="pic" sz="quarter" idx="17" hasCustomPrompt="1"/>
          </p:nvPr>
        </p:nvSpPr>
        <p:spPr>
          <a:xfrm>
            <a:off x="4850430" y="-3081125"/>
            <a:ext cx="2278521" cy="4634173"/>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rot lat="21156044" lon="19471222" rev="2142000"/>
            </a:camera>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
        <p:nvSpPr>
          <p:cNvPr id="17" name="Picture Placeholder 4">
            <a:extLst>
              <a:ext uri="{FF2B5EF4-FFF2-40B4-BE49-F238E27FC236}">
                <a16:creationId xmlns:a16="http://schemas.microsoft.com/office/drawing/2014/main" id="{A89E6887-55DE-40BF-915A-82B7ABE85B25}"/>
              </a:ext>
            </a:extLst>
          </p:cNvPr>
          <p:cNvSpPr>
            <a:spLocks noGrp="1"/>
          </p:cNvSpPr>
          <p:nvPr>
            <p:ph type="pic" sz="quarter" idx="18" hasCustomPrompt="1"/>
          </p:nvPr>
        </p:nvSpPr>
        <p:spPr>
          <a:xfrm>
            <a:off x="628784" y="-4053479"/>
            <a:ext cx="2278521" cy="4634173"/>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rot lat="21156044" lon="19471222" rev="2142000"/>
            </a:camera>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
        <p:nvSpPr>
          <p:cNvPr id="18" name="Picture Placeholder 4">
            <a:extLst>
              <a:ext uri="{FF2B5EF4-FFF2-40B4-BE49-F238E27FC236}">
                <a16:creationId xmlns:a16="http://schemas.microsoft.com/office/drawing/2014/main" id="{7A5965A1-0BCC-4AA7-AA83-A54A26EEBB38}"/>
              </a:ext>
            </a:extLst>
          </p:cNvPr>
          <p:cNvSpPr>
            <a:spLocks noGrp="1"/>
          </p:cNvSpPr>
          <p:nvPr>
            <p:ph type="pic" sz="quarter" idx="19" hasCustomPrompt="1"/>
          </p:nvPr>
        </p:nvSpPr>
        <p:spPr>
          <a:xfrm>
            <a:off x="-289595" y="-669291"/>
            <a:ext cx="2278521" cy="4634173"/>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rot lat="21156044" lon="19471222" rev="2142000"/>
            </a:camera>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
        <p:nvSpPr>
          <p:cNvPr id="19" name="Picture Placeholder 4">
            <a:extLst>
              <a:ext uri="{FF2B5EF4-FFF2-40B4-BE49-F238E27FC236}">
                <a16:creationId xmlns:a16="http://schemas.microsoft.com/office/drawing/2014/main" id="{3D5E6D23-BAD6-4EE7-BEF0-298DCA579CAB}"/>
              </a:ext>
            </a:extLst>
          </p:cNvPr>
          <p:cNvSpPr>
            <a:spLocks noGrp="1"/>
          </p:cNvSpPr>
          <p:nvPr>
            <p:ph type="pic" sz="quarter" idx="20" hasCustomPrompt="1"/>
          </p:nvPr>
        </p:nvSpPr>
        <p:spPr>
          <a:xfrm>
            <a:off x="2889420" y="3753816"/>
            <a:ext cx="2278521" cy="4634173"/>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rot lat="21156044" lon="19471222" rev="2142000"/>
            </a:camera>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
        <p:nvSpPr>
          <p:cNvPr id="20" name="Picture Placeholder 4">
            <a:extLst>
              <a:ext uri="{FF2B5EF4-FFF2-40B4-BE49-F238E27FC236}">
                <a16:creationId xmlns:a16="http://schemas.microsoft.com/office/drawing/2014/main" id="{6F22F61A-69C9-4DA6-9D4F-E04805CAFB25}"/>
              </a:ext>
            </a:extLst>
          </p:cNvPr>
          <p:cNvSpPr>
            <a:spLocks noGrp="1"/>
          </p:cNvSpPr>
          <p:nvPr>
            <p:ph type="pic" sz="quarter" idx="21" hasCustomPrompt="1"/>
          </p:nvPr>
        </p:nvSpPr>
        <p:spPr>
          <a:xfrm>
            <a:off x="6088571" y="8142972"/>
            <a:ext cx="2278521" cy="4634173"/>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rot lat="21156044" lon="19471222" rev="2142000"/>
            </a:camera>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
        <p:nvSpPr>
          <p:cNvPr id="21" name="Picture Placeholder 4">
            <a:extLst>
              <a:ext uri="{FF2B5EF4-FFF2-40B4-BE49-F238E27FC236}">
                <a16:creationId xmlns:a16="http://schemas.microsoft.com/office/drawing/2014/main" id="{C6137A97-A52B-4418-9BB7-52427A63AFAE}"/>
              </a:ext>
            </a:extLst>
          </p:cNvPr>
          <p:cNvSpPr>
            <a:spLocks noGrp="1"/>
          </p:cNvSpPr>
          <p:nvPr>
            <p:ph type="pic" sz="quarter" idx="22" hasCustomPrompt="1"/>
          </p:nvPr>
        </p:nvSpPr>
        <p:spPr>
          <a:xfrm>
            <a:off x="11236624" y="5727928"/>
            <a:ext cx="2278521" cy="4634173"/>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rot lat="21156044" lon="19471222" rev="2142000"/>
            </a:camera>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Tree>
    <p:extLst>
      <p:ext uri="{BB962C8B-B14F-4D97-AF65-F5344CB8AC3E}">
        <p14:creationId xmlns:p14="http://schemas.microsoft.com/office/powerpoint/2010/main" val="4197833142"/>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42" presetClass="path" presetSubtype="0" dur="5000" repeatCount="indefinite" accel="50000" decel="50000" autoRev="1" fill="hold" grpId="0" nodeType="withEffect">
                                  <p:stCondLst>
                                    <p:cond delay="0"/>
                                  </p:stCondLst>
                                  <p:childTnLst>
                                    <p:animMotion origin="layout" path="M -2.38901E-06 2.22222E-06 L -0.18135 -0.44757" pathEditMode="relative" rAng="0" ptsTypes="AA">
                                      <p:cBhvr>
                                        <p:cTn id="6" dur="5000" fill="hold"/>
                                        <p:tgtEl>
                                          <p:spTgt spid="18"/>
                                        </p:tgtEl>
                                        <p:attrNameLst>
                                          <p:attrName>ppt_x</p:attrName>
                                          <p:attrName>ppt_y</p:attrName>
                                        </p:attrNameLst>
                                      </p:cBhvr>
                                      <p:rCtr x="-9068" y="-22384"/>
                                    </p:animMotion>
                                  </p:childTnLst>
                                </p:cTn>
                              </p:par>
                              <p:par>
                                <p:cTn id="7" presetID="42" presetClass="path" presetSubtype="0" dur="5000" repeatCount="indefinite" accel="50000" decel="50000" autoRev="1" fill="hold" grpId="0" nodeType="withEffect">
                                  <p:stCondLst>
                                    <p:cond delay="100"/>
                                  </p:stCondLst>
                                  <p:childTnLst>
                                    <p:animMotion origin="layout" path="M 4.27418E-06 4.81481E-06 L -0.18136 -0.44757" pathEditMode="relative" rAng="0" ptsTypes="AA">
                                      <p:cBhvr>
                                        <p:cTn id="8" dur="5000" fill="hold"/>
                                        <p:tgtEl>
                                          <p:spTgt spid="19"/>
                                        </p:tgtEl>
                                        <p:attrNameLst>
                                          <p:attrName>ppt_x</p:attrName>
                                          <p:attrName>ppt_y</p:attrName>
                                        </p:attrNameLst>
                                      </p:cBhvr>
                                      <p:rCtr x="-9068" y="-22384"/>
                                    </p:animMotion>
                                  </p:childTnLst>
                                </p:cTn>
                              </p:par>
                              <p:par>
                                <p:cTn id="9" presetID="42" presetClass="path" presetSubtype="0" dur="5000" repeatCount="indefinite" accel="50000" decel="50000" autoRev="1" fill="hold" grpId="0" nodeType="withEffect">
                                  <p:stCondLst>
                                    <p:cond delay="200"/>
                                  </p:stCondLst>
                                  <p:childTnLst>
                                    <p:animMotion origin="layout" path="M 3.54511E-06 -1.48148E-06 L -0.18136 -0.44757" pathEditMode="relative" rAng="0" ptsTypes="AA">
                                      <p:cBhvr>
                                        <p:cTn id="10" dur="5000" fill="hold"/>
                                        <p:tgtEl>
                                          <p:spTgt spid="20"/>
                                        </p:tgtEl>
                                        <p:attrNameLst>
                                          <p:attrName>ppt_x</p:attrName>
                                          <p:attrName>ppt_y</p:attrName>
                                        </p:attrNameLst>
                                      </p:cBhvr>
                                      <p:rCtr x="-9068" y="-22384"/>
                                    </p:animMotion>
                                  </p:childTnLst>
                                </p:cTn>
                              </p:par>
                              <p:par>
                                <p:cTn id="11" presetID="42" presetClass="path" presetSubtype="0" dur="3000" repeatCount="indefinite" accel="50000" decel="50000" autoRev="1" fill="hold" grpId="0" nodeType="withEffect">
                                  <p:stCondLst>
                                    <p:cond delay="300"/>
                                  </p:stCondLst>
                                  <p:childTnLst>
                                    <p:animMotion origin="layout" path="M 1.89689E-06 -5E-06 L -0.18136 -0.44757" pathEditMode="relative" rAng="0" ptsTypes="AA">
                                      <p:cBhvr>
                                        <p:cTn id="12" dur="3000" fill="hold"/>
                                        <p:tgtEl>
                                          <p:spTgt spid="17"/>
                                        </p:tgtEl>
                                        <p:attrNameLst>
                                          <p:attrName>ppt_x</p:attrName>
                                          <p:attrName>ppt_y</p:attrName>
                                        </p:attrNameLst>
                                      </p:cBhvr>
                                      <p:rCtr x="-9068" y="-22373"/>
                                    </p:animMotion>
                                  </p:childTnLst>
                                </p:cTn>
                              </p:par>
                              <p:par>
                                <p:cTn id="13" presetID="42" presetClass="path" presetSubtype="0" dur="3000" repeatCount="indefinite" accel="50000" decel="50000" autoRev="1" fill="hold" grpId="0" nodeType="withEffect">
                                  <p:stCondLst>
                                    <p:cond delay="400"/>
                                  </p:stCondLst>
                                  <p:childTnLst>
                                    <p:animMotion origin="layout" path="M 3.84716E-06 -2.40741E-06 L -0.18136 -0.44757" pathEditMode="relative" rAng="0" ptsTypes="AA">
                                      <p:cBhvr>
                                        <p:cTn id="14" dur="3000" fill="hold"/>
                                        <p:tgtEl>
                                          <p:spTgt spid="11"/>
                                        </p:tgtEl>
                                        <p:attrNameLst>
                                          <p:attrName>ppt_x</p:attrName>
                                          <p:attrName>ppt_y</p:attrName>
                                        </p:attrNameLst>
                                      </p:cBhvr>
                                      <p:rCtr x="-9068" y="-22384"/>
                                    </p:animMotion>
                                  </p:childTnLst>
                                </p:cTn>
                              </p:par>
                              <p:par>
                                <p:cTn id="15" presetID="42" presetClass="path" presetSubtype="0" dur="3000" repeatCount="indefinite" accel="50000" decel="50000" autoRev="1" fill="hold" grpId="0" nodeType="withEffect">
                                  <p:stCondLst>
                                    <p:cond delay="500"/>
                                  </p:stCondLst>
                                  <p:childTnLst>
                                    <p:animMotion origin="layout" path="M 3.11808E-06 -3.14815E-06 L -0.18136 -0.44757" pathEditMode="relative" rAng="0" ptsTypes="AA">
                                      <p:cBhvr>
                                        <p:cTn id="16" dur="3000" fill="hold"/>
                                        <p:tgtEl>
                                          <p:spTgt spid="13"/>
                                        </p:tgtEl>
                                        <p:attrNameLst>
                                          <p:attrName>ppt_x</p:attrName>
                                          <p:attrName>ppt_y</p:attrName>
                                        </p:attrNameLst>
                                      </p:cBhvr>
                                      <p:rCtr x="-9068" y="-22384"/>
                                    </p:animMotion>
                                  </p:childTnLst>
                                </p:cTn>
                              </p:par>
                              <p:par>
                                <p:cTn id="17" presetID="42" presetClass="path" presetSubtype="0" dur="7000" repeatCount="indefinite" accel="50000" decel="50000" autoRev="1" fill="hold" grpId="0" nodeType="withEffect">
                                  <p:stCondLst>
                                    <p:cond delay="600"/>
                                  </p:stCondLst>
                                  <p:childTnLst>
                                    <p:animMotion origin="layout" path="M 2.82255E-06 2.59259E-06 L -0.18136 -0.44757" pathEditMode="relative" rAng="0" ptsTypes="AA">
                                      <p:cBhvr>
                                        <p:cTn id="18" dur="7000" fill="hold"/>
                                        <p:tgtEl>
                                          <p:spTgt spid="14"/>
                                        </p:tgtEl>
                                        <p:attrNameLst>
                                          <p:attrName>ppt_x</p:attrName>
                                          <p:attrName>ppt_y</p:attrName>
                                        </p:attrNameLst>
                                      </p:cBhvr>
                                      <p:rCtr x="-9068" y="-22373"/>
                                    </p:animMotion>
                                  </p:childTnLst>
                                </p:cTn>
                              </p:par>
                              <p:par>
                                <p:cTn id="19" presetID="42" presetClass="path" presetSubtype="0" dur="7000" repeatCount="indefinite" accel="50000" decel="50000" autoRev="1" fill="hold" grpId="0" nodeType="withEffect">
                                  <p:stCondLst>
                                    <p:cond delay="700"/>
                                  </p:stCondLst>
                                  <p:childTnLst>
                                    <p:animMotion origin="layout" path="M -5.14256E-07 2.77778E-06 L -0.18136 -0.44757" pathEditMode="relative" rAng="0" ptsTypes="AA">
                                      <p:cBhvr>
                                        <p:cTn id="20" dur="7000" fill="hold"/>
                                        <p:tgtEl>
                                          <p:spTgt spid="12"/>
                                        </p:tgtEl>
                                        <p:attrNameLst>
                                          <p:attrName>ppt_x</p:attrName>
                                          <p:attrName>ppt_y</p:attrName>
                                        </p:attrNameLst>
                                      </p:cBhvr>
                                      <p:rCtr x="-9068" y="-22384"/>
                                    </p:animMotion>
                                  </p:childTnLst>
                                </p:cTn>
                              </p:par>
                              <p:par>
                                <p:cTn id="21" presetID="42" presetClass="path" presetSubtype="0" dur="7000" repeatCount="indefinite" accel="50000" decel="50000" autoRev="1" fill="hold" grpId="0" nodeType="withEffect">
                                  <p:stCondLst>
                                    <p:cond delay="800"/>
                                  </p:stCondLst>
                                  <p:childTnLst>
                                    <p:animMotion origin="layout" path="M 2.89546E-06 -2.40741E-06 L -0.18136 -0.44757" pathEditMode="relative" rAng="0" ptsTypes="AA">
                                      <p:cBhvr>
                                        <p:cTn id="22" dur="7000" fill="hold"/>
                                        <p:tgtEl>
                                          <p:spTgt spid="21"/>
                                        </p:tgtEl>
                                        <p:attrNameLst>
                                          <p:attrName>ppt_x</p:attrName>
                                          <p:attrName>ppt_y</p:attrName>
                                        </p:attrNameLst>
                                      </p:cBhvr>
                                      <p:rCtr x="-9068" y="-2238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P spid="17" grpId="0" animBg="1"/>
      <p:bldP spid="18" grpId="0" animBg="1"/>
      <p:bldP spid="19" grpId="0" animBg="1"/>
      <p:bldP spid="20" grpId="0" animBg="1"/>
      <p:bldP spid="21" grpId="0" animBg="1"/>
    </p:bld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48_Custom Layout">
    <p:spTree>
      <p:nvGrpSpPr>
        <p:cNvPr id="1" name=""/>
        <p:cNvGrpSpPr/>
        <p:nvPr/>
      </p:nvGrpSpPr>
      <p:grpSpPr>
        <a:xfrm>
          <a:off x="0" y="0"/>
          <a:ext cx="0" cy="0"/>
          <a:chOff x="0" y="0"/>
          <a:chExt cx="0" cy="0"/>
        </a:xfrm>
      </p:grpSpPr>
      <p:sp>
        <p:nvSpPr>
          <p:cNvPr id="3" name="Picture Placeholder 4">
            <a:extLst>
              <a:ext uri="{FF2B5EF4-FFF2-40B4-BE49-F238E27FC236}">
                <a16:creationId xmlns:a16="http://schemas.microsoft.com/office/drawing/2014/main" id="{299FF38B-C933-4889-900A-6F061087770E}"/>
              </a:ext>
            </a:extLst>
          </p:cNvPr>
          <p:cNvSpPr>
            <a:spLocks noGrp="1"/>
          </p:cNvSpPr>
          <p:nvPr>
            <p:ph type="pic" sz="quarter" idx="20" hasCustomPrompt="1"/>
          </p:nvPr>
        </p:nvSpPr>
        <p:spPr>
          <a:xfrm>
            <a:off x="6315322" y="758218"/>
            <a:ext cx="2538913" cy="5149008"/>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rot lat="21156044" lon="19471222" rev="2142000"/>
            </a:camera>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Tree>
    <p:extLst>
      <p:ext uri="{BB962C8B-B14F-4D97-AF65-F5344CB8AC3E}">
        <p14:creationId xmlns:p14="http://schemas.microsoft.com/office/powerpoint/2010/main" val="2792151724"/>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10" presetClass="entr" presetSubtype="0" dur="300" fill="hold" grpId="0" nodeType="withEffect">
                                  <p:stCondLst>
                                    <p:cond delay="160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3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50_Custom Layout">
    <p:spTree>
      <p:nvGrpSpPr>
        <p:cNvPr id="1" name=""/>
        <p:cNvGrpSpPr/>
        <p:nvPr/>
      </p:nvGrpSpPr>
      <p:grpSpPr>
        <a:xfrm>
          <a:off x="0" y="0"/>
          <a:ext cx="0" cy="0"/>
          <a:chOff x="0" y="0"/>
          <a:chExt cx="0" cy="0"/>
        </a:xfrm>
      </p:grpSpPr>
      <p:sp>
        <p:nvSpPr>
          <p:cNvPr id="3" name="Picture Placeholder 4">
            <a:extLst>
              <a:ext uri="{FF2B5EF4-FFF2-40B4-BE49-F238E27FC236}">
                <a16:creationId xmlns:a16="http://schemas.microsoft.com/office/drawing/2014/main" id="{2417F1E4-026F-483C-93F7-966CE4BE8C83}"/>
              </a:ext>
            </a:extLst>
          </p:cNvPr>
          <p:cNvSpPr>
            <a:spLocks noGrp="1" noChangeAspect="1"/>
          </p:cNvSpPr>
          <p:nvPr>
            <p:ph type="pic" sz="quarter" idx="15" hasCustomPrompt="1"/>
          </p:nvPr>
        </p:nvSpPr>
        <p:spPr>
          <a:xfrm>
            <a:off x="5029114" y="849622"/>
            <a:ext cx="2103841" cy="4689762"/>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rot lat="19634922" lon="19414224" rev="3362221"/>
            </a:camera>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Tree>
    <p:extLst>
      <p:ext uri="{BB962C8B-B14F-4D97-AF65-F5344CB8AC3E}">
        <p14:creationId xmlns:p14="http://schemas.microsoft.com/office/powerpoint/2010/main" val="1396521799"/>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10" presetClass="entr" presetSubtype="0" dur="300" fill="hold" grpId="0" nodeType="withEffect">
                                  <p:stCondLst>
                                    <p:cond delay="100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3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51_Custom Layout">
    <p:spTree>
      <p:nvGrpSpPr>
        <p:cNvPr id="1" name=""/>
        <p:cNvGrpSpPr/>
        <p:nvPr/>
      </p:nvGrpSpPr>
      <p:grpSpPr>
        <a:xfrm>
          <a:off x="0" y="0"/>
          <a:ext cx="0" cy="0"/>
          <a:chOff x="0" y="0"/>
          <a:chExt cx="0" cy="0"/>
        </a:xfrm>
      </p:grpSpPr>
      <p:sp>
        <p:nvSpPr>
          <p:cNvPr id="14" name="Picture Placeholder 4">
            <a:extLst>
              <a:ext uri="{FF2B5EF4-FFF2-40B4-BE49-F238E27FC236}">
                <a16:creationId xmlns:a16="http://schemas.microsoft.com/office/drawing/2014/main" id="{2EE59A4B-62F4-4433-BE85-26B188EF139D}"/>
              </a:ext>
            </a:extLst>
          </p:cNvPr>
          <p:cNvSpPr>
            <a:spLocks noGrp="1" noChangeAspect="1"/>
          </p:cNvSpPr>
          <p:nvPr>
            <p:ph type="pic" sz="quarter" idx="13" hasCustomPrompt="1"/>
          </p:nvPr>
        </p:nvSpPr>
        <p:spPr>
          <a:xfrm>
            <a:off x="6225994" y="11418"/>
            <a:ext cx="4034631" cy="8830592"/>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
        <p:nvSpPr>
          <p:cNvPr id="15" name="Picture Placeholder 4">
            <a:extLst>
              <a:ext uri="{FF2B5EF4-FFF2-40B4-BE49-F238E27FC236}">
                <a16:creationId xmlns:a16="http://schemas.microsoft.com/office/drawing/2014/main" id="{18337562-962D-485E-8F64-009D65426FF2}"/>
              </a:ext>
            </a:extLst>
          </p:cNvPr>
          <p:cNvSpPr>
            <a:spLocks noGrp="1" noChangeAspect="1"/>
          </p:cNvSpPr>
          <p:nvPr>
            <p:ph type="pic" sz="quarter" idx="14" hasCustomPrompt="1"/>
          </p:nvPr>
        </p:nvSpPr>
        <p:spPr>
          <a:xfrm>
            <a:off x="13383927" y="4078436"/>
            <a:ext cx="4034631" cy="8830592"/>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
        <p:nvSpPr>
          <p:cNvPr id="16" name="Picture Placeholder 4">
            <a:extLst>
              <a:ext uri="{FF2B5EF4-FFF2-40B4-BE49-F238E27FC236}">
                <a16:creationId xmlns:a16="http://schemas.microsoft.com/office/drawing/2014/main" id="{8F8AEF08-EB9B-4A32-8467-5998B2BB5650}"/>
              </a:ext>
            </a:extLst>
          </p:cNvPr>
          <p:cNvSpPr>
            <a:spLocks noGrp="1" noChangeAspect="1"/>
          </p:cNvSpPr>
          <p:nvPr>
            <p:ph type="pic" sz="quarter" idx="15" hasCustomPrompt="1"/>
          </p:nvPr>
        </p:nvSpPr>
        <p:spPr>
          <a:xfrm>
            <a:off x="-927309" y="-4065365"/>
            <a:ext cx="4034631" cy="8830592"/>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
        <p:nvSpPr>
          <p:cNvPr id="17" name="Picture Placeholder 4">
            <a:extLst>
              <a:ext uri="{FF2B5EF4-FFF2-40B4-BE49-F238E27FC236}">
                <a16:creationId xmlns:a16="http://schemas.microsoft.com/office/drawing/2014/main" id="{6EEEE568-1DB7-48CC-BF26-76D245147EB5}"/>
              </a:ext>
            </a:extLst>
          </p:cNvPr>
          <p:cNvSpPr>
            <a:spLocks noGrp="1" noChangeAspect="1"/>
          </p:cNvSpPr>
          <p:nvPr>
            <p:ph type="pic" sz="quarter" idx="16" hasCustomPrompt="1"/>
          </p:nvPr>
        </p:nvSpPr>
        <p:spPr>
          <a:xfrm>
            <a:off x="4768099" y="-5153771"/>
            <a:ext cx="4034631" cy="8830592"/>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
        <p:nvSpPr>
          <p:cNvPr id="18" name="Picture Placeholder 4">
            <a:extLst>
              <a:ext uri="{FF2B5EF4-FFF2-40B4-BE49-F238E27FC236}">
                <a16:creationId xmlns:a16="http://schemas.microsoft.com/office/drawing/2014/main" id="{467146EF-49BF-42F0-B8C7-5CD08CBA8640}"/>
              </a:ext>
            </a:extLst>
          </p:cNvPr>
          <p:cNvSpPr>
            <a:spLocks noGrp="1" noChangeAspect="1"/>
          </p:cNvSpPr>
          <p:nvPr>
            <p:ph type="pic" sz="quarter" idx="17" hasCustomPrompt="1"/>
          </p:nvPr>
        </p:nvSpPr>
        <p:spPr>
          <a:xfrm>
            <a:off x="11926033" y="-1086753"/>
            <a:ext cx="4034631" cy="8830592"/>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
        <p:nvSpPr>
          <p:cNvPr id="19" name="Picture Placeholder 4">
            <a:extLst>
              <a:ext uri="{FF2B5EF4-FFF2-40B4-BE49-F238E27FC236}">
                <a16:creationId xmlns:a16="http://schemas.microsoft.com/office/drawing/2014/main" id="{7B5FE4D9-3147-4486-96B9-5E08CA951EE6}"/>
              </a:ext>
            </a:extLst>
          </p:cNvPr>
          <p:cNvSpPr>
            <a:spLocks noGrp="1" noChangeAspect="1"/>
          </p:cNvSpPr>
          <p:nvPr>
            <p:ph type="pic" sz="quarter" idx="18" hasCustomPrompt="1"/>
          </p:nvPr>
        </p:nvSpPr>
        <p:spPr>
          <a:xfrm>
            <a:off x="-2385204" y="-9230553"/>
            <a:ext cx="4034631" cy="8830592"/>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
        <p:nvSpPr>
          <p:cNvPr id="20" name="Picture Placeholder 4">
            <a:extLst>
              <a:ext uri="{FF2B5EF4-FFF2-40B4-BE49-F238E27FC236}">
                <a16:creationId xmlns:a16="http://schemas.microsoft.com/office/drawing/2014/main" id="{EDE0EB38-B27B-4434-BFBD-E0630270C9A5}"/>
              </a:ext>
            </a:extLst>
          </p:cNvPr>
          <p:cNvSpPr>
            <a:spLocks noGrp="1" noChangeAspect="1"/>
          </p:cNvSpPr>
          <p:nvPr>
            <p:ph type="pic" sz="quarter" idx="19" hasCustomPrompt="1"/>
          </p:nvPr>
        </p:nvSpPr>
        <p:spPr>
          <a:xfrm>
            <a:off x="-2841811" y="-841556"/>
            <a:ext cx="4034631" cy="8830592"/>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
        <p:nvSpPr>
          <p:cNvPr id="21" name="Picture Placeholder 4">
            <a:extLst>
              <a:ext uri="{FF2B5EF4-FFF2-40B4-BE49-F238E27FC236}">
                <a16:creationId xmlns:a16="http://schemas.microsoft.com/office/drawing/2014/main" id="{4B8E2F39-97C7-4305-8208-06313DBAB462}"/>
              </a:ext>
            </a:extLst>
          </p:cNvPr>
          <p:cNvSpPr>
            <a:spLocks noGrp="1" noChangeAspect="1"/>
          </p:cNvSpPr>
          <p:nvPr>
            <p:ph type="pic" sz="quarter" idx="20" hasCustomPrompt="1"/>
          </p:nvPr>
        </p:nvSpPr>
        <p:spPr>
          <a:xfrm>
            <a:off x="4316123" y="3225462"/>
            <a:ext cx="4034631" cy="8830592"/>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
        <p:nvSpPr>
          <p:cNvPr id="22" name="Picture Placeholder 4">
            <a:extLst>
              <a:ext uri="{FF2B5EF4-FFF2-40B4-BE49-F238E27FC236}">
                <a16:creationId xmlns:a16="http://schemas.microsoft.com/office/drawing/2014/main" id="{9E02DE52-BA19-4266-8058-7F9FDAAF4A1C}"/>
              </a:ext>
            </a:extLst>
          </p:cNvPr>
          <p:cNvSpPr>
            <a:spLocks noGrp="1" noChangeAspect="1"/>
          </p:cNvSpPr>
          <p:nvPr>
            <p:ph type="pic" sz="quarter" idx="21" hasCustomPrompt="1"/>
          </p:nvPr>
        </p:nvSpPr>
        <p:spPr>
          <a:xfrm>
            <a:off x="-9995114" y="-4918338"/>
            <a:ext cx="4034631" cy="8830592"/>
          </a:xfrm>
          <a:custGeom>
            <a:avLst/>
            <a:gdLst>
              <a:gd name="connsiteX0" fmla="*/ 540818 w 3856038"/>
              <a:gd name="connsiteY0" fmla="*/ 33 h 8234879"/>
              <a:gd name="connsiteX1" fmla="*/ 790982 w 3856038"/>
              <a:gd name="connsiteY1" fmla="*/ 4667 h 8234879"/>
              <a:gd name="connsiteX2" fmla="*/ 845532 w 3856038"/>
              <a:gd name="connsiteY2" fmla="*/ 82184 h 8234879"/>
              <a:gd name="connsiteX3" fmla="*/ 937586 w 3856038"/>
              <a:gd name="connsiteY3" fmla="*/ 281030 h 8234879"/>
              <a:gd name="connsiteX4" fmla="*/ 1070554 w 3856038"/>
              <a:gd name="connsiteY4" fmla="*/ 328214 h 8234879"/>
              <a:gd name="connsiteX5" fmla="*/ 2754800 w 3856038"/>
              <a:gd name="connsiteY5" fmla="*/ 324844 h 8234879"/>
              <a:gd name="connsiteX6" fmla="*/ 3000278 w 3856038"/>
              <a:gd name="connsiteY6" fmla="*/ 115886 h 8234879"/>
              <a:gd name="connsiteX7" fmla="*/ 3133244 w 3856038"/>
              <a:gd name="connsiteY7" fmla="*/ 4667 h 8234879"/>
              <a:gd name="connsiteX8" fmla="*/ 3515098 w 3856038"/>
              <a:gd name="connsiteY8" fmla="*/ 14778 h 8234879"/>
              <a:gd name="connsiteX9" fmla="*/ 3842400 w 3856038"/>
              <a:gd name="connsiteY9" fmla="*/ 318103 h 8234879"/>
              <a:gd name="connsiteX10" fmla="*/ 3856038 w 3856038"/>
              <a:gd name="connsiteY10" fmla="*/ 486617 h 8234879"/>
              <a:gd name="connsiteX11" fmla="*/ 3856038 w 3856038"/>
              <a:gd name="connsiteY11" fmla="*/ 7749560 h 8234879"/>
              <a:gd name="connsiteX12" fmla="*/ 3821944 w 3856038"/>
              <a:gd name="connsiteY12" fmla="*/ 7995590 h 8234879"/>
              <a:gd name="connsiteX13" fmla="*/ 3634426 w 3856038"/>
              <a:gd name="connsiteY13" fmla="*/ 8194436 h 8234879"/>
              <a:gd name="connsiteX14" fmla="*/ 3378722 w 3856038"/>
              <a:gd name="connsiteY14" fmla="*/ 8234879 h 8234879"/>
              <a:gd name="connsiteX15" fmla="*/ 470498 w 3856038"/>
              <a:gd name="connsiteY15" fmla="*/ 8234879 h 8234879"/>
              <a:gd name="connsiteX16" fmla="*/ 279571 w 3856038"/>
              <a:gd name="connsiteY16" fmla="*/ 8214658 h 8234879"/>
              <a:gd name="connsiteX17" fmla="*/ 10228 w 3856038"/>
              <a:gd name="connsiteY17" fmla="*/ 7897852 h 8234879"/>
              <a:gd name="connsiteX18" fmla="*/ 0 w 3856038"/>
              <a:gd name="connsiteY18" fmla="*/ 7709116 h 8234879"/>
              <a:gd name="connsiteX19" fmla="*/ 0 w 3856038"/>
              <a:gd name="connsiteY19" fmla="*/ 4109662 h 8234879"/>
              <a:gd name="connsiteX20" fmla="*/ 0 w 3856038"/>
              <a:gd name="connsiteY20" fmla="*/ 513579 h 8234879"/>
              <a:gd name="connsiteX21" fmla="*/ 40913 w 3856038"/>
              <a:gd name="connsiteY21" fmla="*/ 220365 h 8234879"/>
              <a:gd name="connsiteX22" fmla="*/ 293209 w 3856038"/>
              <a:gd name="connsiteY22" fmla="*/ 18149 h 8234879"/>
              <a:gd name="connsiteX23" fmla="*/ 540818 w 3856038"/>
              <a:gd name="connsiteY23" fmla="*/ 33 h 823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6038" h="8234878">
                <a:moveTo>
                  <a:pt x="540818" y="33"/>
                </a:moveTo>
                <a:cubicBezTo>
                  <a:pt x="623922" y="455"/>
                  <a:pt x="707452" y="4667"/>
                  <a:pt x="790982" y="4667"/>
                </a:cubicBezTo>
                <a:cubicBezTo>
                  <a:pt x="842124" y="4667"/>
                  <a:pt x="842124" y="45111"/>
                  <a:pt x="845532" y="82184"/>
                </a:cubicBezTo>
                <a:cubicBezTo>
                  <a:pt x="855760" y="159700"/>
                  <a:pt x="862580" y="233846"/>
                  <a:pt x="937586" y="281030"/>
                </a:cubicBezTo>
                <a:cubicBezTo>
                  <a:pt x="978500" y="307992"/>
                  <a:pt x="1019412" y="328214"/>
                  <a:pt x="1070554" y="328214"/>
                </a:cubicBezTo>
                <a:cubicBezTo>
                  <a:pt x="1633106" y="324844"/>
                  <a:pt x="2192248" y="328214"/>
                  <a:pt x="2754800" y="324844"/>
                </a:cubicBezTo>
                <a:cubicBezTo>
                  <a:pt x="2908224" y="324844"/>
                  <a:pt x="2976412" y="264179"/>
                  <a:pt x="3000278" y="115886"/>
                </a:cubicBezTo>
                <a:cubicBezTo>
                  <a:pt x="3020734" y="4667"/>
                  <a:pt x="3020734" y="1297"/>
                  <a:pt x="3133244" y="4667"/>
                </a:cubicBezTo>
                <a:cubicBezTo>
                  <a:pt x="3259392" y="4667"/>
                  <a:pt x="3385540" y="-2073"/>
                  <a:pt x="3515098" y="14778"/>
                </a:cubicBezTo>
                <a:cubicBezTo>
                  <a:pt x="3702614" y="35000"/>
                  <a:pt x="3811716" y="132738"/>
                  <a:pt x="3842400" y="318103"/>
                </a:cubicBezTo>
                <a:cubicBezTo>
                  <a:pt x="3849220" y="372027"/>
                  <a:pt x="3856038" y="429322"/>
                  <a:pt x="3856038" y="486617"/>
                </a:cubicBezTo>
                <a:cubicBezTo>
                  <a:pt x="3856038" y="2906474"/>
                  <a:pt x="3856038" y="5326332"/>
                  <a:pt x="3856038" y="7749560"/>
                </a:cubicBezTo>
                <a:cubicBezTo>
                  <a:pt x="3856038" y="7833816"/>
                  <a:pt x="3845810" y="7914703"/>
                  <a:pt x="3821944" y="7995590"/>
                </a:cubicBezTo>
                <a:cubicBezTo>
                  <a:pt x="3794668" y="8093328"/>
                  <a:pt x="3729890" y="8157362"/>
                  <a:pt x="3634426" y="8194436"/>
                </a:cubicBezTo>
                <a:cubicBezTo>
                  <a:pt x="3552602" y="8224768"/>
                  <a:pt x="3467366" y="8234879"/>
                  <a:pt x="3378722" y="8234879"/>
                </a:cubicBezTo>
                <a:cubicBezTo>
                  <a:pt x="2410450" y="8234879"/>
                  <a:pt x="1438770" y="8234879"/>
                  <a:pt x="470498" y="8234879"/>
                </a:cubicBezTo>
                <a:cubicBezTo>
                  <a:pt x="405719" y="8234879"/>
                  <a:pt x="340941" y="8231508"/>
                  <a:pt x="279571" y="8214658"/>
                </a:cubicBezTo>
                <a:cubicBezTo>
                  <a:pt x="115920" y="8170844"/>
                  <a:pt x="30685" y="8062995"/>
                  <a:pt x="10228" y="7897852"/>
                </a:cubicBezTo>
                <a:cubicBezTo>
                  <a:pt x="3409" y="7833816"/>
                  <a:pt x="0" y="7773152"/>
                  <a:pt x="0" y="7709116"/>
                </a:cubicBezTo>
                <a:cubicBezTo>
                  <a:pt x="0" y="6509298"/>
                  <a:pt x="0" y="5309480"/>
                  <a:pt x="0" y="4109662"/>
                </a:cubicBezTo>
                <a:cubicBezTo>
                  <a:pt x="0" y="2909845"/>
                  <a:pt x="0" y="1713397"/>
                  <a:pt x="0" y="513579"/>
                </a:cubicBezTo>
                <a:cubicBezTo>
                  <a:pt x="0" y="412471"/>
                  <a:pt x="0" y="314733"/>
                  <a:pt x="40913" y="220365"/>
                </a:cubicBezTo>
                <a:cubicBezTo>
                  <a:pt x="88645" y="105775"/>
                  <a:pt x="173880" y="41741"/>
                  <a:pt x="293209" y="18149"/>
                </a:cubicBezTo>
                <a:cubicBezTo>
                  <a:pt x="375035" y="2982"/>
                  <a:pt x="457713" y="-388"/>
                  <a:pt x="540818" y="33"/>
                </a:cubicBezTo>
                <a:close/>
              </a:path>
            </a:pathLst>
          </a:custGeom>
          <a:blipFill>
            <a:blip r:embed="rId2"/>
            <a:stretch>
              <a:fillRect/>
            </a:stretch>
          </a:blipFill>
          <a:ln>
            <a:noFill/>
          </a:ln>
          <a:effectLst/>
          <a:scene3d>
            <a:camera prst="isometricTopUp"/>
            <a:lightRig rig="threePt" dir="t"/>
          </a:scene3d>
        </p:spPr>
        <p:txBody>
          <a:bodyPr wrap="square" anchor="ctr">
            <a:noAutofit/>
          </a:bodyPr>
          <a:lstStyle>
            <a:lvl1pPr>
              <a:defRPr lang="en-US" sz="2200">
                <a:solidFill>
                  <a:schemeClr val="tx1">
                    <a:lumMod val="25000"/>
                    <a:lumOff val="75000"/>
                  </a:schemeClr>
                </a:solidFill>
              </a:defRPr>
            </a:lvl1pPr>
          </a:lstStyle>
          <a:p>
            <a:pPr marL="0" lvl="0" indent="0" algn="ctr">
              <a:buFontTx/>
              <a:buNone/>
            </a:pPr>
            <a:r>
              <a:rPr lang="en-US"/>
              <a:t>Drop in here your images </a:t>
            </a:r>
          </a:p>
        </p:txBody>
      </p:sp>
    </p:spTree>
    <p:extLst>
      <p:ext uri="{BB962C8B-B14F-4D97-AF65-F5344CB8AC3E}">
        <p14:creationId xmlns:p14="http://schemas.microsoft.com/office/powerpoint/2010/main" val="2545255054"/>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42" presetClass="path" presetSubtype="0" dur="5000" repeatCount="indefinite" accel="20000" decel="20000" autoRev="1" fill="hold" grpId="0" nodeType="withEffect">
                                  <p:stCondLst>
                                    <p:cond delay="0"/>
                                  </p:stCondLst>
                                  <p:childTnLst>
                                    <p:animMotion origin="layout" path="M 4.68559E-06 -4.81481E-06 L 0.61313 0.62929" pathEditMode="relative" rAng="0" ptsTypes="AA">
                                      <p:cBhvr>
                                        <p:cTn id="6" dur="5000" fill="hold"/>
                                        <p:tgtEl>
                                          <p:spTgt spid="21"/>
                                        </p:tgtEl>
                                        <p:attrNameLst>
                                          <p:attrName>ppt_x</p:attrName>
                                          <p:attrName>ppt_y</p:attrName>
                                        </p:attrNameLst>
                                      </p:cBhvr>
                                      <p:rCtr x="30654" y="31458"/>
                                    </p:animMotion>
                                  </p:childTnLst>
                                </p:cTn>
                              </p:par>
                              <p:par>
                                <p:cTn id="7" presetID="42" presetClass="path" presetSubtype="0" dur="5000" repeatCount="indefinite" accel="20000" decel="20000" autoRev="1" fill="hold" grpId="0" nodeType="withEffect">
                                  <p:stCondLst>
                                    <p:cond delay="0"/>
                                  </p:stCondLst>
                                  <p:childTnLst>
                                    <p:animMotion origin="layout" path="M 4.68559E-06 -4.81481E-06 L 0.61313 0.62929" pathEditMode="relative" rAng="0" ptsTypes="AA">
                                      <p:cBhvr>
                                        <p:cTn id="8" dur="5000" fill="hold"/>
                                        <p:tgtEl>
                                          <p:spTgt spid="20"/>
                                        </p:tgtEl>
                                        <p:attrNameLst>
                                          <p:attrName>ppt_x</p:attrName>
                                          <p:attrName>ppt_y</p:attrName>
                                        </p:attrNameLst>
                                      </p:cBhvr>
                                      <p:rCtr x="30654" y="31458"/>
                                    </p:animMotion>
                                  </p:childTnLst>
                                </p:cTn>
                              </p:par>
                              <p:par>
                                <p:cTn id="9" presetID="42" presetClass="path" presetSubtype="0" dur="5000" repeatCount="indefinite" accel="20000" decel="20000" autoRev="1" fill="hold" grpId="0" nodeType="withEffect">
                                  <p:stCondLst>
                                    <p:cond delay="0"/>
                                  </p:stCondLst>
                                  <p:childTnLst>
                                    <p:animMotion origin="layout" path="M 4.68559E-06 -4.81481E-06 L 0.61313 0.62929" pathEditMode="relative" rAng="0" ptsTypes="AA">
                                      <p:cBhvr>
                                        <p:cTn id="10" dur="5000" fill="hold"/>
                                        <p:tgtEl>
                                          <p:spTgt spid="22"/>
                                        </p:tgtEl>
                                        <p:attrNameLst>
                                          <p:attrName>ppt_x</p:attrName>
                                          <p:attrName>ppt_y</p:attrName>
                                        </p:attrNameLst>
                                      </p:cBhvr>
                                      <p:rCtr x="30654" y="31458"/>
                                    </p:animMotion>
                                  </p:childTnLst>
                                </p:cTn>
                              </p:par>
                              <p:par>
                                <p:cTn id="11" presetID="42" presetClass="path" presetSubtype="0" dur="7000" repeatCount="indefinite" accel="20000" decel="20000" autoRev="1" fill="hold" grpId="0" nodeType="withEffect">
                                  <p:stCondLst>
                                    <p:cond delay="0"/>
                                  </p:stCondLst>
                                  <p:childTnLst>
                                    <p:animMotion origin="layout" path="M -4.34579E-06 2.96296E-06 L -0.58521 -0.59398" pathEditMode="relative" rAng="0" ptsTypes="AA">
                                      <p:cBhvr>
                                        <p:cTn id="12" dur="7000" fill="hold"/>
                                        <p:tgtEl>
                                          <p:spTgt spid="15"/>
                                        </p:tgtEl>
                                        <p:attrNameLst>
                                          <p:attrName>ppt_x</p:attrName>
                                          <p:attrName>ppt_y</p:attrName>
                                        </p:attrNameLst>
                                      </p:cBhvr>
                                      <p:rCtr x="-29261" y="-29699"/>
                                    </p:animMotion>
                                  </p:childTnLst>
                                </p:cTn>
                              </p:par>
                              <p:par>
                                <p:cTn id="13" presetID="42" presetClass="path" presetSubtype="0" dur="7000" repeatCount="indefinite" accel="20000" decel="20000" autoRev="1" fill="hold" grpId="0" nodeType="withEffect">
                                  <p:stCondLst>
                                    <p:cond delay="0"/>
                                  </p:stCondLst>
                                  <p:childTnLst>
                                    <p:animMotion origin="layout" path="M -4.34579E-06 2.96296E-06 L -0.58521 -0.59398" pathEditMode="relative" rAng="0" ptsTypes="AA">
                                      <p:cBhvr>
                                        <p:cTn id="14" dur="7000" fill="hold"/>
                                        <p:tgtEl>
                                          <p:spTgt spid="14"/>
                                        </p:tgtEl>
                                        <p:attrNameLst>
                                          <p:attrName>ppt_x</p:attrName>
                                          <p:attrName>ppt_y</p:attrName>
                                        </p:attrNameLst>
                                      </p:cBhvr>
                                      <p:rCtr x="-29261" y="-29699"/>
                                    </p:animMotion>
                                  </p:childTnLst>
                                </p:cTn>
                              </p:par>
                              <p:par>
                                <p:cTn id="15" presetID="42" presetClass="path" presetSubtype="0" dur="7000" repeatCount="indefinite" accel="20000" decel="20000" autoRev="1" fill="hold" grpId="0" nodeType="withEffect">
                                  <p:stCondLst>
                                    <p:cond delay="0"/>
                                  </p:stCondLst>
                                  <p:childTnLst>
                                    <p:animMotion origin="layout" path="M -4.34579E-06 2.96296E-06 L -0.58521 -0.59398" pathEditMode="relative" rAng="0" ptsTypes="AA">
                                      <p:cBhvr>
                                        <p:cTn id="16" dur="7000" fill="hold"/>
                                        <p:tgtEl>
                                          <p:spTgt spid="16"/>
                                        </p:tgtEl>
                                        <p:attrNameLst>
                                          <p:attrName>ppt_x</p:attrName>
                                          <p:attrName>ppt_y</p:attrName>
                                        </p:attrNameLst>
                                      </p:cBhvr>
                                      <p:rCtr x="-29261" y="-29699"/>
                                    </p:animMotion>
                                  </p:childTnLst>
                                </p:cTn>
                              </p:par>
                              <p:par>
                                <p:cTn id="17" presetID="42" presetClass="path" presetSubtype="0" dur="6000" repeatCount="indefinite" accel="20000" decel="20000" autoRev="1" fill="hold" grpId="0" nodeType="withEffect">
                                  <p:stCondLst>
                                    <p:cond delay="0"/>
                                  </p:stCondLst>
                                  <p:childTnLst>
                                    <p:animMotion origin="layout" path="M -4.11405E-06 -3.51852E-06 L 0.61314 0.62929" pathEditMode="relative" rAng="0" ptsTypes="AA">
                                      <p:cBhvr>
                                        <p:cTn id="18" dur="6000" fill="hold"/>
                                        <p:tgtEl>
                                          <p:spTgt spid="18"/>
                                        </p:tgtEl>
                                        <p:attrNameLst>
                                          <p:attrName>ppt_x</p:attrName>
                                          <p:attrName>ppt_y</p:attrName>
                                        </p:attrNameLst>
                                      </p:cBhvr>
                                      <p:rCtr x="30654" y="31458"/>
                                    </p:animMotion>
                                  </p:childTnLst>
                                </p:cTn>
                              </p:par>
                              <p:par>
                                <p:cTn id="19" presetID="42" presetClass="path" presetSubtype="0" dur="6000" repeatCount="indefinite" accel="20000" decel="20000" autoRev="1" fill="hold" grpId="0" nodeType="withEffect">
                                  <p:stCondLst>
                                    <p:cond delay="0"/>
                                  </p:stCondLst>
                                  <p:childTnLst>
                                    <p:animMotion origin="layout" path="M -4.11405E-06 -3.51852E-06 L 0.61314 0.62929" pathEditMode="relative" rAng="0" ptsTypes="AA">
                                      <p:cBhvr>
                                        <p:cTn id="20" dur="6000" fill="hold"/>
                                        <p:tgtEl>
                                          <p:spTgt spid="17"/>
                                        </p:tgtEl>
                                        <p:attrNameLst>
                                          <p:attrName>ppt_x</p:attrName>
                                          <p:attrName>ppt_y</p:attrName>
                                        </p:attrNameLst>
                                      </p:cBhvr>
                                      <p:rCtr x="30654" y="31458"/>
                                    </p:animMotion>
                                  </p:childTnLst>
                                </p:cTn>
                              </p:par>
                              <p:par>
                                <p:cTn id="21" presetID="42" presetClass="path" presetSubtype="0" dur="6000" repeatCount="indefinite" accel="20000" decel="20000" autoRev="1" fill="hold" grpId="0" nodeType="withEffect">
                                  <p:stCondLst>
                                    <p:cond delay="0"/>
                                  </p:stCondLst>
                                  <p:childTnLst>
                                    <p:animMotion origin="layout" path="M -4.11405E-06 -3.51852E-06 L 0.61314 0.62929" pathEditMode="relative" rAng="0" ptsTypes="AA">
                                      <p:cBhvr>
                                        <p:cTn id="22" dur="6000" fill="hold"/>
                                        <p:tgtEl>
                                          <p:spTgt spid="19"/>
                                        </p:tgtEl>
                                        <p:attrNameLst>
                                          <p:attrName>ppt_x</p:attrName>
                                          <p:attrName>ppt_y</p:attrName>
                                        </p:attrNameLst>
                                      </p:cBhvr>
                                      <p:rCtr x="30654" y="3145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animBg="1"/>
      <p:bldP spid="16" grpId="0" animBg="1"/>
      <p:bldP spid="17" grpId="0" animBg="1"/>
      <p:bldP spid="18" grpId="0" animBg="1"/>
      <p:bldP spid="19" grpId="0" animBg="1"/>
      <p:bldP spid="20" grpId="0" animBg="1"/>
      <p:bldP spid="21" grpId="0" animBg="1"/>
      <p:bldP spid="22" grpId="0" animBg="1"/>
    </p:bld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53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5DAAA84-8CB9-4126-A2A3-B5810518A7B3}"/>
              </a:ext>
            </a:extLst>
          </p:cNvPr>
          <p:cNvSpPr>
            <a:spLocks noGrp="1"/>
          </p:cNvSpPr>
          <p:nvPr>
            <p:ph type="pic" sz="quarter" idx="13"/>
          </p:nvPr>
        </p:nvSpPr>
        <p:spPr>
          <a:xfrm>
            <a:off x="6956138" y="1233179"/>
            <a:ext cx="4527231" cy="2759657"/>
          </a:xfrm>
          <a:custGeom>
            <a:avLst/>
            <a:gdLst>
              <a:gd name="connsiteX0" fmla="*/ 0 w 6263640"/>
              <a:gd name="connsiteY0" fmla="*/ 0 h 3817620"/>
              <a:gd name="connsiteX1" fmla="*/ 6263640 w 6263640"/>
              <a:gd name="connsiteY1" fmla="*/ 0 h 3817620"/>
              <a:gd name="connsiteX2" fmla="*/ 6263640 w 6263640"/>
              <a:gd name="connsiteY2" fmla="*/ 3817620 h 3817620"/>
              <a:gd name="connsiteX3" fmla="*/ 0 w 6263640"/>
              <a:gd name="connsiteY3" fmla="*/ 3817620 h 3817620"/>
            </a:gdLst>
            <a:ahLst/>
            <a:cxnLst>
              <a:cxn ang="0">
                <a:pos x="connsiteX0" y="connsiteY0"/>
              </a:cxn>
              <a:cxn ang="0">
                <a:pos x="connsiteX1" y="connsiteY1"/>
              </a:cxn>
              <a:cxn ang="0">
                <a:pos x="connsiteX2" y="connsiteY2"/>
              </a:cxn>
              <a:cxn ang="0">
                <a:pos x="connsiteX3" y="connsiteY3"/>
              </a:cxn>
            </a:cxnLst>
            <a:rect l="l" t="t" r="r" b="b"/>
            <a:pathLst>
              <a:path w="6263640" h="3817620">
                <a:moveTo>
                  <a:pt x="0" y="0"/>
                </a:moveTo>
                <a:lnTo>
                  <a:pt x="6263640" y="0"/>
                </a:lnTo>
                <a:lnTo>
                  <a:pt x="6263640" y="3817620"/>
                </a:lnTo>
                <a:lnTo>
                  <a:pt x="0" y="3817620"/>
                </a:lnTo>
                <a:close/>
              </a:path>
            </a:pathLst>
          </a:custGeom>
          <a:blipFill dpi="0" rotWithShape="1">
            <a:blip r:embed="rId2"/>
            <a:stretch>
              <a:fillRect/>
            </a:stretch>
          </a:blipFill>
          <a:effectLst/>
          <a:scene3d>
            <a:camera prst="isometricLeftDown"/>
            <a:lightRig rig="threePt" dir="t"/>
          </a:scene3d>
        </p:spPr>
        <p:txBody>
          <a:bodyPr wrap="square" anchor="ctr">
            <a:noAutofit/>
          </a:bodyPr>
          <a:lstStyle>
            <a:lvl1pPr marL="0" indent="0" algn="ctr">
              <a:buFontTx/>
              <a:buNone/>
              <a:defRPr sz="1200"/>
            </a:lvl1pPr>
          </a:lstStyle>
          <a:p>
            <a:endParaRPr lang="en-US"/>
          </a:p>
        </p:txBody>
      </p:sp>
    </p:spTree>
    <p:extLst>
      <p:ext uri="{BB962C8B-B14F-4D97-AF65-F5344CB8AC3E}">
        <p14:creationId xmlns:p14="http://schemas.microsoft.com/office/powerpoint/2010/main" val="2490054318"/>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4" dur="1500" decel="10000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500" fill="hold"/>
                                        <p:tgtEl>
                                          <p:spTgt spid="4"/>
                                        </p:tgtEl>
                                        <p:attrNameLst>
                                          <p:attrName>ppt_x</p:attrName>
                                        </p:attrNameLst>
                                      </p:cBhvr>
                                      <p:tavLst>
                                        <p:tav tm="0">
                                          <p:val>
                                            <p:strVal val="#ppt_x"/>
                                          </p:val>
                                        </p:tav>
                                        <p:tav tm="100000">
                                          <p:val>
                                            <p:strVal val="#ppt_x"/>
                                          </p:val>
                                        </p:tav>
                                      </p:tavLst>
                                    </p:anim>
                                    <p:anim calcmode="lin" valueType="num">
                                      <p:cBhvr additive="base">
                                        <p:cTn id="8" dur="1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55_Custom Layou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404C06A5-7833-4BEF-AEAC-88B10E26025F}"/>
              </a:ext>
            </a:extLst>
          </p:cNvPr>
          <p:cNvSpPr>
            <a:spLocks noGrp="1"/>
          </p:cNvSpPr>
          <p:nvPr>
            <p:ph type="pic" sz="quarter" idx="13"/>
          </p:nvPr>
        </p:nvSpPr>
        <p:spPr>
          <a:xfrm>
            <a:off x="4607685" y="2622324"/>
            <a:ext cx="3076629" cy="1848077"/>
          </a:xfrm>
          <a:custGeom>
            <a:avLst/>
            <a:gdLst>
              <a:gd name="connsiteX0" fmla="*/ 0 w 6762750"/>
              <a:gd name="connsiteY0" fmla="*/ 0 h 4086225"/>
              <a:gd name="connsiteX1" fmla="*/ 6762750 w 6762750"/>
              <a:gd name="connsiteY1" fmla="*/ 0 h 4086225"/>
              <a:gd name="connsiteX2" fmla="*/ 6762750 w 6762750"/>
              <a:gd name="connsiteY2" fmla="*/ 4086225 h 4086225"/>
              <a:gd name="connsiteX3" fmla="*/ 0 w 6762750"/>
              <a:gd name="connsiteY3" fmla="*/ 4086225 h 4086225"/>
            </a:gdLst>
            <a:ahLst/>
            <a:cxnLst>
              <a:cxn ang="0">
                <a:pos x="connsiteX0" y="connsiteY0"/>
              </a:cxn>
              <a:cxn ang="0">
                <a:pos x="connsiteX1" y="connsiteY1"/>
              </a:cxn>
              <a:cxn ang="0">
                <a:pos x="connsiteX2" y="connsiteY2"/>
              </a:cxn>
              <a:cxn ang="0">
                <a:pos x="connsiteX3" y="connsiteY3"/>
              </a:cxn>
            </a:cxnLst>
            <a:rect l="l" t="t" r="r" b="b"/>
            <a:pathLst>
              <a:path w="6762750" h="4086225">
                <a:moveTo>
                  <a:pt x="0" y="0"/>
                </a:moveTo>
                <a:lnTo>
                  <a:pt x="6762750" y="0"/>
                </a:lnTo>
                <a:lnTo>
                  <a:pt x="6762750" y="4086225"/>
                </a:lnTo>
                <a:lnTo>
                  <a:pt x="0" y="4086225"/>
                </a:lnTo>
                <a:close/>
              </a:path>
            </a:pathLst>
          </a:custGeom>
          <a:blipFill>
            <a:blip r:embed="rId2"/>
            <a:stretch>
              <a:fillRect/>
            </a:stretch>
          </a:blipFill>
          <a:effectLst/>
        </p:spPr>
        <p:txBody>
          <a:bodyPr wrap="square" anchor="ctr">
            <a:noAutofit/>
          </a:bodyPr>
          <a:lstStyle>
            <a:lvl1pPr marL="0" indent="0" algn="ctr">
              <a:buFontTx/>
              <a:buNone/>
              <a:defRPr sz="1200"/>
            </a:lvl1pPr>
          </a:lstStyle>
          <a:p>
            <a:endParaRPr lang="en-US"/>
          </a:p>
        </p:txBody>
      </p:sp>
    </p:spTree>
    <p:extLst>
      <p:ext uri="{BB962C8B-B14F-4D97-AF65-F5344CB8AC3E}">
        <p14:creationId xmlns:p14="http://schemas.microsoft.com/office/powerpoint/2010/main" val="1051233257"/>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4" dur="1500"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1500" fill="hold"/>
                                        <p:tgtEl>
                                          <p:spTgt spid="6"/>
                                        </p:tgtEl>
                                        <p:attrNameLst>
                                          <p:attrName>ppt_x</p:attrName>
                                        </p:attrNameLst>
                                      </p:cBhvr>
                                      <p:tavLst>
                                        <p:tav tm="0">
                                          <p:val>
                                            <p:strVal val="#ppt_x"/>
                                          </p:val>
                                        </p:tav>
                                        <p:tav tm="100000">
                                          <p:val>
                                            <p:strVal val="#ppt_x"/>
                                          </p:val>
                                        </p:tav>
                                      </p:tavLst>
                                    </p:anim>
                                    <p:anim calcmode="lin" valueType="num">
                                      <p:cBhvr additive="base">
                                        <p:cTn id="8" dur="1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57_Custom Layout">
    <p:spTree>
      <p:nvGrpSpPr>
        <p:cNvPr id="1" name=""/>
        <p:cNvGrpSpPr/>
        <p:nvPr/>
      </p:nvGrpSpPr>
      <p:grpSpPr>
        <a:xfrm>
          <a:off x="0" y="0"/>
          <a:ext cx="0" cy="0"/>
          <a:chOff x="0" y="0"/>
          <a:chExt cx="0" cy="0"/>
        </a:xfrm>
      </p:grpSpPr>
      <p:sp>
        <p:nvSpPr>
          <p:cNvPr id="4" name="Picture Placeholder 28">
            <a:extLst>
              <a:ext uri="{FF2B5EF4-FFF2-40B4-BE49-F238E27FC236}">
                <a16:creationId xmlns:a16="http://schemas.microsoft.com/office/drawing/2014/main" id="{B7AB7AFB-ED3D-4D6A-A9B8-52817BB37E1C}"/>
              </a:ext>
            </a:extLst>
          </p:cNvPr>
          <p:cNvSpPr>
            <a:spLocks noGrp="1"/>
          </p:cNvSpPr>
          <p:nvPr>
            <p:ph type="pic" sz="quarter" idx="14"/>
          </p:nvPr>
        </p:nvSpPr>
        <p:spPr>
          <a:xfrm>
            <a:off x="7553770" y="3302793"/>
            <a:ext cx="629044" cy="1144660"/>
          </a:xfrm>
          <a:custGeom>
            <a:avLst/>
            <a:gdLst>
              <a:gd name="connsiteX0" fmla="*/ 0 w 6261100"/>
              <a:gd name="connsiteY0" fmla="*/ 0 h 13509522"/>
              <a:gd name="connsiteX1" fmla="*/ 6261100 w 6261100"/>
              <a:gd name="connsiteY1" fmla="*/ 0 h 13509522"/>
              <a:gd name="connsiteX2" fmla="*/ 6261100 w 6261100"/>
              <a:gd name="connsiteY2" fmla="*/ 13509522 h 13509522"/>
              <a:gd name="connsiteX3" fmla="*/ 0 w 6261100"/>
              <a:gd name="connsiteY3" fmla="*/ 13509522 h 13509522"/>
            </a:gdLst>
            <a:ahLst/>
            <a:cxnLst>
              <a:cxn ang="0">
                <a:pos x="connsiteX0" y="connsiteY0"/>
              </a:cxn>
              <a:cxn ang="0">
                <a:pos x="connsiteX1" y="connsiteY1"/>
              </a:cxn>
              <a:cxn ang="0">
                <a:pos x="connsiteX2" y="connsiteY2"/>
              </a:cxn>
              <a:cxn ang="0">
                <a:pos x="connsiteX3" y="connsiteY3"/>
              </a:cxn>
            </a:cxnLst>
            <a:rect l="l" t="t" r="r" b="b"/>
            <a:pathLst>
              <a:path w="6261100" h="13509522">
                <a:moveTo>
                  <a:pt x="0" y="0"/>
                </a:moveTo>
                <a:lnTo>
                  <a:pt x="6261100" y="0"/>
                </a:lnTo>
                <a:lnTo>
                  <a:pt x="6261100" y="13509522"/>
                </a:lnTo>
                <a:lnTo>
                  <a:pt x="0" y="13509522"/>
                </a:lnTo>
                <a:close/>
              </a:path>
            </a:pathLst>
          </a:custGeom>
          <a:blipFill>
            <a:blip r:embed="rId2"/>
            <a:tile tx="0" ty="0" sx="100000" sy="100000" flip="none" algn="ctr"/>
          </a:blipFill>
          <a:effectLst/>
          <a:scene3d>
            <a:camera prst="isometricRightUp">
              <a:rot lat="1200000" lon="18899998" rev="780000"/>
            </a:camera>
            <a:lightRig rig="threePt" dir="t"/>
          </a:scene3d>
        </p:spPr>
        <p:txBody>
          <a:bodyPr wrap="square" anchor="ctr">
            <a:noAutofit/>
          </a:bodyPr>
          <a:lstStyle>
            <a:lvl1pPr marL="0" indent="0" algn="ctr">
              <a:buFontTx/>
              <a:buNone/>
              <a:defRPr sz="1200"/>
            </a:lvl1pPr>
          </a:lstStyle>
          <a:p>
            <a:endParaRPr lang="en-US"/>
          </a:p>
        </p:txBody>
      </p:sp>
      <p:sp>
        <p:nvSpPr>
          <p:cNvPr id="3" name="Picture Placeholder 3">
            <a:extLst>
              <a:ext uri="{FF2B5EF4-FFF2-40B4-BE49-F238E27FC236}">
                <a16:creationId xmlns:a16="http://schemas.microsoft.com/office/drawing/2014/main" id="{9A6D1CAE-3831-4DFC-A92E-1E7CD1BD657B}"/>
              </a:ext>
            </a:extLst>
          </p:cNvPr>
          <p:cNvSpPr>
            <a:spLocks noGrp="1"/>
          </p:cNvSpPr>
          <p:nvPr>
            <p:ph type="pic" sz="quarter" idx="13"/>
          </p:nvPr>
        </p:nvSpPr>
        <p:spPr>
          <a:xfrm>
            <a:off x="2228560" y="2434319"/>
            <a:ext cx="3565696" cy="2148840"/>
          </a:xfrm>
          <a:custGeom>
            <a:avLst/>
            <a:gdLst>
              <a:gd name="connsiteX0" fmla="*/ 0 w 6263640"/>
              <a:gd name="connsiteY0" fmla="*/ 0 h 3817620"/>
              <a:gd name="connsiteX1" fmla="*/ 6263640 w 6263640"/>
              <a:gd name="connsiteY1" fmla="*/ 0 h 3817620"/>
              <a:gd name="connsiteX2" fmla="*/ 6263640 w 6263640"/>
              <a:gd name="connsiteY2" fmla="*/ 3817620 h 3817620"/>
              <a:gd name="connsiteX3" fmla="*/ 0 w 6263640"/>
              <a:gd name="connsiteY3" fmla="*/ 3817620 h 3817620"/>
            </a:gdLst>
            <a:ahLst/>
            <a:cxnLst>
              <a:cxn ang="0">
                <a:pos x="connsiteX0" y="connsiteY0"/>
              </a:cxn>
              <a:cxn ang="0">
                <a:pos x="connsiteX1" y="connsiteY1"/>
              </a:cxn>
              <a:cxn ang="0">
                <a:pos x="connsiteX2" y="connsiteY2"/>
              </a:cxn>
              <a:cxn ang="0">
                <a:pos x="connsiteX3" y="connsiteY3"/>
              </a:cxn>
            </a:cxnLst>
            <a:rect l="l" t="t" r="r" b="b"/>
            <a:pathLst>
              <a:path w="6263640" h="3817620">
                <a:moveTo>
                  <a:pt x="0" y="0"/>
                </a:moveTo>
                <a:lnTo>
                  <a:pt x="6263640" y="0"/>
                </a:lnTo>
                <a:lnTo>
                  <a:pt x="6263640" y="3817620"/>
                </a:lnTo>
                <a:lnTo>
                  <a:pt x="0" y="3817620"/>
                </a:lnTo>
                <a:close/>
              </a:path>
            </a:pathLst>
          </a:custGeom>
          <a:blipFill dpi="0" rotWithShape="1">
            <a:blip r:embed="rId3"/>
            <a:stretch>
              <a:fillRect/>
            </a:stretch>
          </a:blipFill>
          <a:effectLst/>
          <a:scene3d>
            <a:camera prst="isometricRightUp"/>
            <a:lightRig rig="threePt" dir="t"/>
          </a:scene3d>
        </p:spPr>
        <p:txBody>
          <a:bodyPr wrap="square" anchor="ctr">
            <a:noAutofit/>
          </a:bodyPr>
          <a:lstStyle>
            <a:lvl1pPr marL="0" indent="0" algn="ctr">
              <a:buFontTx/>
              <a:buNone/>
              <a:defRPr sz="1200"/>
            </a:lvl1pPr>
          </a:lstStyle>
          <a:p>
            <a:endParaRPr lang="en-US"/>
          </a:p>
        </p:txBody>
      </p:sp>
    </p:spTree>
    <p:extLst>
      <p:ext uri="{BB962C8B-B14F-4D97-AF65-F5344CB8AC3E}">
        <p14:creationId xmlns:p14="http://schemas.microsoft.com/office/powerpoint/2010/main" val="4276091782"/>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10" presetClass="entr" presetSubtype="0" dur="30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300"/>
                                        <p:tgtEl>
                                          <p:spTgt spid="3"/>
                                        </p:tgtEl>
                                      </p:cBhvr>
                                    </p:animEffect>
                                  </p:childTnLst>
                                </p:cTn>
                              </p:par>
                              <p:par>
                                <p:cTn id="8" presetID="10" presetClass="entr" presetSubtype="0" dur="300" fill="hold" grpId="0" nodeType="withEffect">
                                  <p:stCondLst>
                                    <p:cond delay="20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3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3" grpId="0" animBg="1"/>
    </p:bld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62_Custom Layout">
    <p:spTree>
      <p:nvGrpSpPr>
        <p:cNvPr id="1" name=""/>
        <p:cNvGrpSpPr/>
        <p:nvPr/>
      </p:nvGrpSpPr>
      <p:grpSpPr>
        <a:xfrm>
          <a:off x="0" y="0"/>
          <a:ext cx="0" cy="0"/>
          <a:chOff x="0" y="0"/>
          <a:chExt cx="0" cy="0"/>
        </a:xfrm>
      </p:grpSpPr>
      <p:sp>
        <p:nvSpPr>
          <p:cNvPr id="7" name="Picture Placeholder 28">
            <a:extLst>
              <a:ext uri="{FF2B5EF4-FFF2-40B4-BE49-F238E27FC236}">
                <a16:creationId xmlns:a16="http://schemas.microsoft.com/office/drawing/2014/main" id="{13D91D79-BB44-418C-A6E0-03C49B2BFFB4}"/>
              </a:ext>
            </a:extLst>
          </p:cNvPr>
          <p:cNvSpPr>
            <a:spLocks noGrp="1"/>
          </p:cNvSpPr>
          <p:nvPr>
            <p:ph type="pic" sz="quarter" idx="14"/>
          </p:nvPr>
        </p:nvSpPr>
        <p:spPr>
          <a:xfrm>
            <a:off x="4883751" y="3678129"/>
            <a:ext cx="643205" cy="1388019"/>
          </a:xfrm>
          <a:custGeom>
            <a:avLst/>
            <a:gdLst>
              <a:gd name="connsiteX0" fmla="*/ 0 w 6261100"/>
              <a:gd name="connsiteY0" fmla="*/ 0 h 13509522"/>
              <a:gd name="connsiteX1" fmla="*/ 6261100 w 6261100"/>
              <a:gd name="connsiteY1" fmla="*/ 0 h 13509522"/>
              <a:gd name="connsiteX2" fmla="*/ 6261100 w 6261100"/>
              <a:gd name="connsiteY2" fmla="*/ 13509522 h 13509522"/>
              <a:gd name="connsiteX3" fmla="*/ 0 w 6261100"/>
              <a:gd name="connsiteY3" fmla="*/ 13509522 h 13509522"/>
            </a:gdLst>
            <a:ahLst/>
            <a:cxnLst>
              <a:cxn ang="0">
                <a:pos x="connsiteX0" y="connsiteY0"/>
              </a:cxn>
              <a:cxn ang="0">
                <a:pos x="connsiteX1" y="connsiteY1"/>
              </a:cxn>
              <a:cxn ang="0">
                <a:pos x="connsiteX2" y="connsiteY2"/>
              </a:cxn>
              <a:cxn ang="0">
                <a:pos x="connsiteX3" y="connsiteY3"/>
              </a:cxn>
            </a:cxnLst>
            <a:rect l="l" t="t" r="r" b="b"/>
            <a:pathLst>
              <a:path w="6261100" h="13509522">
                <a:moveTo>
                  <a:pt x="0" y="0"/>
                </a:moveTo>
                <a:lnTo>
                  <a:pt x="6261100" y="0"/>
                </a:lnTo>
                <a:lnTo>
                  <a:pt x="6261100" y="13509522"/>
                </a:lnTo>
                <a:lnTo>
                  <a:pt x="0" y="13509522"/>
                </a:lnTo>
                <a:close/>
              </a:path>
            </a:pathLst>
          </a:custGeom>
          <a:blipFill dpi="0" rotWithShape="1">
            <a:blip r:embed="rId2"/>
            <a:stretch>
              <a:fillRect/>
            </a:stretch>
          </a:blipFill>
          <a:effectLst/>
          <a:scene3d>
            <a:camera prst="isometricTopUp"/>
            <a:lightRig rig="threePt" dir="t"/>
          </a:scene3d>
        </p:spPr>
        <p:txBody>
          <a:bodyPr wrap="square" anchor="ctr">
            <a:noAutofit/>
          </a:bodyPr>
          <a:lstStyle>
            <a:lvl1pPr marL="0" indent="0" algn="ctr">
              <a:buFontTx/>
              <a:buNone/>
              <a:defRPr sz="1200"/>
            </a:lvl1pPr>
          </a:lstStyle>
          <a:p>
            <a:endParaRPr lang="en-US"/>
          </a:p>
        </p:txBody>
      </p:sp>
      <p:sp>
        <p:nvSpPr>
          <p:cNvPr id="4" name="Picture Placeholder 3">
            <a:extLst>
              <a:ext uri="{FF2B5EF4-FFF2-40B4-BE49-F238E27FC236}">
                <a16:creationId xmlns:a16="http://schemas.microsoft.com/office/drawing/2014/main" id="{B1341CDB-C9B9-4F7E-86D0-A59CD06C8B23}"/>
              </a:ext>
            </a:extLst>
          </p:cNvPr>
          <p:cNvSpPr>
            <a:spLocks noGrp="1"/>
          </p:cNvSpPr>
          <p:nvPr>
            <p:ph type="pic" sz="quarter" idx="13"/>
          </p:nvPr>
        </p:nvSpPr>
        <p:spPr>
          <a:xfrm>
            <a:off x="4622164" y="1151763"/>
            <a:ext cx="4154933" cy="2532716"/>
          </a:xfrm>
          <a:custGeom>
            <a:avLst/>
            <a:gdLst>
              <a:gd name="connsiteX0" fmla="*/ 0 w 6263640"/>
              <a:gd name="connsiteY0" fmla="*/ 0 h 3817620"/>
              <a:gd name="connsiteX1" fmla="*/ 6263640 w 6263640"/>
              <a:gd name="connsiteY1" fmla="*/ 0 h 3817620"/>
              <a:gd name="connsiteX2" fmla="*/ 6263640 w 6263640"/>
              <a:gd name="connsiteY2" fmla="*/ 3817620 h 3817620"/>
              <a:gd name="connsiteX3" fmla="*/ 0 w 6263640"/>
              <a:gd name="connsiteY3" fmla="*/ 3817620 h 3817620"/>
            </a:gdLst>
            <a:ahLst/>
            <a:cxnLst>
              <a:cxn ang="0">
                <a:pos x="connsiteX0" y="connsiteY0"/>
              </a:cxn>
              <a:cxn ang="0">
                <a:pos x="connsiteX1" y="connsiteY1"/>
              </a:cxn>
              <a:cxn ang="0">
                <a:pos x="connsiteX2" y="connsiteY2"/>
              </a:cxn>
              <a:cxn ang="0">
                <a:pos x="connsiteX3" y="connsiteY3"/>
              </a:cxn>
            </a:cxnLst>
            <a:rect l="l" t="t" r="r" b="b"/>
            <a:pathLst>
              <a:path w="6263640" h="3817620">
                <a:moveTo>
                  <a:pt x="0" y="0"/>
                </a:moveTo>
                <a:lnTo>
                  <a:pt x="6263640" y="0"/>
                </a:lnTo>
                <a:lnTo>
                  <a:pt x="6263640" y="3817620"/>
                </a:lnTo>
                <a:lnTo>
                  <a:pt x="0" y="3817620"/>
                </a:lnTo>
                <a:close/>
              </a:path>
            </a:pathLst>
          </a:custGeom>
          <a:blipFill dpi="0" rotWithShape="1">
            <a:blip r:embed="rId3"/>
            <a:stretch>
              <a:fillRect/>
            </a:stretch>
          </a:blipFill>
          <a:effectLst/>
          <a:scene3d>
            <a:camera prst="isometricLeftDown"/>
            <a:lightRig rig="threePt" dir="t"/>
          </a:scene3d>
        </p:spPr>
        <p:txBody>
          <a:bodyPr wrap="square" anchor="ctr">
            <a:noAutofit/>
          </a:bodyPr>
          <a:lstStyle>
            <a:lvl1pPr marL="0" indent="0" algn="ctr">
              <a:buFontTx/>
              <a:buNone/>
              <a:defRPr sz="1200"/>
            </a:lvl1pPr>
          </a:lstStyle>
          <a:p>
            <a:endParaRPr lang="en-US"/>
          </a:p>
        </p:txBody>
      </p:sp>
    </p:spTree>
    <p:extLst>
      <p:ext uri="{BB962C8B-B14F-4D97-AF65-F5344CB8AC3E}">
        <p14:creationId xmlns:p14="http://schemas.microsoft.com/office/powerpoint/2010/main" val="1561797852"/>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1" dur="1500" decel="10000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500" fill="hold"/>
                                        <p:tgtEl>
                                          <p:spTgt spid="4"/>
                                        </p:tgtEl>
                                        <p:attrNameLst>
                                          <p:attrName>ppt_x</p:attrName>
                                        </p:attrNameLst>
                                      </p:cBhvr>
                                      <p:tavLst>
                                        <p:tav tm="0">
                                          <p:val>
                                            <p:strVal val="#ppt_x"/>
                                          </p:val>
                                        </p:tav>
                                        <p:tav tm="100000">
                                          <p:val>
                                            <p:strVal val="#ppt_x"/>
                                          </p:val>
                                        </p:tav>
                                      </p:tavLst>
                                    </p:anim>
                                    <p:anim calcmode="lin" valueType="num">
                                      <p:cBhvr additive="base">
                                        <p:cTn id="8" dur="1500" fill="hold"/>
                                        <p:tgtEl>
                                          <p:spTgt spid="4"/>
                                        </p:tgtEl>
                                        <p:attrNameLst>
                                          <p:attrName>ppt_y</p:attrName>
                                        </p:attrNameLst>
                                      </p:cBhvr>
                                      <p:tavLst>
                                        <p:tav tm="0">
                                          <p:val>
                                            <p:strVal val="0-#ppt_h/2"/>
                                          </p:val>
                                        </p:tav>
                                        <p:tav tm="100000">
                                          <p:val>
                                            <p:strVal val="#ppt_y"/>
                                          </p:val>
                                        </p:tav>
                                      </p:tavLst>
                                    </p:anim>
                                  </p:childTnLst>
                                </p:cTn>
                              </p:par>
                              <p:par>
                                <p:cTn id="9" presetID="2" presetClass="entr" presetSubtype="4" dur="1500" decel="10000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1500" fill="hold"/>
                                        <p:tgtEl>
                                          <p:spTgt spid="7"/>
                                        </p:tgtEl>
                                        <p:attrNameLst>
                                          <p:attrName>ppt_x</p:attrName>
                                        </p:attrNameLst>
                                      </p:cBhvr>
                                      <p:tavLst>
                                        <p:tav tm="0">
                                          <p:val>
                                            <p:strVal val="#ppt_x"/>
                                          </p:val>
                                        </p:tav>
                                        <p:tav tm="100000">
                                          <p:val>
                                            <p:strVal val="#ppt_x"/>
                                          </p:val>
                                        </p:tav>
                                      </p:tavLst>
                                    </p:anim>
                                    <p:anim calcmode="lin" valueType="num">
                                      <p:cBhvr additive="base">
                                        <p:cTn id="12" dur="1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4" grpId="0" animBg="1"/>
    </p:bld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EADING/TEXT/IMAGE 1 big">
    <p:spTree>
      <p:nvGrpSpPr>
        <p:cNvPr id="1" name=""/>
        <p:cNvGrpSpPr/>
        <p:nvPr/>
      </p:nvGrpSpPr>
      <p:grpSpPr>
        <a:xfrm>
          <a:off x="0" y="0"/>
          <a:ext cx="0" cy="0"/>
          <a:chOff x="0" y="0"/>
          <a:chExt cx="0" cy="0"/>
        </a:xfrm>
      </p:grpSpPr>
      <p:sp>
        <p:nvSpPr>
          <p:cNvPr id="13" name="Freihandform: Form 12">
            <a:extLst>
              <a:ext uri="{FF2B5EF4-FFF2-40B4-BE49-F238E27FC236}">
                <a16:creationId xmlns:a16="http://schemas.microsoft.com/office/drawing/2014/main" id="{50EC640D-C73C-4FD9-AD9A-88EE410704F4}"/>
              </a:ext>
            </a:extLst>
          </p:cNvPr>
          <p:cNvSpPr/>
          <p:nvPr/>
        </p:nvSpPr>
        <p:spPr>
          <a:xfrm rot="10800000" flipH="1">
            <a:off x="3991593" y="1979612"/>
            <a:ext cx="9829800" cy="4882390"/>
          </a:xfrm>
          <a:custGeom>
            <a:avLst/>
            <a:gdLst>
              <a:gd name="connsiteX0" fmla="*/ 910059 w 9829800"/>
              <a:gd name="connsiteY0" fmla="*/ 0 h 4882390"/>
              <a:gd name="connsiteX1" fmla="*/ 3015085 w 9829800"/>
              <a:gd name="connsiteY1" fmla="*/ 0 h 4882390"/>
              <a:gd name="connsiteX2" fmla="*/ 7981950 w 9829800"/>
              <a:gd name="connsiteY2" fmla="*/ 0 h 4882390"/>
              <a:gd name="connsiteX3" fmla="*/ 9829800 w 9829800"/>
              <a:gd name="connsiteY3" fmla="*/ 0 h 4882390"/>
              <a:gd name="connsiteX4" fmla="*/ 9829800 w 9829800"/>
              <a:gd name="connsiteY4" fmla="*/ 4882390 h 4882390"/>
              <a:gd name="connsiteX5" fmla="*/ 7981950 w 9829800"/>
              <a:gd name="connsiteY5" fmla="*/ 4882390 h 4882390"/>
              <a:gd name="connsiteX6" fmla="*/ 2183098 w 9829800"/>
              <a:gd name="connsiteY6" fmla="*/ 4882390 h 4882390"/>
              <a:gd name="connsiteX7" fmla="*/ 78072 w 9829800"/>
              <a:gd name="connsiteY7" fmla="*/ 4882390 h 4882390"/>
              <a:gd name="connsiteX8" fmla="*/ 0 w 9829800"/>
              <a:gd name="connsiteY8" fmla="*/ 4804318 h 4882390"/>
              <a:gd name="connsiteX9" fmla="*/ 831987 w 9829800"/>
              <a:gd name="connsiteY9" fmla="*/ 78072 h 4882390"/>
              <a:gd name="connsiteX10" fmla="*/ 910059 w 9829800"/>
              <a:gd name="connsiteY10" fmla="*/ 0 h 4882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829800" h="4882390">
                <a:moveTo>
                  <a:pt x="910059" y="0"/>
                </a:moveTo>
                <a:lnTo>
                  <a:pt x="3015085" y="0"/>
                </a:lnTo>
                <a:lnTo>
                  <a:pt x="7981950" y="0"/>
                </a:lnTo>
                <a:lnTo>
                  <a:pt x="9829800" y="0"/>
                </a:lnTo>
                <a:lnTo>
                  <a:pt x="9829800" y="4882390"/>
                </a:lnTo>
                <a:lnTo>
                  <a:pt x="7981950" y="4882390"/>
                </a:lnTo>
                <a:lnTo>
                  <a:pt x="2183098" y="4882390"/>
                </a:lnTo>
                <a:lnTo>
                  <a:pt x="78072" y="4882390"/>
                </a:lnTo>
                <a:cubicBezTo>
                  <a:pt x="34957" y="4882390"/>
                  <a:pt x="0" y="4847433"/>
                  <a:pt x="0" y="4804318"/>
                </a:cubicBezTo>
                <a:lnTo>
                  <a:pt x="831987" y="78072"/>
                </a:lnTo>
                <a:cubicBezTo>
                  <a:pt x="831987" y="34957"/>
                  <a:pt x="866945" y="0"/>
                  <a:pt x="910059" y="0"/>
                </a:cubicBezTo>
                <a:close/>
              </a:path>
            </a:pathLst>
          </a:custGeom>
          <a:gradFill>
            <a:gsLst>
              <a:gs pos="100000">
                <a:schemeClr val="bg1"/>
              </a:gs>
              <a:gs pos="5000">
                <a:srgbClr val="ECF0F4"/>
              </a:gs>
            </a:gsLst>
            <a:lin ang="5400000" scaled="1"/>
          </a:gradFill>
          <a:ln w="11652" cap="flat">
            <a:noFill/>
            <a:prstDash val="solid"/>
            <a:miter/>
          </a:ln>
        </p:spPr>
        <p:txBody>
          <a:bodyPr rtlCol="0" anchor="ctr"/>
          <a:lstStyle/>
          <a:p>
            <a:endParaRPr lang="de-DE"/>
          </a:p>
        </p:txBody>
      </p:sp>
      <p:sp>
        <p:nvSpPr>
          <p:cNvPr id="2" name="Titel 1">
            <a:extLst>
              <a:ext uri="{FF2B5EF4-FFF2-40B4-BE49-F238E27FC236}">
                <a16:creationId xmlns:a16="http://schemas.microsoft.com/office/drawing/2014/main" id="{0526DC72-FA1D-422D-8055-3374742D122B}"/>
              </a:ext>
            </a:extLst>
          </p:cNvPr>
          <p:cNvSpPr>
            <a:spLocks noGrp="1"/>
          </p:cNvSpPr>
          <p:nvPr>
            <p:ph type="title"/>
          </p:nvPr>
        </p:nvSpPr>
        <p:spPr>
          <a:xfrm>
            <a:off x="815952" y="733402"/>
            <a:ext cx="4931999" cy="767737"/>
          </a:xfrm>
        </p:spPr>
        <p:txBody>
          <a:bodyPr/>
          <a:lstStyle>
            <a:lvl1pPr>
              <a:lnSpc>
                <a:spcPct val="100000"/>
              </a:lnSpc>
              <a:defRPr/>
            </a:lvl1pPr>
          </a:lstStyle>
          <a:p>
            <a:r>
              <a:rPr lang="de-DE"/>
              <a:t>Mastertitelformat bearbeiten</a:t>
            </a:r>
          </a:p>
        </p:txBody>
      </p:sp>
      <p:sp>
        <p:nvSpPr>
          <p:cNvPr id="3" name="Foliennummernplatzhalter 2">
            <a:extLst>
              <a:ext uri="{FF2B5EF4-FFF2-40B4-BE49-F238E27FC236}">
                <a16:creationId xmlns:a16="http://schemas.microsoft.com/office/drawing/2014/main" id="{5B327254-466C-4606-8589-BCC72CBDADDF}"/>
              </a:ext>
            </a:extLst>
          </p:cNvPr>
          <p:cNvSpPr>
            <a:spLocks noGrp="1"/>
          </p:cNvSpPr>
          <p:nvPr>
            <p:ph type="sldNum" sz="quarter" idx="10"/>
          </p:nvPr>
        </p:nvSpPr>
        <p:spPr/>
        <p:txBody>
          <a:bodyPr/>
          <a:lstStyle/>
          <a:p>
            <a:fld id="{A04BEB4F-8CE1-4F18-986F-6CE0A0BE9470}" type="slidenum">
              <a:rPr lang="de-DE" smtClean="0"/>
              <a:t>‹#›</a:t>
            </a:fld>
            <a:endParaRPr lang="de-DE"/>
          </a:p>
        </p:txBody>
      </p:sp>
      <p:sp>
        <p:nvSpPr>
          <p:cNvPr id="5" name="Textplatzhalter 9">
            <a:extLst>
              <a:ext uri="{FF2B5EF4-FFF2-40B4-BE49-F238E27FC236}">
                <a16:creationId xmlns:a16="http://schemas.microsoft.com/office/drawing/2014/main" id="{6024922C-391C-46EA-9F1C-F5344AAB64C8}"/>
              </a:ext>
            </a:extLst>
          </p:cNvPr>
          <p:cNvSpPr>
            <a:spLocks noGrp="1"/>
          </p:cNvSpPr>
          <p:nvPr>
            <p:ph type="body" sz="quarter" idx="11"/>
          </p:nvPr>
        </p:nvSpPr>
        <p:spPr>
          <a:xfrm>
            <a:off x="815951" y="1979612"/>
            <a:ext cx="4121829" cy="4338638"/>
          </a:xfrm>
          <a:prstGeom prst="rect">
            <a:avLst/>
          </a:prstGeom>
        </p:spPr>
        <p:txBody>
          <a:bodyPr lIns="0" tIns="0" rIns="0" bIns="0">
            <a:normAutofit/>
          </a:bodyPr>
          <a:lstStyle>
            <a:lvl1pPr>
              <a:defRPr sz="1800"/>
            </a:lvl1pPr>
            <a:lvl2pPr>
              <a:defRPr sz="1800"/>
            </a:lvl2pPr>
            <a:lvl3pPr>
              <a:defRPr sz="1800"/>
            </a:lvl3pPr>
            <a:lvl4pPr>
              <a:defRPr sz="1800"/>
            </a:lvl4pPr>
            <a:lvl5pPr>
              <a:defRPr sz="18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4" name="Bildplatzhalter 13">
            <a:extLst>
              <a:ext uri="{FF2B5EF4-FFF2-40B4-BE49-F238E27FC236}">
                <a16:creationId xmlns:a16="http://schemas.microsoft.com/office/drawing/2014/main" id="{768568C2-669C-415D-AE6A-54F4461315C2}"/>
              </a:ext>
            </a:extLst>
          </p:cNvPr>
          <p:cNvSpPr>
            <a:spLocks noGrp="1"/>
          </p:cNvSpPr>
          <p:nvPr>
            <p:ph type="pic" sz="quarter" idx="12" hasCustomPrompt="1"/>
          </p:nvPr>
        </p:nvSpPr>
        <p:spPr>
          <a:xfrm>
            <a:off x="5602509" y="172800"/>
            <a:ext cx="7217564" cy="6858000"/>
          </a:xfrm>
          <a:custGeom>
            <a:avLst/>
            <a:gdLst>
              <a:gd name="connsiteX0" fmla="*/ 1207252 w 7217564"/>
              <a:gd name="connsiteY0" fmla="*/ 0 h 6858000"/>
              <a:gd name="connsiteX1" fmla="*/ 7217564 w 7217564"/>
              <a:gd name="connsiteY1" fmla="*/ 0 h 6858000"/>
              <a:gd name="connsiteX2" fmla="*/ 7217564 w 7217564"/>
              <a:gd name="connsiteY2" fmla="*/ 6858000 h 6858000"/>
              <a:gd name="connsiteX3" fmla="*/ 0 w 7217564"/>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217564" h="6858000">
                <a:moveTo>
                  <a:pt x="1207252" y="0"/>
                </a:moveTo>
                <a:lnTo>
                  <a:pt x="7217564" y="0"/>
                </a:lnTo>
                <a:lnTo>
                  <a:pt x="7217564" y="6858000"/>
                </a:lnTo>
                <a:lnTo>
                  <a:pt x="0" y="6858000"/>
                </a:lnTo>
                <a:close/>
              </a:path>
            </a:pathLst>
          </a:custGeom>
          <a:effectLst>
            <a:outerShdw blurRad="190500" dist="127000" dir="2700000" algn="tl" rotWithShape="0">
              <a:prstClr val="black">
                <a:alpha val="10000"/>
              </a:prstClr>
            </a:outerShdw>
          </a:effectLst>
        </p:spPr>
        <p:txBody>
          <a:bodyPr wrap="square">
            <a:noAutofit/>
          </a:bodyPr>
          <a:lstStyle>
            <a:lvl3pPr marL="990600" marR="0" indent="-285750" algn="l" defTabSz="1644650" rtl="0" eaLnBrk="0" fontAlgn="base" latinLnBrk="0" hangingPunct="0">
              <a:lnSpc>
                <a:spcPct val="130000"/>
              </a:lnSpc>
              <a:spcBef>
                <a:spcPct val="0"/>
              </a:spcBef>
              <a:spcAft>
                <a:spcPts val="1200"/>
              </a:spcAft>
              <a:buClr>
                <a:srgbClr val="004C99"/>
              </a:buClr>
              <a:buSzPct val="120000"/>
              <a:defRPr/>
            </a:lvl3pPr>
          </a:lstStyle>
          <a:p>
            <a:pPr marL="1704975" marR="0" lvl="4" indent="-285750" algn="l" defTabSz="1644650" rtl="0" eaLnBrk="0" fontAlgn="base" latinLnBrk="0" hangingPunct="0">
              <a:lnSpc>
                <a:spcPct val="130000"/>
              </a:lnSpc>
              <a:spcBef>
                <a:spcPct val="0"/>
              </a:spcBef>
              <a:spcAft>
                <a:spcPts val="1200"/>
              </a:spcAft>
              <a:buClr>
                <a:srgbClr val="004C99"/>
              </a:buClr>
              <a:buSzPct val="120000"/>
              <a:defRPr/>
            </a:pPr>
            <a:r>
              <a:rPr lang="de-DE"/>
              <a:t>Please insert image</a:t>
            </a:r>
          </a:p>
        </p:txBody>
      </p:sp>
    </p:spTree>
    <p:extLst>
      <p:ext uri="{BB962C8B-B14F-4D97-AF65-F5344CB8AC3E}">
        <p14:creationId xmlns:p14="http://schemas.microsoft.com/office/powerpoint/2010/main" val="4265336201"/>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8" dur="1000" decel="10000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0-#ppt_w/2"/>
                                          </p:val>
                                        </p:tav>
                                        <p:tav tm="100000">
                                          <p:val>
                                            <p:strVal val="#ppt_x"/>
                                          </p:val>
                                        </p:tav>
                                      </p:tavLst>
                                    </p:anim>
                                    <p:anim calcmode="lin" valueType="num">
                                      <p:cBhvr additive="base">
                                        <p:cTn id="8" dur="1000" fill="hold"/>
                                        <p:tgtEl>
                                          <p:spTgt spid="2"/>
                                        </p:tgtEl>
                                        <p:attrNameLst>
                                          <p:attrName>ppt_y</p:attrName>
                                        </p:attrNameLst>
                                      </p:cBhvr>
                                      <p:tavLst>
                                        <p:tav tm="0">
                                          <p:val>
                                            <p:strVal val="#ppt_y"/>
                                          </p:val>
                                        </p:tav>
                                        <p:tav tm="100000">
                                          <p:val>
                                            <p:strVal val="#ppt_y"/>
                                          </p:val>
                                        </p:tav>
                                      </p:tavLst>
                                    </p:anim>
                                  </p:childTnLst>
                                </p:cTn>
                              </p:par>
                              <p:par>
                                <p:cTn id="9" presetID="2" presetClass="entr" presetSubtype="8" dur="1000" decel="100000" fill="hold" grpId="0" nodeType="withEffect">
                                  <p:stCondLst>
                                    <p:cond delay="25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1000" fill="hold"/>
                                        <p:tgtEl>
                                          <p:spTgt spid="5"/>
                                        </p:tgtEl>
                                        <p:attrNameLst>
                                          <p:attrName>ppt_x</p:attrName>
                                        </p:attrNameLst>
                                      </p:cBhvr>
                                      <p:tavLst>
                                        <p:tav tm="0">
                                          <p:val>
                                            <p:strVal val="0-#ppt_w/2"/>
                                          </p:val>
                                        </p:tav>
                                        <p:tav tm="100000">
                                          <p:val>
                                            <p:strVal val="#ppt_x"/>
                                          </p:val>
                                        </p:tav>
                                      </p:tavLst>
                                    </p:anim>
                                    <p:anim calcmode="lin" valueType="num">
                                      <p:cBhvr additive="base">
                                        <p:cTn id="12" dur="1000" fill="hold"/>
                                        <p:tgtEl>
                                          <p:spTgt spid="5"/>
                                        </p:tgtEl>
                                        <p:attrNameLst>
                                          <p:attrName>ppt_y</p:attrName>
                                        </p:attrNameLst>
                                      </p:cBhvr>
                                      <p:tavLst>
                                        <p:tav tm="0">
                                          <p:val>
                                            <p:strVal val="#ppt_y"/>
                                          </p:val>
                                        </p:tav>
                                        <p:tav tm="100000">
                                          <p:val>
                                            <p:strVal val="#ppt_y"/>
                                          </p:val>
                                        </p:tav>
                                      </p:tavLst>
                                    </p:anim>
                                  </p:childTnLst>
                                </p:cTn>
                              </p:par>
                              <p:par>
                                <p:cTn id="13" presetID="2" presetClass="entr" presetSubtype="2" dur="1000" decel="100000" fill="hold" grpId="0" nodeType="withEffect">
                                  <p:stCondLst>
                                    <p:cond delay="500"/>
                                  </p:stCondLst>
                                  <p:childTnLst>
                                    <p:set>
                                      <p:cBhvr>
                                        <p:cTn id="14" dur="1" fill="hold">
                                          <p:stCondLst>
                                            <p:cond delay="0"/>
                                          </p:stCondLst>
                                        </p:cTn>
                                        <p:tgtEl>
                                          <p:spTgt spid="14"/>
                                        </p:tgtEl>
                                        <p:attrNameLst>
                                          <p:attrName>style.visibility</p:attrName>
                                        </p:attrNameLst>
                                      </p:cBhvr>
                                      <p:to>
                                        <p:strVal val="visible"/>
                                      </p:to>
                                    </p:set>
                                    <p:anim calcmode="lin" valueType="num">
                                      <p:cBhvr additive="base">
                                        <p:cTn id="15" dur="1000" fill="hold"/>
                                        <p:tgtEl>
                                          <p:spTgt spid="14"/>
                                        </p:tgtEl>
                                        <p:attrNameLst>
                                          <p:attrName>ppt_x</p:attrName>
                                        </p:attrNameLst>
                                      </p:cBhvr>
                                      <p:tavLst>
                                        <p:tav tm="0">
                                          <p:val>
                                            <p:strVal val="1+#ppt_w/2"/>
                                          </p:val>
                                        </p:tav>
                                        <p:tav tm="100000">
                                          <p:val>
                                            <p:strVal val="#ppt_x"/>
                                          </p:val>
                                        </p:tav>
                                      </p:tavLst>
                                    </p:anim>
                                    <p:anim calcmode="lin" valueType="num">
                                      <p:cBhvr additive="base">
                                        <p:cTn id="16" dur="1000" fill="hold"/>
                                        <p:tgtEl>
                                          <p:spTgt spid="1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2" presetClass="entr" presetSubtype="8" decel="100000" fill="hold" nodeType="withEffect">
                  <p:stCondLst>
                    <p:cond delay="250"/>
                  </p:stCondLst>
                  <p:childTnLst>
                    <p:set>
                      <p:cBhvr>
                        <p:cTn dur="1" fill="hold">
                          <p:stCondLst>
                            <p:cond delay="0"/>
                          </p:stCondLst>
                        </p:cTn>
                        <p:tgtEl>
                          <p:spTgt spid="5"/>
                        </p:tgtEl>
                        <p:attrNameLst>
                          <p:attrName>style.visibility</p:attrName>
                        </p:attrNameLst>
                      </p:cBhvr>
                      <p:to>
                        <p:strVal val="visible"/>
                      </p:to>
                    </p:set>
                    <p:anim calcmode="lin" valueType="num">
                      <p:cBhvr additive="base">
                        <p:cTn dur="1000" fill="hold"/>
                        <p:tgtEl>
                          <p:spTgt spid="5"/>
                        </p:tgtEl>
                        <p:attrNameLst>
                          <p:attrName>ppt_x</p:attrName>
                        </p:attrNameLst>
                      </p:cBhvr>
                      <p:tavLst>
                        <p:tav tm="0">
                          <p:val>
                            <p:strVal val="0-#ppt_w/2"/>
                          </p:val>
                        </p:tav>
                        <p:tav tm="100000">
                          <p:val>
                            <p:strVal val="#ppt_x"/>
                          </p:val>
                        </p:tav>
                      </p:tavLst>
                    </p:anim>
                    <p:anim calcmode="lin" valueType="num">
                      <p:cBhvr additive="base">
                        <p:cTn dur="1000" fill="hold"/>
                        <p:tgtEl>
                          <p:spTgt spid="5"/>
                        </p:tgtEl>
                        <p:attrNameLst>
                          <p:attrName>ppt_y</p:attrName>
                        </p:attrNameLst>
                      </p:cBhvr>
                      <p:tavLst>
                        <p:tav tm="0">
                          <p:val>
                            <p:strVal val="#ppt_y"/>
                          </p:val>
                        </p:tav>
                        <p:tav tm="100000">
                          <p:val>
                            <p:strVal val="#ppt_y"/>
                          </p:val>
                        </p:tav>
                      </p:tavLst>
                    </p:anim>
                  </p:childTnLst>
                </p:cTn>
              </p:par>
            </p:tnLst>
          </p:tmpl>
        </p:tmplLst>
      </p:bldP>
      <p:bldP spid="14" grpId="0"/>
    </p:bld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65_Custom Layout">
    <p:spTree>
      <p:nvGrpSpPr>
        <p:cNvPr id="1" name=""/>
        <p:cNvGrpSpPr/>
        <p:nvPr/>
      </p:nvGrpSpPr>
      <p:grpSpPr>
        <a:xfrm>
          <a:off x="0" y="0"/>
          <a:ext cx="0" cy="0"/>
          <a:chOff x="0" y="0"/>
          <a:chExt cx="0" cy="0"/>
        </a:xfrm>
      </p:grpSpPr>
      <p:sp>
        <p:nvSpPr>
          <p:cNvPr id="9" name="Picture Placeholder 3">
            <a:extLst>
              <a:ext uri="{FF2B5EF4-FFF2-40B4-BE49-F238E27FC236}">
                <a16:creationId xmlns:a16="http://schemas.microsoft.com/office/drawing/2014/main" id="{BB034F9E-2ACF-49E2-B371-928DA82F5E40}"/>
              </a:ext>
            </a:extLst>
          </p:cNvPr>
          <p:cNvSpPr>
            <a:spLocks noGrp="1"/>
          </p:cNvSpPr>
          <p:nvPr>
            <p:ph type="pic" sz="quarter" idx="14"/>
          </p:nvPr>
        </p:nvSpPr>
        <p:spPr>
          <a:xfrm>
            <a:off x="10770215" y="940007"/>
            <a:ext cx="3878940" cy="2364480"/>
          </a:xfrm>
          <a:custGeom>
            <a:avLst/>
            <a:gdLst>
              <a:gd name="connsiteX0" fmla="*/ 0 w 6263640"/>
              <a:gd name="connsiteY0" fmla="*/ 0 h 3817620"/>
              <a:gd name="connsiteX1" fmla="*/ 6263640 w 6263640"/>
              <a:gd name="connsiteY1" fmla="*/ 0 h 3817620"/>
              <a:gd name="connsiteX2" fmla="*/ 6263640 w 6263640"/>
              <a:gd name="connsiteY2" fmla="*/ 3817620 h 3817620"/>
              <a:gd name="connsiteX3" fmla="*/ 0 w 6263640"/>
              <a:gd name="connsiteY3" fmla="*/ 3817620 h 3817620"/>
            </a:gdLst>
            <a:ahLst/>
            <a:cxnLst>
              <a:cxn ang="0">
                <a:pos x="connsiteX0" y="connsiteY0"/>
              </a:cxn>
              <a:cxn ang="0">
                <a:pos x="connsiteX1" y="connsiteY1"/>
              </a:cxn>
              <a:cxn ang="0">
                <a:pos x="connsiteX2" y="connsiteY2"/>
              </a:cxn>
              <a:cxn ang="0">
                <a:pos x="connsiteX3" y="connsiteY3"/>
              </a:cxn>
            </a:cxnLst>
            <a:rect l="l" t="t" r="r" b="b"/>
            <a:pathLst>
              <a:path w="6263640" h="3817620">
                <a:moveTo>
                  <a:pt x="0" y="0"/>
                </a:moveTo>
                <a:lnTo>
                  <a:pt x="6263640" y="0"/>
                </a:lnTo>
                <a:lnTo>
                  <a:pt x="6263640" y="3817620"/>
                </a:lnTo>
                <a:lnTo>
                  <a:pt x="0" y="3817620"/>
                </a:lnTo>
                <a:close/>
              </a:path>
            </a:pathLst>
          </a:custGeom>
          <a:blipFill dpi="0" rotWithShape="1">
            <a:blip r:embed="rId2"/>
            <a:stretch>
              <a:fillRect/>
            </a:stretch>
          </a:blipFill>
          <a:effectLst/>
          <a:scene3d>
            <a:camera prst="isometricLeftDown"/>
            <a:lightRig rig="threePt" dir="t"/>
          </a:scene3d>
        </p:spPr>
        <p:txBody>
          <a:bodyPr wrap="square" anchor="ctr">
            <a:noAutofit/>
          </a:bodyPr>
          <a:lstStyle>
            <a:lvl1pPr marL="0" indent="0" algn="ctr">
              <a:buFontTx/>
              <a:buNone/>
              <a:defRPr sz="1200"/>
            </a:lvl1pPr>
          </a:lstStyle>
          <a:p>
            <a:endParaRPr lang="en-US"/>
          </a:p>
        </p:txBody>
      </p:sp>
      <p:sp>
        <p:nvSpPr>
          <p:cNvPr id="8" name="Picture Placeholder 3">
            <a:extLst>
              <a:ext uri="{FF2B5EF4-FFF2-40B4-BE49-F238E27FC236}">
                <a16:creationId xmlns:a16="http://schemas.microsoft.com/office/drawing/2014/main" id="{FB1E58D5-5B5E-4334-95CB-7C04506A1221}"/>
              </a:ext>
            </a:extLst>
          </p:cNvPr>
          <p:cNvSpPr>
            <a:spLocks noGrp="1"/>
          </p:cNvSpPr>
          <p:nvPr>
            <p:ph type="pic" sz="quarter" idx="15"/>
          </p:nvPr>
        </p:nvSpPr>
        <p:spPr>
          <a:xfrm>
            <a:off x="4858032" y="1543376"/>
            <a:ext cx="3878940" cy="2364480"/>
          </a:xfrm>
          <a:custGeom>
            <a:avLst/>
            <a:gdLst>
              <a:gd name="connsiteX0" fmla="*/ 0 w 6263640"/>
              <a:gd name="connsiteY0" fmla="*/ 0 h 3817620"/>
              <a:gd name="connsiteX1" fmla="*/ 6263640 w 6263640"/>
              <a:gd name="connsiteY1" fmla="*/ 0 h 3817620"/>
              <a:gd name="connsiteX2" fmla="*/ 6263640 w 6263640"/>
              <a:gd name="connsiteY2" fmla="*/ 3817620 h 3817620"/>
              <a:gd name="connsiteX3" fmla="*/ 0 w 6263640"/>
              <a:gd name="connsiteY3" fmla="*/ 3817620 h 3817620"/>
            </a:gdLst>
            <a:ahLst/>
            <a:cxnLst>
              <a:cxn ang="0">
                <a:pos x="connsiteX0" y="connsiteY0"/>
              </a:cxn>
              <a:cxn ang="0">
                <a:pos x="connsiteX1" y="connsiteY1"/>
              </a:cxn>
              <a:cxn ang="0">
                <a:pos x="connsiteX2" y="connsiteY2"/>
              </a:cxn>
              <a:cxn ang="0">
                <a:pos x="connsiteX3" y="connsiteY3"/>
              </a:cxn>
            </a:cxnLst>
            <a:rect l="l" t="t" r="r" b="b"/>
            <a:pathLst>
              <a:path w="6263640" h="3817620">
                <a:moveTo>
                  <a:pt x="0" y="0"/>
                </a:moveTo>
                <a:lnTo>
                  <a:pt x="6263640" y="0"/>
                </a:lnTo>
                <a:lnTo>
                  <a:pt x="6263640" y="3817620"/>
                </a:lnTo>
                <a:lnTo>
                  <a:pt x="0" y="3817620"/>
                </a:lnTo>
                <a:close/>
              </a:path>
            </a:pathLst>
          </a:custGeom>
          <a:blipFill dpi="0" rotWithShape="1">
            <a:blip r:embed="rId2"/>
            <a:stretch>
              <a:fillRect/>
            </a:stretch>
          </a:blipFill>
          <a:effectLst/>
          <a:scene3d>
            <a:camera prst="isometricRightUp"/>
            <a:lightRig rig="threePt" dir="t"/>
          </a:scene3d>
        </p:spPr>
        <p:txBody>
          <a:bodyPr wrap="square" anchor="ctr">
            <a:noAutofit/>
          </a:bodyPr>
          <a:lstStyle>
            <a:lvl1pPr marL="0" indent="0" algn="ctr">
              <a:buFontTx/>
              <a:buNone/>
              <a:defRPr sz="1200"/>
            </a:lvl1pPr>
          </a:lstStyle>
          <a:p>
            <a:endParaRPr lang="en-US"/>
          </a:p>
        </p:txBody>
      </p:sp>
      <p:sp>
        <p:nvSpPr>
          <p:cNvPr id="4" name="Picture Placeholder 3">
            <a:extLst>
              <a:ext uri="{FF2B5EF4-FFF2-40B4-BE49-F238E27FC236}">
                <a16:creationId xmlns:a16="http://schemas.microsoft.com/office/drawing/2014/main" id="{B1341CDB-C9B9-4F7E-86D0-A59CD06C8B23}"/>
              </a:ext>
            </a:extLst>
          </p:cNvPr>
          <p:cNvSpPr>
            <a:spLocks noGrp="1"/>
          </p:cNvSpPr>
          <p:nvPr>
            <p:ph type="pic" sz="quarter" idx="13"/>
          </p:nvPr>
        </p:nvSpPr>
        <p:spPr>
          <a:xfrm>
            <a:off x="8830745" y="3278705"/>
            <a:ext cx="3878940" cy="2364480"/>
          </a:xfrm>
          <a:custGeom>
            <a:avLst/>
            <a:gdLst>
              <a:gd name="connsiteX0" fmla="*/ 0 w 6263640"/>
              <a:gd name="connsiteY0" fmla="*/ 0 h 3817620"/>
              <a:gd name="connsiteX1" fmla="*/ 6263640 w 6263640"/>
              <a:gd name="connsiteY1" fmla="*/ 0 h 3817620"/>
              <a:gd name="connsiteX2" fmla="*/ 6263640 w 6263640"/>
              <a:gd name="connsiteY2" fmla="*/ 3817620 h 3817620"/>
              <a:gd name="connsiteX3" fmla="*/ 0 w 6263640"/>
              <a:gd name="connsiteY3" fmla="*/ 3817620 h 3817620"/>
            </a:gdLst>
            <a:ahLst/>
            <a:cxnLst>
              <a:cxn ang="0">
                <a:pos x="connsiteX0" y="connsiteY0"/>
              </a:cxn>
              <a:cxn ang="0">
                <a:pos x="connsiteX1" y="connsiteY1"/>
              </a:cxn>
              <a:cxn ang="0">
                <a:pos x="connsiteX2" y="connsiteY2"/>
              </a:cxn>
              <a:cxn ang="0">
                <a:pos x="connsiteX3" y="connsiteY3"/>
              </a:cxn>
            </a:cxnLst>
            <a:rect l="l" t="t" r="r" b="b"/>
            <a:pathLst>
              <a:path w="6263640" h="3817620">
                <a:moveTo>
                  <a:pt x="0" y="0"/>
                </a:moveTo>
                <a:lnTo>
                  <a:pt x="6263640" y="0"/>
                </a:lnTo>
                <a:lnTo>
                  <a:pt x="6263640" y="3817620"/>
                </a:lnTo>
                <a:lnTo>
                  <a:pt x="0" y="3817620"/>
                </a:lnTo>
                <a:close/>
              </a:path>
            </a:pathLst>
          </a:custGeom>
          <a:blipFill dpi="0" rotWithShape="1">
            <a:blip r:embed="rId2"/>
            <a:stretch>
              <a:fillRect/>
            </a:stretch>
          </a:blipFill>
          <a:effectLst/>
          <a:scene3d>
            <a:camera prst="isometricLeftDown"/>
            <a:lightRig rig="threePt" dir="t"/>
          </a:scene3d>
        </p:spPr>
        <p:txBody>
          <a:bodyPr wrap="square" anchor="ctr">
            <a:noAutofit/>
          </a:bodyPr>
          <a:lstStyle>
            <a:lvl1pPr marL="0" indent="0" algn="ctr">
              <a:buFontTx/>
              <a:buNone/>
              <a:defRPr sz="1200"/>
            </a:lvl1pPr>
          </a:lstStyle>
          <a:p>
            <a:endParaRPr lang="en-US"/>
          </a:p>
        </p:txBody>
      </p:sp>
    </p:spTree>
    <p:extLst>
      <p:ext uri="{BB962C8B-B14F-4D97-AF65-F5344CB8AC3E}">
        <p14:creationId xmlns:p14="http://schemas.microsoft.com/office/powerpoint/2010/main" val="2787640924"/>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4" dur="1500" decel="10000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1500" fill="hold"/>
                                        <p:tgtEl>
                                          <p:spTgt spid="8"/>
                                        </p:tgtEl>
                                        <p:attrNameLst>
                                          <p:attrName>ppt_x</p:attrName>
                                        </p:attrNameLst>
                                      </p:cBhvr>
                                      <p:tavLst>
                                        <p:tav tm="0">
                                          <p:val>
                                            <p:strVal val="#ppt_x"/>
                                          </p:val>
                                        </p:tav>
                                        <p:tav tm="100000">
                                          <p:val>
                                            <p:strVal val="#ppt_x"/>
                                          </p:val>
                                        </p:tav>
                                      </p:tavLst>
                                    </p:anim>
                                    <p:anim calcmode="lin" valueType="num">
                                      <p:cBhvr additive="base">
                                        <p:cTn id="8" dur="1500" fill="hold"/>
                                        <p:tgtEl>
                                          <p:spTgt spid="8"/>
                                        </p:tgtEl>
                                        <p:attrNameLst>
                                          <p:attrName>ppt_y</p:attrName>
                                        </p:attrNameLst>
                                      </p:cBhvr>
                                      <p:tavLst>
                                        <p:tav tm="0">
                                          <p:val>
                                            <p:strVal val="1+#ppt_h/2"/>
                                          </p:val>
                                        </p:tav>
                                        <p:tav tm="100000">
                                          <p:val>
                                            <p:strVal val="#ppt_y"/>
                                          </p:val>
                                        </p:tav>
                                      </p:tavLst>
                                    </p:anim>
                                  </p:childTnLst>
                                </p:cTn>
                              </p:par>
                              <p:par>
                                <p:cTn id="9" presetID="2" presetClass="entr" presetSubtype="4" dur="1500" decel="100000" fill="hold" grpId="0" nodeType="withEffect">
                                  <p:stCondLst>
                                    <p:cond delay="200"/>
                                  </p:stCondLst>
                                  <p:childTnLst>
                                    <p:set>
                                      <p:cBhvr>
                                        <p:cTn id="10" dur="1" fill="hold">
                                          <p:stCondLst>
                                            <p:cond delay="0"/>
                                          </p:stCondLst>
                                        </p:cTn>
                                        <p:tgtEl>
                                          <p:spTgt spid="4"/>
                                        </p:tgtEl>
                                        <p:attrNameLst>
                                          <p:attrName>style.visibility</p:attrName>
                                        </p:attrNameLst>
                                      </p:cBhvr>
                                      <p:to>
                                        <p:strVal val="visible"/>
                                      </p:to>
                                    </p:set>
                                    <p:anim calcmode="lin" valueType="num">
                                      <p:cBhvr additive="base">
                                        <p:cTn id="11" dur="1500" fill="hold"/>
                                        <p:tgtEl>
                                          <p:spTgt spid="4"/>
                                        </p:tgtEl>
                                        <p:attrNameLst>
                                          <p:attrName>ppt_x</p:attrName>
                                        </p:attrNameLst>
                                      </p:cBhvr>
                                      <p:tavLst>
                                        <p:tav tm="0">
                                          <p:val>
                                            <p:strVal val="#ppt_x"/>
                                          </p:val>
                                        </p:tav>
                                        <p:tav tm="100000">
                                          <p:val>
                                            <p:strVal val="#ppt_x"/>
                                          </p:val>
                                        </p:tav>
                                      </p:tavLst>
                                    </p:anim>
                                    <p:anim calcmode="lin" valueType="num">
                                      <p:cBhvr additive="base">
                                        <p:cTn id="12" dur="1500" fill="hold"/>
                                        <p:tgtEl>
                                          <p:spTgt spid="4"/>
                                        </p:tgtEl>
                                        <p:attrNameLst>
                                          <p:attrName>ppt_y</p:attrName>
                                        </p:attrNameLst>
                                      </p:cBhvr>
                                      <p:tavLst>
                                        <p:tav tm="0">
                                          <p:val>
                                            <p:strVal val="1+#ppt_h/2"/>
                                          </p:val>
                                        </p:tav>
                                        <p:tav tm="100000">
                                          <p:val>
                                            <p:strVal val="#ppt_y"/>
                                          </p:val>
                                        </p:tav>
                                      </p:tavLst>
                                    </p:anim>
                                  </p:childTnLst>
                                </p:cTn>
                              </p:par>
                              <p:par>
                                <p:cTn id="13" presetID="2" presetClass="entr" presetSubtype="1" dur="1500" decel="100000" fill="hold" grpId="0" nodeType="withEffect">
                                  <p:stCondLst>
                                    <p:cond delay="400"/>
                                  </p:stCondLst>
                                  <p:childTnLst>
                                    <p:set>
                                      <p:cBhvr>
                                        <p:cTn id="14" dur="1" fill="hold">
                                          <p:stCondLst>
                                            <p:cond delay="0"/>
                                          </p:stCondLst>
                                        </p:cTn>
                                        <p:tgtEl>
                                          <p:spTgt spid="9"/>
                                        </p:tgtEl>
                                        <p:attrNameLst>
                                          <p:attrName>style.visibility</p:attrName>
                                        </p:attrNameLst>
                                      </p:cBhvr>
                                      <p:to>
                                        <p:strVal val="visible"/>
                                      </p:to>
                                    </p:set>
                                    <p:anim calcmode="lin" valueType="num">
                                      <p:cBhvr additive="base">
                                        <p:cTn id="15" dur="1500" fill="hold"/>
                                        <p:tgtEl>
                                          <p:spTgt spid="9"/>
                                        </p:tgtEl>
                                        <p:attrNameLst>
                                          <p:attrName>ppt_x</p:attrName>
                                        </p:attrNameLst>
                                      </p:cBhvr>
                                      <p:tavLst>
                                        <p:tav tm="0">
                                          <p:val>
                                            <p:strVal val="#ppt_x"/>
                                          </p:val>
                                        </p:tav>
                                        <p:tav tm="100000">
                                          <p:val>
                                            <p:strVal val="#ppt_x"/>
                                          </p:val>
                                        </p:tav>
                                      </p:tavLst>
                                    </p:anim>
                                    <p:anim calcmode="lin" valueType="num">
                                      <p:cBhvr additive="base">
                                        <p:cTn id="16" dur="1500" fill="hold"/>
                                        <p:tgtEl>
                                          <p:spTgt spid="9"/>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8" grpId="0" animBg="1"/>
      <p:bldP spid="4" grpId="0" animBg="1"/>
    </p:bld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66_Custom Layou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151603B5-AB83-43BF-A00A-6612535A162F}"/>
              </a:ext>
            </a:extLst>
          </p:cNvPr>
          <p:cNvSpPr>
            <a:spLocks noGrp="1" noChangeAspect="1"/>
          </p:cNvSpPr>
          <p:nvPr>
            <p:ph type="pic" sz="quarter" idx="13"/>
          </p:nvPr>
        </p:nvSpPr>
        <p:spPr>
          <a:xfrm>
            <a:off x="3500556" y="56076"/>
            <a:ext cx="4845689" cy="6654409"/>
          </a:xfrm>
          <a:custGeom>
            <a:avLst/>
            <a:gdLst>
              <a:gd name="connsiteX0" fmla="*/ 0 w 8965220"/>
              <a:gd name="connsiteY0" fmla="*/ 0 h 12310009"/>
              <a:gd name="connsiteX1" fmla="*/ 8965220 w 8965220"/>
              <a:gd name="connsiteY1" fmla="*/ 0 h 12310009"/>
              <a:gd name="connsiteX2" fmla="*/ 8965220 w 8965220"/>
              <a:gd name="connsiteY2" fmla="*/ 12310009 h 12310009"/>
              <a:gd name="connsiteX3" fmla="*/ 0 w 8965220"/>
              <a:gd name="connsiteY3" fmla="*/ 12310009 h 12310009"/>
            </a:gdLst>
            <a:ahLst/>
            <a:cxnLst>
              <a:cxn ang="0">
                <a:pos x="connsiteX0" y="connsiteY0"/>
              </a:cxn>
              <a:cxn ang="0">
                <a:pos x="connsiteX1" y="connsiteY1"/>
              </a:cxn>
              <a:cxn ang="0">
                <a:pos x="connsiteX2" y="connsiteY2"/>
              </a:cxn>
              <a:cxn ang="0">
                <a:pos x="connsiteX3" y="connsiteY3"/>
              </a:cxn>
            </a:cxnLst>
            <a:rect l="l" t="t" r="r" b="b"/>
            <a:pathLst>
              <a:path w="8965220" h="12310009">
                <a:moveTo>
                  <a:pt x="0" y="0"/>
                </a:moveTo>
                <a:lnTo>
                  <a:pt x="8965220" y="0"/>
                </a:lnTo>
                <a:lnTo>
                  <a:pt x="8965220" y="12310009"/>
                </a:lnTo>
                <a:lnTo>
                  <a:pt x="0" y="12310009"/>
                </a:lnTo>
                <a:close/>
              </a:path>
            </a:pathLst>
          </a:custGeom>
          <a:blipFill dpi="0" rotWithShape="1">
            <a:blip r:embed="rId2"/>
            <a:stretch>
              <a:fillRect/>
            </a:stretch>
          </a:blipFill>
          <a:effectLst/>
          <a:scene3d>
            <a:camera prst="isometricTopUp"/>
            <a:lightRig rig="threePt" dir="t"/>
          </a:scene3d>
        </p:spPr>
        <p:txBody>
          <a:bodyPr wrap="square" anchor="ctr">
            <a:noAutofit/>
          </a:bodyPr>
          <a:lstStyle>
            <a:lvl1pPr marL="0" indent="0" algn="ctr">
              <a:buFontTx/>
              <a:buNone/>
              <a:defRPr sz="1200"/>
            </a:lvl1pPr>
          </a:lstStyle>
          <a:p>
            <a:endParaRPr lang="en-US"/>
          </a:p>
        </p:txBody>
      </p:sp>
    </p:spTree>
    <p:extLst>
      <p:ext uri="{BB962C8B-B14F-4D97-AF65-F5344CB8AC3E}">
        <p14:creationId xmlns:p14="http://schemas.microsoft.com/office/powerpoint/2010/main" val="12301117"/>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12" dur="1500" decel="10000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1500" fill="hold"/>
                                        <p:tgtEl>
                                          <p:spTgt spid="3"/>
                                        </p:tgtEl>
                                        <p:attrNameLst>
                                          <p:attrName>ppt_x</p:attrName>
                                        </p:attrNameLst>
                                      </p:cBhvr>
                                      <p:tavLst>
                                        <p:tav tm="0">
                                          <p:val>
                                            <p:strVal val="0-#ppt_w/2"/>
                                          </p:val>
                                        </p:tav>
                                        <p:tav tm="100000">
                                          <p:val>
                                            <p:strVal val="#ppt_x"/>
                                          </p:val>
                                        </p:tav>
                                      </p:tavLst>
                                    </p:anim>
                                    <p:anim calcmode="lin" valueType="num">
                                      <p:cBhvr additive="base">
                                        <p:cTn id="8" dur="1500" fill="hold"/>
                                        <p:tgtEl>
                                          <p:spTgt spid="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67_Custom Layou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E847EA13-01D4-45C3-B0E5-1D3667AA00EB}"/>
              </a:ext>
            </a:extLst>
          </p:cNvPr>
          <p:cNvSpPr>
            <a:spLocks noGrp="1"/>
          </p:cNvSpPr>
          <p:nvPr>
            <p:ph type="pic" sz="quarter" idx="13"/>
          </p:nvPr>
        </p:nvSpPr>
        <p:spPr>
          <a:xfrm>
            <a:off x="4151339" y="834571"/>
            <a:ext cx="3874810" cy="5181601"/>
          </a:xfrm>
          <a:custGeom>
            <a:avLst/>
            <a:gdLst>
              <a:gd name="connsiteX0" fmla="*/ 0 w 7750629"/>
              <a:gd name="connsiteY0" fmla="*/ 0 h 10363201"/>
              <a:gd name="connsiteX1" fmla="*/ 7750629 w 7750629"/>
              <a:gd name="connsiteY1" fmla="*/ 0 h 10363201"/>
              <a:gd name="connsiteX2" fmla="*/ 7750629 w 7750629"/>
              <a:gd name="connsiteY2" fmla="*/ 10363201 h 10363201"/>
              <a:gd name="connsiteX3" fmla="*/ 0 w 7750629"/>
              <a:gd name="connsiteY3" fmla="*/ 10363201 h 10363201"/>
            </a:gdLst>
            <a:ahLst/>
            <a:cxnLst>
              <a:cxn ang="0">
                <a:pos x="connsiteX0" y="connsiteY0"/>
              </a:cxn>
              <a:cxn ang="0">
                <a:pos x="connsiteX1" y="connsiteY1"/>
              </a:cxn>
              <a:cxn ang="0">
                <a:pos x="connsiteX2" y="connsiteY2"/>
              </a:cxn>
              <a:cxn ang="0">
                <a:pos x="connsiteX3" y="connsiteY3"/>
              </a:cxn>
            </a:cxnLst>
            <a:rect l="l" t="t" r="r" b="b"/>
            <a:pathLst>
              <a:path w="7750629" h="10363201">
                <a:moveTo>
                  <a:pt x="0" y="0"/>
                </a:moveTo>
                <a:lnTo>
                  <a:pt x="7750629" y="0"/>
                </a:lnTo>
                <a:lnTo>
                  <a:pt x="7750629" y="10363201"/>
                </a:lnTo>
                <a:lnTo>
                  <a:pt x="0" y="10363201"/>
                </a:lnTo>
                <a:close/>
              </a:path>
            </a:pathLst>
          </a:custGeom>
          <a:blipFill>
            <a:blip r:embed="rId2"/>
            <a:stretch>
              <a:fillRect/>
            </a:stretch>
          </a:blipFill>
          <a:effectLst/>
        </p:spPr>
        <p:txBody>
          <a:bodyPr wrap="square" anchor="ctr">
            <a:noAutofit/>
          </a:bodyPr>
          <a:lstStyle>
            <a:lvl1pPr marL="0" indent="0" algn="ctr">
              <a:buFontTx/>
              <a:buNone/>
              <a:defRPr sz="1200"/>
            </a:lvl1pPr>
          </a:lstStyle>
          <a:p>
            <a:endParaRPr lang="en-US"/>
          </a:p>
        </p:txBody>
      </p:sp>
    </p:spTree>
    <p:extLst>
      <p:ext uri="{BB962C8B-B14F-4D97-AF65-F5344CB8AC3E}">
        <p14:creationId xmlns:p14="http://schemas.microsoft.com/office/powerpoint/2010/main" val="1001082222"/>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4" dur="2000" decel="10000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2000" fill="hold"/>
                                        <p:tgtEl>
                                          <p:spTgt spid="8"/>
                                        </p:tgtEl>
                                        <p:attrNameLst>
                                          <p:attrName>ppt_x</p:attrName>
                                        </p:attrNameLst>
                                      </p:cBhvr>
                                      <p:tavLst>
                                        <p:tav tm="0">
                                          <p:val>
                                            <p:strVal val="#ppt_x"/>
                                          </p:val>
                                        </p:tav>
                                        <p:tav tm="100000">
                                          <p:val>
                                            <p:strVal val="#ppt_x"/>
                                          </p:val>
                                        </p:tav>
                                      </p:tavLst>
                                    </p:anim>
                                    <p:anim calcmode="lin" valueType="num">
                                      <p:cBhvr additive="base">
                                        <p:cTn id="8" dur="20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68_Custom Layout">
    <p:bg>
      <p:bgPr>
        <a:solidFill>
          <a:schemeClr val="bg1"/>
        </a:soli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FD77B443-E4CE-4B2B-BCA4-5E82A0D3FC56}"/>
              </a:ext>
            </a:extLst>
          </p:cNvPr>
          <p:cNvSpPr>
            <a:spLocks noGrp="1"/>
          </p:cNvSpPr>
          <p:nvPr>
            <p:ph type="pic" sz="quarter" idx="14" hasCustomPrompt="1"/>
          </p:nvPr>
        </p:nvSpPr>
        <p:spPr>
          <a:xfrm>
            <a:off x="909826" y="1479237"/>
            <a:ext cx="3256941" cy="4468697"/>
          </a:xfrm>
          <a:custGeom>
            <a:avLst/>
            <a:gdLst>
              <a:gd name="connsiteX0" fmla="*/ 0 w 6514730"/>
              <a:gd name="connsiteY0" fmla="*/ 0 h 8937393"/>
              <a:gd name="connsiteX1" fmla="*/ 6514730 w 6514730"/>
              <a:gd name="connsiteY1" fmla="*/ 0 h 8937393"/>
              <a:gd name="connsiteX2" fmla="*/ 6514730 w 6514730"/>
              <a:gd name="connsiteY2" fmla="*/ 8937393 h 8937393"/>
              <a:gd name="connsiteX3" fmla="*/ 0 w 6514730"/>
              <a:gd name="connsiteY3" fmla="*/ 8937393 h 8937393"/>
            </a:gdLst>
            <a:ahLst/>
            <a:cxnLst>
              <a:cxn ang="0">
                <a:pos x="connsiteX0" y="connsiteY0"/>
              </a:cxn>
              <a:cxn ang="0">
                <a:pos x="connsiteX1" y="connsiteY1"/>
              </a:cxn>
              <a:cxn ang="0">
                <a:pos x="connsiteX2" y="connsiteY2"/>
              </a:cxn>
              <a:cxn ang="0">
                <a:pos x="connsiteX3" y="connsiteY3"/>
              </a:cxn>
            </a:cxnLst>
            <a:rect l="l" t="t" r="r" b="b"/>
            <a:pathLst>
              <a:path w="6514729" h="8937393">
                <a:moveTo>
                  <a:pt x="0" y="0"/>
                </a:moveTo>
                <a:lnTo>
                  <a:pt x="6514730" y="0"/>
                </a:lnTo>
                <a:lnTo>
                  <a:pt x="6514730" y="8937393"/>
                </a:lnTo>
                <a:lnTo>
                  <a:pt x="0" y="8937393"/>
                </a:lnTo>
                <a:close/>
              </a:path>
            </a:pathLst>
          </a:custGeom>
          <a:blipFill>
            <a:blip r:embed="rId2"/>
            <a:stretch>
              <a:fillRect/>
            </a:stretch>
          </a:blipFill>
          <a:effectLst/>
        </p:spPr>
        <p:txBody>
          <a:bodyPr wrap="square" anchor="ctr">
            <a:noAutofit/>
          </a:bodyPr>
          <a:lstStyle>
            <a:lvl1pPr marL="0" indent="0" algn="ctr">
              <a:buFontTx/>
              <a:buNone/>
              <a:defRPr sz="1200"/>
            </a:lvl1pPr>
          </a:lstStyle>
          <a:p>
            <a:r>
              <a:rPr lang="en-US"/>
              <a:t> </a:t>
            </a:r>
          </a:p>
        </p:txBody>
      </p:sp>
      <p:sp>
        <p:nvSpPr>
          <p:cNvPr id="8" name="Picture Placeholder 7">
            <a:extLst>
              <a:ext uri="{FF2B5EF4-FFF2-40B4-BE49-F238E27FC236}">
                <a16:creationId xmlns:a16="http://schemas.microsoft.com/office/drawing/2014/main" id="{33EDA427-109E-4E2F-B440-99F7E6FF3656}"/>
              </a:ext>
            </a:extLst>
          </p:cNvPr>
          <p:cNvSpPr>
            <a:spLocks noGrp="1"/>
          </p:cNvSpPr>
          <p:nvPr>
            <p:ph type="pic" sz="quarter" idx="13" hasCustomPrompt="1"/>
          </p:nvPr>
        </p:nvSpPr>
        <p:spPr>
          <a:xfrm>
            <a:off x="4213241" y="823246"/>
            <a:ext cx="3720054" cy="5113654"/>
          </a:xfrm>
          <a:custGeom>
            <a:avLst/>
            <a:gdLst>
              <a:gd name="connsiteX0" fmla="*/ 0 w 7441077"/>
              <a:gd name="connsiteY0" fmla="*/ 0 h 10227307"/>
              <a:gd name="connsiteX1" fmla="*/ 7441077 w 7441077"/>
              <a:gd name="connsiteY1" fmla="*/ 0 h 10227307"/>
              <a:gd name="connsiteX2" fmla="*/ 7441077 w 7441077"/>
              <a:gd name="connsiteY2" fmla="*/ 10227307 h 10227307"/>
              <a:gd name="connsiteX3" fmla="*/ 0 w 7441077"/>
              <a:gd name="connsiteY3" fmla="*/ 10227307 h 10227307"/>
            </a:gdLst>
            <a:ahLst/>
            <a:cxnLst>
              <a:cxn ang="0">
                <a:pos x="connsiteX0" y="connsiteY0"/>
              </a:cxn>
              <a:cxn ang="0">
                <a:pos x="connsiteX1" y="connsiteY1"/>
              </a:cxn>
              <a:cxn ang="0">
                <a:pos x="connsiteX2" y="connsiteY2"/>
              </a:cxn>
              <a:cxn ang="0">
                <a:pos x="connsiteX3" y="connsiteY3"/>
              </a:cxn>
            </a:cxnLst>
            <a:rect l="l" t="t" r="r" b="b"/>
            <a:pathLst>
              <a:path w="7441077" h="10227307">
                <a:moveTo>
                  <a:pt x="0" y="0"/>
                </a:moveTo>
                <a:lnTo>
                  <a:pt x="7441077" y="0"/>
                </a:lnTo>
                <a:lnTo>
                  <a:pt x="7441077" y="10227307"/>
                </a:lnTo>
                <a:lnTo>
                  <a:pt x="0" y="10227307"/>
                </a:lnTo>
                <a:close/>
              </a:path>
            </a:pathLst>
          </a:custGeom>
          <a:blipFill>
            <a:blip r:embed="rId2"/>
            <a:stretch>
              <a:fillRect/>
            </a:stretch>
          </a:blipFill>
          <a:effectLst/>
        </p:spPr>
        <p:txBody>
          <a:bodyPr wrap="square" anchor="ctr">
            <a:noAutofit/>
          </a:bodyPr>
          <a:lstStyle>
            <a:lvl1pPr marL="0" indent="0" algn="ctr">
              <a:buFontTx/>
              <a:buNone/>
              <a:defRPr sz="1200"/>
            </a:lvl1pPr>
          </a:lstStyle>
          <a:p>
            <a:r>
              <a:rPr lang="en-US"/>
              <a:t> </a:t>
            </a:r>
          </a:p>
        </p:txBody>
      </p:sp>
    </p:spTree>
    <p:extLst>
      <p:ext uri="{BB962C8B-B14F-4D97-AF65-F5344CB8AC3E}">
        <p14:creationId xmlns:p14="http://schemas.microsoft.com/office/powerpoint/2010/main" val="4159444169"/>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8" dur="1500" decel="10000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1500" fill="hold"/>
                                        <p:tgtEl>
                                          <p:spTgt spid="8"/>
                                        </p:tgtEl>
                                        <p:attrNameLst>
                                          <p:attrName>ppt_x</p:attrName>
                                        </p:attrNameLst>
                                      </p:cBhvr>
                                      <p:tavLst>
                                        <p:tav tm="0">
                                          <p:val>
                                            <p:strVal val="0-#ppt_w/2"/>
                                          </p:val>
                                        </p:tav>
                                        <p:tav tm="100000">
                                          <p:val>
                                            <p:strVal val="#ppt_x"/>
                                          </p:val>
                                        </p:tav>
                                      </p:tavLst>
                                    </p:anim>
                                    <p:anim calcmode="lin" valueType="num">
                                      <p:cBhvr additive="base">
                                        <p:cTn id="8" dur="1500" fill="hold"/>
                                        <p:tgtEl>
                                          <p:spTgt spid="8"/>
                                        </p:tgtEl>
                                        <p:attrNameLst>
                                          <p:attrName>ppt_y</p:attrName>
                                        </p:attrNameLst>
                                      </p:cBhvr>
                                      <p:tavLst>
                                        <p:tav tm="0">
                                          <p:val>
                                            <p:strVal val="#ppt_y"/>
                                          </p:val>
                                        </p:tav>
                                        <p:tav tm="100000">
                                          <p:val>
                                            <p:strVal val="#ppt_y"/>
                                          </p:val>
                                        </p:tav>
                                      </p:tavLst>
                                    </p:anim>
                                  </p:childTnLst>
                                </p:cTn>
                              </p:par>
                              <p:par>
                                <p:cTn id="9" presetID="2" presetClass="entr" presetSubtype="2" dur="2000" decel="100000" fill="hold" grpId="0" nodeType="withEffect">
                                  <p:stCondLst>
                                    <p:cond delay="70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2000" fill="hold"/>
                                        <p:tgtEl>
                                          <p:spTgt spid="9"/>
                                        </p:tgtEl>
                                        <p:attrNameLst>
                                          <p:attrName>ppt_x</p:attrName>
                                        </p:attrNameLst>
                                      </p:cBhvr>
                                      <p:tavLst>
                                        <p:tav tm="0">
                                          <p:val>
                                            <p:strVal val="1+#ppt_w/2"/>
                                          </p:val>
                                        </p:tav>
                                        <p:tav tm="100000">
                                          <p:val>
                                            <p:strVal val="#ppt_x"/>
                                          </p:val>
                                        </p:tav>
                                      </p:tavLst>
                                    </p:anim>
                                    <p:anim calcmode="lin" valueType="num">
                                      <p:cBhvr additive="base">
                                        <p:cTn id="12" dur="200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8" grpId="0" animBg="1"/>
    </p:bld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69_Custom Layout">
    <p:bg>
      <p:bgPr>
        <a:solidFill>
          <a:schemeClr val="bg1"/>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605AE822-AEAC-4FB9-A43E-290DA7E678D5}"/>
              </a:ext>
            </a:extLst>
          </p:cNvPr>
          <p:cNvSpPr>
            <a:spLocks noGrp="1" noChangeAspect="1"/>
          </p:cNvSpPr>
          <p:nvPr>
            <p:ph type="pic" sz="quarter" idx="13" hasCustomPrompt="1"/>
          </p:nvPr>
        </p:nvSpPr>
        <p:spPr>
          <a:xfrm>
            <a:off x="3077676" y="3000853"/>
            <a:ext cx="5991184" cy="8235591"/>
          </a:xfrm>
          <a:custGeom>
            <a:avLst/>
            <a:gdLst>
              <a:gd name="connsiteX0" fmla="*/ 0 w 7441077"/>
              <a:gd name="connsiteY0" fmla="*/ 0 h 10227307"/>
              <a:gd name="connsiteX1" fmla="*/ 7441077 w 7441077"/>
              <a:gd name="connsiteY1" fmla="*/ 0 h 10227307"/>
              <a:gd name="connsiteX2" fmla="*/ 7441077 w 7441077"/>
              <a:gd name="connsiteY2" fmla="*/ 10227307 h 10227307"/>
              <a:gd name="connsiteX3" fmla="*/ 0 w 7441077"/>
              <a:gd name="connsiteY3" fmla="*/ 10227307 h 10227307"/>
            </a:gdLst>
            <a:ahLst/>
            <a:cxnLst>
              <a:cxn ang="0">
                <a:pos x="connsiteX0" y="connsiteY0"/>
              </a:cxn>
              <a:cxn ang="0">
                <a:pos x="connsiteX1" y="connsiteY1"/>
              </a:cxn>
              <a:cxn ang="0">
                <a:pos x="connsiteX2" y="connsiteY2"/>
              </a:cxn>
              <a:cxn ang="0">
                <a:pos x="connsiteX3" y="connsiteY3"/>
              </a:cxn>
            </a:cxnLst>
            <a:rect l="l" t="t" r="r" b="b"/>
            <a:pathLst>
              <a:path w="7441077" h="10227307">
                <a:moveTo>
                  <a:pt x="0" y="0"/>
                </a:moveTo>
                <a:lnTo>
                  <a:pt x="7441077" y="0"/>
                </a:lnTo>
                <a:lnTo>
                  <a:pt x="7441077" y="10227307"/>
                </a:lnTo>
                <a:lnTo>
                  <a:pt x="0" y="10227307"/>
                </a:lnTo>
                <a:close/>
              </a:path>
            </a:pathLst>
          </a:custGeom>
          <a:blipFill>
            <a:blip r:embed="rId2"/>
            <a:stretch>
              <a:fillRect/>
            </a:stretch>
          </a:blipFill>
          <a:effectLst/>
        </p:spPr>
        <p:txBody>
          <a:bodyPr wrap="square" anchor="ctr">
            <a:noAutofit/>
          </a:bodyPr>
          <a:lstStyle>
            <a:lvl1pPr marL="0" indent="0" algn="ctr">
              <a:buFontTx/>
              <a:buNone/>
              <a:defRPr sz="1200"/>
            </a:lvl1pPr>
          </a:lstStyle>
          <a:p>
            <a:r>
              <a:rPr lang="en-US"/>
              <a:t> </a:t>
            </a:r>
          </a:p>
        </p:txBody>
      </p:sp>
    </p:spTree>
    <p:extLst>
      <p:ext uri="{BB962C8B-B14F-4D97-AF65-F5344CB8AC3E}">
        <p14:creationId xmlns:p14="http://schemas.microsoft.com/office/powerpoint/2010/main" val="1052758835"/>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4" dur="1500" decel="10000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1500" fill="hold"/>
                                        <p:tgtEl>
                                          <p:spTgt spid="14"/>
                                        </p:tgtEl>
                                        <p:attrNameLst>
                                          <p:attrName>ppt_x</p:attrName>
                                        </p:attrNameLst>
                                      </p:cBhvr>
                                      <p:tavLst>
                                        <p:tav tm="0">
                                          <p:val>
                                            <p:strVal val="#ppt_x"/>
                                          </p:val>
                                        </p:tav>
                                        <p:tav tm="100000">
                                          <p:val>
                                            <p:strVal val="#ppt_x"/>
                                          </p:val>
                                        </p:tav>
                                      </p:tavLst>
                                    </p:anim>
                                    <p:anim calcmode="lin" valueType="num">
                                      <p:cBhvr additive="base">
                                        <p:cTn id="8" dur="1500" fill="hold"/>
                                        <p:tgtEl>
                                          <p:spTgt spid="1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73_Custom Layout">
    <p:bg>
      <p:bgPr>
        <a:solidFill>
          <a:schemeClr val="bg1"/>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DCE07B66-5987-495D-B793-0151B7A8F8DC}"/>
              </a:ext>
            </a:extLst>
          </p:cNvPr>
          <p:cNvSpPr>
            <a:spLocks noGrp="1" noChangeAspect="1"/>
          </p:cNvSpPr>
          <p:nvPr>
            <p:ph type="pic" sz="quarter" idx="13" hasCustomPrompt="1"/>
          </p:nvPr>
        </p:nvSpPr>
        <p:spPr>
          <a:xfrm>
            <a:off x="3086677" y="-542318"/>
            <a:ext cx="6399967" cy="8786779"/>
          </a:xfrm>
          <a:custGeom>
            <a:avLst/>
            <a:gdLst>
              <a:gd name="connsiteX0" fmla="*/ 0 w 5420811"/>
              <a:gd name="connsiteY0" fmla="*/ 0 h 7441488"/>
              <a:gd name="connsiteX1" fmla="*/ 5420811 w 5420811"/>
              <a:gd name="connsiteY1" fmla="*/ 0 h 7441488"/>
              <a:gd name="connsiteX2" fmla="*/ 5420811 w 5420811"/>
              <a:gd name="connsiteY2" fmla="*/ 7441488 h 7441488"/>
              <a:gd name="connsiteX3" fmla="*/ 0 w 5420811"/>
              <a:gd name="connsiteY3" fmla="*/ 7441488 h 7441488"/>
            </a:gdLst>
            <a:ahLst/>
            <a:cxnLst>
              <a:cxn ang="0">
                <a:pos x="connsiteX0" y="connsiteY0"/>
              </a:cxn>
              <a:cxn ang="0">
                <a:pos x="connsiteX1" y="connsiteY1"/>
              </a:cxn>
              <a:cxn ang="0">
                <a:pos x="connsiteX2" y="connsiteY2"/>
              </a:cxn>
              <a:cxn ang="0">
                <a:pos x="connsiteX3" y="connsiteY3"/>
              </a:cxn>
            </a:cxnLst>
            <a:rect l="l" t="t" r="r" b="b"/>
            <a:pathLst>
              <a:path w="5420811" h="7441488">
                <a:moveTo>
                  <a:pt x="0" y="0"/>
                </a:moveTo>
                <a:lnTo>
                  <a:pt x="5420811" y="0"/>
                </a:lnTo>
                <a:lnTo>
                  <a:pt x="5420811" y="7441488"/>
                </a:lnTo>
                <a:lnTo>
                  <a:pt x="0" y="7441488"/>
                </a:lnTo>
                <a:close/>
              </a:path>
            </a:pathLst>
          </a:custGeom>
          <a:blipFill>
            <a:blip r:embed="rId2"/>
            <a:stretch>
              <a:fillRect/>
            </a:stretch>
          </a:blipFill>
          <a:effectLst/>
          <a:scene3d>
            <a:camera prst="isometricTopUp">
              <a:rot lat="19391480" lon="17604000" rev="4500000"/>
            </a:camera>
            <a:lightRig rig="threePt" dir="t"/>
          </a:scene3d>
        </p:spPr>
        <p:txBody>
          <a:bodyPr wrap="square" anchor="ctr">
            <a:noAutofit/>
          </a:bodyPr>
          <a:lstStyle>
            <a:lvl1pPr marL="0" indent="0" algn="ctr">
              <a:buFontTx/>
              <a:buNone/>
              <a:defRPr sz="1200"/>
            </a:lvl1pPr>
          </a:lstStyle>
          <a:p>
            <a:r>
              <a:rPr lang="en-US"/>
              <a:t> </a:t>
            </a:r>
          </a:p>
        </p:txBody>
      </p:sp>
    </p:spTree>
    <p:extLst>
      <p:ext uri="{BB962C8B-B14F-4D97-AF65-F5344CB8AC3E}">
        <p14:creationId xmlns:p14="http://schemas.microsoft.com/office/powerpoint/2010/main" val="2481011913"/>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12" dur="1500"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1500" fill="hold"/>
                                        <p:tgtEl>
                                          <p:spTgt spid="6"/>
                                        </p:tgtEl>
                                        <p:attrNameLst>
                                          <p:attrName>ppt_x</p:attrName>
                                        </p:attrNameLst>
                                      </p:cBhvr>
                                      <p:tavLst>
                                        <p:tav tm="0">
                                          <p:val>
                                            <p:strVal val="0-#ppt_w/2"/>
                                          </p:val>
                                        </p:tav>
                                        <p:tav tm="100000">
                                          <p:val>
                                            <p:strVal val="#ppt_x"/>
                                          </p:val>
                                        </p:tav>
                                      </p:tavLst>
                                    </p:anim>
                                    <p:anim calcmode="lin" valueType="num">
                                      <p:cBhvr additive="base">
                                        <p:cTn id="8" dur="1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78_Custom Layout">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83F78BE3-93BA-4AE7-9B9D-7F0CFDEBEEF1}"/>
              </a:ext>
            </a:extLst>
          </p:cNvPr>
          <p:cNvSpPr>
            <a:spLocks noGrp="1" noChangeAspect="1"/>
          </p:cNvSpPr>
          <p:nvPr>
            <p:ph type="pic" sz="quarter" idx="13" hasCustomPrompt="1"/>
          </p:nvPr>
        </p:nvSpPr>
        <p:spPr>
          <a:xfrm>
            <a:off x="2216167" y="477415"/>
            <a:ext cx="3369125" cy="462160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lightRig rig="threePt" dir="t"/>
          </a:scene3d>
          <a:sp3d prstMaterial="matte"/>
        </p:spPr>
        <p:txBody>
          <a:bodyPr wrap="square" anchor="ctr">
            <a:noAutofit/>
          </a:bodyPr>
          <a:lstStyle>
            <a:lvl1pPr marL="0" indent="0" algn="ctr">
              <a:buFontTx/>
              <a:buNone/>
              <a:defRPr sz="1200"/>
            </a:lvl1pPr>
          </a:lstStyle>
          <a:p>
            <a:r>
              <a:rPr lang="en-US"/>
              <a:t> </a:t>
            </a:r>
          </a:p>
        </p:txBody>
      </p:sp>
      <p:sp>
        <p:nvSpPr>
          <p:cNvPr id="14" name="Picture Placeholder 13">
            <a:extLst>
              <a:ext uri="{FF2B5EF4-FFF2-40B4-BE49-F238E27FC236}">
                <a16:creationId xmlns:a16="http://schemas.microsoft.com/office/drawing/2014/main" id="{BE979228-4867-46D4-8D83-B558D8D1F035}"/>
              </a:ext>
            </a:extLst>
          </p:cNvPr>
          <p:cNvSpPr>
            <a:spLocks noGrp="1" noChangeAspect="1"/>
          </p:cNvSpPr>
          <p:nvPr>
            <p:ph type="pic" sz="quarter" idx="14" hasCustomPrompt="1"/>
          </p:nvPr>
        </p:nvSpPr>
        <p:spPr>
          <a:xfrm>
            <a:off x="6707311" y="-30480"/>
            <a:ext cx="3369125" cy="462160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LeftDown"/>
            <a:lightRig rig="threePt" dir="t"/>
          </a:scene3d>
          <a:sp3d prstMaterial="matte"/>
        </p:spPr>
        <p:txBody>
          <a:bodyPr wrap="square" anchor="ctr">
            <a:noAutofit/>
          </a:bodyPr>
          <a:lstStyle>
            <a:lvl1pPr marL="0" indent="0" algn="ctr">
              <a:buFontTx/>
              <a:buNone/>
              <a:defRPr sz="1200"/>
            </a:lvl1pPr>
          </a:lstStyle>
          <a:p>
            <a:r>
              <a:rPr lang="en-US"/>
              <a:t> </a:t>
            </a:r>
          </a:p>
        </p:txBody>
      </p:sp>
      <p:sp>
        <p:nvSpPr>
          <p:cNvPr id="15" name="Picture Placeholder 14">
            <a:extLst>
              <a:ext uri="{FF2B5EF4-FFF2-40B4-BE49-F238E27FC236}">
                <a16:creationId xmlns:a16="http://schemas.microsoft.com/office/drawing/2014/main" id="{1E197C23-33DC-4B31-96DD-D6405E2FD36E}"/>
              </a:ext>
            </a:extLst>
          </p:cNvPr>
          <p:cNvSpPr>
            <a:spLocks noGrp="1" noChangeAspect="1"/>
          </p:cNvSpPr>
          <p:nvPr>
            <p:ph type="pic" sz="quarter" idx="15" hasCustomPrompt="1"/>
          </p:nvPr>
        </p:nvSpPr>
        <p:spPr>
          <a:xfrm>
            <a:off x="4532072" y="3119941"/>
            <a:ext cx="3369125" cy="462160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BottomDown"/>
            <a:lightRig rig="threePt" dir="t"/>
          </a:scene3d>
          <a:sp3d prstMaterial="matte"/>
        </p:spPr>
        <p:txBody>
          <a:bodyPr wrap="square" anchor="ctr">
            <a:noAutofit/>
          </a:bodyPr>
          <a:lstStyle>
            <a:lvl1pPr marL="0" indent="0" algn="ctr">
              <a:buFontTx/>
              <a:buNone/>
              <a:defRPr sz="1200"/>
            </a:lvl1pPr>
          </a:lstStyle>
          <a:p>
            <a:r>
              <a:rPr lang="en-US"/>
              <a:t> </a:t>
            </a:r>
          </a:p>
        </p:txBody>
      </p:sp>
    </p:spTree>
    <p:extLst>
      <p:ext uri="{BB962C8B-B14F-4D97-AF65-F5344CB8AC3E}">
        <p14:creationId xmlns:p14="http://schemas.microsoft.com/office/powerpoint/2010/main" val="2121881249"/>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10" presetClass="entr" presetSubtype="0" dur="30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300"/>
                                        <p:tgtEl>
                                          <p:spTgt spid="14"/>
                                        </p:tgtEl>
                                      </p:cBhvr>
                                    </p:animEffect>
                                  </p:childTnLst>
                                </p:cTn>
                              </p:par>
                              <p:par>
                                <p:cTn id="8" presetID="10" presetClass="entr" presetSubtype="0" dur="300" fill="hold" grpId="0" nodeType="withEffect">
                                  <p:stCondLst>
                                    <p:cond delay="20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300"/>
                                        <p:tgtEl>
                                          <p:spTgt spid="7"/>
                                        </p:tgtEl>
                                      </p:cBhvr>
                                    </p:animEffect>
                                  </p:childTnLst>
                                </p:cTn>
                              </p:par>
                              <p:par>
                                <p:cTn id="11" presetID="10" presetClass="entr" presetSubtype="0" dur="300" fill="hold" grpId="0" nodeType="withEffect">
                                  <p:stCondLst>
                                    <p:cond delay="400"/>
                                  </p:stCondLst>
                                  <p:childTnLst>
                                    <p:set>
                                      <p:cBhvr>
                                        <p:cTn id="12" dur="1" fill="hold">
                                          <p:stCondLst>
                                            <p:cond delay="0"/>
                                          </p:stCondLst>
                                        </p:cTn>
                                        <p:tgtEl>
                                          <p:spTgt spid="15"/>
                                        </p:tgtEl>
                                        <p:attrNameLst>
                                          <p:attrName>style.visibility</p:attrName>
                                        </p:attrNameLst>
                                      </p:cBhvr>
                                      <p:to>
                                        <p:strVal val="visible"/>
                                      </p:to>
                                    </p:set>
                                    <p:animEffect transition="in" filter="fade">
                                      <p:cBhvr>
                                        <p:cTn id="13" dur="3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4" grpId="0" animBg="1"/>
      <p:bldP spid="15" grpId="0" animBg="1"/>
    </p:bld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79_Custom Layout">
    <p:bg>
      <p:bgPr>
        <a:solidFill>
          <a:schemeClr val="bg1"/>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4E1B043C-CA58-4020-9ABB-9FC0E0BC68B9}"/>
              </a:ext>
            </a:extLst>
          </p:cNvPr>
          <p:cNvSpPr>
            <a:spLocks noGrp="1"/>
          </p:cNvSpPr>
          <p:nvPr>
            <p:ph type="pic" sz="quarter" idx="13" hasCustomPrompt="1"/>
          </p:nvPr>
        </p:nvSpPr>
        <p:spPr>
          <a:xfrm>
            <a:off x="4136234" y="19052"/>
            <a:ext cx="3976675" cy="6463349"/>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rot lat="1800000" lon="2250000" rev="2196000"/>
            </a:camera>
            <a:lightRig rig="threePt" dir="t"/>
          </a:scene3d>
          <a:sp3d prstMaterial="matte"/>
        </p:spPr>
        <p:txBody>
          <a:bodyPr wrap="square" anchor="ctr">
            <a:noAutofit/>
          </a:bodyPr>
          <a:lstStyle>
            <a:lvl1pPr marL="0" indent="0" algn="ctr">
              <a:buFontTx/>
              <a:buNone/>
              <a:defRPr sz="1200"/>
            </a:lvl1pPr>
          </a:lstStyle>
          <a:p>
            <a:r>
              <a:rPr lang="en-US"/>
              <a:t> </a:t>
            </a:r>
          </a:p>
        </p:txBody>
      </p:sp>
    </p:spTree>
    <p:extLst>
      <p:ext uri="{BB962C8B-B14F-4D97-AF65-F5344CB8AC3E}">
        <p14:creationId xmlns:p14="http://schemas.microsoft.com/office/powerpoint/2010/main" val="724253550"/>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1" presetClass="entr" presetSubtype="0" dur="1" fill="hold" grpId="1" nodeType="withEffect">
                                  <p:stCondLst>
                                    <p:cond delay="100"/>
                                  </p:stCondLst>
                                  <p:childTnLst>
                                    <p:set>
                                      <p:cBhvr>
                                        <p:cTn id="6" dur="1" fill="hold">
                                          <p:stCondLst>
                                            <p:cond delay="0"/>
                                          </p:stCondLst>
                                        </p:cTn>
                                        <p:tgtEl>
                                          <p:spTgt spid="6"/>
                                        </p:tgtEl>
                                        <p:attrNameLst>
                                          <p:attrName>style.visibility</p:attrName>
                                        </p:attrNameLst>
                                      </p:cBhvr>
                                      <p:to>
                                        <p:strVal val="visible"/>
                                      </p:to>
                                    </p:set>
                                  </p:childTnLst>
                                </p:cTn>
                              </p:par>
                              <p:par>
                                <p:cTn id="7" presetID="42" presetClass="path" presetSubtype="0" dur="1500" decel="100000" fill="hold" grpId="0" nodeType="withEffect">
                                  <p:stCondLst>
                                    <p:cond delay="0"/>
                                  </p:stCondLst>
                                  <p:childTnLst>
                                    <p:animMotion origin="layout" path="M -3.44486E-06 1.66667E-06 L 0.3262 -0.18148" pathEditMode="relative" rAng="0" ptsTypes="AA">
                                      <p:cBhvr>
                                        <p:cTn id="8" dur="1500" spd="-100000" fill="hold"/>
                                        <p:tgtEl>
                                          <p:spTgt spid="6"/>
                                        </p:tgtEl>
                                        <p:attrNameLst>
                                          <p:attrName>ppt_x</p:attrName>
                                          <p:attrName>ppt_y</p:attrName>
                                        </p:attrNameLst>
                                      </p:cBhvr>
                                      <p:rCtr x="16306" y="-907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6" grpId="1" animBg="1"/>
    </p:bld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81_Custom Layout">
    <p:bg>
      <p:bgPr>
        <a:solidFill>
          <a:schemeClr val="bg1"/>
        </a:solidFill>
        <a:effectLst/>
      </p:bgPr>
    </p:bg>
    <p:spTree>
      <p:nvGrpSpPr>
        <p:cNvPr id="1" name=""/>
        <p:cNvGrpSpPr/>
        <p:nvPr/>
      </p:nvGrpSpPr>
      <p:grpSpPr>
        <a:xfrm>
          <a:off x="0" y="0"/>
          <a:ext cx="0" cy="0"/>
          <a:chOff x="0" y="0"/>
          <a:chExt cx="0" cy="0"/>
        </a:xfrm>
      </p:grpSpPr>
      <p:sp>
        <p:nvSpPr>
          <p:cNvPr id="8" name="Picture Placeholder 6">
            <a:extLst>
              <a:ext uri="{FF2B5EF4-FFF2-40B4-BE49-F238E27FC236}">
                <a16:creationId xmlns:a16="http://schemas.microsoft.com/office/drawing/2014/main" id="{A6497792-ED6D-4F54-8610-2FD55173DAC9}"/>
              </a:ext>
            </a:extLst>
          </p:cNvPr>
          <p:cNvSpPr>
            <a:spLocks noGrp="1"/>
          </p:cNvSpPr>
          <p:nvPr>
            <p:ph type="pic" sz="quarter" idx="14" hasCustomPrompt="1"/>
          </p:nvPr>
        </p:nvSpPr>
        <p:spPr>
          <a:xfrm>
            <a:off x="7130435" y="-1252135"/>
            <a:ext cx="3885694" cy="502920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rot lat="1440000" lon="2400000" rev="3660000"/>
            </a:camera>
            <a:lightRig rig="threePt" dir="t"/>
          </a:scene3d>
        </p:spPr>
        <p:txBody>
          <a:bodyPr wrap="square" anchor="ctr">
            <a:noAutofit/>
          </a:bodyPr>
          <a:lstStyle>
            <a:lvl1pPr marL="0" indent="0" algn="ctr">
              <a:buFontTx/>
              <a:buNone/>
              <a:defRPr sz="1200"/>
            </a:lvl1pPr>
          </a:lstStyle>
          <a:p>
            <a:r>
              <a:rPr lang="en-US"/>
              <a:t>  </a:t>
            </a:r>
          </a:p>
        </p:txBody>
      </p:sp>
      <p:sp>
        <p:nvSpPr>
          <p:cNvPr id="4" name="Picture Placeholder 6">
            <a:extLst>
              <a:ext uri="{FF2B5EF4-FFF2-40B4-BE49-F238E27FC236}">
                <a16:creationId xmlns:a16="http://schemas.microsoft.com/office/drawing/2014/main" id="{F395A455-90B6-47E0-8201-16D4F23F8B8B}"/>
              </a:ext>
            </a:extLst>
          </p:cNvPr>
          <p:cNvSpPr>
            <a:spLocks noGrp="1"/>
          </p:cNvSpPr>
          <p:nvPr>
            <p:ph type="pic" sz="quarter" idx="13" hasCustomPrompt="1"/>
          </p:nvPr>
        </p:nvSpPr>
        <p:spPr>
          <a:xfrm>
            <a:off x="4510480" y="952867"/>
            <a:ext cx="3163961" cy="5202959"/>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rot lat="0" lon="0" rev="2592000"/>
            </a:camera>
            <a:lightRig rig="threePt" dir="t"/>
          </a:scene3d>
        </p:spPr>
        <p:txBody>
          <a:bodyPr wrap="square" anchor="ctr">
            <a:noAutofit/>
          </a:bodyPr>
          <a:lstStyle>
            <a:lvl1pPr marL="0" indent="0" algn="ctr">
              <a:buFontTx/>
              <a:buNone/>
              <a:defRPr sz="1200"/>
            </a:lvl1pPr>
          </a:lstStyle>
          <a:p>
            <a:r>
              <a:rPr lang="en-US"/>
              <a:t> </a:t>
            </a:r>
          </a:p>
        </p:txBody>
      </p:sp>
      <p:sp>
        <p:nvSpPr>
          <p:cNvPr id="13" name="Picture Placeholder 6">
            <a:extLst>
              <a:ext uri="{FF2B5EF4-FFF2-40B4-BE49-F238E27FC236}">
                <a16:creationId xmlns:a16="http://schemas.microsoft.com/office/drawing/2014/main" id="{C8BF64FE-1E33-45BC-BDD7-7BD551FA39A6}"/>
              </a:ext>
            </a:extLst>
          </p:cNvPr>
          <p:cNvSpPr>
            <a:spLocks noGrp="1"/>
          </p:cNvSpPr>
          <p:nvPr>
            <p:ph type="pic" sz="quarter" idx="19" hasCustomPrompt="1"/>
          </p:nvPr>
        </p:nvSpPr>
        <p:spPr>
          <a:xfrm>
            <a:off x="372160" y="4958957"/>
            <a:ext cx="3885694" cy="502920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rot lat="1440000" lon="2400000" rev="3660000"/>
            </a:camera>
            <a:lightRig rig="threePt" dir="t"/>
          </a:scene3d>
        </p:spPr>
        <p:txBody>
          <a:bodyPr wrap="square" anchor="ctr">
            <a:noAutofit/>
          </a:bodyPr>
          <a:lstStyle>
            <a:lvl1pPr marL="0" indent="0" algn="ctr">
              <a:buFontTx/>
              <a:buNone/>
              <a:defRPr sz="1200"/>
            </a:lvl1pPr>
          </a:lstStyle>
          <a:p>
            <a:r>
              <a:rPr lang="en-US"/>
              <a:t> </a:t>
            </a:r>
          </a:p>
        </p:txBody>
      </p:sp>
      <p:sp>
        <p:nvSpPr>
          <p:cNvPr id="12" name="Picture Placeholder 6">
            <a:extLst>
              <a:ext uri="{FF2B5EF4-FFF2-40B4-BE49-F238E27FC236}">
                <a16:creationId xmlns:a16="http://schemas.microsoft.com/office/drawing/2014/main" id="{29ECFF06-47C2-4779-9C66-22674E15A749}"/>
              </a:ext>
            </a:extLst>
          </p:cNvPr>
          <p:cNvSpPr>
            <a:spLocks noGrp="1"/>
          </p:cNvSpPr>
          <p:nvPr>
            <p:ph type="pic" sz="quarter" idx="18" hasCustomPrompt="1"/>
          </p:nvPr>
        </p:nvSpPr>
        <p:spPr>
          <a:xfrm>
            <a:off x="9200746" y="4728760"/>
            <a:ext cx="3885694" cy="502920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rot lat="1440000" lon="2400000" rev="3660000"/>
            </a:camera>
            <a:lightRig rig="threePt" dir="t"/>
          </a:scene3d>
        </p:spPr>
        <p:txBody>
          <a:bodyPr wrap="square" anchor="ctr">
            <a:noAutofit/>
          </a:bodyPr>
          <a:lstStyle>
            <a:lvl1pPr marL="0" indent="0" algn="ctr">
              <a:buFontTx/>
              <a:buNone/>
              <a:defRPr sz="1200"/>
            </a:lvl1pPr>
          </a:lstStyle>
          <a:p>
            <a:r>
              <a:rPr lang="en-US"/>
              <a:t> </a:t>
            </a:r>
          </a:p>
        </p:txBody>
      </p:sp>
      <p:sp>
        <p:nvSpPr>
          <p:cNvPr id="11" name="Picture Placeholder 6">
            <a:extLst>
              <a:ext uri="{FF2B5EF4-FFF2-40B4-BE49-F238E27FC236}">
                <a16:creationId xmlns:a16="http://schemas.microsoft.com/office/drawing/2014/main" id="{6B245FDF-2A7F-47E6-A435-6D63863F3409}"/>
              </a:ext>
            </a:extLst>
          </p:cNvPr>
          <p:cNvSpPr>
            <a:spLocks noGrp="1"/>
          </p:cNvSpPr>
          <p:nvPr>
            <p:ph type="pic" sz="quarter" idx="17" hasCustomPrompt="1"/>
          </p:nvPr>
        </p:nvSpPr>
        <p:spPr>
          <a:xfrm>
            <a:off x="12555067" y="1705429"/>
            <a:ext cx="3885694" cy="502920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rot lat="1440000" lon="2400000" rev="3660000"/>
            </a:camera>
            <a:lightRig rig="threePt" dir="t"/>
          </a:scene3d>
        </p:spPr>
        <p:txBody>
          <a:bodyPr wrap="square" anchor="ctr">
            <a:noAutofit/>
          </a:bodyPr>
          <a:lstStyle>
            <a:lvl1pPr marL="0" indent="0" algn="ctr">
              <a:buFontTx/>
              <a:buNone/>
              <a:defRPr sz="1200"/>
            </a:lvl1pPr>
          </a:lstStyle>
          <a:p>
            <a:r>
              <a:rPr lang="en-US"/>
              <a:t> </a:t>
            </a:r>
          </a:p>
        </p:txBody>
      </p:sp>
      <p:sp>
        <p:nvSpPr>
          <p:cNvPr id="10" name="Picture Placeholder 6">
            <a:extLst>
              <a:ext uri="{FF2B5EF4-FFF2-40B4-BE49-F238E27FC236}">
                <a16:creationId xmlns:a16="http://schemas.microsoft.com/office/drawing/2014/main" id="{806396D0-282B-4936-BB42-1F4A486620B8}"/>
              </a:ext>
            </a:extLst>
          </p:cNvPr>
          <p:cNvSpPr>
            <a:spLocks noGrp="1"/>
          </p:cNvSpPr>
          <p:nvPr>
            <p:ph type="pic" sz="quarter" idx="16" hasCustomPrompt="1"/>
          </p:nvPr>
        </p:nvSpPr>
        <p:spPr>
          <a:xfrm>
            <a:off x="-1660359" y="-1161656"/>
            <a:ext cx="3885694" cy="502920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rot lat="1440000" lon="2400000" rev="3660000"/>
            </a:camera>
            <a:lightRig rig="threePt" dir="t"/>
          </a:scene3d>
        </p:spPr>
        <p:txBody>
          <a:bodyPr wrap="square" anchor="ctr">
            <a:noAutofit/>
          </a:bodyPr>
          <a:lstStyle>
            <a:lvl1pPr marL="0" indent="0" algn="ctr">
              <a:buFontTx/>
              <a:buNone/>
              <a:defRPr sz="1200"/>
            </a:lvl1pPr>
          </a:lstStyle>
          <a:p>
            <a:r>
              <a:rPr lang="en-US"/>
              <a:t> </a:t>
            </a:r>
          </a:p>
        </p:txBody>
      </p:sp>
      <p:sp>
        <p:nvSpPr>
          <p:cNvPr id="9" name="Picture Placeholder 6">
            <a:extLst>
              <a:ext uri="{FF2B5EF4-FFF2-40B4-BE49-F238E27FC236}">
                <a16:creationId xmlns:a16="http://schemas.microsoft.com/office/drawing/2014/main" id="{F81EECD4-1CBF-4857-A094-2EEA3921566A}"/>
              </a:ext>
            </a:extLst>
          </p:cNvPr>
          <p:cNvSpPr>
            <a:spLocks noGrp="1"/>
          </p:cNvSpPr>
          <p:nvPr>
            <p:ph type="pic" sz="quarter" idx="15" hasCustomPrompt="1"/>
          </p:nvPr>
        </p:nvSpPr>
        <p:spPr>
          <a:xfrm>
            <a:off x="1731615" y="-4228734"/>
            <a:ext cx="3885694" cy="502920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rot lat="1440000" lon="2400000" rev="3660000"/>
            </a:camera>
            <a:lightRig rig="threePt" dir="t"/>
          </a:scene3d>
        </p:spPr>
        <p:txBody>
          <a:bodyPr wrap="square" anchor="ctr">
            <a:noAutofit/>
          </a:bodyPr>
          <a:lstStyle>
            <a:lvl1pPr marL="0" indent="0" algn="ctr">
              <a:buFontTx/>
              <a:buNone/>
              <a:defRPr sz="1200"/>
            </a:lvl1pPr>
          </a:lstStyle>
          <a:p>
            <a:r>
              <a:rPr lang="en-US"/>
              <a:t> </a:t>
            </a:r>
          </a:p>
        </p:txBody>
      </p:sp>
    </p:spTree>
    <p:extLst>
      <p:ext uri="{BB962C8B-B14F-4D97-AF65-F5344CB8AC3E}">
        <p14:creationId xmlns:p14="http://schemas.microsoft.com/office/powerpoint/2010/main" val="3673510866"/>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10" presetClass="entr" presetSubtype="0" dur="50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 presetClass="entr" presetSubtype="0" dur="1" fill="hold" grpId="1" nodeType="withEffect">
                                  <p:stCondLst>
                                    <p:cond delay="500"/>
                                  </p:stCondLst>
                                  <p:childTnLst>
                                    <p:set>
                                      <p:cBhvr>
                                        <p:cTn id="9" dur="1" fill="hold">
                                          <p:stCondLst>
                                            <p:cond delay="0"/>
                                          </p:stCondLst>
                                        </p:cTn>
                                        <p:tgtEl>
                                          <p:spTgt spid="13"/>
                                        </p:tgtEl>
                                        <p:attrNameLst>
                                          <p:attrName>style.visibility</p:attrName>
                                        </p:attrNameLst>
                                      </p:cBhvr>
                                      <p:to>
                                        <p:strVal val="visible"/>
                                      </p:to>
                                    </p:set>
                                  </p:childTnLst>
                                </p:cTn>
                              </p:par>
                              <p:par>
                                <p:cTn id="10" presetID="42" presetClass="path" presetSubtype="0" dur="1500" decel="100000" fill="hold" grpId="0" nodeType="withEffect">
                                  <p:stCondLst>
                                    <p:cond delay="500"/>
                                  </p:stCondLst>
                                  <p:childTnLst>
                                    <p:animMotion origin="layout" path="M -4.12967E-06 -4.81481E-06 L -0.27893 0.45186" pathEditMode="relative" rAng="0" ptsTypes="AA">
                                      <p:cBhvr>
                                        <p:cTn id="11" dur="1500" spd="-100000" fill="hold"/>
                                        <p:tgtEl>
                                          <p:spTgt spid="13"/>
                                        </p:tgtEl>
                                        <p:attrNameLst>
                                          <p:attrName>ppt_x</p:attrName>
                                          <p:attrName>ppt_y</p:attrName>
                                        </p:attrNameLst>
                                      </p:cBhvr>
                                      <p:rCtr x="-13950" y="22593"/>
                                    </p:animMotion>
                                  </p:childTnLst>
                                </p:cTn>
                              </p:par>
                              <p:par>
                                <p:cTn id="12" presetID="1" presetClass="entr" presetSubtype="0" dur="1" fill="hold" grpId="0" nodeType="withEffect">
                                  <p:stCondLst>
                                    <p:cond delay="600"/>
                                  </p:stCondLst>
                                  <p:childTnLst>
                                    <p:set>
                                      <p:cBhvr>
                                        <p:cTn id="13" dur="1" fill="hold">
                                          <p:stCondLst>
                                            <p:cond delay="0"/>
                                          </p:stCondLst>
                                        </p:cTn>
                                        <p:tgtEl>
                                          <p:spTgt spid="12"/>
                                        </p:tgtEl>
                                        <p:attrNameLst>
                                          <p:attrName>style.visibility</p:attrName>
                                        </p:attrNameLst>
                                      </p:cBhvr>
                                      <p:to>
                                        <p:strVal val="visible"/>
                                      </p:to>
                                    </p:set>
                                  </p:childTnLst>
                                </p:cTn>
                              </p:par>
                              <p:par>
                                <p:cTn id="14" presetID="42" presetClass="path" presetSubtype="0" dur="1500" decel="100000" fill="hold" grpId="1" nodeType="withEffect">
                                  <p:stCondLst>
                                    <p:cond delay="600"/>
                                  </p:stCondLst>
                                  <p:childTnLst>
                                    <p:animMotion origin="layout" path="M 1.40737E-06 -4.25926E-06 L 0.34911 0.34387" pathEditMode="relative" rAng="0" ptsTypes="AA">
                                      <p:cBhvr>
                                        <p:cTn id="15" dur="1500" spd="-100000" fill="hold"/>
                                        <p:tgtEl>
                                          <p:spTgt spid="12"/>
                                        </p:tgtEl>
                                        <p:attrNameLst>
                                          <p:attrName>ppt_x</p:attrName>
                                          <p:attrName>ppt_y</p:attrName>
                                        </p:attrNameLst>
                                      </p:cBhvr>
                                      <p:rCtr x="17452" y="17188"/>
                                    </p:animMotion>
                                  </p:childTnLst>
                                </p:cTn>
                              </p:par>
                              <p:par>
                                <p:cTn id="16" presetID="1" presetClass="entr" presetSubtype="0" dur="1" fill="hold" grpId="0" nodeType="withEffect">
                                  <p:stCondLst>
                                    <p:cond delay="700"/>
                                  </p:stCondLst>
                                  <p:childTnLst>
                                    <p:set>
                                      <p:cBhvr>
                                        <p:cTn id="17" dur="1" fill="hold">
                                          <p:stCondLst>
                                            <p:cond delay="0"/>
                                          </p:stCondLst>
                                        </p:cTn>
                                        <p:tgtEl>
                                          <p:spTgt spid="11"/>
                                        </p:tgtEl>
                                        <p:attrNameLst>
                                          <p:attrName>style.visibility</p:attrName>
                                        </p:attrNameLst>
                                      </p:cBhvr>
                                      <p:to>
                                        <p:strVal val="visible"/>
                                      </p:to>
                                    </p:set>
                                  </p:childTnLst>
                                </p:cTn>
                              </p:par>
                              <p:par>
                                <p:cTn id="18" presetID="42" presetClass="path" presetSubtype="0" dur="1500" decel="100000" fill="hold" grpId="1" nodeType="withEffect">
                                  <p:stCondLst>
                                    <p:cond delay="700"/>
                                  </p:stCondLst>
                                  <p:childTnLst>
                                    <p:animMotion origin="layout" path="M 1.40737E-06 -4.25926E-06 L 0.34911 0.34387" pathEditMode="relative" rAng="0" ptsTypes="AA">
                                      <p:cBhvr>
                                        <p:cTn id="19" dur="1500" spd="-100000" fill="hold"/>
                                        <p:tgtEl>
                                          <p:spTgt spid="11"/>
                                        </p:tgtEl>
                                        <p:attrNameLst>
                                          <p:attrName>ppt_x</p:attrName>
                                          <p:attrName>ppt_y</p:attrName>
                                        </p:attrNameLst>
                                      </p:cBhvr>
                                      <p:rCtr x="17452" y="17188"/>
                                    </p:animMotion>
                                  </p:childTnLst>
                                </p:cTn>
                              </p:par>
                              <p:par>
                                <p:cTn id="20" presetID="1" presetClass="entr" presetSubtype="0" dur="1" fill="hold" grpId="0" nodeType="withEffect">
                                  <p:stCondLst>
                                    <p:cond delay="800"/>
                                  </p:stCondLst>
                                  <p:childTnLst>
                                    <p:set>
                                      <p:cBhvr>
                                        <p:cTn id="21" dur="1" fill="hold">
                                          <p:stCondLst>
                                            <p:cond delay="0"/>
                                          </p:stCondLst>
                                        </p:cTn>
                                        <p:tgtEl>
                                          <p:spTgt spid="8"/>
                                        </p:tgtEl>
                                        <p:attrNameLst>
                                          <p:attrName>style.visibility</p:attrName>
                                        </p:attrNameLst>
                                      </p:cBhvr>
                                      <p:to>
                                        <p:strVal val="visible"/>
                                      </p:to>
                                    </p:set>
                                  </p:childTnLst>
                                </p:cTn>
                              </p:par>
                              <p:par>
                                <p:cTn id="22" presetID="42" presetClass="path" presetSubtype="0" dur="1500" decel="100000" fill="hold" grpId="1" nodeType="withEffect">
                                  <p:stCondLst>
                                    <p:cond delay="800"/>
                                  </p:stCondLst>
                                  <p:childTnLst>
                                    <p:animMotion origin="layout" path="M -3.93569E-06 -3.51852E-06 L 0.29944 -0.49247" pathEditMode="relative" rAng="0" ptsTypes="AA">
                                      <p:cBhvr>
                                        <p:cTn id="23" dur="1500" spd="-100000" fill="hold"/>
                                        <p:tgtEl>
                                          <p:spTgt spid="8"/>
                                        </p:tgtEl>
                                        <p:attrNameLst>
                                          <p:attrName>ppt_x</p:attrName>
                                          <p:attrName>ppt_y</p:attrName>
                                        </p:attrNameLst>
                                      </p:cBhvr>
                                      <p:rCtr x="14972" y="-24618"/>
                                    </p:animMotion>
                                  </p:childTnLst>
                                </p:cTn>
                              </p:par>
                              <p:par>
                                <p:cTn id="24" presetID="1" presetClass="entr" presetSubtype="0" dur="1" fill="hold" grpId="0" nodeType="withEffect">
                                  <p:stCondLst>
                                    <p:cond delay="900"/>
                                  </p:stCondLst>
                                  <p:childTnLst>
                                    <p:set>
                                      <p:cBhvr>
                                        <p:cTn id="25" dur="1" fill="hold">
                                          <p:stCondLst>
                                            <p:cond delay="0"/>
                                          </p:stCondLst>
                                        </p:cTn>
                                        <p:tgtEl>
                                          <p:spTgt spid="9"/>
                                        </p:tgtEl>
                                        <p:attrNameLst>
                                          <p:attrName>style.visibility</p:attrName>
                                        </p:attrNameLst>
                                      </p:cBhvr>
                                      <p:to>
                                        <p:strVal val="visible"/>
                                      </p:to>
                                    </p:set>
                                  </p:childTnLst>
                                </p:cTn>
                              </p:par>
                              <p:par>
                                <p:cTn id="26" presetID="42" presetClass="path" presetSubtype="0" dur="1500" decel="100000" fill="hold" grpId="1" nodeType="withEffect">
                                  <p:stCondLst>
                                    <p:cond delay="900"/>
                                  </p:stCondLst>
                                  <p:childTnLst>
                                    <p:animMotion origin="layout" path="M -3.93569E-06 -3.51852E-06 L 0.29944 -0.49247" pathEditMode="relative" rAng="0" ptsTypes="AA">
                                      <p:cBhvr>
                                        <p:cTn id="27" dur="1500" spd="-100000" fill="hold"/>
                                        <p:tgtEl>
                                          <p:spTgt spid="9"/>
                                        </p:tgtEl>
                                        <p:attrNameLst>
                                          <p:attrName>ppt_x</p:attrName>
                                          <p:attrName>ppt_y</p:attrName>
                                        </p:attrNameLst>
                                      </p:cBhvr>
                                      <p:rCtr x="14972" y="-24618"/>
                                    </p:animMotion>
                                  </p:childTnLst>
                                </p:cTn>
                              </p:par>
                              <p:par>
                                <p:cTn id="28" presetID="1" presetClass="entr" presetSubtype="0" dur="1" fill="hold" grpId="0" nodeType="withEffect">
                                  <p:stCondLst>
                                    <p:cond delay="1000"/>
                                  </p:stCondLst>
                                  <p:childTnLst>
                                    <p:set>
                                      <p:cBhvr>
                                        <p:cTn id="29" dur="1" fill="hold">
                                          <p:stCondLst>
                                            <p:cond delay="0"/>
                                          </p:stCondLst>
                                        </p:cTn>
                                        <p:tgtEl>
                                          <p:spTgt spid="10"/>
                                        </p:tgtEl>
                                        <p:attrNameLst>
                                          <p:attrName>style.visibility</p:attrName>
                                        </p:attrNameLst>
                                      </p:cBhvr>
                                      <p:to>
                                        <p:strVal val="visible"/>
                                      </p:to>
                                    </p:set>
                                  </p:childTnLst>
                                </p:cTn>
                              </p:par>
                              <p:par>
                                <p:cTn id="30" presetID="42" presetClass="path" presetSubtype="0" dur="1500" decel="100000" fill="hold" grpId="1" nodeType="withEffect">
                                  <p:stCondLst>
                                    <p:cond delay="1000"/>
                                  </p:stCondLst>
                                  <p:childTnLst>
                                    <p:animMotion origin="layout" path="M -4.06588E-06 -2.22222E-06 L -0.41374 -0.39722" pathEditMode="relative" rAng="0" ptsTypes="AA">
                                      <p:cBhvr>
                                        <p:cTn id="31" dur="1500" spd="-100000" fill="hold"/>
                                        <p:tgtEl>
                                          <p:spTgt spid="10"/>
                                        </p:tgtEl>
                                        <p:attrNameLst>
                                          <p:attrName>ppt_x</p:attrName>
                                          <p:attrName>ppt_y</p:attrName>
                                        </p:attrNameLst>
                                      </p:cBhvr>
                                      <p:rCtr x="-20687" y="-1986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4" grpId="0" animBg="1"/>
      <p:bldP spid="13" grpId="0" animBg="1"/>
      <p:bldP spid="13" grpId="1" animBg="1"/>
      <p:bldP spid="12" grpId="0" animBg="1"/>
      <p:bldP spid="12" grpId="1" animBg="1"/>
      <p:bldP spid="11" grpId="0" animBg="1"/>
      <p:bldP spid="11" grpId="1" animBg="1"/>
      <p:bldP spid="10" grpId="0" animBg="1"/>
      <p:bldP spid="10" grpId="1" animBg="1"/>
      <p:bldP spid="9" grpId="0" animBg="1"/>
      <p:bldP spid="9" grpId="1" animBg="1"/>
    </p:bld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83_Custom Layout">
    <p:bg>
      <p:bgPr>
        <a:solidFill>
          <a:schemeClr val="bg1"/>
        </a:solidFill>
        <a:effectLst/>
      </p:bgPr>
    </p:bg>
    <p:spTree>
      <p:nvGrpSpPr>
        <p:cNvPr id="1" name=""/>
        <p:cNvGrpSpPr/>
        <p:nvPr/>
      </p:nvGrpSpPr>
      <p:grpSpPr>
        <a:xfrm>
          <a:off x="0" y="0"/>
          <a:ext cx="0" cy="0"/>
          <a:chOff x="0" y="0"/>
          <a:chExt cx="0" cy="0"/>
        </a:xfrm>
      </p:grpSpPr>
      <p:sp>
        <p:nvSpPr>
          <p:cNvPr id="3" name="Picture Placeholder 14">
            <a:extLst>
              <a:ext uri="{FF2B5EF4-FFF2-40B4-BE49-F238E27FC236}">
                <a16:creationId xmlns:a16="http://schemas.microsoft.com/office/drawing/2014/main" id="{1485ED5A-661D-47FA-AB95-328051D18E31}"/>
              </a:ext>
            </a:extLst>
          </p:cNvPr>
          <p:cNvSpPr>
            <a:spLocks noGrp="1"/>
          </p:cNvSpPr>
          <p:nvPr>
            <p:ph type="pic" sz="quarter" idx="15" hasCustomPrompt="1"/>
          </p:nvPr>
        </p:nvSpPr>
        <p:spPr>
          <a:xfrm>
            <a:off x="6008258" y="1298576"/>
            <a:ext cx="4068550" cy="626364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BottomDown">
              <a:rot lat="19620000" lon="3000000" rev="17412000"/>
            </a:camera>
            <a:lightRig rig="threePt" dir="t"/>
          </a:scene3d>
          <a:sp3d prstMaterial="matte"/>
        </p:spPr>
        <p:txBody>
          <a:bodyPr wrap="square" anchor="ctr">
            <a:noAutofit/>
          </a:bodyPr>
          <a:lstStyle>
            <a:lvl1pPr marL="0" indent="0" algn="ctr">
              <a:buFontTx/>
              <a:buNone/>
              <a:defRPr sz="1200"/>
            </a:lvl1pPr>
          </a:lstStyle>
          <a:p>
            <a:r>
              <a:rPr lang="en-US"/>
              <a:t> </a:t>
            </a:r>
          </a:p>
        </p:txBody>
      </p:sp>
      <p:sp>
        <p:nvSpPr>
          <p:cNvPr id="8" name="Picture Placeholder 14">
            <a:extLst>
              <a:ext uri="{FF2B5EF4-FFF2-40B4-BE49-F238E27FC236}">
                <a16:creationId xmlns:a16="http://schemas.microsoft.com/office/drawing/2014/main" id="{F86CCD24-EEBD-44B1-AAE0-E278A9981069}"/>
              </a:ext>
            </a:extLst>
          </p:cNvPr>
          <p:cNvSpPr>
            <a:spLocks noGrp="1"/>
          </p:cNvSpPr>
          <p:nvPr>
            <p:ph type="pic" sz="quarter" idx="16" hasCustomPrompt="1"/>
          </p:nvPr>
        </p:nvSpPr>
        <p:spPr>
          <a:xfrm>
            <a:off x="6008258" y="165346"/>
            <a:ext cx="4068550" cy="626364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outerShdw blurRad="1257300" dist="1041400" dir="1800000" sx="99000" sy="99000" algn="ctr" rotWithShape="0">
              <a:prstClr val="black">
                <a:alpha val="40000"/>
              </a:prstClr>
            </a:outerShdw>
          </a:effectLst>
          <a:scene3d>
            <a:camera prst="isometricBottomDown">
              <a:rot lat="19620000" lon="3000000" rev="17412000"/>
            </a:camera>
            <a:lightRig rig="threePt" dir="t"/>
          </a:scene3d>
          <a:sp3d prstMaterial="matte"/>
        </p:spPr>
        <p:txBody>
          <a:bodyPr wrap="square" anchor="ctr">
            <a:noAutofit/>
          </a:bodyPr>
          <a:lstStyle>
            <a:lvl1pPr marL="0" indent="0" algn="ctr">
              <a:buFontTx/>
              <a:buNone/>
              <a:defRPr sz="1200"/>
            </a:lvl1pPr>
          </a:lstStyle>
          <a:p>
            <a:r>
              <a:rPr lang="en-US"/>
              <a:t> </a:t>
            </a:r>
          </a:p>
        </p:txBody>
      </p:sp>
      <p:sp>
        <p:nvSpPr>
          <p:cNvPr id="9" name="Picture Placeholder 14">
            <a:extLst>
              <a:ext uri="{FF2B5EF4-FFF2-40B4-BE49-F238E27FC236}">
                <a16:creationId xmlns:a16="http://schemas.microsoft.com/office/drawing/2014/main" id="{ABA520E2-51C3-40D7-AEDE-9D02A83EC15D}"/>
              </a:ext>
            </a:extLst>
          </p:cNvPr>
          <p:cNvSpPr>
            <a:spLocks noGrp="1"/>
          </p:cNvSpPr>
          <p:nvPr>
            <p:ph type="pic" sz="quarter" idx="17" hasCustomPrompt="1"/>
          </p:nvPr>
        </p:nvSpPr>
        <p:spPr>
          <a:xfrm>
            <a:off x="6008258" y="-967883"/>
            <a:ext cx="4068550" cy="626364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outerShdw blurRad="1257300" dist="1041400" dir="1800000" sx="99000" sy="99000" algn="ctr" rotWithShape="0">
              <a:prstClr val="black">
                <a:alpha val="40000"/>
              </a:prstClr>
            </a:outerShdw>
          </a:effectLst>
          <a:scene3d>
            <a:camera prst="isometricBottomDown">
              <a:rot lat="19620000" lon="3000000" rev="17412000"/>
            </a:camera>
            <a:lightRig rig="threePt" dir="t"/>
          </a:scene3d>
          <a:sp3d prstMaterial="matte"/>
        </p:spPr>
        <p:txBody>
          <a:bodyPr wrap="square" anchor="ctr">
            <a:noAutofit/>
          </a:bodyPr>
          <a:lstStyle>
            <a:lvl1pPr marL="0" indent="0" algn="ctr">
              <a:buFontTx/>
              <a:buNone/>
              <a:defRPr sz="1200"/>
            </a:lvl1pPr>
          </a:lstStyle>
          <a:p>
            <a:r>
              <a:rPr lang="en-US"/>
              <a:t> </a:t>
            </a:r>
          </a:p>
        </p:txBody>
      </p:sp>
    </p:spTree>
    <p:extLst>
      <p:ext uri="{BB962C8B-B14F-4D97-AF65-F5344CB8AC3E}">
        <p14:creationId xmlns:p14="http://schemas.microsoft.com/office/powerpoint/2010/main" val="3771269527"/>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10" presetClass="entr" presetSubtype="0" dur="500" fill="hold" grpId="0" nodeType="withEffect">
                                  <p:stCondLst>
                                    <p:cond delay="230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dur="500" fill="hold" grpId="0" nodeType="withEffect">
                                  <p:stCondLst>
                                    <p:cond delay="270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42" presetClass="path" presetSubtype="0" dur="1500" decel="100000" fill="hold" grpId="1" nodeType="withEffect">
                                  <p:stCondLst>
                                    <p:cond delay="2100"/>
                                  </p:stCondLst>
                                  <p:childTnLst>
                                    <p:animMotion origin="layout" path="M -4.63351E-06 2.96296E-06 L -4.63351E-06 0.25" pathEditMode="relative" rAng="0" ptsTypes="AA">
                                      <p:cBhvr>
                                        <p:cTn id="12" dur="1500" spd="-100000" fill="hold"/>
                                        <p:tgtEl>
                                          <p:spTgt spid="8"/>
                                        </p:tgtEl>
                                        <p:attrNameLst>
                                          <p:attrName>ppt_x</p:attrName>
                                          <p:attrName>ppt_y</p:attrName>
                                        </p:attrNameLst>
                                      </p:cBhvr>
                                      <p:rCtr x="0" y="12500"/>
                                    </p:animMotion>
                                  </p:childTnLst>
                                </p:cTn>
                              </p:par>
                              <p:par>
                                <p:cTn id="13" presetID="10" presetClass="entr" presetSubtype="0" dur="500" fill="hold" grpId="0" nodeType="withEffect">
                                  <p:stCondLst>
                                    <p:cond delay="310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500"/>
                                        <p:tgtEl>
                                          <p:spTgt spid="9"/>
                                        </p:tgtEl>
                                      </p:cBhvr>
                                    </p:animEffect>
                                  </p:childTnLst>
                                </p:cTn>
                              </p:par>
                              <p:par>
                                <p:cTn id="16" presetID="42" presetClass="path" presetSubtype="0" dur="1500" decel="100000" fill="hold" grpId="1" nodeType="withEffect">
                                  <p:stCondLst>
                                    <p:cond delay="2500"/>
                                  </p:stCondLst>
                                  <p:childTnLst>
                                    <p:animMotion origin="layout" path="M -4.63351E-06 7.40741E-07 L -4.63351E-06 0.25" pathEditMode="relative" rAng="0" ptsTypes="AA">
                                      <p:cBhvr>
                                        <p:cTn id="17" dur="1500" spd="-100000" fill="hold"/>
                                        <p:tgtEl>
                                          <p:spTgt spid="9"/>
                                        </p:tgtEl>
                                        <p:attrNameLst>
                                          <p:attrName>ppt_x</p:attrName>
                                          <p:attrName>ppt_y</p:attrName>
                                        </p:attrNameLst>
                                      </p:cBhvr>
                                      <p:rCtr x="0" y="1250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8" grpId="0" animBg="1"/>
      <p:bldP spid="8" grpId="1" animBg="1"/>
      <p:bldP spid="9" grpId="0" animBg="1"/>
      <p:bldP spid="9" grpId="1" animBg="1"/>
    </p:bld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HEADING/TEXT/IMAGE 2 small">
    <p:spTree>
      <p:nvGrpSpPr>
        <p:cNvPr id="1" name=""/>
        <p:cNvGrpSpPr/>
        <p:nvPr/>
      </p:nvGrpSpPr>
      <p:grpSpPr>
        <a:xfrm>
          <a:off x="0" y="0"/>
          <a:ext cx="0" cy="0"/>
          <a:chOff x="0" y="0"/>
          <a:chExt cx="0" cy="0"/>
        </a:xfrm>
      </p:grpSpPr>
      <p:sp>
        <p:nvSpPr>
          <p:cNvPr id="13" name="Freihandform: Form 12">
            <a:extLst>
              <a:ext uri="{FF2B5EF4-FFF2-40B4-BE49-F238E27FC236}">
                <a16:creationId xmlns:a16="http://schemas.microsoft.com/office/drawing/2014/main" id="{50EC640D-C73C-4FD9-AD9A-88EE410704F4}"/>
              </a:ext>
            </a:extLst>
          </p:cNvPr>
          <p:cNvSpPr/>
          <p:nvPr/>
        </p:nvSpPr>
        <p:spPr>
          <a:xfrm rot="10800000">
            <a:off x="0" y="1975611"/>
            <a:ext cx="9829800" cy="4882390"/>
          </a:xfrm>
          <a:custGeom>
            <a:avLst/>
            <a:gdLst>
              <a:gd name="connsiteX0" fmla="*/ 910059 w 9829800"/>
              <a:gd name="connsiteY0" fmla="*/ 0 h 4882390"/>
              <a:gd name="connsiteX1" fmla="*/ 3015085 w 9829800"/>
              <a:gd name="connsiteY1" fmla="*/ 0 h 4882390"/>
              <a:gd name="connsiteX2" fmla="*/ 7981950 w 9829800"/>
              <a:gd name="connsiteY2" fmla="*/ 0 h 4882390"/>
              <a:gd name="connsiteX3" fmla="*/ 9829800 w 9829800"/>
              <a:gd name="connsiteY3" fmla="*/ 0 h 4882390"/>
              <a:gd name="connsiteX4" fmla="*/ 9829800 w 9829800"/>
              <a:gd name="connsiteY4" fmla="*/ 4882390 h 4882390"/>
              <a:gd name="connsiteX5" fmla="*/ 7981950 w 9829800"/>
              <a:gd name="connsiteY5" fmla="*/ 4882390 h 4882390"/>
              <a:gd name="connsiteX6" fmla="*/ 2183098 w 9829800"/>
              <a:gd name="connsiteY6" fmla="*/ 4882390 h 4882390"/>
              <a:gd name="connsiteX7" fmla="*/ 78072 w 9829800"/>
              <a:gd name="connsiteY7" fmla="*/ 4882390 h 4882390"/>
              <a:gd name="connsiteX8" fmla="*/ 0 w 9829800"/>
              <a:gd name="connsiteY8" fmla="*/ 4804318 h 4882390"/>
              <a:gd name="connsiteX9" fmla="*/ 831987 w 9829800"/>
              <a:gd name="connsiteY9" fmla="*/ 78072 h 4882390"/>
              <a:gd name="connsiteX10" fmla="*/ 910059 w 9829800"/>
              <a:gd name="connsiteY10" fmla="*/ 0 h 4882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829800" h="4882390">
                <a:moveTo>
                  <a:pt x="910059" y="0"/>
                </a:moveTo>
                <a:lnTo>
                  <a:pt x="3015085" y="0"/>
                </a:lnTo>
                <a:lnTo>
                  <a:pt x="7981950" y="0"/>
                </a:lnTo>
                <a:lnTo>
                  <a:pt x="9829800" y="0"/>
                </a:lnTo>
                <a:lnTo>
                  <a:pt x="9829800" y="4882390"/>
                </a:lnTo>
                <a:lnTo>
                  <a:pt x="7981950" y="4882390"/>
                </a:lnTo>
                <a:lnTo>
                  <a:pt x="2183098" y="4882390"/>
                </a:lnTo>
                <a:lnTo>
                  <a:pt x="78072" y="4882390"/>
                </a:lnTo>
                <a:cubicBezTo>
                  <a:pt x="34957" y="4882390"/>
                  <a:pt x="0" y="4847433"/>
                  <a:pt x="0" y="4804318"/>
                </a:cubicBezTo>
                <a:lnTo>
                  <a:pt x="831987" y="78072"/>
                </a:lnTo>
                <a:cubicBezTo>
                  <a:pt x="831987" y="34957"/>
                  <a:pt x="866945" y="0"/>
                  <a:pt x="910059" y="0"/>
                </a:cubicBezTo>
                <a:close/>
              </a:path>
            </a:pathLst>
          </a:custGeom>
          <a:gradFill>
            <a:gsLst>
              <a:gs pos="100000">
                <a:schemeClr val="bg1"/>
              </a:gs>
              <a:gs pos="5000">
                <a:srgbClr val="ECF0F4"/>
              </a:gs>
            </a:gsLst>
            <a:lin ang="5400000" scaled="1"/>
          </a:gradFill>
          <a:ln w="11652" cap="flat">
            <a:noFill/>
            <a:prstDash val="solid"/>
            <a:miter/>
          </a:ln>
        </p:spPr>
        <p:txBody>
          <a:bodyPr rtlCol="0" anchor="ctr"/>
          <a:lstStyle/>
          <a:p>
            <a:endParaRPr lang="de-DE"/>
          </a:p>
        </p:txBody>
      </p:sp>
      <p:sp>
        <p:nvSpPr>
          <p:cNvPr id="2" name="Titel 1">
            <a:extLst>
              <a:ext uri="{FF2B5EF4-FFF2-40B4-BE49-F238E27FC236}">
                <a16:creationId xmlns:a16="http://schemas.microsoft.com/office/drawing/2014/main" id="{0526DC72-FA1D-422D-8055-3374742D122B}"/>
              </a:ext>
            </a:extLst>
          </p:cNvPr>
          <p:cNvSpPr>
            <a:spLocks noGrp="1"/>
          </p:cNvSpPr>
          <p:nvPr>
            <p:ph type="title"/>
          </p:nvPr>
        </p:nvSpPr>
        <p:spPr>
          <a:xfrm>
            <a:off x="815952" y="733402"/>
            <a:ext cx="4931999" cy="767737"/>
          </a:xfrm>
        </p:spPr>
        <p:txBody>
          <a:bodyPr/>
          <a:lstStyle>
            <a:lvl1pPr>
              <a:lnSpc>
                <a:spcPct val="100000"/>
              </a:lnSpc>
              <a:defRPr/>
            </a:lvl1pPr>
          </a:lstStyle>
          <a:p>
            <a:r>
              <a:rPr lang="de-DE"/>
              <a:t>Mastertitelformat bearbeiten</a:t>
            </a:r>
          </a:p>
        </p:txBody>
      </p:sp>
      <p:sp>
        <p:nvSpPr>
          <p:cNvPr id="3" name="Foliennummernplatzhalter 2">
            <a:extLst>
              <a:ext uri="{FF2B5EF4-FFF2-40B4-BE49-F238E27FC236}">
                <a16:creationId xmlns:a16="http://schemas.microsoft.com/office/drawing/2014/main" id="{5B327254-466C-4606-8589-BCC72CBDADDF}"/>
              </a:ext>
            </a:extLst>
          </p:cNvPr>
          <p:cNvSpPr>
            <a:spLocks noGrp="1"/>
          </p:cNvSpPr>
          <p:nvPr>
            <p:ph type="sldNum" sz="quarter" idx="10"/>
          </p:nvPr>
        </p:nvSpPr>
        <p:spPr/>
        <p:txBody>
          <a:bodyPr/>
          <a:lstStyle/>
          <a:p>
            <a:fld id="{A04BEB4F-8CE1-4F18-986F-6CE0A0BE9470}" type="slidenum">
              <a:rPr lang="de-DE" smtClean="0"/>
              <a:t>‹#›</a:t>
            </a:fld>
            <a:endParaRPr lang="de-DE"/>
          </a:p>
        </p:txBody>
      </p:sp>
      <p:sp>
        <p:nvSpPr>
          <p:cNvPr id="5" name="Textplatzhalter 9">
            <a:extLst>
              <a:ext uri="{FF2B5EF4-FFF2-40B4-BE49-F238E27FC236}">
                <a16:creationId xmlns:a16="http://schemas.microsoft.com/office/drawing/2014/main" id="{6024922C-391C-46EA-9F1C-F5344AAB64C8}"/>
              </a:ext>
            </a:extLst>
          </p:cNvPr>
          <p:cNvSpPr>
            <a:spLocks noGrp="1"/>
          </p:cNvSpPr>
          <p:nvPr>
            <p:ph type="body" sz="quarter" idx="11"/>
          </p:nvPr>
        </p:nvSpPr>
        <p:spPr>
          <a:xfrm>
            <a:off x="815951" y="1979612"/>
            <a:ext cx="4932000" cy="4338638"/>
          </a:xfrm>
          <a:prstGeom prst="rect">
            <a:avLst/>
          </a:prstGeom>
        </p:spPr>
        <p:txBody>
          <a:bodyPr lIns="0" tIns="0" rIns="0" bIns="0">
            <a:normAutofit/>
          </a:bodyPr>
          <a:lstStyle>
            <a:lvl1pPr>
              <a:defRPr sz="1800"/>
            </a:lvl1pPr>
            <a:lvl2pPr>
              <a:defRPr sz="1800"/>
            </a:lvl2pPr>
            <a:lvl3pPr>
              <a:defRPr sz="1800"/>
            </a:lvl3pPr>
            <a:lvl4pPr>
              <a:defRPr sz="1800"/>
            </a:lvl4pPr>
            <a:lvl5pPr>
              <a:defRPr sz="18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9" name="Bildplatzhalter 18">
            <a:extLst>
              <a:ext uri="{FF2B5EF4-FFF2-40B4-BE49-F238E27FC236}">
                <a16:creationId xmlns:a16="http://schemas.microsoft.com/office/drawing/2014/main" id="{77258955-00DA-42C8-B30E-18F06F9412BA}"/>
              </a:ext>
            </a:extLst>
          </p:cNvPr>
          <p:cNvSpPr>
            <a:spLocks noGrp="1"/>
          </p:cNvSpPr>
          <p:nvPr>
            <p:ph type="pic" sz="quarter" idx="13" hasCustomPrompt="1"/>
          </p:nvPr>
        </p:nvSpPr>
        <p:spPr>
          <a:xfrm>
            <a:off x="6931694" y="3028384"/>
            <a:ext cx="5260306" cy="2794472"/>
          </a:xfrm>
          <a:custGeom>
            <a:avLst/>
            <a:gdLst>
              <a:gd name="connsiteX0" fmla="*/ 541046 w 5260306"/>
              <a:gd name="connsiteY0" fmla="*/ 0 h 2794472"/>
              <a:gd name="connsiteX1" fmla="*/ 5260306 w 5260306"/>
              <a:gd name="connsiteY1" fmla="*/ 0 h 2794472"/>
              <a:gd name="connsiteX2" fmla="*/ 5260306 w 5260306"/>
              <a:gd name="connsiteY2" fmla="*/ 2794472 h 2794472"/>
              <a:gd name="connsiteX3" fmla="*/ 93428 w 5260306"/>
              <a:gd name="connsiteY3" fmla="*/ 2794472 h 2794472"/>
              <a:gd name="connsiteX4" fmla="*/ 0 w 5260306"/>
              <a:gd name="connsiteY4" fmla="*/ 2701044 h 2794472"/>
              <a:gd name="connsiteX5" fmla="*/ 464351 w 5260306"/>
              <a:gd name="connsiteY5" fmla="*/ 65539 h 2794472"/>
              <a:gd name="connsiteX6" fmla="*/ 541046 w 5260306"/>
              <a:gd name="connsiteY6" fmla="*/ 0 h 2794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60306" h="2794472">
                <a:moveTo>
                  <a:pt x="541046" y="0"/>
                </a:moveTo>
                <a:lnTo>
                  <a:pt x="5260306" y="0"/>
                </a:lnTo>
                <a:lnTo>
                  <a:pt x="5260306" y="2794472"/>
                </a:lnTo>
                <a:lnTo>
                  <a:pt x="93428" y="2794472"/>
                </a:lnTo>
                <a:cubicBezTo>
                  <a:pt x="41833" y="2794472"/>
                  <a:pt x="0" y="2752639"/>
                  <a:pt x="0" y="2701044"/>
                </a:cubicBezTo>
                <a:lnTo>
                  <a:pt x="464351" y="65539"/>
                </a:lnTo>
                <a:cubicBezTo>
                  <a:pt x="469929" y="27889"/>
                  <a:pt x="503395" y="0"/>
                  <a:pt x="541046" y="0"/>
                </a:cubicBezTo>
                <a:close/>
              </a:path>
            </a:pathLst>
          </a:custGeom>
        </p:spPr>
        <p:txBody>
          <a:bodyPr wrap="square">
            <a:noAutofit/>
          </a:bodyPr>
          <a:lstStyle>
            <a:lvl3pPr marL="990600" marR="0" indent="-285750" algn="l" defTabSz="1644650" rtl="0" eaLnBrk="0" fontAlgn="base" latinLnBrk="0" hangingPunct="0">
              <a:lnSpc>
                <a:spcPct val="130000"/>
              </a:lnSpc>
              <a:spcBef>
                <a:spcPct val="0"/>
              </a:spcBef>
              <a:spcAft>
                <a:spcPts val="1200"/>
              </a:spcAft>
              <a:buClr>
                <a:srgbClr val="004C99"/>
              </a:buClr>
              <a:buSzPct val="120000"/>
              <a:defRPr/>
            </a:lvl3pPr>
          </a:lstStyle>
          <a:p>
            <a:pPr marL="990600" marR="0" lvl="2" indent="-285750" algn="l" defTabSz="1644650" rtl="0" eaLnBrk="0" fontAlgn="base" latinLnBrk="0" hangingPunct="0">
              <a:lnSpc>
                <a:spcPct val="130000"/>
              </a:lnSpc>
              <a:spcBef>
                <a:spcPct val="0"/>
              </a:spcBef>
              <a:spcAft>
                <a:spcPts val="1200"/>
              </a:spcAft>
              <a:buClr>
                <a:srgbClr val="004C99"/>
              </a:buClr>
              <a:buSzPct val="120000"/>
              <a:defRPr/>
            </a:pPr>
            <a:r>
              <a:rPr lang="de-DE"/>
              <a:t>Please insert image</a:t>
            </a:r>
          </a:p>
        </p:txBody>
      </p:sp>
      <p:sp>
        <p:nvSpPr>
          <p:cNvPr id="20" name="Bildplatzhalter 19">
            <a:extLst>
              <a:ext uri="{FF2B5EF4-FFF2-40B4-BE49-F238E27FC236}">
                <a16:creationId xmlns:a16="http://schemas.microsoft.com/office/drawing/2014/main" id="{77C1DD81-6416-4666-94E0-96C26901803C}"/>
              </a:ext>
            </a:extLst>
          </p:cNvPr>
          <p:cNvSpPr>
            <a:spLocks noGrp="1"/>
          </p:cNvSpPr>
          <p:nvPr>
            <p:ph type="pic" sz="quarter" idx="14" hasCustomPrompt="1"/>
          </p:nvPr>
        </p:nvSpPr>
        <p:spPr>
          <a:xfrm>
            <a:off x="7467388" y="-19877"/>
            <a:ext cx="4724613" cy="2795867"/>
          </a:xfrm>
          <a:custGeom>
            <a:avLst/>
            <a:gdLst>
              <a:gd name="connsiteX0" fmla="*/ 553370 w 4724613"/>
              <a:gd name="connsiteY0" fmla="*/ 0 h 2795867"/>
              <a:gd name="connsiteX1" fmla="*/ 4724613 w 4724613"/>
              <a:gd name="connsiteY1" fmla="*/ 0 h 2795867"/>
              <a:gd name="connsiteX2" fmla="*/ 4724613 w 4724613"/>
              <a:gd name="connsiteY2" fmla="*/ 2795867 h 2795867"/>
              <a:gd name="connsiteX3" fmla="*/ 79258 w 4724613"/>
              <a:gd name="connsiteY3" fmla="*/ 2795867 h 2795867"/>
              <a:gd name="connsiteX4" fmla="*/ 1169 w 4724613"/>
              <a:gd name="connsiteY4" fmla="*/ 2702439 h 2795867"/>
              <a:gd name="connsiteX5" fmla="*/ 459942 w 4724613"/>
              <a:gd name="connsiteY5" fmla="*/ 93428 h 2795867"/>
              <a:gd name="connsiteX6" fmla="*/ 553370 w 4724613"/>
              <a:gd name="connsiteY6" fmla="*/ 0 h 2795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24613" h="2795867">
                <a:moveTo>
                  <a:pt x="553370" y="0"/>
                </a:moveTo>
                <a:lnTo>
                  <a:pt x="4724613" y="0"/>
                </a:lnTo>
                <a:lnTo>
                  <a:pt x="4724613" y="2795867"/>
                </a:lnTo>
                <a:lnTo>
                  <a:pt x="79258" y="2795867"/>
                </a:lnTo>
                <a:cubicBezTo>
                  <a:pt x="30452" y="2795867"/>
                  <a:pt x="-7198" y="2751245"/>
                  <a:pt x="1169" y="2702439"/>
                </a:cubicBezTo>
                <a:lnTo>
                  <a:pt x="459942" y="93428"/>
                </a:lnTo>
                <a:cubicBezTo>
                  <a:pt x="459942" y="41833"/>
                  <a:pt x="501775" y="0"/>
                  <a:pt x="553370" y="0"/>
                </a:cubicBezTo>
                <a:close/>
              </a:path>
            </a:pathLst>
          </a:custGeom>
        </p:spPr>
        <p:txBody>
          <a:bodyPr wrap="square">
            <a:noAutofit/>
          </a:bodyPr>
          <a:lstStyle>
            <a:lvl1pPr marL="0" marR="0" indent="0" algn="l" defTabSz="1644650" rtl="0" eaLnBrk="0" fontAlgn="base" latinLnBrk="0" hangingPunct="0">
              <a:lnSpc>
                <a:spcPct val="130000"/>
              </a:lnSpc>
              <a:spcBef>
                <a:spcPct val="0"/>
              </a:spcBef>
              <a:spcAft>
                <a:spcPts val="1200"/>
              </a:spcAft>
              <a:buClr>
                <a:srgbClr val="004C99"/>
              </a:buClr>
              <a:buSzPct val="120000"/>
              <a:buFontTx/>
              <a:buNone/>
              <a:defRPr/>
            </a:lvl1pPr>
          </a:lstStyle>
          <a:p>
            <a:pPr marL="896938" marR="0" lvl="1" indent="-266700" algn="l" defTabSz="1644650" rtl="0" eaLnBrk="0" fontAlgn="base" latinLnBrk="0" hangingPunct="0">
              <a:lnSpc>
                <a:spcPct val="130000"/>
              </a:lnSpc>
              <a:spcBef>
                <a:spcPct val="0"/>
              </a:spcBef>
              <a:spcAft>
                <a:spcPts val="1200"/>
              </a:spcAft>
              <a:buClr>
                <a:srgbClr val="004C99"/>
              </a:buClr>
              <a:buSzPct val="120000"/>
              <a:buFontTx/>
              <a:buBlip>
                <a:blip r:embed="rId2"/>
              </a:buBlip>
              <a:defRPr/>
            </a:pPr>
            <a:r>
              <a:rPr lang="de-DE"/>
              <a:t>Please insert image</a:t>
            </a:r>
          </a:p>
          <a:p>
            <a:endParaRPr lang="de-DE"/>
          </a:p>
        </p:txBody>
      </p:sp>
    </p:spTree>
    <p:extLst>
      <p:ext uri="{BB962C8B-B14F-4D97-AF65-F5344CB8AC3E}">
        <p14:creationId xmlns:p14="http://schemas.microsoft.com/office/powerpoint/2010/main" val="3357657623"/>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8" dur="1000" decel="10000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0-#ppt_w/2"/>
                                          </p:val>
                                        </p:tav>
                                        <p:tav tm="100000">
                                          <p:val>
                                            <p:strVal val="#ppt_x"/>
                                          </p:val>
                                        </p:tav>
                                      </p:tavLst>
                                    </p:anim>
                                    <p:anim calcmode="lin" valueType="num">
                                      <p:cBhvr additive="base">
                                        <p:cTn id="8" dur="1000" fill="hold"/>
                                        <p:tgtEl>
                                          <p:spTgt spid="2"/>
                                        </p:tgtEl>
                                        <p:attrNameLst>
                                          <p:attrName>ppt_y</p:attrName>
                                        </p:attrNameLst>
                                      </p:cBhvr>
                                      <p:tavLst>
                                        <p:tav tm="0">
                                          <p:val>
                                            <p:strVal val="#ppt_y"/>
                                          </p:val>
                                        </p:tav>
                                        <p:tav tm="100000">
                                          <p:val>
                                            <p:strVal val="#ppt_y"/>
                                          </p:val>
                                        </p:tav>
                                      </p:tavLst>
                                    </p:anim>
                                  </p:childTnLst>
                                </p:cTn>
                              </p:par>
                              <p:par>
                                <p:cTn id="9" presetID="2" presetClass="entr" presetSubtype="8" dur="1000" decel="100000" fill="hold" grpId="0" nodeType="withEffect">
                                  <p:stCondLst>
                                    <p:cond delay="25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1000" fill="hold"/>
                                        <p:tgtEl>
                                          <p:spTgt spid="5"/>
                                        </p:tgtEl>
                                        <p:attrNameLst>
                                          <p:attrName>ppt_x</p:attrName>
                                        </p:attrNameLst>
                                      </p:cBhvr>
                                      <p:tavLst>
                                        <p:tav tm="0">
                                          <p:val>
                                            <p:strVal val="0-#ppt_w/2"/>
                                          </p:val>
                                        </p:tav>
                                        <p:tav tm="100000">
                                          <p:val>
                                            <p:strVal val="#ppt_x"/>
                                          </p:val>
                                        </p:tav>
                                      </p:tavLst>
                                    </p:anim>
                                    <p:anim calcmode="lin" valueType="num">
                                      <p:cBhvr additive="base">
                                        <p:cTn id="12" dur="1000" fill="hold"/>
                                        <p:tgtEl>
                                          <p:spTgt spid="5"/>
                                        </p:tgtEl>
                                        <p:attrNameLst>
                                          <p:attrName>ppt_y</p:attrName>
                                        </p:attrNameLst>
                                      </p:cBhvr>
                                      <p:tavLst>
                                        <p:tav tm="0">
                                          <p:val>
                                            <p:strVal val="#ppt_y"/>
                                          </p:val>
                                        </p:tav>
                                        <p:tav tm="100000">
                                          <p:val>
                                            <p:strVal val="#ppt_y"/>
                                          </p:val>
                                        </p:tav>
                                      </p:tavLst>
                                    </p:anim>
                                  </p:childTnLst>
                                </p:cTn>
                              </p:par>
                              <p:par>
                                <p:cTn id="13" presetID="2" presetClass="entr" presetSubtype="2" dur="1000" decel="100000" fill="hold" grpId="0" nodeType="withEffect">
                                  <p:stCondLst>
                                    <p:cond delay="500"/>
                                  </p:stCondLst>
                                  <p:childTnLst>
                                    <p:set>
                                      <p:cBhvr>
                                        <p:cTn id="14" dur="1" fill="hold">
                                          <p:stCondLst>
                                            <p:cond delay="0"/>
                                          </p:stCondLst>
                                        </p:cTn>
                                        <p:tgtEl>
                                          <p:spTgt spid="20"/>
                                        </p:tgtEl>
                                        <p:attrNameLst>
                                          <p:attrName>style.visibility</p:attrName>
                                        </p:attrNameLst>
                                      </p:cBhvr>
                                      <p:to>
                                        <p:strVal val="visible"/>
                                      </p:to>
                                    </p:set>
                                    <p:anim calcmode="lin" valueType="num">
                                      <p:cBhvr additive="base">
                                        <p:cTn id="15" dur="1000" fill="hold"/>
                                        <p:tgtEl>
                                          <p:spTgt spid="20"/>
                                        </p:tgtEl>
                                        <p:attrNameLst>
                                          <p:attrName>ppt_x</p:attrName>
                                        </p:attrNameLst>
                                      </p:cBhvr>
                                      <p:tavLst>
                                        <p:tav tm="0">
                                          <p:val>
                                            <p:strVal val="1+#ppt_w/2"/>
                                          </p:val>
                                        </p:tav>
                                        <p:tav tm="100000">
                                          <p:val>
                                            <p:strVal val="#ppt_x"/>
                                          </p:val>
                                        </p:tav>
                                      </p:tavLst>
                                    </p:anim>
                                    <p:anim calcmode="lin" valueType="num">
                                      <p:cBhvr additive="base">
                                        <p:cTn id="16" dur="1000" fill="hold"/>
                                        <p:tgtEl>
                                          <p:spTgt spid="20"/>
                                        </p:tgtEl>
                                        <p:attrNameLst>
                                          <p:attrName>ppt_y</p:attrName>
                                        </p:attrNameLst>
                                      </p:cBhvr>
                                      <p:tavLst>
                                        <p:tav tm="0">
                                          <p:val>
                                            <p:strVal val="#ppt_y"/>
                                          </p:val>
                                        </p:tav>
                                        <p:tav tm="100000">
                                          <p:val>
                                            <p:strVal val="#ppt_y"/>
                                          </p:val>
                                        </p:tav>
                                      </p:tavLst>
                                    </p:anim>
                                  </p:childTnLst>
                                </p:cTn>
                              </p:par>
                              <p:par>
                                <p:cTn id="17" presetID="2" presetClass="entr" presetSubtype="2" dur="1000" decel="100000" fill="hold" grpId="0" nodeType="withEffect">
                                  <p:stCondLst>
                                    <p:cond delay="750"/>
                                  </p:stCondLst>
                                  <p:childTnLst>
                                    <p:set>
                                      <p:cBhvr>
                                        <p:cTn id="18" dur="1" fill="hold">
                                          <p:stCondLst>
                                            <p:cond delay="0"/>
                                          </p:stCondLst>
                                        </p:cTn>
                                        <p:tgtEl>
                                          <p:spTgt spid="19"/>
                                        </p:tgtEl>
                                        <p:attrNameLst>
                                          <p:attrName>style.visibility</p:attrName>
                                        </p:attrNameLst>
                                      </p:cBhvr>
                                      <p:to>
                                        <p:strVal val="visible"/>
                                      </p:to>
                                    </p:set>
                                    <p:anim calcmode="lin" valueType="num">
                                      <p:cBhvr additive="base">
                                        <p:cTn id="19" dur="1000" fill="hold"/>
                                        <p:tgtEl>
                                          <p:spTgt spid="19"/>
                                        </p:tgtEl>
                                        <p:attrNameLst>
                                          <p:attrName>ppt_x</p:attrName>
                                        </p:attrNameLst>
                                      </p:cBhvr>
                                      <p:tavLst>
                                        <p:tav tm="0">
                                          <p:val>
                                            <p:strVal val="1+#ppt_w/2"/>
                                          </p:val>
                                        </p:tav>
                                        <p:tav tm="100000">
                                          <p:val>
                                            <p:strVal val="#ppt_x"/>
                                          </p:val>
                                        </p:tav>
                                      </p:tavLst>
                                    </p:anim>
                                    <p:anim calcmode="lin" valueType="num">
                                      <p:cBhvr additive="base">
                                        <p:cTn id="20" dur="1000" fill="hold"/>
                                        <p:tgtEl>
                                          <p:spTgt spid="1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2" presetClass="entr" presetSubtype="8" decel="100000" fill="hold" nodeType="withEffect">
                  <p:stCondLst>
                    <p:cond delay="250"/>
                  </p:stCondLst>
                  <p:childTnLst>
                    <p:set>
                      <p:cBhvr>
                        <p:cTn dur="1" fill="hold">
                          <p:stCondLst>
                            <p:cond delay="0"/>
                          </p:stCondLst>
                        </p:cTn>
                        <p:tgtEl>
                          <p:spTgt spid="5"/>
                        </p:tgtEl>
                        <p:attrNameLst>
                          <p:attrName>style.visibility</p:attrName>
                        </p:attrNameLst>
                      </p:cBhvr>
                      <p:to>
                        <p:strVal val="visible"/>
                      </p:to>
                    </p:set>
                    <p:anim calcmode="lin" valueType="num">
                      <p:cBhvr additive="base">
                        <p:cTn dur="1000" fill="hold"/>
                        <p:tgtEl>
                          <p:spTgt spid="5"/>
                        </p:tgtEl>
                        <p:attrNameLst>
                          <p:attrName>ppt_x</p:attrName>
                        </p:attrNameLst>
                      </p:cBhvr>
                      <p:tavLst>
                        <p:tav tm="0">
                          <p:val>
                            <p:strVal val="0-#ppt_w/2"/>
                          </p:val>
                        </p:tav>
                        <p:tav tm="100000">
                          <p:val>
                            <p:strVal val="#ppt_x"/>
                          </p:val>
                        </p:tav>
                      </p:tavLst>
                    </p:anim>
                    <p:anim calcmode="lin" valueType="num">
                      <p:cBhvr additive="base">
                        <p:cTn dur="1000" fill="hold"/>
                        <p:tgtEl>
                          <p:spTgt spid="5"/>
                        </p:tgtEl>
                        <p:attrNameLst>
                          <p:attrName>ppt_y</p:attrName>
                        </p:attrNameLst>
                      </p:cBhvr>
                      <p:tavLst>
                        <p:tav tm="0">
                          <p:val>
                            <p:strVal val="#ppt_y"/>
                          </p:val>
                        </p:tav>
                        <p:tav tm="100000">
                          <p:val>
                            <p:strVal val="#ppt_y"/>
                          </p:val>
                        </p:tav>
                      </p:tavLst>
                    </p:anim>
                  </p:childTnLst>
                </p:cTn>
              </p:par>
            </p:tnLst>
          </p:tmpl>
        </p:tmplLst>
      </p:bldP>
      <p:bldP spid="19" grpId="0"/>
      <p:bldP spid="20" grpId="0"/>
    </p:bld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86_Custom Layout">
    <p:bg>
      <p:bgPr>
        <a:solidFill>
          <a:schemeClr val="bg1"/>
        </a:solidFill>
        <a:effectLst/>
      </p:bgPr>
    </p:bg>
    <p:spTree>
      <p:nvGrpSpPr>
        <p:cNvPr id="1" name=""/>
        <p:cNvGrpSpPr/>
        <p:nvPr/>
      </p:nvGrpSpPr>
      <p:grpSpPr>
        <a:xfrm>
          <a:off x="0" y="0"/>
          <a:ext cx="0" cy="0"/>
          <a:chOff x="0" y="0"/>
          <a:chExt cx="0" cy="0"/>
        </a:xfrm>
      </p:grpSpPr>
      <p:sp>
        <p:nvSpPr>
          <p:cNvPr id="11" name="Picture Placeholder 6">
            <a:extLst>
              <a:ext uri="{FF2B5EF4-FFF2-40B4-BE49-F238E27FC236}">
                <a16:creationId xmlns:a16="http://schemas.microsoft.com/office/drawing/2014/main" id="{97F12BB4-E64D-4CC7-BB98-979542600629}"/>
              </a:ext>
            </a:extLst>
          </p:cNvPr>
          <p:cNvSpPr>
            <a:spLocks noGrp="1"/>
          </p:cNvSpPr>
          <p:nvPr>
            <p:ph type="pic" sz="quarter" idx="13" hasCustomPrompt="1"/>
          </p:nvPr>
        </p:nvSpPr>
        <p:spPr>
          <a:xfrm>
            <a:off x="4284699" y="24182"/>
            <a:ext cx="3565696" cy="658368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rot lat="3000000" lon="3000000" rev="3960000"/>
            </a:camera>
            <a:lightRig rig="threePt" dir="t"/>
          </a:scene3d>
          <a:sp3d prstMaterial="matte"/>
        </p:spPr>
        <p:txBody>
          <a:bodyPr wrap="square" anchor="ctr">
            <a:noAutofit/>
          </a:bodyPr>
          <a:lstStyle>
            <a:lvl1pPr marL="0" indent="0" algn="ctr">
              <a:buFontTx/>
              <a:buNone/>
              <a:defRPr sz="1200"/>
            </a:lvl1pPr>
          </a:lstStyle>
          <a:p>
            <a:r>
              <a:rPr lang="en-US"/>
              <a:t> </a:t>
            </a:r>
          </a:p>
        </p:txBody>
      </p:sp>
      <p:sp>
        <p:nvSpPr>
          <p:cNvPr id="14" name="Picture Placeholder 6">
            <a:extLst>
              <a:ext uri="{FF2B5EF4-FFF2-40B4-BE49-F238E27FC236}">
                <a16:creationId xmlns:a16="http://schemas.microsoft.com/office/drawing/2014/main" id="{529CB4CC-F54C-4AA5-8343-ACE0D81CE77F}"/>
              </a:ext>
            </a:extLst>
          </p:cNvPr>
          <p:cNvSpPr>
            <a:spLocks noGrp="1"/>
          </p:cNvSpPr>
          <p:nvPr>
            <p:ph type="pic" sz="quarter" idx="16" hasCustomPrompt="1"/>
          </p:nvPr>
        </p:nvSpPr>
        <p:spPr>
          <a:xfrm>
            <a:off x="7670801" y="2007234"/>
            <a:ext cx="3565696" cy="658368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rot lat="18600000" lon="3000000" rev="17640000"/>
            </a:camera>
            <a:lightRig rig="threePt" dir="t"/>
          </a:scene3d>
          <a:sp3d prstMaterial="matte"/>
        </p:spPr>
        <p:txBody>
          <a:bodyPr wrap="square" anchor="ctr">
            <a:noAutofit/>
          </a:bodyPr>
          <a:lstStyle>
            <a:lvl1pPr marL="0" indent="0" algn="ctr">
              <a:buFontTx/>
              <a:buNone/>
              <a:defRPr sz="1200"/>
            </a:lvl1pPr>
          </a:lstStyle>
          <a:p>
            <a:r>
              <a:rPr lang="en-US"/>
              <a:t> </a:t>
            </a:r>
          </a:p>
        </p:txBody>
      </p:sp>
      <p:sp>
        <p:nvSpPr>
          <p:cNvPr id="24" name="Picture Placeholder 6">
            <a:extLst>
              <a:ext uri="{FF2B5EF4-FFF2-40B4-BE49-F238E27FC236}">
                <a16:creationId xmlns:a16="http://schemas.microsoft.com/office/drawing/2014/main" id="{3D99A0DA-7D07-4249-A498-3ECFEC79A936}"/>
              </a:ext>
            </a:extLst>
          </p:cNvPr>
          <p:cNvSpPr>
            <a:spLocks noGrp="1"/>
          </p:cNvSpPr>
          <p:nvPr>
            <p:ph type="pic" sz="quarter" idx="17" hasCustomPrompt="1"/>
          </p:nvPr>
        </p:nvSpPr>
        <p:spPr>
          <a:xfrm>
            <a:off x="4405964" y="4005045"/>
            <a:ext cx="3565696" cy="658368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rot lat="3000000" lon="3000000" rev="3960000"/>
            </a:camera>
            <a:lightRig rig="threePt" dir="t"/>
          </a:scene3d>
          <a:sp3d prstMaterial="matte"/>
        </p:spPr>
        <p:txBody>
          <a:bodyPr wrap="square" anchor="ctr">
            <a:noAutofit/>
          </a:bodyPr>
          <a:lstStyle>
            <a:lvl1pPr marL="0" indent="0" algn="ctr">
              <a:buFontTx/>
              <a:buNone/>
              <a:defRPr sz="1200"/>
            </a:lvl1pPr>
          </a:lstStyle>
          <a:p>
            <a:r>
              <a:rPr lang="en-US"/>
              <a:t> </a:t>
            </a:r>
          </a:p>
        </p:txBody>
      </p:sp>
      <p:sp>
        <p:nvSpPr>
          <p:cNvPr id="25" name="Picture Placeholder 6">
            <a:extLst>
              <a:ext uri="{FF2B5EF4-FFF2-40B4-BE49-F238E27FC236}">
                <a16:creationId xmlns:a16="http://schemas.microsoft.com/office/drawing/2014/main" id="{A40C83F4-4617-45B0-AEBC-B7A1DAEE8A4F}"/>
              </a:ext>
            </a:extLst>
          </p:cNvPr>
          <p:cNvSpPr>
            <a:spLocks noGrp="1"/>
          </p:cNvSpPr>
          <p:nvPr>
            <p:ph type="pic" sz="quarter" idx="18" hasCustomPrompt="1"/>
          </p:nvPr>
        </p:nvSpPr>
        <p:spPr>
          <a:xfrm>
            <a:off x="939785" y="2035093"/>
            <a:ext cx="3565696" cy="658368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rot lat="18600000" lon="3000000" rev="17640000"/>
            </a:camera>
            <a:lightRig rig="threePt" dir="t"/>
          </a:scene3d>
          <a:sp3d prstMaterial="matte"/>
        </p:spPr>
        <p:txBody>
          <a:bodyPr wrap="square" anchor="ctr">
            <a:noAutofit/>
          </a:bodyPr>
          <a:lstStyle>
            <a:lvl1pPr marL="0" indent="0" algn="ctr">
              <a:buFontTx/>
              <a:buNone/>
              <a:defRPr sz="1200"/>
            </a:lvl1pPr>
          </a:lstStyle>
          <a:p>
            <a:r>
              <a:rPr lang="en-US"/>
              <a:t> </a:t>
            </a:r>
          </a:p>
        </p:txBody>
      </p:sp>
      <p:sp>
        <p:nvSpPr>
          <p:cNvPr id="26" name="Picture Placeholder 6">
            <a:extLst>
              <a:ext uri="{FF2B5EF4-FFF2-40B4-BE49-F238E27FC236}">
                <a16:creationId xmlns:a16="http://schemas.microsoft.com/office/drawing/2014/main" id="{B2DDB705-8583-4205-A6AC-A0C9FE6C24C7}"/>
              </a:ext>
            </a:extLst>
          </p:cNvPr>
          <p:cNvSpPr>
            <a:spLocks noGrp="1"/>
          </p:cNvSpPr>
          <p:nvPr>
            <p:ph type="pic" sz="quarter" idx="19" hasCustomPrompt="1"/>
          </p:nvPr>
        </p:nvSpPr>
        <p:spPr>
          <a:xfrm>
            <a:off x="920738" y="-1993030"/>
            <a:ext cx="3565696" cy="658368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rot lat="18600000" lon="3000000" rev="17640000"/>
            </a:camera>
            <a:lightRig rig="threePt" dir="t"/>
          </a:scene3d>
          <a:sp3d prstMaterial="matte"/>
        </p:spPr>
        <p:txBody>
          <a:bodyPr wrap="square" anchor="ctr">
            <a:noAutofit/>
          </a:bodyPr>
          <a:lstStyle>
            <a:lvl1pPr marL="0" indent="0" algn="ctr">
              <a:buFontTx/>
              <a:buNone/>
              <a:defRPr sz="1200"/>
            </a:lvl1pPr>
          </a:lstStyle>
          <a:p>
            <a:r>
              <a:rPr lang="en-US"/>
              <a:t> </a:t>
            </a:r>
          </a:p>
        </p:txBody>
      </p:sp>
      <p:sp>
        <p:nvSpPr>
          <p:cNvPr id="27" name="Picture Placeholder 6">
            <a:extLst>
              <a:ext uri="{FF2B5EF4-FFF2-40B4-BE49-F238E27FC236}">
                <a16:creationId xmlns:a16="http://schemas.microsoft.com/office/drawing/2014/main" id="{F041FFFF-ABCB-478C-81C8-2748EDA068E5}"/>
              </a:ext>
            </a:extLst>
          </p:cNvPr>
          <p:cNvSpPr>
            <a:spLocks noGrp="1"/>
          </p:cNvSpPr>
          <p:nvPr>
            <p:ph type="pic" sz="quarter" idx="20" hasCustomPrompt="1"/>
          </p:nvPr>
        </p:nvSpPr>
        <p:spPr>
          <a:xfrm>
            <a:off x="7637782" y="-1985773"/>
            <a:ext cx="3565696" cy="658368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rot lat="18600000" lon="3000000" rev="17640000"/>
            </a:camera>
            <a:lightRig rig="threePt" dir="t"/>
          </a:scene3d>
          <a:sp3d prstMaterial="matte"/>
        </p:spPr>
        <p:txBody>
          <a:bodyPr wrap="square" anchor="ctr">
            <a:noAutofit/>
          </a:bodyPr>
          <a:lstStyle>
            <a:lvl1pPr marL="0" indent="0" algn="ctr">
              <a:buFontTx/>
              <a:buNone/>
              <a:defRPr sz="1200"/>
            </a:lvl1pPr>
          </a:lstStyle>
          <a:p>
            <a:r>
              <a:rPr lang="en-US"/>
              <a:t> </a:t>
            </a:r>
          </a:p>
        </p:txBody>
      </p:sp>
      <p:sp>
        <p:nvSpPr>
          <p:cNvPr id="28" name="Picture Placeholder 6">
            <a:extLst>
              <a:ext uri="{FF2B5EF4-FFF2-40B4-BE49-F238E27FC236}">
                <a16:creationId xmlns:a16="http://schemas.microsoft.com/office/drawing/2014/main" id="{E8C46F02-D220-4F1D-A205-CD188B1EADC6}"/>
              </a:ext>
            </a:extLst>
          </p:cNvPr>
          <p:cNvSpPr>
            <a:spLocks noGrp="1"/>
          </p:cNvSpPr>
          <p:nvPr>
            <p:ph type="pic" sz="quarter" idx="21" hasCustomPrompt="1"/>
          </p:nvPr>
        </p:nvSpPr>
        <p:spPr>
          <a:xfrm>
            <a:off x="11021082" y="5552"/>
            <a:ext cx="3565696" cy="658368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rot lat="3000000" lon="3000000" rev="3960000"/>
            </a:camera>
            <a:lightRig rig="threePt" dir="t"/>
          </a:scene3d>
          <a:sp3d prstMaterial="matte"/>
        </p:spPr>
        <p:txBody>
          <a:bodyPr wrap="square" anchor="ctr">
            <a:noAutofit/>
          </a:bodyPr>
          <a:lstStyle>
            <a:lvl1pPr marL="0" indent="0" algn="ctr">
              <a:buFontTx/>
              <a:buNone/>
              <a:defRPr sz="1200"/>
            </a:lvl1pPr>
          </a:lstStyle>
          <a:p>
            <a:r>
              <a:rPr lang="en-US"/>
              <a:t> </a:t>
            </a:r>
          </a:p>
        </p:txBody>
      </p:sp>
      <p:sp>
        <p:nvSpPr>
          <p:cNvPr id="29" name="Picture Placeholder 6">
            <a:extLst>
              <a:ext uri="{FF2B5EF4-FFF2-40B4-BE49-F238E27FC236}">
                <a16:creationId xmlns:a16="http://schemas.microsoft.com/office/drawing/2014/main" id="{EF1A4BA8-0A92-4533-9270-471B0E0C082E}"/>
              </a:ext>
            </a:extLst>
          </p:cNvPr>
          <p:cNvSpPr>
            <a:spLocks noGrp="1"/>
          </p:cNvSpPr>
          <p:nvPr>
            <p:ph type="pic" sz="quarter" idx="22" hasCustomPrompt="1"/>
          </p:nvPr>
        </p:nvSpPr>
        <p:spPr>
          <a:xfrm>
            <a:off x="4288626" y="-4013106"/>
            <a:ext cx="3565696" cy="658368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rot lat="3000000" lon="3000000" rev="3960000"/>
            </a:camera>
            <a:lightRig rig="threePt" dir="t"/>
          </a:scene3d>
          <a:sp3d prstMaterial="matte"/>
        </p:spPr>
        <p:txBody>
          <a:bodyPr wrap="square" anchor="ctr">
            <a:noAutofit/>
          </a:bodyPr>
          <a:lstStyle>
            <a:lvl1pPr marL="0" indent="0" algn="ctr">
              <a:buFontTx/>
              <a:buNone/>
              <a:defRPr sz="1200"/>
            </a:lvl1pPr>
          </a:lstStyle>
          <a:p>
            <a:r>
              <a:rPr lang="en-US"/>
              <a:t> </a:t>
            </a:r>
          </a:p>
        </p:txBody>
      </p:sp>
      <p:sp>
        <p:nvSpPr>
          <p:cNvPr id="32" name="Picture Placeholder 6">
            <a:extLst>
              <a:ext uri="{FF2B5EF4-FFF2-40B4-BE49-F238E27FC236}">
                <a16:creationId xmlns:a16="http://schemas.microsoft.com/office/drawing/2014/main" id="{9DC83989-293D-49EE-BAB8-4BA6670BF53C}"/>
              </a:ext>
            </a:extLst>
          </p:cNvPr>
          <p:cNvSpPr>
            <a:spLocks noGrp="1"/>
          </p:cNvSpPr>
          <p:nvPr>
            <p:ph type="pic" sz="quarter" idx="23" hasCustomPrompt="1"/>
          </p:nvPr>
        </p:nvSpPr>
        <p:spPr>
          <a:xfrm>
            <a:off x="-2510582" y="3574"/>
            <a:ext cx="3565696" cy="658368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rot lat="3000000" lon="3000000" rev="3960000"/>
            </a:camera>
            <a:lightRig rig="threePt" dir="t"/>
          </a:scene3d>
          <a:sp3d prstMaterial="matte"/>
        </p:spPr>
        <p:txBody>
          <a:bodyPr wrap="square" anchor="ctr">
            <a:noAutofit/>
          </a:bodyPr>
          <a:lstStyle>
            <a:lvl1pPr marL="0" indent="0" algn="ctr">
              <a:buFontTx/>
              <a:buNone/>
              <a:defRPr sz="1200"/>
            </a:lvl1pPr>
          </a:lstStyle>
          <a:p>
            <a:r>
              <a:rPr lang="en-US"/>
              <a:t> </a:t>
            </a:r>
          </a:p>
        </p:txBody>
      </p:sp>
    </p:spTree>
    <p:extLst>
      <p:ext uri="{BB962C8B-B14F-4D97-AF65-F5344CB8AC3E}">
        <p14:creationId xmlns:p14="http://schemas.microsoft.com/office/powerpoint/2010/main" val="1662949428"/>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10" presetClass="entr" presetSubtype="0" dur="300" fill="hold" grpId="0" nodeType="withEffect">
                                  <p:stCondLst>
                                    <p:cond delay="130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300"/>
                                        <p:tgtEl>
                                          <p:spTgt spid="11"/>
                                        </p:tgtEl>
                                      </p:cBhvr>
                                    </p:animEffect>
                                  </p:childTnLst>
                                </p:cTn>
                              </p:par>
                              <p:par>
                                <p:cTn id="8" presetID="10" presetClass="entr" presetSubtype="0" dur="300" fill="hold" grpId="0" nodeType="withEffect">
                                  <p:stCondLst>
                                    <p:cond delay="2300"/>
                                  </p:stCondLst>
                                  <p:childTnLst>
                                    <p:set>
                                      <p:cBhvr>
                                        <p:cTn id="9" dur="1" fill="hold">
                                          <p:stCondLst>
                                            <p:cond delay="0"/>
                                          </p:stCondLst>
                                        </p:cTn>
                                        <p:tgtEl>
                                          <p:spTgt spid="14"/>
                                        </p:tgtEl>
                                        <p:attrNameLst>
                                          <p:attrName>style.visibility</p:attrName>
                                        </p:attrNameLst>
                                      </p:cBhvr>
                                      <p:to>
                                        <p:strVal val="visible"/>
                                      </p:to>
                                    </p:set>
                                    <p:animEffect transition="in" filter="fade">
                                      <p:cBhvr>
                                        <p:cTn id="10" dur="300"/>
                                        <p:tgtEl>
                                          <p:spTgt spid="14"/>
                                        </p:tgtEl>
                                      </p:cBhvr>
                                    </p:animEffect>
                                  </p:childTnLst>
                                </p:cTn>
                              </p:par>
                              <p:par>
                                <p:cTn id="11" presetID="10" presetClass="entr" presetSubtype="0" dur="300" fill="hold" grpId="0" nodeType="withEffect">
                                  <p:stCondLst>
                                    <p:cond delay="2400"/>
                                  </p:stCondLst>
                                  <p:childTnLst>
                                    <p:set>
                                      <p:cBhvr>
                                        <p:cTn id="12" dur="1" fill="hold">
                                          <p:stCondLst>
                                            <p:cond delay="0"/>
                                          </p:stCondLst>
                                        </p:cTn>
                                        <p:tgtEl>
                                          <p:spTgt spid="24"/>
                                        </p:tgtEl>
                                        <p:attrNameLst>
                                          <p:attrName>style.visibility</p:attrName>
                                        </p:attrNameLst>
                                      </p:cBhvr>
                                      <p:to>
                                        <p:strVal val="visible"/>
                                      </p:to>
                                    </p:set>
                                    <p:animEffect transition="in" filter="fade">
                                      <p:cBhvr>
                                        <p:cTn id="13" dur="300"/>
                                        <p:tgtEl>
                                          <p:spTgt spid="24"/>
                                        </p:tgtEl>
                                      </p:cBhvr>
                                    </p:animEffect>
                                  </p:childTnLst>
                                </p:cTn>
                              </p:par>
                              <p:par>
                                <p:cTn id="14" presetID="10" presetClass="entr" presetSubtype="0" dur="300" fill="hold" grpId="0" nodeType="withEffect">
                                  <p:stCondLst>
                                    <p:cond delay="2500"/>
                                  </p:stCondLst>
                                  <p:childTnLst>
                                    <p:set>
                                      <p:cBhvr>
                                        <p:cTn id="15" dur="1" fill="hold">
                                          <p:stCondLst>
                                            <p:cond delay="0"/>
                                          </p:stCondLst>
                                        </p:cTn>
                                        <p:tgtEl>
                                          <p:spTgt spid="25"/>
                                        </p:tgtEl>
                                        <p:attrNameLst>
                                          <p:attrName>style.visibility</p:attrName>
                                        </p:attrNameLst>
                                      </p:cBhvr>
                                      <p:to>
                                        <p:strVal val="visible"/>
                                      </p:to>
                                    </p:set>
                                    <p:animEffect transition="in" filter="fade">
                                      <p:cBhvr>
                                        <p:cTn id="16" dur="300"/>
                                        <p:tgtEl>
                                          <p:spTgt spid="25"/>
                                        </p:tgtEl>
                                      </p:cBhvr>
                                    </p:animEffect>
                                  </p:childTnLst>
                                </p:cTn>
                              </p:par>
                              <p:par>
                                <p:cTn id="17" presetID="10" presetClass="entr" presetSubtype="0" dur="300" fill="hold" grpId="0" nodeType="withEffect">
                                  <p:stCondLst>
                                    <p:cond delay="2600"/>
                                  </p:stCondLst>
                                  <p:childTnLst>
                                    <p:set>
                                      <p:cBhvr>
                                        <p:cTn id="18" dur="1" fill="hold">
                                          <p:stCondLst>
                                            <p:cond delay="0"/>
                                          </p:stCondLst>
                                        </p:cTn>
                                        <p:tgtEl>
                                          <p:spTgt spid="32"/>
                                        </p:tgtEl>
                                        <p:attrNameLst>
                                          <p:attrName>style.visibility</p:attrName>
                                        </p:attrNameLst>
                                      </p:cBhvr>
                                      <p:to>
                                        <p:strVal val="visible"/>
                                      </p:to>
                                    </p:set>
                                    <p:animEffect transition="in" filter="fade">
                                      <p:cBhvr>
                                        <p:cTn id="19" dur="300"/>
                                        <p:tgtEl>
                                          <p:spTgt spid="32"/>
                                        </p:tgtEl>
                                      </p:cBhvr>
                                    </p:animEffect>
                                  </p:childTnLst>
                                </p:cTn>
                              </p:par>
                              <p:par>
                                <p:cTn id="20" presetID="10" presetClass="entr" presetSubtype="0" dur="300" fill="hold" grpId="0" nodeType="withEffect">
                                  <p:stCondLst>
                                    <p:cond delay="2700"/>
                                  </p:stCondLst>
                                  <p:childTnLst>
                                    <p:set>
                                      <p:cBhvr>
                                        <p:cTn id="21" dur="1" fill="hold">
                                          <p:stCondLst>
                                            <p:cond delay="0"/>
                                          </p:stCondLst>
                                        </p:cTn>
                                        <p:tgtEl>
                                          <p:spTgt spid="26"/>
                                        </p:tgtEl>
                                        <p:attrNameLst>
                                          <p:attrName>style.visibility</p:attrName>
                                        </p:attrNameLst>
                                      </p:cBhvr>
                                      <p:to>
                                        <p:strVal val="visible"/>
                                      </p:to>
                                    </p:set>
                                    <p:animEffect transition="in" filter="fade">
                                      <p:cBhvr>
                                        <p:cTn id="22" dur="300"/>
                                        <p:tgtEl>
                                          <p:spTgt spid="26"/>
                                        </p:tgtEl>
                                      </p:cBhvr>
                                    </p:animEffect>
                                  </p:childTnLst>
                                </p:cTn>
                              </p:par>
                              <p:par>
                                <p:cTn id="23" presetID="10" presetClass="entr" presetSubtype="0" dur="300" fill="hold" grpId="0" nodeType="withEffect">
                                  <p:stCondLst>
                                    <p:cond delay="2800"/>
                                  </p:stCondLst>
                                  <p:childTnLst>
                                    <p:set>
                                      <p:cBhvr>
                                        <p:cTn id="24" dur="1" fill="hold">
                                          <p:stCondLst>
                                            <p:cond delay="0"/>
                                          </p:stCondLst>
                                        </p:cTn>
                                        <p:tgtEl>
                                          <p:spTgt spid="29"/>
                                        </p:tgtEl>
                                        <p:attrNameLst>
                                          <p:attrName>style.visibility</p:attrName>
                                        </p:attrNameLst>
                                      </p:cBhvr>
                                      <p:to>
                                        <p:strVal val="visible"/>
                                      </p:to>
                                    </p:set>
                                    <p:animEffect transition="in" filter="fade">
                                      <p:cBhvr>
                                        <p:cTn id="25" dur="300"/>
                                        <p:tgtEl>
                                          <p:spTgt spid="29"/>
                                        </p:tgtEl>
                                      </p:cBhvr>
                                    </p:animEffect>
                                  </p:childTnLst>
                                </p:cTn>
                              </p:par>
                              <p:par>
                                <p:cTn id="26" presetID="10" presetClass="entr" presetSubtype="0" dur="300" fill="hold" grpId="0" nodeType="withEffect">
                                  <p:stCondLst>
                                    <p:cond delay="2900"/>
                                  </p:stCondLst>
                                  <p:childTnLst>
                                    <p:set>
                                      <p:cBhvr>
                                        <p:cTn id="27" dur="1" fill="hold">
                                          <p:stCondLst>
                                            <p:cond delay="0"/>
                                          </p:stCondLst>
                                        </p:cTn>
                                        <p:tgtEl>
                                          <p:spTgt spid="27"/>
                                        </p:tgtEl>
                                        <p:attrNameLst>
                                          <p:attrName>style.visibility</p:attrName>
                                        </p:attrNameLst>
                                      </p:cBhvr>
                                      <p:to>
                                        <p:strVal val="visible"/>
                                      </p:to>
                                    </p:set>
                                    <p:animEffect transition="in" filter="fade">
                                      <p:cBhvr>
                                        <p:cTn id="28" dur="300"/>
                                        <p:tgtEl>
                                          <p:spTgt spid="27"/>
                                        </p:tgtEl>
                                      </p:cBhvr>
                                    </p:animEffect>
                                  </p:childTnLst>
                                </p:cTn>
                              </p:par>
                              <p:par>
                                <p:cTn id="29" presetID="10" presetClass="entr" presetSubtype="0" dur="300" fill="hold" grpId="0" nodeType="withEffect">
                                  <p:stCondLst>
                                    <p:cond delay="3000"/>
                                  </p:stCondLst>
                                  <p:childTnLst>
                                    <p:set>
                                      <p:cBhvr>
                                        <p:cTn id="30" dur="1" fill="hold">
                                          <p:stCondLst>
                                            <p:cond delay="0"/>
                                          </p:stCondLst>
                                        </p:cTn>
                                        <p:tgtEl>
                                          <p:spTgt spid="28"/>
                                        </p:tgtEl>
                                        <p:attrNameLst>
                                          <p:attrName>style.visibility</p:attrName>
                                        </p:attrNameLst>
                                      </p:cBhvr>
                                      <p:to>
                                        <p:strVal val="visible"/>
                                      </p:to>
                                    </p:set>
                                    <p:animEffect transition="in" filter="fade">
                                      <p:cBhvr>
                                        <p:cTn id="31" dur="3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4" grpId="0" animBg="1"/>
      <p:bldP spid="24" grpId="0" animBg="1"/>
      <p:bldP spid="25" grpId="0" animBg="1"/>
      <p:bldP spid="26" grpId="0" animBg="1"/>
      <p:bldP spid="27" grpId="0" animBg="1"/>
      <p:bldP spid="28" grpId="0" animBg="1"/>
      <p:bldP spid="29" grpId="0" animBg="1"/>
      <p:bldP spid="32" grpId="0" animBg="1"/>
    </p:bld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88_Custom Layout">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F2516F8B-E0FE-4C4A-820B-A5DC7B2F2B55}"/>
              </a:ext>
            </a:extLst>
          </p:cNvPr>
          <p:cNvSpPr>
            <a:spLocks noGrp="1"/>
          </p:cNvSpPr>
          <p:nvPr>
            <p:ph type="pic" sz="quarter" idx="19" hasCustomPrompt="1"/>
          </p:nvPr>
        </p:nvSpPr>
        <p:spPr>
          <a:xfrm>
            <a:off x="4178324" y="-82822"/>
            <a:ext cx="3154269" cy="749808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rot lat="18420000" lon="3000000" rev="17310000"/>
            </a:camera>
            <a:lightRig rig="threePt" dir="t"/>
          </a:scene3d>
          <a:sp3d prstMaterial="matte"/>
        </p:spPr>
        <p:txBody>
          <a:bodyPr wrap="square" anchor="ctr">
            <a:noAutofit/>
          </a:bodyPr>
          <a:lstStyle>
            <a:lvl1pPr marL="0" indent="0" algn="ctr">
              <a:buFontTx/>
              <a:buNone/>
              <a:defRPr sz="1200"/>
            </a:lvl1pPr>
          </a:lstStyle>
          <a:p>
            <a:r>
              <a:rPr lang="en-US"/>
              <a:t> </a:t>
            </a:r>
          </a:p>
        </p:txBody>
      </p:sp>
      <p:sp>
        <p:nvSpPr>
          <p:cNvPr id="23" name="Picture Placeholder 6">
            <a:extLst>
              <a:ext uri="{FF2B5EF4-FFF2-40B4-BE49-F238E27FC236}">
                <a16:creationId xmlns:a16="http://schemas.microsoft.com/office/drawing/2014/main" id="{A4626463-2253-4697-9500-AEF47C1C3A30}"/>
              </a:ext>
            </a:extLst>
          </p:cNvPr>
          <p:cNvSpPr>
            <a:spLocks noGrp="1"/>
          </p:cNvSpPr>
          <p:nvPr>
            <p:ph type="pic" sz="quarter" idx="20" hasCustomPrompt="1"/>
          </p:nvPr>
        </p:nvSpPr>
        <p:spPr>
          <a:xfrm>
            <a:off x="9435489" y="-1820952"/>
            <a:ext cx="3154269" cy="749808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rot lat="18420000" lon="3000000" rev="17310000"/>
            </a:camera>
            <a:lightRig rig="threePt" dir="t"/>
          </a:scene3d>
          <a:sp3d prstMaterial="matte"/>
        </p:spPr>
        <p:txBody>
          <a:bodyPr wrap="square" anchor="ctr">
            <a:noAutofit/>
          </a:bodyPr>
          <a:lstStyle>
            <a:lvl1pPr marL="0" indent="0" algn="ctr">
              <a:buFontTx/>
              <a:buNone/>
              <a:defRPr sz="1200"/>
            </a:lvl1pPr>
          </a:lstStyle>
          <a:p>
            <a:r>
              <a:rPr lang="en-US"/>
              <a:t> </a:t>
            </a:r>
          </a:p>
        </p:txBody>
      </p:sp>
      <p:sp>
        <p:nvSpPr>
          <p:cNvPr id="24" name="Picture Placeholder 6">
            <a:extLst>
              <a:ext uri="{FF2B5EF4-FFF2-40B4-BE49-F238E27FC236}">
                <a16:creationId xmlns:a16="http://schemas.microsoft.com/office/drawing/2014/main" id="{7703B000-8D12-4B1A-ACB6-C06DD087F7AB}"/>
              </a:ext>
            </a:extLst>
          </p:cNvPr>
          <p:cNvSpPr>
            <a:spLocks noGrp="1"/>
          </p:cNvSpPr>
          <p:nvPr>
            <p:ph type="pic" sz="quarter" idx="21" hasCustomPrompt="1"/>
          </p:nvPr>
        </p:nvSpPr>
        <p:spPr>
          <a:xfrm>
            <a:off x="-1024430" y="1650794"/>
            <a:ext cx="3154269" cy="749808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rot lat="18420000" lon="3000000" rev="17310000"/>
            </a:camera>
            <a:lightRig rig="threePt" dir="t"/>
          </a:scene3d>
          <a:sp3d prstMaterial="matte"/>
        </p:spPr>
        <p:txBody>
          <a:bodyPr wrap="square" anchor="ctr">
            <a:noAutofit/>
          </a:bodyPr>
          <a:lstStyle>
            <a:lvl1pPr marL="0" indent="0" algn="ctr">
              <a:buFontTx/>
              <a:buNone/>
              <a:defRPr sz="1200"/>
            </a:lvl1pPr>
          </a:lstStyle>
          <a:p>
            <a:r>
              <a:rPr lang="en-US"/>
              <a:t> </a:t>
            </a:r>
          </a:p>
        </p:txBody>
      </p:sp>
      <p:sp>
        <p:nvSpPr>
          <p:cNvPr id="25" name="Picture Placeholder 6">
            <a:extLst>
              <a:ext uri="{FF2B5EF4-FFF2-40B4-BE49-F238E27FC236}">
                <a16:creationId xmlns:a16="http://schemas.microsoft.com/office/drawing/2014/main" id="{8000927B-DD2F-4561-A86B-BAA2792A8F74}"/>
              </a:ext>
            </a:extLst>
          </p:cNvPr>
          <p:cNvSpPr>
            <a:spLocks noGrp="1"/>
          </p:cNvSpPr>
          <p:nvPr>
            <p:ph type="pic" sz="quarter" idx="22" hasCustomPrompt="1"/>
          </p:nvPr>
        </p:nvSpPr>
        <p:spPr>
          <a:xfrm>
            <a:off x="-6246799" y="3379874"/>
            <a:ext cx="3154269" cy="749808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rot lat="18420000" lon="3000000" rev="17310000"/>
            </a:camera>
            <a:lightRig rig="threePt" dir="t"/>
          </a:scene3d>
          <a:sp3d prstMaterial="matte"/>
        </p:spPr>
        <p:txBody>
          <a:bodyPr wrap="square" anchor="ctr">
            <a:noAutofit/>
          </a:bodyPr>
          <a:lstStyle>
            <a:lvl1pPr marL="0" indent="0" algn="ctr">
              <a:buFontTx/>
              <a:buNone/>
              <a:defRPr sz="1200"/>
            </a:lvl1pPr>
          </a:lstStyle>
          <a:p>
            <a:r>
              <a:rPr lang="en-US"/>
              <a:t> </a:t>
            </a:r>
          </a:p>
        </p:txBody>
      </p:sp>
      <p:sp>
        <p:nvSpPr>
          <p:cNvPr id="26" name="Picture Placeholder 6">
            <a:extLst>
              <a:ext uri="{FF2B5EF4-FFF2-40B4-BE49-F238E27FC236}">
                <a16:creationId xmlns:a16="http://schemas.microsoft.com/office/drawing/2014/main" id="{0A9600A9-5EAC-4F18-91A0-4E6C5F394585}"/>
              </a:ext>
            </a:extLst>
          </p:cNvPr>
          <p:cNvSpPr>
            <a:spLocks noGrp="1"/>
          </p:cNvSpPr>
          <p:nvPr>
            <p:ph type="pic" sz="quarter" idx="23" hasCustomPrompt="1"/>
          </p:nvPr>
        </p:nvSpPr>
        <p:spPr>
          <a:xfrm>
            <a:off x="-11632841" y="5171234"/>
            <a:ext cx="3154269" cy="749808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rot lat="18420000" lon="3000000" rev="17310000"/>
            </a:camera>
            <a:lightRig rig="threePt" dir="t"/>
          </a:scene3d>
          <a:sp3d prstMaterial="matte"/>
        </p:spPr>
        <p:txBody>
          <a:bodyPr wrap="square" anchor="ctr">
            <a:noAutofit/>
          </a:bodyPr>
          <a:lstStyle>
            <a:lvl1pPr marL="0" indent="0" algn="ctr">
              <a:buFontTx/>
              <a:buNone/>
              <a:defRPr sz="1200"/>
            </a:lvl1pPr>
          </a:lstStyle>
          <a:p>
            <a:r>
              <a:rPr lang="en-US"/>
              <a:t> </a:t>
            </a:r>
          </a:p>
        </p:txBody>
      </p:sp>
      <p:sp>
        <p:nvSpPr>
          <p:cNvPr id="27" name="Picture Placeholder 6">
            <a:extLst>
              <a:ext uri="{FF2B5EF4-FFF2-40B4-BE49-F238E27FC236}">
                <a16:creationId xmlns:a16="http://schemas.microsoft.com/office/drawing/2014/main" id="{37EEC992-E907-4E25-8861-053D3E578F0C}"/>
              </a:ext>
            </a:extLst>
          </p:cNvPr>
          <p:cNvSpPr>
            <a:spLocks noGrp="1"/>
          </p:cNvSpPr>
          <p:nvPr>
            <p:ph type="pic" sz="quarter" idx="24" hasCustomPrompt="1"/>
          </p:nvPr>
        </p:nvSpPr>
        <p:spPr>
          <a:xfrm>
            <a:off x="20764331" y="-2359182"/>
            <a:ext cx="3154269" cy="749808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rot lat="18420000" lon="3000000" rev="17310000"/>
            </a:camera>
            <a:lightRig rig="threePt" dir="t"/>
          </a:scene3d>
          <a:sp3d prstMaterial="matte"/>
        </p:spPr>
        <p:txBody>
          <a:bodyPr wrap="square" anchor="ctr">
            <a:noAutofit/>
          </a:bodyPr>
          <a:lstStyle>
            <a:lvl1pPr marL="0" indent="0" algn="ctr">
              <a:buFontTx/>
              <a:buNone/>
              <a:defRPr sz="1200"/>
            </a:lvl1pPr>
          </a:lstStyle>
          <a:p>
            <a:r>
              <a:rPr lang="en-US"/>
              <a:t> </a:t>
            </a:r>
          </a:p>
        </p:txBody>
      </p:sp>
      <p:sp>
        <p:nvSpPr>
          <p:cNvPr id="28" name="Picture Placeholder 6">
            <a:extLst>
              <a:ext uri="{FF2B5EF4-FFF2-40B4-BE49-F238E27FC236}">
                <a16:creationId xmlns:a16="http://schemas.microsoft.com/office/drawing/2014/main" id="{611DF2A1-D74B-4D29-98F3-927F8A285DB3}"/>
              </a:ext>
            </a:extLst>
          </p:cNvPr>
          <p:cNvSpPr>
            <a:spLocks noGrp="1"/>
          </p:cNvSpPr>
          <p:nvPr>
            <p:ph type="pic" sz="quarter" idx="25" hasCustomPrompt="1"/>
          </p:nvPr>
        </p:nvSpPr>
        <p:spPr>
          <a:xfrm>
            <a:off x="26021497" y="-4097312"/>
            <a:ext cx="3154269" cy="749808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rot lat="18420000" lon="3000000" rev="17310000"/>
            </a:camera>
            <a:lightRig rig="threePt" dir="t"/>
          </a:scene3d>
          <a:sp3d prstMaterial="matte"/>
        </p:spPr>
        <p:txBody>
          <a:bodyPr wrap="square" anchor="ctr">
            <a:noAutofit/>
          </a:bodyPr>
          <a:lstStyle>
            <a:lvl1pPr marL="0" indent="0" algn="ctr">
              <a:buFontTx/>
              <a:buNone/>
              <a:defRPr sz="1200"/>
            </a:lvl1pPr>
          </a:lstStyle>
          <a:p>
            <a:r>
              <a:rPr lang="en-US"/>
              <a:t> </a:t>
            </a:r>
          </a:p>
        </p:txBody>
      </p:sp>
      <p:sp>
        <p:nvSpPr>
          <p:cNvPr id="29" name="Picture Placeholder 6">
            <a:extLst>
              <a:ext uri="{FF2B5EF4-FFF2-40B4-BE49-F238E27FC236}">
                <a16:creationId xmlns:a16="http://schemas.microsoft.com/office/drawing/2014/main" id="{4E68B947-3A67-4B79-9911-051D6B757252}"/>
              </a:ext>
            </a:extLst>
          </p:cNvPr>
          <p:cNvSpPr>
            <a:spLocks noGrp="1"/>
          </p:cNvSpPr>
          <p:nvPr>
            <p:ph type="pic" sz="quarter" idx="26" hasCustomPrompt="1"/>
          </p:nvPr>
        </p:nvSpPr>
        <p:spPr>
          <a:xfrm>
            <a:off x="15561577" y="-625566"/>
            <a:ext cx="3154269" cy="749808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rot lat="18420000" lon="3000000" rev="17310000"/>
            </a:camera>
            <a:lightRig rig="threePt" dir="t"/>
          </a:scene3d>
          <a:sp3d prstMaterial="matte"/>
        </p:spPr>
        <p:txBody>
          <a:bodyPr wrap="square" anchor="ctr">
            <a:noAutofit/>
          </a:bodyPr>
          <a:lstStyle>
            <a:lvl1pPr marL="0" indent="0" algn="ctr">
              <a:buFontTx/>
              <a:buNone/>
              <a:defRPr sz="1200"/>
            </a:lvl1pPr>
          </a:lstStyle>
          <a:p>
            <a:r>
              <a:rPr lang="en-US"/>
              <a:t> </a:t>
            </a:r>
          </a:p>
        </p:txBody>
      </p:sp>
      <p:sp>
        <p:nvSpPr>
          <p:cNvPr id="30" name="Picture Placeholder 6">
            <a:extLst>
              <a:ext uri="{FF2B5EF4-FFF2-40B4-BE49-F238E27FC236}">
                <a16:creationId xmlns:a16="http://schemas.microsoft.com/office/drawing/2014/main" id="{4060BDBD-2126-4E95-81A9-F0DE44CC68D1}"/>
              </a:ext>
            </a:extLst>
          </p:cNvPr>
          <p:cNvSpPr>
            <a:spLocks noGrp="1"/>
          </p:cNvSpPr>
          <p:nvPr>
            <p:ph type="pic" sz="quarter" idx="27" hasCustomPrompt="1"/>
          </p:nvPr>
        </p:nvSpPr>
        <p:spPr>
          <a:xfrm>
            <a:off x="10339208" y="1103514"/>
            <a:ext cx="3154269" cy="749808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rot lat="18420000" lon="3000000" rev="17310000"/>
            </a:camera>
            <a:lightRig rig="threePt" dir="t"/>
          </a:scene3d>
          <a:sp3d prstMaterial="matte"/>
        </p:spPr>
        <p:txBody>
          <a:bodyPr wrap="square" anchor="ctr">
            <a:noAutofit/>
          </a:bodyPr>
          <a:lstStyle>
            <a:lvl1pPr marL="0" indent="0" algn="ctr">
              <a:buFontTx/>
              <a:buNone/>
              <a:defRPr sz="1200"/>
            </a:lvl1pPr>
          </a:lstStyle>
          <a:p>
            <a:r>
              <a:rPr lang="en-US"/>
              <a:t> </a:t>
            </a:r>
          </a:p>
        </p:txBody>
      </p:sp>
      <p:sp>
        <p:nvSpPr>
          <p:cNvPr id="31" name="Picture Placeholder 6">
            <a:extLst>
              <a:ext uri="{FF2B5EF4-FFF2-40B4-BE49-F238E27FC236}">
                <a16:creationId xmlns:a16="http://schemas.microsoft.com/office/drawing/2014/main" id="{7D11A113-C1B4-4B9C-AC18-EC628568D82B}"/>
              </a:ext>
            </a:extLst>
          </p:cNvPr>
          <p:cNvSpPr>
            <a:spLocks noGrp="1"/>
          </p:cNvSpPr>
          <p:nvPr>
            <p:ph type="pic" sz="quarter" idx="28" hasCustomPrompt="1"/>
          </p:nvPr>
        </p:nvSpPr>
        <p:spPr>
          <a:xfrm>
            <a:off x="4953166" y="2894874"/>
            <a:ext cx="3154269" cy="749808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rot lat="18420000" lon="3000000" rev="17310000"/>
            </a:camera>
            <a:lightRig rig="threePt" dir="t"/>
          </a:scene3d>
          <a:sp3d prstMaterial="matte"/>
        </p:spPr>
        <p:txBody>
          <a:bodyPr wrap="square" anchor="ctr">
            <a:noAutofit/>
          </a:bodyPr>
          <a:lstStyle>
            <a:lvl1pPr marL="0" indent="0" algn="ctr">
              <a:buFontTx/>
              <a:buNone/>
              <a:defRPr sz="1200"/>
            </a:lvl1pPr>
          </a:lstStyle>
          <a:p>
            <a:r>
              <a:rPr lang="en-US"/>
              <a:t> </a:t>
            </a:r>
          </a:p>
        </p:txBody>
      </p:sp>
      <p:sp>
        <p:nvSpPr>
          <p:cNvPr id="32" name="Picture Placeholder 6">
            <a:extLst>
              <a:ext uri="{FF2B5EF4-FFF2-40B4-BE49-F238E27FC236}">
                <a16:creationId xmlns:a16="http://schemas.microsoft.com/office/drawing/2014/main" id="{71596971-2921-4B94-B0AB-B47F97CA222A}"/>
              </a:ext>
            </a:extLst>
          </p:cNvPr>
          <p:cNvSpPr>
            <a:spLocks noGrp="1"/>
          </p:cNvSpPr>
          <p:nvPr>
            <p:ph type="pic" sz="quarter" idx="29" hasCustomPrompt="1"/>
          </p:nvPr>
        </p:nvSpPr>
        <p:spPr>
          <a:xfrm>
            <a:off x="13826551" y="-6479347"/>
            <a:ext cx="3154269" cy="749808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rot lat="18420000" lon="3000000" rev="17310000"/>
            </a:camera>
            <a:lightRig rig="threePt" dir="t"/>
          </a:scene3d>
          <a:sp3d prstMaterial="matte"/>
        </p:spPr>
        <p:txBody>
          <a:bodyPr wrap="square" anchor="ctr">
            <a:noAutofit/>
          </a:bodyPr>
          <a:lstStyle>
            <a:lvl1pPr marL="0" indent="0" algn="ctr">
              <a:buFontTx/>
              <a:buNone/>
              <a:defRPr sz="1200"/>
            </a:lvl1pPr>
          </a:lstStyle>
          <a:p>
            <a:r>
              <a:rPr lang="en-US"/>
              <a:t> </a:t>
            </a:r>
          </a:p>
        </p:txBody>
      </p:sp>
      <p:sp>
        <p:nvSpPr>
          <p:cNvPr id="33" name="Picture Placeholder 6">
            <a:extLst>
              <a:ext uri="{FF2B5EF4-FFF2-40B4-BE49-F238E27FC236}">
                <a16:creationId xmlns:a16="http://schemas.microsoft.com/office/drawing/2014/main" id="{0D869799-5865-4C17-A764-D9457241E00D}"/>
              </a:ext>
            </a:extLst>
          </p:cNvPr>
          <p:cNvSpPr>
            <a:spLocks noGrp="1"/>
          </p:cNvSpPr>
          <p:nvPr>
            <p:ph type="pic" sz="quarter" idx="30" hasCustomPrompt="1"/>
          </p:nvPr>
        </p:nvSpPr>
        <p:spPr>
          <a:xfrm>
            <a:off x="19083716" y="-8217477"/>
            <a:ext cx="3154269" cy="749808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rot lat="18420000" lon="3000000" rev="17310000"/>
            </a:camera>
            <a:lightRig rig="threePt" dir="t"/>
          </a:scene3d>
          <a:sp3d prstMaterial="matte"/>
        </p:spPr>
        <p:txBody>
          <a:bodyPr wrap="square" anchor="ctr">
            <a:noAutofit/>
          </a:bodyPr>
          <a:lstStyle>
            <a:lvl1pPr marL="0" indent="0" algn="ctr">
              <a:buFontTx/>
              <a:buNone/>
              <a:defRPr sz="1200"/>
            </a:lvl1pPr>
          </a:lstStyle>
          <a:p>
            <a:r>
              <a:rPr lang="en-US"/>
              <a:t> </a:t>
            </a:r>
          </a:p>
        </p:txBody>
      </p:sp>
      <p:sp>
        <p:nvSpPr>
          <p:cNvPr id="34" name="Picture Placeholder 6">
            <a:extLst>
              <a:ext uri="{FF2B5EF4-FFF2-40B4-BE49-F238E27FC236}">
                <a16:creationId xmlns:a16="http://schemas.microsoft.com/office/drawing/2014/main" id="{566937C7-F205-4656-A8E8-906793DD2E11}"/>
              </a:ext>
            </a:extLst>
          </p:cNvPr>
          <p:cNvSpPr>
            <a:spLocks noGrp="1"/>
          </p:cNvSpPr>
          <p:nvPr>
            <p:ph type="pic" sz="quarter" idx="31" hasCustomPrompt="1"/>
          </p:nvPr>
        </p:nvSpPr>
        <p:spPr>
          <a:xfrm>
            <a:off x="8623797" y="-4745731"/>
            <a:ext cx="3154269" cy="749808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rot lat="18420000" lon="3000000" rev="17310000"/>
            </a:camera>
            <a:lightRig rig="threePt" dir="t"/>
          </a:scene3d>
          <a:sp3d prstMaterial="matte"/>
        </p:spPr>
        <p:txBody>
          <a:bodyPr wrap="square" anchor="ctr">
            <a:noAutofit/>
          </a:bodyPr>
          <a:lstStyle>
            <a:lvl1pPr marL="0" indent="0" algn="ctr">
              <a:buFontTx/>
              <a:buNone/>
              <a:defRPr sz="1200"/>
            </a:lvl1pPr>
          </a:lstStyle>
          <a:p>
            <a:r>
              <a:rPr lang="en-US"/>
              <a:t> </a:t>
            </a:r>
          </a:p>
        </p:txBody>
      </p:sp>
      <p:sp>
        <p:nvSpPr>
          <p:cNvPr id="35" name="Picture Placeholder 6">
            <a:extLst>
              <a:ext uri="{FF2B5EF4-FFF2-40B4-BE49-F238E27FC236}">
                <a16:creationId xmlns:a16="http://schemas.microsoft.com/office/drawing/2014/main" id="{D72442AB-B35D-4075-8B3B-92AA68A6072F}"/>
              </a:ext>
            </a:extLst>
          </p:cNvPr>
          <p:cNvSpPr>
            <a:spLocks noGrp="1"/>
          </p:cNvSpPr>
          <p:nvPr>
            <p:ph type="pic" sz="quarter" idx="32" hasCustomPrompt="1"/>
          </p:nvPr>
        </p:nvSpPr>
        <p:spPr>
          <a:xfrm>
            <a:off x="3401428" y="-3016651"/>
            <a:ext cx="3154269" cy="749808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rot lat="18420000" lon="3000000" rev="17310000"/>
            </a:camera>
            <a:lightRig rig="threePt" dir="t"/>
          </a:scene3d>
          <a:sp3d prstMaterial="matte"/>
        </p:spPr>
        <p:txBody>
          <a:bodyPr wrap="square" anchor="ctr">
            <a:noAutofit/>
          </a:bodyPr>
          <a:lstStyle>
            <a:lvl1pPr marL="0" indent="0" algn="ctr">
              <a:buFontTx/>
              <a:buNone/>
              <a:defRPr sz="1200"/>
            </a:lvl1pPr>
          </a:lstStyle>
          <a:p>
            <a:r>
              <a:rPr lang="en-US"/>
              <a:t> </a:t>
            </a:r>
          </a:p>
        </p:txBody>
      </p:sp>
      <p:sp>
        <p:nvSpPr>
          <p:cNvPr id="36" name="Picture Placeholder 6">
            <a:extLst>
              <a:ext uri="{FF2B5EF4-FFF2-40B4-BE49-F238E27FC236}">
                <a16:creationId xmlns:a16="http://schemas.microsoft.com/office/drawing/2014/main" id="{6B46F04C-4E8E-4C12-BDE6-6EE31FC8A4EA}"/>
              </a:ext>
            </a:extLst>
          </p:cNvPr>
          <p:cNvSpPr>
            <a:spLocks noGrp="1"/>
          </p:cNvSpPr>
          <p:nvPr>
            <p:ph type="pic" sz="quarter" idx="33" hasCustomPrompt="1"/>
          </p:nvPr>
        </p:nvSpPr>
        <p:spPr>
          <a:xfrm>
            <a:off x="-1984613" y="-1225291"/>
            <a:ext cx="3154269" cy="7498080"/>
          </a:xfrm>
          <a:custGeom>
            <a:avLst/>
            <a:gdLst>
              <a:gd name="connsiteX0" fmla="*/ 180928 w 6946900"/>
              <a:gd name="connsiteY0" fmla="*/ 0 h 9528175"/>
              <a:gd name="connsiteX1" fmla="*/ 6762202 w 6946900"/>
              <a:gd name="connsiteY1" fmla="*/ 0 h 9528175"/>
              <a:gd name="connsiteX2" fmla="*/ 6946900 w 6946900"/>
              <a:gd name="connsiteY2" fmla="*/ 184611 h 9528175"/>
              <a:gd name="connsiteX3" fmla="*/ 6946900 w 6946900"/>
              <a:gd name="connsiteY3" fmla="*/ 9347332 h 9528175"/>
              <a:gd name="connsiteX4" fmla="*/ 6762202 w 6946900"/>
              <a:gd name="connsiteY4" fmla="*/ 9528175 h 9528175"/>
              <a:gd name="connsiteX5" fmla="*/ 180928 w 6946900"/>
              <a:gd name="connsiteY5" fmla="*/ 9528175 h 9528175"/>
              <a:gd name="connsiteX6" fmla="*/ 0 w 6946900"/>
              <a:gd name="connsiteY6" fmla="*/ 9347332 h 9528175"/>
              <a:gd name="connsiteX7" fmla="*/ 0 w 6946900"/>
              <a:gd name="connsiteY7" fmla="*/ 184611 h 9528175"/>
              <a:gd name="connsiteX8" fmla="*/ 180928 w 6946900"/>
              <a:gd name="connsiteY8" fmla="*/ 0 h 95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6900" h="9528175">
                <a:moveTo>
                  <a:pt x="180928" y="0"/>
                </a:moveTo>
                <a:cubicBezTo>
                  <a:pt x="6762202" y="0"/>
                  <a:pt x="6762202" y="0"/>
                  <a:pt x="6762202" y="0"/>
                </a:cubicBezTo>
                <a:cubicBezTo>
                  <a:pt x="6863974" y="0"/>
                  <a:pt x="6946900" y="82886"/>
                  <a:pt x="6946900" y="184611"/>
                </a:cubicBezTo>
                <a:cubicBezTo>
                  <a:pt x="6946900" y="9347332"/>
                  <a:pt x="6946900" y="9347332"/>
                  <a:pt x="6946900" y="9347332"/>
                </a:cubicBezTo>
                <a:cubicBezTo>
                  <a:pt x="6946900" y="9445289"/>
                  <a:pt x="6863974" y="9528175"/>
                  <a:pt x="6762202" y="9528175"/>
                </a:cubicBezTo>
                <a:cubicBezTo>
                  <a:pt x="180928" y="9528175"/>
                  <a:pt x="180928" y="9528175"/>
                  <a:pt x="180928" y="9528175"/>
                </a:cubicBezTo>
                <a:cubicBezTo>
                  <a:pt x="82925" y="9528175"/>
                  <a:pt x="0" y="9445289"/>
                  <a:pt x="0" y="9347332"/>
                </a:cubicBezTo>
                <a:cubicBezTo>
                  <a:pt x="0" y="184611"/>
                  <a:pt x="0" y="184611"/>
                  <a:pt x="0" y="184611"/>
                </a:cubicBezTo>
                <a:cubicBezTo>
                  <a:pt x="0" y="82886"/>
                  <a:pt x="82925" y="0"/>
                  <a:pt x="180928" y="0"/>
                </a:cubicBezTo>
                <a:close/>
              </a:path>
            </a:pathLst>
          </a:custGeom>
          <a:blipFill>
            <a:blip r:embed="rId2"/>
            <a:stretch>
              <a:fillRect/>
            </a:stretch>
          </a:blipFill>
          <a:effectLst/>
          <a:scene3d>
            <a:camera prst="isometricTopUp">
              <a:rot lat="18420000" lon="3000000" rev="17310000"/>
            </a:camera>
            <a:lightRig rig="threePt" dir="t"/>
          </a:scene3d>
          <a:sp3d prstMaterial="matte"/>
        </p:spPr>
        <p:txBody>
          <a:bodyPr wrap="square" anchor="ctr">
            <a:noAutofit/>
          </a:bodyPr>
          <a:lstStyle>
            <a:lvl1pPr marL="0" indent="0" algn="ctr">
              <a:buFontTx/>
              <a:buNone/>
              <a:defRPr sz="1200"/>
            </a:lvl1pPr>
          </a:lstStyle>
          <a:p>
            <a:r>
              <a:rPr lang="en-US"/>
              <a:t> </a:t>
            </a:r>
          </a:p>
        </p:txBody>
      </p:sp>
    </p:spTree>
    <p:extLst>
      <p:ext uri="{BB962C8B-B14F-4D97-AF65-F5344CB8AC3E}">
        <p14:creationId xmlns:p14="http://schemas.microsoft.com/office/powerpoint/2010/main" val="1048158533"/>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42" presetClass="path" presetSubtype="0" dur="6000" repeatCount="indefinite" accel="50000" decel="50000" autoRev="1" fill="hold" grpId="0" nodeType="withEffect">
                                  <p:stCondLst>
                                    <p:cond delay="0"/>
                                  </p:stCondLst>
                                  <p:childTnLst>
                                    <p:animMotion origin="layout" path="M 3.62062E-06 5E-06 L 0.86967 -0.51355" pathEditMode="relative" rAng="0" ptsTypes="AA">
                                      <p:cBhvr>
                                        <p:cTn id="6" dur="6000" fill="hold"/>
                                        <p:tgtEl>
                                          <p:spTgt spid="26"/>
                                        </p:tgtEl>
                                        <p:attrNameLst>
                                          <p:attrName>ppt_x</p:attrName>
                                          <p:attrName>ppt_y</p:attrName>
                                        </p:attrNameLst>
                                      </p:cBhvr>
                                      <p:rCtr x="43484" y="-25683"/>
                                    </p:animMotion>
                                  </p:childTnLst>
                                </p:cTn>
                              </p:par>
                              <p:par>
                                <p:cTn id="7" presetID="42" presetClass="path" presetSubtype="0" dur="6000" repeatCount="indefinite" accel="50000" decel="50000" autoRev="1" fill="hold" grpId="0" nodeType="withEffect">
                                  <p:stCondLst>
                                    <p:cond delay="0"/>
                                  </p:stCondLst>
                                  <p:childTnLst>
                                    <p:animMotion origin="layout" path="M 3.62062E-06 5E-06 L 0.86967 -0.51355" pathEditMode="relative" rAng="0" ptsTypes="AA">
                                      <p:cBhvr>
                                        <p:cTn id="8" dur="6000" fill="hold"/>
                                        <p:tgtEl>
                                          <p:spTgt spid="25"/>
                                        </p:tgtEl>
                                        <p:attrNameLst>
                                          <p:attrName>ppt_x</p:attrName>
                                          <p:attrName>ppt_y</p:attrName>
                                        </p:attrNameLst>
                                      </p:cBhvr>
                                      <p:rCtr x="43484" y="-25683"/>
                                    </p:animMotion>
                                  </p:childTnLst>
                                </p:cTn>
                              </p:par>
                              <p:par>
                                <p:cTn id="9" presetID="42" presetClass="path" presetSubtype="0" dur="6000" repeatCount="indefinite" accel="50000" decel="50000" autoRev="1" fill="hold" grpId="0" nodeType="withEffect">
                                  <p:stCondLst>
                                    <p:cond delay="0"/>
                                  </p:stCondLst>
                                  <p:childTnLst>
                                    <p:animMotion origin="layout" path="M 3.62062E-06 5E-06 L 0.86967 -0.51355" pathEditMode="relative" rAng="0" ptsTypes="AA">
                                      <p:cBhvr>
                                        <p:cTn id="10" dur="6000" fill="hold"/>
                                        <p:tgtEl>
                                          <p:spTgt spid="24"/>
                                        </p:tgtEl>
                                        <p:attrNameLst>
                                          <p:attrName>ppt_x</p:attrName>
                                          <p:attrName>ppt_y</p:attrName>
                                        </p:attrNameLst>
                                      </p:cBhvr>
                                      <p:rCtr x="43484" y="-25683"/>
                                    </p:animMotion>
                                  </p:childTnLst>
                                </p:cTn>
                              </p:par>
                              <p:par>
                                <p:cTn id="11" presetID="42" presetClass="path" presetSubtype="0" dur="6000" repeatCount="indefinite" accel="50000" decel="50000" autoRev="1" fill="hold" grpId="0" nodeType="withEffect">
                                  <p:stCondLst>
                                    <p:cond delay="0"/>
                                  </p:stCondLst>
                                  <p:childTnLst>
                                    <p:animMotion origin="layout" path="M 3.62062E-06 5E-06 L 0.86967 -0.51355" pathEditMode="relative" rAng="0" ptsTypes="AA">
                                      <p:cBhvr>
                                        <p:cTn id="12" dur="6000" fill="hold"/>
                                        <p:tgtEl>
                                          <p:spTgt spid="7"/>
                                        </p:tgtEl>
                                        <p:attrNameLst>
                                          <p:attrName>ppt_x</p:attrName>
                                          <p:attrName>ppt_y</p:attrName>
                                        </p:attrNameLst>
                                      </p:cBhvr>
                                      <p:rCtr x="43484" y="-25683"/>
                                    </p:animMotion>
                                  </p:childTnLst>
                                </p:cTn>
                              </p:par>
                              <p:par>
                                <p:cTn id="13" presetID="42" presetClass="path" presetSubtype="0" dur="6000" repeatCount="indefinite" accel="50000" decel="50000" autoRev="1" fill="hold" grpId="0" nodeType="withEffect">
                                  <p:stCondLst>
                                    <p:cond delay="0"/>
                                  </p:stCondLst>
                                  <p:childTnLst>
                                    <p:animMotion origin="layout" path="M 3.62062E-06 5E-06 L 0.86967 -0.51355" pathEditMode="relative" rAng="0" ptsTypes="AA">
                                      <p:cBhvr>
                                        <p:cTn id="14" dur="6000" fill="hold"/>
                                        <p:tgtEl>
                                          <p:spTgt spid="23"/>
                                        </p:tgtEl>
                                        <p:attrNameLst>
                                          <p:attrName>ppt_x</p:attrName>
                                          <p:attrName>ppt_y</p:attrName>
                                        </p:attrNameLst>
                                      </p:cBhvr>
                                      <p:rCtr x="43484" y="-25683"/>
                                    </p:animMotion>
                                  </p:childTnLst>
                                </p:cTn>
                              </p:par>
                              <p:par>
                                <p:cTn id="15" presetID="42" presetClass="path" presetSubtype="0" dur="8000" repeatCount="indefinite" accel="50000" decel="50000" autoRev="1" fill="hold" grpId="0" nodeType="withEffect">
                                  <p:stCondLst>
                                    <p:cond delay="0"/>
                                  </p:stCondLst>
                                  <p:childTnLst>
                                    <p:animMotion origin="layout" path="M 3.09855E-06 1.2963E-06 L -1.28714 0.75949" pathEditMode="relative" rAng="0" ptsTypes="AA">
                                      <p:cBhvr>
                                        <p:cTn id="16" dur="8000" fill="hold"/>
                                        <p:tgtEl>
                                          <p:spTgt spid="28"/>
                                        </p:tgtEl>
                                        <p:attrNameLst>
                                          <p:attrName>ppt_x</p:attrName>
                                          <p:attrName>ppt_y</p:attrName>
                                        </p:attrNameLst>
                                      </p:cBhvr>
                                      <p:rCtr x="-64360" y="37975"/>
                                    </p:animMotion>
                                  </p:childTnLst>
                                </p:cTn>
                              </p:par>
                              <p:par>
                                <p:cTn id="17" presetID="42" presetClass="path" presetSubtype="0" dur="8000" repeatCount="indefinite" accel="50000" decel="50000" autoRev="1" fill="hold" grpId="0" nodeType="withEffect">
                                  <p:stCondLst>
                                    <p:cond delay="0"/>
                                  </p:stCondLst>
                                  <p:childTnLst>
                                    <p:animMotion origin="layout" path="M 3.09855E-06 1.2963E-06 L -1.28714 0.75949" pathEditMode="relative" rAng="0" ptsTypes="AA">
                                      <p:cBhvr>
                                        <p:cTn id="18" dur="8000" fill="hold"/>
                                        <p:tgtEl>
                                          <p:spTgt spid="27"/>
                                        </p:tgtEl>
                                        <p:attrNameLst>
                                          <p:attrName>ppt_x</p:attrName>
                                          <p:attrName>ppt_y</p:attrName>
                                        </p:attrNameLst>
                                      </p:cBhvr>
                                      <p:rCtr x="-64360" y="37975"/>
                                    </p:animMotion>
                                  </p:childTnLst>
                                </p:cTn>
                              </p:par>
                              <p:par>
                                <p:cTn id="19" presetID="42" presetClass="path" presetSubtype="0" dur="8000" repeatCount="indefinite" accel="50000" decel="50000" autoRev="1" fill="hold" grpId="0" nodeType="withEffect">
                                  <p:stCondLst>
                                    <p:cond delay="0"/>
                                  </p:stCondLst>
                                  <p:childTnLst>
                                    <p:animMotion origin="layout" path="M 3.09855E-06 1.2963E-06 L -1.28714 0.75949" pathEditMode="relative" rAng="0" ptsTypes="AA">
                                      <p:cBhvr>
                                        <p:cTn id="20" dur="8000" fill="hold"/>
                                        <p:tgtEl>
                                          <p:spTgt spid="29"/>
                                        </p:tgtEl>
                                        <p:attrNameLst>
                                          <p:attrName>ppt_x</p:attrName>
                                          <p:attrName>ppt_y</p:attrName>
                                        </p:attrNameLst>
                                      </p:cBhvr>
                                      <p:rCtr x="-64360" y="37975"/>
                                    </p:animMotion>
                                  </p:childTnLst>
                                </p:cTn>
                              </p:par>
                              <p:par>
                                <p:cTn id="21" presetID="42" presetClass="path" presetSubtype="0" dur="8000" repeatCount="indefinite" accel="50000" decel="50000" autoRev="1" fill="hold" grpId="0" nodeType="withEffect">
                                  <p:stCondLst>
                                    <p:cond delay="0"/>
                                  </p:stCondLst>
                                  <p:childTnLst>
                                    <p:animMotion origin="layout" path="M 3.09855E-06 1.2963E-06 L -1.28714 0.75949" pathEditMode="relative" rAng="0" ptsTypes="AA">
                                      <p:cBhvr>
                                        <p:cTn id="22" dur="8000" fill="hold"/>
                                        <p:tgtEl>
                                          <p:spTgt spid="30"/>
                                        </p:tgtEl>
                                        <p:attrNameLst>
                                          <p:attrName>ppt_x</p:attrName>
                                          <p:attrName>ppt_y</p:attrName>
                                        </p:attrNameLst>
                                      </p:cBhvr>
                                      <p:rCtr x="-64360" y="37975"/>
                                    </p:animMotion>
                                  </p:childTnLst>
                                </p:cTn>
                              </p:par>
                              <p:par>
                                <p:cTn id="23" presetID="42" presetClass="path" presetSubtype="0" dur="8000" repeatCount="indefinite" accel="50000" decel="50000" autoRev="1" fill="hold" grpId="0" nodeType="withEffect">
                                  <p:stCondLst>
                                    <p:cond delay="0"/>
                                  </p:stCondLst>
                                  <p:childTnLst>
                                    <p:animMotion origin="layout" path="M 3.09855E-06 1.2963E-06 L -1.28714 0.75949" pathEditMode="relative" rAng="0" ptsTypes="AA">
                                      <p:cBhvr>
                                        <p:cTn id="24" dur="8000" fill="hold"/>
                                        <p:tgtEl>
                                          <p:spTgt spid="31"/>
                                        </p:tgtEl>
                                        <p:attrNameLst>
                                          <p:attrName>ppt_x</p:attrName>
                                          <p:attrName>ppt_y</p:attrName>
                                        </p:attrNameLst>
                                      </p:cBhvr>
                                      <p:rCtr x="-64360" y="37975"/>
                                    </p:animMotion>
                                  </p:childTnLst>
                                </p:cTn>
                              </p:par>
                              <p:par>
                                <p:cTn id="25" presetID="42" presetClass="path" presetSubtype="0" dur="10000" repeatCount="indefinite" accel="50000" decel="50000" autoRev="1" fill="hold" grpId="0" nodeType="withEffect">
                                  <p:stCondLst>
                                    <p:cond delay="0"/>
                                  </p:stCondLst>
                                  <p:childTnLst>
                                    <p:animMotion origin="layout" path="M 3.09855E-06 1.2963E-06 L -1.28714 0.75949" pathEditMode="relative" rAng="0" ptsTypes="AA">
                                      <p:cBhvr>
                                        <p:cTn id="26" dur="10000" fill="hold"/>
                                        <p:tgtEl>
                                          <p:spTgt spid="33"/>
                                        </p:tgtEl>
                                        <p:attrNameLst>
                                          <p:attrName>ppt_x</p:attrName>
                                          <p:attrName>ppt_y</p:attrName>
                                        </p:attrNameLst>
                                      </p:cBhvr>
                                      <p:rCtr x="-64360" y="37975"/>
                                    </p:animMotion>
                                  </p:childTnLst>
                                </p:cTn>
                              </p:par>
                              <p:par>
                                <p:cTn id="27" presetID="42" presetClass="path" presetSubtype="0" dur="10000" repeatCount="indefinite" accel="50000" decel="50000" autoRev="1" fill="hold" grpId="0" nodeType="withEffect">
                                  <p:stCondLst>
                                    <p:cond delay="0"/>
                                  </p:stCondLst>
                                  <p:childTnLst>
                                    <p:animMotion origin="layout" path="M 3.09855E-06 1.2963E-06 L -1.28714 0.75949" pathEditMode="relative" rAng="0" ptsTypes="AA">
                                      <p:cBhvr>
                                        <p:cTn id="28" dur="10000" fill="hold"/>
                                        <p:tgtEl>
                                          <p:spTgt spid="32"/>
                                        </p:tgtEl>
                                        <p:attrNameLst>
                                          <p:attrName>ppt_x</p:attrName>
                                          <p:attrName>ppt_y</p:attrName>
                                        </p:attrNameLst>
                                      </p:cBhvr>
                                      <p:rCtr x="-64360" y="37975"/>
                                    </p:animMotion>
                                  </p:childTnLst>
                                </p:cTn>
                              </p:par>
                              <p:par>
                                <p:cTn id="29" presetID="42" presetClass="path" presetSubtype="0" dur="10000" repeatCount="indefinite" accel="50000" decel="50000" autoRev="1" fill="hold" grpId="0" nodeType="withEffect">
                                  <p:stCondLst>
                                    <p:cond delay="0"/>
                                  </p:stCondLst>
                                  <p:childTnLst>
                                    <p:animMotion origin="layout" path="M 3.09855E-06 1.2963E-06 L -1.28714 0.75949" pathEditMode="relative" rAng="0" ptsTypes="AA">
                                      <p:cBhvr>
                                        <p:cTn id="30" dur="10000" fill="hold"/>
                                        <p:tgtEl>
                                          <p:spTgt spid="34"/>
                                        </p:tgtEl>
                                        <p:attrNameLst>
                                          <p:attrName>ppt_x</p:attrName>
                                          <p:attrName>ppt_y</p:attrName>
                                        </p:attrNameLst>
                                      </p:cBhvr>
                                      <p:rCtr x="-64360" y="37975"/>
                                    </p:animMotion>
                                  </p:childTnLst>
                                </p:cTn>
                              </p:par>
                              <p:par>
                                <p:cTn id="31" presetID="42" presetClass="path" presetSubtype="0" dur="10000" repeatCount="indefinite" accel="50000" decel="50000" autoRev="1" fill="hold" grpId="0" nodeType="withEffect">
                                  <p:stCondLst>
                                    <p:cond delay="0"/>
                                  </p:stCondLst>
                                  <p:childTnLst>
                                    <p:animMotion origin="layout" path="M 3.09855E-06 1.2963E-06 L -1.28714 0.75949" pathEditMode="relative" rAng="0" ptsTypes="AA">
                                      <p:cBhvr>
                                        <p:cTn id="32" dur="10000" fill="hold"/>
                                        <p:tgtEl>
                                          <p:spTgt spid="35"/>
                                        </p:tgtEl>
                                        <p:attrNameLst>
                                          <p:attrName>ppt_x</p:attrName>
                                          <p:attrName>ppt_y</p:attrName>
                                        </p:attrNameLst>
                                      </p:cBhvr>
                                      <p:rCtr x="-64360" y="37975"/>
                                    </p:animMotion>
                                  </p:childTnLst>
                                </p:cTn>
                              </p:par>
                              <p:par>
                                <p:cTn id="33" presetID="42" presetClass="path" presetSubtype="0" dur="10000" repeatCount="indefinite" accel="50000" decel="50000" autoRev="1" fill="hold" grpId="0" nodeType="withEffect">
                                  <p:stCondLst>
                                    <p:cond delay="0"/>
                                  </p:stCondLst>
                                  <p:childTnLst>
                                    <p:animMotion origin="layout" path="M 3.09855E-06 1.2963E-06 L -1.28714 0.75949" pathEditMode="relative" rAng="0" ptsTypes="AA">
                                      <p:cBhvr>
                                        <p:cTn id="34" dur="10000" fill="hold"/>
                                        <p:tgtEl>
                                          <p:spTgt spid="36"/>
                                        </p:tgtEl>
                                        <p:attrNameLst>
                                          <p:attrName>ppt_x</p:attrName>
                                          <p:attrName>ppt_y</p:attrName>
                                        </p:attrNameLst>
                                      </p:cBhvr>
                                      <p:rCtr x="-64360" y="3797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23" grpId="0" animBg="1"/>
      <p:bldP spid="24" grpId="0" animBg="1"/>
      <p:bldP spid="25" grpId="0" animBg="1"/>
      <p:bldP spid="26" grpId="0" animBg="1"/>
      <p:bldP spid="27" grpId="0" animBg="1"/>
      <p:bldP spid="28" grpId="0" animBg="1"/>
      <p:bldP spid="29" grpId="0" animBg="1"/>
      <p:bldP spid="30" grpId="0" animBg="1"/>
      <p:bldP spid="31" grpId="0" animBg="1"/>
      <p:bldP spid="32" grpId="0" animBg="1"/>
      <p:bldP spid="33" grpId="0" animBg="1"/>
      <p:bldP spid="34" grpId="0" animBg="1"/>
      <p:bldP spid="35" grpId="0" animBg="1"/>
      <p:bldP spid="36" grpId="0" animBg="1"/>
    </p:bld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WELCOME SLIDE">
    <p:spTree>
      <p:nvGrpSpPr>
        <p:cNvPr id="1" name=""/>
        <p:cNvGrpSpPr/>
        <p:nvPr/>
      </p:nvGrpSpPr>
      <p:grpSpPr>
        <a:xfrm>
          <a:off x="0" y="0"/>
          <a:ext cx="0" cy="0"/>
          <a:chOff x="0" y="0"/>
          <a:chExt cx="0" cy="0"/>
        </a:xfrm>
      </p:grpSpPr>
      <p:sp>
        <p:nvSpPr>
          <p:cNvPr id="33" name="Rechteck 32">
            <a:extLst>
              <a:ext uri="{FF2B5EF4-FFF2-40B4-BE49-F238E27FC236}">
                <a16:creationId xmlns:a16="http://schemas.microsoft.com/office/drawing/2014/main" id="{95791B20-6611-4BC3-9643-F8853AFBD8B7}"/>
              </a:ext>
            </a:extLst>
          </p:cNvPr>
          <p:cNvSpPr/>
          <p:nvPr userDrawn="1"/>
        </p:nvSpPr>
        <p:spPr>
          <a:xfrm>
            <a:off x="0" y="0"/>
            <a:ext cx="5772243" cy="990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4" name="Bildplatzhalter 63">
            <a:extLst>
              <a:ext uri="{FF2B5EF4-FFF2-40B4-BE49-F238E27FC236}">
                <a16:creationId xmlns:a16="http://schemas.microsoft.com/office/drawing/2014/main" id="{27D8A489-906F-4514-8E3F-C8B31E0E5A05}"/>
              </a:ext>
            </a:extLst>
          </p:cNvPr>
          <p:cNvSpPr>
            <a:spLocks noGrp="1"/>
          </p:cNvSpPr>
          <p:nvPr>
            <p:ph type="pic" sz="quarter" idx="10"/>
          </p:nvPr>
        </p:nvSpPr>
        <p:spPr>
          <a:xfrm>
            <a:off x="0" y="0"/>
            <a:ext cx="12191999" cy="6858000"/>
          </a:xfrm>
          <a:custGeom>
            <a:avLst/>
            <a:gdLst>
              <a:gd name="connsiteX0" fmla="*/ 5788920 w 12191999"/>
              <a:gd name="connsiteY0" fmla="*/ 3246099 h 6858000"/>
              <a:gd name="connsiteX1" fmla="*/ 5801118 w 12191999"/>
              <a:gd name="connsiteY1" fmla="*/ 3246099 h 6858000"/>
              <a:gd name="connsiteX2" fmla="*/ 5820770 w 12191999"/>
              <a:gd name="connsiteY2" fmla="*/ 3254231 h 6858000"/>
              <a:gd name="connsiteX3" fmla="*/ 5827546 w 12191999"/>
              <a:gd name="connsiteY3" fmla="*/ 3277949 h 6858000"/>
              <a:gd name="connsiteX4" fmla="*/ 5827546 w 12191999"/>
              <a:gd name="connsiteY4" fmla="*/ 3283370 h 6858000"/>
              <a:gd name="connsiteX5" fmla="*/ 5820092 w 12191999"/>
              <a:gd name="connsiteY5" fmla="*/ 3307089 h 6858000"/>
              <a:gd name="connsiteX6" fmla="*/ 5799762 w 12191999"/>
              <a:gd name="connsiteY6" fmla="*/ 3315220 h 6858000"/>
              <a:gd name="connsiteX7" fmla="*/ 5788920 w 12191999"/>
              <a:gd name="connsiteY7" fmla="*/ 3315220 h 6858000"/>
              <a:gd name="connsiteX8" fmla="*/ 5303038 w 12191999"/>
              <a:gd name="connsiteY8" fmla="*/ 3246099 h 6858000"/>
              <a:gd name="connsiteX9" fmla="*/ 5315236 w 12191999"/>
              <a:gd name="connsiteY9" fmla="*/ 3246099 h 6858000"/>
              <a:gd name="connsiteX10" fmla="*/ 5334888 w 12191999"/>
              <a:gd name="connsiteY10" fmla="*/ 3254231 h 6858000"/>
              <a:gd name="connsiteX11" fmla="*/ 5341664 w 12191999"/>
              <a:gd name="connsiteY11" fmla="*/ 3277949 h 6858000"/>
              <a:gd name="connsiteX12" fmla="*/ 5341664 w 12191999"/>
              <a:gd name="connsiteY12" fmla="*/ 3283370 h 6858000"/>
              <a:gd name="connsiteX13" fmla="*/ 5334210 w 12191999"/>
              <a:gd name="connsiteY13" fmla="*/ 3307089 h 6858000"/>
              <a:gd name="connsiteX14" fmla="*/ 5313880 w 12191999"/>
              <a:gd name="connsiteY14" fmla="*/ 3315220 h 6858000"/>
              <a:gd name="connsiteX15" fmla="*/ 5303038 w 12191999"/>
              <a:gd name="connsiteY15" fmla="*/ 3315220 h 6858000"/>
              <a:gd name="connsiteX16" fmla="*/ 4985215 w 12191999"/>
              <a:gd name="connsiteY16" fmla="*/ 3246099 h 6858000"/>
              <a:gd name="connsiteX17" fmla="*/ 5002835 w 12191999"/>
              <a:gd name="connsiteY17" fmla="*/ 3246099 h 6858000"/>
              <a:gd name="connsiteX18" fmla="*/ 5015710 w 12191999"/>
              <a:gd name="connsiteY18" fmla="*/ 3250165 h 6858000"/>
              <a:gd name="connsiteX19" fmla="*/ 5019776 w 12191999"/>
              <a:gd name="connsiteY19" fmla="*/ 3262363 h 6858000"/>
              <a:gd name="connsiteX20" fmla="*/ 5015033 w 12191999"/>
              <a:gd name="connsiteY20" fmla="*/ 3273883 h 6858000"/>
              <a:gd name="connsiteX21" fmla="*/ 5002157 w 12191999"/>
              <a:gd name="connsiteY21" fmla="*/ 3277949 h 6858000"/>
              <a:gd name="connsiteX22" fmla="*/ 4985215 w 12191999"/>
              <a:gd name="connsiteY22" fmla="*/ 3277949 h 6858000"/>
              <a:gd name="connsiteX23" fmla="*/ 6397458 w 12191999"/>
              <a:gd name="connsiteY23" fmla="*/ 3245421 h 6858000"/>
              <a:gd name="connsiteX24" fmla="*/ 6414400 w 12191999"/>
              <a:gd name="connsiteY24" fmla="*/ 3253553 h 6858000"/>
              <a:gd name="connsiteX25" fmla="*/ 6420499 w 12191999"/>
              <a:gd name="connsiteY25" fmla="*/ 3277949 h 6858000"/>
              <a:gd name="connsiteX26" fmla="*/ 6420499 w 12191999"/>
              <a:gd name="connsiteY26" fmla="*/ 3283370 h 6858000"/>
              <a:gd name="connsiteX27" fmla="*/ 6414400 w 12191999"/>
              <a:gd name="connsiteY27" fmla="*/ 3307766 h 6858000"/>
              <a:gd name="connsiteX28" fmla="*/ 6397458 w 12191999"/>
              <a:gd name="connsiteY28" fmla="*/ 3315898 h 6858000"/>
              <a:gd name="connsiteX29" fmla="*/ 6380517 w 12191999"/>
              <a:gd name="connsiteY29" fmla="*/ 3307088 h 6858000"/>
              <a:gd name="connsiteX30" fmla="*/ 6374418 w 12191999"/>
              <a:gd name="connsiteY30" fmla="*/ 3282692 h 6858000"/>
              <a:gd name="connsiteX31" fmla="*/ 6374418 w 12191999"/>
              <a:gd name="connsiteY31" fmla="*/ 3277271 h 6858000"/>
              <a:gd name="connsiteX32" fmla="*/ 6380517 w 12191999"/>
              <a:gd name="connsiteY32" fmla="*/ 3253553 h 6858000"/>
              <a:gd name="connsiteX33" fmla="*/ 6397458 w 12191999"/>
              <a:gd name="connsiteY33" fmla="*/ 3245421 h 6858000"/>
              <a:gd name="connsiteX34" fmla="*/ 4831387 w 12191999"/>
              <a:gd name="connsiteY34" fmla="*/ 3245421 h 6858000"/>
              <a:gd name="connsiteX35" fmla="*/ 4848329 w 12191999"/>
              <a:gd name="connsiteY35" fmla="*/ 3253553 h 6858000"/>
              <a:gd name="connsiteX36" fmla="*/ 4854428 w 12191999"/>
              <a:gd name="connsiteY36" fmla="*/ 3277949 h 6858000"/>
              <a:gd name="connsiteX37" fmla="*/ 4854428 w 12191999"/>
              <a:gd name="connsiteY37" fmla="*/ 3283370 h 6858000"/>
              <a:gd name="connsiteX38" fmla="*/ 4848329 w 12191999"/>
              <a:gd name="connsiteY38" fmla="*/ 3307766 h 6858000"/>
              <a:gd name="connsiteX39" fmla="*/ 4831387 w 12191999"/>
              <a:gd name="connsiteY39" fmla="*/ 3315898 h 6858000"/>
              <a:gd name="connsiteX40" fmla="*/ 4814446 w 12191999"/>
              <a:gd name="connsiteY40" fmla="*/ 3307088 h 6858000"/>
              <a:gd name="connsiteX41" fmla="*/ 4808347 w 12191999"/>
              <a:gd name="connsiteY41" fmla="*/ 3282692 h 6858000"/>
              <a:gd name="connsiteX42" fmla="*/ 4808347 w 12191999"/>
              <a:gd name="connsiteY42" fmla="*/ 3277271 h 6858000"/>
              <a:gd name="connsiteX43" fmla="*/ 4814446 w 12191999"/>
              <a:gd name="connsiteY43" fmla="*/ 3253553 h 6858000"/>
              <a:gd name="connsiteX44" fmla="*/ 4831387 w 12191999"/>
              <a:gd name="connsiteY44" fmla="*/ 3245421 h 6858000"/>
              <a:gd name="connsiteX45" fmla="*/ 6211780 w 12191999"/>
              <a:gd name="connsiteY45" fmla="*/ 3233223 h 6858000"/>
              <a:gd name="connsiteX46" fmla="*/ 6211780 w 12191999"/>
              <a:gd name="connsiteY46" fmla="*/ 3328773 h 6858000"/>
              <a:gd name="connsiteX47" fmla="*/ 6272092 w 12191999"/>
              <a:gd name="connsiteY47" fmla="*/ 3328773 h 6858000"/>
              <a:gd name="connsiteX48" fmla="*/ 6272092 w 12191999"/>
              <a:gd name="connsiteY48" fmla="*/ 3315220 h 6858000"/>
              <a:gd name="connsiteX49" fmla="*/ 6228721 w 12191999"/>
              <a:gd name="connsiteY49" fmla="*/ 3315220 h 6858000"/>
              <a:gd name="connsiteX50" fmla="*/ 6228721 w 12191999"/>
              <a:gd name="connsiteY50" fmla="*/ 3233223 h 6858000"/>
              <a:gd name="connsiteX51" fmla="*/ 5132947 w 12191999"/>
              <a:gd name="connsiteY51" fmla="*/ 3233223 h 6858000"/>
              <a:gd name="connsiteX52" fmla="*/ 5132947 w 12191999"/>
              <a:gd name="connsiteY52" fmla="*/ 3328773 h 6858000"/>
              <a:gd name="connsiteX53" fmla="*/ 5193258 w 12191999"/>
              <a:gd name="connsiteY53" fmla="*/ 3328773 h 6858000"/>
              <a:gd name="connsiteX54" fmla="*/ 5193258 w 12191999"/>
              <a:gd name="connsiteY54" fmla="*/ 3315220 h 6858000"/>
              <a:gd name="connsiteX55" fmla="*/ 5149888 w 12191999"/>
              <a:gd name="connsiteY55" fmla="*/ 3315220 h 6858000"/>
              <a:gd name="connsiteX56" fmla="*/ 5149888 w 12191999"/>
              <a:gd name="connsiteY56" fmla="*/ 3233223 h 6858000"/>
              <a:gd name="connsiteX57" fmla="*/ 7150338 w 12191999"/>
              <a:gd name="connsiteY57" fmla="*/ 3232546 h 6858000"/>
              <a:gd name="connsiteX58" fmla="*/ 7150338 w 12191999"/>
              <a:gd name="connsiteY58" fmla="*/ 3328096 h 6858000"/>
              <a:gd name="connsiteX59" fmla="*/ 7166602 w 12191999"/>
              <a:gd name="connsiteY59" fmla="*/ 3328096 h 6858000"/>
              <a:gd name="connsiteX60" fmla="*/ 7166602 w 12191999"/>
              <a:gd name="connsiteY60" fmla="*/ 3232546 h 6858000"/>
              <a:gd name="connsiteX61" fmla="*/ 6980246 w 12191999"/>
              <a:gd name="connsiteY61" fmla="*/ 3232546 h 6858000"/>
              <a:gd name="connsiteX62" fmla="*/ 6980246 w 12191999"/>
              <a:gd name="connsiteY62" fmla="*/ 3246099 h 6858000"/>
              <a:gd name="connsiteX63" fmla="*/ 7010063 w 12191999"/>
              <a:gd name="connsiteY63" fmla="*/ 3246099 h 6858000"/>
              <a:gd name="connsiteX64" fmla="*/ 7010063 w 12191999"/>
              <a:gd name="connsiteY64" fmla="*/ 3328096 h 6858000"/>
              <a:gd name="connsiteX65" fmla="*/ 7026327 w 12191999"/>
              <a:gd name="connsiteY65" fmla="*/ 3328096 h 6858000"/>
              <a:gd name="connsiteX66" fmla="*/ 7026327 w 12191999"/>
              <a:gd name="connsiteY66" fmla="*/ 3246099 h 6858000"/>
              <a:gd name="connsiteX67" fmla="*/ 7056144 w 12191999"/>
              <a:gd name="connsiteY67" fmla="*/ 3246099 h 6858000"/>
              <a:gd name="connsiteX68" fmla="*/ 7056144 w 12191999"/>
              <a:gd name="connsiteY68" fmla="*/ 3232546 h 6858000"/>
              <a:gd name="connsiteX69" fmla="*/ 6707827 w 12191999"/>
              <a:gd name="connsiteY69" fmla="*/ 3232546 h 6858000"/>
              <a:gd name="connsiteX70" fmla="*/ 6707827 w 12191999"/>
              <a:gd name="connsiteY70" fmla="*/ 3328096 h 6858000"/>
              <a:gd name="connsiteX71" fmla="*/ 6724091 w 12191999"/>
              <a:gd name="connsiteY71" fmla="*/ 3328096 h 6858000"/>
              <a:gd name="connsiteX72" fmla="*/ 6724091 w 12191999"/>
              <a:gd name="connsiteY72" fmla="*/ 3232546 h 6858000"/>
              <a:gd name="connsiteX73" fmla="*/ 5941394 w 12191999"/>
              <a:gd name="connsiteY73" fmla="*/ 3232546 h 6858000"/>
              <a:gd name="connsiteX74" fmla="*/ 5941394 w 12191999"/>
              <a:gd name="connsiteY74" fmla="*/ 3328096 h 6858000"/>
              <a:gd name="connsiteX75" fmla="*/ 6003739 w 12191999"/>
              <a:gd name="connsiteY75" fmla="*/ 3328096 h 6858000"/>
              <a:gd name="connsiteX76" fmla="*/ 6003739 w 12191999"/>
              <a:gd name="connsiteY76" fmla="*/ 3314543 h 6858000"/>
              <a:gd name="connsiteX77" fmla="*/ 5957658 w 12191999"/>
              <a:gd name="connsiteY77" fmla="*/ 3314543 h 6858000"/>
              <a:gd name="connsiteX78" fmla="*/ 5957658 w 12191999"/>
              <a:gd name="connsiteY78" fmla="*/ 3285403 h 6858000"/>
              <a:gd name="connsiteX79" fmla="*/ 5996962 w 12191999"/>
              <a:gd name="connsiteY79" fmla="*/ 3285403 h 6858000"/>
              <a:gd name="connsiteX80" fmla="*/ 5997640 w 12191999"/>
              <a:gd name="connsiteY80" fmla="*/ 3285403 h 6858000"/>
              <a:gd name="connsiteX81" fmla="*/ 5997640 w 12191999"/>
              <a:gd name="connsiteY81" fmla="*/ 3272528 h 6858000"/>
              <a:gd name="connsiteX82" fmla="*/ 5958335 w 12191999"/>
              <a:gd name="connsiteY82" fmla="*/ 3272528 h 6858000"/>
              <a:gd name="connsiteX83" fmla="*/ 5958335 w 12191999"/>
              <a:gd name="connsiteY83" fmla="*/ 3246099 h 6858000"/>
              <a:gd name="connsiteX84" fmla="*/ 6003739 w 12191999"/>
              <a:gd name="connsiteY84" fmla="*/ 3246099 h 6858000"/>
              <a:gd name="connsiteX85" fmla="*/ 6003739 w 12191999"/>
              <a:gd name="connsiteY85" fmla="*/ 3232546 h 6858000"/>
              <a:gd name="connsiteX86" fmla="*/ 5772657 w 12191999"/>
              <a:gd name="connsiteY86" fmla="*/ 3232546 h 6858000"/>
              <a:gd name="connsiteX87" fmla="*/ 5772657 w 12191999"/>
              <a:gd name="connsiteY87" fmla="*/ 3327418 h 6858000"/>
              <a:gd name="connsiteX88" fmla="*/ 5799762 w 12191999"/>
              <a:gd name="connsiteY88" fmla="*/ 3327418 h 6858000"/>
              <a:gd name="connsiteX89" fmla="*/ 5822804 w 12191999"/>
              <a:gd name="connsiteY89" fmla="*/ 3321997 h 6858000"/>
              <a:gd name="connsiteX90" fmla="*/ 5838389 w 12191999"/>
              <a:gd name="connsiteY90" fmla="*/ 3306411 h 6858000"/>
              <a:gd name="connsiteX91" fmla="*/ 5843810 w 12191999"/>
              <a:gd name="connsiteY91" fmla="*/ 3282693 h 6858000"/>
              <a:gd name="connsiteX92" fmla="*/ 5843810 w 12191999"/>
              <a:gd name="connsiteY92" fmla="*/ 3277949 h 6858000"/>
              <a:gd name="connsiteX93" fmla="*/ 5838389 w 12191999"/>
              <a:gd name="connsiteY93" fmla="*/ 3254231 h 6858000"/>
              <a:gd name="connsiteX94" fmla="*/ 5823480 w 12191999"/>
              <a:gd name="connsiteY94" fmla="*/ 3237967 h 6858000"/>
              <a:gd name="connsiteX95" fmla="*/ 5801118 w 12191999"/>
              <a:gd name="connsiteY95" fmla="*/ 3232546 h 6858000"/>
              <a:gd name="connsiteX96" fmla="*/ 5655421 w 12191999"/>
              <a:gd name="connsiteY96" fmla="*/ 3232546 h 6858000"/>
              <a:gd name="connsiteX97" fmla="*/ 5655421 w 12191999"/>
              <a:gd name="connsiteY97" fmla="*/ 3328096 h 6858000"/>
              <a:gd name="connsiteX98" fmla="*/ 5671685 w 12191999"/>
              <a:gd name="connsiteY98" fmla="*/ 3328096 h 6858000"/>
              <a:gd name="connsiteX99" fmla="*/ 5671685 w 12191999"/>
              <a:gd name="connsiteY99" fmla="*/ 3232546 h 6858000"/>
              <a:gd name="connsiteX100" fmla="*/ 5448058 w 12191999"/>
              <a:gd name="connsiteY100" fmla="*/ 3232546 h 6858000"/>
              <a:gd name="connsiteX101" fmla="*/ 5470420 w 12191999"/>
              <a:gd name="connsiteY101" fmla="*/ 3328096 h 6858000"/>
              <a:gd name="connsiteX102" fmla="*/ 5486685 w 12191999"/>
              <a:gd name="connsiteY102" fmla="*/ 3328096 h 6858000"/>
              <a:gd name="connsiteX103" fmla="*/ 5504980 w 12191999"/>
              <a:gd name="connsiteY103" fmla="*/ 3258297 h 6858000"/>
              <a:gd name="connsiteX104" fmla="*/ 5523277 w 12191999"/>
              <a:gd name="connsiteY104" fmla="*/ 3328096 h 6858000"/>
              <a:gd name="connsiteX105" fmla="*/ 5538863 w 12191999"/>
              <a:gd name="connsiteY105" fmla="*/ 3328096 h 6858000"/>
              <a:gd name="connsiteX106" fmla="*/ 5561226 w 12191999"/>
              <a:gd name="connsiteY106" fmla="*/ 3232546 h 6858000"/>
              <a:gd name="connsiteX107" fmla="*/ 5544962 w 12191999"/>
              <a:gd name="connsiteY107" fmla="*/ 3232546 h 6858000"/>
              <a:gd name="connsiteX108" fmla="*/ 5530055 w 12191999"/>
              <a:gd name="connsiteY108" fmla="*/ 3304378 h 6858000"/>
              <a:gd name="connsiteX109" fmla="*/ 5511757 w 12191999"/>
              <a:gd name="connsiteY109" fmla="*/ 3232546 h 6858000"/>
              <a:gd name="connsiteX110" fmla="*/ 5497527 w 12191999"/>
              <a:gd name="connsiteY110" fmla="*/ 3232546 h 6858000"/>
              <a:gd name="connsiteX111" fmla="*/ 5479229 w 12191999"/>
              <a:gd name="connsiteY111" fmla="*/ 3304378 h 6858000"/>
              <a:gd name="connsiteX112" fmla="*/ 5464321 w 12191999"/>
              <a:gd name="connsiteY112" fmla="*/ 3232546 h 6858000"/>
              <a:gd name="connsiteX113" fmla="*/ 5286775 w 12191999"/>
              <a:gd name="connsiteY113" fmla="*/ 3232546 h 6858000"/>
              <a:gd name="connsiteX114" fmla="*/ 5286775 w 12191999"/>
              <a:gd name="connsiteY114" fmla="*/ 3327418 h 6858000"/>
              <a:gd name="connsiteX115" fmla="*/ 5313880 w 12191999"/>
              <a:gd name="connsiteY115" fmla="*/ 3327418 h 6858000"/>
              <a:gd name="connsiteX116" fmla="*/ 5336922 w 12191999"/>
              <a:gd name="connsiteY116" fmla="*/ 3321997 h 6858000"/>
              <a:gd name="connsiteX117" fmla="*/ 5352507 w 12191999"/>
              <a:gd name="connsiteY117" fmla="*/ 3306411 h 6858000"/>
              <a:gd name="connsiteX118" fmla="*/ 5357928 w 12191999"/>
              <a:gd name="connsiteY118" fmla="*/ 3282693 h 6858000"/>
              <a:gd name="connsiteX119" fmla="*/ 5357928 w 12191999"/>
              <a:gd name="connsiteY119" fmla="*/ 3277949 h 6858000"/>
              <a:gd name="connsiteX120" fmla="*/ 5352507 w 12191999"/>
              <a:gd name="connsiteY120" fmla="*/ 3254231 h 6858000"/>
              <a:gd name="connsiteX121" fmla="*/ 5337598 w 12191999"/>
              <a:gd name="connsiteY121" fmla="*/ 3237967 h 6858000"/>
              <a:gd name="connsiteX122" fmla="*/ 5315236 w 12191999"/>
              <a:gd name="connsiteY122" fmla="*/ 3232546 h 6858000"/>
              <a:gd name="connsiteX123" fmla="*/ 4968274 w 12191999"/>
              <a:gd name="connsiteY123" fmla="*/ 3232546 h 6858000"/>
              <a:gd name="connsiteX124" fmla="*/ 4968274 w 12191999"/>
              <a:gd name="connsiteY124" fmla="*/ 3328096 h 6858000"/>
              <a:gd name="connsiteX125" fmla="*/ 4985215 w 12191999"/>
              <a:gd name="connsiteY125" fmla="*/ 3328096 h 6858000"/>
              <a:gd name="connsiteX126" fmla="*/ 4985215 w 12191999"/>
              <a:gd name="connsiteY126" fmla="*/ 3291502 h 6858000"/>
              <a:gd name="connsiteX127" fmla="*/ 5003512 w 12191999"/>
              <a:gd name="connsiteY127" fmla="*/ 3291502 h 6858000"/>
              <a:gd name="connsiteX128" fmla="*/ 5023164 w 12191999"/>
              <a:gd name="connsiteY128" fmla="*/ 3328774 h 6858000"/>
              <a:gd name="connsiteX129" fmla="*/ 5040784 w 12191999"/>
              <a:gd name="connsiteY129" fmla="*/ 3328774 h 6858000"/>
              <a:gd name="connsiteX130" fmla="*/ 5040784 w 12191999"/>
              <a:gd name="connsiteY130" fmla="*/ 3328096 h 6858000"/>
              <a:gd name="connsiteX131" fmla="*/ 5019098 w 12191999"/>
              <a:gd name="connsiteY131" fmla="*/ 3288114 h 6858000"/>
              <a:gd name="connsiteX132" fmla="*/ 5031974 w 12191999"/>
              <a:gd name="connsiteY132" fmla="*/ 3277949 h 6858000"/>
              <a:gd name="connsiteX133" fmla="*/ 5036718 w 12191999"/>
              <a:gd name="connsiteY133" fmla="*/ 3261685 h 6858000"/>
              <a:gd name="connsiteX134" fmla="*/ 5027908 w 12191999"/>
              <a:gd name="connsiteY134" fmla="*/ 3240000 h 6858000"/>
              <a:gd name="connsiteX135" fmla="*/ 5002157 w 12191999"/>
              <a:gd name="connsiteY135" fmla="*/ 3232546 h 6858000"/>
              <a:gd name="connsiteX136" fmla="*/ 4589463 w 12191999"/>
              <a:gd name="connsiteY136" fmla="*/ 3232546 h 6858000"/>
              <a:gd name="connsiteX137" fmla="*/ 4611826 w 12191999"/>
              <a:gd name="connsiteY137" fmla="*/ 3328096 h 6858000"/>
              <a:gd name="connsiteX138" fmla="*/ 4627412 w 12191999"/>
              <a:gd name="connsiteY138" fmla="*/ 3328096 h 6858000"/>
              <a:gd name="connsiteX139" fmla="*/ 4645709 w 12191999"/>
              <a:gd name="connsiteY139" fmla="*/ 3258297 h 6858000"/>
              <a:gd name="connsiteX140" fmla="*/ 4664006 w 12191999"/>
              <a:gd name="connsiteY140" fmla="*/ 3328096 h 6858000"/>
              <a:gd name="connsiteX141" fmla="*/ 4679592 w 12191999"/>
              <a:gd name="connsiteY141" fmla="*/ 3328096 h 6858000"/>
              <a:gd name="connsiteX142" fmla="*/ 4701955 w 12191999"/>
              <a:gd name="connsiteY142" fmla="*/ 3232546 h 6858000"/>
              <a:gd name="connsiteX143" fmla="*/ 4685692 w 12191999"/>
              <a:gd name="connsiteY143" fmla="*/ 3232546 h 6858000"/>
              <a:gd name="connsiteX144" fmla="*/ 4670782 w 12191999"/>
              <a:gd name="connsiteY144" fmla="*/ 3304378 h 6858000"/>
              <a:gd name="connsiteX145" fmla="*/ 4653164 w 12191999"/>
              <a:gd name="connsiteY145" fmla="*/ 3232546 h 6858000"/>
              <a:gd name="connsiteX146" fmla="*/ 4638932 w 12191999"/>
              <a:gd name="connsiteY146" fmla="*/ 3232546 h 6858000"/>
              <a:gd name="connsiteX147" fmla="*/ 4620635 w 12191999"/>
              <a:gd name="connsiteY147" fmla="*/ 3304378 h 6858000"/>
              <a:gd name="connsiteX148" fmla="*/ 4605727 w 12191999"/>
              <a:gd name="connsiteY148" fmla="*/ 3232546 h 6858000"/>
              <a:gd name="connsiteX149" fmla="*/ 7468161 w 12191999"/>
              <a:gd name="connsiteY149" fmla="*/ 3231868 h 6858000"/>
              <a:gd name="connsiteX150" fmla="*/ 7443766 w 12191999"/>
              <a:gd name="connsiteY150" fmla="*/ 3239322 h 6858000"/>
              <a:gd name="connsiteX151" fmla="*/ 7434278 w 12191999"/>
              <a:gd name="connsiteY151" fmla="*/ 3258297 h 6858000"/>
              <a:gd name="connsiteX152" fmla="*/ 7447154 w 12191999"/>
              <a:gd name="connsiteY152" fmla="*/ 3279982 h 6858000"/>
              <a:gd name="connsiteX153" fmla="*/ 7465451 w 12191999"/>
              <a:gd name="connsiteY153" fmla="*/ 3287436 h 6858000"/>
              <a:gd name="connsiteX154" fmla="*/ 7481714 w 12191999"/>
              <a:gd name="connsiteY154" fmla="*/ 3294213 h 6858000"/>
              <a:gd name="connsiteX155" fmla="*/ 7486458 w 12191999"/>
              <a:gd name="connsiteY155" fmla="*/ 3303700 h 6858000"/>
              <a:gd name="connsiteX156" fmla="*/ 7481714 w 12191999"/>
              <a:gd name="connsiteY156" fmla="*/ 3312509 h 6858000"/>
              <a:gd name="connsiteX157" fmla="*/ 7468839 w 12191999"/>
              <a:gd name="connsiteY157" fmla="*/ 3315898 h 6858000"/>
              <a:gd name="connsiteX158" fmla="*/ 7453253 w 12191999"/>
              <a:gd name="connsiteY158" fmla="*/ 3311154 h 6858000"/>
              <a:gd name="connsiteX159" fmla="*/ 7447831 w 12191999"/>
              <a:gd name="connsiteY159" fmla="*/ 3298279 h 6858000"/>
              <a:gd name="connsiteX160" fmla="*/ 7430890 w 12191999"/>
              <a:gd name="connsiteY160" fmla="*/ 3298279 h 6858000"/>
              <a:gd name="connsiteX161" fmla="*/ 7435634 w 12191999"/>
              <a:gd name="connsiteY161" fmla="*/ 3313865 h 6858000"/>
              <a:gd name="connsiteX162" fmla="*/ 7449187 w 12191999"/>
              <a:gd name="connsiteY162" fmla="*/ 3324707 h 6858000"/>
              <a:gd name="connsiteX163" fmla="*/ 7468161 w 12191999"/>
              <a:gd name="connsiteY163" fmla="*/ 3328773 h 6858000"/>
              <a:gd name="connsiteX164" fmla="*/ 7493235 w 12191999"/>
              <a:gd name="connsiteY164" fmla="*/ 3321997 h 6858000"/>
              <a:gd name="connsiteX165" fmla="*/ 7502722 w 12191999"/>
              <a:gd name="connsiteY165" fmla="*/ 3303022 h 6858000"/>
              <a:gd name="connsiteX166" fmla="*/ 7499334 w 12191999"/>
              <a:gd name="connsiteY166" fmla="*/ 3290147 h 6858000"/>
              <a:gd name="connsiteX167" fmla="*/ 7489169 w 12191999"/>
              <a:gd name="connsiteY167" fmla="*/ 3280659 h 6858000"/>
              <a:gd name="connsiteX168" fmla="*/ 7471550 w 12191999"/>
              <a:gd name="connsiteY168" fmla="*/ 3273205 h 6858000"/>
              <a:gd name="connsiteX169" fmla="*/ 7455286 w 12191999"/>
              <a:gd name="connsiteY169" fmla="*/ 3266429 h 6858000"/>
              <a:gd name="connsiteX170" fmla="*/ 7450542 w 12191999"/>
              <a:gd name="connsiteY170" fmla="*/ 3257619 h 6858000"/>
              <a:gd name="connsiteX171" fmla="*/ 7455286 w 12191999"/>
              <a:gd name="connsiteY171" fmla="*/ 3248132 h 6858000"/>
              <a:gd name="connsiteX172" fmla="*/ 7468161 w 12191999"/>
              <a:gd name="connsiteY172" fmla="*/ 3244744 h 6858000"/>
              <a:gd name="connsiteX173" fmla="*/ 7481714 w 12191999"/>
              <a:gd name="connsiteY173" fmla="*/ 3248809 h 6858000"/>
              <a:gd name="connsiteX174" fmla="*/ 7486458 w 12191999"/>
              <a:gd name="connsiteY174" fmla="*/ 3260330 h 6858000"/>
              <a:gd name="connsiteX175" fmla="*/ 7502722 w 12191999"/>
              <a:gd name="connsiteY175" fmla="*/ 3260330 h 6858000"/>
              <a:gd name="connsiteX176" fmla="*/ 7497978 w 12191999"/>
              <a:gd name="connsiteY176" fmla="*/ 3245421 h 6858000"/>
              <a:gd name="connsiteX177" fmla="*/ 7485780 w 12191999"/>
              <a:gd name="connsiteY177" fmla="*/ 3235256 h 6858000"/>
              <a:gd name="connsiteX178" fmla="*/ 7468161 w 12191999"/>
              <a:gd name="connsiteY178" fmla="*/ 3231868 h 6858000"/>
              <a:gd name="connsiteX179" fmla="*/ 7303489 w 12191999"/>
              <a:gd name="connsiteY179" fmla="*/ 3231868 h 6858000"/>
              <a:gd name="connsiteX180" fmla="*/ 7282482 w 12191999"/>
              <a:gd name="connsiteY180" fmla="*/ 3237289 h 6858000"/>
              <a:gd name="connsiteX181" fmla="*/ 7268928 w 12191999"/>
              <a:gd name="connsiteY181" fmla="*/ 3252875 h 6858000"/>
              <a:gd name="connsiteX182" fmla="*/ 7264185 w 12191999"/>
              <a:gd name="connsiteY182" fmla="*/ 3276594 h 6858000"/>
              <a:gd name="connsiteX183" fmla="*/ 7264185 w 12191999"/>
              <a:gd name="connsiteY183" fmla="*/ 3285403 h 6858000"/>
              <a:gd name="connsiteX184" fmla="*/ 7268928 w 12191999"/>
              <a:gd name="connsiteY184" fmla="*/ 3308444 h 6858000"/>
              <a:gd name="connsiteX185" fmla="*/ 7282482 w 12191999"/>
              <a:gd name="connsiteY185" fmla="*/ 3324030 h 6858000"/>
              <a:gd name="connsiteX186" fmla="*/ 7302811 w 12191999"/>
              <a:gd name="connsiteY186" fmla="*/ 3329451 h 6858000"/>
              <a:gd name="connsiteX187" fmla="*/ 7329240 w 12191999"/>
              <a:gd name="connsiteY187" fmla="*/ 3320641 h 6858000"/>
              <a:gd name="connsiteX188" fmla="*/ 7340102 w 12191999"/>
              <a:gd name="connsiteY188" fmla="*/ 3298279 h 6858000"/>
              <a:gd name="connsiteX189" fmla="*/ 7340760 w 12191999"/>
              <a:gd name="connsiteY189" fmla="*/ 3298279 h 6858000"/>
              <a:gd name="connsiteX190" fmla="*/ 7340760 w 12191999"/>
              <a:gd name="connsiteY190" fmla="*/ 3296923 h 6858000"/>
              <a:gd name="connsiteX191" fmla="*/ 7340102 w 12191999"/>
              <a:gd name="connsiteY191" fmla="*/ 3298279 h 6858000"/>
              <a:gd name="connsiteX192" fmla="*/ 7323819 w 12191999"/>
              <a:gd name="connsiteY192" fmla="*/ 3298279 h 6858000"/>
              <a:gd name="connsiteX193" fmla="*/ 7317720 w 12191999"/>
              <a:gd name="connsiteY193" fmla="*/ 3313187 h 6858000"/>
              <a:gd name="connsiteX194" fmla="*/ 7302811 w 12191999"/>
              <a:gd name="connsiteY194" fmla="*/ 3317253 h 6858000"/>
              <a:gd name="connsiteX195" fmla="*/ 7286548 w 12191999"/>
              <a:gd name="connsiteY195" fmla="*/ 3309121 h 6858000"/>
              <a:gd name="connsiteX196" fmla="*/ 7281126 w 12191999"/>
              <a:gd name="connsiteY196" fmla="*/ 3285403 h 6858000"/>
              <a:gd name="connsiteX197" fmla="*/ 7281126 w 12191999"/>
              <a:gd name="connsiteY197" fmla="*/ 3276594 h 6858000"/>
              <a:gd name="connsiteX198" fmla="*/ 7287225 w 12191999"/>
              <a:gd name="connsiteY198" fmla="*/ 3253553 h 6858000"/>
              <a:gd name="connsiteX199" fmla="*/ 7304167 w 12191999"/>
              <a:gd name="connsiteY199" fmla="*/ 3245421 h 6858000"/>
              <a:gd name="connsiteX200" fmla="*/ 7318398 w 12191999"/>
              <a:gd name="connsiteY200" fmla="*/ 3250165 h 6858000"/>
              <a:gd name="connsiteX201" fmla="*/ 7324497 w 12191999"/>
              <a:gd name="connsiteY201" fmla="*/ 3265073 h 6858000"/>
              <a:gd name="connsiteX202" fmla="*/ 7340760 w 12191999"/>
              <a:gd name="connsiteY202" fmla="*/ 3265073 h 6858000"/>
              <a:gd name="connsiteX203" fmla="*/ 7329240 w 12191999"/>
              <a:gd name="connsiteY203" fmla="*/ 3240678 h 6858000"/>
              <a:gd name="connsiteX204" fmla="*/ 7303489 w 12191999"/>
              <a:gd name="connsiteY204" fmla="*/ 3231868 h 6858000"/>
              <a:gd name="connsiteX205" fmla="*/ 6856912 w 12191999"/>
              <a:gd name="connsiteY205" fmla="*/ 3231868 h 6858000"/>
              <a:gd name="connsiteX206" fmla="*/ 6832516 w 12191999"/>
              <a:gd name="connsiteY206" fmla="*/ 3239322 h 6858000"/>
              <a:gd name="connsiteX207" fmla="*/ 6823029 w 12191999"/>
              <a:gd name="connsiteY207" fmla="*/ 3258297 h 6858000"/>
              <a:gd name="connsiteX208" fmla="*/ 6835905 w 12191999"/>
              <a:gd name="connsiteY208" fmla="*/ 3279982 h 6858000"/>
              <a:gd name="connsiteX209" fmla="*/ 6854202 w 12191999"/>
              <a:gd name="connsiteY209" fmla="*/ 3287436 h 6858000"/>
              <a:gd name="connsiteX210" fmla="*/ 6870465 w 12191999"/>
              <a:gd name="connsiteY210" fmla="*/ 3294213 h 6858000"/>
              <a:gd name="connsiteX211" fmla="*/ 6875209 w 12191999"/>
              <a:gd name="connsiteY211" fmla="*/ 3303700 h 6858000"/>
              <a:gd name="connsiteX212" fmla="*/ 6870465 w 12191999"/>
              <a:gd name="connsiteY212" fmla="*/ 3312509 h 6858000"/>
              <a:gd name="connsiteX213" fmla="*/ 6857590 w 12191999"/>
              <a:gd name="connsiteY213" fmla="*/ 3315898 h 6858000"/>
              <a:gd name="connsiteX214" fmla="*/ 6842004 w 12191999"/>
              <a:gd name="connsiteY214" fmla="*/ 3311154 h 6858000"/>
              <a:gd name="connsiteX215" fmla="*/ 6836582 w 12191999"/>
              <a:gd name="connsiteY215" fmla="*/ 3298279 h 6858000"/>
              <a:gd name="connsiteX216" fmla="*/ 6819641 w 12191999"/>
              <a:gd name="connsiteY216" fmla="*/ 3298279 h 6858000"/>
              <a:gd name="connsiteX217" fmla="*/ 6824384 w 12191999"/>
              <a:gd name="connsiteY217" fmla="*/ 3313865 h 6858000"/>
              <a:gd name="connsiteX218" fmla="*/ 6837938 w 12191999"/>
              <a:gd name="connsiteY218" fmla="*/ 3324707 h 6858000"/>
              <a:gd name="connsiteX219" fmla="*/ 6856912 w 12191999"/>
              <a:gd name="connsiteY219" fmla="*/ 3328773 h 6858000"/>
              <a:gd name="connsiteX220" fmla="*/ 6881986 w 12191999"/>
              <a:gd name="connsiteY220" fmla="*/ 3321997 h 6858000"/>
              <a:gd name="connsiteX221" fmla="*/ 6891473 w 12191999"/>
              <a:gd name="connsiteY221" fmla="*/ 3303022 h 6858000"/>
              <a:gd name="connsiteX222" fmla="*/ 6888085 w 12191999"/>
              <a:gd name="connsiteY222" fmla="*/ 3290147 h 6858000"/>
              <a:gd name="connsiteX223" fmla="*/ 6877920 w 12191999"/>
              <a:gd name="connsiteY223" fmla="*/ 3280659 h 6858000"/>
              <a:gd name="connsiteX224" fmla="*/ 6860301 w 12191999"/>
              <a:gd name="connsiteY224" fmla="*/ 3273205 h 6858000"/>
              <a:gd name="connsiteX225" fmla="*/ 6844037 w 12191999"/>
              <a:gd name="connsiteY225" fmla="*/ 3266429 h 6858000"/>
              <a:gd name="connsiteX226" fmla="*/ 6839293 w 12191999"/>
              <a:gd name="connsiteY226" fmla="*/ 3257619 h 6858000"/>
              <a:gd name="connsiteX227" fmla="*/ 6844037 w 12191999"/>
              <a:gd name="connsiteY227" fmla="*/ 3248132 h 6858000"/>
              <a:gd name="connsiteX228" fmla="*/ 6856912 w 12191999"/>
              <a:gd name="connsiteY228" fmla="*/ 3244744 h 6858000"/>
              <a:gd name="connsiteX229" fmla="*/ 6870465 w 12191999"/>
              <a:gd name="connsiteY229" fmla="*/ 3248809 h 6858000"/>
              <a:gd name="connsiteX230" fmla="*/ 6875209 w 12191999"/>
              <a:gd name="connsiteY230" fmla="*/ 3260330 h 6858000"/>
              <a:gd name="connsiteX231" fmla="*/ 6891473 w 12191999"/>
              <a:gd name="connsiteY231" fmla="*/ 3260330 h 6858000"/>
              <a:gd name="connsiteX232" fmla="*/ 6886729 w 12191999"/>
              <a:gd name="connsiteY232" fmla="*/ 3245421 h 6858000"/>
              <a:gd name="connsiteX233" fmla="*/ 6874531 w 12191999"/>
              <a:gd name="connsiteY233" fmla="*/ 3235256 h 6858000"/>
              <a:gd name="connsiteX234" fmla="*/ 6856912 w 12191999"/>
              <a:gd name="connsiteY234" fmla="*/ 3231868 h 6858000"/>
              <a:gd name="connsiteX235" fmla="*/ 6398136 w 12191999"/>
              <a:gd name="connsiteY235" fmla="*/ 3231868 h 6858000"/>
              <a:gd name="connsiteX236" fmla="*/ 6377128 w 12191999"/>
              <a:gd name="connsiteY236" fmla="*/ 3237289 h 6858000"/>
              <a:gd name="connsiteX237" fmla="*/ 6362898 w 12191999"/>
              <a:gd name="connsiteY237" fmla="*/ 3253553 h 6858000"/>
              <a:gd name="connsiteX238" fmla="*/ 6358154 w 12191999"/>
              <a:gd name="connsiteY238" fmla="*/ 3277949 h 6858000"/>
              <a:gd name="connsiteX239" fmla="*/ 6358154 w 12191999"/>
              <a:gd name="connsiteY239" fmla="*/ 3283370 h 6858000"/>
              <a:gd name="connsiteX240" fmla="*/ 6362898 w 12191999"/>
              <a:gd name="connsiteY240" fmla="*/ 3307766 h 6858000"/>
              <a:gd name="connsiteX241" fmla="*/ 6377128 w 12191999"/>
              <a:gd name="connsiteY241" fmla="*/ 3324030 h 6858000"/>
              <a:gd name="connsiteX242" fmla="*/ 6398136 w 12191999"/>
              <a:gd name="connsiteY242" fmla="*/ 3329451 h 6858000"/>
              <a:gd name="connsiteX243" fmla="*/ 6419143 w 12191999"/>
              <a:gd name="connsiteY243" fmla="*/ 3324030 h 6858000"/>
              <a:gd name="connsiteX244" fmla="*/ 6432697 w 12191999"/>
              <a:gd name="connsiteY244" fmla="*/ 3307766 h 6858000"/>
              <a:gd name="connsiteX245" fmla="*/ 6437440 w 12191999"/>
              <a:gd name="connsiteY245" fmla="*/ 3283370 h 6858000"/>
              <a:gd name="connsiteX246" fmla="*/ 6438118 w 12191999"/>
              <a:gd name="connsiteY246" fmla="*/ 3283370 h 6858000"/>
              <a:gd name="connsiteX247" fmla="*/ 6438118 w 12191999"/>
              <a:gd name="connsiteY247" fmla="*/ 3277949 h 6858000"/>
              <a:gd name="connsiteX248" fmla="*/ 6433374 w 12191999"/>
              <a:gd name="connsiteY248" fmla="*/ 3253553 h 6858000"/>
              <a:gd name="connsiteX249" fmla="*/ 6419143 w 12191999"/>
              <a:gd name="connsiteY249" fmla="*/ 3237289 h 6858000"/>
              <a:gd name="connsiteX250" fmla="*/ 6398136 w 12191999"/>
              <a:gd name="connsiteY250" fmla="*/ 3231868 h 6858000"/>
              <a:gd name="connsiteX251" fmla="*/ 4832065 w 12191999"/>
              <a:gd name="connsiteY251" fmla="*/ 3231868 h 6858000"/>
              <a:gd name="connsiteX252" fmla="*/ 4811057 w 12191999"/>
              <a:gd name="connsiteY252" fmla="*/ 3237289 h 6858000"/>
              <a:gd name="connsiteX253" fmla="*/ 4796828 w 12191999"/>
              <a:gd name="connsiteY253" fmla="*/ 3253553 h 6858000"/>
              <a:gd name="connsiteX254" fmla="*/ 4792083 w 12191999"/>
              <a:gd name="connsiteY254" fmla="*/ 3277949 h 6858000"/>
              <a:gd name="connsiteX255" fmla="*/ 4792083 w 12191999"/>
              <a:gd name="connsiteY255" fmla="*/ 3283370 h 6858000"/>
              <a:gd name="connsiteX256" fmla="*/ 4796828 w 12191999"/>
              <a:gd name="connsiteY256" fmla="*/ 3307766 h 6858000"/>
              <a:gd name="connsiteX257" fmla="*/ 4811057 w 12191999"/>
              <a:gd name="connsiteY257" fmla="*/ 3324030 h 6858000"/>
              <a:gd name="connsiteX258" fmla="*/ 4832065 w 12191999"/>
              <a:gd name="connsiteY258" fmla="*/ 3329451 h 6858000"/>
              <a:gd name="connsiteX259" fmla="*/ 4853072 w 12191999"/>
              <a:gd name="connsiteY259" fmla="*/ 3324030 h 6858000"/>
              <a:gd name="connsiteX260" fmla="*/ 4866626 w 12191999"/>
              <a:gd name="connsiteY260" fmla="*/ 3307766 h 6858000"/>
              <a:gd name="connsiteX261" fmla="*/ 4871369 w 12191999"/>
              <a:gd name="connsiteY261" fmla="*/ 3283370 h 6858000"/>
              <a:gd name="connsiteX262" fmla="*/ 4872047 w 12191999"/>
              <a:gd name="connsiteY262" fmla="*/ 3283370 h 6858000"/>
              <a:gd name="connsiteX263" fmla="*/ 4872047 w 12191999"/>
              <a:gd name="connsiteY263" fmla="*/ 3277949 h 6858000"/>
              <a:gd name="connsiteX264" fmla="*/ 4867303 w 12191999"/>
              <a:gd name="connsiteY264" fmla="*/ 3253553 h 6858000"/>
              <a:gd name="connsiteX265" fmla="*/ 4853072 w 12191999"/>
              <a:gd name="connsiteY265" fmla="*/ 3237289 h 6858000"/>
              <a:gd name="connsiteX266" fmla="*/ 4832065 w 12191999"/>
              <a:gd name="connsiteY266" fmla="*/ 3231868 h 6858000"/>
              <a:gd name="connsiteX267" fmla="*/ 6570939 w 12191999"/>
              <a:gd name="connsiteY267" fmla="*/ 3231190 h 6858000"/>
              <a:gd name="connsiteX268" fmla="*/ 6541800 w 12191999"/>
              <a:gd name="connsiteY268" fmla="*/ 3243388 h 6858000"/>
              <a:gd name="connsiteX269" fmla="*/ 6531635 w 12191999"/>
              <a:gd name="connsiteY269" fmla="*/ 3277271 h 6858000"/>
              <a:gd name="connsiteX270" fmla="*/ 6531635 w 12191999"/>
              <a:gd name="connsiteY270" fmla="*/ 3284725 h 6858000"/>
              <a:gd name="connsiteX271" fmla="*/ 6537056 w 12191999"/>
              <a:gd name="connsiteY271" fmla="*/ 3308443 h 6858000"/>
              <a:gd name="connsiteX272" fmla="*/ 6551287 w 12191999"/>
              <a:gd name="connsiteY272" fmla="*/ 3324029 h 6858000"/>
              <a:gd name="connsiteX273" fmla="*/ 6572295 w 12191999"/>
              <a:gd name="connsiteY273" fmla="*/ 3329451 h 6858000"/>
              <a:gd name="connsiteX274" fmla="*/ 6593302 w 12191999"/>
              <a:gd name="connsiteY274" fmla="*/ 3326062 h 6858000"/>
              <a:gd name="connsiteX275" fmla="*/ 6607533 w 12191999"/>
              <a:gd name="connsiteY275" fmla="*/ 3315897 h 6858000"/>
              <a:gd name="connsiteX276" fmla="*/ 6607533 w 12191999"/>
              <a:gd name="connsiteY276" fmla="*/ 3279304 h 6858000"/>
              <a:gd name="connsiteX277" fmla="*/ 6571617 w 12191999"/>
              <a:gd name="connsiteY277" fmla="*/ 3279304 h 6858000"/>
              <a:gd name="connsiteX278" fmla="*/ 6571617 w 12191999"/>
              <a:gd name="connsiteY278" fmla="*/ 3292179 h 6858000"/>
              <a:gd name="connsiteX279" fmla="*/ 6591269 w 12191999"/>
              <a:gd name="connsiteY279" fmla="*/ 3292179 h 6858000"/>
              <a:gd name="connsiteX280" fmla="*/ 6591269 w 12191999"/>
              <a:gd name="connsiteY280" fmla="*/ 3311154 h 6858000"/>
              <a:gd name="connsiteX281" fmla="*/ 6572972 w 12191999"/>
              <a:gd name="connsiteY281" fmla="*/ 3317253 h 6858000"/>
              <a:gd name="connsiteX282" fmla="*/ 6554675 w 12191999"/>
              <a:gd name="connsiteY282" fmla="*/ 3308443 h 6858000"/>
              <a:gd name="connsiteX283" fmla="*/ 6547899 w 12191999"/>
              <a:gd name="connsiteY283" fmla="*/ 3284725 h 6858000"/>
              <a:gd name="connsiteX284" fmla="*/ 6547899 w 12191999"/>
              <a:gd name="connsiteY284" fmla="*/ 3277271 h 6858000"/>
              <a:gd name="connsiteX285" fmla="*/ 6553998 w 12191999"/>
              <a:gd name="connsiteY285" fmla="*/ 3253553 h 6858000"/>
              <a:gd name="connsiteX286" fmla="*/ 6570939 w 12191999"/>
              <a:gd name="connsiteY286" fmla="*/ 3245421 h 6858000"/>
              <a:gd name="connsiteX287" fmla="*/ 6591269 w 12191999"/>
              <a:gd name="connsiteY287" fmla="*/ 3262362 h 6858000"/>
              <a:gd name="connsiteX288" fmla="*/ 6607533 w 12191999"/>
              <a:gd name="connsiteY288" fmla="*/ 3262362 h 6858000"/>
              <a:gd name="connsiteX289" fmla="*/ 6596013 w 12191999"/>
              <a:gd name="connsiteY289" fmla="*/ 3239322 h 6858000"/>
              <a:gd name="connsiteX290" fmla="*/ 6570939 w 12191999"/>
              <a:gd name="connsiteY290" fmla="*/ 3231190 h 6858000"/>
              <a:gd name="connsiteX291" fmla="*/ 6488943 w 12191999"/>
              <a:gd name="connsiteY291" fmla="*/ 3019083 h 6858000"/>
              <a:gd name="connsiteX292" fmla="*/ 6550610 w 12191999"/>
              <a:gd name="connsiteY292" fmla="*/ 3019083 h 6858000"/>
              <a:gd name="connsiteX293" fmla="*/ 6550610 w 12191999"/>
              <a:gd name="connsiteY293" fmla="*/ 3076006 h 6858000"/>
              <a:gd name="connsiteX294" fmla="*/ 6488943 w 12191999"/>
              <a:gd name="connsiteY294" fmla="*/ 3076006 h 6858000"/>
              <a:gd name="connsiteX295" fmla="*/ 6476745 w 12191999"/>
              <a:gd name="connsiteY295" fmla="*/ 3063808 h 6858000"/>
              <a:gd name="connsiteX296" fmla="*/ 6476745 w 12191999"/>
              <a:gd name="connsiteY296" fmla="*/ 3031281 h 6858000"/>
              <a:gd name="connsiteX297" fmla="*/ 6488943 w 12191999"/>
              <a:gd name="connsiteY297" fmla="*/ 3019083 h 6858000"/>
              <a:gd name="connsiteX298" fmla="*/ 5127526 w 12191999"/>
              <a:gd name="connsiteY298" fmla="*/ 2880163 h 6858000"/>
              <a:gd name="connsiteX299" fmla="*/ 5176316 w 12191999"/>
              <a:gd name="connsiteY299" fmla="*/ 2880163 h 6858000"/>
              <a:gd name="connsiteX300" fmla="*/ 5188515 w 12191999"/>
              <a:gd name="connsiteY300" fmla="*/ 2892361 h 6858000"/>
              <a:gd name="connsiteX301" fmla="*/ 5188515 w 12191999"/>
              <a:gd name="connsiteY301" fmla="*/ 2937764 h 6858000"/>
              <a:gd name="connsiteX302" fmla="*/ 5115327 w 12191999"/>
              <a:gd name="connsiteY302" fmla="*/ 2937764 h 6858000"/>
              <a:gd name="connsiteX303" fmla="*/ 5115327 w 12191999"/>
              <a:gd name="connsiteY303" fmla="*/ 2892361 h 6858000"/>
              <a:gd name="connsiteX304" fmla="*/ 5127526 w 12191999"/>
              <a:gd name="connsiteY304" fmla="*/ 2880163 h 6858000"/>
              <a:gd name="connsiteX305" fmla="*/ 7131364 w 12191999"/>
              <a:gd name="connsiteY305" fmla="*/ 2798166 h 6858000"/>
              <a:gd name="connsiteX306" fmla="*/ 7131364 w 12191999"/>
              <a:gd name="connsiteY306" fmla="*/ 3158003 h 6858000"/>
              <a:gd name="connsiteX307" fmla="*/ 7262152 w 12191999"/>
              <a:gd name="connsiteY307" fmla="*/ 3158003 h 6858000"/>
              <a:gd name="connsiteX308" fmla="*/ 7262830 w 12191999"/>
              <a:gd name="connsiteY308" fmla="*/ 2879485 h 6858000"/>
              <a:gd name="connsiteX309" fmla="*/ 7291292 w 12191999"/>
              <a:gd name="connsiteY309" fmla="*/ 2879485 h 6858000"/>
              <a:gd name="connsiteX310" fmla="*/ 7310944 w 12191999"/>
              <a:gd name="connsiteY310" fmla="*/ 2904558 h 6858000"/>
              <a:gd name="connsiteX311" fmla="*/ 7369223 w 12191999"/>
              <a:gd name="connsiteY311" fmla="*/ 3158003 h 6858000"/>
              <a:gd name="connsiteX312" fmla="*/ 7503399 w 12191999"/>
              <a:gd name="connsiteY312" fmla="*/ 3158003 h 6858000"/>
              <a:gd name="connsiteX313" fmla="*/ 7429534 w 12191999"/>
              <a:gd name="connsiteY313" fmla="*/ 2838826 h 6858000"/>
              <a:gd name="connsiteX314" fmla="*/ 7377354 w 12191999"/>
              <a:gd name="connsiteY314" fmla="*/ 2798166 h 6858000"/>
              <a:gd name="connsiteX315" fmla="*/ 7131364 w 12191999"/>
              <a:gd name="connsiteY315" fmla="*/ 2798166 h 6858000"/>
              <a:gd name="connsiteX316" fmla="*/ 6736966 w 12191999"/>
              <a:gd name="connsiteY316" fmla="*/ 2798166 h 6858000"/>
              <a:gd name="connsiteX317" fmla="*/ 6736966 w 12191999"/>
              <a:gd name="connsiteY317" fmla="*/ 3158003 h 6858000"/>
              <a:gd name="connsiteX318" fmla="*/ 6867754 w 12191999"/>
              <a:gd name="connsiteY318" fmla="*/ 3158003 h 6858000"/>
              <a:gd name="connsiteX319" fmla="*/ 6868432 w 12191999"/>
              <a:gd name="connsiteY319" fmla="*/ 3158003 h 6858000"/>
              <a:gd name="connsiteX320" fmla="*/ 6868432 w 12191999"/>
              <a:gd name="connsiteY320" fmla="*/ 2879485 h 6858000"/>
              <a:gd name="connsiteX321" fmla="*/ 6896894 w 12191999"/>
              <a:gd name="connsiteY321" fmla="*/ 2879485 h 6858000"/>
              <a:gd name="connsiteX322" fmla="*/ 6916546 w 12191999"/>
              <a:gd name="connsiteY322" fmla="*/ 2904558 h 6858000"/>
              <a:gd name="connsiteX323" fmla="*/ 6974825 w 12191999"/>
              <a:gd name="connsiteY323" fmla="*/ 3158003 h 6858000"/>
              <a:gd name="connsiteX324" fmla="*/ 7109001 w 12191999"/>
              <a:gd name="connsiteY324" fmla="*/ 3158003 h 6858000"/>
              <a:gd name="connsiteX325" fmla="*/ 7035136 w 12191999"/>
              <a:gd name="connsiteY325" fmla="*/ 2838826 h 6858000"/>
              <a:gd name="connsiteX326" fmla="*/ 6982957 w 12191999"/>
              <a:gd name="connsiteY326" fmla="*/ 2798166 h 6858000"/>
              <a:gd name="connsiteX327" fmla="*/ 6736966 w 12191999"/>
              <a:gd name="connsiteY327" fmla="*/ 2798166 h 6858000"/>
              <a:gd name="connsiteX328" fmla="*/ 6387294 w 12191999"/>
              <a:gd name="connsiteY328" fmla="*/ 2798166 h 6858000"/>
              <a:gd name="connsiteX329" fmla="*/ 6346634 w 12191999"/>
              <a:gd name="connsiteY329" fmla="*/ 2838826 h 6858000"/>
              <a:gd name="connsiteX330" fmla="*/ 6346634 w 12191999"/>
              <a:gd name="connsiteY330" fmla="*/ 2880840 h 6858000"/>
              <a:gd name="connsiteX331" fmla="*/ 6539090 w 12191999"/>
              <a:gd name="connsiteY331" fmla="*/ 2880840 h 6858000"/>
              <a:gd name="connsiteX332" fmla="*/ 6551287 w 12191999"/>
              <a:gd name="connsiteY332" fmla="*/ 2893038 h 6858000"/>
              <a:gd name="connsiteX333" fmla="*/ 6551287 w 12191999"/>
              <a:gd name="connsiteY333" fmla="*/ 2937764 h 6858000"/>
              <a:gd name="connsiteX334" fmla="*/ 6387294 w 12191999"/>
              <a:gd name="connsiteY334" fmla="*/ 2937764 h 6858000"/>
              <a:gd name="connsiteX335" fmla="*/ 6346634 w 12191999"/>
              <a:gd name="connsiteY335" fmla="*/ 2978423 h 6858000"/>
              <a:gd name="connsiteX336" fmla="*/ 6346634 w 12191999"/>
              <a:gd name="connsiteY336" fmla="*/ 3117343 h 6858000"/>
              <a:gd name="connsiteX337" fmla="*/ 6387294 w 12191999"/>
              <a:gd name="connsiteY337" fmla="*/ 3158003 h 6858000"/>
              <a:gd name="connsiteX338" fmla="*/ 6681398 w 12191999"/>
              <a:gd name="connsiteY338" fmla="*/ 3158003 h 6858000"/>
              <a:gd name="connsiteX339" fmla="*/ 6681398 w 12191999"/>
              <a:gd name="connsiteY339" fmla="*/ 2838826 h 6858000"/>
              <a:gd name="connsiteX340" fmla="*/ 6640738 w 12191999"/>
              <a:gd name="connsiteY340" fmla="*/ 2798166 h 6858000"/>
              <a:gd name="connsiteX341" fmla="*/ 5746228 w 12191999"/>
              <a:gd name="connsiteY341" fmla="*/ 2798166 h 6858000"/>
              <a:gd name="connsiteX342" fmla="*/ 5746228 w 12191999"/>
              <a:gd name="connsiteY342" fmla="*/ 3158003 h 6858000"/>
              <a:gd name="connsiteX343" fmla="*/ 5877016 w 12191999"/>
              <a:gd name="connsiteY343" fmla="*/ 3158003 h 6858000"/>
              <a:gd name="connsiteX344" fmla="*/ 5877016 w 12191999"/>
              <a:gd name="connsiteY344" fmla="*/ 2880163 h 6858000"/>
              <a:gd name="connsiteX345" fmla="*/ 5950881 w 12191999"/>
              <a:gd name="connsiteY345" fmla="*/ 2880163 h 6858000"/>
              <a:gd name="connsiteX346" fmla="*/ 5951559 w 12191999"/>
              <a:gd name="connsiteY346" fmla="*/ 3158003 h 6858000"/>
              <a:gd name="connsiteX347" fmla="*/ 6082347 w 12191999"/>
              <a:gd name="connsiteY347" fmla="*/ 3158003 h 6858000"/>
              <a:gd name="connsiteX348" fmla="*/ 6082347 w 12191999"/>
              <a:gd name="connsiteY348" fmla="*/ 2880163 h 6858000"/>
              <a:gd name="connsiteX349" fmla="*/ 6110809 w 12191999"/>
              <a:gd name="connsiteY349" fmla="*/ 2880163 h 6858000"/>
              <a:gd name="connsiteX350" fmla="*/ 6130461 w 12191999"/>
              <a:gd name="connsiteY350" fmla="*/ 2905236 h 6858000"/>
              <a:gd name="connsiteX351" fmla="*/ 6188062 w 12191999"/>
              <a:gd name="connsiteY351" fmla="*/ 3158003 h 6858000"/>
              <a:gd name="connsiteX352" fmla="*/ 6322239 w 12191999"/>
              <a:gd name="connsiteY352" fmla="*/ 3158003 h 6858000"/>
              <a:gd name="connsiteX353" fmla="*/ 6248374 w 12191999"/>
              <a:gd name="connsiteY353" fmla="*/ 2838826 h 6858000"/>
              <a:gd name="connsiteX354" fmla="*/ 6196194 w 12191999"/>
              <a:gd name="connsiteY354" fmla="*/ 2798166 h 6858000"/>
              <a:gd name="connsiteX355" fmla="*/ 5746228 w 12191999"/>
              <a:gd name="connsiteY355" fmla="*/ 2798166 h 6858000"/>
              <a:gd name="connsiteX356" fmla="*/ 5025876 w 12191999"/>
              <a:gd name="connsiteY356" fmla="*/ 2798166 h 6858000"/>
              <a:gd name="connsiteX357" fmla="*/ 4985216 w 12191999"/>
              <a:gd name="connsiteY357" fmla="*/ 2838826 h 6858000"/>
              <a:gd name="connsiteX358" fmla="*/ 4985216 w 12191999"/>
              <a:gd name="connsiteY358" fmla="*/ 3117343 h 6858000"/>
              <a:gd name="connsiteX359" fmla="*/ 5025876 w 12191999"/>
              <a:gd name="connsiteY359" fmla="*/ 3158003 h 6858000"/>
              <a:gd name="connsiteX360" fmla="*/ 5279320 w 12191999"/>
              <a:gd name="connsiteY360" fmla="*/ 3158003 h 6858000"/>
              <a:gd name="connsiteX361" fmla="*/ 5319981 w 12191999"/>
              <a:gd name="connsiteY361" fmla="*/ 3117343 h 6858000"/>
              <a:gd name="connsiteX362" fmla="*/ 5319981 w 12191999"/>
              <a:gd name="connsiteY362" fmla="*/ 3076684 h 6858000"/>
              <a:gd name="connsiteX363" fmla="*/ 5127526 w 12191999"/>
              <a:gd name="connsiteY363" fmla="*/ 3076684 h 6858000"/>
              <a:gd name="connsiteX364" fmla="*/ 5115327 w 12191999"/>
              <a:gd name="connsiteY364" fmla="*/ 3064486 h 6858000"/>
              <a:gd name="connsiteX365" fmla="*/ 5115327 w 12191999"/>
              <a:gd name="connsiteY365" fmla="*/ 3019761 h 6858000"/>
              <a:gd name="connsiteX366" fmla="*/ 5319981 w 12191999"/>
              <a:gd name="connsiteY366" fmla="*/ 3019761 h 6858000"/>
              <a:gd name="connsiteX367" fmla="*/ 5319981 w 12191999"/>
              <a:gd name="connsiteY367" fmla="*/ 2838826 h 6858000"/>
              <a:gd name="connsiteX368" fmla="*/ 5279320 w 12191999"/>
              <a:gd name="connsiteY368" fmla="*/ 2798166 h 6858000"/>
              <a:gd name="connsiteX369" fmla="*/ 5561227 w 12191999"/>
              <a:gd name="connsiteY369" fmla="*/ 2651114 h 6858000"/>
              <a:gd name="connsiteX370" fmla="*/ 5560549 w 12191999"/>
              <a:gd name="connsiteY370" fmla="*/ 3158003 h 6858000"/>
              <a:gd name="connsiteX371" fmla="*/ 5692015 w 12191999"/>
              <a:gd name="connsiteY371" fmla="*/ 3158003 h 6858000"/>
              <a:gd name="connsiteX372" fmla="*/ 5692015 w 12191999"/>
              <a:gd name="connsiteY372" fmla="*/ 2651114 h 6858000"/>
              <a:gd name="connsiteX373" fmla="*/ 5374870 w 12191999"/>
              <a:gd name="connsiteY373" fmla="*/ 2651114 h 6858000"/>
              <a:gd name="connsiteX374" fmla="*/ 5374870 w 12191999"/>
              <a:gd name="connsiteY374" fmla="*/ 3158003 h 6858000"/>
              <a:gd name="connsiteX375" fmla="*/ 5505658 w 12191999"/>
              <a:gd name="connsiteY375" fmla="*/ 3158003 h 6858000"/>
              <a:gd name="connsiteX376" fmla="*/ 5505658 w 12191999"/>
              <a:gd name="connsiteY376" fmla="*/ 2651114 h 6858000"/>
              <a:gd name="connsiteX377" fmla="*/ 4589463 w 12191999"/>
              <a:gd name="connsiteY377" fmla="*/ 2650436 h 6858000"/>
              <a:gd name="connsiteX378" fmla="*/ 4589463 w 12191999"/>
              <a:gd name="connsiteY378" fmla="*/ 3158003 h 6858000"/>
              <a:gd name="connsiteX379" fmla="*/ 4720251 w 12191999"/>
              <a:gd name="connsiteY379" fmla="*/ 3158003 h 6858000"/>
              <a:gd name="connsiteX380" fmla="*/ 4720929 w 12191999"/>
              <a:gd name="connsiteY380" fmla="*/ 2878807 h 6858000"/>
              <a:gd name="connsiteX381" fmla="*/ 4749391 w 12191999"/>
              <a:gd name="connsiteY381" fmla="*/ 2878807 h 6858000"/>
              <a:gd name="connsiteX382" fmla="*/ 4769043 w 12191999"/>
              <a:gd name="connsiteY382" fmla="*/ 2903881 h 6858000"/>
              <a:gd name="connsiteX383" fmla="*/ 4827322 w 12191999"/>
              <a:gd name="connsiteY383" fmla="*/ 3157325 h 6858000"/>
              <a:gd name="connsiteX384" fmla="*/ 4961498 w 12191999"/>
              <a:gd name="connsiteY384" fmla="*/ 3157325 h 6858000"/>
              <a:gd name="connsiteX385" fmla="*/ 4887633 w 12191999"/>
              <a:gd name="connsiteY385" fmla="*/ 2838148 h 6858000"/>
              <a:gd name="connsiteX386" fmla="*/ 4835453 w 12191999"/>
              <a:gd name="connsiteY386" fmla="*/ 2797488 h 6858000"/>
              <a:gd name="connsiteX387" fmla="*/ 4720929 w 12191999"/>
              <a:gd name="connsiteY387" fmla="*/ 2797488 h 6858000"/>
              <a:gd name="connsiteX388" fmla="*/ 4720251 w 12191999"/>
              <a:gd name="connsiteY388" fmla="*/ 2650436 h 6858000"/>
              <a:gd name="connsiteX389" fmla="*/ 7537283 w 12191999"/>
              <a:gd name="connsiteY389" fmla="*/ 2567085 h 6858000"/>
              <a:gd name="connsiteX390" fmla="*/ 7647741 w 12191999"/>
              <a:gd name="connsiteY390" fmla="*/ 2678221 h 6858000"/>
              <a:gd name="connsiteX391" fmla="*/ 7535927 w 12191999"/>
              <a:gd name="connsiteY391" fmla="*/ 2790712 h 6858000"/>
              <a:gd name="connsiteX392" fmla="*/ 7480359 w 12191999"/>
              <a:gd name="connsiteY392" fmla="*/ 2775804 h 6858000"/>
              <a:gd name="connsiteX393" fmla="*/ 7502722 w 12191999"/>
              <a:gd name="connsiteY393" fmla="*/ 2773093 h 6858000"/>
              <a:gd name="connsiteX394" fmla="*/ 7524407 w 12191999"/>
              <a:gd name="connsiteY394" fmla="*/ 2765639 h 6858000"/>
              <a:gd name="connsiteX395" fmla="*/ 7550836 w 12191999"/>
              <a:gd name="connsiteY395" fmla="*/ 2748020 h 6858000"/>
              <a:gd name="connsiteX396" fmla="*/ 7569810 w 12191999"/>
              <a:gd name="connsiteY396" fmla="*/ 2731078 h 6858000"/>
              <a:gd name="connsiteX397" fmla="*/ 7592851 w 12191999"/>
              <a:gd name="connsiteY397" fmla="*/ 2718203 h 6858000"/>
              <a:gd name="connsiteX398" fmla="*/ 7601660 w 12191999"/>
              <a:gd name="connsiteY398" fmla="*/ 2716170 h 6858000"/>
              <a:gd name="connsiteX399" fmla="*/ 7617924 w 12191999"/>
              <a:gd name="connsiteY399" fmla="*/ 2712104 h 6858000"/>
              <a:gd name="connsiteX400" fmla="*/ 7630122 w 12191999"/>
              <a:gd name="connsiteY400" fmla="*/ 2708716 h 6858000"/>
              <a:gd name="connsiteX401" fmla="*/ 7631477 w 12191999"/>
              <a:gd name="connsiteY401" fmla="*/ 2707360 h 6858000"/>
              <a:gd name="connsiteX402" fmla="*/ 7629444 w 12191999"/>
              <a:gd name="connsiteY402" fmla="*/ 2706005 h 6858000"/>
              <a:gd name="connsiteX403" fmla="*/ 7613858 w 12191999"/>
              <a:gd name="connsiteY403" fmla="*/ 2700584 h 6858000"/>
              <a:gd name="connsiteX404" fmla="*/ 7603693 w 12191999"/>
              <a:gd name="connsiteY404" fmla="*/ 2700584 h 6858000"/>
              <a:gd name="connsiteX405" fmla="*/ 7590140 w 12191999"/>
              <a:gd name="connsiteY405" fmla="*/ 2708038 h 6858000"/>
              <a:gd name="connsiteX406" fmla="*/ 7568455 w 12191999"/>
              <a:gd name="connsiteY406" fmla="*/ 2720913 h 6858000"/>
              <a:gd name="connsiteX407" fmla="*/ 7550836 w 12191999"/>
              <a:gd name="connsiteY407" fmla="*/ 2725657 h 6858000"/>
              <a:gd name="connsiteX408" fmla="*/ 7546092 w 12191999"/>
              <a:gd name="connsiteY408" fmla="*/ 2725657 h 6858000"/>
              <a:gd name="connsiteX409" fmla="*/ 7560323 w 12191999"/>
              <a:gd name="connsiteY409" fmla="*/ 2714137 h 6858000"/>
              <a:gd name="connsiteX410" fmla="*/ 7569810 w 12191999"/>
              <a:gd name="connsiteY410" fmla="*/ 2702617 h 6858000"/>
              <a:gd name="connsiteX411" fmla="*/ 7586752 w 12191999"/>
              <a:gd name="connsiteY411" fmla="*/ 2690419 h 6858000"/>
              <a:gd name="connsiteX412" fmla="*/ 7600983 w 12191999"/>
              <a:gd name="connsiteY412" fmla="*/ 2682287 h 6858000"/>
              <a:gd name="connsiteX413" fmla="*/ 7609792 w 12191999"/>
              <a:gd name="connsiteY413" fmla="*/ 2678899 h 6858000"/>
              <a:gd name="connsiteX414" fmla="*/ 7615891 w 12191999"/>
              <a:gd name="connsiteY414" fmla="*/ 2678221 h 6858000"/>
              <a:gd name="connsiteX415" fmla="*/ 7632833 w 12191999"/>
              <a:gd name="connsiteY415" fmla="*/ 2672122 h 6858000"/>
              <a:gd name="connsiteX416" fmla="*/ 7640287 w 12191999"/>
              <a:gd name="connsiteY416" fmla="*/ 2670089 h 6858000"/>
              <a:gd name="connsiteX417" fmla="*/ 7640964 w 12191999"/>
              <a:gd name="connsiteY417" fmla="*/ 2668734 h 6858000"/>
              <a:gd name="connsiteX418" fmla="*/ 7640287 w 12191999"/>
              <a:gd name="connsiteY418" fmla="*/ 2668056 h 6858000"/>
              <a:gd name="connsiteX419" fmla="*/ 7621312 w 12191999"/>
              <a:gd name="connsiteY419" fmla="*/ 2663312 h 6858000"/>
              <a:gd name="connsiteX420" fmla="*/ 7605726 w 12191999"/>
              <a:gd name="connsiteY420" fmla="*/ 2665345 h 6858000"/>
              <a:gd name="connsiteX421" fmla="*/ 7592173 w 12191999"/>
              <a:gd name="connsiteY421" fmla="*/ 2675510 h 6858000"/>
              <a:gd name="connsiteX422" fmla="*/ 7588107 w 12191999"/>
              <a:gd name="connsiteY422" fmla="*/ 2678221 h 6858000"/>
              <a:gd name="connsiteX423" fmla="*/ 7570488 w 12191999"/>
              <a:gd name="connsiteY423" fmla="*/ 2687031 h 6858000"/>
              <a:gd name="connsiteX424" fmla="*/ 7552191 w 12191999"/>
              <a:gd name="connsiteY424" fmla="*/ 2689741 h 6858000"/>
              <a:gd name="connsiteX425" fmla="*/ 7546770 w 12191999"/>
              <a:gd name="connsiteY425" fmla="*/ 2686353 h 6858000"/>
              <a:gd name="connsiteX426" fmla="*/ 7544737 w 12191999"/>
              <a:gd name="connsiteY426" fmla="*/ 2678221 h 6858000"/>
              <a:gd name="connsiteX427" fmla="*/ 7544059 w 12191999"/>
              <a:gd name="connsiteY427" fmla="*/ 2672800 h 6858000"/>
              <a:gd name="connsiteX428" fmla="*/ 7544737 w 12191999"/>
              <a:gd name="connsiteY428" fmla="*/ 2657214 h 6858000"/>
              <a:gd name="connsiteX429" fmla="*/ 7546092 w 12191999"/>
              <a:gd name="connsiteY429" fmla="*/ 2642983 h 6858000"/>
              <a:gd name="connsiteX430" fmla="*/ 7526440 w 12191999"/>
              <a:gd name="connsiteY430" fmla="*/ 2623331 h 6858000"/>
              <a:gd name="connsiteX431" fmla="*/ 7493235 w 12191999"/>
              <a:gd name="connsiteY431" fmla="*/ 2584704 h 6858000"/>
              <a:gd name="connsiteX432" fmla="*/ 7491202 w 12191999"/>
              <a:gd name="connsiteY432" fmla="*/ 2581316 h 6858000"/>
              <a:gd name="connsiteX433" fmla="*/ 7489169 w 12191999"/>
              <a:gd name="connsiteY433" fmla="*/ 2582671 h 6858000"/>
              <a:gd name="connsiteX434" fmla="*/ 7483070 w 12191999"/>
              <a:gd name="connsiteY434" fmla="*/ 2608422 h 6858000"/>
              <a:gd name="connsiteX435" fmla="*/ 7495945 w 12191999"/>
              <a:gd name="connsiteY435" fmla="*/ 2633495 h 6858000"/>
              <a:gd name="connsiteX436" fmla="*/ 7505433 w 12191999"/>
              <a:gd name="connsiteY436" fmla="*/ 2647049 h 6858000"/>
              <a:gd name="connsiteX437" fmla="*/ 7507466 w 12191999"/>
              <a:gd name="connsiteY437" fmla="*/ 2659924 h 6858000"/>
              <a:gd name="connsiteX438" fmla="*/ 7497301 w 12191999"/>
              <a:gd name="connsiteY438" fmla="*/ 2652470 h 6858000"/>
              <a:gd name="connsiteX439" fmla="*/ 7487136 w 12191999"/>
              <a:gd name="connsiteY439" fmla="*/ 2645016 h 6858000"/>
              <a:gd name="connsiteX440" fmla="*/ 7466128 w 12191999"/>
              <a:gd name="connsiteY440" fmla="*/ 2626719 h 6858000"/>
              <a:gd name="connsiteX441" fmla="*/ 7464773 w 12191999"/>
              <a:gd name="connsiteY441" fmla="*/ 2626719 h 6858000"/>
              <a:gd name="connsiteX442" fmla="*/ 7463418 w 12191999"/>
              <a:gd name="connsiteY442" fmla="*/ 2629429 h 6858000"/>
              <a:gd name="connsiteX443" fmla="*/ 7467484 w 12191999"/>
              <a:gd name="connsiteY443" fmla="*/ 2661957 h 6858000"/>
              <a:gd name="connsiteX444" fmla="*/ 7480359 w 12191999"/>
              <a:gd name="connsiteY444" fmla="*/ 2676866 h 6858000"/>
              <a:gd name="connsiteX445" fmla="*/ 7489846 w 12191999"/>
              <a:gd name="connsiteY445" fmla="*/ 2685675 h 6858000"/>
              <a:gd name="connsiteX446" fmla="*/ 7496623 w 12191999"/>
              <a:gd name="connsiteY446" fmla="*/ 2695840 h 6858000"/>
              <a:gd name="connsiteX447" fmla="*/ 7493912 w 12191999"/>
              <a:gd name="connsiteY447" fmla="*/ 2708716 h 6858000"/>
              <a:gd name="connsiteX448" fmla="*/ 7487814 w 12191999"/>
              <a:gd name="connsiteY448" fmla="*/ 2717525 h 6858000"/>
              <a:gd name="connsiteX449" fmla="*/ 7472905 w 12191999"/>
              <a:gd name="connsiteY449" fmla="*/ 2718880 h 6858000"/>
              <a:gd name="connsiteX450" fmla="*/ 7466128 w 12191999"/>
              <a:gd name="connsiteY450" fmla="*/ 2724979 h 6858000"/>
              <a:gd name="connsiteX451" fmla="*/ 7462740 w 12191999"/>
              <a:gd name="connsiteY451" fmla="*/ 2735822 h 6858000"/>
              <a:gd name="connsiteX452" fmla="*/ 7466806 w 12191999"/>
              <a:gd name="connsiteY452" fmla="*/ 2746665 h 6858000"/>
              <a:gd name="connsiteX453" fmla="*/ 7469517 w 12191999"/>
              <a:gd name="connsiteY453" fmla="*/ 2748697 h 6858000"/>
              <a:gd name="connsiteX454" fmla="*/ 7475616 w 12191999"/>
              <a:gd name="connsiteY454" fmla="*/ 2745987 h 6858000"/>
              <a:gd name="connsiteX455" fmla="*/ 7499334 w 12191999"/>
              <a:gd name="connsiteY455" fmla="*/ 2732434 h 6858000"/>
              <a:gd name="connsiteX456" fmla="*/ 7487136 w 12191999"/>
              <a:gd name="connsiteY456" fmla="*/ 2743954 h 6858000"/>
              <a:gd name="connsiteX457" fmla="*/ 7460029 w 12191999"/>
              <a:gd name="connsiteY457" fmla="*/ 2755474 h 6858000"/>
              <a:gd name="connsiteX458" fmla="*/ 7455963 w 12191999"/>
              <a:gd name="connsiteY458" fmla="*/ 2754119 h 6858000"/>
              <a:gd name="connsiteX459" fmla="*/ 7426146 w 12191999"/>
              <a:gd name="connsiteY459" fmla="*/ 2678221 h 6858000"/>
              <a:gd name="connsiteX460" fmla="*/ 7537283 w 12191999"/>
              <a:gd name="connsiteY460" fmla="*/ 2567085 h 6858000"/>
              <a:gd name="connsiteX461" fmla="*/ 7535927 w 12191999"/>
              <a:gd name="connsiteY461" fmla="*/ 2552854 h 6858000"/>
              <a:gd name="connsiteX462" fmla="*/ 7409205 w 12191999"/>
              <a:gd name="connsiteY462" fmla="*/ 2679576 h 6858000"/>
              <a:gd name="connsiteX463" fmla="*/ 7535927 w 12191999"/>
              <a:gd name="connsiteY463" fmla="*/ 2806299 h 6858000"/>
              <a:gd name="connsiteX464" fmla="*/ 7662650 w 12191999"/>
              <a:gd name="connsiteY464" fmla="*/ 2679576 h 6858000"/>
              <a:gd name="connsiteX465" fmla="*/ 7535927 w 12191999"/>
              <a:gd name="connsiteY465" fmla="*/ 2552854 h 6858000"/>
              <a:gd name="connsiteX466" fmla="*/ 0 w 12191999"/>
              <a:gd name="connsiteY466" fmla="*/ 0 h 6858000"/>
              <a:gd name="connsiteX467" fmla="*/ 12191999 w 12191999"/>
              <a:gd name="connsiteY467" fmla="*/ 0 h 6858000"/>
              <a:gd name="connsiteX468" fmla="*/ 12191999 w 12191999"/>
              <a:gd name="connsiteY468" fmla="*/ 6858000 h 6858000"/>
              <a:gd name="connsiteX469" fmla="*/ 0 w 12191999"/>
              <a:gd name="connsiteY46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Lst>
            <a:rect l="l" t="t" r="r" b="b"/>
            <a:pathLst>
              <a:path w="12191999" h="6858000">
                <a:moveTo>
                  <a:pt x="5788920" y="3246099"/>
                </a:moveTo>
                <a:lnTo>
                  <a:pt x="5801118" y="3246099"/>
                </a:lnTo>
                <a:cubicBezTo>
                  <a:pt x="5809927" y="3246099"/>
                  <a:pt x="5816026" y="3248810"/>
                  <a:pt x="5820770" y="3254231"/>
                </a:cubicBezTo>
                <a:cubicBezTo>
                  <a:pt x="5825513" y="3259652"/>
                  <a:pt x="5827546" y="3267784"/>
                  <a:pt x="5827546" y="3277949"/>
                </a:cubicBezTo>
                <a:lnTo>
                  <a:pt x="5827546" y="3283370"/>
                </a:lnTo>
                <a:cubicBezTo>
                  <a:pt x="5826869" y="3293535"/>
                  <a:pt x="5824836" y="3301667"/>
                  <a:pt x="5820092" y="3307089"/>
                </a:cubicBezTo>
                <a:cubicBezTo>
                  <a:pt x="5815348" y="3312510"/>
                  <a:pt x="5808572" y="3315220"/>
                  <a:pt x="5799762" y="3315220"/>
                </a:cubicBezTo>
                <a:lnTo>
                  <a:pt x="5788920" y="3315220"/>
                </a:lnTo>
                <a:close/>
                <a:moveTo>
                  <a:pt x="5303038" y="3246099"/>
                </a:moveTo>
                <a:lnTo>
                  <a:pt x="5315236" y="3246099"/>
                </a:lnTo>
                <a:cubicBezTo>
                  <a:pt x="5324045" y="3246099"/>
                  <a:pt x="5330144" y="3248810"/>
                  <a:pt x="5334888" y="3254231"/>
                </a:cubicBezTo>
                <a:cubicBezTo>
                  <a:pt x="5339631" y="3259652"/>
                  <a:pt x="5341664" y="3267784"/>
                  <a:pt x="5341664" y="3277949"/>
                </a:cubicBezTo>
                <a:lnTo>
                  <a:pt x="5341664" y="3283370"/>
                </a:lnTo>
                <a:cubicBezTo>
                  <a:pt x="5340987" y="3293535"/>
                  <a:pt x="5338954" y="3301667"/>
                  <a:pt x="5334210" y="3307089"/>
                </a:cubicBezTo>
                <a:cubicBezTo>
                  <a:pt x="5329467" y="3312510"/>
                  <a:pt x="5322690" y="3315220"/>
                  <a:pt x="5313880" y="3315220"/>
                </a:cubicBezTo>
                <a:lnTo>
                  <a:pt x="5303038" y="3315220"/>
                </a:lnTo>
                <a:close/>
                <a:moveTo>
                  <a:pt x="4985215" y="3246099"/>
                </a:moveTo>
                <a:lnTo>
                  <a:pt x="5002835" y="3246099"/>
                </a:lnTo>
                <a:cubicBezTo>
                  <a:pt x="5008256" y="3246099"/>
                  <a:pt x="5013000" y="3246777"/>
                  <a:pt x="5015710" y="3250165"/>
                </a:cubicBezTo>
                <a:cubicBezTo>
                  <a:pt x="5018421" y="3253553"/>
                  <a:pt x="5019776" y="3256942"/>
                  <a:pt x="5019776" y="3262363"/>
                </a:cubicBezTo>
                <a:cubicBezTo>
                  <a:pt x="5019776" y="3267107"/>
                  <a:pt x="5018421" y="3271173"/>
                  <a:pt x="5015033" y="3273883"/>
                </a:cubicBezTo>
                <a:cubicBezTo>
                  <a:pt x="5012322" y="3276594"/>
                  <a:pt x="5007578" y="3277949"/>
                  <a:pt x="5002157" y="3277949"/>
                </a:cubicBezTo>
                <a:lnTo>
                  <a:pt x="4985215" y="3277949"/>
                </a:lnTo>
                <a:close/>
                <a:moveTo>
                  <a:pt x="6397458" y="3245421"/>
                </a:moveTo>
                <a:cubicBezTo>
                  <a:pt x="6404912" y="3245421"/>
                  <a:pt x="6410334" y="3248132"/>
                  <a:pt x="6414400" y="3253553"/>
                </a:cubicBezTo>
                <a:cubicBezTo>
                  <a:pt x="6418466" y="3258974"/>
                  <a:pt x="6420499" y="3267106"/>
                  <a:pt x="6420499" y="3277949"/>
                </a:cubicBezTo>
                <a:lnTo>
                  <a:pt x="6420499" y="3283370"/>
                </a:lnTo>
                <a:cubicBezTo>
                  <a:pt x="6420499" y="3294213"/>
                  <a:pt x="6418466" y="3302345"/>
                  <a:pt x="6414400" y="3307766"/>
                </a:cubicBezTo>
                <a:cubicBezTo>
                  <a:pt x="6410334" y="3313187"/>
                  <a:pt x="6404912" y="3315898"/>
                  <a:pt x="6397458" y="3315898"/>
                </a:cubicBezTo>
                <a:cubicBezTo>
                  <a:pt x="6390004" y="3315898"/>
                  <a:pt x="6384583" y="3312509"/>
                  <a:pt x="6380517" y="3307088"/>
                </a:cubicBezTo>
                <a:cubicBezTo>
                  <a:pt x="6376451" y="3300989"/>
                  <a:pt x="6374418" y="3293535"/>
                  <a:pt x="6374418" y="3282692"/>
                </a:cubicBezTo>
                <a:lnTo>
                  <a:pt x="6374418" y="3277271"/>
                </a:lnTo>
                <a:cubicBezTo>
                  <a:pt x="6374418" y="3267106"/>
                  <a:pt x="6376451" y="3258974"/>
                  <a:pt x="6380517" y="3253553"/>
                </a:cubicBezTo>
                <a:cubicBezTo>
                  <a:pt x="6384583" y="3248132"/>
                  <a:pt x="6390004" y="3245421"/>
                  <a:pt x="6397458" y="3245421"/>
                </a:cubicBezTo>
                <a:close/>
                <a:moveTo>
                  <a:pt x="4831387" y="3245421"/>
                </a:moveTo>
                <a:cubicBezTo>
                  <a:pt x="4838842" y="3245421"/>
                  <a:pt x="4844263" y="3248132"/>
                  <a:pt x="4848329" y="3253553"/>
                </a:cubicBezTo>
                <a:cubicBezTo>
                  <a:pt x="4852395" y="3258974"/>
                  <a:pt x="4854428" y="3267106"/>
                  <a:pt x="4854428" y="3277949"/>
                </a:cubicBezTo>
                <a:lnTo>
                  <a:pt x="4854428" y="3283370"/>
                </a:lnTo>
                <a:cubicBezTo>
                  <a:pt x="4854428" y="3294213"/>
                  <a:pt x="4852395" y="3302345"/>
                  <a:pt x="4848329" y="3307766"/>
                </a:cubicBezTo>
                <a:cubicBezTo>
                  <a:pt x="4844263" y="3313187"/>
                  <a:pt x="4838842" y="3315898"/>
                  <a:pt x="4831387" y="3315898"/>
                </a:cubicBezTo>
                <a:cubicBezTo>
                  <a:pt x="4823933" y="3315898"/>
                  <a:pt x="4818512" y="3312509"/>
                  <a:pt x="4814446" y="3307088"/>
                </a:cubicBezTo>
                <a:cubicBezTo>
                  <a:pt x="4810380" y="3300989"/>
                  <a:pt x="4808347" y="3293535"/>
                  <a:pt x="4808347" y="3282692"/>
                </a:cubicBezTo>
                <a:lnTo>
                  <a:pt x="4808347" y="3277271"/>
                </a:lnTo>
                <a:cubicBezTo>
                  <a:pt x="4808347" y="3267106"/>
                  <a:pt x="4810380" y="3258974"/>
                  <a:pt x="4814446" y="3253553"/>
                </a:cubicBezTo>
                <a:cubicBezTo>
                  <a:pt x="4818512" y="3248132"/>
                  <a:pt x="4823933" y="3245421"/>
                  <a:pt x="4831387" y="3245421"/>
                </a:cubicBezTo>
                <a:close/>
                <a:moveTo>
                  <a:pt x="6211780" y="3233223"/>
                </a:moveTo>
                <a:lnTo>
                  <a:pt x="6211780" y="3328773"/>
                </a:lnTo>
                <a:lnTo>
                  <a:pt x="6272092" y="3328773"/>
                </a:lnTo>
                <a:lnTo>
                  <a:pt x="6272092" y="3315220"/>
                </a:lnTo>
                <a:lnTo>
                  <a:pt x="6228721" y="3315220"/>
                </a:lnTo>
                <a:lnTo>
                  <a:pt x="6228721" y="3233223"/>
                </a:lnTo>
                <a:close/>
                <a:moveTo>
                  <a:pt x="5132947" y="3233223"/>
                </a:moveTo>
                <a:lnTo>
                  <a:pt x="5132947" y="3328773"/>
                </a:lnTo>
                <a:lnTo>
                  <a:pt x="5193258" y="3328773"/>
                </a:lnTo>
                <a:lnTo>
                  <a:pt x="5193258" y="3315220"/>
                </a:lnTo>
                <a:lnTo>
                  <a:pt x="5149888" y="3315220"/>
                </a:lnTo>
                <a:lnTo>
                  <a:pt x="5149888" y="3233223"/>
                </a:lnTo>
                <a:close/>
                <a:moveTo>
                  <a:pt x="7150338" y="3232546"/>
                </a:moveTo>
                <a:lnTo>
                  <a:pt x="7150338" y="3328096"/>
                </a:lnTo>
                <a:lnTo>
                  <a:pt x="7166602" y="3328096"/>
                </a:lnTo>
                <a:lnTo>
                  <a:pt x="7166602" y="3232546"/>
                </a:lnTo>
                <a:close/>
                <a:moveTo>
                  <a:pt x="6980246" y="3232546"/>
                </a:moveTo>
                <a:lnTo>
                  <a:pt x="6980246" y="3246099"/>
                </a:lnTo>
                <a:lnTo>
                  <a:pt x="7010063" y="3246099"/>
                </a:lnTo>
                <a:lnTo>
                  <a:pt x="7010063" y="3328096"/>
                </a:lnTo>
                <a:lnTo>
                  <a:pt x="7026327" y="3328096"/>
                </a:lnTo>
                <a:lnTo>
                  <a:pt x="7026327" y="3246099"/>
                </a:lnTo>
                <a:lnTo>
                  <a:pt x="7056144" y="3246099"/>
                </a:lnTo>
                <a:lnTo>
                  <a:pt x="7056144" y="3232546"/>
                </a:lnTo>
                <a:close/>
                <a:moveTo>
                  <a:pt x="6707827" y="3232546"/>
                </a:moveTo>
                <a:lnTo>
                  <a:pt x="6707827" y="3328096"/>
                </a:lnTo>
                <a:lnTo>
                  <a:pt x="6724091" y="3328096"/>
                </a:lnTo>
                <a:lnTo>
                  <a:pt x="6724091" y="3232546"/>
                </a:lnTo>
                <a:close/>
                <a:moveTo>
                  <a:pt x="5941394" y="3232546"/>
                </a:moveTo>
                <a:lnTo>
                  <a:pt x="5941394" y="3328096"/>
                </a:lnTo>
                <a:lnTo>
                  <a:pt x="6003739" y="3328096"/>
                </a:lnTo>
                <a:lnTo>
                  <a:pt x="6003739" y="3314543"/>
                </a:lnTo>
                <a:lnTo>
                  <a:pt x="5957658" y="3314543"/>
                </a:lnTo>
                <a:lnTo>
                  <a:pt x="5957658" y="3285403"/>
                </a:lnTo>
                <a:lnTo>
                  <a:pt x="5996962" y="3285403"/>
                </a:lnTo>
                <a:lnTo>
                  <a:pt x="5997640" y="3285403"/>
                </a:lnTo>
                <a:lnTo>
                  <a:pt x="5997640" y="3272528"/>
                </a:lnTo>
                <a:lnTo>
                  <a:pt x="5958335" y="3272528"/>
                </a:lnTo>
                <a:lnTo>
                  <a:pt x="5958335" y="3246099"/>
                </a:lnTo>
                <a:lnTo>
                  <a:pt x="6003739" y="3246099"/>
                </a:lnTo>
                <a:lnTo>
                  <a:pt x="6003739" y="3232546"/>
                </a:lnTo>
                <a:close/>
                <a:moveTo>
                  <a:pt x="5772657" y="3232546"/>
                </a:moveTo>
                <a:lnTo>
                  <a:pt x="5772657" y="3327418"/>
                </a:lnTo>
                <a:lnTo>
                  <a:pt x="5799762" y="3327418"/>
                </a:lnTo>
                <a:cubicBezTo>
                  <a:pt x="5808572" y="3327418"/>
                  <a:pt x="5816026" y="3325385"/>
                  <a:pt x="5822804" y="3321997"/>
                </a:cubicBezTo>
                <a:cubicBezTo>
                  <a:pt x="5829579" y="3318609"/>
                  <a:pt x="5835001" y="3313187"/>
                  <a:pt x="5838389" y="3306411"/>
                </a:cubicBezTo>
                <a:cubicBezTo>
                  <a:pt x="5841777" y="3299634"/>
                  <a:pt x="5843810" y="3291502"/>
                  <a:pt x="5843810" y="3282693"/>
                </a:cubicBezTo>
                <a:lnTo>
                  <a:pt x="5843810" y="3277949"/>
                </a:lnTo>
                <a:cubicBezTo>
                  <a:pt x="5843810" y="3269140"/>
                  <a:pt x="5841777" y="3261008"/>
                  <a:pt x="5838389" y="3254231"/>
                </a:cubicBezTo>
                <a:cubicBezTo>
                  <a:pt x="5835001" y="3246777"/>
                  <a:pt x="5830257" y="3242033"/>
                  <a:pt x="5823480" y="3237967"/>
                </a:cubicBezTo>
                <a:cubicBezTo>
                  <a:pt x="5817381" y="3234579"/>
                  <a:pt x="5809250" y="3232546"/>
                  <a:pt x="5801118" y="3232546"/>
                </a:cubicBezTo>
                <a:close/>
                <a:moveTo>
                  <a:pt x="5655421" y="3232546"/>
                </a:moveTo>
                <a:lnTo>
                  <a:pt x="5655421" y="3328096"/>
                </a:lnTo>
                <a:lnTo>
                  <a:pt x="5671685" y="3328096"/>
                </a:lnTo>
                <a:lnTo>
                  <a:pt x="5671685" y="3232546"/>
                </a:lnTo>
                <a:close/>
                <a:moveTo>
                  <a:pt x="5448058" y="3232546"/>
                </a:moveTo>
                <a:lnTo>
                  <a:pt x="5470420" y="3328096"/>
                </a:lnTo>
                <a:lnTo>
                  <a:pt x="5486685" y="3328096"/>
                </a:lnTo>
                <a:lnTo>
                  <a:pt x="5504980" y="3258297"/>
                </a:lnTo>
                <a:lnTo>
                  <a:pt x="5523277" y="3328096"/>
                </a:lnTo>
                <a:lnTo>
                  <a:pt x="5538863" y="3328096"/>
                </a:lnTo>
                <a:lnTo>
                  <a:pt x="5561226" y="3232546"/>
                </a:lnTo>
                <a:lnTo>
                  <a:pt x="5544962" y="3232546"/>
                </a:lnTo>
                <a:lnTo>
                  <a:pt x="5530055" y="3304378"/>
                </a:lnTo>
                <a:lnTo>
                  <a:pt x="5511757" y="3232546"/>
                </a:lnTo>
                <a:lnTo>
                  <a:pt x="5497527" y="3232546"/>
                </a:lnTo>
                <a:lnTo>
                  <a:pt x="5479229" y="3304378"/>
                </a:lnTo>
                <a:lnTo>
                  <a:pt x="5464321" y="3232546"/>
                </a:lnTo>
                <a:close/>
                <a:moveTo>
                  <a:pt x="5286775" y="3232546"/>
                </a:moveTo>
                <a:lnTo>
                  <a:pt x="5286775" y="3327418"/>
                </a:lnTo>
                <a:lnTo>
                  <a:pt x="5313880" y="3327418"/>
                </a:lnTo>
                <a:cubicBezTo>
                  <a:pt x="5322690" y="3327418"/>
                  <a:pt x="5330144" y="3325385"/>
                  <a:pt x="5336922" y="3321997"/>
                </a:cubicBezTo>
                <a:cubicBezTo>
                  <a:pt x="5343697" y="3318609"/>
                  <a:pt x="5349119" y="3313187"/>
                  <a:pt x="5352507" y="3306411"/>
                </a:cubicBezTo>
                <a:cubicBezTo>
                  <a:pt x="5355895" y="3299634"/>
                  <a:pt x="5357928" y="3291502"/>
                  <a:pt x="5357928" y="3282693"/>
                </a:cubicBezTo>
                <a:lnTo>
                  <a:pt x="5357928" y="3277949"/>
                </a:lnTo>
                <a:cubicBezTo>
                  <a:pt x="5357928" y="3269140"/>
                  <a:pt x="5355895" y="3261008"/>
                  <a:pt x="5352507" y="3254231"/>
                </a:cubicBezTo>
                <a:cubicBezTo>
                  <a:pt x="5349119" y="3246777"/>
                  <a:pt x="5344375" y="3242033"/>
                  <a:pt x="5337598" y="3237967"/>
                </a:cubicBezTo>
                <a:cubicBezTo>
                  <a:pt x="5331501" y="3234579"/>
                  <a:pt x="5323368" y="3232546"/>
                  <a:pt x="5315236" y="3232546"/>
                </a:cubicBezTo>
                <a:close/>
                <a:moveTo>
                  <a:pt x="4968274" y="3232546"/>
                </a:moveTo>
                <a:lnTo>
                  <a:pt x="4968274" y="3328096"/>
                </a:lnTo>
                <a:lnTo>
                  <a:pt x="4985215" y="3328096"/>
                </a:lnTo>
                <a:lnTo>
                  <a:pt x="4985215" y="3291502"/>
                </a:lnTo>
                <a:lnTo>
                  <a:pt x="5003512" y="3291502"/>
                </a:lnTo>
                <a:lnTo>
                  <a:pt x="5023164" y="3328774"/>
                </a:lnTo>
                <a:lnTo>
                  <a:pt x="5040784" y="3328774"/>
                </a:lnTo>
                <a:lnTo>
                  <a:pt x="5040784" y="3328096"/>
                </a:lnTo>
                <a:lnTo>
                  <a:pt x="5019098" y="3288114"/>
                </a:lnTo>
                <a:cubicBezTo>
                  <a:pt x="5024520" y="3285403"/>
                  <a:pt x="5028586" y="3282015"/>
                  <a:pt x="5031974" y="3277949"/>
                </a:cubicBezTo>
                <a:cubicBezTo>
                  <a:pt x="5035362" y="3273206"/>
                  <a:pt x="5036718" y="3267784"/>
                  <a:pt x="5036718" y="3261685"/>
                </a:cubicBezTo>
                <a:cubicBezTo>
                  <a:pt x="5036718" y="3252198"/>
                  <a:pt x="5034007" y="3244744"/>
                  <a:pt x="5027908" y="3240000"/>
                </a:cubicBezTo>
                <a:cubicBezTo>
                  <a:pt x="5021809" y="3235257"/>
                  <a:pt x="5013000" y="3232546"/>
                  <a:pt x="5002157" y="3232546"/>
                </a:cubicBezTo>
                <a:close/>
                <a:moveTo>
                  <a:pt x="4589463" y="3232546"/>
                </a:moveTo>
                <a:lnTo>
                  <a:pt x="4611826" y="3328096"/>
                </a:lnTo>
                <a:lnTo>
                  <a:pt x="4627412" y="3328096"/>
                </a:lnTo>
                <a:lnTo>
                  <a:pt x="4645709" y="3258297"/>
                </a:lnTo>
                <a:lnTo>
                  <a:pt x="4664006" y="3328096"/>
                </a:lnTo>
                <a:lnTo>
                  <a:pt x="4679592" y="3328096"/>
                </a:lnTo>
                <a:lnTo>
                  <a:pt x="4701955" y="3232546"/>
                </a:lnTo>
                <a:lnTo>
                  <a:pt x="4685692" y="3232546"/>
                </a:lnTo>
                <a:lnTo>
                  <a:pt x="4670782" y="3304378"/>
                </a:lnTo>
                <a:lnTo>
                  <a:pt x="4653164" y="3232546"/>
                </a:lnTo>
                <a:lnTo>
                  <a:pt x="4638932" y="3232546"/>
                </a:lnTo>
                <a:lnTo>
                  <a:pt x="4620635" y="3304378"/>
                </a:lnTo>
                <a:lnTo>
                  <a:pt x="4605727" y="3232546"/>
                </a:lnTo>
                <a:close/>
                <a:moveTo>
                  <a:pt x="7468161" y="3231868"/>
                </a:moveTo>
                <a:cubicBezTo>
                  <a:pt x="7457996" y="3231868"/>
                  <a:pt x="7449865" y="3234579"/>
                  <a:pt x="7443766" y="3239322"/>
                </a:cubicBezTo>
                <a:cubicBezTo>
                  <a:pt x="7437667" y="3244066"/>
                  <a:pt x="7434278" y="3250842"/>
                  <a:pt x="7434278" y="3258297"/>
                </a:cubicBezTo>
                <a:cubicBezTo>
                  <a:pt x="7434278" y="3267106"/>
                  <a:pt x="7438344" y="3274561"/>
                  <a:pt x="7447154" y="3279982"/>
                </a:cubicBezTo>
                <a:cubicBezTo>
                  <a:pt x="7451897" y="3282692"/>
                  <a:pt x="7457996" y="3285403"/>
                  <a:pt x="7465451" y="3287436"/>
                </a:cubicBezTo>
                <a:cubicBezTo>
                  <a:pt x="7473583" y="3289469"/>
                  <a:pt x="7479004" y="3292180"/>
                  <a:pt x="7481714" y="3294213"/>
                </a:cubicBezTo>
                <a:cubicBezTo>
                  <a:pt x="7485103" y="3296246"/>
                  <a:pt x="7486458" y="3299634"/>
                  <a:pt x="7486458" y="3303700"/>
                </a:cubicBezTo>
                <a:cubicBezTo>
                  <a:pt x="7486458" y="3307766"/>
                  <a:pt x="7485103" y="3310477"/>
                  <a:pt x="7481714" y="3312509"/>
                </a:cubicBezTo>
                <a:cubicBezTo>
                  <a:pt x="7479004" y="3314542"/>
                  <a:pt x="7474938" y="3315898"/>
                  <a:pt x="7468839" y="3315898"/>
                </a:cubicBezTo>
                <a:cubicBezTo>
                  <a:pt x="7462062" y="3315898"/>
                  <a:pt x="7456641" y="3313865"/>
                  <a:pt x="7453253" y="3311154"/>
                </a:cubicBezTo>
                <a:cubicBezTo>
                  <a:pt x="7449865" y="3307766"/>
                  <a:pt x="7447831" y="3303700"/>
                  <a:pt x="7447831" y="3298279"/>
                </a:cubicBezTo>
                <a:lnTo>
                  <a:pt x="7430890" y="3298279"/>
                </a:lnTo>
                <a:cubicBezTo>
                  <a:pt x="7430890" y="3304378"/>
                  <a:pt x="7432245" y="3309121"/>
                  <a:pt x="7435634" y="3313865"/>
                </a:cubicBezTo>
                <a:cubicBezTo>
                  <a:pt x="7439022" y="3318608"/>
                  <a:pt x="7443766" y="3321997"/>
                  <a:pt x="7449187" y="3324707"/>
                </a:cubicBezTo>
                <a:cubicBezTo>
                  <a:pt x="7454608" y="3327418"/>
                  <a:pt x="7461385" y="3328773"/>
                  <a:pt x="7468161" y="3328773"/>
                </a:cubicBezTo>
                <a:cubicBezTo>
                  <a:pt x="7479004" y="3328773"/>
                  <a:pt x="7487136" y="3326740"/>
                  <a:pt x="7493235" y="3321997"/>
                </a:cubicBezTo>
                <a:cubicBezTo>
                  <a:pt x="7500011" y="3317253"/>
                  <a:pt x="7502722" y="3311154"/>
                  <a:pt x="7502722" y="3303022"/>
                </a:cubicBezTo>
                <a:cubicBezTo>
                  <a:pt x="7502722" y="3298279"/>
                  <a:pt x="7501367" y="3293535"/>
                  <a:pt x="7499334" y="3290147"/>
                </a:cubicBezTo>
                <a:cubicBezTo>
                  <a:pt x="7497301" y="3286758"/>
                  <a:pt x="7493912" y="3283370"/>
                  <a:pt x="7489169" y="3280659"/>
                </a:cubicBezTo>
                <a:cubicBezTo>
                  <a:pt x="7485103" y="3277949"/>
                  <a:pt x="7479004" y="3275238"/>
                  <a:pt x="7471550" y="3273205"/>
                </a:cubicBezTo>
                <a:cubicBezTo>
                  <a:pt x="7464095" y="3271172"/>
                  <a:pt x="7458674" y="3268462"/>
                  <a:pt x="7455286" y="3266429"/>
                </a:cubicBezTo>
                <a:cubicBezTo>
                  <a:pt x="7451897" y="3263718"/>
                  <a:pt x="7450542" y="3261007"/>
                  <a:pt x="7450542" y="3257619"/>
                </a:cubicBezTo>
                <a:cubicBezTo>
                  <a:pt x="7450542" y="3253553"/>
                  <a:pt x="7452575" y="3250165"/>
                  <a:pt x="7455286" y="3248132"/>
                </a:cubicBezTo>
                <a:cubicBezTo>
                  <a:pt x="7458674" y="3246099"/>
                  <a:pt x="7462740" y="3244744"/>
                  <a:pt x="7468161" y="3244744"/>
                </a:cubicBezTo>
                <a:cubicBezTo>
                  <a:pt x="7474260" y="3244744"/>
                  <a:pt x="7478326" y="3246099"/>
                  <a:pt x="7481714" y="3248809"/>
                </a:cubicBezTo>
                <a:cubicBezTo>
                  <a:pt x="7485103" y="3251520"/>
                  <a:pt x="7486458" y="3255586"/>
                  <a:pt x="7486458" y="3260330"/>
                </a:cubicBezTo>
                <a:lnTo>
                  <a:pt x="7502722" y="3260330"/>
                </a:lnTo>
                <a:cubicBezTo>
                  <a:pt x="7502722" y="3254908"/>
                  <a:pt x="7500689" y="3250165"/>
                  <a:pt x="7497978" y="3245421"/>
                </a:cubicBezTo>
                <a:cubicBezTo>
                  <a:pt x="7495268" y="3241355"/>
                  <a:pt x="7491202" y="3237967"/>
                  <a:pt x="7485780" y="3235256"/>
                </a:cubicBezTo>
                <a:cubicBezTo>
                  <a:pt x="7481037" y="3233223"/>
                  <a:pt x="7474938" y="3231868"/>
                  <a:pt x="7468161" y="3231868"/>
                </a:cubicBezTo>
                <a:close/>
                <a:moveTo>
                  <a:pt x="7303489" y="3231868"/>
                </a:moveTo>
                <a:cubicBezTo>
                  <a:pt x="7295357" y="3231868"/>
                  <a:pt x="7288581" y="3233901"/>
                  <a:pt x="7282482" y="3237289"/>
                </a:cubicBezTo>
                <a:cubicBezTo>
                  <a:pt x="7276383" y="3240678"/>
                  <a:pt x="7272317" y="3246099"/>
                  <a:pt x="7268928" y="3252875"/>
                </a:cubicBezTo>
                <a:cubicBezTo>
                  <a:pt x="7265540" y="3259652"/>
                  <a:pt x="7264185" y="3267784"/>
                  <a:pt x="7264185" y="3276594"/>
                </a:cubicBezTo>
                <a:lnTo>
                  <a:pt x="7264185" y="3285403"/>
                </a:lnTo>
                <a:cubicBezTo>
                  <a:pt x="7264185" y="3294213"/>
                  <a:pt x="7265540" y="3301667"/>
                  <a:pt x="7268928" y="3308444"/>
                </a:cubicBezTo>
                <a:cubicBezTo>
                  <a:pt x="7272317" y="3315220"/>
                  <a:pt x="7276383" y="3320641"/>
                  <a:pt x="7282482" y="3324030"/>
                </a:cubicBezTo>
                <a:cubicBezTo>
                  <a:pt x="7288581" y="3327418"/>
                  <a:pt x="7295357" y="3329451"/>
                  <a:pt x="7302811" y="3329451"/>
                </a:cubicBezTo>
                <a:cubicBezTo>
                  <a:pt x="7313654" y="3329451"/>
                  <a:pt x="7322464" y="3326063"/>
                  <a:pt x="7329240" y="3320641"/>
                </a:cubicBezTo>
                <a:lnTo>
                  <a:pt x="7340102" y="3298279"/>
                </a:lnTo>
                <a:lnTo>
                  <a:pt x="7340760" y="3298279"/>
                </a:lnTo>
                <a:lnTo>
                  <a:pt x="7340760" y="3296923"/>
                </a:lnTo>
                <a:lnTo>
                  <a:pt x="7340102" y="3298279"/>
                </a:lnTo>
                <a:lnTo>
                  <a:pt x="7323819" y="3298279"/>
                </a:lnTo>
                <a:cubicBezTo>
                  <a:pt x="7323141" y="3305055"/>
                  <a:pt x="7321108" y="3310477"/>
                  <a:pt x="7317720" y="3313187"/>
                </a:cubicBezTo>
                <a:cubicBezTo>
                  <a:pt x="7314332" y="3315898"/>
                  <a:pt x="7309588" y="3317253"/>
                  <a:pt x="7302811" y="3317253"/>
                </a:cubicBezTo>
                <a:cubicBezTo>
                  <a:pt x="7295357" y="3317253"/>
                  <a:pt x="7289936" y="3314542"/>
                  <a:pt x="7286548" y="3309121"/>
                </a:cubicBezTo>
                <a:cubicBezTo>
                  <a:pt x="7283159" y="3303700"/>
                  <a:pt x="7281126" y="3295568"/>
                  <a:pt x="7281126" y="3285403"/>
                </a:cubicBezTo>
                <a:lnTo>
                  <a:pt x="7281126" y="3276594"/>
                </a:lnTo>
                <a:cubicBezTo>
                  <a:pt x="7281126" y="3266429"/>
                  <a:pt x="7283159" y="3258974"/>
                  <a:pt x="7287225" y="3253553"/>
                </a:cubicBezTo>
                <a:cubicBezTo>
                  <a:pt x="7291291" y="3248132"/>
                  <a:pt x="7296713" y="3245421"/>
                  <a:pt x="7304167" y="3245421"/>
                </a:cubicBezTo>
                <a:cubicBezTo>
                  <a:pt x="7310266" y="3245421"/>
                  <a:pt x="7315009" y="3247454"/>
                  <a:pt x="7318398" y="3250165"/>
                </a:cubicBezTo>
                <a:cubicBezTo>
                  <a:pt x="7321786" y="3253553"/>
                  <a:pt x="7323819" y="3258297"/>
                  <a:pt x="7324497" y="3265073"/>
                </a:cubicBezTo>
                <a:lnTo>
                  <a:pt x="7340760" y="3265073"/>
                </a:lnTo>
                <a:cubicBezTo>
                  <a:pt x="7339405" y="3254231"/>
                  <a:pt x="7335339" y="3246099"/>
                  <a:pt x="7329240" y="3240678"/>
                </a:cubicBezTo>
                <a:cubicBezTo>
                  <a:pt x="7322464" y="3234579"/>
                  <a:pt x="7314332" y="3231868"/>
                  <a:pt x="7303489" y="3231868"/>
                </a:cubicBezTo>
                <a:close/>
                <a:moveTo>
                  <a:pt x="6856912" y="3231868"/>
                </a:moveTo>
                <a:cubicBezTo>
                  <a:pt x="6846747" y="3231868"/>
                  <a:pt x="6838615" y="3234579"/>
                  <a:pt x="6832516" y="3239322"/>
                </a:cubicBezTo>
                <a:cubicBezTo>
                  <a:pt x="6826418" y="3244066"/>
                  <a:pt x="6823029" y="3250842"/>
                  <a:pt x="6823029" y="3258297"/>
                </a:cubicBezTo>
                <a:cubicBezTo>
                  <a:pt x="6823029" y="3267106"/>
                  <a:pt x="6827095" y="3274561"/>
                  <a:pt x="6835905" y="3279982"/>
                </a:cubicBezTo>
                <a:cubicBezTo>
                  <a:pt x="6840648" y="3282692"/>
                  <a:pt x="6846747" y="3285403"/>
                  <a:pt x="6854202" y="3287436"/>
                </a:cubicBezTo>
                <a:cubicBezTo>
                  <a:pt x="6862333" y="3289469"/>
                  <a:pt x="6867755" y="3292180"/>
                  <a:pt x="6870465" y="3294213"/>
                </a:cubicBezTo>
                <a:cubicBezTo>
                  <a:pt x="6873854" y="3296246"/>
                  <a:pt x="6875209" y="3299634"/>
                  <a:pt x="6875209" y="3303700"/>
                </a:cubicBezTo>
                <a:cubicBezTo>
                  <a:pt x="6875209" y="3307766"/>
                  <a:pt x="6873854" y="3310477"/>
                  <a:pt x="6870465" y="3312509"/>
                </a:cubicBezTo>
                <a:cubicBezTo>
                  <a:pt x="6867755" y="3314542"/>
                  <a:pt x="6863689" y="3315898"/>
                  <a:pt x="6857590" y="3315898"/>
                </a:cubicBezTo>
                <a:cubicBezTo>
                  <a:pt x="6850813" y="3315898"/>
                  <a:pt x="6845392" y="3313865"/>
                  <a:pt x="6842004" y="3311154"/>
                </a:cubicBezTo>
                <a:cubicBezTo>
                  <a:pt x="6838615" y="3307766"/>
                  <a:pt x="6836582" y="3303700"/>
                  <a:pt x="6836582" y="3298279"/>
                </a:cubicBezTo>
                <a:lnTo>
                  <a:pt x="6819641" y="3298279"/>
                </a:lnTo>
                <a:cubicBezTo>
                  <a:pt x="6819641" y="3304378"/>
                  <a:pt x="6820996" y="3309121"/>
                  <a:pt x="6824384" y="3313865"/>
                </a:cubicBezTo>
                <a:cubicBezTo>
                  <a:pt x="6827773" y="3318608"/>
                  <a:pt x="6832516" y="3321997"/>
                  <a:pt x="6837938" y="3324707"/>
                </a:cubicBezTo>
                <a:cubicBezTo>
                  <a:pt x="6843359" y="3327418"/>
                  <a:pt x="6850136" y="3328773"/>
                  <a:pt x="6856912" y="3328773"/>
                </a:cubicBezTo>
                <a:cubicBezTo>
                  <a:pt x="6867755" y="3328773"/>
                  <a:pt x="6875887" y="3326740"/>
                  <a:pt x="6881986" y="3321997"/>
                </a:cubicBezTo>
                <a:cubicBezTo>
                  <a:pt x="6888762" y="3317253"/>
                  <a:pt x="6891473" y="3311154"/>
                  <a:pt x="6891473" y="3303022"/>
                </a:cubicBezTo>
                <a:cubicBezTo>
                  <a:pt x="6891473" y="3298279"/>
                  <a:pt x="6890118" y="3293535"/>
                  <a:pt x="6888085" y="3290147"/>
                </a:cubicBezTo>
                <a:cubicBezTo>
                  <a:pt x="6886052" y="3286758"/>
                  <a:pt x="6882663" y="3283370"/>
                  <a:pt x="6877920" y="3280659"/>
                </a:cubicBezTo>
                <a:cubicBezTo>
                  <a:pt x="6873854" y="3277949"/>
                  <a:pt x="6867755" y="3275238"/>
                  <a:pt x="6860301" y="3273205"/>
                </a:cubicBezTo>
                <a:cubicBezTo>
                  <a:pt x="6852846" y="3271172"/>
                  <a:pt x="6847425" y="3268462"/>
                  <a:pt x="6844037" y="3266429"/>
                </a:cubicBezTo>
                <a:cubicBezTo>
                  <a:pt x="6840648" y="3263718"/>
                  <a:pt x="6839293" y="3261007"/>
                  <a:pt x="6839293" y="3257619"/>
                </a:cubicBezTo>
                <a:cubicBezTo>
                  <a:pt x="6839293" y="3253553"/>
                  <a:pt x="6841326" y="3250165"/>
                  <a:pt x="6844037" y="3248132"/>
                </a:cubicBezTo>
                <a:cubicBezTo>
                  <a:pt x="6847425" y="3246099"/>
                  <a:pt x="6851491" y="3244744"/>
                  <a:pt x="6856912" y="3244744"/>
                </a:cubicBezTo>
                <a:cubicBezTo>
                  <a:pt x="6863011" y="3244744"/>
                  <a:pt x="6867077" y="3246099"/>
                  <a:pt x="6870465" y="3248809"/>
                </a:cubicBezTo>
                <a:cubicBezTo>
                  <a:pt x="6873854" y="3251520"/>
                  <a:pt x="6875209" y="3255586"/>
                  <a:pt x="6875209" y="3260330"/>
                </a:cubicBezTo>
                <a:lnTo>
                  <a:pt x="6891473" y="3260330"/>
                </a:lnTo>
                <a:cubicBezTo>
                  <a:pt x="6891473" y="3254908"/>
                  <a:pt x="6889440" y="3250165"/>
                  <a:pt x="6886729" y="3245421"/>
                </a:cubicBezTo>
                <a:cubicBezTo>
                  <a:pt x="6884019" y="3241355"/>
                  <a:pt x="6879953" y="3237967"/>
                  <a:pt x="6874531" y="3235256"/>
                </a:cubicBezTo>
                <a:cubicBezTo>
                  <a:pt x="6869788" y="3233223"/>
                  <a:pt x="6863689" y="3231868"/>
                  <a:pt x="6856912" y="3231868"/>
                </a:cubicBezTo>
                <a:close/>
                <a:moveTo>
                  <a:pt x="6398136" y="3231868"/>
                </a:moveTo>
                <a:cubicBezTo>
                  <a:pt x="6390004" y="3231868"/>
                  <a:pt x="6383227" y="3233223"/>
                  <a:pt x="6377128" y="3237289"/>
                </a:cubicBezTo>
                <a:cubicBezTo>
                  <a:pt x="6371029" y="3240678"/>
                  <a:pt x="6366286" y="3246099"/>
                  <a:pt x="6362898" y="3253553"/>
                </a:cubicBezTo>
                <a:cubicBezTo>
                  <a:pt x="6359509" y="3260330"/>
                  <a:pt x="6358154" y="3268462"/>
                  <a:pt x="6358154" y="3277949"/>
                </a:cubicBezTo>
                <a:lnTo>
                  <a:pt x="6358154" y="3283370"/>
                </a:lnTo>
                <a:cubicBezTo>
                  <a:pt x="6358154" y="3292857"/>
                  <a:pt x="6359509" y="3300989"/>
                  <a:pt x="6362898" y="3307766"/>
                </a:cubicBezTo>
                <a:cubicBezTo>
                  <a:pt x="6366286" y="3314542"/>
                  <a:pt x="6371029" y="3319964"/>
                  <a:pt x="6377128" y="3324030"/>
                </a:cubicBezTo>
                <a:cubicBezTo>
                  <a:pt x="6383227" y="3327418"/>
                  <a:pt x="6390682" y="3329451"/>
                  <a:pt x="6398136" y="3329451"/>
                </a:cubicBezTo>
                <a:cubicBezTo>
                  <a:pt x="6406268" y="3329451"/>
                  <a:pt x="6413044" y="3328096"/>
                  <a:pt x="6419143" y="3324030"/>
                </a:cubicBezTo>
                <a:cubicBezTo>
                  <a:pt x="6424565" y="3319964"/>
                  <a:pt x="6429308" y="3314542"/>
                  <a:pt x="6432697" y="3307766"/>
                </a:cubicBezTo>
                <a:cubicBezTo>
                  <a:pt x="6436085" y="3300989"/>
                  <a:pt x="6437440" y="3292857"/>
                  <a:pt x="6437440" y="3283370"/>
                </a:cubicBezTo>
                <a:lnTo>
                  <a:pt x="6438118" y="3283370"/>
                </a:lnTo>
                <a:lnTo>
                  <a:pt x="6438118" y="3277949"/>
                </a:lnTo>
                <a:cubicBezTo>
                  <a:pt x="6438118" y="3268462"/>
                  <a:pt x="6436763" y="3260330"/>
                  <a:pt x="6433374" y="3253553"/>
                </a:cubicBezTo>
                <a:cubicBezTo>
                  <a:pt x="6429986" y="3246099"/>
                  <a:pt x="6425242" y="3241355"/>
                  <a:pt x="6419143" y="3237289"/>
                </a:cubicBezTo>
                <a:cubicBezTo>
                  <a:pt x="6413044" y="3233901"/>
                  <a:pt x="6405590" y="3231868"/>
                  <a:pt x="6398136" y="3231868"/>
                </a:cubicBezTo>
                <a:close/>
                <a:moveTo>
                  <a:pt x="4832065" y="3231868"/>
                </a:moveTo>
                <a:cubicBezTo>
                  <a:pt x="4823933" y="3231868"/>
                  <a:pt x="4817156" y="3233223"/>
                  <a:pt x="4811057" y="3237289"/>
                </a:cubicBezTo>
                <a:cubicBezTo>
                  <a:pt x="4804959" y="3240678"/>
                  <a:pt x="4800215" y="3246099"/>
                  <a:pt x="4796828" y="3253553"/>
                </a:cubicBezTo>
                <a:cubicBezTo>
                  <a:pt x="4793438" y="3260330"/>
                  <a:pt x="4792083" y="3268462"/>
                  <a:pt x="4792083" y="3277949"/>
                </a:cubicBezTo>
                <a:lnTo>
                  <a:pt x="4792083" y="3283370"/>
                </a:lnTo>
                <a:cubicBezTo>
                  <a:pt x="4792083" y="3292857"/>
                  <a:pt x="4793438" y="3300989"/>
                  <a:pt x="4796828" y="3307766"/>
                </a:cubicBezTo>
                <a:cubicBezTo>
                  <a:pt x="4800215" y="3314542"/>
                  <a:pt x="4804959" y="3319964"/>
                  <a:pt x="4811057" y="3324030"/>
                </a:cubicBezTo>
                <a:cubicBezTo>
                  <a:pt x="4817156" y="3327418"/>
                  <a:pt x="4824611" y="3329451"/>
                  <a:pt x="4832065" y="3329451"/>
                </a:cubicBezTo>
                <a:cubicBezTo>
                  <a:pt x="4840198" y="3329451"/>
                  <a:pt x="4846973" y="3328096"/>
                  <a:pt x="4853072" y="3324030"/>
                </a:cubicBezTo>
                <a:cubicBezTo>
                  <a:pt x="4858494" y="3319964"/>
                  <a:pt x="4863237" y="3314542"/>
                  <a:pt x="4866626" y="3307766"/>
                </a:cubicBezTo>
                <a:cubicBezTo>
                  <a:pt x="4870014" y="3300989"/>
                  <a:pt x="4871369" y="3292857"/>
                  <a:pt x="4871369" y="3283370"/>
                </a:cubicBezTo>
                <a:lnTo>
                  <a:pt x="4872047" y="3283370"/>
                </a:lnTo>
                <a:lnTo>
                  <a:pt x="4872047" y="3277949"/>
                </a:lnTo>
                <a:cubicBezTo>
                  <a:pt x="4872047" y="3268462"/>
                  <a:pt x="4870692" y="3260330"/>
                  <a:pt x="4867303" y="3253553"/>
                </a:cubicBezTo>
                <a:cubicBezTo>
                  <a:pt x="4863915" y="3246099"/>
                  <a:pt x="4859171" y="3241355"/>
                  <a:pt x="4853072" y="3237289"/>
                </a:cubicBezTo>
                <a:cubicBezTo>
                  <a:pt x="4846973" y="3233901"/>
                  <a:pt x="4839519" y="3231868"/>
                  <a:pt x="4832065" y="3231868"/>
                </a:cubicBezTo>
                <a:close/>
                <a:moveTo>
                  <a:pt x="6570939" y="3231190"/>
                </a:moveTo>
                <a:cubicBezTo>
                  <a:pt x="6558064" y="3231190"/>
                  <a:pt x="6548576" y="3235256"/>
                  <a:pt x="6541800" y="3243388"/>
                </a:cubicBezTo>
                <a:cubicBezTo>
                  <a:pt x="6535023" y="3251520"/>
                  <a:pt x="6531635" y="3263040"/>
                  <a:pt x="6531635" y="3277271"/>
                </a:cubicBezTo>
                <a:lnTo>
                  <a:pt x="6531635" y="3284725"/>
                </a:lnTo>
                <a:cubicBezTo>
                  <a:pt x="6531635" y="3293535"/>
                  <a:pt x="6533668" y="3301667"/>
                  <a:pt x="6537056" y="3308443"/>
                </a:cubicBezTo>
                <a:cubicBezTo>
                  <a:pt x="6540444" y="3315220"/>
                  <a:pt x="6545188" y="3320641"/>
                  <a:pt x="6551287" y="3324029"/>
                </a:cubicBezTo>
                <a:cubicBezTo>
                  <a:pt x="6557386" y="3327418"/>
                  <a:pt x="6564163" y="3329451"/>
                  <a:pt x="6572295" y="3329451"/>
                </a:cubicBezTo>
                <a:cubicBezTo>
                  <a:pt x="6580426" y="3329451"/>
                  <a:pt x="6587203" y="3328095"/>
                  <a:pt x="6593302" y="3326062"/>
                </a:cubicBezTo>
                <a:cubicBezTo>
                  <a:pt x="6599401" y="3324029"/>
                  <a:pt x="6604144" y="3320641"/>
                  <a:pt x="6607533" y="3315897"/>
                </a:cubicBezTo>
                <a:lnTo>
                  <a:pt x="6607533" y="3279304"/>
                </a:lnTo>
                <a:lnTo>
                  <a:pt x="6571617" y="3279304"/>
                </a:lnTo>
                <a:lnTo>
                  <a:pt x="6571617" y="3292179"/>
                </a:lnTo>
                <a:lnTo>
                  <a:pt x="6591269" y="3292179"/>
                </a:lnTo>
                <a:lnTo>
                  <a:pt x="6591269" y="3311154"/>
                </a:lnTo>
                <a:cubicBezTo>
                  <a:pt x="6587203" y="3315220"/>
                  <a:pt x="6581782" y="3317253"/>
                  <a:pt x="6572972" y="3317253"/>
                </a:cubicBezTo>
                <a:cubicBezTo>
                  <a:pt x="6564840" y="3317253"/>
                  <a:pt x="6558741" y="3313864"/>
                  <a:pt x="6554675" y="3308443"/>
                </a:cubicBezTo>
                <a:cubicBezTo>
                  <a:pt x="6549932" y="3303022"/>
                  <a:pt x="6547899" y="3294890"/>
                  <a:pt x="6547899" y="3284725"/>
                </a:cubicBezTo>
                <a:lnTo>
                  <a:pt x="6547899" y="3277271"/>
                </a:lnTo>
                <a:cubicBezTo>
                  <a:pt x="6547899" y="3267106"/>
                  <a:pt x="6549932" y="3258974"/>
                  <a:pt x="6553998" y="3253553"/>
                </a:cubicBezTo>
                <a:cubicBezTo>
                  <a:pt x="6558064" y="3248131"/>
                  <a:pt x="6563485" y="3245421"/>
                  <a:pt x="6570939" y="3245421"/>
                </a:cubicBezTo>
                <a:cubicBezTo>
                  <a:pt x="6582459" y="3245421"/>
                  <a:pt x="6589236" y="3250842"/>
                  <a:pt x="6591269" y="3262362"/>
                </a:cubicBezTo>
                <a:lnTo>
                  <a:pt x="6607533" y="3262362"/>
                </a:lnTo>
                <a:cubicBezTo>
                  <a:pt x="6606178" y="3252197"/>
                  <a:pt x="6602112" y="3244743"/>
                  <a:pt x="6596013" y="3239322"/>
                </a:cubicBezTo>
                <a:cubicBezTo>
                  <a:pt x="6589914" y="3233901"/>
                  <a:pt x="6581782" y="3231190"/>
                  <a:pt x="6570939" y="3231190"/>
                </a:cubicBezTo>
                <a:close/>
                <a:moveTo>
                  <a:pt x="6488943" y="3019083"/>
                </a:moveTo>
                <a:lnTo>
                  <a:pt x="6550610" y="3019083"/>
                </a:lnTo>
                <a:lnTo>
                  <a:pt x="6550610" y="3076006"/>
                </a:lnTo>
                <a:lnTo>
                  <a:pt x="6488943" y="3076006"/>
                </a:lnTo>
                <a:cubicBezTo>
                  <a:pt x="6482166" y="3076006"/>
                  <a:pt x="6476745" y="3070585"/>
                  <a:pt x="6476745" y="3063808"/>
                </a:cubicBezTo>
                <a:lnTo>
                  <a:pt x="6476745" y="3031281"/>
                </a:lnTo>
                <a:cubicBezTo>
                  <a:pt x="6476745" y="3024504"/>
                  <a:pt x="6482166" y="3019083"/>
                  <a:pt x="6488943" y="3019083"/>
                </a:cubicBezTo>
                <a:close/>
                <a:moveTo>
                  <a:pt x="5127526" y="2880163"/>
                </a:moveTo>
                <a:lnTo>
                  <a:pt x="5176316" y="2880163"/>
                </a:lnTo>
                <a:cubicBezTo>
                  <a:pt x="5183094" y="2880163"/>
                  <a:pt x="5188515" y="2885584"/>
                  <a:pt x="5188515" y="2892361"/>
                </a:cubicBezTo>
                <a:lnTo>
                  <a:pt x="5188515" y="2937764"/>
                </a:lnTo>
                <a:lnTo>
                  <a:pt x="5115327" y="2937764"/>
                </a:lnTo>
                <a:lnTo>
                  <a:pt x="5115327" y="2892361"/>
                </a:lnTo>
                <a:cubicBezTo>
                  <a:pt x="5115327" y="2885584"/>
                  <a:pt x="5120748" y="2880163"/>
                  <a:pt x="5127526" y="2880163"/>
                </a:cubicBezTo>
                <a:close/>
                <a:moveTo>
                  <a:pt x="7131364" y="2798166"/>
                </a:moveTo>
                <a:lnTo>
                  <a:pt x="7131364" y="3158003"/>
                </a:lnTo>
                <a:lnTo>
                  <a:pt x="7262152" y="3158003"/>
                </a:lnTo>
                <a:lnTo>
                  <a:pt x="7262830" y="2879485"/>
                </a:lnTo>
                <a:cubicBezTo>
                  <a:pt x="7262830" y="2879485"/>
                  <a:pt x="7291292" y="2879485"/>
                  <a:pt x="7291292" y="2879485"/>
                </a:cubicBezTo>
                <a:cubicBezTo>
                  <a:pt x="7302134" y="2879485"/>
                  <a:pt x="7305522" y="2881518"/>
                  <a:pt x="7310944" y="2904558"/>
                </a:cubicBezTo>
                <a:lnTo>
                  <a:pt x="7369223" y="3158003"/>
                </a:lnTo>
                <a:lnTo>
                  <a:pt x="7503399" y="3158003"/>
                </a:lnTo>
                <a:cubicBezTo>
                  <a:pt x="7503399" y="3158003"/>
                  <a:pt x="7435633" y="2867287"/>
                  <a:pt x="7429534" y="2838826"/>
                </a:cubicBezTo>
                <a:cubicBezTo>
                  <a:pt x="7423435" y="2811042"/>
                  <a:pt x="7399717" y="2798166"/>
                  <a:pt x="7377354" y="2798166"/>
                </a:cubicBezTo>
                <a:cubicBezTo>
                  <a:pt x="7360413" y="2798166"/>
                  <a:pt x="7131364" y="2798166"/>
                  <a:pt x="7131364" y="2798166"/>
                </a:cubicBezTo>
                <a:close/>
                <a:moveTo>
                  <a:pt x="6736966" y="2798166"/>
                </a:moveTo>
                <a:lnTo>
                  <a:pt x="6736966" y="3158003"/>
                </a:lnTo>
                <a:lnTo>
                  <a:pt x="6867754" y="3158003"/>
                </a:lnTo>
                <a:lnTo>
                  <a:pt x="6868432" y="3158003"/>
                </a:lnTo>
                <a:lnTo>
                  <a:pt x="6868432" y="2879485"/>
                </a:lnTo>
                <a:cubicBezTo>
                  <a:pt x="6868432" y="2879485"/>
                  <a:pt x="6896894" y="2879485"/>
                  <a:pt x="6896894" y="2879485"/>
                </a:cubicBezTo>
                <a:cubicBezTo>
                  <a:pt x="6907736" y="2879485"/>
                  <a:pt x="6911125" y="2881518"/>
                  <a:pt x="6916546" y="2904558"/>
                </a:cubicBezTo>
                <a:lnTo>
                  <a:pt x="6974825" y="3158003"/>
                </a:lnTo>
                <a:lnTo>
                  <a:pt x="7109001" y="3158003"/>
                </a:lnTo>
                <a:cubicBezTo>
                  <a:pt x="7109001" y="3158003"/>
                  <a:pt x="7041235" y="2867287"/>
                  <a:pt x="7035136" y="2838826"/>
                </a:cubicBezTo>
                <a:cubicBezTo>
                  <a:pt x="7029037" y="2811042"/>
                  <a:pt x="7005319" y="2798166"/>
                  <a:pt x="6982957" y="2798166"/>
                </a:cubicBezTo>
                <a:cubicBezTo>
                  <a:pt x="6966015" y="2798166"/>
                  <a:pt x="6736966" y="2798166"/>
                  <a:pt x="6736966" y="2798166"/>
                </a:cubicBezTo>
                <a:close/>
                <a:moveTo>
                  <a:pt x="6387294" y="2798166"/>
                </a:moveTo>
                <a:cubicBezTo>
                  <a:pt x="6364931" y="2798166"/>
                  <a:pt x="6346634" y="2816463"/>
                  <a:pt x="6346634" y="2838826"/>
                </a:cubicBezTo>
                <a:lnTo>
                  <a:pt x="6346634" y="2880840"/>
                </a:lnTo>
                <a:lnTo>
                  <a:pt x="6539090" y="2880840"/>
                </a:lnTo>
                <a:cubicBezTo>
                  <a:pt x="6545866" y="2880840"/>
                  <a:pt x="6551287" y="2886262"/>
                  <a:pt x="6551287" y="2893038"/>
                </a:cubicBezTo>
                <a:lnTo>
                  <a:pt x="6551287" y="2937764"/>
                </a:lnTo>
                <a:lnTo>
                  <a:pt x="6387294" y="2937764"/>
                </a:lnTo>
                <a:cubicBezTo>
                  <a:pt x="6364931" y="2937764"/>
                  <a:pt x="6346634" y="2956061"/>
                  <a:pt x="6346634" y="2978423"/>
                </a:cubicBezTo>
                <a:lnTo>
                  <a:pt x="6346634" y="3117343"/>
                </a:lnTo>
                <a:cubicBezTo>
                  <a:pt x="6346634" y="3139706"/>
                  <a:pt x="6364931" y="3158003"/>
                  <a:pt x="6387294" y="3158003"/>
                </a:cubicBezTo>
                <a:lnTo>
                  <a:pt x="6681398" y="3158003"/>
                </a:lnTo>
                <a:lnTo>
                  <a:pt x="6681398" y="2838826"/>
                </a:lnTo>
                <a:cubicBezTo>
                  <a:pt x="6681398" y="2816463"/>
                  <a:pt x="6663101" y="2798166"/>
                  <a:pt x="6640738" y="2798166"/>
                </a:cubicBezTo>
                <a:close/>
                <a:moveTo>
                  <a:pt x="5746228" y="2798166"/>
                </a:moveTo>
                <a:lnTo>
                  <a:pt x="5746228" y="3158003"/>
                </a:lnTo>
                <a:lnTo>
                  <a:pt x="5877016" y="3158003"/>
                </a:lnTo>
                <a:lnTo>
                  <a:pt x="5877016" y="2880163"/>
                </a:lnTo>
                <a:lnTo>
                  <a:pt x="5950881" y="2880163"/>
                </a:lnTo>
                <a:lnTo>
                  <a:pt x="5951559" y="3158003"/>
                </a:lnTo>
                <a:lnTo>
                  <a:pt x="6082347" y="3158003"/>
                </a:lnTo>
                <a:lnTo>
                  <a:pt x="6082347" y="2880163"/>
                </a:lnTo>
                <a:cubicBezTo>
                  <a:pt x="6082347" y="2880163"/>
                  <a:pt x="6110809" y="2880163"/>
                  <a:pt x="6110809" y="2880163"/>
                </a:cubicBezTo>
                <a:cubicBezTo>
                  <a:pt x="6121652" y="2880163"/>
                  <a:pt x="6125040" y="2882196"/>
                  <a:pt x="6130461" y="2905236"/>
                </a:cubicBezTo>
                <a:lnTo>
                  <a:pt x="6188062" y="3158003"/>
                </a:lnTo>
                <a:lnTo>
                  <a:pt x="6322239" y="3158003"/>
                </a:lnTo>
                <a:cubicBezTo>
                  <a:pt x="6322239" y="3158003"/>
                  <a:pt x="6254473" y="2867287"/>
                  <a:pt x="6248374" y="2838826"/>
                </a:cubicBezTo>
                <a:cubicBezTo>
                  <a:pt x="6242275" y="2811042"/>
                  <a:pt x="6218557" y="2798166"/>
                  <a:pt x="6196194" y="2798166"/>
                </a:cubicBezTo>
                <a:cubicBezTo>
                  <a:pt x="6179253" y="2798166"/>
                  <a:pt x="5746228" y="2798166"/>
                  <a:pt x="5746228" y="2798166"/>
                </a:cubicBezTo>
                <a:close/>
                <a:moveTo>
                  <a:pt x="5025876" y="2798166"/>
                </a:moveTo>
                <a:cubicBezTo>
                  <a:pt x="5003513" y="2798166"/>
                  <a:pt x="4985216" y="2816463"/>
                  <a:pt x="4985216" y="2838826"/>
                </a:cubicBezTo>
                <a:lnTo>
                  <a:pt x="4985216" y="3117343"/>
                </a:lnTo>
                <a:cubicBezTo>
                  <a:pt x="4985216" y="3139706"/>
                  <a:pt x="5003513" y="3158003"/>
                  <a:pt x="5025876" y="3158003"/>
                </a:cubicBezTo>
                <a:lnTo>
                  <a:pt x="5279320" y="3158003"/>
                </a:lnTo>
                <a:cubicBezTo>
                  <a:pt x="5301683" y="3158003"/>
                  <a:pt x="5319981" y="3139706"/>
                  <a:pt x="5319981" y="3117343"/>
                </a:cubicBezTo>
                <a:lnTo>
                  <a:pt x="5319981" y="3076684"/>
                </a:lnTo>
                <a:lnTo>
                  <a:pt x="5127526" y="3076684"/>
                </a:lnTo>
                <a:cubicBezTo>
                  <a:pt x="5120748" y="3076684"/>
                  <a:pt x="5115327" y="3071263"/>
                  <a:pt x="5115327" y="3064486"/>
                </a:cubicBezTo>
                <a:lnTo>
                  <a:pt x="5115327" y="3019761"/>
                </a:lnTo>
                <a:lnTo>
                  <a:pt x="5319981" y="3019761"/>
                </a:lnTo>
                <a:lnTo>
                  <a:pt x="5319981" y="2838826"/>
                </a:lnTo>
                <a:cubicBezTo>
                  <a:pt x="5319981" y="2816463"/>
                  <a:pt x="5301683" y="2798166"/>
                  <a:pt x="5279320" y="2798166"/>
                </a:cubicBezTo>
                <a:close/>
                <a:moveTo>
                  <a:pt x="5561227" y="2651114"/>
                </a:moveTo>
                <a:lnTo>
                  <a:pt x="5560549" y="3158003"/>
                </a:lnTo>
                <a:lnTo>
                  <a:pt x="5692015" y="3158003"/>
                </a:lnTo>
                <a:lnTo>
                  <a:pt x="5692015" y="2651114"/>
                </a:lnTo>
                <a:close/>
                <a:moveTo>
                  <a:pt x="5374870" y="2651114"/>
                </a:moveTo>
                <a:lnTo>
                  <a:pt x="5374870" y="3158003"/>
                </a:lnTo>
                <a:lnTo>
                  <a:pt x="5505658" y="3158003"/>
                </a:lnTo>
                <a:lnTo>
                  <a:pt x="5505658" y="2651114"/>
                </a:lnTo>
                <a:close/>
                <a:moveTo>
                  <a:pt x="4589463" y="2650436"/>
                </a:moveTo>
                <a:lnTo>
                  <a:pt x="4589463" y="3158003"/>
                </a:lnTo>
                <a:lnTo>
                  <a:pt x="4720251" y="3158003"/>
                </a:lnTo>
                <a:lnTo>
                  <a:pt x="4720929" y="2878807"/>
                </a:lnTo>
                <a:cubicBezTo>
                  <a:pt x="4720929" y="2878807"/>
                  <a:pt x="4749391" y="2878807"/>
                  <a:pt x="4749391" y="2878807"/>
                </a:cubicBezTo>
                <a:cubicBezTo>
                  <a:pt x="4760233" y="2878807"/>
                  <a:pt x="4763622" y="2880840"/>
                  <a:pt x="4769043" y="2903881"/>
                </a:cubicBezTo>
                <a:lnTo>
                  <a:pt x="4827322" y="3157325"/>
                </a:lnTo>
                <a:lnTo>
                  <a:pt x="4961498" y="3157325"/>
                </a:lnTo>
                <a:cubicBezTo>
                  <a:pt x="4961498" y="3157325"/>
                  <a:pt x="4893732" y="2866609"/>
                  <a:pt x="4887633" y="2838148"/>
                </a:cubicBezTo>
                <a:cubicBezTo>
                  <a:pt x="4881534" y="2810364"/>
                  <a:pt x="4857816" y="2797488"/>
                  <a:pt x="4835453" y="2797488"/>
                </a:cubicBezTo>
                <a:cubicBezTo>
                  <a:pt x="4831388" y="2797488"/>
                  <a:pt x="4720929" y="2797488"/>
                  <a:pt x="4720929" y="2797488"/>
                </a:cubicBezTo>
                <a:lnTo>
                  <a:pt x="4720251" y="2650436"/>
                </a:lnTo>
                <a:close/>
                <a:moveTo>
                  <a:pt x="7537283" y="2567085"/>
                </a:moveTo>
                <a:cubicBezTo>
                  <a:pt x="7598272" y="2567085"/>
                  <a:pt x="7647741" y="2616554"/>
                  <a:pt x="7647741" y="2678221"/>
                </a:cubicBezTo>
                <a:cubicBezTo>
                  <a:pt x="7646386" y="2739210"/>
                  <a:pt x="7596239" y="2790712"/>
                  <a:pt x="7535927" y="2790712"/>
                </a:cubicBezTo>
                <a:cubicBezTo>
                  <a:pt x="7515597" y="2790712"/>
                  <a:pt x="7496623" y="2785291"/>
                  <a:pt x="7480359" y="2775804"/>
                </a:cubicBezTo>
                <a:cubicBezTo>
                  <a:pt x="7487136" y="2775804"/>
                  <a:pt x="7495945" y="2774449"/>
                  <a:pt x="7502722" y="2773093"/>
                </a:cubicBezTo>
                <a:cubicBezTo>
                  <a:pt x="7510176" y="2771738"/>
                  <a:pt x="7517631" y="2769027"/>
                  <a:pt x="7524407" y="2765639"/>
                </a:cubicBezTo>
                <a:cubicBezTo>
                  <a:pt x="7533894" y="2761573"/>
                  <a:pt x="7543382" y="2756829"/>
                  <a:pt x="7550836" y="2748020"/>
                </a:cubicBezTo>
                <a:cubicBezTo>
                  <a:pt x="7556257" y="2741921"/>
                  <a:pt x="7563034" y="2735144"/>
                  <a:pt x="7569810" y="2731078"/>
                </a:cubicBezTo>
                <a:cubicBezTo>
                  <a:pt x="7577265" y="2726335"/>
                  <a:pt x="7584719" y="2721591"/>
                  <a:pt x="7592851" y="2718203"/>
                </a:cubicBezTo>
                <a:cubicBezTo>
                  <a:pt x="7595561" y="2716848"/>
                  <a:pt x="7598950" y="2716170"/>
                  <a:pt x="7601660" y="2716170"/>
                </a:cubicBezTo>
                <a:cubicBezTo>
                  <a:pt x="7607082" y="2716170"/>
                  <a:pt x="7612503" y="2714137"/>
                  <a:pt x="7617924" y="2712104"/>
                </a:cubicBezTo>
                <a:cubicBezTo>
                  <a:pt x="7621990" y="2710749"/>
                  <a:pt x="7626056" y="2709393"/>
                  <a:pt x="7630122" y="2708716"/>
                </a:cubicBezTo>
                <a:cubicBezTo>
                  <a:pt x="7630800" y="2708716"/>
                  <a:pt x="7631477" y="2708716"/>
                  <a:pt x="7631477" y="2707360"/>
                </a:cubicBezTo>
                <a:cubicBezTo>
                  <a:pt x="7631477" y="2706005"/>
                  <a:pt x="7630122" y="2706683"/>
                  <a:pt x="7629444" y="2706005"/>
                </a:cubicBezTo>
                <a:cubicBezTo>
                  <a:pt x="7624023" y="2704650"/>
                  <a:pt x="7618602" y="2702617"/>
                  <a:pt x="7613858" y="2700584"/>
                </a:cubicBezTo>
                <a:cubicBezTo>
                  <a:pt x="7610470" y="2699906"/>
                  <a:pt x="7607082" y="2699228"/>
                  <a:pt x="7603693" y="2700584"/>
                </a:cubicBezTo>
                <a:cubicBezTo>
                  <a:pt x="7598272" y="2701939"/>
                  <a:pt x="7594206" y="2704650"/>
                  <a:pt x="7590140" y="2708038"/>
                </a:cubicBezTo>
                <a:cubicBezTo>
                  <a:pt x="7583363" y="2713459"/>
                  <a:pt x="7575909" y="2718203"/>
                  <a:pt x="7568455" y="2720913"/>
                </a:cubicBezTo>
                <a:cubicBezTo>
                  <a:pt x="7563034" y="2723624"/>
                  <a:pt x="7556935" y="2724979"/>
                  <a:pt x="7550836" y="2725657"/>
                </a:cubicBezTo>
                <a:cubicBezTo>
                  <a:pt x="7549480" y="2725657"/>
                  <a:pt x="7547448" y="2726335"/>
                  <a:pt x="7546092" y="2725657"/>
                </a:cubicBezTo>
                <a:cubicBezTo>
                  <a:pt x="7550836" y="2722269"/>
                  <a:pt x="7556257" y="2719558"/>
                  <a:pt x="7560323" y="2714137"/>
                </a:cubicBezTo>
                <a:cubicBezTo>
                  <a:pt x="7563711" y="2710071"/>
                  <a:pt x="7566422" y="2706005"/>
                  <a:pt x="7569810" y="2702617"/>
                </a:cubicBezTo>
                <a:cubicBezTo>
                  <a:pt x="7575232" y="2697873"/>
                  <a:pt x="7580653" y="2693807"/>
                  <a:pt x="7586752" y="2690419"/>
                </a:cubicBezTo>
                <a:lnTo>
                  <a:pt x="7600983" y="2682287"/>
                </a:lnTo>
                <a:cubicBezTo>
                  <a:pt x="7603693" y="2680932"/>
                  <a:pt x="7607082" y="2679576"/>
                  <a:pt x="7609792" y="2678899"/>
                </a:cubicBezTo>
                <a:cubicBezTo>
                  <a:pt x="7611825" y="2678221"/>
                  <a:pt x="7613858" y="2678221"/>
                  <a:pt x="7615891" y="2678221"/>
                </a:cubicBezTo>
                <a:cubicBezTo>
                  <a:pt x="7621312" y="2678221"/>
                  <a:pt x="7627411" y="2674155"/>
                  <a:pt x="7632833" y="2672122"/>
                </a:cubicBezTo>
                <a:cubicBezTo>
                  <a:pt x="7635543" y="2671444"/>
                  <a:pt x="7638254" y="2671444"/>
                  <a:pt x="7640287" y="2670089"/>
                </a:cubicBezTo>
                <a:cubicBezTo>
                  <a:pt x="7640964" y="2670089"/>
                  <a:pt x="7640964" y="2669411"/>
                  <a:pt x="7640964" y="2668734"/>
                </a:cubicBezTo>
                <a:lnTo>
                  <a:pt x="7640287" y="2668056"/>
                </a:lnTo>
                <a:cubicBezTo>
                  <a:pt x="7633510" y="2667378"/>
                  <a:pt x="7628089" y="2665345"/>
                  <a:pt x="7621312" y="2663312"/>
                </a:cubicBezTo>
                <a:cubicBezTo>
                  <a:pt x="7615891" y="2662635"/>
                  <a:pt x="7610470" y="2662635"/>
                  <a:pt x="7605726" y="2665345"/>
                </a:cubicBezTo>
                <a:cubicBezTo>
                  <a:pt x="7600983" y="2668734"/>
                  <a:pt x="7596917" y="2672122"/>
                  <a:pt x="7592173" y="2675510"/>
                </a:cubicBezTo>
                <a:cubicBezTo>
                  <a:pt x="7590818" y="2676188"/>
                  <a:pt x="7589463" y="2677543"/>
                  <a:pt x="7588107" y="2678221"/>
                </a:cubicBezTo>
                <a:cubicBezTo>
                  <a:pt x="7582686" y="2681609"/>
                  <a:pt x="7576587" y="2684998"/>
                  <a:pt x="7570488" y="2687031"/>
                </a:cubicBezTo>
                <a:cubicBezTo>
                  <a:pt x="7564389" y="2689063"/>
                  <a:pt x="7558290" y="2689741"/>
                  <a:pt x="7552191" y="2689741"/>
                </a:cubicBezTo>
                <a:cubicBezTo>
                  <a:pt x="7550158" y="2689741"/>
                  <a:pt x="7548125" y="2688386"/>
                  <a:pt x="7546770" y="2686353"/>
                </a:cubicBezTo>
                <a:cubicBezTo>
                  <a:pt x="7545415" y="2683642"/>
                  <a:pt x="7544737" y="2680932"/>
                  <a:pt x="7544737" y="2678221"/>
                </a:cubicBezTo>
                <a:cubicBezTo>
                  <a:pt x="7544737" y="2676188"/>
                  <a:pt x="7544737" y="2674833"/>
                  <a:pt x="7544059" y="2672800"/>
                </a:cubicBezTo>
                <a:cubicBezTo>
                  <a:pt x="7544059" y="2668056"/>
                  <a:pt x="7543382" y="2661957"/>
                  <a:pt x="7544737" y="2657214"/>
                </a:cubicBezTo>
                <a:cubicBezTo>
                  <a:pt x="7545415" y="2652470"/>
                  <a:pt x="7546770" y="2647726"/>
                  <a:pt x="7546092" y="2642983"/>
                </a:cubicBezTo>
                <a:cubicBezTo>
                  <a:pt x="7544737" y="2638917"/>
                  <a:pt x="7539316" y="2634173"/>
                  <a:pt x="7526440" y="2623331"/>
                </a:cubicBezTo>
                <a:cubicBezTo>
                  <a:pt x="7513565" y="2611810"/>
                  <a:pt x="7500011" y="2596902"/>
                  <a:pt x="7493235" y="2584704"/>
                </a:cubicBezTo>
                <a:cubicBezTo>
                  <a:pt x="7492557" y="2583349"/>
                  <a:pt x="7491879" y="2581993"/>
                  <a:pt x="7491202" y="2581316"/>
                </a:cubicBezTo>
                <a:cubicBezTo>
                  <a:pt x="7489846" y="2581316"/>
                  <a:pt x="7489846" y="2581993"/>
                  <a:pt x="7489169" y="2582671"/>
                </a:cubicBezTo>
                <a:cubicBezTo>
                  <a:pt x="7483748" y="2590125"/>
                  <a:pt x="7481714" y="2598935"/>
                  <a:pt x="7483070" y="2608422"/>
                </a:cubicBezTo>
                <a:cubicBezTo>
                  <a:pt x="7485103" y="2617909"/>
                  <a:pt x="7489169" y="2626041"/>
                  <a:pt x="7495945" y="2633495"/>
                </a:cubicBezTo>
                <a:cubicBezTo>
                  <a:pt x="7499334" y="2637561"/>
                  <a:pt x="7503400" y="2642983"/>
                  <a:pt x="7505433" y="2647049"/>
                </a:cubicBezTo>
                <a:cubicBezTo>
                  <a:pt x="7507466" y="2651115"/>
                  <a:pt x="7508143" y="2655181"/>
                  <a:pt x="7507466" y="2659924"/>
                </a:cubicBezTo>
                <a:lnTo>
                  <a:pt x="7497301" y="2652470"/>
                </a:lnTo>
                <a:cubicBezTo>
                  <a:pt x="7497301" y="2652470"/>
                  <a:pt x="7493235" y="2649759"/>
                  <a:pt x="7487136" y="2645016"/>
                </a:cubicBezTo>
                <a:cubicBezTo>
                  <a:pt x="7481714" y="2640950"/>
                  <a:pt x="7475616" y="2637561"/>
                  <a:pt x="7466128" y="2626719"/>
                </a:cubicBezTo>
                <a:cubicBezTo>
                  <a:pt x="7466128" y="2626041"/>
                  <a:pt x="7465451" y="2626041"/>
                  <a:pt x="7464773" y="2626719"/>
                </a:cubicBezTo>
                <a:cubicBezTo>
                  <a:pt x="7464095" y="2627397"/>
                  <a:pt x="7464095" y="2628074"/>
                  <a:pt x="7463418" y="2629429"/>
                </a:cubicBezTo>
                <a:cubicBezTo>
                  <a:pt x="7462062" y="2640272"/>
                  <a:pt x="7461385" y="2653148"/>
                  <a:pt x="7467484" y="2661957"/>
                </a:cubicBezTo>
                <a:cubicBezTo>
                  <a:pt x="7470872" y="2667378"/>
                  <a:pt x="7475616" y="2672122"/>
                  <a:pt x="7480359" y="2676866"/>
                </a:cubicBezTo>
                <a:cubicBezTo>
                  <a:pt x="7483748" y="2679576"/>
                  <a:pt x="7486458" y="2682965"/>
                  <a:pt x="7489846" y="2685675"/>
                </a:cubicBezTo>
                <a:cubicBezTo>
                  <a:pt x="7493235" y="2688386"/>
                  <a:pt x="7496623" y="2691774"/>
                  <a:pt x="7496623" y="2695840"/>
                </a:cubicBezTo>
                <a:cubicBezTo>
                  <a:pt x="7497301" y="2700584"/>
                  <a:pt x="7495268" y="2704650"/>
                  <a:pt x="7493912" y="2708716"/>
                </a:cubicBezTo>
                <a:cubicBezTo>
                  <a:pt x="7491879" y="2712104"/>
                  <a:pt x="7490524" y="2715492"/>
                  <a:pt x="7487814" y="2717525"/>
                </a:cubicBezTo>
                <a:cubicBezTo>
                  <a:pt x="7483748" y="2720236"/>
                  <a:pt x="7477649" y="2718203"/>
                  <a:pt x="7472905" y="2718880"/>
                </a:cubicBezTo>
                <a:cubicBezTo>
                  <a:pt x="7469517" y="2718880"/>
                  <a:pt x="7467484" y="2722269"/>
                  <a:pt x="7466128" y="2724979"/>
                </a:cubicBezTo>
                <a:cubicBezTo>
                  <a:pt x="7464095" y="2728368"/>
                  <a:pt x="7462062" y="2731756"/>
                  <a:pt x="7462740" y="2735822"/>
                </a:cubicBezTo>
                <a:cubicBezTo>
                  <a:pt x="7463418" y="2740566"/>
                  <a:pt x="7465451" y="2744632"/>
                  <a:pt x="7466806" y="2746665"/>
                </a:cubicBezTo>
                <a:cubicBezTo>
                  <a:pt x="7467484" y="2747342"/>
                  <a:pt x="7468161" y="2748697"/>
                  <a:pt x="7469517" y="2748697"/>
                </a:cubicBezTo>
                <a:cubicBezTo>
                  <a:pt x="7471550" y="2748020"/>
                  <a:pt x="7473583" y="2747342"/>
                  <a:pt x="7475616" y="2745987"/>
                </a:cubicBezTo>
                <a:cubicBezTo>
                  <a:pt x="7485103" y="2737855"/>
                  <a:pt x="7489169" y="2735144"/>
                  <a:pt x="7499334" y="2732434"/>
                </a:cubicBezTo>
                <a:cubicBezTo>
                  <a:pt x="7493235" y="2735144"/>
                  <a:pt x="7488491" y="2741921"/>
                  <a:pt x="7487136" y="2743954"/>
                </a:cubicBezTo>
                <a:cubicBezTo>
                  <a:pt x="7479004" y="2753441"/>
                  <a:pt x="7471550" y="2757507"/>
                  <a:pt x="7460029" y="2755474"/>
                </a:cubicBezTo>
                <a:cubicBezTo>
                  <a:pt x="7457319" y="2754796"/>
                  <a:pt x="7455963" y="2754119"/>
                  <a:pt x="7455963" y="2754119"/>
                </a:cubicBezTo>
                <a:cubicBezTo>
                  <a:pt x="7445121" y="2742599"/>
                  <a:pt x="7426146" y="2716170"/>
                  <a:pt x="7426146" y="2678221"/>
                </a:cubicBezTo>
                <a:cubicBezTo>
                  <a:pt x="7426146" y="2617232"/>
                  <a:pt x="7475616" y="2567085"/>
                  <a:pt x="7537283" y="2567085"/>
                </a:cubicBezTo>
                <a:close/>
                <a:moveTo>
                  <a:pt x="7535927" y="2552854"/>
                </a:moveTo>
                <a:cubicBezTo>
                  <a:pt x="7466128" y="2552854"/>
                  <a:pt x="7409205" y="2609777"/>
                  <a:pt x="7409205" y="2679576"/>
                </a:cubicBezTo>
                <a:cubicBezTo>
                  <a:pt x="7409205" y="2749375"/>
                  <a:pt x="7466128" y="2806299"/>
                  <a:pt x="7535927" y="2806299"/>
                </a:cubicBezTo>
                <a:cubicBezTo>
                  <a:pt x="7605726" y="2806299"/>
                  <a:pt x="7662650" y="2749375"/>
                  <a:pt x="7662650" y="2679576"/>
                </a:cubicBezTo>
                <a:cubicBezTo>
                  <a:pt x="7662650" y="2609777"/>
                  <a:pt x="7605726" y="2552854"/>
                  <a:pt x="7535927" y="2552854"/>
                </a:cubicBezTo>
                <a:close/>
                <a:moveTo>
                  <a:pt x="0" y="0"/>
                </a:moveTo>
                <a:lnTo>
                  <a:pt x="12191999" y="0"/>
                </a:lnTo>
                <a:lnTo>
                  <a:pt x="12191999" y="6858000"/>
                </a:lnTo>
                <a:lnTo>
                  <a:pt x="0" y="6858000"/>
                </a:lnTo>
                <a:close/>
              </a:path>
            </a:pathLst>
          </a:custGeom>
          <a:blipFill>
            <a:blip r:embed="rId2"/>
            <a:stretch>
              <a:fillRect/>
            </a:stretch>
          </a:blipFill>
        </p:spPr>
        <p:txBody>
          <a:bodyPr wrap="square">
            <a:noAutofit/>
          </a:bodyPr>
          <a:lstStyle>
            <a:lvl1pPr marL="285750" indent="-285750" algn="ctr">
              <a:buFontTx/>
              <a:buBlip>
                <a:blip r:embed="rId3"/>
              </a:buBlip>
              <a:defRPr>
                <a:solidFill>
                  <a:schemeClr val="bg1"/>
                </a:solidFill>
              </a:defRPr>
            </a:lvl1pPr>
          </a:lstStyle>
          <a:p>
            <a:endParaRPr lang="en-US"/>
          </a:p>
          <a:p>
            <a:endParaRPr lang="en-US"/>
          </a:p>
          <a:p>
            <a:r>
              <a:rPr lang="en-US"/>
              <a:t>Fill image placeholder and make the image 30% darker!</a:t>
            </a:r>
            <a:endParaRPr lang="de-DE"/>
          </a:p>
        </p:txBody>
      </p:sp>
      <p:sp>
        <p:nvSpPr>
          <p:cNvPr id="65" name="Titel 1">
            <a:extLst>
              <a:ext uri="{FF2B5EF4-FFF2-40B4-BE49-F238E27FC236}">
                <a16:creationId xmlns:a16="http://schemas.microsoft.com/office/drawing/2014/main" id="{E49B6C10-9696-4A20-A390-BBF8A02CA45E}"/>
              </a:ext>
            </a:extLst>
          </p:cNvPr>
          <p:cNvSpPr>
            <a:spLocks noGrp="1"/>
          </p:cNvSpPr>
          <p:nvPr>
            <p:ph type="title" hasCustomPrompt="1"/>
          </p:nvPr>
        </p:nvSpPr>
        <p:spPr>
          <a:xfrm>
            <a:off x="815952" y="3728788"/>
            <a:ext cx="10560096" cy="1148012"/>
          </a:xfrm>
        </p:spPr>
        <p:txBody>
          <a:bodyPr anchor="t">
            <a:normAutofit/>
          </a:bodyPr>
          <a:lstStyle>
            <a:lvl1pPr algn="ctr">
              <a:lnSpc>
                <a:spcPct val="100000"/>
              </a:lnSpc>
              <a:defRPr sz="3600">
                <a:solidFill>
                  <a:schemeClr val="bg1"/>
                </a:solidFill>
              </a:defRPr>
            </a:lvl1pPr>
          </a:lstStyle>
          <a:p>
            <a:r>
              <a:rPr lang="de-DE"/>
              <a:t>Headline</a:t>
            </a:r>
          </a:p>
        </p:txBody>
      </p:sp>
      <p:grpSp>
        <p:nvGrpSpPr>
          <p:cNvPr id="3" name="Grafik 1">
            <a:extLst>
              <a:ext uri="{FF2B5EF4-FFF2-40B4-BE49-F238E27FC236}">
                <a16:creationId xmlns:a16="http://schemas.microsoft.com/office/drawing/2014/main" id="{E72B9C0B-F869-48CB-84AA-6132E62EFC1D}"/>
              </a:ext>
            </a:extLst>
          </p:cNvPr>
          <p:cNvGrpSpPr/>
          <p:nvPr/>
        </p:nvGrpSpPr>
        <p:grpSpPr>
          <a:xfrm>
            <a:off x="4588770" y="2552700"/>
            <a:ext cx="3077435" cy="777671"/>
            <a:chOff x="4591049" y="2550319"/>
            <a:chExt cx="3068013" cy="775290"/>
          </a:xfrm>
          <a:solidFill>
            <a:schemeClr val="accent1"/>
          </a:solidFill>
        </p:grpSpPr>
        <p:grpSp>
          <p:nvGrpSpPr>
            <p:cNvPr id="4" name="Grafik 1">
              <a:extLst>
                <a:ext uri="{FF2B5EF4-FFF2-40B4-BE49-F238E27FC236}">
                  <a16:creationId xmlns:a16="http://schemas.microsoft.com/office/drawing/2014/main" id="{E72B9C0B-F869-48CB-84AA-6132E62EFC1D}"/>
                </a:ext>
              </a:extLst>
            </p:cNvPr>
            <p:cNvGrpSpPr/>
            <p:nvPr/>
          </p:nvGrpSpPr>
          <p:grpSpPr>
            <a:xfrm>
              <a:off x="4591049" y="2647737"/>
              <a:ext cx="2909031" cy="506712"/>
              <a:chOff x="4591049" y="2647737"/>
              <a:chExt cx="2909031" cy="506712"/>
            </a:xfrm>
            <a:solidFill>
              <a:srgbClr val="E42313"/>
            </a:solidFill>
          </p:grpSpPr>
          <p:sp>
            <p:nvSpPr>
              <p:cNvPr id="5" name="Freihandform: Form 4">
                <a:extLst>
                  <a:ext uri="{FF2B5EF4-FFF2-40B4-BE49-F238E27FC236}">
                    <a16:creationId xmlns:a16="http://schemas.microsoft.com/office/drawing/2014/main" id="{58083A5F-77D4-479C-8508-64182CD83B35}"/>
                  </a:ext>
                </a:extLst>
              </p:cNvPr>
              <p:cNvSpPr/>
              <p:nvPr/>
            </p:nvSpPr>
            <p:spPr>
              <a:xfrm>
                <a:off x="4591049" y="2647737"/>
                <a:ext cx="371408" cy="506712"/>
              </a:xfrm>
              <a:custGeom>
                <a:avLst/>
                <a:gdLst>
                  <a:gd name="connsiteX0" fmla="*/ 130568 w 371408"/>
                  <a:gd name="connsiteY0" fmla="*/ 506713 h 506712"/>
                  <a:gd name="connsiteX1" fmla="*/ 0 w 371408"/>
                  <a:gd name="connsiteY1" fmla="*/ 506713 h 506712"/>
                  <a:gd name="connsiteX2" fmla="*/ 0 w 371408"/>
                  <a:gd name="connsiteY2" fmla="*/ 0 h 506712"/>
                  <a:gd name="connsiteX3" fmla="*/ 130568 w 371408"/>
                  <a:gd name="connsiteY3" fmla="*/ 0 h 506712"/>
                  <a:gd name="connsiteX4" fmla="*/ 131245 w 371408"/>
                  <a:gd name="connsiteY4" fmla="*/ 146805 h 506712"/>
                  <a:gd name="connsiteX5" fmla="*/ 245576 w 371408"/>
                  <a:gd name="connsiteY5" fmla="*/ 146805 h 506712"/>
                  <a:gd name="connsiteX6" fmla="*/ 297668 w 371408"/>
                  <a:gd name="connsiteY6" fmla="*/ 187396 h 506712"/>
                  <a:gd name="connsiteX7" fmla="*/ 371409 w 371408"/>
                  <a:gd name="connsiteY7" fmla="*/ 506036 h 506712"/>
                  <a:gd name="connsiteX8" fmla="*/ 237458 w 371408"/>
                  <a:gd name="connsiteY8" fmla="*/ 506036 h 506712"/>
                  <a:gd name="connsiteX9" fmla="*/ 179278 w 371408"/>
                  <a:gd name="connsiteY9" fmla="*/ 253018 h 506712"/>
                  <a:gd name="connsiteX10" fmla="*/ 159658 w 371408"/>
                  <a:gd name="connsiteY10" fmla="*/ 227987 h 506712"/>
                  <a:gd name="connsiteX11" fmla="*/ 131245 w 371408"/>
                  <a:gd name="connsiteY11" fmla="*/ 227987 h 506712"/>
                  <a:gd name="connsiteX12" fmla="*/ 130568 w 371408"/>
                  <a:gd name="connsiteY12" fmla="*/ 506713 h 506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1408" h="506712">
                    <a:moveTo>
                      <a:pt x="130568" y="506713"/>
                    </a:moveTo>
                    <a:lnTo>
                      <a:pt x="0" y="506713"/>
                    </a:lnTo>
                    <a:lnTo>
                      <a:pt x="0" y="0"/>
                    </a:lnTo>
                    <a:lnTo>
                      <a:pt x="130568" y="0"/>
                    </a:lnTo>
                    <a:lnTo>
                      <a:pt x="131245" y="146805"/>
                    </a:lnTo>
                    <a:cubicBezTo>
                      <a:pt x="131245" y="146805"/>
                      <a:pt x="241517" y="146805"/>
                      <a:pt x="245576" y="146805"/>
                    </a:cubicBezTo>
                    <a:cubicBezTo>
                      <a:pt x="267902" y="146805"/>
                      <a:pt x="291580" y="159659"/>
                      <a:pt x="297668" y="187396"/>
                    </a:cubicBezTo>
                    <a:cubicBezTo>
                      <a:pt x="303757" y="215810"/>
                      <a:pt x="371409" y="506036"/>
                      <a:pt x="371409" y="506036"/>
                    </a:cubicBezTo>
                    <a:lnTo>
                      <a:pt x="237458" y="506036"/>
                    </a:lnTo>
                    <a:lnTo>
                      <a:pt x="179278" y="253018"/>
                    </a:lnTo>
                    <a:cubicBezTo>
                      <a:pt x="173865" y="230017"/>
                      <a:pt x="170483" y="227987"/>
                      <a:pt x="159658" y="227987"/>
                    </a:cubicBezTo>
                    <a:cubicBezTo>
                      <a:pt x="159658" y="227987"/>
                      <a:pt x="131245" y="227987"/>
                      <a:pt x="131245" y="227987"/>
                    </a:cubicBezTo>
                    <a:lnTo>
                      <a:pt x="130568" y="506713"/>
                    </a:lnTo>
                    <a:close/>
                  </a:path>
                </a:pathLst>
              </a:custGeom>
              <a:solidFill>
                <a:srgbClr val="E42313"/>
              </a:solidFill>
              <a:ln w="6756" cap="flat">
                <a:noFill/>
                <a:prstDash val="solid"/>
                <a:miter/>
              </a:ln>
            </p:spPr>
            <p:txBody>
              <a:bodyPr rtlCol="0" anchor="ctr"/>
              <a:lstStyle/>
              <a:p>
                <a:endParaRPr lang="de-DE"/>
              </a:p>
            </p:txBody>
          </p:sp>
          <p:sp>
            <p:nvSpPr>
              <p:cNvPr id="6" name="Freihandform: Form 5">
                <a:extLst>
                  <a:ext uri="{FF2B5EF4-FFF2-40B4-BE49-F238E27FC236}">
                    <a16:creationId xmlns:a16="http://schemas.microsoft.com/office/drawing/2014/main" id="{579284D4-7742-420B-AEF0-593FD613EBDC}"/>
                  </a:ext>
                </a:extLst>
              </p:cNvPr>
              <p:cNvSpPr/>
              <p:nvPr/>
            </p:nvSpPr>
            <p:spPr>
              <a:xfrm>
                <a:off x="4986136" y="2795218"/>
                <a:ext cx="334200" cy="359231"/>
              </a:xfrm>
              <a:custGeom>
                <a:avLst/>
                <a:gdLst>
                  <a:gd name="connsiteX0" fmla="*/ 129892 w 334200"/>
                  <a:gd name="connsiteY0" fmla="*/ 139363 h 359231"/>
                  <a:gd name="connsiteX1" fmla="*/ 129892 w 334200"/>
                  <a:gd name="connsiteY1" fmla="*/ 94036 h 359231"/>
                  <a:gd name="connsiteX2" fmla="*/ 142069 w 334200"/>
                  <a:gd name="connsiteY2" fmla="*/ 81859 h 359231"/>
                  <a:gd name="connsiteX3" fmla="*/ 190778 w 334200"/>
                  <a:gd name="connsiteY3" fmla="*/ 81859 h 359231"/>
                  <a:gd name="connsiteX4" fmla="*/ 202956 w 334200"/>
                  <a:gd name="connsiteY4" fmla="*/ 94036 h 359231"/>
                  <a:gd name="connsiteX5" fmla="*/ 202956 w 334200"/>
                  <a:gd name="connsiteY5" fmla="*/ 139363 h 359231"/>
                  <a:gd name="connsiteX6" fmla="*/ 129892 w 334200"/>
                  <a:gd name="connsiteY6" fmla="*/ 139363 h 359231"/>
                  <a:gd name="connsiteX7" fmla="*/ 334200 w 334200"/>
                  <a:gd name="connsiteY7" fmla="*/ 40591 h 359231"/>
                  <a:gd name="connsiteX8" fmla="*/ 293609 w 334200"/>
                  <a:gd name="connsiteY8" fmla="*/ 0 h 359231"/>
                  <a:gd name="connsiteX9" fmla="*/ 40591 w 334200"/>
                  <a:gd name="connsiteY9" fmla="*/ 0 h 359231"/>
                  <a:gd name="connsiteX10" fmla="*/ 0 w 334200"/>
                  <a:gd name="connsiteY10" fmla="*/ 40591 h 359231"/>
                  <a:gd name="connsiteX11" fmla="*/ 0 w 334200"/>
                  <a:gd name="connsiteY11" fmla="*/ 318641 h 359231"/>
                  <a:gd name="connsiteX12" fmla="*/ 40591 w 334200"/>
                  <a:gd name="connsiteY12" fmla="*/ 359232 h 359231"/>
                  <a:gd name="connsiteX13" fmla="*/ 293609 w 334200"/>
                  <a:gd name="connsiteY13" fmla="*/ 359232 h 359231"/>
                  <a:gd name="connsiteX14" fmla="*/ 334200 w 334200"/>
                  <a:gd name="connsiteY14" fmla="*/ 318641 h 359231"/>
                  <a:gd name="connsiteX15" fmla="*/ 334200 w 334200"/>
                  <a:gd name="connsiteY15" fmla="*/ 278049 h 359231"/>
                  <a:gd name="connsiteX16" fmla="*/ 142069 w 334200"/>
                  <a:gd name="connsiteY16" fmla="*/ 278049 h 359231"/>
                  <a:gd name="connsiteX17" fmla="*/ 129892 w 334200"/>
                  <a:gd name="connsiteY17" fmla="*/ 265872 h 359231"/>
                  <a:gd name="connsiteX18" fmla="*/ 129892 w 334200"/>
                  <a:gd name="connsiteY18" fmla="*/ 221222 h 359231"/>
                  <a:gd name="connsiteX19" fmla="*/ 334200 w 334200"/>
                  <a:gd name="connsiteY19" fmla="*/ 221222 h 359231"/>
                  <a:gd name="connsiteX20" fmla="*/ 334200 w 334200"/>
                  <a:gd name="connsiteY20" fmla="*/ 40591 h 3592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34200" h="359231">
                    <a:moveTo>
                      <a:pt x="129892" y="139363"/>
                    </a:moveTo>
                    <a:lnTo>
                      <a:pt x="129892" y="94036"/>
                    </a:lnTo>
                    <a:cubicBezTo>
                      <a:pt x="129892" y="87271"/>
                      <a:pt x="135304" y="81859"/>
                      <a:pt x="142069" y="81859"/>
                    </a:cubicBezTo>
                    <a:lnTo>
                      <a:pt x="190778" y="81859"/>
                    </a:lnTo>
                    <a:cubicBezTo>
                      <a:pt x="197544" y="81859"/>
                      <a:pt x="202956" y="87271"/>
                      <a:pt x="202956" y="94036"/>
                    </a:cubicBezTo>
                    <a:lnTo>
                      <a:pt x="202956" y="139363"/>
                    </a:lnTo>
                    <a:lnTo>
                      <a:pt x="129892" y="139363"/>
                    </a:lnTo>
                    <a:close/>
                    <a:moveTo>
                      <a:pt x="334200" y="40591"/>
                    </a:moveTo>
                    <a:cubicBezTo>
                      <a:pt x="334200" y="18266"/>
                      <a:pt x="315934" y="0"/>
                      <a:pt x="293609" y="0"/>
                    </a:cubicBezTo>
                    <a:lnTo>
                      <a:pt x="40591" y="0"/>
                    </a:lnTo>
                    <a:cubicBezTo>
                      <a:pt x="18266" y="0"/>
                      <a:pt x="0" y="18266"/>
                      <a:pt x="0" y="40591"/>
                    </a:cubicBezTo>
                    <a:lnTo>
                      <a:pt x="0" y="318641"/>
                    </a:lnTo>
                    <a:cubicBezTo>
                      <a:pt x="0" y="340966"/>
                      <a:pt x="18266" y="359232"/>
                      <a:pt x="40591" y="359232"/>
                    </a:cubicBezTo>
                    <a:lnTo>
                      <a:pt x="293609" y="359232"/>
                    </a:lnTo>
                    <a:cubicBezTo>
                      <a:pt x="315934" y="359232"/>
                      <a:pt x="334200" y="340966"/>
                      <a:pt x="334200" y="318641"/>
                    </a:cubicBezTo>
                    <a:lnTo>
                      <a:pt x="334200" y="278049"/>
                    </a:lnTo>
                    <a:lnTo>
                      <a:pt x="142069" y="278049"/>
                    </a:lnTo>
                    <a:cubicBezTo>
                      <a:pt x="135304" y="278049"/>
                      <a:pt x="129892" y="272637"/>
                      <a:pt x="129892" y="265872"/>
                    </a:cubicBezTo>
                    <a:lnTo>
                      <a:pt x="129892" y="221222"/>
                    </a:lnTo>
                    <a:lnTo>
                      <a:pt x="334200" y="221222"/>
                    </a:lnTo>
                    <a:lnTo>
                      <a:pt x="334200" y="40591"/>
                    </a:lnTo>
                    <a:close/>
                  </a:path>
                </a:pathLst>
              </a:custGeom>
              <a:solidFill>
                <a:srgbClr val="E42313"/>
              </a:solidFill>
              <a:ln w="6756" cap="flat">
                <a:noFill/>
                <a:prstDash val="solid"/>
                <a:miter/>
              </a:ln>
            </p:spPr>
            <p:txBody>
              <a:bodyPr rtlCol="0" anchor="ctr"/>
              <a:lstStyle/>
              <a:p>
                <a:endParaRPr lang="de-DE"/>
              </a:p>
            </p:txBody>
          </p:sp>
          <p:sp>
            <p:nvSpPr>
              <p:cNvPr id="7" name="Freihandform: Form 6">
                <a:extLst>
                  <a:ext uri="{FF2B5EF4-FFF2-40B4-BE49-F238E27FC236}">
                    <a16:creationId xmlns:a16="http://schemas.microsoft.com/office/drawing/2014/main" id="{2C1D9E28-FAB9-4CC4-89E4-6856ADF02602}"/>
                  </a:ext>
                </a:extLst>
              </p:cNvPr>
              <p:cNvSpPr/>
              <p:nvPr/>
            </p:nvSpPr>
            <p:spPr>
              <a:xfrm>
                <a:off x="5375134" y="2648414"/>
                <a:ext cx="130568" cy="506036"/>
              </a:xfrm>
              <a:custGeom>
                <a:avLst/>
                <a:gdLst>
                  <a:gd name="connsiteX0" fmla="*/ 130568 w 130568"/>
                  <a:gd name="connsiteY0" fmla="*/ 506036 h 506036"/>
                  <a:gd name="connsiteX1" fmla="*/ 0 w 130568"/>
                  <a:gd name="connsiteY1" fmla="*/ 506036 h 506036"/>
                  <a:gd name="connsiteX2" fmla="*/ 0 w 130568"/>
                  <a:gd name="connsiteY2" fmla="*/ 0 h 506036"/>
                  <a:gd name="connsiteX3" fmla="*/ 130568 w 130568"/>
                  <a:gd name="connsiteY3" fmla="*/ 0 h 506036"/>
                </a:gdLst>
                <a:ahLst/>
                <a:cxnLst>
                  <a:cxn ang="0">
                    <a:pos x="connsiteX0" y="connsiteY0"/>
                  </a:cxn>
                  <a:cxn ang="0">
                    <a:pos x="connsiteX1" y="connsiteY1"/>
                  </a:cxn>
                  <a:cxn ang="0">
                    <a:pos x="connsiteX2" y="connsiteY2"/>
                  </a:cxn>
                  <a:cxn ang="0">
                    <a:pos x="connsiteX3" y="connsiteY3"/>
                  </a:cxn>
                </a:cxnLst>
                <a:rect l="l" t="t" r="r" b="b"/>
                <a:pathLst>
                  <a:path w="130568" h="506035">
                    <a:moveTo>
                      <a:pt x="130568" y="506036"/>
                    </a:moveTo>
                    <a:lnTo>
                      <a:pt x="0" y="506036"/>
                    </a:lnTo>
                    <a:lnTo>
                      <a:pt x="0" y="0"/>
                    </a:lnTo>
                    <a:lnTo>
                      <a:pt x="130568" y="0"/>
                    </a:lnTo>
                    <a:close/>
                  </a:path>
                </a:pathLst>
              </a:custGeom>
              <a:solidFill>
                <a:srgbClr val="E42313"/>
              </a:solidFill>
              <a:ln w="6756" cap="flat">
                <a:noFill/>
                <a:prstDash val="solid"/>
                <a:miter/>
              </a:ln>
            </p:spPr>
            <p:txBody>
              <a:bodyPr rtlCol="0" anchor="ctr"/>
              <a:lstStyle/>
              <a:p>
                <a:endParaRPr lang="de-DE"/>
              </a:p>
            </p:txBody>
          </p:sp>
          <p:sp>
            <p:nvSpPr>
              <p:cNvPr id="8" name="Freihandform: Form 7">
                <a:extLst>
                  <a:ext uri="{FF2B5EF4-FFF2-40B4-BE49-F238E27FC236}">
                    <a16:creationId xmlns:a16="http://schemas.microsoft.com/office/drawing/2014/main" id="{B1111EF9-F8B0-41DB-A38B-C294A1CD9955}"/>
                  </a:ext>
                </a:extLst>
              </p:cNvPr>
              <p:cNvSpPr/>
              <p:nvPr/>
            </p:nvSpPr>
            <p:spPr>
              <a:xfrm>
                <a:off x="5560500" y="2648414"/>
                <a:ext cx="131244" cy="506036"/>
              </a:xfrm>
              <a:custGeom>
                <a:avLst/>
                <a:gdLst>
                  <a:gd name="connsiteX0" fmla="*/ 131245 w 131244"/>
                  <a:gd name="connsiteY0" fmla="*/ 506036 h 506036"/>
                  <a:gd name="connsiteX1" fmla="*/ 0 w 131244"/>
                  <a:gd name="connsiteY1" fmla="*/ 506036 h 506036"/>
                  <a:gd name="connsiteX2" fmla="*/ 676 w 131244"/>
                  <a:gd name="connsiteY2" fmla="*/ 0 h 506036"/>
                  <a:gd name="connsiteX3" fmla="*/ 131245 w 131244"/>
                  <a:gd name="connsiteY3" fmla="*/ 0 h 506036"/>
                </a:gdLst>
                <a:ahLst/>
                <a:cxnLst>
                  <a:cxn ang="0">
                    <a:pos x="connsiteX0" y="connsiteY0"/>
                  </a:cxn>
                  <a:cxn ang="0">
                    <a:pos x="connsiteX1" y="connsiteY1"/>
                  </a:cxn>
                  <a:cxn ang="0">
                    <a:pos x="connsiteX2" y="connsiteY2"/>
                  </a:cxn>
                  <a:cxn ang="0">
                    <a:pos x="connsiteX3" y="connsiteY3"/>
                  </a:cxn>
                </a:cxnLst>
                <a:rect l="l" t="t" r="r" b="b"/>
                <a:pathLst>
                  <a:path w="131244" h="506035">
                    <a:moveTo>
                      <a:pt x="131245" y="506036"/>
                    </a:moveTo>
                    <a:lnTo>
                      <a:pt x="0" y="506036"/>
                    </a:lnTo>
                    <a:lnTo>
                      <a:pt x="676" y="0"/>
                    </a:lnTo>
                    <a:lnTo>
                      <a:pt x="131245" y="0"/>
                    </a:lnTo>
                    <a:close/>
                  </a:path>
                </a:pathLst>
              </a:custGeom>
              <a:solidFill>
                <a:srgbClr val="E42313"/>
              </a:solidFill>
              <a:ln w="6756" cap="flat">
                <a:noFill/>
                <a:prstDash val="solid"/>
                <a:miter/>
              </a:ln>
            </p:spPr>
            <p:txBody>
              <a:bodyPr rtlCol="0" anchor="ctr"/>
              <a:lstStyle/>
              <a:p>
                <a:endParaRPr lang="de-DE"/>
              </a:p>
            </p:txBody>
          </p:sp>
          <p:sp>
            <p:nvSpPr>
              <p:cNvPr id="9" name="Freihandform: Form 8">
                <a:extLst>
                  <a:ext uri="{FF2B5EF4-FFF2-40B4-BE49-F238E27FC236}">
                    <a16:creationId xmlns:a16="http://schemas.microsoft.com/office/drawing/2014/main" id="{026DEAB6-643A-4744-AA87-D92715142968}"/>
                  </a:ext>
                </a:extLst>
              </p:cNvPr>
              <p:cNvSpPr/>
              <p:nvPr/>
            </p:nvSpPr>
            <p:spPr>
              <a:xfrm>
                <a:off x="5745866" y="2795218"/>
                <a:ext cx="575041" cy="359231"/>
              </a:xfrm>
              <a:custGeom>
                <a:avLst/>
                <a:gdLst>
                  <a:gd name="connsiteX0" fmla="*/ 335553 w 575041"/>
                  <a:gd name="connsiteY0" fmla="*/ 359232 h 359231"/>
                  <a:gd name="connsiteX1" fmla="*/ 204985 w 575041"/>
                  <a:gd name="connsiteY1" fmla="*/ 359232 h 359231"/>
                  <a:gd name="connsiteX2" fmla="*/ 204309 w 575041"/>
                  <a:gd name="connsiteY2" fmla="*/ 81859 h 359231"/>
                  <a:gd name="connsiteX3" fmla="*/ 130568 w 575041"/>
                  <a:gd name="connsiteY3" fmla="*/ 81859 h 359231"/>
                  <a:gd name="connsiteX4" fmla="*/ 130568 w 575041"/>
                  <a:gd name="connsiteY4" fmla="*/ 359232 h 359231"/>
                  <a:gd name="connsiteX5" fmla="*/ 0 w 575041"/>
                  <a:gd name="connsiteY5" fmla="*/ 359232 h 359231"/>
                  <a:gd name="connsiteX6" fmla="*/ 0 w 575041"/>
                  <a:gd name="connsiteY6" fmla="*/ 0 h 359231"/>
                  <a:gd name="connsiteX7" fmla="*/ 449209 w 575041"/>
                  <a:gd name="connsiteY7" fmla="*/ 0 h 359231"/>
                  <a:gd name="connsiteX8" fmla="*/ 501301 w 575041"/>
                  <a:gd name="connsiteY8" fmla="*/ 40591 h 359231"/>
                  <a:gd name="connsiteX9" fmla="*/ 575041 w 575041"/>
                  <a:gd name="connsiteY9" fmla="*/ 359232 h 359231"/>
                  <a:gd name="connsiteX10" fmla="*/ 441090 w 575041"/>
                  <a:gd name="connsiteY10" fmla="*/ 359232 h 359231"/>
                  <a:gd name="connsiteX11" fmla="*/ 383586 w 575041"/>
                  <a:gd name="connsiteY11" fmla="*/ 106890 h 359231"/>
                  <a:gd name="connsiteX12" fmla="*/ 363967 w 575041"/>
                  <a:gd name="connsiteY12" fmla="*/ 81859 h 359231"/>
                  <a:gd name="connsiteX13" fmla="*/ 335553 w 575041"/>
                  <a:gd name="connsiteY13" fmla="*/ 81859 h 359231"/>
                  <a:gd name="connsiteX14" fmla="*/ 335553 w 575041"/>
                  <a:gd name="connsiteY14" fmla="*/ 359232 h 3592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5041" h="359231">
                    <a:moveTo>
                      <a:pt x="335553" y="359232"/>
                    </a:moveTo>
                    <a:lnTo>
                      <a:pt x="204985" y="359232"/>
                    </a:lnTo>
                    <a:lnTo>
                      <a:pt x="204309" y="81859"/>
                    </a:lnTo>
                    <a:lnTo>
                      <a:pt x="130568" y="81859"/>
                    </a:lnTo>
                    <a:lnTo>
                      <a:pt x="130568" y="359232"/>
                    </a:lnTo>
                    <a:lnTo>
                      <a:pt x="0" y="359232"/>
                    </a:lnTo>
                    <a:lnTo>
                      <a:pt x="0" y="0"/>
                    </a:lnTo>
                    <a:cubicBezTo>
                      <a:pt x="0" y="0"/>
                      <a:pt x="432296" y="0"/>
                      <a:pt x="449209" y="0"/>
                    </a:cubicBezTo>
                    <a:cubicBezTo>
                      <a:pt x="471534" y="0"/>
                      <a:pt x="495212" y="12854"/>
                      <a:pt x="501301" y="40591"/>
                    </a:cubicBezTo>
                    <a:cubicBezTo>
                      <a:pt x="507389" y="69005"/>
                      <a:pt x="575041" y="359232"/>
                      <a:pt x="575041" y="359232"/>
                    </a:cubicBezTo>
                    <a:lnTo>
                      <a:pt x="441090" y="359232"/>
                    </a:lnTo>
                    <a:lnTo>
                      <a:pt x="383586" y="106890"/>
                    </a:lnTo>
                    <a:cubicBezTo>
                      <a:pt x="378174" y="83888"/>
                      <a:pt x="374792" y="81859"/>
                      <a:pt x="363967" y="81859"/>
                    </a:cubicBezTo>
                    <a:cubicBezTo>
                      <a:pt x="363967" y="81859"/>
                      <a:pt x="335553" y="81859"/>
                      <a:pt x="335553" y="81859"/>
                    </a:cubicBezTo>
                    <a:lnTo>
                      <a:pt x="335553" y="359232"/>
                    </a:lnTo>
                    <a:close/>
                  </a:path>
                </a:pathLst>
              </a:custGeom>
              <a:solidFill>
                <a:srgbClr val="E42313"/>
              </a:solidFill>
              <a:ln w="6756" cap="flat">
                <a:noFill/>
                <a:prstDash val="solid"/>
                <a:miter/>
              </a:ln>
            </p:spPr>
            <p:txBody>
              <a:bodyPr rtlCol="0" anchor="ctr"/>
              <a:lstStyle/>
              <a:p>
                <a:endParaRPr lang="de-DE"/>
              </a:p>
            </p:txBody>
          </p:sp>
          <p:sp>
            <p:nvSpPr>
              <p:cNvPr id="10" name="Freihandform: Form 9">
                <a:extLst>
                  <a:ext uri="{FF2B5EF4-FFF2-40B4-BE49-F238E27FC236}">
                    <a16:creationId xmlns:a16="http://schemas.microsoft.com/office/drawing/2014/main" id="{137E4C79-C1AE-4EB2-900E-ABAED0229BFA}"/>
                  </a:ext>
                </a:extLst>
              </p:cNvPr>
              <p:cNvSpPr/>
              <p:nvPr/>
            </p:nvSpPr>
            <p:spPr>
              <a:xfrm>
                <a:off x="6345262" y="2795218"/>
                <a:ext cx="334200" cy="359231"/>
              </a:xfrm>
              <a:custGeom>
                <a:avLst/>
                <a:gdLst>
                  <a:gd name="connsiteX0" fmla="*/ 0 w 334200"/>
                  <a:gd name="connsiteY0" fmla="*/ 40591 h 359231"/>
                  <a:gd name="connsiteX1" fmla="*/ 40591 w 334200"/>
                  <a:gd name="connsiteY1" fmla="*/ 0 h 359231"/>
                  <a:gd name="connsiteX2" fmla="*/ 293609 w 334200"/>
                  <a:gd name="connsiteY2" fmla="*/ 0 h 359231"/>
                  <a:gd name="connsiteX3" fmla="*/ 334201 w 334200"/>
                  <a:gd name="connsiteY3" fmla="*/ 40591 h 359231"/>
                  <a:gd name="connsiteX4" fmla="*/ 334201 w 334200"/>
                  <a:gd name="connsiteY4" fmla="*/ 359232 h 359231"/>
                  <a:gd name="connsiteX5" fmla="*/ 40591 w 334200"/>
                  <a:gd name="connsiteY5" fmla="*/ 359232 h 359231"/>
                  <a:gd name="connsiteX6" fmla="*/ 0 w 334200"/>
                  <a:gd name="connsiteY6" fmla="*/ 318641 h 359231"/>
                  <a:gd name="connsiteX7" fmla="*/ 0 w 334200"/>
                  <a:gd name="connsiteY7" fmla="*/ 179954 h 359231"/>
                  <a:gd name="connsiteX8" fmla="*/ 40591 w 334200"/>
                  <a:gd name="connsiteY8" fmla="*/ 139363 h 359231"/>
                  <a:gd name="connsiteX9" fmla="*/ 204309 w 334200"/>
                  <a:gd name="connsiteY9" fmla="*/ 139363 h 359231"/>
                  <a:gd name="connsiteX10" fmla="*/ 204309 w 334200"/>
                  <a:gd name="connsiteY10" fmla="*/ 94713 h 359231"/>
                  <a:gd name="connsiteX11" fmla="*/ 192132 w 334200"/>
                  <a:gd name="connsiteY11" fmla="*/ 82535 h 359231"/>
                  <a:gd name="connsiteX12" fmla="*/ 0 w 334200"/>
                  <a:gd name="connsiteY12" fmla="*/ 82535 h 359231"/>
                  <a:gd name="connsiteX13" fmla="*/ 0 w 334200"/>
                  <a:gd name="connsiteY13" fmla="*/ 40591 h 359231"/>
                  <a:gd name="connsiteX14" fmla="*/ 203632 w 334200"/>
                  <a:gd name="connsiteY14" fmla="*/ 220545 h 359231"/>
                  <a:gd name="connsiteX15" fmla="*/ 142069 w 334200"/>
                  <a:gd name="connsiteY15" fmla="*/ 220545 h 359231"/>
                  <a:gd name="connsiteX16" fmla="*/ 129892 w 334200"/>
                  <a:gd name="connsiteY16" fmla="*/ 232723 h 359231"/>
                  <a:gd name="connsiteX17" fmla="*/ 129892 w 334200"/>
                  <a:gd name="connsiteY17" fmla="*/ 265196 h 359231"/>
                  <a:gd name="connsiteX18" fmla="*/ 142069 w 334200"/>
                  <a:gd name="connsiteY18" fmla="*/ 277373 h 359231"/>
                  <a:gd name="connsiteX19" fmla="*/ 203632 w 334200"/>
                  <a:gd name="connsiteY19" fmla="*/ 277373 h 359231"/>
                  <a:gd name="connsiteX20" fmla="*/ 203632 w 334200"/>
                  <a:gd name="connsiteY20" fmla="*/ 220545 h 3592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34200" h="359231">
                    <a:moveTo>
                      <a:pt x="0" y="40591"/>
                    </a:moveTo>
                    <a:cubicBezTo>
                      <a:pt x="0" y="18266"/>
                      <a:pt x="18266" y="0"/>
                      <a:pt x="40591" y="0"/>
                    </a:cubicBezTo>
                    <a:lnTo>
                      <a:pt x="293609" y="0"/>
                    </a:lnTo>
                    <a:cubicBezTo>
                      <a:pt x="315934" y="0"/>
                      <a:pt x="334201" y="18266"/>
                      <a:pt x="334201" y="40591"/>
                    </a:cubicBezTo>
                    <a:lnTo>
                      <a:pt x="334201" y="359232"/>
                    </a:lnTo>
                    <a:lnTo>
                      <a:pt x="40591" y="359232"/>
                    </a:lnTo>
                    <a:cubicBezTo>
                      <a:pt x="18266" y="359232"/>
                      <a:pt x="0" y="340966"/>
                      <a:pt x="0" y="318641"/>
                    </a:cubicBezTo>
                    <a:lnTo>
                      <a:pt x="0" y="179954"/>
                    </a:lnTo>
                    <a:cubicBezTo>
                      <a:pt x="0" y="157629"/>
                      <a:pt x="18266" y="139363"/>
                      <a:pt x="40591" y="139363"/>
                    </a:cubicBezTo>
                    <a:lnTo>
                      <a:pt x="204309" y="139363"/>
                    </a:lnTo>
                    <a:lnTo>
                      <a:pt x="204309" y="94713"/>
                    </a:lnTo>
                    <a:cubicBezTo>
                      <a:pt x="204309" y="87947"/>
                      <a:pt x="198897" y="82535"/>
                      <a:pt x="192132" y="82535"/>
                    </a:cubicBezTo>
                    <a:lnTo>
                      <a:pt x="0" y="82535"/>
                    </a:lnTo>
                    <a:lnTo>
                      <a:pt x="0" y="40591"/>
                    </a:lnTo>
                    <a:close/>
                    <a:moveTo>
                      <a:pt x="203632" y="220545"/>
                    </a:moveTo>
                    <a:lnTo>
                      <a:pt x="142069" y="220545"/>
                    </a:lnTo>
                    <a:cubicBezTo>
                      <a:pt x="135304" y="220545"/>
                      <a:pt x="129892" y="225957"/>
                      <a:pt x="129892" y="232723"/>
                    </a:cubicBezTo>
                    <a:lnTo>
                      <a:pt x="129892" y="265196"/>
                    </a:lnTo>
                    <a:cubicBezTo>
                      <a:pt x="129892" y="271961"/>
                      <a:pt x="135304" y="277373"/>
                      <a:pt x="142069" y="277373"/>
                    </a:cubicBezTo>
                    <a:lnTo>
                      <a:pt x="203632" y="277373"/>
                    </a:lnTo>
                    <a:lnTo>
                      <a:pt x="203632" y="220545"/>
                    </a:lnTo>
                    <a:close/>
                  </a:path>
                </a:pathLst>
              </a:custGeom>
              <a:solidFill>
                <a:srgbClr val="E42313"/>
              </a:solidFill>
              <a:ln w="6756" cap="flat">
                <a:noFill/>
                <a:prstDash val="solid"/>
                <a:miter/>
              </a:ln>
            </p:spPr>
            <p:txBody>
              <a:bodyPr rtlCol="0" anchor="ctr"/>
              <a:lstStyle/>
              <a:p>
                <a:endParaRPr lang="de-DE"/>
              </a:p>
            </p:txBody>
          </p:sp>
          <p:sp>
            <p:nvSpPr>
              <p:cNvPr id="11" name="Freihandform: Form 10">
                <a:extLst>
                  <a:ext uri="{FF2B5EF4-FFF2-40B4-BE49-F238E27FC236}">
                    <a16:creationId xmlns:a16="http://schemas.microsoft.com/office/drawing/2014/main" id="{553C28DD-4771-494C-8B79-F72570976330}"/>
                  </a:ext>
                </a:extLst>
              </p:cNvPr>
              <p:cNvSpPr/>
              <p:nvPr/>
            </p:nvSpPr>
            <p:spPr>
              <a:xfrm>
                <a:off x="6734937" y="2795218"/>
                <a:ext cx="371408" cy="359231"/>
              </a:xfrm>
              <a:custGeom>
                <a:avLst/>
                <a:gdLst>
                  <a:gd name="connsiteX0" fmla="*/ 130568 w 371408"/>
                  <a:gd name="connsiteY0" fmla="*/ 359232 h 359231"/>
                  <a:gd name="connsiteX1" fmla="*/ 0 w 371408"/>
                  <a:gd name="connsiteY1" fmla="*/ 359232 h 359231"/>
                  <a:gd name="connsiteX2" fmla="*/ 0 w 371408"/>
                  <a:gd name="connsiteY2" fmla="*/ 0 h 359231"/>
                  <a:gd name="connsiteX3" fmla="*/ 245577 w 371408"/>
                  <a:gd name="connsiteY3" fmla="*/ 0 h 359231"/>
                  <a:gd name="connsiteX4" fmla="*/ 297668 w 371408"/>
                  <a:gd name="connsiteY4" fmla="*/ 40591 h 359231"/>
                  <a:gd name="connsiteX5" fmla="*/ 371409 w 371408"/>
                  <a:gd name="connsiteY5" fmla="*/ 359232 h 359231"/>
                  <a:gd name="connsiteX6" fmla="*/ 237458 w 371408"/>
                  <a:gd name="connsiteY6" fmla="*/ 359232 h 359231"/>
                  <a:gd name="connsiteX7" fmla="*/ 179278 w 371408"/>
                  <a:gd name="connsiteY7" fmla="*/ 106214 h 359231"/>
                  <a:gd name="connsiteX8" fmla="*/ 159659 w 371408"/>
                  <a:gd name="connsiteY8" fmla="*/ 81182 h 359231"/>
                  <a:gd name="connsiteX9" fmla="*/ 131245 w 371408"/>
                  <a:gd name="connsiteY9" fmla="*/ 81182 h 359231"/>
                  <a:gd name="connsiteX10" fmla="*/ 131245 w 371408"/>
                  <a:gd name="connsiteY10" fmla="*/ 359232 h 3592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71408" h="359231">
                    <a:moveTo>
                      <a:pt x="130568" y="359232"/>
                    </a:moveTo>
                    <a:lnTo>
                      <a:pt x="0" y="359232"/>
                    </a:lnTo>
                    <a:lnTo>
                      <a:pt x="0" y="0"/>
                    </a:lnTo>
                    <a:cubicBezTo>
                      <a:pt x="0" y="0"/>
                      <a:pt x="228664" y="0"/>
                      <a:pt x="245577" y="0"/>
                    </a:cubicBezTo>
                    <a:cubicBezTo>
                      <a:pt x="267902" y="0"/>
                      <a:pt x="291580" y="12854"/>
                      <a:pt x="297668" y="40591"/>
                    </a:cubicBezTo>
                    <a:cubicBezTo>
                      <a:pt x="303757" y="69005"/>
                      <a:pt x="371409" y="359232"/>
                      <a:pt x="371409" y="359232"/>
                    </a:cubicBezTo>
                    <a:lnTo>
                      <a:pt x="237458" y="359232"/>
                    </a:lnTo>
                    <a:lnTo>
                      <a:pt x="179278" y="106214"/>
                    </a:lnTo>
                    <a:cubicBezTo>
                      <a:pt x="173865" y="83212"/>
                      <a:pt x="170483" y="81182"/>
                      <a:pt x="159659" y="81182"/>
                    </a:cubicBezTo>
                    <a:cubicBezTo>
                      <a:pt x="159659" y="81182"/>
                      <a:pt x="131245" y="81182"/>
                      <a:pt x="131245" y="81182"/>
                    </a:cubicBezTo>
                    <a:lnTo>
                      <a:pt x="131245" y="359232"/>
                    </a:lnTo>
                    <a:close/>
                  </a:path>
                </a:pathLst>
              </a:custGeom>
              <a:solidFill>
                <a:srgbClr val="E42313"/>
              </a:solidFill>
              <a:ln w="6756" cap="flat">
                <a:noFill/>
                <a:prstDash val="solid"/>
                <a:miter/>
              </a:ln>
            </p:spPr>
            <p:txBody>
              <a:bodyPr rtlCol="0" anchor="ctr"/>
              <a:lstStyle/>
              <a:p>
                <a:endParaRPr lang="de-DE"/>
              </a:p>
            </p:txBody>
          </p:sp>
          <p:sp>
            <p:nvSpPr>
              <p:cNvPr id="12" name="Freihandform: Form 11">
                <a:extLst>
                  <a:ext uri="{FF2B5EF4-FFF2-40B4-BE49-F238E27FC236}">
                    <a16:creationId xmlns:a16="http://schemas.microsoft.com/office/drawing/2014/main" id="{F0A37EDF-F005-4EAF-A322-521F22B924A6}"/>
                  </a:ext>
                </a:extLst>
              </p:cNvPr>
              <p:cNvSpPr/>
              <p:nvPr/>
            </p:nvSpPr>
            <p:spPr>
              <a:xfrm>
                <a:off x="7128671" y="2795218"/>
                <a:ext cx="371408" cy="359231"/>
              </a:xfrm>
              <a:custGeom>
                <a:avLst/>
                <a:gdLst>
                  <a:gd name="connsiteX0" fmla="*/ 130568 w 371408"/>
                  <a:gd name="connsiteY0" fmla="*/ 359232 h 359231"/>
                  <a:gd name="connsiteX1" fmla="*/ 0 w 371408"/>
                  <a:gd name="connsiteY1" fmla="*/ 359232 h 359231"/>
                  <a:gd name="connsiteX2" fmla="*/ 0 w 371408"/>
                  <a:gd name="connsiteY2" fmla="*/ 0 h 359231"/>
                  <a:gd name="connsiteX3" fmla="*/ 245576 w 371408"/>
                  <a:gd name="connsiteY3" fmla="*/ 0 h 359231"/>
                  <a:gd name="connsiteX4" fmla="*/ 297668 w 371408"/>
                  <a:gd name="connsiteY4" fmla="*/ 40591 h 359231"/>
                  <a:gd name="connsiteX5" fmla="*/ 371409 w 371408"/>
                  <a:gd name="connsiteY5" fmla="*/ 359232 h 359231"/>
                  <a:gd name="connsiteX6" fmla="*/ 237458 w 371408"/>
                  <a:gd name="connsiteY6" fmla="*/ 359232 h 359231"/>
                  <a:gd name="connsiteX7" fmla="*/ 179278 w 371408"/>
                  <a:gd name="connsiteY7" fmla="*/ 106214 h 359231"/>
                  <a:gd name="connsiteX8" fmla="*/ 159659 w 371408"/>
                  <a:gd name="connsiteY8" fmla="*/ 81182 h 359231"/>
                  <a:gd name="connsiteX9" fmla="*/ 131245 w 371408"/>
                  <a:gd name="connsiteY9" fmla="*/ 81182 h 359231"/>
                  <a:gd name="connsiteX10" fmla="*/ 130568 w 371408"/>
                  <a:gd name="connsiteY10" fmla="*/ 359232 h 3592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71408" h="359231">
                    <a:moveTo>
                      <a:pt x="130568" y="359232"/>
                    </a:moveTo>
                    <a:lnTo>
                      <a:pt x="0" y="359232"/>
                    </a:lnTo>
                    <a:lnTo>
                      <a:pt x="0" y="0"/>
                    </a:lnTo>
                    <a:cubicBezTo>
                      <a:pt x="0" y="0"/>
                      <a:pt x="228663" y="0"/>
                      <a:pt x="245576" y="0"/>
                    </a:cubicBezTo>
                    <a:cubicBezTo>
                      <a:pt x="267902" y="0"/>
                      <a:pt x="291580" y="12854"/>
                      <a:pt x="297668" y="40591"/>
                    </a:cubicBezTo>
                    <a:cubicBezTo>
                      <a:pt x="303757" y="69005"/>
                      <a:pt x="371409" y="359232"/>
                      <a:pt x="371409" y="359232"/>
                    </a:cubicBezTo>
                    <a:lnTo>
                      <a:pt x="237458" y="359232"/>
                    </a:lnTo>
                    <a:lnTo>
                      <a:pt x="179278" y="106214"/>
                    </a:lnTo>
                    <a:cubicBezTo>
                      <a:pt x="173865" y="83212"/>
                      <a:pt x="170483" y="81182"/>
                      <a:pt x="159659" y="81182"/>
                    </a:cubicBezTo>
                    <a:cubicBezTo>
                      <a:pt x="159659" y="81182"/>
                      <a:pt x="131245" y="81182"/>
                      <a:pt x="131245" y="81182"/>
                    </a:cubicBezTo>
                    <a:lnTo>
                      <a:pt x="130568" y="359232"/>
                    </a:lnTo>
                    <a:close/>
                  </a:path>
                </a:pathLst>
              </a:custGeom>
              <a:solidFill>
                <a:srgbClr val="E42313"/>
              </a:solidFill>
              <a:ln w="6756" cap="flat">
                <a:noFill/>
                <a:prstDash val="solid"/>
                <a:miter/>
              </a:ln>
            </p:spPr>
            <p:txBody>
              <a:bodyPr rtlCol="0" anchor="ctr"/>
              <a:lstStyle/>
              <a:p>
                <a:endParaRPr lang="de-DE"/>
              </a:p>
            </p:txBody>
          </p:sp>
        </p:grpSp>
        <p:grpSp>
          <p:nvGrpSpPr>
            <p:cNvPr id="13" name="Grafik 1">
              <a:extLst>
                <a:ext uri="{FF2B5EF4-FFF2-40B4-BE49-F238E27FC236}">
                  <a16:creationId xmlns:a16="http://schemas.microsoft.com/office/drawing/2014/main" id="{E72B9C0B-F869-48CB-84AA-6132E62EFC1D}"/>
                </a:ext>
              </a:extLst>
            </p:cNvPr>
            <p:cNvGrpSpPr/>
            <p:nvPr/>
          </p:nvGrpSpPr>
          <p:grpSpPr>
            <a:xfrm>
              <a:off x="4591049" y="3227514"/>
              <a:ext cx="2908354" cy="98095"/>
              <a:chOff x="4591049" y="3227514"/>
              <a:chExt cx="2908354" cy="98095"/>
            </a:xfrm>
            <a:solidFill>
              <a:srgbClr val="004A99"/>
            </a:solidFill>
          </p:grpSpPr>
          <p:sp>
            <p:nvSpPr>
              <p:cNvPr id="14" name="Freihandform: Form 13">
                <a:extLst>
                  <a:ext uri="{FF2B5EF4-FFF2-40B4-BE49-F238E27FC236}">
                    <a16:creationId xmlns:a16="http://schemas.microsoft.com/office/drawing/2014/main" id="{343F8408-BC72-40CC-A7BC-F2E8825533AD}"/>
                  </a:ext>
                </a:extLst>
              </p:cNvPr>
              <p:cNvSpPr/>
              <p:nvPr/>
            </p:nvSpPr>
            <p:spPr>
              <a:xfrm>
                <a:off x="4591049" y="3228867"/>
                <a:ext cx="112302" cy="95389"/>
              </a:xfrm>
              <a:custGeom>
                <a:avLst/>
                <a:gdLst>
                  <a:gd name="connsiteX0" fmla="*/ 81182 w 112302"/>
                  <a:gd name="connsiteY0" fmla="*/ 71711 h 95389"/>
                  <a:gd name="connsiteX1" fmla="*/ 96066 w 112302"/>
                  <a:gd name="connsiteY1" fmla="*/ 0 h 95389"/>
                  <a:gd name="connsiteX2" fmla="*/ 112302 w 112302"/>
                  <a:gd name="connsiteY2" fmla="*/ 0 h 95389"/>
                  <a:gd name="connsiteX3" fmla="*/ 89977 w 112302"/>
                  <a:gd name="connsiteY3" fmla="*/ 95389 h 95389"/>
                  <a:gd name="connsiteX4" fmla="*/ 74417 w 112302"/>
                  <a:gd name="connsiteY4" fmla="*/ 95389 h 95389"/>
                  <a:gd name="connsiteX5" fmla="*/ 56151 w 112302"/>
                  <a:gd name="connsiteY5" fmla="*/ 25708 h 95389"/>
                  <a:gd name="connsiteX6" fmla="*/ 37885 w 112302"/>
                  <a:gd name="connsiteY6" fmla="*/ 95389 h 95389"/>
                  <a:gd name="connsiteX7" fmla="*/ 22325 w 112302"/>
                  <a:gd name="connsiteY7" fmla="*/ 95389 h 95389"/>
                  <a:gd name="connsiteX8" fmla="*/ 0 w 112302"/>
                  <a:gd name="connsiteY8" fmla="*/ 0 h 95389"/>
                  <a:gd name="connsiteX9" fmla="*/ 16236 w 112302"/>
                  <a:gd name="connsiteY9" fmla="*/ 0 h 95389"/>
                  <a:gd name="connsiteX10" fmla="*/ 31120 w 112302"/>
                  <a:gd name="connsiteY10" fmla="*/ 71711 h 95389"/>
                  <a:gd name="connsiteX11" fmla="*/ 49386 w 112302"/>
                  <a:gd name="connsiteY11" fmla="*/ 0 h 95389"/>
                  <a:gd name="connsiteX12" fmla="*/ 63593 w 112302"/>
                  <a:gd name="connsiteY12" fmla="*/ 0 h 95389"/>
                  <a:gd name="connsiteX13" fmla="*/ 81182 w 112302"/>
                  <a:gd name="connsiteY13" fmla="*/ 71711 h 95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2302" h="95389">
                    <a:moveTo>
                      <a:pt x="81182" y="71711"/>
                    </a:moveTo>
                    <a:lnTo>
                      <a:pt x="96066" y="0"/>
                    </a:lnTo>
                    <a:lnTo>
                      <a:pt x="112302" y="0"/>
                    </a:lnTo>
                    <a:lnTo>
                      <a:pt x="89977" y="95389"/>
                    </a:lnTo>
                    <a:lnTo>
                      <a:pt x="74417" y="95389"/>
                    </a:lnTo>
                    <a:lnTo>
                      <a:pt x="56151" y="25708"/>
                    </a:lnTo>
                    <a:lnTo>
                      <a:pt x="37885" y="95389"/>
                    </a:lnTo>
                    <a:lnTo>
                      <a:pt x="22325" y="95389"/>
                    </a:lnTo>
                    <a:lnTo>
                      <a:pt x="0" y="0"/>
                    </a:lnTo>
                    <a:lnTo>
                      <a:pt x="16236" y="0"/>
                    </a:lnTo>
                    <a:lnTo>
                      <a:pt x="31120" y="71711"/>
                    </a:lnTo>
                    <a:lnTo>
                      <a:pt x="49386" y="0"/>
                    </a:lnTo>
                    <a:lnTo>
                      <a:pt x="63593" y="0"/>
                    </a:lnTo>
                    <a:lnTo>
                      <a:pt x="81182" y="71711"/>
                    </a:lnTo>
                    <a:close/>
                  </a:path>
                </a:pathLst>
              </a:custGeom>
              <a:solidFill>
                <a:srgbClr val="004A99"/>
              </a:solidFill>
              <a:ln w="6756" cap="flat">
                <a:noFill/>
                <a:prstDash val="solid"/>
                <a:miter/>
              </a:ln>
            </p:spPr>
            <p:txBody>
              <a:bodyPr rtlCol="0" anchor="ctr"/>
              <a:lstStyle/>
              <a:p>
                <a:endParaRPr lang="de-DE"/>
              </a:p>
            </p:txBody>
          </p:sp>
          <p:sp>
            <p:nvSpPr>
              <p:cNvPr id="15" name="Freihandform: Form 14">
                <a:extLst>
                  <a:ext uri="{FF2B5EF4-FFF2-40B4-BE49-F238E27FC236}">
                    <a16:creationId xmlns:a16="http://schemas.microsoft.com/office/drawing/2014/main" id="{7A388A9B-D78F-4A1B-8E62-90E301794707}"/>
                  </a:ext>
                </a:extLst>
              </p:cNvPr>
              <p:cNvSpPr/>
              <p:nvPr/>
            </p:nvSpPr>
            <p:spPr>
              <a:xfrm>
                <a:off x="4793328" y="3228191"/>
                <a:ext cx="79829" cy="97418"/>
              </a:xfrm>
              <a:custGeom>
                <a:avLst/>
                <a:gdLst>
                  <a:gd name="connsiteX0" fmla="*/ 79153 w 79829"/>
                  <a:gd name="connsiteY0" fmla="*/ 51415 h 97418"/>
                  <a:gd name="connsiteX1" fmla="*/ 74417 w 79829"/>
                  <a:gd name="connsiteY1" fmla="*/ 75770 h 97418"/>
                  <a:gd name="connsiteX2" fmla="*/ 60887 w 79829"/>
                  <a:gd name="connsiteY2" fmla="*/ 92007 h 97418"/>
                  <a:gd name="connsiteX3" fmla="*/ 39915 w 79829"/>
                  <a:gd name="connsiteY3" fmla="*/ 97419 h 97418"/>
                  <a:gd name="connsiteX4" fmla="*/ 18943 w 79829"/>
                  <a:gd name="connsiteY4" fmla="*/ 92007 h 97418"/>
                  <a:gd name="connsiteX5" fmla="*/ 4736 w 79829"/>
                  <a:gd name="connsiteY5" fmla="*/ 75770 h 97418"/>
                  <a:gd name="connsiteX6" fmla="*/ 0 w 79829"/>
                  <a:gd name="connsiteY6" fmla="*/ 51415 h 97418"/>
                  <a:gd name="connsiteX7" fmla="*/ 0 w 79829"/>
                  <a:gd name="connsiteY7" fmla="*/ 46003 h 97418"/>
                  <a:gd name="connsiteX8" fmla="*/ 4736 w 79829"/>
                  <a:gd name="connsiteY8" fmla="*/ 21649 h 97418"/>
                  <a:gd name="connsiteX9" fmla="*/ 18943 w 79829"/>
                  <a:gd name="connsiteY9" fmla="*/ 5412 h 97418"/>
                  <a:gd name="connsiteX10" fmla="*/ 39915 w 79829"/>
                  <a:gd name="connsiteY10" fmla="*/ 0 h 97418"/>
                  <a:gd name="connsiteX11" fmla="*/ 60887 w 79829"/>
                  <a:gd name="connsiteY11" fmla="*/ 5412 h 97418"/>
                  <a:gd name="connsiteX12" fmla="*/ 75094 w 79829"/>
                  <a:gd name="connsiteY12" fmla="*/ 21649 h 97418"/>
                  <a:gd name="connsiteX13" fmla="*/ 79829 w 79829"/>
                  <a:gd name="connsiteY13" fmla="*/ 46003 h 97418"/>
                  <a:gd name="connsiteX14" fmla="*/ 79829 w 79829"/>
                  <a:gd name="connsiteY14" fmla="*/ 51415 h 97418"/>
                  <a:gd name="connsiteX15" fmla="*/ 62240 w 79829"/>
                  <a:gd name="connsiteY15" fmla="*/ 46003 h 97418"/>
                  <a:gd name="connsiteX16" fmla="*/ 56151 w 79829"/>
                  <a:gd name="connsiteY16" fmla="*/ 21649 h 97418"/>
                  <a:gd name="connsiteX17" fmla="*/ 39238 w 79829"/>
                  <a:gd name="connsiteY17" fmla="*/ 13530 h 97418"/>
                  <a:gd name="connsiteX18" fmla="*/ 22325 w 79829"/>
                  <a:gd name="connsiteY18" fmla="*/ 21649 h 97418"/>
                  <a:gd name="connsiteX19" fmla="*/ 16236 w 79829"/>
                  <a:gd name="connsiteY19" fmla="*/ 45327 h 97418"/>
                  <a:gd name="connsiteX20" fmla="*/ 16236 w 79829"/>
                  <a:gd name="connsiteY20" fmla="*/ 50739 h 97418"/>
                  <a:gd name="connsiteX21" fmla="*/ 22325 w 79829"/>
                  <a:gd name="connsiteY21" fmla="*/ 75094 h 97418"/>
                  <a:gd name="connsiteX22" fmla="*/ 39238 w 79829"/>
                  <a:gd name="connsiteY22" fmla="*/ 83888 h 97418"/>
                  <a:gd name="connsiteX23" fmla="*/ 56151 w 79829"/>
                  <a:gd name="connsiteY23" fmla="*/ 75770 h 97418"/>
                  <a:gd name="connsiteX24" fmla="*/ 62240 w 79829"/>
                  <a:gd name="connsiteY24" fmla="*/ 51415 h 97418"/>
                  <a:gd name="connsiteX25" fmla="*/ 62240 w 79829"/>
                  <a:gd name="connsiteY25" fmla="*/ 46003 h 97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79829" h="97418">
                    <a:moveTo>
                      <a:pt x="79153" y="51415"/>
                    </a:moveTo>
                    <a:cubicBezTo>
                      <a:pt x="79153" y="60887"/>
                      <a:pt x="77800" y="69005"/>
                      <a:pt x="74417" y="75770"/>
                    </a:cubicBezTo>
                    <a:cubicBezTo>
                      <a:pt x="71035" y="82535"/>
                      <a:pt x="66299" y="87947"/>
                      <a:pt x="60887" y="92007"/>
                    </a:cubicBezTo>
                    <a:cubicBezTo>
                      <a:pt x="54798" y="96066"/>
                      <a:pt x="48033" y="97419"/>
                      <a:pt x="39915" y="97419"/>
                    </a:cubicBezTo>
                    <a:cubicBezTo>
                      <a:pt x="32473" y="97419"/>
                      <a:pt x="25031" y="95389"/>
                      <a:pt x="18943" y="92007"/>
                    </a:cubicBezTo>
                    <a:cubicBezTo>
                      <a:pt x="12854" y="87947"/>
                      <a:pt x="8118" y="82535"/>
                      <a:pt x="4736" y="75770"/>
                    </a:cubicBezTo>
                    <a:cubicBezTo>
                      <a:pt x="1353" y="69005"/>
                      <a:pt x="0" y="60887"/>
                      <a:pt x="0" y="51415"/>
                    </a:cubicBezTo>
                    <a:lnTo>
                      <a:pt x="0" y="46003"/>
                    </a:lnTo>
                    <a:cubicBezTo>
                      <a:pt x="0" y="36532"/>
                      <a:pt x="1353" y="28414"/>
                      <a:pt x="4736" y="21649"/>
                    </a:cubicBezTo>
                    <a:cubicBezTo>
                      <a:pt x="8118" y="14207"/>
                      <a:pt x="12854" y="8795"/>
                      <a:pt x="18943" y="5412"/>
                    </a:cubicBezTo>
                    <a:cubicBezTo>
                      <a:pt x="25031" y="1353"/>
                      <a:pt x="31796" y="0"/>
                      <a:pt x="39915" y="0"/>
                    </a:cubicBezTo>
                    <a:cubicBezTo>
                      <a:pt x="47356" y="0"/>
                      <a:pt x="54798" y="2030"/>
                      <a:pt x="60887" y="5412"/>
                    </a:cubicBezTo>
                    <a:cubicBezTo>
                      <a:pt x="66975" y="9471"/>
                      <a:pt x="71711" y="14207"/>
                      <a:pt x="75094" y="21649"/>
                    </a:cubicBezTo>
                    <a:cubicBezTo>
                      <a:pt x="78476" y="28414"/>
                      <a:pt x="79829" y="36532"/>
                      <a:pt x="79829" y="46003"/>
                    </a:cubicBezTo>
                    <a:lnTo>
                      <a:pt x="79829" y="51415"/>
                    </a:lnTo>
                    <a:close/>
                    <a:moveTo>
                      <a:pt x="62240" y="46003"/>
                    </a:moveTo>
                    <a:cubicBezTo>
                      <a:pt x="62240" y="35179"/>
                      <a:pt x="60210" y="27061"/>
                      <a:pt x="56151" y="21649"/>
                    </a:cubicBezTo>
                    <a:cubicBezTo>
                      <a:pt x="52092" y="16236"/>
                      <a:pt x="46680" y="13530"/>
                      <a:pt x="39238" y="13530"/>
                    </a:cubicBezTo>
                    <a:cubicBezTo>
                      <a:pt x="31796" y="13530"/>
                      <a:pt x="26384" y="16236"/>
                      <a:pt x="22325" y="21649"/>
                    </a:cubicBezTo>
                    <a:cubicBezTo>
                      <a:pt x="18266" y="27061"/>
                      <a:pt x="16236" y="35179"/>
                      <a:pt x="16236" y="45327"/>
                    </a:cubicBezTo>
                    <a:lnTo>
                      <a:pt x="16236" y="50739"/>
                    </a:lnTo>
                    <a:cubicBezTo>
                      <a:pt x="16236" y="61563"/>
                      <a:pt x="18266" y="69005"/>
                      <a:pt x="22325" y="75094"/>
                    </a:cubicBezTo>
                    <a:cubicBezTo>
                      <a:pt x="26384" y="80506"/>
                      <a:pt x="31796" y="83888"/>
                      <a:pt x="39238" y="83888"/>
                    </a:cubicBezTo>
                    <a:cubicBezTo>
                      <a:pt x="46680" y="83888"/>
                      <a:pt x="52092" y="81182"/>
                      <a:pt x="56151" y="75770"/>
                    </a:cubicBezTo>
                    <a:cubicBezTo>
                      <a:pt x="60210" y="70358"/>
                      <a:pt x="62240" y="62240"/>
                      <a:pt x="62240" y="51415"/>
                    </a:cubicBezTo>
                    <a:lnTo>
                      <a:pt x="62240" y="46003"/>
                    </a:lnTo>
                    <a:close/>
                  </a:path>
                </a:pathLst>
              </a:custGeom>
              <a:solidFill>
                <a:srgbClr val="004A99"/>
              </a:solidFill>
              <a:ln w="6756" cap="flat">
                <a:noFill/>
                <a:prstDash val="solid"/>
                <a:miter/>
              </a:ln>
            </p:spPr>
            <p:txBody>
              <a:bodyPr rtlCol="0" anchor="ctr"/>
              <a:lstStyle/>
              <a:p>
                <a:endParaRPr lang="de-DE"/>
              </a:p>
            </p:txBody>
          </p:sp>
          <p:sp>
            <p:nvSpPr>
              <p:cNvPr id="16" name="Freihandform: Form 15">
                <a:extLst>
                  <a:ext uri="{FF2B5EF4-FFF2-40B4-BE49-F238E27FC236}">
                    <a16:creationId xmlns:a16="http://schemas.microsoft.com/office/drawing/2014/main" id="{509569AE-9E67-46F9-883D-90CB7FD78A9A}"/>
                  </a:ext>
                </a:extLst>
              </p:cNvPr>
              <p:cNvSpPr/>
              <p:nvPr/>
            </p:nvSpPr>
            <p:spPr>
              <a:xfrm>
                <a:off x="4969223" y="3228867"/>
                <a:ext cx="72387" cy="96065"/>
              </a:xfrm>
              <a:custGeom>
                <a:avLst/>
                <a:gdLst>
                  <a:gd name="connsiteX0" fmla="*/ 35179 w 72387"/>
                  <a:gd name="connsiteY0" fmla="*/ 58857 h 96065"/>
                  <a:gd name="connsiteX1" fmla="*/ 16913 w 72387"/>
                  <a:gd name="connsiteY1" fmla="*/ 58857 h 96065"/>
                  <a:gd name="connsiteX2" fmla="*/ 16913 w 72387"/>
                  <a:gd name="connsiteY2" fmla="*/ 95389 h 96065"/>
                  <a:gd name="connsiteX3" fmla="*/ 0 w 72387"/>
                  <a:gd name="connsiteY3" fmla="*/ 95389 h 96065"/>
                  <a:gd name="connsiteX4" fmla="*/ 0 w 72387"/>
                  <a:gd name="connsiteY4" fmla="*/ 0 h 96065"/>
                  <a:gd name="connsiteX5" fmla="*/ 33826 w 72387"/>
                  <a:gd name="connsiteY5" fmla="*/ 0 h 96065"/>
                  <a:gd name="connsiteX6" fmla="*/ 59534 w 72387"/>
                  <a:gd name="connsiteY6" fmla="*/ 7442 h 96065"/>
                  <a:gd name="connsiteX7" fmla="*/ 68328 w 72387"/>
                  <a:gd name="connsiteY7" fmla="*/ 29090 h 96065"/>
                  <a:gd name="connsiteX8" fmla="*/ 63593 w 72387"/>
                  <a:gd name="connsiteY8" fmla="*/ 45327 h 96065"/>
                  <a:gd name="connsiteX9" fmla="*/ 50739 w 72387"/>
                  <a:gd name="connsiteY9" fmla="*/ 55475 h 96065"/>
                  <a:gd name="connsiteX10" fmla="*/ 72388 w 72387"/>
                  <a:gd name="connsiteY10" fmla="*/ 95389 h 96065"/>
                  <a:gd name="connsiteX11" fmla="*/ 72388 w 72387"/>
                  <a:gd name="connsiteY11" fmla="*/ 96066 h 96065"/>
                  <a:gd name="connsiteX12" fmla="*/ 54798 w 72387"/>
                  <a:gd name="connsiteY12" fmla="*/ 96066 h 96065"/>
                  <a:gd name="connsiteX13" fmla="*/ 35179 w 72387"/>
                  <a:gd name="connsiteY13" fmla="*/ 58857 h 96065"/>
                  <a:gd name="connsiteX14" fmla="*/ 16913 w 72387"/>
                  <a:gd name="connsiteY14" fmla="*/ 45327 h 96065"/>
                  <a:gd name="connsiteX15" fmla="*/ 33826 w 72387"/>
                  <a:gd name="connsiteY15" fmla="*/ 45327 h 96065"/>
                  <a:gd name="connsiteX16" fmla="*/ 46680 w 72387"/>
                  <a:gd name="connsiteY16" fmla="*/ 41268 h 96065"/>
                  <a:gd name="connsiteX17" fmla="*/ 51415 w 72387"/>
                  <a:gd name="connsiteY17" fmla="*/ 29767 h 96065"/>
                  <a:gd name="connsiteX18" fmla="*/ 47356 w 72387"/>
                  <a:gd name="connsiteY18" fmla="*/ 17589 h 96065"/>
                  <a:gd name="connsiteX19" fmla="*/ 34502 w 72387"/>
                  <a:gd name="connsiteY19" fmla="*/ 13530 h 96065"/>
                  <a:gd name="connsiteX20" fmla="*/ 16913 w 72387"/>
                  <a:gd name="connsiteY20" fmla="*/ 13530 h 96065"/>
                  <a:gd name="connsiteX21" fmla="*/ 16913 w 72387"/>
                  <a:gd name="connsiteY21" fmla="*/ 45327 h 96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2387" h="96065">
                    <a:moveTo>
                      <a:pt x="35179" y="58857"/>
                    </a:moveTo>
                    <a:lnTo>
                      <a:pt x="16913" y="58857"/>
                    </a:lnTo>
                    <a:lnTo>
                      <a:pt x="16913" y="95389"/>
                    </a:lnTo>
                    <a:lnTo>
                      <a:pt x="0" y="95389"/>
                    </a:lnTo>
                    <a:lnTo>
                      <a:pt x="0" y="0"/>
                    </a:lnTo>
                    <a:lnTo>
                      <a:pt x="33826" y="0"/>
                    </a:lnTo>
                    <a:cubicBezTo>
                      <a:pt x="44650" y="0"/>
                      <a:pt x="53445" y="2706"/>
                      <a:pt x="59534" y="7442"/>
                    </a:cubicBezTo>
                    <a:cubicBezTo>
                      <a:pt x="65622" y="12177"/>
                      <a:pt x="68328" y="19619"/>
                      <a:pt x="68328" y="29090"/>
                    </a:cubicBezTo>
                    <a:cubicBezTo>
                      <a:pt x="68328" y="35179"/>
                      <a:pt x="66975" y="40591"/>
                      <a:pt x="63593" y="45327"/>
                    </a:cubicBezTo>
                    <a:cubicBezTo>
                      <a:pt x="60210" y="49386"/>
                      <a:pt x="56151" y="52768"/>
                      <a:pt x="50739" y="55475"/>
                    </a:cubicBezTo>
                    <a:lnTo>
                      <a:pt x="72388" y="95389"/>
                    </a:lnTo>
                    <a:lnTo>
                      <a:pt x="72388" y="96066"/>
                    </a:lnTo>
                    <a:lnTo>
                      <a:pt x="54798" y="96066"/>
                    </a:lnTo>
                    <a:lnTo>
                      <a:pt x="35179" y="58857"/>
                    </a:lnTo>
                    <a:close/>
                    <a:moveTo>
                      <a:pt x="16913" y="45327"/>
                    </a:moveTo>
                    <a:lnTo>
                      <a:pt x="33826" y="45327"/>
                    </a:lnTo>
                    <a:cubicBezTo>
                      <a:pt x="39238" y="45327"/>
                      <a:pt x="43974" y="43974"/>
                      <a:pt x="46680" y="41268"/>
                    </a:cubicBezTo>
                    <a:cubicBezTo>
                      <a:pt x="50062" y="38562"/>
                      <a:pt x="51415" y="34502"/>
                      <a:pt x="51415" y="29767"/>
                    </a:cubicBezTo>
                    <a:cubicBezTo>
                      <a:pt x="51415" y="24355"/>
                      <a:pt x="50062" y="20972"/>
                      <a:pt x="47356" y="17589"/>
                    </a:cubicBezTo>
                    <a:cubicBezTo>
                      <a:pt x="44650" y="14207"/>
                      <a:pt x="39915" y="13530"/>
                      <a:pt x="34502" y="13530"/>
                    </a:cubicBezTo>
                    <a:lnTo>
                      <a:pt x="16913" y="13530"/>
                    </a:lnTo>
                    <a:lnTo>
                      <a:pt x="16913" y="45327"/>
                    </a:lnTo>
                    <a:close/>
                  </a:path>
                </a:pathLst>
              </a:custGeom>
              <a:solidFill>
                <a:srgbClr val="004A99"/>
              </a:solidFill>
              <a:ln w="6756" cap="flat">
                <a:noFill/>
                <a:prstDash val="solid"/>
                <a:miter/>
              </a:ln>
            </p:spPr>
            <p:txBody>
              <a:bodyPr rtlCol="0" anchor="ctr"/>
              <a:lstStyle/>
              <a:p>
                <a:endParaRPr lang="de-DE"/>
              </a:p>
            </p:txBody>
          </p:sp>
          <p:sp>
            <p:nvSpPr>
              <p:cNvPr id="17" name="Freihandform: Form 16">
                <a:extLst>
                  <a:ext uri="{FF2B5EF4-FFF2-40B4-BE49-F238E27FC236}">
                    <a16:creationId xmlns:a16="http://schemas.microsoft.com/office/drawing/2014/main" id="{44E13A90-B692-434D-980B-6C31734AFFDB}"/>
                  </a:ext>
                </a:extLst>
              </p:cNvPr>
              <p:cNvSpPr/>
              <p:nvPr/>
            </p:nvSpPr>
            <p:spPr>
              <a:xfrm>
                <a:off x="5133617" y="3229544"/>
                <a:ext cx="60210" cy="95389"/>
              </a:xfrm>
              <a:custGeom>
                <a:avLst/>
                <a:gdLst>
                  <a:gd name="connsiteX0" fmla="*/ 16913 w 60210"/>
                  <a:gd name="connsiteY0" fmla="*/ 81859 h 95389"/>
                  <a:gd name="connsiteX1" fmla="*/ 60210 w 60210"/>
                  <a:gd name="connsiteY1" fmla="*/ 81859 h 95389"/>
                  <a:gd name="connsiteX2" fmla="*/ 60210 w 60210"/>
                  <a:gd name="connsiteY2" fmla="*/ 95389 h 95389"/>
                  <a:gd name="connsiteX3" fmla="*/ 0 w 60210"/>
                  <a:gd name="connsiteY3" fmla="*/ 95389 h 95389"/>
                  <a:gd name="connsiteX4" fmla="*/ 0 w 60210"/>
                  <a:gd name="connsiteY4" fmla="*/ 0 h 95389"/>
                  <a:gd name="connsiteX5" fmla="*/ 16913 w 60210"/>
                  <a:gd name="connsiteY5" fmla="*/ 0 h 95389"/>
                  <a:gd name="connsiteX6" fmla="*/ 16913 w 60210"/>
                  <a:gd name="connsiteY6" fmla="*/ 81859 h 95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210" h="95389">
                    <a:moveTo>
                      <a:pt x="16913" y="81859"/>
                    </a:moveTo>
                    <a:lnTo>
                      <a:pt x="60210" y="81859"/>
                    </a:lnTo>
                    <a:lnTo>
                      <a:pt x="60210" y="95389"/>
                    </a:lnTo>
                    <a:lnTo>
                      <a:pt x="0" y="95389"/>
                    </a:lnTo>
                    <a:lnTo>
                      <a:pt x="0" y="0"/>
                    </a:lnTo>
                    <a:lnTo>
                      <a:pt x="16913" y="0"/>
                    </a:lnTo>
                    <a:lnTo>
                      <a:pt x="16913" y="81859"/>
                    </a:lnTo>
                    <a:close/>
                  </a:path>
                </a:pathLst>
              </a:custGeom>
              <a:solidFill>
                <a:srgbClr val="004A99"/>
              </a:solidFill>
              <a:ln w="6756" cap="flat">
                <a:noFill/>
                <a:prstDash val="solid"/>
                <a:miter/>
              </a:ln>
            </p:spPr>
            <p:txBody>
              <a:bodyPr rtlCol="0" anchor="ctr"/>
              <a:lstStyle/>
              <a:p>
                <a:endParaRPr lang="de-DE"/>
              </a:p>
            </p:txBody>
          </p:sp>
          <p:sp>
            <p:nvSpPr>
              <p:cNvPr id="18" name="Freihandform: Form 17">
                <a:extLst>
                  <a:ext uri="{FF2B5EF4-FFF2-40B4-BE49-F238E27FC236}">
                    <a16:creationId xmlns:a16="http://schemas.microsoft.com/office/drawing/2014/main" id="{6E57E184-3ED3-4E2B-809C-62EEA18CB7A6}"/>
                  </a:ext>
                </a:extLst>
              </p:cNvPr>
              <p:cNvSpPr/>
              <p:nvPr/>
            </p:nvSpPr>
            <p:spPr>
              <a:xfrm>
                <a:off x="5287187" y="3228867"/>
                <a:ext cx="71034" cy="95389"/>
              </a:xfrm>
              <a:custGeom>
                <a:avLst/>
                <a:gdLst>
                  <a:gd name="connsiteX0" fmla="*/ 0 w 71034"/>
                  <a:gd name="connsiteY0" fmla="*/ 95389 h 95389"/>
                  <a:gd name="connsiteX1" fmla="*/ 0 w 71034"/>
                  <a:gd name="connsiteY1" fmla="*/ 0 h 95389"/>
                  <a:gd name="connsiteX2" fmla="*/ 28414 w 71034"/>
                  <a:gd name="connsiteY2" fmla="*/ 0 h 95389"/>
                  <a:gd name="connsiteX3" fmla="*/ 50739 w 71034"/>
                  <a:gd name="connsiteY3" fmla="*/ 5412 h 95389"/>
                  <a:gd name="connsiteX4" fmla="*/ 65622 w 71034"/>
                  <a:gd name="connsiteY4" fmla="*/ 21649 h 95389"/>
                  <a:gd name="connsiteX5" fmla="*/ 71034 w 71034"/>
                  <a:gd name="connsiteY5" fmla="*/ 45327 h 95389"/>
                  <a:gd name="connsiteX6" fmla="*/ 71034 w 71034"/>
                  <a:gd name="connsiteY6" fmla="*/ 50062 h 95389"/>
                  <a:gd name="connsiteX7" fmla="*/ 65622 w 71034"/>
                  <a:gd name="connsiteY7" fmla="*/ 73741 h 95389"/>
                  <a:gd name="connsiteX8" fmla="*/ 50062 w 71034"/>
                  <a:gd name="connsiteY8" fmla="*/ 89301 h 95389"/>
                  <a:gd name="connsiteX9" fmla="*/ 27061 w 71034"/>
                  <a:gd name="connsiteY9" fmla="*/ 94713 h 95389"/>
                  <a:gd name="connsiteX10" fmla="*/ 0 w 71034"/>
                  <a:gd name="connsiteY10" fmla="*/ 94713 h 95389"/>
                  <a:gd name="connsiteX11" fmla="*/ 16236 w 71034"/>
                  <a:gd name="connsiteY11" fmla="*/ 13530 h 95389"/>
                  <a:gd name="connsiteX12" fmla="*/ 16236 w 71034"/>
                  <a:gd name="connsiteY12" fmla="*/ 82535 h 95389"/>
                  <a:gd name="connsiteX13" fmla="*/ 27061 w 71034"/>
                  <a:gd name="connsiteY13" fmla="*/ 82535 h 95389"/>
                  <a:gd name="connsiteX14" fmla="*/ 47356 w 71034"/>
                  <a:gd name="connsiteY14" fmla="*/ 74417 h 95389"/>
                  <a:gd name="connsiteX15" fmla="*/ 54798 w 71034"/>
                  <a:gd name="connsiteY15" fmla="*/ 50739 h 95389"/>
                  <a:gd name="connsiteX16" fmla="*/ 54798 w 71034"/>
                  <a:gd name="connsiteY16" fmla="*/ 45327 h 95389"/>
                  <a:gd name="connsiteX17" fmla="*/ 48033 w 71034"/>
                  <a:gd name="connsiteY17" fmla="*/ 21649 h 95389"/>
                  <a:gd name="connsiteX18" fmla="*/ 28414 w 71034"/>
                  <a:gd name="connsiteY18" fmla="*/ 13530 h 95389"/>
                  <a:gd name="connsiteX19" fmla="*/ 16236 w 71034"/>
                  <a:gd name="connsiteY19" fmla="*/ 13530 h 95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1034" h="95389">
                    <a:moveTo>
                      <a:pt x="0" y="95389"/>
                    </a:moveTo>
                    <a:lnTo>
                      <a:pt x="0" y="0"/>
                    </a:lnTo>
                    <a:lnTo>
                      <a:pt x="28414" y="0"/>
                    </a:lnTo>
                    <a:cubicBezTo>
                      <a:pt x="36532" y="0"/>
                      <a:pt x="44650" y="2030"/>
                      <a:pt x="50739" y="5412"/>
                    </a:cubicBezTo>
                    <a:cubicBezTo>
                      <a:pt x="57504" y="9471"/>
                      <a:pt x="62240" y="14207"/>
                      <a:pt x="65622" y="21649"/>
                    </a:cubicBezTo>
                    <a:cubicBezTo>
                      <a:pt x="69005" y="28414"/>
                      <a:pt x="71034" y="36532"/>
                      <a:pt x="71034" y="45327"/>
                    </a:cubicBezTo>
                    <a:lnTo>
                      <a:pt x="71034" y="50062"/>
                    </a:lnTo>
                    <a:cubicBezTo>
                      <a:pt x="71034" y="58857"/>
                      <a:pt x="69005" y="66975"/>
                      <a:pt x="65622" y="73741"/>
                    </a:cubicBezTo>
                    <a:cubicBezTo>
                      <a:pt x="62240" y="80506"/>
                      <a:pt x="56828" y="85918"/>
                      <a:pt x="50062" y="89301"/>
                    </a:cubicBezTo>
                    <a:cubicBezTo>
                      <a:pt x="43297" y="92683"/>
                      <a:pt x="35855" y="94713"/>
                      <a:pt x="27061" y="94713"/>
                    </a:cubicBezTo>
                    <a:lnTo>
                      <a:pt x="0" y="94713"/>
                    </a:lnTo>
                    <a:close/>
                    <a:moveTo>
                      <a:pt x="16236" y="13530"/>
                    </a:moveTo>
                    <a:lnTo>
                      <a:pt x="16236" y="82535"/>
                    </a:lnTo>
                    <a:lnTo>
                      <a:pt x="27061" y="82535"/>
                    </a:lnTo>
                    <a:cubicBezTo>
                      <a:pt x="35855" y="82535"/>
                      <a:pt x="42621" y="79829"/>
                      <a:pt x="47356" y="74417"/>
                    </a:cubicBezTo>
                    <a:cubicBezTo>
                      <a:pt x="52092" y="69005"/>
                      <a:pt x="54122" y="60887"/>
                      <a:pt x="54798" y="50739"/>
                    </a:cubicBezTo>
                    <a:lnTo>
                      <a:pt x="54798" y="45327"/>
                    </a:lnTo>
                    <a:cubicBezTo>
                      <a:pt x="54798" y="35179"/>
                      <a:pt x="52768" y="27061"/>
                      <a:pt x="48033" y="21649"/>
                    </a:cubicBezTo>
                    <a:cubicBezTo>
                      <a:pt x="43297" y="16236"/>
                      <a:pt x="37209" y="13530"/>
                      <a:pt x="28414" y="13530"/>
                    </a:cubicBezTo>
                    <a:lnTo>
                      <a:pt x="16236" y="13530"/>
                    </a:lnTo>
                    <a:close/>
                  </a:path>
                </a:pathLst>
              </a:custGeom>
              <a:solidFill>
                <a:srgbClr val="004A99"/>
              </a:solidFill>
              <a:ln w="6756" cap="flat">
                <a:noFill/>
                <a:prstDash val="solid"/>
                <a:miter/>
              </a:ln>
            </p:spPr>
            <p:txBody>
              <a:bodyPr rtlCol="0" anchor="ctr"/>
              <a:lstStyle/>
              <a:p>
                <a:endParaRPr lang="de-DE"/>
              </a:p>
            </p:txBody>
          </p:sp>
          <p:sp>
            <p:nvSpPr>
              <p:cNvPr id="19" name="Freihandform: Form 18">
                <a:extLst>
                  <a:ext uri="{FF2B5EF4-FFF2-40B4-BE49-F238E27FC236}">
                    <a16:creationId xmlns:a16="http://schemas.microsoft.com/office/drawing/2014/main" id="{37F12070-7049-454F-B3DF-8F630B280409}"/>
                  </a:ext>
                </a:extLst>
              </p:cNvPr>
              <p:cNvSpPr/>
              <p:nvPr/>
            </p:nvSpPr>
            <p:spPr>
              <a:xfrm>
                <a:off x="5448198" y="3228867"/>
                <a:ext cx="112978" cy="95389"/>
              </a:xfrm>
              <a:custGeom>
                <a:avLst/>
                <a:gdLst>
                  <a:gd name="connsiteX0" fmla="*/ 81859 w 112978"/>
                  <a:gd name="connsiteY0" fmla="*/ 71711 h 95389"/>
                  <a:gd name="connsiteX1" fmla="*/ 96742 w 112978"/>
                  <a:gd name="connsiteY1" fmla="*/ 0 h 95389"/>
                  <a:gd name="connsiteX2" fmla="*/ 112979 w 112978"/>
                  <a:gd name="connsiteY2" fmla="*/ 0 h 95389"/>
                  <a:gd name="connsiteX3" fmla="*/ 90654 w 112978"/>
                  <a:gd name="connsiteY3" fmla="*/ 95389 h 95389"/>
                  <a:gd name="connsiteX4" fmla="*/ 75094 w 112978"/>
                  <a:gd name="connsiteY4" fmla="*/ 95389 h 95389"/>
                  <a:gd name="connsiteX5" fmla="*/ 56828 w 112978"/>
                  <a:gd name="connsiteY5" fmla="*/ 25708 h 95389"/>
                  <a:gd name="connsiteX6" fmla="*/ 38562 w 112978"/>
                  <a:gd name="connsiteY6" fmla="*/ 95389 h 95389"/>
                  <a:gd name="connsiteX7" fmla="*/ 22325 w 112978"/>
                  <a:gd name="connsiteY7" fmla="*/ 95389 h 95389"/>
                  <a:gd name="connsiteX8" fmla="*/ 0 w 112978"/>
                  <a:gd name="connsiteY8" fmla="*/ 0 h 95389"/>
                  <a:gd name="connsiteX9" fmla="*/ 16237 w 112978"/>
                  <a:gd name="connsiteY9" fmla="*/ 0 h 95389"/>
                  <a:gd name="connsiteX10" fmla="*/ 31120 w 112978"/>
                  <a:gd name="connsiteY10" fmla="*/ 71711 h 95389"/>
                  <a:gd name="connsiteX11" fmla="*/ 49386 w 112978"/>
                  <a:gd name="connsiteY11" fmla="*/ 0 h 95389"/>
                  <a:gd name="connsiteX12" fmla="*/ 63593 w 112978"/>
                  <a:gd name="connsiteY12" fmla="*/ 0 h 95389"/>
                  <a:gd name="connsiteX13" fmla="*/ 81859 w 112978"/>
                  <a:gd name="connsiteY13" fmla="*/ 71711 h 95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2977" h="95389">
                    <a:moveTo>
                      <a:pt x="81859" y="71711"/>
                    </a:moveTo>
                    <a:lnTo>
                      <a:pt x="96742" y="0"/>
                    </a:lnTo>
                    <a:lnTo>
                      <a:pt x="112979" y="0"/>
                    </a:lnTo>
                    <a:lnTo>
                      <a:pt x="90654" y="95389"/>
                    </a:lnTo>
                    <a:lnTo>
                      <a:pt x="75094" y="95389"/>
                    </a:lnTo>
                    <a:lnTo>
                      <a:pt x="56828" y="25708"/>
                    </a:lnTo>
                    <a:lnTo>
                      <a:pt x="38562" y="95389"/>
                    </a:lnTo>
                    <a:lnTo>
                      <a:pt x="22325" y="95389"/>
                    </a:lnTo>
                    <a:lnTo>
                      <a:pt x="0" y="0"/>
                    </a:lnTo>
                    <a:lnTo>
                      <a:pt x="16237" y="0"/>
                    </a:lnTo>
                    <a:lnTo>
                      <a:pt x="31120" y="71711"/>
                    </a:lnTo>
                    <a:lnTo>
                      <a:pt x="49386" y="0"/>
                    </a:lnTo>
                    <a:lnTo>
                      <a:pt x="63593" y="0"/>
                    </a:lnTo>
                    <a:lnTo>
                      <a:pt x="81859" y="71711"/>
                    </a:lnTo>
                    <a:close/>
                  </a:path>
                </a:pathLst>
              </a:custGeom>
              <a:solidFill>
                <a:srgbClr val="004A99"/>
              </a:solidFill>
              <a:ln w="6756" cap="flat">
                <a:noFill/>
                <a:prstDash val="solid"/>
                <a:miter/>
              </a:ln>
            </p:spPr>
            <p:txBody>
              <a:bodyPr rtlCol="0" anchor="ctr"/>
              <a:lstStyle/>
              <a:p>
                <a:endParaRPr lang="de-DE"/>
              </a:p>
            </p:txBody>
          </p:sp>
          <p:sp>
            <p:nvSpPr>
              <p:cNvPr id="20" name="Freihandform: Form 19">
                <a:extLst>
                  <a:ext uri="{FF2B5EF4-FFF2-40B4-BE49-F238E27FC236}">
                    <a16:creationId xmlns:a16="http://schemas.microsoft.com/office/drawing/2014/main" id="{2338123D-D495-423F-8F95-A09D0183CFAF}"/>
                  </a:ext>
                </a:extLst>
              </p:cNvPr>
              <p:cNvSpPr/>
              <p:nvPr/>
            </p:nvSpPr>
            <p:spPr>
              <a:xfrm>
                <a:off x="5655213" y="3228867"/>
                <a:ext cx="16236" cy="95389"/>
              </a:xfrm>
              <a:custGeom>
                <a:avLst/>
                <a:gdLst>
                  <a:gd name="connsiteX0" fmla="*/ 16236 w 16236"/>
                  <a:gd name="connsiteY0" fmla="*/ 95389 h 95389"/>
                  <a:gd name="connsiteX1" fmla="*/ 0 w 16236"/>
                  <a:gd name="connsiteY1" fmla="*/ 95389 h 95389"/>
                  <a:gd name="connsiteX2" fmla="*/ 0 w 16236"/>
                  <a:gd name="connsiteY2" fmla="*/ 0 h 95389"/>
                  <a:gd name="connsiteX3" fmla="*/ 16236 w 16236"/>
                  <a:gd name="connsiteY3" fmla="*/ 0 h 95389"/>
                  <a:gd name="connsiteX4" fmla="*/ 16236 w 16236"/>
                  <a:gd name="connsiteY4" fmla="*/ 95389 h 953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36" h="95389">
                    <a:moveTo>
                      <a:pt x="16236" y="95389"/>
                    </a:moveTo>
                    <a:lnTo>
                      <a:pt x="0" y="95389"/>
                    </a:lnTo>
                    <a:lnTo>
                      <a:pt x="0" y="0"/>
                    </a:lnTo>
                    <a:lnTo>
                      <a:pt x="16236" y="0"/>
                    </a:lnTo>
                    <a:lnTo>
                      <a:pt x="16236" y="95389"/>
                    </a:lnTo>
                    <a:close/>
                  </a:path>
                </a:pathLst>
              </a:custGeom>
              <a:solidFill>
                <a:srgbClr val="004A99"/>
              </a:solidFill>
              <a:ln w="6756" cap="flat">
                <a:noFill/>
                <a:prstDash val="solid"/>
                <a:miter/>
              </a:ln>
            </p:spPr>
            <p:txBody>
              <a:bodyPr rtlCol="0" anchor="ctr"/>
              <a:lstStyle/>
              <a:p>
                <a:endParaRPr lang="de-DE"/>
              </a:p>
            </p:txBody>
          </p:sp>
          <p:sp>
            <p:nvSpPr>
              <p:cNvPr id="21" name="Freihandform: Form 20">
                <a:extLst>
                  <a:ext uri="{FF2B5EF4-FFF2-40B4-BE49-F238E27FC236}">
                    <a16:creationId xmlns:a16="http://schemas.microsoft.com/office/drawing/2014/main" id="{2D35AB38-CA29-427B-B916-02403D33A6E5}"/>
                  </a:ext>
                </a:extLst>
              </p:cNvPr>
              <p:cNvSpPr/>
              <p:nvPr/>
            </p:nvSpPr>
            <p:spPr>
              <a:xfrm>
                <a:off x="5772251" y="3228867"/>
                <a:ext cx="71034" cy="95389"/>
              </a:xfrm>
              <a:custGeom>
                <a:avLst/>
                <a:gdLst>
                  <a:gd name="connsiteX0" fmla="*/ 0 w 71034"/>
                  <a:gd name="connsiteY0" fmla="*/ 95389 h 95389"/>
                  <a:gd name="connsiteX1" fmla="*/ 0 w 71034"/>
                  <a:gd name="connsiteY1" fmla="*/ 0 h 95389"/>
                  <a:gd name="connsiteX2" fmla="*/ 28414 w 71034"/>
                  <a:gd name="connsiteY2" fmla="*/ 0 h 95389"/>
                  <a:gd name="connsiteX3" fmla="*/ 50739 w 71034"/>
                  <a:gd name="connsiteY3" fmla="*/ 5412 h 95389"/>
                  <a:gd name="connsiteX4" fmla="*/ 65622 w 71034"/>
                  <a:gd name="connsiteY4" fmla="*/ 21649 h 95389"/>
                  <a:gd name="connsiteX5" fmla="*/ 71034 w 71034"/>
                  <a:gd name="connsiteY5" fmla="*/ 45327 h 95389"/>
                  <a:gd name="connsiteX6" fmla="*/ 71034 w 71034"/>
                  <a:gd name="connsiteY6" fmla="*/ 50062 h 95389"/>
                  <a:gd name="connsiteX7" fmla="*/ 65622 w 71034"/>
                  <a:gd name="connsiteY7" fmla="*/ 73741 h 95389"/>
                  <a:gd name="connsiteX8" fmla="*/ 50062 w 71034"/>
                  <a:gd name="connsiteY8" fmla="*/ 89301 h 95389"/>
                  <a:gd name="connsiteX9" fmla="*/ 27061 w 71034"/>
                  <a:gd name="connsiteY9" fmla="*/ 94713 h 95389"/>
                  <a:gd name="connsiteX10" fmla="*/ 0 w 71034"/>
                  <a:gd name="connsiteY10" fmla="*/ 94713 h 95389"/>
                  <a:gd name="connsiteX11" fmla="*/ 16236 w 71034"/>
                  <a:gd name="connsiteY11" fmla="*/ 13530 h 95389"/>
                  <a:gd name="connsiteX12" fmla="*/ 16236 w 71034"/>
                  <a:gd name="connsiteY12" fmla="*/ 82535 h 95389"/>
                  <a:gd name="connsiteX13" fmla="*/ 27061 w 71034"/>
                  <a:gd name="connsiteY13" fmla="*/ 82535 h 95389"/>
                  <a:gd name="connsiteX14" fmla="*/ 47356 w 71034"/>
                  <a:gd name="connsiteY14" fmla="*/ 74417 h 95389"/>
                  <a:gd name="connsiteX15" fmla="*/ 54798 w 71034"/>
                  <a:gd name="connsiteY15" fmla="*/ 50739 h 95389"/>
                  <a:gd name="connsiteX16" fmla="*/ 54798 w 71034"/>
                  <a:gd name="connsiteY16" fmla="*/ 45327 h 95389"/>
                  <a:gd name="connsiteX17" fmla="*/ 48033 w 71034"/>
                  <a:gd name="connsiteY17" fmla="*/ 21649 h 95389"/>
                  <a:gd name="connsiteX18" fmla="*/ 28414 w 71034"/>
                  <a:gd name="connsiteY18" fmla="*/ 13530 h 95389"/>
                  <a:gd name="connsiteX19" fmla="*/ 16236 w 71034"/>
                  <a:gd name="connsiteY19" fmla="*/ 13530 h 95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1034" h="95389">
                    <a:moveTo>
                      <a:pt x="0" y="95389"/>
                    </a:moveTo>
                    <a:lnTo>
                      <a:pt x="0" y="0"/>
                    </a:lnTo>
                    <a:lnTo>
                      <a:pt x="28414" y="0"/>
                    </a:lnTo>
                    <a:cubicBezTo>
                      <a:pt x="36532" y="0"/>
                      <a:pt x="44650" y="2030"/>
                      <a:pt x="50739" y="5412"/>
                    </a:cubicBezTo>
                    <a:cubicBezTo>
                      <a:pt x="57504" y="9471"/>
                      <a:pt x="62240" y="14207"/>
                      <a:pt x="65622" y="21649"/>
                    </a:cubicBezTo>
                    <a:cubicBezTo>
                      <a:pt x="69005" y="28414"/>
                      <a:pt x="71034" y="36532"/>
                      <a:pt x="71034" y="45327"/>
                    </a:cubicBezTo>
                    <a:lnTo>
                      <a:pt x="71034" y="50062"/>
                    </a:lnTo>
                    <a:cubicBezTo>
                      <a:pt x="71034" y="58857"/>
                      <a:pt x="69005" y="66975"/>
                      <a:pt x="65622" y="73741"/>
                    </a:cubicBezTo>
                    <a:cubicBezTo>
                      <a:pt x="62240" y="80506"/>
                      <a:pt x="56828" y="85918"/>
                      <a:pt x="50062" y="89301"/>
                    </a:cubicBezTo>
                    <a:cubicBezTo>
                      <a:pt x="43297" y="92683"/>
                      <a:pt x="35855" y="94713"/>
                      <a:pt x="27061" y="94713"/>
                    </a:cubicBezTo>
                    <a:lnTo>
                      <a:pt x="0" y="94713"/>
                    </a:lnTo>
                    <a:close/>
                    <a:moveTo>
                      <a:pt x="16236" y="13530"/>
                    </a:moveTo>
                    <a:lnTo>
                      <a:pt x="16236" y="82535"/>
                    </a:lnTo>
                    <a:lnTo>
                      <a:pt x="27061" y="82535"/>
                    </a:lnTo>
                    <a:cubicBezTo>
                      <a:pt x="35855" y="82535"/>
                      <a:pt x="42621" y="79829"/>
                      <a:pt x="47356" y="74417"/>
                    </a:cubicBezTo>
                    <a:cubicBezTo>
                      <a:pt x="52092" y="69005"/>
                      <a:pt x="54122" y="60887"/>
                      <a:pt x="54798" y="50739"/>
                    </a:cubicBezTo>
                    <a:lnTo>
                      <a:pt x="54798" y="45327"/>
                    </a:lnTo>
                    <a:cubicBezTo>
                      <a:pt x="54798" y="35179"/>
                      <a:pt x="52768" y="27061"/>
                      <a:pt x="48033" y="21649"/>
                    </a:cubicBezTo>
                    <a:cubicBezTo>
                      <a:pt x="43297" y="16236"/>
                      <a:pt x="37209" y="13530"/>
                      <a:pt x="28414" y="13530"/>
                    </a:cubicBezTo>
                    <a:lnTo>
                      <a:pt x="16236" y="13530"/>
                    </a:lnTo>
                    <a:close/>
                  </a:path>
                </a:pathLst>
              </a:custGeom>
              <a:solidFill>
                <a:srgbClr val="004A99"/>
              </a:solidFill>
              <a:ln w="6756" cap="flat">
                <a:noFill/>
                <a:prstDash val="solid"/>
                <a:miter/>
              </a:ln>
            </p:spPr>
            <p:txBody>
              <a:bodyPr rtlCol="0" anchor="ctr"/>
              <a:lstStyle/>
              <a:p>
                <a:endParaRPr lang="de-DE"/>
              </a:p>
            </p:txBody>
          </p:sp>
          <p:sp>
            <p:nvSpPr>
              <p:cNvPr id="22" name="Freihandform: Form 21">
                <a:extLst>
                  <a:ext uri="{FF2B5EF4-FFF2-40B4-BE49-F238E27FC236}">
                    <a16:creationId xmlns:a16="http://schemas.microsoft.com/office/drawing/2014/main" id="{0B93FAB7-9A61-4F3B-96F3-91C389ED4B16}"/>
                  </a:ext>
                </a:extLst>
              </p:cNvPr>
              <p:cNvSpPr/>
              <p:nvPr/>
            </p:nvSpPr>
            <p:spPr>
              <a:xfrm>
                <a:off x="5940704" y="3228867"/>
                <a:ext cx="62239" cy="95389"/>
              </a:xfrm>
              <a:custGeom>
                <a:avLst/>
                <a:gdLst>
                  <a:gd name="connsiteX0" fmla="*/ 55475 w 62239"/>
                  <a:gd name="connsiteY0" fmla="*/ 52768 h 95389"/>
                  <a:gd name="connsiteX1" fmla="*/ 16236 w 62239"/>
                  <a:gd name="connsiteY1" fmla="*/ 52768 h 95389"/>
                  <a:gd name="connsiteX2" fmla="*/ 16236 w 62239"/>
                  <a:gd name="connsiteY2" fmla="*/ 81859 h 95389"/>
                  <a:gd name="connsiteX3" fmla="*/ 62240 w 62239"/>
                  <a:gd name="connsiteY3" fmla="*/ 81859 h 95389"/>
                  <a:gd name="connsiteX4" fmla="*/ 62240 w 62239"/>
                  <a:gd name="connsiteY4" fmla="*/ 95389 h 95389"/>
                  <a:gd name="connsiteX5" fmla="*/ 0 w 62239"/>
                  <a:gd name="connsiteY5" fmla="*/ 95389 h 95389"/>
                  <a:gd name="connsiteX6" fmla="*/ 0 w 62239"/>
                  <a:gd name="connsiteY6" fmla="*/ 0 h 95389"/>
                  <a:gd name="connsiteX7" fmla="*/ 62240 w 62239"/>
                  <a:gd name="connsiteY7" fmla="*/ 0 h 95389"/>
                  <a:gd name="connsiteX8" fmla="*/ 62240 w 62239"/>
                  <a:gd name="connsiteY8" fmla="*/ 13530 h 95389"/>
                  <a:gd name="connsiteX9" fmla="*/ 16913 w 62239"/>
                  <a:gd name="connsiteY9" fmla="*/ 13530 h 95389"/>
                  <a:gd name="connsiteX10" fmla="*/ 16913 w 62239"/>
                  <a:gd name="connsiteY10" fmla="*/ 39915 h 95389"/>
                  <a:gd name="connsiteX11" fmla="*/ 56151 w 62239"/>
                  <a:gd name="connsiteY11" fmla="*/ 39915 h 95389"/>
                  <a:gd name="connsiteX12" fmla="*/ 56151 w 62239"/>
                  <a:gd name="connsiteY12" fmla="*/ 52768 h 95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2238" h="95389">
                    <a:moveTo>
                      <a:pt x="55475" y="52768"/>
                    </a:moveTo>
                    <a:lnTo>
                      <a:pt x="16236" y="52768"/>
                    </a:lnTo>
                    <a:lnTo>
                      <a:pt x="16236" y="81859"/>
                    </a:lnTo>
                    <a:lnTo>
                      <a:pt x="62240" y="81859"/>
                    </a:lnTo>
                    <a:lnTo>
                      <a:pt x="62240" y="95389"/>
                    </a:lnTo>
                    <a:lnTo>
                      <a:pt x="0" y="95389"/>
                    </a:lnTo>
                    <a:lnTo>
                      <a:pt x="0" y="0"/>
                    </a:lnTo>
                    <a:lnTo>
                      <a:pt x="62240" y="0"/>
                    </a:lnTo>
                    <a:lnTo>
                      <a:pt x="62240" y="13530"/>
                    </a:lnTo>
                    <a:lnTo>
                      <a:pt x="16913" y="13530"/>
                    </a:lnTo>
                    <a:lnTo>
                      <a:pt x="16913" y="39915"/>
                    </a:lnTo>
                    <a:lnTo>
                      <a:pt x="56151" y="39915"/>
                    </a:lnTo>
                    <a:lnTo>
                      <a:pt x="56151" y="52768"/>
                    </a:lnTo>
                    <a:close/>
                  </a:path>
                </a:pathLst>
              </a:custGeom>
              <a:solidFill>
                <a:srgbClr val="004A99"/>
              </a:solidFill>
              <a:ln w="6756" cap="flat">
                <a:noFill/>
                <a:prstDash val="solid"/>
                <a:miter/>
              </a:ln>
            </p:spPr>
            <p:txBody>
              <a:bodyPr rtlCol="0" anchor="ctr"/>
              <a:lstStyle/>
              <a:p>
                <a:endParaRPr lang="de-DE"/>
              </a:p>
            </p:txBody>
          </p:sp>
          <p:sp>
            <p:nvSpPr>
              <p:cNvPr id="23" name="Freihandform: Form 22">
                <a:extLst>
                  <a:ext uri="{FF2B5EF4-FFF2-40B4-BE49-F238E27FC236}">
                    <a16:creationId xmlns:a16="http://schemas.microsoft.com/office/drawing/2014/main" id="{C3F59078-7F42-461C-9332-17B2B5F1ACD7}"/>
                  </a:ext>
                </a:extLst>
              </p:cNvPr>
              <p:cNvSpPr/>
              <p:nvPr/>
            </p:nvSpPr>
            <p:spPr>
              <a:xfrm>
                <a:off x="6210635" y="3229544"/>
                <a:ext cx="60210" cy="95389"/>
              </a:xfrm>
              <a:custGeom>
                <a:avLst/>
                <a:gdLst>
                  <a:gd name="connsiteX0" fmla="*/ 16913 w 60210"/>
                  <a:gd name="connsiteY0" fmla="*/ 81859 h 95389"/>
                  <a:gd name="connsiteX1" fmla="*/ 60210 w 60210"/>
                  <a:gd name="connsiteY1" fmla="*/ 81859 h 95389"/>
                  <a:gd name="connsiteX2" fmla="*/ 60210 w 60210"/>
                  <a:gd name="connsiteY2" fmla="*/ 95389 h 95389"/>
                  <a:gd name="connsiteX3" fmla="*/ 0 w 60210"/>
                  <a:gd name="connsiteY3" fmla="*/ 95389 h 95389"/>
                  <a:gd name="connsiteX4" fmla="*/ 0 w 60210"/>
                  <a:gd name="connsiteY4" fmla="*/ 0 h 95389"/>
                  <a:gd name="connsiteX5" fmla="*/ 16913 w 60210"/>
                  <a:gd name="connsiteY5" fmla="*/ 0 h 95389"/>
                  <a:gd name="connsiteX6" fmla="*/ 16913 w 60210"/>
                  <a:gd name="connsiteY6" fmla="*/ 81859 h 95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210" h="95389">
                    <a:moveTo>
                      <a:pt x="16913" y="81859"/>
                    </a:moveTo>
                    <a:lnTo>
                      <a:pt x="60210" y="81859"/>
                    </a:lnTo>
                    <a:lnTo>
                      <a:pt x="60210" y="95389"/>
                    </a:lnTo>
                    <a:lnTo>
                      <a:pt x="0" y="95389"/>
                    </a:lnTo>
                    <a:lnTo>
                      <a:pt x="0" y="0"/>
                    </a:lnTo>
                    <a:lnTo>
                      <a:pt x="16913" y="0"/>
                    </a:lnTo>
                    <a:lnTo>
                      <a:pt x="16913" y="81859"/>
                    </a:lnTo>
                    <a:close/>
                  </a:path>
                </a:pathLst>
              </a:custGeom>
              <a:solidFill>
                <a:srgbClr val="004A99"/>
              </a:solidFill>
              <a:ln w="6756" cap="flat">
                <a:noFill/>
                <a:prstDash val="solid"/>
                <a:miter/>
              </a:ln>
            </p:spPr>
            <p:txBody>
              <a:bodyPr rtlCol="0" anchor="ctr"/>
              <a:lstStyle/>
              <a:p>
                <a:endParaRPr lang="de-DE"/>
              </a:p>
            </p:txBody>
          </p:sp>
          <p:sp>
            <p:nvSpPr>
              <p:cNvPr id="24" name="Freihandform: Form 23">
                <a:extLst>
                  <a:ext uri="{FF2B5EF4-FFF2-40B4-BE49-F238E27FC236}">
                    <a16:creationId xmlns:a16="http://schemas.microsoft.com/office/drawing/2014/main" id="{8EB320AE-D1BC-45DD-B518-090EC46EA751}"/>
                  </a:ext>
                </a:extLst>
              </p:cNvPr>
              <p:cNvSpPr/>
              <p:nvPr/>
            </p:nvSpPr>
            <p:spPr>
              <a:xfrm>
                <a:off x="6356763" y="3228191"/>
                <a:ext cx="79829" cy="97418"/>
              </a:xfrm>
              <a:custGeom>
                <a:avLst/>
                <a:gdLst>
                  <a:gd name="connsiteX0" fmla="*/ 79153 w 79829"/>
                  <a:gd name="connsiteY0" fmla="*/ 51415 h 97418"/>
                  <a:gd name="connsiteX1" fmla="*/ 74417 w 79829"/>
                  <a:gd name="connsiteY1" fmla="*/ 75770 h 97418"/>
                  <a:gd name="connsiteX2" fmla="*/ 60887 w 79829"/>
                  <a:gd name="connsiteY2" fmla="*/ 92007 h 97418"/>
                  <a:gd name="connsiteX3" fmla="*/ 39915 w 79829"/>
                  <a:gd name="connsiteY3" fmla="*/ 97419 h 97418"/>
                  <a:gd name="connsiteX4" fmla="*/ 18942 w 79829"/>
                  <a:gd name="connsiteY4" fmla="*/ 92007 h 97418"/>
                  <a:gd name="connsiteX5" fmla="*/ 4736 w 79829"/>
                  <a:gd name="connsiteY5" fmla="*/ 75770 h 97418"/>
                  <a:gd name="connsiteX6" fmla="*/ 0 w 79829"/>
                  <a:gd name="connsiteY6" fmla="*/ 51415 h 97418"/>
                  <a:gd name="connsiteX7" fmla="*/ 0 w 79829"/>
                  <a:gd name="connsiteY7" fmla="*/ 46003 h 97418"/>
                  <a:gd name="connsiteX8" fmla="*/ 4736 w 79829"/>
                  <a:gd name="connsiteY8" fmla="*/ 21649 h 97418"/>
                  <a:gd name="connsiteX9" fmla="*/ 18942 w 79829"/>
                  <a:gd name="connsiteY9" fmla="*/ 5412 h 97418"/>
                  <a:gd name="connsiteX10" fmla="*/ 39915 w 79829"/>
                  <a:gd name="connsiteY10" fmla="*/ 0 h 97418"/>
                  <a:gd name="connsiteX11" fmla="*/ 60887 w 79829"/>
                  <a:gd name="connsiteY11" fmla="*/ 5412 h 97418"/>
                  <a:gd name="connsiteX12" fmla="*/ 75094 w 79829"/>
                  <a:gd name="connsiteY12" fmla="*/ 21649 h 97418"/>
                  <a:gd name="connsiteX13" fmla="*/ 79829 w 79829"/>
                  <a:gd name="connsiteY13" fmla="*/ 46003 h 97418"/>
                  <a:gd name="connsiteX14" fmla="*/ 79829 w 79829"/>
                  <a:gd name="connsiteY14" fmla="*/ 51415 h 97418"/>
                  <a:gd name="connsiteX15" fmla="*/ 62240 w 79829"/>
                  <a:gd name="connsiteY15" fmla="*/ 46003 h 97418"/>
                  <a:gd name="connsiteX16" fmla="*/ 56151 w 79829"/>
                  <a:gd name="connsiteY16" fmla="*/ 21649 h 97418"/>
                  <a:gd name="connsiteX17" fmla="*/ 39238 w 79829"/>
                  <a:gd name="connsiteY17" fmla="*/ 13530 h 97418"/>
                  <a:gd name="connsiteX18" fmla="*/ 22325 w 79829"/>
                  <a:gd name="connsiteY18" fmla="*/ 21649 h 97418"/>
                  <a:gd name="connsiteX19" fmla="*/ 16236 w 79829"/>
                  <a:gd name="connsiteY19" fmla="*/ 45327 h 97418"/>
                  <a:gd name="connsiteX20" fmla="*/ 16236 w 79829"/>
                  <a:gd name="connsiteY20" fmla="*/ 50739 h 97418"/>
                  <a:gd name="connsiteX21" fmla="*/ 22325 w 79829"/>
                  <a:gd name="connsiteY21" fmla="*/ 75094 h 97418"/>
                  <a:gd name="connsiteX22" fmla="*/ 39238 w 79829"/>
                  <a:gd name="connsiteY22" fmla="*/ 83888 h 97418"/>
                  <a:gd name="connsiteX23" fmla="*/ 56151 w 79829"/>
                  <a:gd name="connsiteY23" fmla="*/ 75770 h 97418"/>
                  <a:gd name="connsiteX24" fmla="*/ 62240 w 79829"/>
                  <a:gd name="connsiteY24" fmla="*/ 51415 h 97418"/>
                  <a:gd name="connsiteX25" fmla="*/ 62240 w 79829"/>
                  <a:gd name="connsiteY25" fmla="*/ 46003 h 97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79829" h="97418">
                    <a:moveTo>
                      <a:pt x="79153" y="51415"/>
                    </a:moveTo>
                    <a:cubicBezTo>
                      <a:pt x="79153" y="60887"/>
                      <a:pt x="77800" y="69005"/>
                      <a:pt x="74417" y="75770"/>
                    </a:cubicBezTo>
                    <a:cubicBezTo>
                      <a:pt x="71034" y="82535"/>
                      <a:pt x="66299" y="87947"/>
                      <a:pt x="60887" y="92007"/>
                    </a:cubicBezTo>
                    <a:cubicBezTo>
                      <a:pt x="54798" y="96066"/>
                      <a:pt x="48033" y="97419"/>
                      <a:pt x="39915" y="97419"/>
                    </a:cubicBezTo>
                    <a:cubicBezTo>
                      <a:pt x="32473" y="97419"/>
                      <a:pt x="25031" y="95389"/>
                      <a:pt x="18942" y="92007"/>
                    </a:cubicBezTo>
                    <a:cubicBezTo>
                      <a:pt x="12854" y="87947"/>
                      <a:pt x="8118" y="82535"/>
                      <a:pt x="4736" y="75770"/>
                    </a:cubicBezTo>
                    <a:cubicBezTo>
                      <a:pt x="1353" y="69005"/>
                      <a:pt x="0" y="60887"/>
                      <a:pt x="0" y="51415"/>
                    </a:cubicBezTo>
                    <a:lnTo>
                      <a:pt x="0" y="46003"/>
                    </a:lnTo>
                    <a:cubicBezTo>
                      <a:pt x="0" y="36532"/>
                      <a:pt x="1353" y="28414"/>
                      <a:pt x="4736" y="21649"/>
                    </a:cubicBezTo>
                    <a:cubicBezTo>
                      <a:pt x="8118" y="14207"/>
                      <a:pt x="12854" y="8795"/>
                      <a:pt x="18942" y="5412"/>
                    </a:cubicBezTo>
                    <a:cubicBezTo>
                      <a:pt x="25031" y="1353"/>
                      <a:pt x="31796" y="0"/>
                      <a:pt x="39915" y="0"/>
                    </a:cubicBezTo>
                    <a:cubicBezTo>
                      <a:pt x="47356" y="0"/>
                      <a:pt x="54798" y="2030"/>
                      <a:pt x="60887" y="5412"/>
                    </a:cubicBezTo>
                    <a:cubicBezTo>
                      <a:pt x="66975" y="9471"/>
                      <a:pt x="71711" y="14207"/>
                      <a:pt x="75094" y="21649"/>
                    </a:cubicBezTo>
                    <a:cubicBezTo>
                      <a:pt x="78476" y="28414"/>
                      <a:pt x="79829" y="36532"/>
                      <a:pt x="79829" y="46003"/>
                    </a:cubicBezTo>
                    <a:lnTo>
                      <a:pt x="79829" y="51415"/>
                    </a:lnTo>
                    <a:close/>
                    <a:moveTo>
                      <a:pt x="62240" y="46003"/>
                    </a:moveTo>
                    <a:cubicBezTo>
                      <a:pt x="62240" y="35179"/>
                      <a:pt x="60210" y="27061"/>
                      <a:pt x="56151" y="21649"/>
                    </a:cubicBezTo>
                    <a:cubicBezTo>
                      <a:pt x="52092" y="16236"/>
                      <a:pt x="46680" y="13530"/>
                      <a:pt x="39238" y="13530"/>
                    </a:cubicBezTo>
                    <a:cubicBezTo>
                      <a:pt x="31796" y="13530"/>
                      <a:pt x="26384" y="16236"/>
                      <a:pt x="22325" y="21649"/>
                    </a:cubicBezTo>
                    <a:cubicBezTo>
                      <a:pt x="18266" y="27061"/>
                      <a:pt x="16236" y="35179"/>
                      <a:pt x="16236" y="45327"/>
                    </a:cubicBezTo>
                    <a:lnTo>
                      <a:pt x="16236" y="50739"/>
                    </a:lnTo>
                    <a:cubicBezTo>
                      <a:pt x="16236" y="61563"/>
                      <a:pt x="18266" y="69005"/>
                      <a:pt x="22325" y="75094"/>
                    </a:cubicBezTo>
                    <a:cubicBezTo>
                      <a:pt x="26384" y="80506"/>
                      <a:pt x="31796" y="83888"/>
                      <a:pt x="39238" y="83888"/>
                    </a:cubicBezTo>
                    <a:cubicBezTo>
                      <a:pt x="46680" y="83888"/>
                      <a:pt x="52092" y="81182"/>
                      <a:pt x="56151" y="75770"/>
                    </a:cubicBezTo>
                    <a:cubicBezTo>
                      <a:pt x="60210" y="70358"/>
                      <a:pt x="62240" y="62240"/>
                      <a:pt x="62240" y="51415"/>
                    </a:cubicBezTo>
                    <a:lnTo>
                      <a:pt x="62240" y="46003"/>
                    </a:lnTo>
                    <a:close/>
                  </a:path>
                </a:pathLst>
              </a:custGeom>
              <a:solidFill>
                <a:srgbClr val="004A99"/>
              </a:solidFill>
              <a:ln w="6756" cap="flat">
                <a:noFill/>
                <a:prstDash val="solid"/>
                <a:miter/>
              </a:ln>
            </p:spPr>
            <p:txBody>
              <a:bodyPr rtlCol="0" anchor="ctr"/>
              <a:lstStyle/>
              <a:p>
                <a:endParaRPr lang="de-DE"/>
              </a:p>
            </p:txBody>
          </p:sp>
          <p:sp>
            <p:nvSpPr>
              <p:cNvPr id="25" name="Freihandform: Form 24">
                <a:extLst>
                  <a:ext uri="{FF2B5EF4-FFF2-40B4-BE49-F238E27FC236}">
                    <a16:creationId xmlns:a16="http://schemas.microsoft.com/office/drawing/2014/main" id="{A0FBCC5B-BA7C-47F3-96C4-EAB9A5269DE9}"/>
                  </a:ext>
                </a:extLst>
              </p:cNvPr>
              <p:cNvSpPr/>
              <p:nvPr/>
            </p:nvSpPr>
            <p:spPr>
              <a:xfrm>
                <a:off x="6529952" y="3227514"/>
                <a:ext cx="75769" cy="98095"/>
              </a:xfrm>
              <a:custGeom>
                <a:avLst/>
                <a:gdLst>
                  <a:gd name="connsiteX0" fmla="*/ 75770 w 75769"/>
                  <a:gd name="connsiteY0" fmla="*/ 84565 h 98095"/>
                  <a:gd name="connsiteX1" fmla="*/ 61563 w 75769"/>
                  <a:gd name="connsiteY1" fmla="*/ 94713 h 98095"/>
                  <a:gd name="connsiteX2" fmla="*/ 40591 w 75769"/>
                  <a:gd name="connsiteY2" fmla="*/ 98095 h 98095"/>
                  <a:gd name="connsiteX3" fmla="*/ 19619 w 75769"/>
                  <a:gd name="connsiteY3" fmla="*/ 92683 h 98095"/>
                  <a:gd name="connsiteX4" fmla="*/ 5412 w 75769"/>
                  <a:gd name="connsiteY4" fmla="*/ 77123 h 98095"/>
                  <a:gd name="connsiteX5" fmla="*/ 0 w 75769"/>
                  <a:gd name="connsiteY5" fmla="*/ 53445 h 98095"/>
                  <a:gd name="connsiteX6" fmla="*/ 0 w 75769"/>
                  <a:gd name="connsiteY6" fmla="*/ 46003 h 98095"/>
                  <a:gd name="connsiteX7" fmla="*/ 10148 w 75769"/>
                  <a:gd name="connsiteY7" fmla="*/ 12177 h 98095"/>
                  <a:gd name="connsiteX8" fmla="*/ 39238 w 75769"/>
                  <a:gd name="connsiteY8" fmla="*/ 0 h 98095"/>
                  <a:gd name="connsiteX9" fmla="*/ 64269 w 75769"/>
                  <a:gd name="connsiteY9" fmla="*/ 8118 h 98095"/>
                  <a:gd name="connsiteX10" fmla="*/ 75770 w 75769"/>
                  <a:gd name="connsiteY10" fmla="*/ 31120 h 98095"/>
                  <a:gd name="connsiteX11" fmla="*/ 59534 w 75769"/>
                  <a:gd name="connsiteY11" fmla="*/ 31120 h 98095"/>
                  <a:gd name="connsiteX12" fmla="*/ 39238 w 75769"/>
                  <a:gd name="connsiteY12" fmla="*/ 14207 h 98095"/>
                  <a:gd name="connsiteX13" fmla="*/ 22325 w 75769"/>
                  <a:gd name="connsiteY13" fmla="*/ 22325 h 98095"/>
                  <a:gd name="connsiteX14" fmla="*/ 16236 w 75769"/>
                  <a:gd name="connsiteY14" fmla="*/ 46003 h 98095"/>
                  <a:gd name="connsiteX15" fmla="*/ 16236 w 75769"/>
                  <a:gd name="connsiteY15" fmla="*/ 53445 h 98095"/>
                  <a:gd name="connsiteX16" fmla="*/ 23002 w 75769"/>
                  <a:gd name="connsiteY16" fmla="*/ 77123 h 98095"/>
                  <a:gd name="connsiteX17" fmla="*/ 41268 w 75769"/>
                  <a:gd name="connsiteY17" fmla="*/ 85918 h 98095"/>
                  <a:gd name="connsiteX18" fmla="*/ 59534 w 75769"/>
                  <a:gd name="connsiteY18" fmla="*/ 79829 h 98095"/>
                  <a:gd name="connsiteX19" fmla="*/ 59534 w 75769"/>
                  <a:gd name="connsiteY19" fmla="*/ 60887 h 98095"/>
                  <a:gd name="connsiteX20" fmla="*/ 39915 w 75769"/>
                  <a:gd name="connsiteY20" fmla="*/ 60887 h 98095"/>
                  <a:gd name="connsiteX21" fmla="*/ 39915 w 75769"/>
                  <a:gd name="connsiteY21" fmla="*/ 48033 h 98095"/>
                  <a:gd name="connsiteX22" fmla="*/ 75770 w 75769"/>
                  <a:gd name="connsiteY22" fmla="*/ 48033 h 98095"/>
                  <a:gd name="connsiteX23" fmla="*/ 75770 w 75769"/>
                  <a:gd name="connsiteY23" fmla="*/ 84565 h 98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5769" h="98095">
                    <a:moveTo>
                      <a:pt x="75770" y="84565"/>
                    </a:moveTo>
                    <a:cubicBezTo>
                      <a:pt x="72387" y="89301"/>
                      <a:pt x="67652" y="92683"/>
                      <a:pt x="61563" y="94713"/>
                    </a:cubicBezTo>
                    <a:cubicBezTo>
                      <a:pt x="55474" y="96742"/>
                      <a:pt x="48709" y="98095"/>
                      <a:pt x="40591" y="98095"/>
                    </a:cubicBezTo>
                    <a:cubicBezTo>
                      <a:pt x="32473" y="98095"/>
                      <a:pt x="25708" y="96066"/>
                      <a:pt x="19619" y="92683"/>
                    </a:cubicBezTo>
                    <a:cubicBezTo>
                      <a:pt x="13530" y="89301"/>
                      <a:pt x="8795" y="83888"/>
                      <a:pt x="5412" y="77123"/>
                    </a:cubicBezTo>
                    <a:cubicBezTo>
                      <a:pt x="2029" y="70358"/>
                      <a:pt x="0" y="62240"/>
                      <a:pt x="0" y="53445"/>
                    </a:cubicBezTo>
                    <a:lnTo>
                      <a:pt x="0" y="46003"/>
                    </a:lnTo>
                    <a:cubicBezTo>
                      <a:pt x="0" y="31796"/>
                      <a:pt x="3383" y="20296"/>
                      <a:pt x="10148" y="12177"/>
                    </a:cubicBezTo>
                    <a:cubicBezTo>
                      <a:pt x="16913" y="4059"/>
                      <a:pt x="26384" y="0"/>
                      <a:pt x="39238" y="0"/>
                    </a:cubicBezTo>
                    <a:cubicBezTo>
                      <a:pt x="50062" y="0"/>
                      <a:pt x="58181" y="2706"/>
                      <a:pt x="64269" y="8118"/>
                    </a:cubicBezTo>
                    <a:cubicBezTo>
                      <a:pt x="70358" y="13530"/>
                      <a:pt x="74417" y="20972"/>
                      <a:pt x="75770" y="31120"/>
                    </a:cubicBezTo>
                    <a:lnTo>
                      <a:pt x="59534" y="31120"/>
                    </a:lnTo>
                    <a:cubicBezTo>
                      <a:pt x="57504" y="19619"/>
                      <a:pt x="50739" y="14207"/>
                      <a:pt x="39238" y="14207"/>
                    </a:cubicBezTo>
                    <a:cubicBezTo>
                      <a:pt x="31796" y="14207"/>
                      <a:pt x="26384" y="16913"/>
                      <a:pt x="22325" y="22325"/>
                    </a:cubicBezTo>
                    <a:cubicBezTo>
                      <a:pt x="18266" y="27737"/>
                      <a:pt x="16236" y="35856"/>
                      <a:pt x="16236" y="46003"/>
                    </a:cubicBezTo>
                    <a:lnTo>
                      <a:pt x="16236" y="53445"/>
                    </a:lnTo>
                    <a:cubicBezTo>
                      <a:pt x="16236" y="63593"/>
                      <a:pt x="18266" y="71711"/>
                      <a:pt x="23002" y="77123"/>
                    </a:cubicBezTo>
                    <a:cubicBezTo>
                      <a:pt x="27061" y="82535"/>
                      <a:pt x="33149" y="85918"/>
                      <a:pt x="41268" y="85918"/>
                    </a:cubicBezTo>
                    <a:cubicBezTo>
                      <a:pt x="50062" y="85918"/>
                      <a:pt x="55474" y="83888"/>
                      <a:pt x="59534" y="79829"/>
                    </a:cubicBezTo>
                    <a:lnTo>
                      <a:pt x="59534" y="60887"/>
                    </a:lnTo>
                    <a:lnTo>
                      <a:pt x="39915" y="60887"/>
                    </a:lnTo>
                    <a:lnTo>
                      <a:pt x="39915" y="48033"/>
                    </a:lnTo>
                    <a:lnTo>
                      <a:pt x="75770" y="48033"/>
                    </a:lnTo>
                    <a:lnTo>
                      <a:pt x="75770" y="84565"/>
                    </a:lnTo>
                    <a:close/>
                  </a:path>
                </a:pathLst>
              </a:custGeom>
              <a:solidFill>
                <a:srgbClr val="004A99"/>
              </a:solidFill>
              <a:ln w="6756" cap="flat">
                <a:noFill/>
                <a:prstDash val="solid"/>
                <a:miter/>
              </a:ln>
            </p:spPr>
            <p:txBody>
              <a:bodyPr rtlCol="0" anchor="ctr"/>
              <a:lstStyle/>
              <a:p>
                <a:endParaRPr lang="de-DE"/>
              </a:p>
            </p:txBody>
          </p:sp>
          <p:sp>
            <p:nvSpPr>
              <p:cNvPr id="26" name="Freihandform: Form 25">
                <a:extLst>
                  <a:ext uri="{FF2B5EF4-FFF2-40B4-BE49-F238E27FC236}">
                    <a16:creationId xmlns:a16="http://schemas.microsoft.com/office/drawing/2014/main" id="{06DD5BB8-27C8-431D-89D4-34D0451FEAA1}"/>
                  </a:ext>
                </a:extLst>
              </p:cNvPr>
              <p:cNvSpPr/>
              <p:nvPr/>
            </p:nvSpPr>
            <p:spPr>
              <a:xfrm>
                <a:off x="6705847" y="3228867"/>
                <a:ext cx="16236" cy="95389"/>
              </a:xfrm>
              <a:custGeom>
                <a:avLst/>
                <a:gdLst>
                  <a:gd name="connsiteX0" fmla="*/ 16236 w 16236"/>
                  <a:gd name="connsiteY0" fmla="*/ 95389 h 95389"/>
                  <a:gd name="connsiteX1" fmla="*/ 0 w 16236"/>
                  <a:gd name="connsiteY1" fmla="*/ 95389 h 95389"/>
                  <a:gd name="connsiteX2" fmla="*/ 0 w 16236"/>
                  <a:gd name="connsiteY2" fmla="*/ 0 h 95389"/>
                  <a:gd name="connsiteX3" fmla="*/ 16236 w 16236"/>
                  <a:gd name="connsiteY3" fmla="*/ 0 h 95389"/>
                  <a:gd name="connsiteX4" fmla="*/ 16236 w 16236"/>
                  <a:gd name="connsiteY4" fmla="*/ 95389 h 953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36" h="95389">
                    <a:moveTo>
                      <a:pt x="16236" y="95389"/>
                    </a:moveTo>
                    <a:lnTo>
                      <a:pt x="0" y="95389"/>
                    </a:lnTo>
                    <a:lnTo>
                      <a:pt x="0" y="0"/>
                    </a:lnTo>
                    <a:lnTo>
                      <a:pt x="16236" y="0"/>
                    </a:lnTo>
                    <a:lnTo>
                      <a:pt x="16236" y="95389"/>
                    </a:lnTo>
                    <a:close/>
                  </a:path>
                </a:pathLst>
              </a:custGeom>
              <a:solidFill>
                <a:srgbClr val="004A99"/>
              </a:solidFill>
              <a:ln w="6756" cap="flat">
                <a:noFill/>
                <a:prstDash val="solid"/>
                <a:miter/>
              </a:ln>
            </p:spPr>
            <p:txBody>
              <a:bodyPr rtlCol="0" anchor="ctr"/>
              <a:lstStyle/>
              <a:p>
                <a:endParaRPr lang="de-DE"/>
              </a:p>
            </p:txBody>
          </p:sp>
          <p:sp>
            <p:nvSpPr>
              <p:cNvPr id="27" name="Freihandform: Form 26">
                <a:extLst>
                  <a:ext uri="{FF2B5EF4-FFF2-40B4-BE49-F238E27FC236}">
                    <a16:creationId xmlns:a16="http://schemas.microsoft.com/office/drawing/2014/main" id="{53D7A65E-6CBB-4998-87DD-7F285993709B}"/>
                  </a:ext>
                </a:extLst>
              </p:cNvPr>
              <p:cNvSpPr/>
              <p:nvPr/>
            </p:nvSpPr>
            <p:spPr>
              <a:xfrm>
                <a:off x="6817472" y="3228191"/>
                <a:ext cx="71711" cy="96742"/>
              </a:xfrm>
              <a:custGeom>
                <a:avLst/>
                <a:gdLst>
                  <a:gd name="connsiteX0" fmla="*/ 55474 w 71711"/>
                  <a:gd name="connsiteY0" fmla="*/ 71711 h 96742"/>
                  <a:gd name="connsiteX1" fmla="*/ 50739 w 71711"/>
                  <a:gd name="connsiteY1" fmla="*/ 62240 h 96742"/>
                  <a:gd name="connsiteX2" fmla="*/ 34503 w 71711"/>
                  <a:gd name="connsiteY2" fmla="*/ 55475 h 96742"/>
                  <a:gd name="connsiteX3" fmla="*/ 16236 w 71711"/>
                  <a:gd name="connsiteY3" fmla="*/ 48033 h 96742"/>
                  <a:gd name="connsiteX4" fmla="*/ 3383 w 71711"/>
                  <a:gd name="connsiteY4" fmla="*/ 26384 h 96742"/>
                  <a:gd name="connsiteX5" fmla="*/ 12854 w 71711"/>
                  <a:gd name="connsiteY5" fmla="*/ 7442 h 96742"/>
                  <a:gd name="connsiteX6" fmla="*/ 37209 w 71711"/>
                  <a:gd name="connsiteY6" fmla="*/ 0 h 96742"/>
                  <a:gd name="connsiteX7" fmla="*/ 54798 w 71711"/>
                  <a:gd name="connsiteY7" fmla="*/ 3383 h 96742"/>
                  <a:gd name="connsiteX8" fmla="*/ 66975 w 71711"/>
                  <a:gd name="connsiteY8" fmla="*/ 13530 h 96742"/>
                  <a:gd name="connsiteX9" fmla="*/ 71711 w 71711"/>
                  <a:gd name="connsiteY9" fmla="*/ 28414 h 96742"/>
                  <a:gd name="connsiteX10" fmla="*/ 55474 w 71711"/>
                  <a:gd name="connsiteY10" fmla="*/ 28414 h 96742"/>
                  <a:gd name="connsiteX11" fmla="*/ 50739 w 71711"/>
                  <a:gd name="connsiteY11" fmla="*/ 16913 h 96742"/>
                  <a:gd name="connsiteX12" fmla="*/ 37209 w 71711"/>
                  <a:gd name="connsiteY12" fmla="*/ 12854 h 96742"/>
                  <a:gd name="connsiteX13" fmla="*/ 24355 w 71711"/>
                  <a:gd name="connsiteY13" fmla="*/ 16236 h 96742"/>
                  <a:gd name="connsiteX14" fmla="*/ 19619 w 71711"/>
                  <a:gd name="connsiteY14" fmla="*/ 25708 h 96742"/>
                  <a:gd name="connsiteX15" fmla="*/ 24355 w 71711"/>
                  <a:gd name="connsiteY15" fmla="*/ 34503 h 96742"/>
                  <a:gd name="connsiteX16" fmla="*/ 40591 w 71711"/>
                  <a:gd name="connsiteY16" fmla="*/ 41268 h 96742"/>
                  <a:gd name="connsiteX17" fmla="*/ 58181 w 71711"/>
                  <a:gd name="connsiteY17" fmla="*/ 48709 h 96742"/>
                  <a:gd name="connsiteX18" fmla="*/ 68328 w 71711"/>
                  <a:gd name="connsiteY18" fmla="*/ 58181 h 96742"/>
                  <a:gd name="connsiteX19" fmla="*/ 71711 w 71711"/>
                  <a:gd name="connsiteY19" fmla="*/ 71035 h 96742"/>
                  <a:gd name="connsiteX20" fmla="*/ 62240 w 71711"/>
                  <a:gd name="connsiteY20" fmla="*/ 89977 h 96742"/>
                  <a:gd name="connsiteX21" fmla="*/ 37209 w 71711"/>
                  <a:gd name="connsiteY21" fmla="*/ 96742 h 96742"/>
                  <a:gd name="connsiteX22" fmla="*/ 18266 w 71711"/>
                  <a:gd name="connsiteY22" fmla="*/ 92683 h 96742"/>
                  <a:gd name="connsiteX23" fmla="*/ 4736 w 71711"/>
                  <a:gd name="connsiteY23" fmla="*/ 81859 h 96742"/>
                  <a:gd name="connsiteX24" fmla="*/ 0 w 71711"/>
                  <a:gd name="connsiteY24" fmla="*/ 66299 h 96742"/>
                  <a:gd name="connsiteX25" fmla="*/ 16913 w 71711"/>
                  <a:gd name="connsiteY25" fmla="*/ 66299 h 96742"/>
                  <a:gd name="connsiteX26" fmla="*/ 22325 w 71711"/>
                  <a:gd name="connsiteY26" fmla="*/ 79153 h 96742"/>
                  <a:gd name="connsiteX27" fmla="*/ 37885 w 71711"/>
                  <a:gd name="connsiteY27" fmla="*/ 83888 h 96742"/>
                  <a:gd name="connsiteX28" fmla="*/ 50739 w 71711"/>
                  <a:gd name="connsiteY28" fmla="*/ 80506 h 96742"/>
                  <a:gd name="connsiteX29" fmla="*/ 55474 w 71711"/>
                  <a:gd name="connsiteY29" fmla="*/ 71711 h 96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1711" h="96742">
                    <a:moveTo>
                      <a:pt x="55474" y="71711"/>
                    </a:moveTo>
                    <a:cubicBezTo>
                      <a:pt x="55474" y="67652"/>
                      <a:pt x="54122" y="64269"/>
                      <a:pt x="50739" y="62240"/>
                    </a:cubicBezTo>
                    <a:cubicBezTo>
                      <a:pt x="48033" y="60210"/>
                      <a:pt x="42621" y="57504"/>
                      <a:pt x="34503" y="55475"/>
                    </a:cubicBezTo>
                    <a:cubicBezTo>
                      <a:pt x="27061" y="53445"/>
                      <a:pt x="20972" y="50739"/>
                      <a:pt x="16236" y="48033"/>
                    </a:cubicBezTo>
                    <a:cubicBezTo>
                      <a:pt x="7442" y="42621"/>
                      <a:pt x="3383" y="35179"/>
                      <a:pt x="3383" y="26384"/>
                    </a:cubicBezTo>
                    <a:cubicBezTo>
                      <a:pt x="3383" y="18943"/>
                      <a:pt x="6765" y="12177"/>
                      <a:pt x="12854" y="7442"/>
                    </a:cubicBezTo>
                    <a:cubicBezTo>
                      <a:pt x="18942" y="2706"/>
                      <a:pt x="27061" y="0"/>
                      <a:pt x="37209" y="0"/>
                    </a:cubicBezTo>
                    <a:cubicBezTo>
                      <a:pt x="43974" y="0"/>
                      <a:pt x="50062" y="1353"/>
                      <a:pt x="54798" y="3383"/>
                    </a:cubicBezTo>
                    <a:cubicBezTo>
                      <a:pt x="60210" y="6089"/>
                      <a:pt x="64269" y="9471"/>
                      <a:pt x="66975" y="13530"/>
                    </a:cubicBezTo>
                    <a:cubicBezTo>
                      <a:pt x="69681" y="18266"/>
                      <a:pt x="71711" y="23002"/>
                      <a:pt x="71711" y="28414"/>
                    </a:cubicBezTo>
                    <a:lnTo>
                      <a:pt x="55474" y="28414"/>
                    </a:lnTo>
                    <a:cubicBezTo>
                      <a:pt x="55474" y="23678"/>
                      <a:pt x="54122" y="19619"/>
                      <a:pt x="50739" y="16913"/>
                    </a:cubicBezTo>
                    <a:cubicBezTo>
                      <a:pt x="47356" y="14207"/>
                      <a:pt x="43297" y="12854"/>
                      <a:pt x="37209" y="12854"/>
                    </a:cubicBezTo>
                    <a:cubicBezTo>
                      <a:pt x="31796" y="12854"/>
                      <a:pt x="27737" y="14207"/>
                      <a:pt x="24355" y="16236"/>
                    </a:cubicBezTo>
                    <a:cubicBezTo>
                      <a:pt x="21648" y="18266"/>
                      <a:pt x="19619" y="21649"/>
                      <a:pt x="19619" y="25708"/>
                    </a:cubicBezTo>
                    <a:cubicBezTo>
                      <a:pt x="19619" y="29090"/>
                      <a:pt x="20972" y="31796"/>
                      <a:pt x="24355" y="34503"/>
                    </a:cubicBezTo>
                    <a:cubicBezTo>
                      <a:pt x="27737" y="36532"/>
                      <a:pt x="33149" y="39238"/>
                      <a:pt x="40591" y="41268"/>
                    </a:cubicBezTo>
                    <a:cubicBezTo>
                      <a:pt x="48033" y="43297"/>
                      <a:pt x="54122" y="46003"/>
                      <a:pt x="58181" y="48709"/>
                    </a:cubicBezTo>
                    <a:cubicBezTo>
                      <a:pt x="62916" y="51415"/>
                      <a:pt x="66299" y="54798"/>
                      <a:pt x="68328" y="58181"/>
                    </a:cubicBezTo>
                    <a:cubicBezTo>
                      <a:pt x="70358" y="61563"/>
                      <a:pt x="71711" y="66299"/>
                      <a:pt x="71711" y="71035"/>
                    </a:cubicBezTo>
                    <a:cubicBezTo>
                      <a:pt x="71711" y="79153"/>
                      <a:pt x="69005" y="85241"/>
                      <a:pt x="62240" y="89977"/>
                    </a:cubicBezTo>
                    <a:cubicBezTo>
                      <a:pt x="56151" y="94713"/>
                      <a:pt x="48033" y="96742"/>
                      <a:pt x="37209" y="96742"/>
                    </a:cubicBezTo>
                    <a:cubicBezTo>
                      <a:pt x="30443" y="96742"/>
                      <a:pt x="23678" y="95389"/>
                      <a:pt x="18266" y="92683"/>
                    </a:cubicBezTo>
                    <a:cubicBezTo>
                      <a:pt x="12854" y="89977"/>
                      <a:pt x="8118" y="86594"/>
                      <a:pt x="4736" y="81859"/>
                    </a:cubicBezTo>
                    <a:cubicBezTo>
                      <a:pt x="1353" y="77123"/>
                      <a:pt x="0" y="72388"/>
                      <a:pt x="0" y="66299"/>
                    </a:cubicBezTo>
                    <a:lnTo>
                      <a:pt x="16913" y="66299"/>
                    </a:lnTo>
                    <a:cubicBezTo>
                      <a:pt x="16913" y="71711"/>
                      <a:pt x="18942" y="75770"/>
                      <a:pt x="22325" y="79153"/>
                    </a:cubicBezTo>
                    <a:cubicBezTo>
                      <a:pt x="25708" y="81859"/>
                      <a:pt x="31120" y="83888"/>
                      <a:pt x="37885" y="83888"/>
                    </a:cubicBezTo>
                    <a:cubicBezTo>
                      <a:pt x="43974" y="83888"/>
                      <a:pt x="48033" y="82535"/>
                      <a:pt x="50739" y="80506"/>
                    </a:cubicBezTo>
                    <a:cubicBezTo>
                      <a:pt x="54122" y="78476"/>
                      <a:pt x="55474" y="75770"/>
                      <a:pt x="55474" y="71711"/>
                    </a:cubicBezTo>
                    <a:close/>
                  </a:path>
                </a:pathLst>
              </a:custGeom>
              <a:solidFill>
                <a:srgbClr val="004A99"/>
              </a:solidFill>
              <a:ln w="6756" cap="flat">
                <a:noFill/>
                <a:prstDash val="solid"/>
                <a:miter/>
              </a:ln>
            </p:spPr>
            <p:txBody>
              <a:bodyPr rtlCol="0" anchor="ctr"/>
              <a:lstStyle/>
              <a:p>
                <a:endParaRPr lang="de-DE"/>
              </a:p>
            </p:txBody>
          </p:sp>
          <p:sp>
            <p:nvSpPr>
              <p:cNvPr id="28" name="Freihandform: Form 27">
                <a:extLst>
                  <a:ext uri="{FF2B5EF4-FFF2-40B4-BE49-F238E27FC236}">
                    <a16:creationId xmlns:a16="http://schemas.microsoft.com/office/drawing/2014/main" id="{57F4C5C4-093E-44EF-9042-2DFC9868FA2E}"/>
                  </a:ext>
                </a:extLst>
              </p:cNvPr>
              <p:cNvSpPr/>
              <p:nvPr/>
            </p:nvSpPr>
            <p:spPr>
              <a:xfrm>
                <a:off x="6977807" y="3228867"/>
                <a:ext cx="75770" cy="95389"/>
              </a:xfrm>
              <a:custGeom>
                <a:avLst/>
                <a:gdLst>
                  <a:gd name="connsiteX0" fmla="*/ 75770 w 75770"/>
                  <a:gd name="connsiteY0" fmla="*/ 13530 h 95389"/>
                  <a:gd name="connsiteX1" fmla="*/ 46003 w 75770"/>
                  <a:gd name="connsiteY1" fmla="*/ 13530 h 95389"/>
                  <a:gd name="connsiteX2" fmla="*/ 46003 w 75770"/>
                  <a:gd name="connsiteY2" fmla="*/ 95389 h 95389"/>
                  <a:gd name="connsiteX3" fmla="*/ 29767 w 75770"/>
                  <a:gd name="connsiteY3" fmla="*/ 95389 h 95389"/>
                  <a:gd name="connsiteX4" fmla="*/ 29767 w 75770"/>
                  <a:gd name="connsiteY4" fmla="*/ 13530 h 95389"/>
                  <a:gd name="connsiteX5" fmla="*/ 0 w 75770"/>
                  <a:gd name="connsiteY5" fmla="*/ 13530 h 95389"/>
                  <a:gd name="connsiteX6" fmla="*/ 0 w 75770"/>
                  <a:gd name="connsiteY6" fmla="*/ 0 h 95389"/>
                  <a:gd name="connsiteX7" fmla="*/ 75770 w 75770"/>
                  <a:gd name="connsiteY7" fmla="*/ 0 h 95389"/>
                  <a:gd name="connsiteX8" fmla="*/ 75770 w 75770"/>
                  <a:gd name="connsiteY8" fmla="*/ 13530 h 95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770" h="95389">
                    <a:moveTo>
                      <a:pt x="75770" y="13530"/>
                    </a:moveTo>
                    <a:lnTo>
                      <a:pt x="46003" y="13530"/>
                    </a:lnTo>
                    <a:lnTo>
                      <a:pt x="46003" y="95389"/>
                    </a:lnTo>
                    <a:lnTo>
                      <a:pt x="29767" y="95389"/>
                    </a:lnTo>
                    <a:lnTo>
                      <a:pt x="29767" y="13530"/>
                    </a:lnTo>
                    <a:lnTo>
                      <a:pt x="0" y="13530"/>
                    </a:lnTo>
                    <a:lnTo>
                      <a:pt x="0" y="0"/>
                    </a:lnTo>
                    <a:lnTo>
                      <a:pt x="75770" y="0"/>
                    </a:lnTo>
                    <a:lnTo>
                      <a:pt x="75770" y="13530"/>
                    </a:lnTo>
                    <a:close/>
                  </a:path>
                </a:pathLst>
              </a:custGeom>
              <a:solidFill>
                <a:srgbClr val="004A99"/>
              </a:solidFill>
              <a:ln w="6756" cap="flat">
                <a:noFill/>
                <a:prstDash val="solid"/>
                <a:miter/>
              </a:ln>
            </p:spPr>
            <p:txBody>
              <a:bodyPr rtlCol="0" anchor="ctr"/>
              <a:lstStyle/>
              <a:p>
                <a:endParaRPr lang="de-DE"/>
              </a:p>
            </p:txBody>
          </p:sp>
          <p:sp>
            <p:nvSpPr>
              <p:cNvPr id="29" name="Freihandform: Form 28">
                <a:extLst>
                  <a:ext uri="{FF2B5EF4-FFF2-40B4-BE49-F238E27FC236}">
                    <a16:creationId xmlns:a16="http://schemas.microsoft.com/office/drawing/2014/main" id="{3AF4947B-CC88-4605-8C34-08AB1307A907}"/>
                  </a:ext>
                </a:extLst>
              </p:cNvPr>
              <p:cNvSpPr/>
              <p:nvPr/>
            </p:nvSpPr>
            <p:spPr>
              <a:xfrm>
                <a:off x="7147614" y="3228867"/>
                <a:ext cx="16236" cy="95389"/>
              </a:xfrm>
              <a:custGeom>
                <a:avLst/>
                <a:gdLst>
                  <a:gd name="connsiteX0" fmla="*/ 16236 w 16236"/>
                  <a:gd name="connsiteY0" fmla="*/ 95389 h 95389"/>
                  <a:gd name="connsiteX1" fmla="*/ 0 w 16236"/>
                  <a:gd name="connsiteY1" fmla="*/ 95389 h 95389"/>
                  <a:gd name="connsiteX2" fmla="*/ 0 w 16236"/>
                  <a:gd name="connsiteY2" fmla="*/ 0 h 95389"/>
                  <a:gd name="connsiteX3" fmla="*/ 16236 w 16236"/>
                  <a:gd name="connsiteY3" fmla="*/ 0 h 95389"/>
                  <a:gd name="connsiteX4" fmla="*/ 16236 w 16236"/>
                  <a:gd name="connsiteY4" fmla="*/ 95389 h 953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36" h="95389">
                    <a:moveTo>
                      <a:pt x="16236" y="95389"/>
                    </a:moveTo>
                    <a:lnTo>
                      <a:pt x="0" y="95389"/>
                    </a:lnTo>
                    <a:lnTo>
                      <a:pt x="0" y="0"/>
                    </a:lnTo>
                    <a:lnTo>
                      <a:pt x="16236" y="0"/>
                    </a:lnTo>
                    <a:lnTo>
                      <a:pt x="16236" y="95389"/>
                    </a:lnTo>
                    <a:close/>
                  </a:path>
                </a:pathLst>
              </a:custGeom>
              <a:solidFill>
                <a:srgbClr val="004A99"/>
              </a:solidFill>
              <a:ln w="6756" cap="flat">
                <a:noFill/>
                <a:prstDash val="solid"/>
                <a:miter/>
              </a:ln>
            </p:spPr>
            <p:txBody>
              <a:bodyPr rtlCol="0" anchor="ctr"/>
              <a:lstStyle/>
              <a:p>
                <a:endParaRPr lang="de-DE"/>
              </a:p>
            </p:txBody>
          </p:sp>
          <p:sp>
            <p:nvSpPr>
              <p:cNvPr id="30" name="Freihandform: Form 29">
                <a:extLst>
                  <a:ext uri="{FF2B5EF4-FFF2-40B4-BE49-F238E27FC236}">
                    <a16:creationId xmlns:a16="http://schemas.microsoft.com/office/drawing/2014/main" id="{4CDD3972-8235-4199-A92B-882076855A26}"/>
                  </a:ext>
                </a:extLst>
              </p:cNvPr>
              <p:cNvSpPr/>
              <p:nvPr/>
            </p:nvSpPr>
            <p:spPr>
              <a:xfrm>
                <a:off x="7261269" y="3228191"/>
                <a:ext cx="76446" cy="97418"/>
              </a:xfrm>
              <a:custGeom>
                <a:avLst/>
                <a:gdLst>
                  <a:gd name="connsiteX0" fmla="*/ 76447 w 76446"/>
                  <a:gd name="connsiteY0" fmla="*/ 64946 h 97418"/>
                  <a:gd name="connsiteX1" fmla="*/ 64946 w 76446"/>
                  <a:gd name="connsiteY1" fmla="*/ 88624 h 97418"/>
                  <a:gd name="connsiteX2" fmla="*/ 38561 w 76446"/>
                  <a:gd name="connsiteY2" fmla="*/ 97419 h 97418"/>
                  <a:gd name="connsiteX3" fmla="*/ 18266 w 76446"/>
                  <a:gd name="connsiteY3" fmla="*/ 92007 h 97418"/>
                  <a:gd name="connsiteX4" fmla="*/ 4736 w 76446"/>
                  <a:gd name="connsiteY4" fmla="*/ 76447 h 97418"/>
                  <a:gd name="connsiteX5" fmla="*/ 0 w 76446"/>
                  <a:gd name="connsiteY5" fmla="*/ 53445 h 97418"/>
                  <a:gd name="connsiteX6" fmla="*/ 0 w 76446"/>
                  <a:gd name="connsiteY6" fmla="*/ 44650 h 97418"/>
                  <a:gd name="connsiteX7" fmla="*/ 4736 w 76446"/>
                  <a:gd name="connsiteY7" fmla="*/ 20972 h 97418"/>
                  <a:gd name="connsiteX8" fmla="*/ 18266 w 76446"/>
                  <a:gd name="connsiteY8" fmla="*/ 5412 h 97418"/>
                  <a:gd name="connsiteX9" fmla="*/ 39238 w 76446"/>
                  <a:gd name="connsiteY9" fmla="*/ 0 h 97418"/>
                  <a:gd name="connsiteX10" fmla="*/ 64946 w 76446"/>
                  <a:gd name="connsiteY10" fmla="*/ 8795 h 97418"/>
                  <a:gd name="connsiteX11" fmla="*/ 76447 w 76446"/>
                  <a:gd name="connsiteY11" fmla="*/ 33149 h 97418"/>
                  <a:gd name="connsiteX12" fmla="*/ 60210 w 76446"/>
                  <a:gd name="connsiteY12" fmla="*/ 33149 h 97418"/>
                  <a:gd name="connsiteX13" fmla="*/ 54122 w 76446"/>
                  <a:gd name="connsiteY13" fmla="*/ 18266 h 97418"/>
                  <a:gd name="connsiteX14" fmla="*/ 39915 w 76446"/>
                  <a:gd name="connsiteY14" fmla="*/ 13530 h 97418"/>
                  <a:gd name="connsiteX15" fmla="*/ 23002 w 76446"/>
                  <a:gd name="connsiteY15" fmla="*/ 21649 h 97418"/>
                  <a:gd name="connsiteX16" fmla="*/ 16913 w 76446"/>
                  <a:gd name="connsiteY16" fmla="*/ 44650 h 97418"/>
                  <a:gd name="connsiteX17" fmla="*/ 16913 w 76446"/>
                  <a:gd name="connsiteY17" fmla="*/ 53445 h 97418"/>
                  <a:gd name="connsiteX18" fmla="*/ 22325 w 76446"/>
                  <a:gd name="connsiteY18" fmla="*/ 77123 h 97418"/>
                  <a:gd name="connsiteX19" fmla="*/ 38561 w 76446"/>
                  <a:gd name="connsiteY19" fmla="*/ 85241 h 97418"/>
                  <a:gd name="connsiteX20" fmla="*/ 53445 w 76446"/>
                  <a:gd name="connsiteY20" fmla="*/ 81182 h 97418"/>
                  <a:gd name="connsiteX21" fmla="*/ 59534 w 76446"/>
                  <a:gd name="connsiteY21" fmla="*/ 66299 h 97418"/>
                  <a:gd name="connsiteX22" fmla="*/ 76447 w 76446"/>
                  <a:gd name="connsiteY22" fmla="*/ 66299 h 97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6446" h="97418">
                    <a:moveTo>
                      <a:pt x="76447" y="64946"/>
                    </a:moveTo>
                    <a:cubicBezTo>
                      <a:pt x="75770" y="75094"/>
                      <a:pt x="71711" y="83212"/>
                      <a:pt x="64946" y="88624"/>
                    </a:cubicBezTo>
                    <a:cubicBezTo>
                      <a:pt x="58180" y="94036"/>
                      <a:pt x="49386" y="97419"/>
                      <a:pt x="38561" y="97419"/>
                    </a:cubicBezTo>
                    <a:cubicBezTo>
                      <a:pt x="31120" y="97419"/>
                      <a:pt x="24355" y="95389"/>
                      <a:pt x="18266" y="92007"/>
                    </a:cubicBezTo>
                    <a:cubicBezTo>
                      <a:pt x="12177" y="88624"/>
                      <a:pt x="8118" y="83212"/>
                      <a:pt x="4736" y="76447"/>
                    </a:cubicBezTo>
                    <a:cubicBezTo>
                      <a:pt x="1353" y="69681"/>
                      <a:pt x="0" y="62240"/>
                      <a:pt x="0" y="53445"/>
                    </a:cubicBezTo>
                    <a:lnTo>
                      <a:pt x="0" y="44650"/>
                    </a:lnTo>
                    <a:cubicBezTo>
                      <a:pt x="0" y="35856"/>
                      <a:pt x="1353" y="27737"/>
                      <a:pt x="4736" y="20972"/>
                    </a:cubicBezTo>
                    <a:cubicBezTo>
                      <a:pt x="8118" y="14207"/>
                      <a:pt x="12177" y="8795"/>
                      <a:pt x="18266" y="5412"/>
                    </a:cubicBezTo>
                    <a:cubicBezTo>
                      <a:pt x="24355" y="2030"/>
                      <a:pt x="31120" y="0"/>
                      <a:pt x="39238" y="0"/>
                    </a:cubicBezTo>
                    <a:cubicBezTo>
                      <a:pt x="50062" y="0"/>
                      <a:pt x="58180" y="2706"/>
                      <a:pt x="64946" y="8795"/>
                    </a:cubicBezTo>
                    <a:cubicBezTo>
                      <a:pt x="71034" y="14207"/>
                      <a:pt x="75093" y="22325"/>
                      <a:pt x="76447" y="33149"/>
                    </a:cubicBezTo>
                    <a:lnTo>
                      <a:pt x="60210" y="33149"/>
                    </a:lnTo>
                    <a:cubicBezTo>
                      <a:pt x="59534" y="26384"/>
                      <a:pt x="57504" y="21649"/>
                      <a:pt x="54122" y="18266"/>
                    </a:cubicBezTo>
                    <a:cubicBezTo>
                      <a:pt x="50739" y="15560"/>
                      <a:pt x="46003" y="13530"/>
                      <a:pt x="39915" y="13530"/>
                    </a:cubicBezTo>
                    <a:cubicBezTo>
                      <a:pt x="32473" y="13530"/>
                      <a:pt x="27061" y="16236"/>
                      <a:pt x="23002" y="21649"/>
                    </a:cubicBezTo>
                    <a:cubicBezTo>
                      <a:pt x="18942" y="27061"/>
                      <a:pt x="16913" y="34503"/>
                      <a:pt x="16913" y="44650"/>
                    </a:cubicBezTo>
                    <a:lnTo>
                      <a:pt x="16913" y="53445"/>
                    </a:lnTo>
                    <a:cubicBezTo>
                      <a:pt x="16913" y="63593"/>
                      <a:pt x="18942" y="71711"/>
                      <a:pt x="22325" y="77123"/>
                    </a:cubicBezTo>
                    <a:cubicBezTo>
                      <a:pt x="25708" y="82535"/>
                      <a:pt x="31120" y="85241"/>
                      <a:pt x="38561" y="85241"/>
                    </a:cubicBezTo>
                    <a:cubicBezTo>
                      <a:pt x="45327" y="85241"/>
                      <a:pt x="50062" y="83888"/>
                      <a:pt x="53445" y="81182"/>
                    </a:cubicBezTo>
                    <a:cubicBezTo>
                      <a:pt x="56828" y="78476"/>
                      <a:pt x="58857" y="73064"/>
                      <a:pt x="59534" y="66299"/>
                    </a:cubicBezTo>
                    <a:lnTo>
                      <a:pt x="76447" y="66299"/>
                    </a:lnTo>
                    <a:close/>
                  </a:path>
                </a:pathLst>
              </a:custGeom>
              <a:solidFill>
                <a:srgbClr val="004A99"/>
              </a:solidFill>
              <a:ln w="6756" cap="flat">
                <a:noFill/>
                <a:prstDash val="solid"/>
                <a:miter/>
              </a:ln>
            </p:spPr>
            <p:txBody>
              <a:bodyPr rtlCol="0" anchor="ctr"/>
              <a:lstStyle/>
              <a:p>
                <a:endParaRPr lang="de-DE"/>
              </a:p>
            </p:txBody>
          </p:sp>
          <p:sp>
            <p:nvSpPr>
              <p:cNvPr id="31" name="Freihandform: Form 30">
                <a:extLst>
                  <a:ext uri="{FF2B5EF4-FFF2-40B4-BE49-F238E27FC236}">
                    <a16:creationId xmlns:a16="http://schemas.microsoft.com/office/drawing/2014/main" id="{3C708605-FEAB-4084-9334-AD8BAB1B2ECE}"/>
                  </a:ext>
                </a:extLst>
              </p:cNvPr>
              <p:cNvSpPr/>
              <p:nvPr/>
            </p:nvSpPr>
            <p:spPr>
              <a:xfrm>
                <a:off x="7427692" y="3228191"/>
                <a:ext cx="71711" cy="96742"/>
              </a:xfrm>
              <a:custGeom>
                <a:avLst/>
                <a:gdLst>
                  <a:gd name="connsiteX0" fmla="*/ 55475 w 71711"/>
                  <a:gd name="connsiteY0" fmla="*/ 71711 h 96742"/>
                  <a:gd name="connsiteX1" fmla="*/ 50739 w 71711"/>
                  <a:gd name="connsiteY1" fmla="*/ 62240 h 96742"/>
                  <a:gd name="connsiteX2" fmla="*/ 34503 w 71711"/>
                  <a:gd name="connsiteY2" fmla="*/ 55475 h 96742"/>
                  <a:gd name="connsiteX3" fmla="*/ 16237 w 71711"/>
                  <a:gd name="connsiteY3" fmla="*/ 48033 h 96742"/>
                  <a:gd name="connsiteX4" fmla="*/ 3383 w 71711"/>
                  <a:gd name="connsiteY4" fmla="*/ 26384 h 96742"/>
                  <a:gd name="connsiteX5" fmla="*/ 12854 w 71711"/>
                  <a:gd name="connsiteY5" fmla="*/ 7442 h 96742"/>
                  <a:gd name="connsiteX6" fmla="*/ 37209 w 71711"/>
                  <a:gd name="connsiteY6" fmla="*/ 0 h 96742"/>
                  <a:gd name="connsiteX7" fmla="*/ 54798 w 71711"/>
                  <a:gd name="connsiteY7" fmla="*/ 3383 h 96742"/>
                  <a:gd name="connsiteX8" fmla="*/ 66976 w 71711"/>
                  <a:gd name="connsiteY8" fmla="*/ 13530 h 96742"/>
                  <a:gd name="connsiteX9" fmla="*/ 71711 w 71711"/>
                  <a:gd name="connsiteY9" fmla="*/ 28414 h 96742"/>
                  <a:gd name="connsiteX10" fmla="*/ 55475 w 71711"/>
                  <a:gd name="connsiteY10" fmla="*/ 28414 h 96742"/>
                  <a:gd name="connsiteX11" fmla="*/ 50739 w 71711"/>
                  <a:gd name="connsiteY11" fmla="*/ 16913 h 96742"/>
                  <a:gd name="connsiteX12" fmla="*/ 37209 w 71711"/>
                  <a:gd name="connsiteY12" fmla="*/ 12854 h 96742"/>
                  <a:gd name="connsiteX13" fmla="*/ 24355 w 71711"/>
                  <a:gd name="connsiteY13" fmla="*/ 16236 h 96742"/>
                  <a:gd name="connsiteX14" fmla="*/ 19619 w 71711"/>
                  <a:gd name="connsiteY14" fmla="*/ 25708 h 96742"/>
                  <a:gd name="connsiteX15" fmla="*/ 24355 w 71711"/>
                  <a:gd name="connsiteY15" fmla="*/ 34503 h 96742"/>
                  <a:gd name="connsiteX16" fmla="*/ 40591 w 71711"/>
                  <a:gd name="connsiteY16" fmla="*/ 41268 h 96742"/>
                  <a:gd name="connsiteX17" fmla="*/ 58181 w 71711"/>
                  <a:gd name="connsiteY17" fmla="*/ 48709 h 96742"/>
                  <a:gd name="connsiteX18" fmla="*/ 68328 w 71711"/>
                  <a:gd name="connsiteY18" fmla="*/ 58181 h 96742"/>
                  <a:gd name="connsiteX19" fmla="*/ 71711 w 71711"/>
                  <a:gd name="connsiteY19" fmla="*/ 71035 h 96742"/>
                  <a:gd name="connsiteX20" fmla="*/ 62240 w 71711"/>
                  <a:gd name="connsiteY20" fmla="*/ 89977 h 96742"/>
                  <a:gd name="connsiteX21" fmla="*/ 37209 w 71711"/>
                  <a:gd name="connsiteY21" fmla="*/ 96742 h 96742"/>
                  <a:gd name="connsiteX22" fmla="*/ 18266 w 71711"/>
                  <a:gd name="connsiteY22" fmla="*/ 92683 h 96742"/>
                  <a:gd name="connsiteX23" fmla="*/ 4736 w 71711"/>
                  <a:gd name="connsiteY23" fmla="*/ 81859 h 96742"/>
                  <a:gd name="connsiteX24" fmla="*/ 0 w 71711"/>
                  <a:gd name="connsiteY24" fmla="*/ 66299 h 96742"/>
                  <a:gd name="connsiteX25" fmla="*/ 16913 w 71711"/>
                  <a:gd name="connsiteY25" fmla="*/ 66299 h 96742"/>
                  <a:gd name="connsiteX26" fmla="*/ 22325 w 71711"/>
                  <a:gd name="connsiteY26" fmla="*/ 79153 h 96742"/>
                  <a:gd name="connsiteX27" fmla="*/ 37885 w 71711"/>
                  <a:gd name="connsiteY27" fmla="*/ 83888 h 96742"/>
                  <a:gd name="connsiteX28" fmla="*/ 50739 w 71711"/>
                  <a:gd name="connsiteY28" fmla="*/ 80506 h 96742"/>
                  <a:gd name="connsiteX29" fmla="*/ 55475 w 71711"/>
                  <a:gd name="connsiteY29" fmla="*/ 71711 h 96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1711" h="96742">
                    <a:moveTo>
                      <a:pt x="55475" y="71711"/>
                    </a:moveTo>
                    <a:cubicBezTo>
                      <a:pt x="55475" y="67652"/>
                      <a:pt x="54122" y="64269"/>
                      <a:pt x="50739" y="62240"/>
                    </a:cubicBezTo>
                    <a:cubicBezTo>
                      <a:pt x="48033" y="60210"/>
                      <a:pt x="42621" y="57504"/>
                      <a:pt x="34503" y="55475"/>
                    </a:cubicBezTo>
                    <a:cubicBezTo>
                      <a:pt x="27061" y="53445"/>
                      <a:pt x="20972" y="50739"/>
                      <a:pt x="16237" y="48033"/>
                    </a:cubicBezTo>
                    <a:cubicBezTo>
                      <a:pt x="7442" y="42621"/>
                      <a:pt x="3383" y="35179"/>
                      <a:pt x="3383" y="26384"/>
                    </a:cubicBezTo>
                    <a:cubicBezTo>
                      <a:pt x="3383" y="18943"/>
                      <a:pt x="6765" y="12177"/>
                      <a:pt x="12854" y="7442"/>
                    </a:cubicBezTo>
                    <a:cubicBezTo>
                      <a:pt x="18943" y="2706"/>
                      <a:pt x="27061" y="0"/>
                      <a:pt x="37209" y="0"/>
                    </a:cubicBezTo>
                    <a:cubicBezTo>
                      <a:pt x="43974" y="0"/>
                      <a:pt x="50063" y="1353"/>
                      <a:pt x="54798" y="3383"/>
                    </a:cubicBezTo>
                    <a:cubicBezTo>
                      <a:pt x="60210" y="6089"/>
                      <a:pt x="64269" y="9471"/>
                      <a:pt x="66976" y="13530"/>
                    </a:cubicBezTo>
                    <a:cubicBezTo>
                      <a:pt x="69682" y="18266"/>
                      <a:pt x="71711" y="23002"/>
                      <a:pt x="71711" y="28414"/>
                    </a:cubicBezTo>
                    <a:lnTo>
                      <a:pt x="55475" y="28414"/>
                    </a:lnTo>
                    <a:cubicBezTo>
                      <a:pt x="55475" y="23678"/>
                      <a:pt x="54122" y="19619"/>
                      <a:pt x="50739" y="16913"/>
                    </a:cubicBezTo>
                    <a:cubicBezTo>
                      <a:pt x="47356" y="14207"/>
                      <a:pt x="43297" y="12854"/>
                      <a:pt x="37209" y="12854"/>
                    </a:cubicBezTo>
                    <a:cubicBezTo>
                      <a:pt x="31796" y="12854"/>
                      <a:pt x="27737" y="14207"/>
                      <a:pt x="24355" y="16236"/>
                    </a:cubicBezTo>
                    <a:cubicBezTo>
                      <a:pt x="21649" y="18266"/>
                      <a:pt x="19619" y="21649"/>
                      <a:pt x="19619" y="25708"/>
                    </a:cubicBezTo>
                    <a:cubicBezTo>
                      <a:pt x="19619" y="29090"/>
                      <a:pt x="20972" y="31796"/>
                      <a:pt x="24355" y="34503"/>
                    </a:cubicBezTo>
                    <a:cubicBezTo>
                      <a:pt x="27737" y="36532"/>
                      <a:pt x="33150" y="39238"/>
                      <a:pt x="40591" y="41268"/>
                    </a:cubicBezTo>
                    <a:cubicBezTo>
                      <a:pt x="48033" y="43297"/>
                      <a:pt x="54122" y="46003"/>
                      <a:pt x="58181" y="48709"/>
                    </a:cubicBezTo>
                    <a:cubicBezTo>
                      <a:pt x="62916" y="51415"/>
                      <a:pt x="66299" y="54798"/>
                      <a:pt x="68328" y="58181"/>
                    </a:cubicBezTo>
                    <a:cubicBezTo>
                      <a:pt x="70358" y="61563"/>
                      <a:pt x="71711" y="66299"/>
                      <a:pt x="71711" y="71035"/>
                    </a:cubicBezTo>
                    <a:cubicBezTo>
                      <a:pt x="71711" y="79153"/>
                      <a:pt x="69005" y="85241"/>
                      <a:pt x="62240" y="89977"/>
                    </a:cubicBezTo>
                    <a:cubicBezTo>
                      <a:pt x="56151" y="94713"/>
                      <a:pt x="48033" y="96742"/>
                      <a:pt x="37209" y="96742"/>
                    </a:cubicBezTo>
                    <a:cubicBezTo>
                      <a:pt x="30443" y="96742"/>
                      <a:pt x="23678" y="95389"/>
                      <a:pt x="18266" y="92683"/>
                    </a:cubicBezTo>
                    <a:cubicBezTo>
                      <a:pt x="12854" y="89977"/>
                      <a:pt x="8118" y="86594"/>
                      <a:pt x="4736" y="81859"/>
                    </a:cubicBezTo>
                    <a:cubicBezTo>
                      <a:pt x="1353" y="77123"/>
                      <a:pt x="0" y="72388"/>
                      <a:pt x="0" y="66299"/>
                    </a:cubicBezTo>
                    <a:lnTo>
                      <a:pt x="16913" y="66299"/>
                    </a:lnTo>
                    <a:cubicBezTo>
                      <a:pt x="16913" y="71711"/>
                      <a:pt x="18943" y="75770"/>
                      <a:pt x="22325" y="79153"/>
                    </a:cubicBezTo>
                    <a:cubicBezTo>
                      <a:pt x="25708" y="81859"/>
                      <a:pt x="31120" y="83888"/>
                      <a:pt x="37885" y="83888"/>
                    </a:cubicBezTo>
                    <a:cubicBezTo>
                      <a:pt x="43974" y="83888"/>
                      <a:pt x="48033" y="82535"/>
                      <a:pt x="50739" y="80506"/>
                    </a:cubicBezTo>
                    <a:cubicBezTo>
                      <a:pt x="54122" y="78476"/>
                      <a:pt x="55475" y="75770"/>
                      <a:pt x="55475" y="71711"/>
                    </a:cubicBezTo>
                    <a:close/>
                  </a:path>
                </a:pathLst>
              </a:custGeom>
              <a:solidFill>
                <a:srgbClr val="004A99"/>
              </a:solidFill>
              <a:ln w="6756" cap="flat">
                <a:noFill/>
                <a:prstDash val="solid"/>
                <a:miter/>
              </a:ln>
            </p:spPr>
            <p:txBody>
              <a:bodyPr rtlCol="0" anchor="ctr"/>
              <a:lstStyle/>
              <a:p>
                <a:endParaRPr lang="de-DE"/>
              </a:p>
            </p:txBody>
          </p:sp>
        </p:grpSp>
        <p:sp>
          <p:nvSpPr>
            <p:cNvPr id="32" name="Freihandform: Form 31">
              <a:extLst>
                <a:ext uri="{FF2B5EF4-FFF2-40B4-BE49-F238E27FC236}">
                  <a16:creationId xmlns:a16="http://schemas.microsoft.com/office/drawing/2014/main" id="{E23EDC2F-FF0E-4BB9-B227-857CBF2307F9}"/>
                </a:ext>
              </a:extLst>
            </p:cNvPr>
            <p:cNvSpPr/>
            <p:nvPr/>
          </p:nvSpPr>
          <p:spPr>
            <a:xfrm>
              <a:off x="7406044" y="2550319"/>
              <a:ext cx="253018" cy="253018"/>
            </a:xfrm>
            <a:custGeom>
              <a:avLst/>
              <a:gdLst>
                <a:gd name="connsiteX0" fmla="*/ 126509 w 253018"/>
                <a:gd name="connsiteY0" fmla="*/ 0 h 253018"/>
                <a:gd name="connsiteX1" fmla="*/ 0 w 253018"/>
                <a:gd name="connsiteY1" fmla="*/ 126509 h 253018"/>
                <a:gd name="connsiteX2" fmla="*/ 126509 w 253018"/>
                <a:gd name="connsiteY2" fmla="*/ 253018 h 253018"/>
                <a:gd name="connsiteX3" fmla="*/ 253018 w 253018"/>
                <a:gd name="connsiteY3" fmla="*/ 126509 h 253018"/>
                <a:gd name="connsiteX4" fmla="*/ 126509 w 253018"/>
                <a:gd name="connsiteY4" fmla="*/ 0 h 253018"/>
                <a:gd name="connsiteX5" fmla="*/ 126509 w 253018"/>
                <a:gd name="connsiteY5" fmla="*/ 237458 h 253018"/>
                <a:gd name="connsiteX6" fmla="*/ 71034 w 253018"/>
                <a:gd name="connsiteY6" fmla="*/ 222575 h 253018"/>
                <a:gd name="connsiteX7" fmla="*/ 93360 w 253018"/>
                <a:gd name="connsiteY7" fmla="*/ 219869 h 253018"/>
                <a:gd name="connsiteX8" fmla="*/ 115008 w 253018"/>
                <a:gd name="connsiteY8" fmla="*/ 212427 h 253018"/>
                <a:gd name="connsiteX9" fmla="*/ 141392 w 253018"/>
                <a:gd name="connsiteY9" fmla="*/ 194838 h 253018"/>
                <a:gd name="connsiteX10" fmla="*/ 160335 w 253018"/>
                <a:gd name="connsiteY10" fmla="*/ 177925 h 253018"/>
                <a:gd name="connsiteX11" fmla="*/ 183337 w 253018"/>
                <a:gd name="connsiteY11" fmla="*/ 165071 h 253018"/>
                <a:gd name="connsiteX12" fmla="*/ 192131 w 253018"/>
                <a:gd name="connsiteY12" fmla="*/ 163041 h 253018"/>
                <a:gd name="connsiteX13" fmla="*/ 208368 w 253018"/>
                <a:gd name="connsiteY13" fmla="*/ 158982 h 253018"/>
                <a:gd name="connsiteX14" fmla="*/ 220545 w 253018"/>
                <a:gd name="connsiteY14" fmla="*/ 155599 h 253018"/>
                <a:gd name="connsiteX15" fmla="*/ 221898 w 253018"/>
                <a:gd name="connsiteY15" fmla="*/ 154246 h 253018"/>
                <a:gd name="connsiteX16" fmla="*/ 219869 w 253018"/>
                <a:gd name="connsiteY16" fmla="*/ 152893 h 253018"/>
                <a:gd name="connsiteX17" fmla="*/ 204309 w 253018"/>
                <a:gd name="connsiteY17" fmla="*/ 147481 h 253018"/>
                <a:gd name="connsiteX18" fmla="*/ 194161 w 253018"/>
                <a:gd name="connsiteY18" fmla="*/ 147481 h 253018"/>
                <a:gd name="connsiteX19" fmla="*/ 180630 w 253018"/>
                <a:gd name="connsiteY19" fmla="*/ 154923 h 253018"/>
                <a:gd name="connsiteX20" fmla="*/ 158982 w 253018"/>
                <a:gd name="connsiteY20" fmla="*/ 167777 h 253018"/>
                <a:gd name="connsiteX21" fmla="*/ 141392 w 253018"/>
                <a:gd name="connsiteY21" fmla="*/ 172512 h 253018"/>
                <a:gd name="connsiteX22" fmla="*/ 136657 w 253018"/>
                <a:gd name="connsiteY22" fmla="*/ 172512 h 253018"/>
                <a:gd name="connsiteX23" fmla="*/ 150864 w 253018"/>
                <a:gd name="connsiteY23" fmla="*/ 161012 h 253018"/>
                <a:gd name="connsiteX24" fmla="*/ 160335 w 253018"/>
                <a:gd name="connsiteY24" fmla="*/ 149511 h 253018"/>
                <a:gd name="connsiteX25" fmla="*/ 177248 w 253018"/>
                <a:gd name="connsiteY25" fmla="*/ 137333 h 253018"/>
                <a:gd name="connsiteX26" fmla="*/ 191455 w 253018"/>
                <a:gd name="connsiteY26" fmla="*/ 129215 h 253018"/>
                <a:gd name="connsiteX27" fmla="*/ 200250 w 253018"/>
                <a:gd name="connsiteY27" fmla="*/ 125833 h 253018"/>
                <a:gd name="connsiteX28" fmla="*/ 206338 w 253018"/>
                <a:gd name="connsiteY28" fmla="*/ 125156 h 253018"/>
                <a:gd name="connsiteX29" fmla="*/ 223251 w 253018"/>
                <a:gd name="connsiteY29" fmla="*/ 119067 h 253018"/>
                <a:gd name="connsiteX30" fmla="*/ 230693 w 253018"/>
                <a:gd name="connsiteY30" fmla="*/ 117038 h 253018"/>
                <a:gd name="connsiteX31" fmla="*/ 231369 w 253018"/>
                <a:gd name="connsiteY31" fmla="*/ 115685 h 253018"/>
                <a:gd name="connsiteX32" fmla="*/ 230693 w 253018"/>
                <a:gd name="connsiteY32" fmla="*/ 115008 h 253018"/>
                <a:gd name="connsiteX33" fmla="*/ 211750 w 253018"/>
                <a:gd name="connsiteY33" fmla="*/ 110273 h 253018"/>
                <a:gd name="connsiteX34" fmla="*/ 196191 w 253018"/>
                <a:gd name="connsiteY34" fmla="*/ 112302 h 253018"/>
                <a:gd name="connsiteX35" fmla="*/ 182660 w 253018"/>
                <a:gd name="connsiteY35" fmla="*/ 122450 h 253018"/>
                <a:gd name="connsiteX36" fmla="*/ 178601 w 253018"/>
                <a:gd name="connsiteY36" fmla="*/ 125156 h 253018"/>
                <a:gd name="connsiteX37" fmla="*/ 161011 w 253018"/>
                <a:gd name="connsiteY37" fmla="*/ 133951 h 253018"/>
                <a:gd name="connsiteX38" fmla="*/ 142746 w 253018"/>
                <a:gd name="connsiteY38" fmla="*/ 136657 h 253018"/>
                <a:gd name="connsiteX39" fmla="*/ 137333 w 253018"/>
                <a:gd name="connsiteY39" fmla="*/ 133274 h 253018"/>
                <a:gd name="connsiteX40" fmla="*/ 135304 w 253018"/>
                <a:gd name="connsiteY40" fmla="*/ 125156 h 253018"/>
                <a:gd name="connsiteX41" fmla="*/ 134627 w 253018"/>
                <a:gd name="connsiteY41" fmla="*/ 119744 h 253018"/>
                <a:gd name="connsiteX42" fmla="*/ 135304 w 253018"/>
                <a:gd name="connsiteY42" fmla="*/ 104184 h 253018"/>
                <a:gd name="connsiteX43" fmla="*/ 136657 w 253018"/>
                <a:gd name="connsiteY43" fmla="*/ 89977 h 253018"/>
                <a:gd name="connsiteX44" fmla="*/ 117038 w 253018"/>
                <a:gd name="connsiteY44" fmla="*/ 70358 h 253018"/>
                <a:gd name="connsiteX45" fmla="*/ 83888 w 253018"/>
                <a:gd name="connsiteY45" fmla="*/ 31796 h 253018"/>
                <a:gd name="connsiteX46" fmla="*/ 81859 w 253018"/>
                <a:gd name="connsiteY46" fmla="*/ 28414 h 253018"/>
                <a:gd name="connsiteX47" fmla="*/ 79829 w 253018"/>
                <a:gd name="connsiteY47" fmla="*/ 29767 h 253018"/>
                <a:gd name="connsiteX48" fmla="*/ 73741 w 253018"/>
                <a:gd name="connsiteY48" fmla="*/ 55475 h 253018"/>
                <a:gd name="connsiteX49" fmla="*/ 86594 w 253018"/>
                <a:gd name="connsiteY49" fmla="*/ 80506 h 253018"/>
                <a:gd name="connsiteX50" fmla="*/ 96066 w 253018"/>
                <a:gd name="connsiteY50" fmla="*/ 94036 h 253018"/>
                <a:gd name="connsiteX51" fmla="*/ 98095 w 253018"/>
                <a:gd name="connsiteY51" fmla="*/ 106890 h 253018"/>
                <a:gd name="connsiteX52" fmla="*/ 87947 w 253018"/>
                <a:gd name="connsiteY52" fmla="*/ 99448 h 253018"/>
                <a:gd name="connsiteX53" fmla="*/ 77800 w 253018"/>
                <a:gd name="connsiteY53" fmla="*/ 92007 h 253018"/>
                <a:gd name="connsiteX54" fmla="*/ 56828 w 253018"/>
                <a:gd name="connsiteY54" fmla="*/ 73741 h 253018"/>
                <a:gd name="connsiteX55" fmla="*/ 55474 w 253018"/>
                <a:gd name="connsiteY55" fmla="*/ 73741 h 253018"/>
                <a:gd name="connsiteX56" fmla="*/ 54122 w 253018"/>
                <a:gd name="connsiteY56" fmla="*/ 76447 h 253018"/>
                <a:gd name="connsiteX57" fmla="*/ 58181 w 253018"/>
                <a:gd name="connsiteY57" fmla="*/ 108920 h 253018"/>
                <a:gd name="connsiteX58" fmla="*/ 71034 w 253018"/>
                <a:gd name="connsiteY58" fmla="*/ 123803 h 253018"/>
                <a:gd name="connsiteX59" fmla="*/ 80506 w 253018"/>
                <a:gd name="connsiteY59" fmla="*/ 132598 h 253018"/>
                <a:gd name="connsiteX60" fmla="*/ 87271 w 253018"/>
                <a:gd name="connsiteY60" fmla="*/ 142746 h 253018"/>
                <a:gd name="connsiteX61" fmla="*/ 84565 w 253018"/>
                <a:gd name="connsiteY61" fmla="*/ 155599 h 253018"/>
                <a:gd name="connsiteX62" fmla="*/ 78476 w 253018"/>
                <a:gd name="connsiteY62" fmla="*/ 164394 h 253018"/>
                <a:gd name="connsiteX63" fmla="*/ 63593 w 253018"/>
                <a:gd name="connsiteY63" fmla="*/ 165747 h 253018"/>
                <a:gd name="connsiteX64" fmla="*/ 56828 w 253018"/>
                <a:gd name="connsiteY64" fmla="*/ 171836 h 253018"/>
                <a:gd name="connsiteX65" fmla="*/ 53445 w 253018"/>
                <a:gd name="connsiteY65" fmla="*/ 182660 h 253018"/>
                <a:gd name="connsiteX66" fmla="*/ 57504 w 253018"/>
                <a:gd name="connsiteY66" fmla="*/ 193484 h 253018"/>
                <a:gd name="connsiteX67" fmla="*/ 60210 w 253018"/>
                <a:gd name="connsiteY67" fmla="*/ 195514 h 253018"/>
                <a:gd name="connsiteX68" fmla="*/ 66299 w 253018"/>
                <a:gd name="connsiteY68" fmla="*/ 192808 h 253018"/>
                <a:gd name="connsiteX69" fmla="*/ 89977 w 253018"/>
                <a:gd name="connsiteY69" fmla="*/ 179278 h 253018"/>
                <a:gd name="connsiteX70" fmla="*/ 77800 w 253018"/>
                <a:gd name="connsiteY70" fmla="*/ 190778 h 253018"/>
                <a:gd name="connsiteX71" fmla="*/ 50739 w 253018"/>
                <a:gd name="connsiteY71" fmla="*/ 202279 h 253018"/>
                <a:gd name="connsiteX72" fmla="*/ 46680 w 253018"/>
                <a:gd name="connsiteY72" fmla="*/ 200926 h 253018"/>
                <a:gd name="connsiteX73" fmla="*/ 16913 w 253018"/>
                <a:gd name="connsiteY73" fmla="*/ 125156 h 253018"/>
                <a:gd name="connsiteX74" fmla="*/ 127862 w 253018"/>
                <a:gd name="connsiteY74" fmla="*/ 14207 h 253018"/>
                <a:gd name="connsiteX75" fmla="*/ 238135 w 253018"/>
                <a:gd name="connsiteY75" fmla="*/ 125156 h 253018"/>
                <a:gd name="connsiteX76" fmla="*/ 126509 w 253018"/>
                <a:gd name="connsiteY76" fmla="*/ 237458 h 25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253017" h="253017">
                  <a:moveTo>
                    <a:pt x="126509" y="0"/>
                  </a:moveTo>
                  <a:cubicBezTo>
                    <a:pt x="56828" y="0"/>
                    <a:pt x="0" y="56828"/>
                    <a:pt x="0" y="126509"/>
                  </a:cubicBezTo>
                  <a:cubicBezTo>
                    <a:pt x="0" y="196191"/>
                    <a:pt x="56828" y="253018"/>
                    <a:pt x="126509" y="253018"/>
                  </a:cubicBezTo>
                  <a:cubicBezTo>
                    <a:pt x="196191" y="253018"/>
                    <a:pt x="253018" y="196191"/>
                    <a:pt x="253018" y="126509"/>
                  </a:cubicBezTo>
                  <a:cubicBezTo>
                    <a:pt x="253018" y="56828"/>
                    <a:pt x="196191" y="0"/>
                    <a:pt x="126509" y="0"/>
                  </a:cubicBezTo>
                  <a:close/>
                  <a:moveTo>
                    <a:pt x="126509" y="237458"/>
                  </a:moveTo>
                  <a:cubicBezTo>
                    <a:pt x="106213" y="237458"/>
                    <a:pt x="87271" y="232046"/>
                    <a:pt x="71034" y="222575"/>
                  </a:cubicBezTo>
                  <a:cubicBezTo>
                    <a:pt x="77800" y="222575"/>
                    <a:pt x="86594" y="221222"/>
                    <a:pt x="93360" y="219869"/>
                  </a:cubicBezTo>
                  <a:cubicBezTo>
                    <a:pt x="100801" y="218516"/>
                    <a:pt x="108243" y="215810"/>
                    <a:pt x="115008" y="212427"/>
                  </a:cubicBezTo>
                  <a:cubicBezTo>
                    <a:pt x="124479" y="208368"/>
                    <a:pt x="133951" y="203632"/>
                    <a:pt x="141392" y="194838"/>
                  </a:cubicBezTo>
                  <a:cubicBezTo>
                    <a:pt x="146804" y="188749"/>
                    <a:pt x="153570" y="181984"/>
                    <a:pt x="160335" y="177925"/>
                  </a:cubicBezTo>
                  <a:cubicBezTo>
                    <a:pt x="167777" y="173189"/>
                    <a:pt x="175218" y="168453"/>
                    <a:pt x="183337" y="165071"/>
                  </a:cubicBezTo>
                  <a:cubicBezTo>
                    <a:pt x="186043" y="163718"/>
                    <a:pt x="189425" y="163041"/>
                    <a:pt x="192131" y="163041"/>
                  </a:cubicBezTo>
                  <a:cubicBezTo>
                    <a:pt x="197543" y="163041"/>
                    <a:pt x="202956" y="161012"/>
                    <a:pt x="208368" y="158982"/>
                  </a:cubicBezTo>
                  <a:cubicBezTo>
                    <a:pt x="212427" y="157629"/>
                    <a:pt x="216486" y="156276"/>
                    <a:pt x="220545" y="155599"/>
                  </a:cubicBezTo>
                  <a:cubicBezTo>
                    <a:pt x="221222" y="155599"/>
                    <a:pt x="221898" y="155599"/>
                    <a:pt x="221898" y="154246"/>
                  </a:cubicBezTo>
                  <a:cubicBezTo>
                    <a:pt x="221898" y="152893"/>
                    <a:pt x="220545" y="153570"/>
                    <a:pt x="219869" y="152893"/>
                  </a:cubicBezTo>
                  <a:cubicBezTo>
                    <a:pt x="214456" y="151540"/>
                    <a:pt x="209044" y="149511"/>
                    <a:pt x="204309" y="147481"/>
                  </a:cubicBezTo>
                  <a:cubicBezTo>
                    <a:pt x="200926" y="146805"/>
                    <a:pt x="197543" y="146128"/>
                    <a:pt x="194161" y="147481"/>
                  </a:cubicBezTo>
                  <a:cubicBezTo>
                    <a:pt x="188749" y="148834"/>
                    <a:pt x="184690" y="151540"/>
                    <a:pt x="180630" y="154923"/>
                  </a:cubicBezTo>
                  <a:cubicBezTo>
                    <a:pt x="173865" y="160335"/>
                    <a:pt x="166424" y="165071"/>
                    <a:pt x="158982" y="167777"/>
                  </a:cubicBezTo>
                  <a:cubicBezTo>
                    <a:pt x="153570" y="170483"/>
                    <a:pt x="147481" y="171836"/>
                    <a:pt x="141392" y="172512"/>
                  </a:cubicBezTo>
                  <a:cubicBezTo>
                    <a:pt x="140039" y="172512"/>
                    <a:pt x="138010" y="173189"/>
                    <a:pt x="136657" y="172512"/>
                  </a:cubicBezTo>
                  <a:cubicBezTo>
                    <a:pt x="141392" y="169130"/>
                    <a:pt x="146804" y="166424"/>
                    <a:pt x="150864" y="161012"/>
                  </a:cubicBezTo>
                  <a:cubicBezTo>
                    <a:pt x="154246" y="156952"/>
                    <a:pt x="156952" y="152893"/>
                    <a:pt x="160335" y="149511"/>
                  </a:cubicBezTo>
                  <a:cubicBezTo>
                    <a:pt x="165747" y="144775"/>
                    <a:pt x="171159" y="140716"/>
                    <a:pt x="177248" y="137333"/>
                  </a:cubicBezTo>
                  <a:lnTo>
                    <a:pt x="191455" y="129215"/>
                  </a:lnTo>
                  <a:cubicBezTo>
                    <a:pt x="194161" y="127862"/>
                    <a:pt x="197543" y="126509"/>
                    <a:pt x="200250" y="125833"/>
                  </a:cubicBezTo>
                  <a:cubicBezTo>
                    <a:pt x="202279" y="125156"/>
                    <a:pt x="204309" y="125156"/>
                    <a:pt x="206338" y="125156"/>
                  </a:cubicBezTo>
                  <a:cubicBezTo>
                    <a:pt x="211750" y="125156"/>
                    <a:pt x="217839" y="121097"/>
                    <a:pt x="223251" y="119067"/>
                  </a:cubicBezTo>
                  <a:cubicBezTo>
                    <a:pt x="225957" y="118391"/>
                    <a:pt x="228663" y="118391"/>
                    <a:pt x="230693" y="117038"/>
                  </a:cubicBezTo>
                  <a:cubicBezTo>
                    <a:pt x="231369" y="117038"/>
                    <a:pt x="231369" y="116361"/>
                    <a:pt x="231369" y="115685"/>
                  </a:cubicBezTo>
                  <a:lnTo>
                    <a:pt x="230693" y="115008"/>
                  </a:lnTo>
                  <a:cubicBezTo>
                    <a:pt x="223928" y="114332"/>
                    <a:pt x="218516" y="112302"/>
                    <a:pt x="211750" y="110273"/>
                  </a:cubicBezTo>
                  <a:cubicBezTo>
                    <a:pt x="206338" y="109596"/>
                    <a:pt x="200926" y="109596"/>
                    <a:pt x="196191" y="112302"/>
                  </a:cubicBezTo>
                  <a:cubicBezTo>
                    <a:pt x="191455" y="115685"/>
                    <a:pt x="187396" y="119067"/>
                    <a:pt x="182660" y="122450"/>
                  </a:cubicBezTo>
                  <a:cubicBezTo>
                    <a:pt x="181307" y="123126"/>
                    <a:pt x="179954" y="124480"/>
                    <a:pt x="178601" y="125156"/>
                  </a:cubicBezTo>
                  <a:cubicBezTo>
                    <a:pt x="173189" y="128539"/>
                    <a:pt x="167100" y="131921"/>
                    <a:pt x="161011" y="133951"/>
                  </a:cubicBezTo>
                  <a:cubicBezTo>
                    <a:pt x="154923" y="135980"/>
                    <a:pt x="148834" y="136657"/>
                    <a:pt x="142746" y="136657"/>
                  </a:cubicBezTo>
                  <a:cubicBezTo>
                    <a:pt x="140716" y="136657"/>
                    <a:pt x="138686" y="135304"/>
                    <a:pt x="137333" y="133274"/>
                  </a:cubicBezTo>
                  <a:cubicBezTo>
                    <a:pt x="135980" y="130568"/>
                    <a:pt x="135304" y="127862"/>
                    <a:pt x="135304" y="125156"/>
                  </a:cubicBezTo>
                  <a:cubicBezTo>
                    <a:pt x="135304" y="123126"/>
                    <a:pt x="135304" y="121773"/>
                    <a:pt x="134627" y="119744"/>
                  </a:cubicBezTo>
                  <a:cubicBezTo>
                    <a:pt x="134627" y="115008"/>
                    <a:pt x="133951" y="108920"/>
                    <a:pt x="135304" y="104184"/>
                  </a:cubicBezTo>
                  <a:cubicBezTo>
                    <a:pt x="135980" y="99448"/>
                    <a:pt x="137333" y="94713"/>
                    <a:pt x="136657" y="89977"/>
                  </a:cubicBezTo>
                  <a:cubicBezTo>
                    <a:pt x="135304" y="85918"/>
                    <a:pt x="129892" y="81182"/>
                    <a:pt x="117038" y="70358"/>
                  </a:cubicBezTo>
                  <a:cubicBezTo>
                    <a:pt x="104184" y="58857"/>
                    <a:pt x="90654" y="43974"/>
                    <a:pt x="83888" y="31796"/>
                  </a:cubicBezTo>
                  <a:cubicBezTo>
                    <a:pt x="83212" y="30443"/>
                    <a:pt x="82535" y="29090"/>
                    <a:pt x="81859" y="28414"/>
                  </a:cubicBezTo>
                  <a:cubicBezTo>
                    <a:pt x="80506" y="28414"/>
                    <a:pt x="80506" y="29090"/>
                    <a:pt x="79829" y="29767"/>
                  </a:cubicBezTo>
                  <a:cubicBezTo>
                    <a:pt x="74417" y="37209"/>
                    <a:pt x="72387" y="46003"/>
                    <a:pt x="73741" y="55475"/>
                  </a:cubicBezTo>
                  <a:cubicBezTo>
                    <a:pt x="75770" y="64946"/>
                    <a:pt x="79829" y="73064"/>
                    <a:pt x="86594" y="80506"/>
                  </a:cubicBezTo>
                  <a:cubicBezTo>
                    <a:pt x="89977" y="84565"/>
                    <a:pt x="94036" y="89977"/>
                    <a:pt x="96066" y="94036"/>
                  </a:cubicBezTo>
                  <a:cubicBezTo>
                    <a:pt x="98095" y="98095"/>
                    <a:pt x="98772" y="102154"/>
                    <a:pt x="98095" y="106890"/>
                  </a:cubicBezTo>
                  <a:lnTo>
                    <a:pt x="87947" y="99448"/>
                  </a:lnTo>
                  <a:cubicBezTo>
                    <a:pt x="87947" y="99448"/>
                    <a:pt x="83888" y="96742"/>
                    <a:pt x="77800" y="92007"/>
                  </a:cubicBezTo>
                  <a:cubicBezTo>
                    <a:pt x="72387" y="87947"/>
                    <a:pt x="66299" y="84565"/>
                    <a:pt x="56828" y="73741"/>
                  </a:cubicBezTo>
                  <a:cubicBezTo>
                    <a:pt x="56828" y="73064"/>
                    <a:pt x="56151" y="73064"/>
                    <a:pt x="55474" y="73741"/>
                  </a:cubicBezTo>
                  <a:cubicBezTo>
                    <a:pt x="54798" y="74417"/>
                    <a:pt x="54798" y="75094"/>
                    <a:pt x="54122" y="76447"/>
                  </a:cubicBezTo>
                  <a:cubicBezTo>
                    <a:pt x="52768" y="87271"/>
                    <a:pt x="52092" y="100125"/>
                    <a:pt x="58181" y="108920"/>
                  </a:cubicBezTo>
                  <a:cubicBezTo>
                    <a:pt x="61563" y="114332"/>
                    <a:pt x="66299" y="119067"/>
                    <a:pt x="71034" y="123803"/>
                  </a:cubicBezTo>
                  <a:cubicBezTo>
                    <a:pt x="74417" y="126509"/>
                    <a:pt x="77123" y="129892"/>
                    <a:pt x="80506" y="132598"/>
                  </a:cubicBezTo>
                  <a:cubicBezTo>
                    <a:pt x="83888" y="135304"/>
                    <a:pt x="87271" y="138686"/>
                    <a:pt x="87271" y="142746"/>
                  </a:cubicBezTo>
                  <a:cubicBezTo>
                    <a:pt x="87947" y="147481"/>
                    <a:pt x="85918" y="151540"/>
                    <a:pt x="84565" y="155599"/>
                  </a:cubicBezTo>
                  <a:cubicBezTo>
                    <a:pt x="82535" y="158982"/>
                    <a:pt x="81182" y="162365"/>
                    <a:pt x="78476" y="164394"/>
                  </a:cubicBezTo>
                  <a:cubicBezTo>
                    <a:pt x="74417" y="167100"/>
                    <a:pt x="68328" y="165071"/>
                    <a:pt x="63593" y="165747"/>
                  </a:cubicBezTo>
                  <a:cubicBezTo>
                    <a:pt x="60210" y="165747"/>
                    <a:pt x="58181" y="169130"/>
                    <a:pt x="56828" y="171836"/>
                  </a:cubicBezTo>
                  <a:cubicBezTo>
                    <a:pt x="54798" y="175218"/>
                    <a:pt x="52768" y="178601"/>
                    <a:pt x="53445" y="182660"/>
                  </a:cubicBezTo>
                  <a:cubicBezTo>
                    <a:pt x="54122" y="187396"/>
                    <a:pt x="56151" y="191455"/>
                    <a:pt x="57504" y="193484"/>
                  </a:cubicBezTo>
                  <a:cubicBezTo>
                    <a:pt x="58181" y="194161"/>
                    <a:pt x="58857" y="195514"/>
                    <a:pt x="60210" y="195514"/>
                  </a:cubicBezTo>
                  <a:cubicBezTo>
                    <a:pt x="62240" y="194838"/>
                    <a:pt x="64269" y="194161"/>
                    <a:pt x="66299" y="192808"/>
                  </a:cubicBezTo>
                  <a:cubicBezTo>
                    <a:pt x="75770" y="184690"/>
                    <a:pt x="79829" y="181984"/>
                    <a:pt x="89977" y="179278"/>
                  </a:cubicBezTo>
                  <a:cubicBezTo>
                    <a:pt x="83888" y="181984"/>
                    <a:pt x="79153" y="188749"/>
                    <a:pt x="77800" y="190778"/>
                  </a:cubicBezTo>
                  <a:cubicBezTo>
                    <a:pt x="69681" y="200250"/>
                    <a:pt x="62240" y="204309"/>
                    <a:pt x="50739" y="202279"/>
                  </a:cubicBezTo>
                  <a:cubicBezTo>
                    <a:pt x="48033" y="201603"/>
                    <a:pt x="46680" y="200926"/>
                    <a:pt x="46680" y="200926"/>
                  </a:cubicBezTo>
                  <a:cubicBezTo>
                    <a:pt x="35855" y="189425"/>
                    <a:pt x="16913" y="163041"/>
                    <a:pt x="16913" y="125156"/>
                  </a:cubicBezTo>
                  <a:cubicBezTo>
                    <a:pt x="16913" y="64269"/>
                    <a:pt x="66299" y="14207"/>
                    <a:pt x="127862" y="14207"/>
                  </a:cubicBezTo>
                  <a:cubicBezTo>
                    <a:pt x="188749" y="14207"/>
                    <a:pt x="238135" y="63593"/>
                    <a:pt x="238135" y="125156"/>
                  </a:cubicBezTo>
                  <a:cubicBezTo>
                    <a:pt x="236782" y="186043"/>
                    <a:pt x="186719" y="237458"/>
                    <a:pt x="126509" y="237458"/>
                  </a:cubicBezTo>
                  <a:close/>
                </a:path>
              </a:pathLst>
            </a:custGeom>
            <a:solidFill>
              <a:srgbClr val="004A99"/>
            </a:solidFill>
            <a:ln w="6756" cap="flat">
              <a:noFill/>
              <a:prstDash val="solid"/>
              <a:miter/>
            </a:ln>
          </p:spPr>
          <p:txBody>
            <a:bodyPr rtlCol="0" anchor="ctr"/>
            <a:lstStyle/>
            <a:p>
              <a:endParaRPr lang="de-DE"/>
            </a:p>
          </p:txBody>
        </p:sp>
      </p:grpSp>
    </p:spTree>
    <p:extLst>
      <p:ext uri="{BB962C8B-B14F-4D97-AF65-F5344CB8AC3E}">
        <p14:creationId xmlns:p14="http://schemas.microsoft.com/office/powerpoint/2010/main" val="2971453896"/>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p:stCondLst>
                              <p:cond delay="0"/>
                            </p:stCondLst>
                            <p:childTnLst>
                              <p:par>
                                <p:cTn id="5" presetID="10" presetClass="exit" presetSubtype="0" dur="1000" fill="hold" nodeType="clickEffect">
                                  <p:stCondLst>
                                    <p:cond delay="0"/>
                                  </p:stCondLst>
                                  <p:childTnLst>
                                    <p:animEffect transition="out" filter="fade">
                                      <p:cBhvr>
                                        <p:cTn id="6" dur="1000"/>
                                        <p:tgtEl>
                                          <p:spTgt spid="3"/>
                                        </p:tgtEl>
                                      </p:cBhvr>
                                    </p:animEffect>
                                    <p:set>
                                      <p:cBhvr>
                                        <p:cTn id="7" dur="1" fill="hold">
                                          <p:stCondLst>
                                            <p:cond delay="999"/>
                                          </p:stCondLst>
                                        </p:cTn>
                                        <p:tgtEl>
                                          <p:spTgt spid="3"/>
                                        </p:tgtEl>
                                        <p:attrNameLst>
                                          <p:attrName>style.visibility</p:attrName>
                                        </p:attrNameLst>
                                      </p:cBhvr>
                                      <p:to>
                                        <p:strVal val="hidden"/>
                                      </p:to>
                                    </p:set>
                                  </p:childTnLst>
                                </p:cTn>
                              </p:par>
                            </p:childTnLst>
                          </p:cTn>
                        </p:par>
                        <p:par>
                          <p:cTn id="8" fill="hold" nodeType="afterGroup">
                            <p:stCondLst>
                              <p:cond delay="1000"/>
                            </p:stCondLst>
                            <p:childTnLst>
                              <p:par>
                                <p:cTn id="9" presetID="10" presetClass="entr" presetSubtype="0" dur="1000" fill="hold" grpId="0" nodeType="afterEffect">
                                  <p:stCondLst>
                                    <p:cond delay="0"/>
                                  </p:stCondLst>
                                  <p:childTnLst>
                                    <p:set>
                                      <p:cBhvr>
                                        <p:cTn id="10" dur="1" fill="hold">
                                          <p:stCondLst>
                                            <p:cond delay="0"/>
                                          </p:stCondLst>
                                        </p:cTn>
                                        <p:tgtEl>
                                          <p:spTgt spid="64"/>
                                        </p:tgtEl>
                                        <p:attrNameLst>
                                          <p:attrName>style.visibility</p:attrName>
                                        </p:attrNameLst>
                                      </p:cBhvr>
                                      <p:to>
                                        <p:strVal val="visible"/>
                                      </p:to>
                                    </p:set>
                                    <p:animEffect transition="in" filter="fade">
                                      <p:cBhvr>
                                        <p:cTn id="11" dur="1000"/>
                                        <p:tgtEl>
                                          <p:spTgt spid="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animBg="1"/>
    </p:bld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5B327254-466C-4606-8589-BCC72CBDADDF}"/>
              </a:ext>
            </a:extLst>
          </p:cNvPr>
          <p:cNvSpPr>
            <a:spLocks noGrp="1"/>
          </p:cNvSpPr>
          <p:nvPr>
            <p:ph type="sldNum" sz="quarter" idx="10"/>
          </p:nvPr>
        </p:nvSpPr>
        <p:spPr/>
        <p:txBody>
          <a:bodyPr/>
          <a:lstStyle/>
          <a:p>
            <a:fld id="{A04BEB4F-8CE1-4F18-986F-6CE0A0BE9470}" type="slidenum">
              <a:rPr lang="de-DE" smtClean="0"/>
              <a:t>‹#›</a:t>
            </a:fld>
            <a:endParaRPr lang="de-DE"/>
          </a:p>
        </p:txBody>
      </p:sp>
      <p:sp>
        <p:nvSpPr>
          <p:cNvPr id="4" name="Textfeld 3">
            <a:extLst>
              <a:ext uri="{FF2B5EF4-FFF2-40B4-BE49-F238E27FC236}">
                <a16:creationId xmlns:a16="http://schemas.microsoft.com/office/drawing/2014/main" id="{1F1512C8-A5D3-4625-93D0-A51172C5F58F}"/>
              </a:ext>
            </a:extLst>
          </p:cNvPr>
          <p:cNvSpPr txBox="1"/>
          <p:nvPr userDrawn="1"/>
        </p:nvSpPr>
        <p:spPr>
          <a:xfrm>
            <a:off x="815951" y="1076602"/>
            <a:ext cx="2303253" cy="430887"/>
          </a:xfrm>
          <a:prstGeom prst="rect">
            <a:avLst/>
          </a:prstGeom>
          <a:noFill/>
        </p:spPr>
        <p:txBody>
          <a:bodyPr wrap="square" lIns="0" tIns="0" rIns="0" bIns="0" rtlCol="0">
            <a:spAutoFit/>
          </a:bodyPr>
          <a:lstStyle/>
          <a:p>
            <a:pPr algn="l"/>
            <a:r>
              <a:rPr lang="de-DE" sz="2800" kern="1200">
                <a:solidFill>
                  <a:schemeClr val="tx2"/>
                </a:solidFill>
                <a:latin typeface="+mj-lt"/>
                <a:ea typeface="+mj-ea"/>
                <a:cs typeface="+mj-cs"/>
              </a:rPr>
              <a:t>Agenda</a:t>
            </a:r>
          </a:p>
        </p:txBody>
      </p:sp>
      <p:sp>
        <p:nvSpPr>
          <p:cNvPr id="122" name="Freihandform: Form 121">
            <a:extLst>
              <a:ext uri="{FF2B5EF4-FFF2-40B4-BE49-F238E27FC236}">
                <a16:creationId xmlns:a16="http://schemas.microsoft.com/office/drawing/2014/main" id="{BC43029A-5265-4954-A3A5-CD3CB5C7478D}"/>
              </a:ext>
            </a:extLst>
          </p:cNvPr>
          <p:cNvSpPr/>
          <p:nvPr/>
        </p:nvSpPr>
        <p:spPr>
          <a:xfrm>
            <a:off x="11841261" y="4050916"/>
            <a:ext cx="347243" cy="376374"/>
          </a:xfrm>
          <a:custGeom>
            <a:avLst/>
            <a:gdLst>
              <a:gd name="connsiteX0" fmla="*/ 158473 w 347243"/>
              <a:gd name="connsiteY0" fmla="*/ 376375 h 376374"/>
              <a:gd name="connsiteX1" fmla="*/ 0 w 347243"/>
              <a:gd name="connsiteY1" fmla="*/ 376375 h 376374"/>
              <a:gd name="connsiteX2" fmla="*/ 185274 w 347243"/>
              <a:gd name="connsiteY2" fmla="*/ 189935 h 376374"/>
              <a:gd name="connsiteX3" fmla="*/ 0 w 347243"/>
              <a:gd name="connsiteY3" fmla="*/ 0 h 376374"/>
              <a:gd name="connsiteX4" fmla="*/ 161969 w 347243"/>
              <a:gd name="connsiteY4" fmla="*/ 0 h 376374"/>
              <a:gd name="connsiteX5" fmla="*/ 347244 w 347243"/>
              <a:gd name="connsiteY5" fmla="*/ 185274 h 376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7243" h="376374">
                <a:moveTo>
                  <a:pt x="158473" y="376375"/>
                </a:moveTo>
                <a:lnTo>
                  <a:pt x="0" y="376375"/>
                </a:lnTo>
                <a:lnTo>
                  <a:pt x="185274" y="189935"/>
                </a:lnTo>
                <a:lnTo>
                  <a:pt x="0" y="0"/>
                </a:lnTo>
                <a:lnTo>
                  <a:pt x="161969" y="0"/>
                </a:lnTo>
                <a:lnTo>
                  <a:pt x="347244" y="185274"/>
                </a:lnTo>
                <a:close/>
              </a:path>
            </a:pathLst>
          </a:custGeom>
          <a:solidFill>
            <a:srgbClr val="EEF2F5"/>
          </a:solidFill>
          <a:ln w="11643" cap="flat">
            <a:noFill/>
            <a:prstDash val="solid"/>
            <a:miter/>
          </a:ln>
        </p:spPr>
        <p:txBody>
          <a:bodyPr rtlCol="0" anchor="ctr"/>
          <a:lstStyle/>
          <a:p>
            <a:endParaRPr lang="de-DE"/>
          </a:p>
        </p:txBody>
      </p:sp>
      <p:sp>
        <p:nvSpPr>
          <p:cNvPr id="138" name="Freihandform: Form 137">
            <a:extLst>
              <a:ext uri="{FF2B5EF4-FFF2-40B4-BE49-F238E27FC236}">
                <a16:creationId xmlns:a16="http://schemas.microsoft.com/office/drawing/2014/main" id="{5B458F82-191F-4A0B-9761-26D447FE3BDA}"/>
              </a:ext>
            </a:extLst>
          </p:cNvPr>
          <p:cNvSpPr/>
          <p:nvPr/>
        </p:nvSpPr>
        <p:spPr>
          <a:xfrm>
            <a:off x="11841261" y="4405152"/>
            <a:ext cx="347243" cy="377540"/>
          </a:xfrm>
          <a:custGeom>
            <a:avLst/>
            <a:gdLst>
              <a:gd name="connsiteX0" fmla="*/ 158473 w 347243"/>
              <a:gd name="connsiteY0" fmla="*/ 377540 h 377540"/>
              <a:gd name="connsiteX1" fmla="*/ 0 w 347243"/>
              <a:gd name="connsiteY1" fmla="*/ 377540 h 377540"/>
              <a:gd name="connsiteX2" fmla="*/ 185274 w 347243"/>
              <a:gd name="connsiteY2" fmla="*/ 189935 h 377540"/>
              <a:gd name="connsiteX3" fmla="*/ 0 w 347243"/>
              <a:gd name="connsiteY3" fmla="*/ 0 h 377540"/>
              <a:gd name="connsiteX4" fmla="*/ 161969 w 347243"/>
              <a:gd name="connsiteY4" fmla="*/ 0 h 377540"/>
              <a:gd name="connsiteX5" fmla="*/ 347244 w 347243"/>
              <a:gd name="connsiteY5" fmla="*/ 185274 h 377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7243" h="377540">
                <a:moveTo>
                  <a:pt x="158473" y="377540"/>
                </a:moveTo>
                <a:lnTo>
                  <a:pt x="0" y="377540"/>
                </a:lnTo>
                <a:lnTo>
                  <a:pt x="185274" y="189935"/>
                </a:lnTo>
                <a:lnTo>
                  <a:pt x="0" y="0"/>
                </a:lnTo>
                <a:lnTo>
                  <a:pt x="161969" y="0"/>
                </a:lnTo>
                <a:lnTo>
                  <a:pt x="347244" y="185274"/>
                </a:lnTo>
                <a:close/>
              </a:path>
            </a:pathLst>
          </a:custGeom>
          <a:solidFill>
            <a:srgbClr val="EEF2F5"/>
          </a:solidFill>
          <a:ln w="11643" cap="flat">
            <a:noFill/>
            <a:prstDash val="solid"/>
            <a:miter/>
          </a:ln>
        </p:spPr>
        <p:txBody>
          <a:bodyPr rtlCol="0" anchor="ctr"/>
          <a:lstStyle/>
          <a:p>
            <a:endParaRPr lang="de-DE"/>
          </a:p>
        </p:txBody>
      </p:sp>
      <p:sp>
        <p:nvSpPr>
          <p:cNvPr id="105" name="Freihandform: Form 104">
            <a:extLst>
              <a:ext uri="{FF2B5EF4-FFF2-40B4-BE49-F238E27FC236}">
                <a16:creationId xmlns:a16="http://schemas.microsoft.com/office/drawing/2014/main" id="{5C4533A5-54AE-4D76-A4AF-E6486B2E759F}"/>
              </a:ext>
            </a:extLst>
          </p:cNvPr>
          <p:cNvSpPr/>
          <p:nvPr/>
        </p:nvSpPr>
        <p:spPr>
          <a:xfrm>
            <a:off x="11494017" y="3704837"/>
            <a:ext cx="330930" cy="358896"/>
          </a:xfrm>
          <a:custGeom>
            <a:avLst/>
            <a:gdLst>
              <a:gd name="connsiteX0" fmla="*/ 151482 w 330930"/>
              <a:gd name="connsiteY0" fmla="*/ 358896 h 358896"/>
              <a:gd name="connsiteX1" fmla="*/ 0 w 330930"/>
              <a:gd name="connsiteY1" fmla="*/ 358896 h 358896"/>
              <a:gd name="connsiteX2" fmla="*/ 177118 w 330930"/>
              <a:gd name="connsiteY2" fmla="*/ 180613 h 358896"/>
              <a:gd name="connsiteX3" fmla="*/ 0 w 330930"/>
              <a:gd name="connsiteY3" fmla="*/ 0 h 358896"/>
              <a:gd name="connsiteX4" fmla="*/ 154979 w 330930"/>
              <a:gd name="connsiteY4" fmla="*/ 0 h 358896"/>
              <a:gd name="connsiteX5" fmla="*/ 330931 w 330930"/>
              <a:gd name="connsiteY5" fmla="*/ 175953 h 358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930" h="358896">
                <a:moveTo>
                  <a:pt x="151482" y="358896"/>
                </a:moveTo>
                <a:lnTo>
                  <a:pt x="0" y="358896"/>
                </a:lnTo>
                <a:lnTo>
                  <a:pt x="177118" y="180613"/>
                </a:lnTo>
                <a:lnTo>
                  <a:pt x="0" y="0"/>
                </a:lnTo>
                <a:lnTo>
                  <a:pt x="154979" y="0"/>
                </a:lnTo>
                <a:lnTo>
                  <a:pt x="330931" y="175953"/>
                </a:lnTo>
                <a:close/>
              </a:path>
            </a:pathLst>
          </a:custGeom>
          <a:solidFill>
            <a:srgbClr val="EEF2F5"/>
          </a:solidFill>
          <a:ln w="11643" cap="flat">
            <a:noFill/>
            <a:prstDash val="solid"/>
            <a:miter/>
          </a:ln>
        </p:spPr>
        <p:txBody>
          <a:bodyPr rtlCol="0" anchor="ctr"/>
          <a:lstStyle/>
          <a:p>
            <a:endParaRPr lang="de-DE"/>
          </a:p>
        </p:txBody>
      </p:sp>
      <p:sp>
        <p:nvSpPr>
          <p:cNvPr id="121" name="Freihandform: Form 120">
            <a:extLst>
              <a:ext uri="{FF2B5EF4-FFF2-40B4-BE49-F238E27FC236}">
                <a16:creationId xmlns:a16="http://schemas.microsoft.com/office/drawing/2014/main" id="{2C765BDB-0971-4930-98E2-992157EFF29E}"/>
              </a:ext>
            </a:extLst>
          </p:cNvPr>
          <p:cNvSpPr/>
          <p:nvPr/>
        </p:nvSpPr>
        <p:spPr>
          <a:xfrm>
            <a:off x="11494017" y="4059073"/>
            <a:ext cx="330930" cy="360061"/>
          </a:xfrm>
          <a:custGeom>
            <a:avLst/>
            <a:gdLst>
              <a:gd name="connsiteX0" fmla="*/ 151482 w 330930"/>
              <a:gd name="connsiteY0" fmla="*/ 360062 h 360061"/>
              <a:gd name="connsiteX1" fmla="*/ 0 w 330930"/>
              <a:gd name="connsiteY1" fmla="*/ 360062 h 360061"/>
              <a:gd name="connsiteX2" fmla="*/ 177118 w 330930"/>
              <a:gd name="connsiteY2" fmla="*/ 181779 h 360061"/>
              <a:gd name="connsiteX3" fmla="*/ 0 w 330930"/>
              <a:gd name="connsiteY3" fmla="*/ 0 h 360061"/>
              <a:gd name="connsiteX4" fmla="*/ 154979 w 330930"/>
              <a:gd name="connsiteY4" fmla="*/ 0 h 360061"/>
              <a:gd name="connsiteX5" fmla="*/ 330931 w 330930"/>
              <a:gd name="connsiteY5" fmla="*/ 177118 h 360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930" h="360061">
                <a:moveTo>
                  <a:pt x="151482" y="360062"/>
                </a:moveTo>
                <a:lnTo>
                  <a:pt x="0" y="360062"/>
                </a:lnTo>
                <a:lnTo>
                  <a:pt x="177118" y="181779"/>
                </a:lnTo>
                <a:lnTo>
                  <a:pt x="0" y="0"/>
                </a:lnTo>
                <a:lnTo>
                  <a:pt x="154979" y="0"/>
                </a:lnTo>
                <a:lnTo>
                  <a:pt x="330931" y="177118"/>
                </a:lnTo>
                <a:close/>
              </a:path>
            </a:pathLst>
          </a:custGeom>
          <a:solidFill>
            <a:srgbClr val="EEF2F5"/>
          </a:solidFill>
          <a:ln w="11643" cap="flat">
            <a:noFill/>
            <a:prstDash val="solid"/>
            <a:miter/>
          </a:ln>
        </p:spPr>
        <p:txBody>
          <a:bodyPr rtlCol="0" anchor="ctr"/>
          <a:lstStyle/>
          <a:p>
            <a:endParaRPr lang="de-DE"/>
          </a:p>
        </p:txBody>
      </p:sp>
      <p:sp>
        <p:nvSpPr>
          <p:cNvPr id="137" name="Freihandform: Form 136">
            <a:extLst>
              <a:ext uri="{FF2B5EF4-FFF2-40B4-BE49-F238E27FC236}">
                <a16:creationId xmlns:a16="http://schemas.microsoft.com/office/drawing/2014/main" id="{FFF7FEBD-DC05-4243-8288-65567FB9B1FC}"/>
              </a:ext>
            </a:extLst>
          </p:cNvPr>
          <p:cNvSpPr/>
          <p:nvPr/>
        </p:nvSpPr>
        <p:spPr>
          <a:xfrm>
            <a:off x="11494017" y="4414474"/>
            <a:ext cx="330930" cy="358896"/>
          </a:xfrm>
          <a:custGeom>
            <a:avLst/>
            <a:gdLst>
              <a:gd name="connsiteX0" fmla="*/ 151482 w 330930"/>
              <a:gd name="connsiteY0" fmla="*/ 358896 h 358896"/>
              <a:gd name="connsiteX1" fmla="*/ 0 w 330930"/>
              <a:gd name="connsiteY1" fmla="*/ 358896 h 358896"/>
              <a:gd name="connsiteX2" fmla="*/ 177118 w 330930"/>
              <a:gd name="connsiteY2" fmla="*/ 180613 h 358896"/>
              <a:gd name="connsiteX3" fmla="*/ 0 w 330930"/>
              <a:gd name="connsiteY3" fmla="*/ 0 h 358896"/>
              <a:gd name="connsiteX4" fmla="*/ 154979 w 330930"/>
              <a:gd name="connsiteY4" fmla="*/ 0 h 358896"/>
              <a:gd name="connsiteX5" fmla="*/ 330931 w 330930"/>
              <a:gd name="connsiteY5" fmla="*/ 175952 h 358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930" h="358896">
                <a:moveTo>
                  <a:pt x="151482" y="358896"/>
                </a:moveTo>
                <a:lnTo>
                  <a:pt x="0" y="358896"/>
                </a:lnTo>
                <a:lnTo>
                  <a:pt x="177118" y="180613"/>
                </a:lnTo>
                <a:lnTo>
                  <a:pt x="0" y="0"/>
                </a:lnTo>
                <a:lnTo>
                  <a:pt x="154979" y="0"/>
                </a:lnTo>
                <a:lnTo>
                  <a:pt x="330931" y="175952"/>
                </a:lnTo>
                <a:close/>
              </a:path>
            </a:pathLst>
          </a:custGeom>
          <a:solidFill>
            <a:srgbClr val="EEF2F5"/>
          </a:solidFill>
          <a:ln w="11643" cap="flat">
            <a:noFill/>
            <a:prstDash val="solid"/>
            <a:miter/>
          </a:ln>
        </p:spPr>
        <p:txBody>
          <a:bodyPr rtlCol="0" anchor="ctr"/>
          <a:lstStyle/>
          <a:p>
            <a:endParaRPr lang="de-DE"/>
          </a:p>
        </p:txBody>
      </p:sp>
      <p:sp>
        <p:nvSpPr>
          <p:cNvPr id="154" name="Freihandform: Form 153">
            <a:extLst>
              <a:ext uri="{FF2B5EF4-FFF2-40B4-BE49-F238E27FC236}">
                <a16:creationId xmlns:a16="http://schemas.microsoft.com/office/drawing/2014/main" id="{46119847-314D-4401-B853-7CDAC232D928}"/>
              </a:ext>
            </a:extLst>
          </p:cNvPr>
          <p:cNvSpPr/>
          <p:nvPr/>
        </p:nvSpPr>
        <p:spPr>
          <a:xfrm>
            <a:off x="11494017" y="4768709"/>
            <a:ext cx="330930" cy="360061"/>
          </a:xfrm>
          <a:custGeom>
            <a:avLst/>
            <a:gdLst>
              <a:gd name="connsiteX0" fmla="*/ 151482 w 330930"/>
              <a:gd name="connsiteY0" fmla="*/ 360062 h 360061"/>
              <a:gd name="connsiteX1" fmla="*/ 0 w 330930"/>
              <a:gd name="connsiteY1" fmla="*/ 360062 h 360061"/>
              <a:gd name="connsiteX2" fmla="*/ 177118 w 330930"/>
              <a:gd name="connsiteY2" fmla="*/ 181779 h 360061"/>
              <a:gd name="connsiteX3" fmla="*/ 0 w 330930"/>
              <a:gd name="connsiteY3" fmla="*/ 0 h 360061"/>
              <a:gd name="connsiteX4" fmla="*/ 154979 w 330930"/>
              <a:gd name="connsiteY4" fmla="*/ 0 h 360061"/>
              <a:gd name="connsiteX5" fmla="*/ 330931 w 330930"/>
              <a:gd name="connsiteY5" fmla="*/ 177118 h 360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930" h="360061">
                <a:moveTo>
                  <a:pt x="151482" y="360062"/>
                </a:moveTo>
                <a:lnTo>
                  <a:pt x="0" y="360062"/>
                </a:lnTo>
                <a:lnTo>
                  <a:pt x="177118" y="181779"/>
                </a:lnTo>
                <a:lnTo>
                  <a:pt x="0" y="0"/>
                </a:lnTo>
                <a:lnTo>
                  <a:pt x="154979" y="0"/>
                </a:lnTo>
                <a:lnTo>
                  <a:pt x="330931" y="177118"/>
                </a:lnTo>
                <a:close/>
              </a:path>
            </a:pathLst>
          </a:custGeom>
          <a:solidFill>
            <a:srgbClr val="EEF2F5"/>
          </a:solidFill>
          <a:ln w="11643" cap="flat">
            <a:noFill/>
            <a:prstDash val="solid"/>
            <a:miter/>
          </a:ln>
        </p:spPr>
        <p:txBody>
          <a:bodyPr rtlCol="0" anchor="ctr"/>
          <a:lstStyle/>
          <a:p>
            <a:endParaRPr lang="de-DE"/>
          </a:p>
        </p:txBody>
      </p:sp>
      <p:sp>
        <p:nvSpPr>
          <p:cNvPr id="88" name="Freihandform: Form 87">
            <a:extLst>
              <a:ext uri="{FF2B5EF4-FFF2-40B4-BE49-F238E27FC236}">
                <a16:creationId xmlns:a16="http://schemas.microsoft.com/office/drawing/2014/main" id="{021EABD8-89C7-4331-9946-CAAC34E3DC2D}"/>
              </a:ext>
            </a:extLst>
          </p:cNvPr>
          <p:cNvSpPr/>
          <p:nvPr/>
        </p:nvSpPr>
        <p:spPr>
          <a:xfrm>
            <a:off x="11147939" y="3358759"/>
            <a:ext cx="314616" cy="341417"/>
          </a:xfrm>
          <a:custGeom>
            <a:avLst/>
            <a:gdLst>
              <a:gd name="connsiteX0" fmla="*/ 143325 w 314616"/>
              <a:gd name="connsiteY0" fmla="*/ 341418 h 341417"/>
              <a:gd name="connsiteX1" fmla="*/ 0 w 314616"/>
              <a:gd name="connsiteY1" fmla="*/ 341418 h 341417"/>
              <a:gd name="connsiteX2" fmla="*/ 167795 w 314616"/>
              <a:gd name="connsiteY2" fmla="*/ 172457 h 341417"/>
              <a:gd name="connsiteX3" fmla="*/ 0 w 314616"/>
              <a:gd name="connsiteY3" fmla="*/ 0 h 341417"/>
              <a:gd name="connsiteX4" fmla="*/ 146821 w 314616"/>
              <a:gd name="connsiteY4" fmla="*/ 0 h 341417"/>
              <a:gd name="connsiteX5" fmla="*/ 314617 w 314616"/>
              <a:gd name="connsiteY5" fmla="*/ 167796 h 341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4616" h="341417">
                <a:moveTo>
                  <a:pt x="143325" y="341418"/>
                </a:moveTo>
                <a:lnTo>
                  <a:pt x="0" y="341418"/>
                </a:lnTo>
                <a:lnTo>
                  <a:pt x="167795" y="172457"/>
                </a:lnTo>
                <a:lnTo>
                  <a:pt x="0" y="0"/>
                </a:lnTo>
                <a:lnTo>
                  <a:pt x="146821" y="0"/>
                </a:lnTo>
                <a:lnTo>
                  <a:pt x="314617" y="167796"/>
                </a:lnTo>
                <a:close/>
              </a:path>
            </a:pathLst>
          </a:custGeom>
          <a:solidFill>
            <a:srgbClr val="EEF2F5"/>
          </a:solidFill>
          <a:ln w="11643" cap="flat">
            <a:noFill/>
            <a:prstDash val="solid"/>
            <a:miter/>
          </a:ln>
        </p:spPr>
        <p:txBody>
          <a:bodyPr rtlCol="0" anchor="ctr"/>
          <a:lstStyle/>
          <a:p>
            <a:endParaRPr lang="de-DE"/>
          </a:p>
        </p:txBody>
      </p:sp>
      <p:sp>
        <p:nvSpPr>
          <p:cNvPr id="104" name="Freihandform: Form 103">
            <a:extLst>
              <a:ext uri="{FF2B5EF4-FFF2-40B4-BE49-F238E27FC236}">
                <a16:creationId xmlns:a16="http://schemas.microsoft.com/office/drawing/2014/main" id="{2DAD8994-DFB7-4D8A-B3A1-95AEBE830246}"/>
              </a:ext>
            </a:extLst>
          </p:cNvPr>
          <p:cNvSpPr/>
          <p:nvPr/>
        </p:nvSpPr>
        <p:spPr>
          <a:xfrm>
            <a:off x="11147939" y="3714159"/>
            <a:ext cx="314616" cy="340252"/>
          </a:xfrm>
          <a:custGeom>
            <a:avLst/>
            <a:gdLst>
              <a:gd name="connsiteX0" fmla="*/ 143325 w 314616"/>
              <a:gd name="connsiteY0" fmla="*/ 340252 h 340252"/>
              <a:gd name="connsiteX1" fmla="*/ 0 w 314616"/>
              <a:gd name="connsiteY1" fmla="*/ 340252 h 340252"/>
              <a:gd name="connsiteX2" fmla="*/ 167795 w 314616"/>
              <a:gd name="connsiteY2" fmla="*/ 171291 h 340252"/>
              <a:gd name="connsiteX3" fmla="*/ 0 w 314616"/>
              <a:gd name="connsiteY3" fmla="*/ 0 h 340252"/>
              <a:gd name="connsiteX4" fmla="*/ 146821 w 314616"/>
              <a:gd name="connsiteY4" fmla="*/ 0 h 340252"/>
              <a:gd name="connsiteX5" fmla="*/ 314617 w 314616"/>
              <a:gd name="connsiteY5" fmla="*/ 166631 h 340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4616" h="340252">
                <a:moveTo>
                  <a:pt x="143325" y="340252"/>
                </a:moveTo>
                <a:lnTo>
                  <a:pt x="0" y="340252"/>
                </a:lnTo>
                <a:lnTo>
                  <a:pt x="167795" y="171291"/>
                </a:lnTo>
                <a:lnTo>
                  <a:pt x="0" y="0"/>
                </a:lnTo>
                <a:lnTo>
                  <a:pt x="146821" y="0"/>
                </a:lnTo>
                <a:lnTo>
                  <a:pt x="314617" y="166631"/>
                </a:lnTo>
                <a:close/>
              </a:path>
            </a:pathLst>
          </a:custGeom>
          <a:solidFill>
            <a:srgbClr val="EEF2F5"/>
          </a:solidFill>
          <a:ln w="11643" cap="flat">
            <a:noFill/>
            <a:prstDash val="solid"/>
            <a:miter/>
          </a:ln>
        </p:spPr>
        <p:txBody>
          <a:bodyPr rtlCol="0" anchor="ctr"/>
          <a:lstStyle/>
          <a:p>
            <a:endParaRPr lang="de-DE"/>
          </a:p>
        </p:txBody>
      </p:sp>
      <p:sp>
        <p:nvSpPr>
          <p:cNvPr id="120" name="Freihandform: Form 119">
            <a:extLst>
              <a:ext uri="{FF2B5EF4-FFF2-40B4-BE49-F238E27FC236}">
                <a16:creationId xmlns:a16="http://schemas.microsoft.com/office/drawing/2014/main" id="{9CAC8A30-61AB-4046-B8E4-22F4EC6F7681}"/>
              </a:ext>
            </a:extLst>
          </p:cNvPr>
          <p:cNvSpPr/>
          <p:nvPr/>
        </p:nvSpPr>
        <p:spPr>
          <a:xfrm>
            <a:off x="11147939" y="4068395"/>
            <a:ext cx="314616" cy="341417"/>
          </a:xfrm>
          <a:custGeom>
            <a:avLst/>
            <a:gdLst>
              <a:gd name="connsiteX0" fmla="*/ 143325 w 314616"/>
              <a:gd name="connsiteY0" fmla="*/ 341418 h 341417"/>
              <a:gd name="connsiteX1" fmla="*/ 0 w 314616"/>
              <a:gd name="connsiteY1" fmla="*/ 341418 h 341417"/>
              <a:gd name="connsiteX2" fmla="*/ 167795 w 314616"/>
              <a:gd name="connsiteY2" fmla="*/ 172457 h 341417"/>
              <a:gd name="connsiteX3" fmla="*/ 0 w 314616"/>
              <a:gd name="connsiteY3" fmla="*/ 0 h 341417"/>
              <a:gd name="connsiteX4" fmla="*/ 146821 w 314616"/>
              <a:gd name="connsiteY4" fmla="*/ 0 h 341417"/>
              <a:gd name="connsiteX5" fmla="*/ 314617 w 314616"/>
              <a:gd name="connsiteY5" fmla="*/ 167796 h 341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4616" h="341417">
                <a:moveTo>
                  <a:pt x="143325" y="341418"/>
                </a:moveTo>
                <a:lnTo>
                  <a:pt x="0" y="341418"/>
                </a:lnTo>
                <a:lnTo>
                  <a:pt x="167795" y="172457"/>
                </a:lnTo>
                <a:lnTo>
                  <a:pt x="0" y="0"/>
                </a:lnTo>
                <a:lnTo>
                  <a:pt x="146821" y="0"/>
                </a:lnTo>
                <a:lnTo>
                  <a:pt x="314617" y="167796"/>
                </a:lnTo>
                <a:close/>
              </a:path>
            </a:pathLst>
          </a:custGeom>
          <a:solidFill>
            <a:srgbClr val="EEF2F5"/>
          </a:solidFill>
          <a:ln w="11643" cap="flat">
            <a:noFill/>
            <a:prstDash val="solid"/>
            <a:miter/>
          </a:ln>
        </p:spPr>
        <p:txBody>
          <a:bodyPr rtlCol="0" anchor="ctr"/>
          <a:lstStyle/>
          <a:p>
            <a:endParaRPr lang="de-DE"/>
          </a:p>
        </p:txBody>
      </p:sp>
      <p:sp>
        <p:nvSpPr>
          <p:cNvPr id="136" name="Freihandform: Form 135">
            <a:extLst>
              <a:ext uri="{FF2B5EF4-FFF2-40B4-BE49-F238E27FC236}">
                <a16:creationId xmlns:a16="http://schemas.microsoft.com/office/drawing/2014/main" id="{514370C7-4CF6-451C-90DF-3B79CA5A0A59}"/>
              </a:ext>
            </a:extLst>
          </p:cNvPr>
          <p:cNvSpPr/>
          <p:nvPr/>
        </p:nvSpPr>
        <p:spPr>
          <a:xfrm>
            <a:off x="11147939" y="4423796"/>
            <a:ext cx="314616" cy="340252"/>
          </a:xfrm>
          <a:custGeom>
            <a:avLst/>
            <a:gdLst>
              <a:gd name="connsiteX0" fmla="*/ 143325 w 314616"/>
              <a:gd name="connsiteY0" fmla="*/ 340252 h 340252"/>
              <a:gd name="connsiteX1" fmla="*/ 0 w 314616"/>
              <a:gd name="connsiteY1" fmla="*/ 340252 h 340252"/>
              <a:gd name="connsiteX2" fmla="*/ 167795 w 314616"/>
              <a:gd name="connsiteY2" fmla="*/ 171291 h 340252"/>
              <a:gd name="connsiteX3" fmla="*/ 0 w 314616"/>
              <a:gd name="connsiteY3" fmla="*/ 0 h 340252"/>
              <a:gd name="connsiteX4" fmla="*/ 146821 w 314616"/>
              <a:gd name="connsiteY4" fmla="*/ 0 h 340252"/>
              <a:gd name="connsiteX5" fmla="*/ 314617 w 314616"/>
              <a:gd name="connsiteY5" fmla="*/ 167796 h 340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4616" h="340252">
                <a:moveTo>
                  <a:pt x="143325" y="340252"/>
                </a:moveTo>
                <a:lnTo>
                  <a:pt x="0" y="340252"/>
                </a:lnTo>
                <a:lnTo>
                  <a:pt x="167795" y="171291"/>
                </a:lnTo>
                <a:lnTo>
                  <a:pt x="0" y="0"/>
                </a:lnTo>
                <a:lnTo>
                  <a:pt x="146821" y="0"/>
                </a:lnTo>
                <a:lnTo>
                  <a:pt x="314617" y="167796"/>
                </a:lnTo>
                <a:close/>
              </a:path>
            </a:pathLst>
          </a:custGeom>
          <a:solidFill>
            <a:srgbClr val="EEF2F5"/>
          </a:solidFill>
          <a:ln w="11643" cap="flat">
            <a:noFill/>
            <a:prstDash val="solid"/>
            <a:miter/>
          </a:ln>
        </p:spPr>
        <p:txBody>
          <a:bodyPr rtlCol="0" anchor="ctr"/>
          <a:lstStyle/>
          <a:p>
            <a:endParaRPr lang="de-DE"/>
          </a:p>
        </p:txBody>
      </p:sp>
      <p:sp>
        <p:nvSpPr>
          <p:cNvPr id="153" name="Freihandform: Form 152">
            <a:extLst>
              <a:ext uri="{FF2B5EF4-FFF2-40B4-BE49-F238E27FC236}">
                <a16:creationId xmlns:a16="http://schemas.microsoft.com/office/drawing/2014/main" id="{6D62BA37-26ED-4588-AD4A-3F0CC1E972FD}"/>
              </a:ext>
            </a:extLst>
          </p:cNvPr>
          <p:cNvSpPr/>
          <p:nvPr/>
        </p:nvSpPr>
        <p:spPr>
          <a:xfrm>
            <a:off x="11147939" y="4778031"/>
            <a:ext cx="314616" cy="341417"/>
          </a:xfrm>
          <a:custGeom>
            <a:avLst/>
            <a:gdLst>
              <a:gd name="connsiteX0" fmla="*/ 143325 w 314616"/>
              <a:gd name="connsiteY0" fmla="*/ 341418 h 341417"/>
              <a:gd name="connsiteX1" fmla="*/ 0 w 314616"/>
              <a:gd name="connsiteY1" fmla="*/ 341418 h 341417"/>
              <a:gd name="connsiteX2" fmla="*/ 167795 w 314616"/>
              <a:gd name="connsiteY2" fmla="*/ 172457 h 341417"/>
              <a:gd name="connsiteX3" fmla="*/ 0 w 314616"/>
              <a:gd name="connsiteY3" fmla="*/ 0 h 341417"/>
              <a:gd name="connsiteX4" fmla="*/ 146821 w 314616"/>
              <a:gd name="connsiteY4" fmla="*/ 0 h 341417"/>
              <a:gd name="connsiteX5" fmla="*/ 314617 w 314616"/>
              <a:gd name="connsiteY5" fmla="*/ 167796 h 341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4616" h="341417">
                <a:moveTo>
                  <a:pt x="143325" y="341418"/>
                </a:moveTo>
                <a:lnTo>
                  <a:pt x="0" y="341418"/>
                </a:lnTo>
                <a:lnTo>
                  <a:pt x="167795" y="172457"/>
                </a:lnTo>
                <a:lnTo>
                  <a:pt x="0" y="0"/>
                </a:lnTo>
                <a:lnTo>
                  <a:pt x="146821" y="0"/>
                </a:lnTo>
                <a:lnTo>
                  <a:pt x="314617" y="167796"/>
                </a:lnTo>
                <a:close/>
              </a:path>
            </a:pathLst>
          </a:custGeom>
          <a:solidFill>
            <a:srgbClr val="EEF2F5"/>
          </a:solidFill>
          <a:ln w="11643" cap="flat">
            <a:noFill/>
            <a:prstDash val="solid"/>
            <a:miter/>
          </a:ln>
        </p:spPr>
        <p:txBody>
          <a:bodyPr rtlCol="0" anchor="ctr"/>
          <a:lstStyle/>
          <a:p>
            <a:endParaRPr lang="de-DE"/>
          </a:p>
        </p:txBody>
      </p:sp>
      <p:sp>
        <p:nvSpPr>
          <p:cNvPr id="170" name="Freihandform: Form 169">
            <a:extLst>
              <a:ext uri="{FF2B5EF4-FFF2-40B4-BE49-F238E27FC236}">
                <a16:creationId xmlns:a16="http://schemas.microsoft.com/office/drawing/2014/main" id="{6E70AB4A-6E36-4A08-8730-471DDB749A6F}"/>
              </a:ext>
            </a:extLst>
          </p:cNvPr>
          <p:cNvSpPr/>
          <p:nvPr/>
        </p:nvSpPr>
        <p:spPr>
          <a:xfrm>
            <a:off x="11147939" y="5133432"/>
            <a:ext cx="314616" cy="341417"/>
          </a:xfrm>
          <a:custGeom>
            <a:avLst/>
            <a:gdLst>
              <a:gd name="connsiteX0" fmla="*/ 143325 w 314616"/>
              <a:gd name="connsiteY0" fmla="*/ 341418 h 341417"/>
              <a:gd name="connsiteX1" fmla="*/ 0 w 314616"/>
              <a:gd name="connsiteY1" fmla="*/ 341418 h 341417"/>
              <a:gd name="connsiteX2" fmla="*/ 167795 w 314616"/>
              <a:gd name="connsiteY2" fmla="*/ 171292 h 341417"/>
              <a:gd name="connsiteX3" fmla="*/ 0 w 314616"/>
              <a:gd name="connsiteY3" fmla="*/ 0 h 341417"/>
              <a:gd name="connsiteX4" fmla="*/ 146821 w 314616"/>
              <a:gd name="connsiteY4" fmla="*/ 0 h 341417"/>
              <a:gd name="connsiteX5" fmla="*/ 314617 w 314616"/>
              <a:gd name="connsiteY5" fmla="*/ 167796 h 341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4616" h="341417">
                <a:moveTo>
                  <a:pt x="143325" y="341418"/>
                </a:moveTo>
                <a:lnTo>
                  <a:pt x="0" y="341418"/>
                </a:lnTo>
                <a:lnTo>
                  <a:pt x="167795" y="171292"/>
                </a:lnTo>
                <a:lnTo>
                  <a:pt x="0" y="0"/>
                </a:lnTo>
                <a:lnTo>
                  <a:pt x="146821" y="0"/>
                </a:lnTo>
                <a:lnTo>
                  <a:pt x="314617" y="167796"/>
                </a:lnTo>
                <a:close/>
              </a:path>
            </a:pathLst>
          </a:custGeom>
          <a:solidFill>
            <a:srgbClr val="EEF2F5"/>
          </a:solidFill>
          <a:ln w="11643" cap="flat">
            <a:noFill/>
            <a:prstDash val="solid"/>
            <a:miter/>
          </a:ln>
        </p:spPr>
        <p:txBody>
          <a:bodyPr rtlCol="0" anchor="ctr"/>
          <a:lstStyle/>
          <a:p>
            <a:endParaRPr lang="de-DE"/>
          </a:p>
        </p:txBody>
      </p:sp>
      <p:sp>
        <p:nvSpPr>
          <p:cNvPr id="71" name="Freihandform: Form 70">
            <a:extLst>
              <a:ext uri="{FF2B5EF4-FFF2-40B4-BE49-F238E27FC236}">
                <a16:creationId xmlns:a16="http://schemas.microsoft.com/office/drawing/2014/main" id="{EC37F69B-71A5-4B22-89E2-2B86538897C6}"/>
              </a:ext>
            </a:extLst>
          </p:cNvPr>
          <p:cNvSpPr/>
          <p:nvPr/>
        </p:nvSpPr>
        <p:spPr>
          <a:xfrm>
            <a:off x="10801860" y="3012680"/>
            <a:ext cx="297138" cy="323938"/>
          </a:xfrm>
          <a:custGeom>
            <a:avLst/>
            <a:gdLst>
              <a:gd name="connsiteX0" fmla="*/ 135168 w 297138"/>
              <a:gd name="connsiteY0" fmla="*/ 323939 h 323938"/>
              <a:gd name="connsiteX1" fmla="*/ 0 w 297138"/>
              <a:gd name="connsiteY1" fmla="*/ 323939 h 323938"/>
              <a:gd name="connsiteX2" fmla="*/ 158473 w 297138"/>
              <a:gd name="connsiteY2" fmla="*/ 163135 h 323938"/>
              <a:gd name="connsiteX3" fmla="*/ 0 w 297138"/>
              <a:gd name="connsiteY3" fmla="*/ 0 h 323938"/>
              <a:gd name="connsiteX4" fmla="*/ 138664 w 297138"/>
              <a:gd name="connsiteY4" fmla="*/ 0 h 323938"/>
              <a:gd name="connsiteX5" fmla="*/ 297138 w 297138"/>
              <a:gd name="connsiteY5" fmla="*/ 159639 h 323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3938">
                <a:moveTo>
                  <a:pt x="135168" y="323939"/>
                </a:moveTo>
                <a:lnTo>
                  <a:pt x="0" y="323939"/>
                </a:lnTo>
                <a:lnTo>
                  <a:pt x="158473" y="163135"/>
                </a:lnTo>
                <a:lnTo>
                  <a:pt x="0" y="0"/>
                </a:lnTo>
                <a:lnTo>
                  <a:pt x="138664" y="0"/>
                </a:lnTo>
                <a:lnTo>
                  <a:pt x="297138" y="159639"/>
                </a:lnTo>
                <a:close/>
              </a:path>
            </a:pathLst>
          </a:custGeom>
          <a:solidFill>
            <a:srgbClr val="EEF2F5"/>
          </a:solidFill>
          <a:ln w="11643" cap="flat">
            <a:noFill/>
            <a:prstDash val="solid"/>
            <a:miter/>
          </a:ln>
        </p:spPr>
        <p:txBody>
          <a:bodyPr rtlCol="0" anchor="ctr"/>
          <a:lstStyle/>
          <a:p>
            <a:endParaRPr lang="de-DE"/>
          </a:p>
        </p:txBody>
      </p:sp>
      <p:sp>
        <p:nvSpPr>
          <p:cNvPr id="87" name="Freihandform: Form 86">
            <a:extLst>
              <a:ext uri="{FF2B5EF4-FFF2-40B4-BE49-F238E27FC236}">
                <a16:creationId xmlns:a16="http://schemas.microsoft.com/office/drawing/2014/main" id="{6027B9E1-4632-4B82-9FA3-1E60661DE0B8}"/>
              </a:ext>
            </a:extLst>
          </p:cNvPr>
          <p:cNvSpPr/>
          <p:nvPr/>
        </p:nvSpPr>
        <p:spPr>
          <a:xfrm>
            <a:off x="10801860" y="3368081"/>
            <a:ext cx="297138" cy="322773"/>
          </a:xfrm>
          <a:custGeom>
            <a:avLst/>
            <a:gdLst>
              <a:gd name="connsiteX0" fmla="*/ 135168 w 297138"/>
              <a:gd name="connsiteY0" fmla="*/ 322774 h 322773"/>
              <a:gd name="connsiteX1" fmla="*/ 0 w 297138"/>
              <a:gd name="connsiteY1" fmla="*/ 322774 h 322773"/>
              <a:gd name="connsiteX2" fmla="*/ 158473 w 297138"/>
              <a:gd name="connsiteY2" fmla="*/ 163135 h 322773"/>
              <a:gd name="connsiteX3" fmla="*/ 0 w 297138"/>
              <a:gd name="connsiteY3" fmla="*/ 0 h 322773"/>
              <a:gd name="connsiteX4" fmla="*/ 138664 w 297138"/>
              <a:gd name="connsiteY4" fmla="*/ 0 h 322773"/>
              <a:gd name="connsiteX5" fmla="*/ 297138 w 297138"/>
              <a:gd name="connsiteY5" fmla="*/ 158474 h 322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2773">
                <a:moveTo>
                  <a:pt x="135168" y="322774"/>
                </a:moveTo>
                <a:lnTo>
                  <a:pt x="0" y="322774"/>
                </a:lnTo>
                <a:lnTo>
                  <a:pt x="158473" y="163135"/>
                </a:lnTo>
                <a:lnTo>
                  <a:pt x="0" y="0"/>
                </a:lnTo>
                <a:lnTo>
                  <a:pt x="138664" y="0"/>
                </a:lnTo>
                <a:lnTo>
                  <a:pt x="297138" y="158474"/>
                </a:lnTo>
                <a:close/>
              </a:path>
            </a:pathLst>
          </a:custGeom>
          <a:solidFill>
            <a:srgbClr val="EEF2F5"/>
          </a:solidFill>
          <a:ln w="11643" cap="flat">
            <a:noFill/>
            <a:prstDash val="solid"/>
            <a:miter/>
          </a:ln>
        </p:spPr>
        <p:txBody>
          <a:bodyPr rtlCol="0" anchor="ctr"/>
          <a:lstStyle/>
          <a:p>
            <a:endParaRPr lang="de-DE"/>
          </a:p>
        </p:txBody>
      </p:sp>
      <p:sp>
        <p:nvSpPr>
          <p:cNvPr id="103" name="Freihandform: Form 102">
            <a:extLst>
              <a:ext uri="{FF2B5EF4-FFF2-40B4-BE49-F238E27FC236}">
                <a16:creationId xmlns:a16="http://schemas.microsoft.com/office/drawing/2014/main" id="{A133033E-1247-4F36-9A54-C51B13CBD1CE}"/>
              </a:ext>
            </a:extLst>
          </p:cNvPr>
          <p:cNvSpPr/>
          <p:nvPr/>
        </p:nvSpPr>
        <p:spPr>
          <a:xfrm>
            <a:off x="10801860" y="3722316"/>
            <a:ext cx="297138" cy="323938"/>
          </a:xfrm>
          <a:custGeom>
            <a:avLst/>
            <a:gdLst>
              <a:gd name="connsiteX0" fmla="*/ 135168 w 297138"/>
              <a:gd name="connsiteY0" fmla="*/ 323939 h 323938"/>
              <a:gd name="connsiteX1" fmla="*/ 0 w 297138"/>
              <a:gd name="connsiteY1" fmla="*/ 323939 h 323938"/>
              <a:gd name="connsiteX2" fmla="*/ 158473 w 297138"/>
              <a:gd name="connsiteY2" fmla="*/ 163135 h 323938"/>
              <a:gd name="connsiteX3" fmla="*/ 0 w 297138"/>
              <a:gd name="connsiteY3" fmla="*/ 0 h 323938"/>
              <a:gd name="connsiteX4" fmla="*/ 138664 w 297138"/>
              <a:gd name="connsiteY4" fmla="*/ 0 h 323938"/>
              <a:gd name="connsiteX5" fmla="*/ 297138 w 297138"/>
              <a:gd name="connsiteY5" fmla="*/ 159639 h 323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3938">
                <a:moveTo>
                  <a:pt x="135168" y="323939"/>
                </a:moveTo>
                <a:lnTo>
                  <a:pt x="0" y="323939"/>
                </a:lnTo>
                <a:lnTo>
                  <a:pt x="158473" y="163135"/>
                </a:lnTo>
                <a:lnTo>
                  <a:pt x="0" y="0"/>
                </a:lnTo>
                <a:lnTo>
                  <a:pt x="138664" y="0"/>
                </a:lnTo>
                <a:lnTo>
                  <a:pt x="297138" y="159639"/>
                </a:lnTo>
                <a:close/>
              </a:path>
            </a:pathLst>
          </a:custGeom>
          <a:solidFill>
            <a:srgbClr val="EEF2F5"/>
          </a:solidFill>
          <a:ln w="11643" cap="flat">
            <a:noFill/>
            <a:prstDash val="solid"/>
            <a:miter/>
          </a:ln>
        </p:spPr>
        <p:txBody>
          <a:bodyPr rtlCol="0" anchor="ctr"/>
          <a:lstStyle/>
          <a:p>
            <a:endParaRPr lang="de-DE"/>
          </a:p>
        </p:txBody>
      </p:sp>
      <p:sp>
        <p:nvSpPr>
          <p:cNvPr id="119" name="Freihandform: Form 118">
            <a:extLst>
              <a:ext uri="{FF2B5EF4-FFF2-40B4-BE49-F238E27FC236}">
                <a16:creationId xmlns:a16="http://schemas.microsoft.com/office/drawing/2014/main" id="{48E055C3-701A-4F5A-8DFA-C4FA735748CE}"/>
              </a:ext>
            </a:extLst>
          </p:cNvPr>
          <p:cNvSpPr/>
          <p:nvPr/>
        </p:nvSpPr>
        <p:spPr>
          <a:xfrm>
            <a:off x="10801860" y="4077717"/>
            <a:ext cx="297138" cy="322773"/>
          </a:xfrm>
          <a:custGeom>
            <a:avLst/>
            <a:gdLst>
              <a:gd name="connsiteX0" fmla="*/ 135168 w 297138"/>
              <a:gd name="connsiteY0" fmla="*/ 322774 h 322773"/>
              <a:gd name="connsiteX1" fmla="*/ 0 w 297138"/>
              <a:gd name="connsiteY1" fmla="*/ 322774 h 322773"/>
              <a:gd name="connsiteX2" fmla="*/ 158473 w 297138"/>
              <a:gd name="connsiteY2" fmla="*/ 163135 h 322773"/>
              <a:gd name="connsiteX3" fmla="*/ 0 w 297138"/>
              <a:gd name="connsiteY3" fmla="*/ 0 h 322773"/>
              <a:gd name="connsiteX4" fmla="*/ 138664 w 297138"/>
              <a:gd name="connsiteY4" fmla="*/ 0 h 322773"/>
              <a:gd name="connsiteX5" fmla="*/ 297138 w 297138"/>
              <a:gd name="connsiteY5" fmla="*/ 158474 h 322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2773">
                <a:moveTo>
                  <a:pt x="135168" y="322774"/>
                </a:moveTo>
                <a:lnTo>
                  <a:pt x="0" y="322774"/>
                </a:lnTo>
                <a:lnTo>
                  <a:pt x="158473" y="163135"/>
                </a:lnTo>
                <a:lnTo>
                  <a:pt x="0" y="0"/>
                </a:lnTo>
                <a:lnTo>
                  <a:pt x="138664" y="0"/>
                </a:lnTo>
                <a:lnTo>
                  <a:pt x="297138" y="158474"/>
                </a:lnTo>
                <a:close/>
              </a:path>
            </a:pathLst>
          </a:custGeom>
          <a:solidFill>
            <a:srgbClr val="EEF2F5"/>
          </a:solidFill>
          <a:ln w="11643" cap="flat">
            <a:noFill/>
            <a:prstDash val="solid"/>
            <a:miter/>
          </a:ln>
        </p:spPr>
        <p:txBody>
          <a:bodyPr rtlCol="0" anchor="ctr"/>
          <a:lstStyle/>
          <a:p>
            <a:endParaRPr lang="de-DE"/>
          </a:p>
        </p:txBody>
      </p:sp>
      <p:sp>
        <p:nvSpPr>
          <p:cNvPr id="135" name="Freihandform: Form 134">
            <a:extLst>
              <a:ext uri="{FF2B5EF4-FFF2-40B4-BE49-F238E27FC236}">
                <a16:creationId xmlns:a16="http://schemas.microsoft.com/office/drawing/2014/main" id="{BCADBC01-33BC-4B7C-9DB7-FA73F490E349}"/>
              </a:ext>
            </a:extLst>
          </p:cNvPr>
          <p:cNvSpPr/>
          <p:nvPr/>
        </p:nvSpPr>
        <p:spPr>
          <a:xfrm>
            <a:off x="10801860" y="4431952"/>
            <a:ext cx="297138" cy="323938"/>
          </a:xfrm>
          <a:custGeom>
            <a:avLst/>
            <a:gdLst>
              <a:gd name="connsiteX0" fmla="*/ 135168 w 297138"/>
              <a:gd name="connsiteY0" fmla="*/ 323939 h 323938"/>
              <a:gd name="connsiteX1" fmla="*/ 0 w 297138"/>
              <a:gd name="connsiteY1" fmla="*/ 323939 h 323938"/>
              <a:gd name="connsiteX2" fmla="*/ 158473 w 297138"/>
              <a:gd name="connsiteY2" fmla="*/ 163135 h 323938"/>
              <a:gd name="connsiteX3" fmla="*/ 0 w 297138"/>
              <a:gd name="connsiteY3" fmla="*/ 0 h 323938"/>
              <a:gd name="connsiteX4" fmla="*/ 138664 w 297138"/>
              <a:gd name="connsiteY4" fmla="*/ 0 h 323938"/>
              <a:gd name="connsiteX5" fmla="*/ 297138 w 297138"/>
              <a:gd name="connsiteY5" fmla="*/ 159639 h 323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3938">
                <a:moveTo>
                  <a:pt x="135168" y="323939"/>
                </a:moveTo>
                <a:lnTo>
                  <a:pt x="0" y="323939"/>
                </a:lnTo>
                <a:lnTo>
                  <a:pt x="158473" y="163135"/>
                </a:lnTo>
                <a:lnTo>
                  <a:pt x="0" y="0"/>
                </a:lnTo>
                <a:lnTo>
                  <a:pt x="138664" y="0"/>
                </a:lnTo>
                <a:lnTo>
                  <a:pt x="297138" y="159639"/>
                </a:lnTo>
                <a:close/>
              </a:path>
            </a:pathLst>
          </a:custGeom>
          <a:solidFill>
            <a:srgbClr val="EEF2F5"/>
          </a:solidFill>
          <a:ln w="11643" cap="flat">
            <a:noFill/>
            <a:prstDash val="solid"/>
            <a:miter/>
          </a:ln>
        </p:spPr>
        <p:txBody>
          <a:bodyPr rtlCol="0" anchor="ctr"/>
          <a:lstStyle/>
          <a:p>
            <a:endParaRPr lang="de-DE"/>
          </a:p>
        </p:txBody>
      </p:sp>
      <p:sp>
        <p:nvSpPr>
          <p:cNvPr id="152" name="Freihandform: Form 151">
            <a:extLst>
              <a:ext uri="{FF2B5EF4-FFF2-40B4-BE49-F238E27FC236}">
                <a16:creationId xmlns:a16="http://schemas.microsoft.com/office/drawing/2014/main" id="{5F12261A-EADD-41CA-AC37-DF4EAA94F5DA}"/>
              </a:ext>
            </a:extLst>
          </p:cNvPr>
          <p:cNvSpPr/>
          <p:nvPr/>
        </p:nvSpPr>
        <p:spPr>
          <a:xfrm>
            <a:off x="10801860" y="4787353"/>
            <a:ext cx="297138" cy="322773"/>
          </a:xfrm>
          <a:custGeom>
            <a:avLst/>
            <a:gdLst>
              <a:gd name="connsiteX0" fmla="*/ 135168 w 297138"/>
              <a:gd name="connsiteY0" fmla="*/ 322774 h 322773"/>
              <a:gd name="connsiteX1" fmla="*/ 0 w 297138"/>
              <a:gd name="connsiteY1" fmla="*/ 322774 h 322773"/>
              <a:gd name="connsiteX2" fmla="*/ 158473 w 297138"/>
              <a:gd name="connsiteY2" fmla="*/ 163135 h 322773"/>
              <a:gd name="connsiteX3" fmla="*/ 0 w 297138"/>
              <a:gd name="connsiteY3" fmla="*/ 0 h 322773"/>
              <a:gd name="connsiteX4" fmla="*/ 138664 w 297138"/>
              <a:gd name="connsiteY4" fmla="*/ 0 h 322773"/>
              <a:gd name="connsiteX5" fmla="*/ 297138 w 297138"/>
              <a:gd name="connsiteY5" fmla="*/ 158474 h 322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2773">
                <a:moveTo>
                  <a:pt x="135168" y="322774"/>
                </a:moveTo>
                <a:lnTo>
                  <a:pt x="0" y="322774"/>
                </a:lnTo>
                <a:lnTo>
                  <a:pt x="158473" y="163135"/>
                </a:lnTo>
                <a:lnTo>
                  <a:pt x="0" y="0"/>
                </a:lnTo>
                <a:lnTo>
                  <a:pt x="138664" y="0"/>
                </a:lnTo>
                <a:lnTo>
                  <a:pt x="297138" y="158474"/>
                </a:lnTo>
                <a:close/>
              </a:path>
            </a:pathLst>
          </a:custGeom>
          <a:solidFill>
            <a:srgbClr val="EEF2F5"/>
          </a:solidFill>
          <a:ln w="11643" cap="flat">
            <a:noFill/>
            <a:prstDash val="solid"/>
            <a:miter/>
          </a:ln>
        </p:spPr>
        <p:txBody>
          <a:bodyPr rtlCol="0" anchor="ctr"/>
          <a:lstStyle/>
          <a:p>
            <a:endParaRPr lang="de-DE"/>
          </a:p>
        </p:txBody>
      </p:sp>
      <p:sp>
        <p:nvSpPr>
          <p:cNvPr id="169" name="Freihandform: Form 168">
            <a:extLst>
              <a:ext uri="{FF2B5EF4-FFF2-40B4-BE49-F238E27FC236}">
                <a16:creationId xmlns:a16="http://schemas.microsoft.com/office/drawing/2014/main" id="{2684278A-133A-44B1-BD42-3154900841C6}"/>
              </a:ext>
            </a:extLst>
          </p:cNvPr>
          <p:cNvSpPr/>
          <p:nvPr/>
        </p:nvSpPr>
        <p:spPr>
          <a:xfrm>
            <a:off x="10801860" y="5141588"/>
            <a:ext cx="297138" cy="323938"/>
          </a:xfrm>
          <a:custGeom>
            <a:avLst/>
            <a:gdLst>
              <a:gd name="connsiteX0" fmla="*/ 135168 w 297138"/>
              <a:gd name="connsiteY0" fmla="*/ 323939 h 323938"/>
              <a:gd name="connsiteX1" fmla="*/ 0 w 297138"/>
              <a:gd name="connsiteY1" fmla="*/ 323939 h 323938"/>
              <a:gd name="connsiteX2" fmla="*/ 158473 w 297138"/>
              <a:gd name="connsiteY2" fmla="*/ 163135 h 323938"/>
              <a:gd name="connsiteX3" fmla="*/ 0 w 297138"/>
              <a:gd name="connsiteY3" fmla="*/ 0 h 323938"/>
              <a:gd name="connsiteX4" fmla="*/ 138664 w 297138"/>
              <a:gd name="connsiteY4" fmla="*/ 0 h 323938"/>
              <a:gd name="connsiteX5" fmla="*/ 297138 w 297138"/>
              <a:gd name="connsiteY5" fmla="*/ 159639 h 323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3938">
                <a:moveTo>
                  <a:pt x="135168" y="323939"/>
                </a:moveTo>
                <a:lnTo>
                  <a:pt x="0" y="323939"/>
                </a:lnTo>
                <a:lnTo>
                  <a:pt x="158473" y="163135"/>
                </a:lnTo>
                <a:lnTo>
                  <a:pt x="0" y="0"/>
                </a:lnTo>
                <a:lnTo>
                  <a:pt x="138664" y="0"/>
                </a:lnTo>
                <a:lnTo>
                  <a:pt x="297138" y="159639"/>
                </a:lnTo>
                <a:close/>
              </a:path>
            </a:pathLst>
          </a:custGeom>
          <a:solidFill>
            <a:srgbClr val="EEF2F5"/>
          </a:solidFill>
          <a:ln w="11643" cap="flat">
            <a:noFill/>
            <a:prstDash val="solid"/>
            <a:miter/>
          </a:ln>
        </p:spPr>
        <p:txBody>
          <a:bodyPr rtlCol="0" anchor="ctr"/>
          <a:lstStyle/>
          <a:p>
            <a:endParaRPr lang="de-DE"/>
          </a:p>
        </p:txBody>
      </p:sp>
      <p:sp>
        <p:nvSpPr>
          <p:cNvPr id="186" name="Freihandform: Form 185">
            <a:extLst>
              <a:ext uri="{FF2B5EF4-FFF2-40B4-BE49-F238E27FC236}">
                <a16:creationId xmlns:a16="http://schemas.microsoft.com/office/drawing/2014/main" id="{51341657-6CDA-48E4-A038-7E086040DA70}"/>
              </a:ext>
            </a:extLst>
          </p:cNvPr>
          <p:cNvSpPr/>
          <p:nvPr/>
        </p:nvSpPr>
        <p:spPr>
          <a:xfrm>
            <a:off x="10801860" y="5496989"/>
            <a:ext cx="297138" cy="322773"/>
          </a:xfrm>
          <a:custGeom>
            <a:avLst/>
            <a:gdLst>
              <a:gd name="connsiteX0" fmla="*/ 135168 w 297138"/>
              <a:gd name="connsiteY0" fmla="*/ 322773 h 322773"/>
              <a:gd name="connsiteX1" fmla="*/ 0 w 297138"/>
              <a:gd name="connsiteY1" fmla="*/ 322773 h 322773"/>
              <a:gd name="connsiteX2" fmla="*/ 158473 w 297138"/>
              <a:gd name="connsiteY2" fmla="*/ 163135 h 322773"/>
              <a:gd name="connsiteX3" fmla="*/ 0 w 297138"/>
              <a:gd name="connsiteY3" fmla="*/ 0 h 322773"/>
              <a:gd name="connsiteX4" fmla="*/ 138664 w 297138"/>
              <a:gd name="connsiteY4" fmla="*/ 0 h 322773"/>
              <a:gd name="connsiteX5" fmla="*/ 297138 w 297138"/>
              <a:gd name="connsiteY5" fmla="*/ 158473 h 322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2773">
                <a:moveTo>
                  <a:pt x="135168" y="322773"/>
                </a:moveTo>
                <a:lnTo>
                  <a:pt x="0" y="322773"/>
                </a:lnTo>
                <a:lnTo>
                  <a:pt x="158473" y="163135"/>
                </a:lnTo>
                <a:lnTo>
                  <a:pt x="0" y="0"/>
                </a:lnTo>
                <a:lnTo>
                  <a:pt x="138664" y="0"/>
                </a:lnTo>
                <a:lnTo>
                  <a:pt x="297138" y="158473"/>
                </a:lnTo>
                <a:close/>
              </a:path>
            </a:pathLst>
          </a:custGeom>
          <a:solidFill>
            <a:srgbClr val="EEF2F5"/>
          </a:solidFill>
          <a:ln w="11643" cap="flat">
            <a:noFill/>
            <a:prstDash val="solid"/>
            <a:miter/>
          </a:ln>
        </p:spPr>
        <p:txBody>
          <a:bodyPr rtlCol="0" anchor="ctr"/>
          <a:lstStyle/>
          <a:p>
            <a:endParaRPr lang="de-DE"/>
          </a:p>
        </p:txBody>
      </p:sp>
      <p:sp>
        <p:nvSpPr>
          <p:cNvPr id="54" name="Freihandform: Form 53">
            <a:extLst>
              <a:ext uri="{FF2B5EF4-FFF2-40B4-BE49-F238E27FC236}">
                <a16:creationId xmlns:a16="http://schemas.microsoft.com/office/drawing/2014/main" id="{7C58B8B7-C0D0-45C0-A524-368D9D8EC1A1}"/>
              </a:ext>
            </a:extLst>
          </p:cNvPr>
          <p:cNvSpPr/>
          <p:nvPr/>
        </p:nvSpPr>
        <p:spPr>
          <a:xfrm>
            <a:off x="10454616" y="2667767"/>
            <a:ext cx="280824" cy="304129"/>
          </a:xfrm>
          <a:custGeom>
            <a:avLst/>
            <a:gdLst>
              <a:gd name="connsiteX0" fmla="*/ 129343 w 280824"/>
              <a:gd name="connsiteY0" fmla="*/ 304130 h 304129"/>
              <a:gd name="connsiteX1" fmla="*/ 0 w 280824"/>
              <a:gd name="connsiteY1" fmla="*/ 304130 h 304129"/>
              <a:gd name="connsiteX2" fmla="*/ 150317 w 280824"/>
              <a:gd name="connsiteY2" fmla="*/ 153813 h 304129"/>
              <a:gd name="connsiteX3" fmla="*/ 0 w 280824"/>
              <a:gd name="connsiteY3" fmla="*/ 0 h 304129"/>
              <a:gd name="connsiteX4" fmla="*/ 131673 w 280824"/>
              <a:gd name="connsiteY4" fmla="*/ 0 h 304129"/>
              <a:gd name="connsiteX5" fmla="*/ 280825 w 280824"/>
              <a:gd name="connsiteY5" fmla="*/ 149152 h 304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4129">
                <a:moveTo>
                  <a:pt x="129343" y="304130"/>
                </a:moveTo>
                <a:lnTo>
                  <a:pt x="0" y="304130"/>
                </a:lnTo>
                <a:lnTo>
                  <a:pt x="150317" y="153813"/>
                </a:lnTo>
                <a:lnTo>
                  <a:pt x="0" y="0"/>
                </a:lnTo>
                <a:lnTo>
                  <a:pt x="131673" y="0"/>
                </a:lnTo>
                <a:lnTo>
                  <a:pt x="280825" y="149152"/>
                </a:lnTo>
                <a:close/>
              </a:path>
            </a:pathLst>
          </a:custGeom>
          <a:solidFill>
            <a:srgbClr val="EEF2F5"/>
          </a:solidFill>
          <a:ln w="11643" cap="flat">
            <a:noFill/>
            <a:prstDash val="solid"/>
            <a:miter/>
          </a:ln>
        </p:spPr>
        <p:txBody>
          <a:bodyPr rtlCol="0" anchor="ctr"/>
          <a:lstStyle/>
          <a:p>
            <a:endParaRPr lang="de-DE"/>
          </a:p>
        </p:txBody>
      </p:sp>
      <p:sp>
        <p:nvSpPr>
          <p:cNvPr id="70" name="Freihandform: Form 69">
            <a:extLst>
              <a:ext uri="{FF2B5EF4-FFF2-40B4-BE49-F238E27FC236}">
                <a16:creationId xmlns:a16="http://schemas.microsoft.com/office/drawing/2014/main" id="{B108D00B-F584-45AE-88D7-637B206C908C}"/>
              </a:ext>
            </a:extLst>
          </p:cNvPr>
          <p:cNvSpPr/>
          <p:nvPr/>
        </p:nvSpPr>
        <p:spPr>
          <a:xfrm>
            <a:off x="10454616" y="3022002"/>
            <a:ext cx="280824" cy="305294"/>
          </a:xfrm>
          <a:custGeom>
            <a:avLst/>
            <a:gdLst>
              <a:gd name="connsiteX0" fmla="*/ 129343 w 280824"/>
              <a:gd name="connsiteY0" fmla="*/ 305295 h 305294"/>
              <a:gd name="connsiteX1" fmla="*/ 0 w 280824"/>
              <a:gd name="connsiteY1" fmla="*/ 305295 h 305294"/>
              <a:gd name="connsiteX2" fmla="*/ 150317 w 280824"/>
              <a:gd name="connsiteY2" fmla="*/ 153813 h 305294"/>
              <a:gd name="connsiteX3" fmla="*/ 0 w 280824"/>
              <a:gd name="connsiteY3" fmla="*/ 0 h 305294"/>
              <a:gd name="connsiteX4" fmla="*/ 131673 w 280824"/>
              <a:gd name="connsiteY4" fmla="*/ 0 h 305294"/>
              <a:gd name="connsiteX5" fmla="*/ 280825 w 280824"/>
              <a:gd name="connsiteY5" fmla="*/ 150317 h 305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5294">
                <a:moveTo>
                  <a:pt x="129343" y="305295"/>
                </a:moveTo>
                <a:lnTo>
                  <a:pt x="0" y="305295"/>
                </a:lnTo>
                <a:lnTo>
                  <a:pt x="150317" y="153813"/>
                </a:lnTo>
                <a:lnTo>
                  <a:pt x="0" y="0"/>
                </a:lnTo>
                <a:lnTo>
                  <a:pt x="131673" y="0"/>
                </a:lnTo>
                <a:lnTo>
                  <a:pt x="280825" y="150317"/>
                </a:lnTo>
                <a:close/>
              </a:path>
            </a:pathLst>
          </a:custGeom>
          <a:solidFill>
            <a:srgbClr val="EEF2F5"/>
          </a:solidFill>
          <a:ln w="11643" cap="flat">
            <a:noFill/>
            <a:prstDash val="solid"/>
            <a:miter/>
          </a:ln>
        </p:spPr>
        <p:txBody>
          <a:bodyPr rtlCol="0" anchor="ctr"/>
          <a:lstStyle/>
          <a:p>
            <a:endParaRPr lang="de-DE"/>
          </a:p>
        </p:txBody>
      </p:sp>
      <p:sp>
        <p:nvSpPr>
          <p:cNvPr id="86" name="Freihandform: Form 85">
            <a:extLst>
              <a:ext uri="{FF2B5EF4-FFF2-40B4-BE49-F238E27FC236}">
                <a16:creationId xmlns:a16="http://schemas.microsoft.com/office/drawing/2014/main" id="{63D6ECD9-E964-4D15-AC74-F1865C75FC49}"/>
              </a:ext>
            </a:extLst>
          </p:cNvPr>
          <p:cNvSpPr/>
          <p:nvPr/>
        </p:nvSpPr>
        <p:spPr>
          <a:xfrm>
            <a:off x="10454616" y="3377403"/>
            <a:ext cx="280824" cy="304129"/>
          </a:xfrm>
          <a:custGeom>
            <a:avLst/>
            <a:gdLst>
              <a:gd name="connsiteX0" fmla="*/ 129343 w 280824"/>
              <a:gd name="connsiteY0" fmla="*/ 304130 h 304129"/>
              <a:gd name="connsiteX1" fmla="*/ 0 w 280824"/>
              <a:gd name="connsiteY1" fmla="*/ 304130 h 304129"/>
              <a:gd name="connsiteX2" fmla="*/ 150317 w 280824"/>
              <a:gd name="connsiteY2" fmla="*/ 153813 h 304129"/>
              <a:gd name="connsiteX3" fmla="*/ 0 w 280824"/>
              <a:gd name="connsiteY3" fmla="*/ 0 h 304129"/>
              <a:gd name="connsiteX4" fmla="*/ 131673 w 280824"/>
              <a:gd name="connsiteY4" fmla="*/ 0 h 304129"/>
              <a:gd name="connsiteX5" fmla="*/ 280825 w 280824"/>
              <a:gd name="connsiteY5" fmla="*/ 149152 h 304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4129">
                <a:moveTo>
                  <a:pt x="129343" y="304130"/>
                </a:moveTo>
                <a:lnTo>
                  <a:pt x="0" y="304130"/>
                </a:lnTo>
                <a:lnTo>
                  <a:pt x="150317" y="153813"/>
                </a:lnTo>
                <a:lnTo>
                  <a:pt x="0" y="0"/>
                </a:lnTo>
                <a:lnTo>
                  <a:pt x="131673" y="0"/>
                </a:lnTo>
                <a:lnTo>
                  <a:pt x="280825" y="149152"/>
                </a:lnTo>
                <a:close/>
              </a:path>
            </a:pathLst>
          </a:custGeom>
          <a:solidFill>
            <a:srgbClr val="EEF2F5"/>
          </a:solidFill>
          <a:ln w="11643" cap="flat">
            <a:noFill/>
            <a:prstDash val="solid"/>
            <a:miter/>
          </a:ln>
        </p:spPr>
        <p:txBody>
          <a:bodyPr rtlCol="0" anchor="ctr"/>
          <a:lstStyle/>
          <a:p>
            <a:endParaRPr lang="de-DE"/>
          </a:p>
        </p:txBody>
      </p:sp>
      <p:sp>
        <p:nvSpPr>
          <p:cNvPr id="102" name="Freihandform: Form 101">
            <a:extLst>
              <a:ext uri="{FF2B5EF4-FFF2-40B4-BE49-F238E27FC236}">
                <a16:creationId xmlns:a16="http://schemas.microsoft.com/office/drawing/2014/main" id="{1A517635-BE85-4E6F-8720-FFD3AE9C8A9E}"/>
              </a:ext>
            </a:extLst>
          </p:cNvPr>
          <p:cNvSpPr/>
          <p:nvPr/>
        </p:nvSpPr>
        <p:spPr>
          <a:xfrm>
            <a:off x="10454616" y="3731638"/>
            <a:ext cx="280824" cy="305294"/>
          </a:xfrm>
          <a:custGeom>
            <a:avLst/>
            <a:gdLst>
              <a:gd name="connsiteX0" fmla="*/ 129343 w 280824"/>
              <a:gd name="connsiteY0" fmla="*/ 305295 h 305294"/>
              <a:gd name="connsiteX1" fmla="*/ 0 w 280824"/>
              <a:gd name="connsiteY1" fmla="*/ 305295 h 305294"/>
              <a:gd name="connsiteX2" fmla="*/ 150317 w 280824"/>
              <a:gd name="connsiteY2" fmla="*/ 153813 h 305294"/>
              <a:gd name="connsiteX3" fmla="*/ 0 w 280824"/>
              <a:gd name="connsiteY3" fmla="*/ 0 h 305294"/>
              <a:gd name="connsiteX4" fmla="*/ 131673 w 280824"/>
              <a:gd name="connsiteY4" fmla="*/ 0 h 305294"/>
              <a:gd name="connsiteX5" fmla="*/ 280825 w 280824"/>
              <a:gd name="connsiteY5" fmla="*/ 150317 h 305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5294">
                <a:moveTo>
                  <a:pt x="129343" y="305295"/>
                </a:moveTo>
                <a:lnTo>
                  <a:pt x="0" y="305295"/>
                </a:lnTo>
                <a:lnTo>
                  <a:pt x="150317" y="153813"/>
                </a:lnTo>
                <a:lnTo>
                  <a:pt x="0" y="0"/>
                </a:lnTo>
                <a:lnTo>
                  <a:pt x="131673" y="0"/>
                </a:lnTo>
                <a:lnTo>
                  <a:pt x="280825" y="150317"/>
                </a:lnTo>
                <a:close/>
              </a:path>
            </a:pathLst>
          </a:custGeom>
          <a:solidFill>
            <a:srgbClr val="EEF2F5"/>
          </a:solidFill>
          <a:ln w="11643" cap="flat">
            <a:noFill/>
            <a:prstDash val="solid"/>
            <a:miter/>
          </a:ln>
        </p:spPr>
        <p:txBody>
          <a:bodyPr rtlCol="0" anchor="ctr"/>
          <a:lstStyle/>
          <a:p>
            <a:endParaRPr lang="de-DE"/>
          </a:p>
        </p:txBody>
      </p:sp>
      <p:sp>
        <p:nvSpPr>
          <p:cNvPr id="118" name="Freihandform: Form 117">
            <a:extLst>
              <a:ext uri="{FF2B5EF4-FFF2-40B4-BE49-F238E27FC236}">
                <a16:creationId xmlns:a16="http://schemas.microsoft.com/office/drawing/2014/main" id="{107FD09D-7EF2-4E43-8333-1BB41EE81E8C}"/>
              </a:ext>
            </a:extLst>
          </p:cNvPr>
          <p:cNvSpPr/>
          <p:nvPr/>
        </p:nvSpPr>
        <p:spPr>
          <a:xfrm>
            <a:off x="10454616" y="4087039"/>
            <a:ext cx="280824" cy="304129"/>
          </a:xfrm>
          <a:custGeom>
            <a:avLst/>
            <a:gdLst>
              <a:gd name="connsiteX0" fmla="*/ 129343 w 280824"/>
              <a:gd name="connsiteY0" fmla="*/ 304130 h 304129"/>
              <a:gd name="connsiteX1" fmla="*/ 0 w 280824"/>
              <a:gd name="connsiteY1" fmla="*/ 304130 h 304129"/>
              <a:gd name="connsiteX2" fmla="*/ 150317 w 280824"/>
              <a:gd name="connsiteY2" fmla="*/ 153813 h 304129"/>
              <a:gd name="connsiteX3" fmla="*/ 0 w 280824"/>
              <a:gd name="connsiteY3" fmla="*/ 0 h 304129"/>
              <a:gd name="connsiteX4" fmla="*/ 131673 w 280824"/>
              <a:gd name="connsiteY4" fmla="*/ 0 h 304129"/>
              <a:gd name="connsiteX5" fmla="*/ 280825 w 280824"/>
              <a:gd name="connsiteY5" fmla="*/ 149152 h 304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4129">
                <a:moveTo>
                  <a:pt x="129343" y="304130"/>
                </a:moveTo>
                <a:lnTo>
                  <a:pt x="0" y="304130"/>
                </a:lnTo>
                <a:lnTo>
                  <a:pt x="150317" y="153813"/>
                </a:lnTo>
                <a:lnTo>
                  <a:pt x="0" y="0"/>
                </a:lnTo>
                <a:lnTo>
                  <a:pt x="131673" y="0"/>
                </a:lnTo>
                <a:lnTo>
                  <a:pt x="280825" y="149152"/>
                </a:lnTo>
                <a:close/>
              </a:path>
            </a:pathLst>
          </a:custGeom>
          <a:solidFill>
            <a:srgbClr val="EEF2F5"/>
          </a:solidFill>
          <a:ln w="11643" cap="flat">
            <a:noFill/>
            <a:prstDash val="solid"/>
            <a:miter/>
          </a:ln>
        </p:spPr>
        <p:txBody>
          <a:bodyPr rtlCol="0" anchor="ctr"/>
          <a:lstStyle/>
          <a:p>
            <a:endParaRPr lang="de-DE"/>
          </a:p>
        </p:txBody>
      </p:sp>
      <p:sp>
        <p:nvSpPr>
          <p:cNvPr id="134" name="Freihandform: Form 133">
            <a:extLst>
              <a:ext uri="{FF2B5EF4-FFF2-40B4-BE49-F238E27FC236}">
                <a16:creationId xmlns:a16="http://schemas.microsoft.com/office/drawing/2014/main" id="{D630C772-EA61-4CD9-88F3-B5A40C068A2C}"/>
              </a:ext>
            </a:extLst>
          </p:cNvPr>
          <p:cNvSpPr/>
          <p:nvPr/>
        </p:nvSpPr>
        <p:spPr>
          <a:xfrm>
            <a:off x="10454616" y="4441274"/>
            <a:ext cx="280824" cy="305294"/>
          </a:xfrm>
          <a:custGeom>
            <a:avLst/>
            <a:gdLst>
              <a:gd name="connsiteX0" fmla="*/ 129343 w 280824"/>
              <a:gd name="connsiteY0" fmla="*/ 305295 h 305294"/>
              <a:gd name="connsiteX1" fmla="*/ 0 w 280824"/>
              <a:gd name="connsiteY1" fmla="*/ 305295 h 305294"/>
              <a:gd name="connsiteX2" fmla="*/ 150317 w 280824"/>
              <a:gd name="connsiteY2" fmla="*/ 153813 h 305294"/>
              <a:gd name="connsiteX3" fmla="*/ 0 w 280824"/>
              <a:gd name="connsiteY3" fmla="*/ 0 h 305294"/>
              <a:gd name="connsiteX4" fmla="*/ 131673 w 280824"/>
              <a:gd name="connsiteY4" fmla="*/ 0 h 305294"/>
              <a:gd name="connsiteX5" fmla="*/ 280825 w 280824"/>
              <a:gd name="connsiteY5" fmla="*/ 150317 h 305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5294">
                <a:moveTo>
                  <a:pt x="129343" y="305295"/>
                </a:moveTo>
                <a:lnTo>
                  <a:pt x="0" y="305295"/>
                </a:lnTo>
                <a:lnTo>
                  <a:pt x="150317" y="153813"/>
                </a:lnTo>
                <a:lnTo>
                  <a:pt x="0" y="0"/>
                </a:lnTo>
                <a:lnTo>
                  <a:pt x="131673" y="0"/>
                </a:lnTo>
                <a:lnTo>
                  <a:pt x="280825" y="150317"/>
                </a:lnTo>
                <a:close/>
              </a:path>
            </a:pathLst>
          </a:custGeom>
          <a:solidFill>
            <a:srgbClr val="EEF2F5"/>
          </a:solidFill>
          <a:ln w="11643" cap="flat">
            <a:noFill/>
            <a:prstDash val="solid"/>
            <a:miter/>
          </a:ln>
        </p:spPr>
        <p:txBody>
          <a:bodyPr rtlCol="0" anchor="ctr"/>
          <a:lstStyle/>
          <a:p>
            <a:endParaRPr lang="de-DE"/>
          </a:p>
        </p:txBody>
      </p:sp>
      <p:sp>
        <p:nvSpPr>
          <p:cNvPr id="151" name="Freihandform: Form 150">
            <a:extLst>
              <a:ext uri="{FF2B5EF4-FFF2-40B4-BE49-F238E27FC236}">
                <a16:creationId xmlns:a16="http://schemas.microsoft.com/office/drawing/2014/main" id="{B58FDE5A-4CC1-4494-B722-D4785E2E9E92}"/>
              </a:ext>
            </a:extLst>
          </p:cNvPr>
          <p:cNvSpPr/>
          <p:nvPr/>
        </p:nvSpPr>
        <p:spPr>
          <a:xfrm>
            <a:off x="10454616" y="4796675"/>
            <a:ext cx="280824" cy="304129"/>
          </a:xfrm>
          <a:custGeom>
            <a:avLst/>
            <a:gdLst>
              <a:gd name="connsiteX0" fmla="*/ 129343 w 280824"/>
              <a:gd name="connsiteY0" fmla="*/ 304130 h 304129"/>
              <a:gd name="connsiteX1" fmla="*/ 0 w 280824"/>
              <a:gd name="connsiteY1" fmla="*/ 304130 h 304129"/>
              <a:gd name="connsiteX2" fmla="*/ 150317 w 280824"/>
              <a:gd name="connsiteY2" fmla="*/ 153813 h 304129"/>
              <a:gd name="connsiteX3" fmla="*/ 0 w 280824"/>
              <a:gd name="connsiteY3" fmla="*/ 0 h 304129"/>
              <a:gd name="connsiteX4" fmla="*/ 131673 w 280824"/>
              <a:gd name="connsiteY4" fmla="*/ 0 h 304129"/>
              <a:gd name="connsiteX5" fmla="*/ 280825 w 280824"/>
              <a:gd name="connsiteY5" fmla="*/ 149152 h 304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4129">
                <a:moveTo>
                  <a:pt x="129343" y="304130"/>
                </a:moveTo>
                <a:lnTo>
                  <a:pt x="0" y="304130"/>
                </a:lnTo>
                <a:lnTo>
                  <a:pt x="150317" y="153813"/>
                </a:lnTo>
                <a:lnTo>
                  <a:pt x="0" y="0"/>
                </a:lnTo>
                <a:lnTo>
                  <a:pt x="131673" y="0"/>
                </a:lnTo>
                <a:lnTo>
                  <a:pt x="280825" y="149152"/>
                </a:lnTo>
                <a:close/>
              </a:path>
            </a:pathLst>
          </a:custGeom>
          <a:solidFill>
            <a:srgbClr val="EEF2F5"/>
          </a:solidFill>
          <a:ln w="11643" cap="flat">
            <a:noFill/>
            <a:prstDash val="solid"/>
            <a:miter/>
          </a:ln>
        </p:spPr>
        <p:txBody>
          <a:bodyPr rtlCol="0" anchor="ctr"/>
          <a:lstStyle/>
          <a:p>
            <a:endParaRPr lang="de-DE"/>
          </a:p>
        </p:txBody>
      </p:sp>
      <p:sp>
        <p:nvSpPr>
          <p:cNvPr id="168" name="Freihandform: Form 167">
            <a:extLst>
              <a:ext uri="{FF2B5EF4-FFF2-40B4-BE49-F238E27FC236}">
                <a16:creationId xmlns:a16="http://schemas.microsoft.com/office/drawing/2014/main" id="{0AC8C872-76B8-4053-8B0A-1A7AAE0AA7A1}"/>
              </a:ext>
            </a:extLst>
          </p:cNvPr>
          <p:cNvSpPr/>
          <p:nvPr/>
        </p:nvSpPr>
        <p:spPr>
          <a:xfrm>
            <a:off x="10454616" y="5150910"/>
            <a:ext cx="280824" cy="305295"/>
          </a:xfrm>
          <a:custGeom>
            <a:avLst/>
            <a:gdLst>
              <a:gd name="connsiteX0" fmla="*/ 129343 w 280824"/>
              <a:gd name="connsiteY0" fmla="*/ 305295 h 305295"/>
              <a:gd name="connsiteX1" fmla="*/ 0 w 280824"/>
              <a:gd name="connsiteY1" fmla="*/ 305295 h 305295"/>
              <a:gd name="connsiteX2" fmla="*/ 150317 w 280824"/>
              <a:gd name="connsiteY2" fmla="*/ 153813 h 305295"/>
              <a:gd name="connsiteX3" fmla="*/ 0 w 280824"/>
              <a:gd name="connsiteY3" fmla="*/ 0 h 305295"/>
              <a:gd name="connsiteX4" fmla="*/ 131673 w 280824"/>
              <a:gd name="connsiteY4" fmla="*/ 0 h 305295"/>
              <a:gd name="connsiteX5" fmla="*/ 280825 w 280824"/>
              <a:gd name="connsiteY5" fmla="*/ 150317 h 305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5295">
                <a:moveTo>
                  <a:pt x="129343" y="305295"/>
                </a:moveTo>
                <a:lnTo>
                  <a:pt x="0" y="305295"/>
                </a:lnTo>
                <a:lnTo>
                  <a:pt x="150317" y="153813"/>
                </a:lnTo>
                <a:lnTo>
                  <a:pt x="0" y="0"/>
                </a:lnTo>
                <a:lnTo>
                  <a:pt x="131673" y="0"/>
                </a:lnTo>
                <a:lnTo>
                  <a:pt x="280825" y="150317"/>
                </a:lnTo>
                <a:close/>
              </a:path>
            </a:pathLst>
          </a:custGeom>
          <a:solidFill>
            <a:srgbClr val="EEF2F5"/>
          </a:solidFill>
          <a:ln w="11643" cap="flat">
            <a:noFill/>
            <a:prstDash val="solid"/>
            <a:miter/>
          </a:ln>
        </p:spPr>
        <p:txBody>
          <a:bodyPr rtlCol="0" anchor="ctr"/>
          <a:lstStyle/>
          <a:p>
            <a:endParaRPr lang="de-DE"/>
          </a:p>
        </p:txBody>
      </p:sp>
      <p:sp>
        <p:nvSpPr>
          <p:cNvPr id="185" name="Freihandform: Form 184">
            <a:extLst>
              <a:ext uri="{FF2B5EF4-FFF2-40B4-BE49-F238E27FC236}">
                <a16:creationId xmlns:a16="http://schemas.microsoft.com/office/drawing/2014/main" id="{0A1E16EF-F3A1-4575-8F8F-D7FE734A79FD}"/>
              </a:ext>
            </a:extLst>
          </p:cNvPr>
          <p:cNvSpPr/>
          <p:nvPr/>
        </p:nvSpPr>
        <p:spPr>
          <a:xfrm>
            <a:off x="10454616" y="5506311"/>
            <a:ext cx="280824" cy="305295"/>
          </a:xfrm>
          <a:custGeom>
            <a:avLst/>
            <a:gdLst>
              <a:gd name="connsiteX0" fmla="*/ 129343 w 280824"/>
              <a:gd name="connsiteY0" fmla="*/ 305295 h 305295"/>
              <a:gd name="connsiteX1" fmla="*/ 0 w 280824"/>
              <a:gd name="connsiteY1" fmla="*/ 305295 h 305295"/>
              <a:gd name="connsiteX2" fmla="*/ 150317 w 280824"/>
              <a:gd name="connsiteY2" fmla="*/ 153813 h 305295"/>
              <a:gd name="connsiteX3" fmla="*/ 0 w 280824"/>
              <a:gd name="connsiteY3" fmla="*/ 0 h 305295"/>
              <a:gd name="connsiteX4" fmla="*/ 131673 w 280824"/>
              <a:gd name="connsiteY4" fmla="*/ 0 h 305295"/>
              <a:gd name="connsiteX5" fmla="*/ 280825 w 280824"/>
              <a:gd name="connsiteY5" fmla="*/ 149152 h 305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5295">
                <a:moveTo>
                  <a:pt x="129343" y="305295"/>
                </a:moveTo>
                <a:lnTo>
                  <a:pt x="0" y="305295"/>
                </a:lnTo>
                <a:lnTo>
                  <a:pt x="150317" y="153813"/>
                </a:lnTo>
                <a:lnTo>
                  <a:pt x="0" y="0"/>
                </a:lnTo>
                <a:lnTo>
                  <a:pt x="131673" y="0"/>
                </a:lnTo>
                <a:lnTo>
                  <a:pt x="280825" y="149152"/>
                </a:lnTo>
                <a:close/>
              </a:path>
            </a:pathLst>
          </a:custGeom>
          <a:solidFill>
            <a:srgbClr val="EEF2F5"/>
          </a:solidFill>
          <a:ln w="11643" cap="flat">
            <a:noFill/>
            <a:prstDash val="solid"/>
            <a:miter/>
          </a:ln>
        </p:spPr>
        <p:txBody>
          <a:bodyPr rtlCol="0" anchor="ctr"/>
          <a:lstStyle/>
          <a:p>
            <a:endParaRPr lang="de-DE"/>
          </a:p>
        </p:txBody>
      </p:sp>
      <p:sp>
        <p:nvSpPr>
          <p:cNvPr id="202" name="Freihandform: Form 201">
            <a:extLst>
              <a:ext uri="{FF2B5EF4-FFF2-40B4-BE49-F238E27FC236}">
                <a16:creationId xmlns:a16="http://schemas.microsoft.com/office/drawing/2014/main" id="{C2091647-BDE3-4497-8513-4EEAA0FFCE88}"/>
              </a:ext>
            </a:extLst>
          </p:cNvPr>
          <p:cNvSpPr/>
          <p:nvPr/>
        </p:nvSpPr>
        <p:spPr>
          <a:xfrm>
            <a:off x="10454616" y="5860546"/>
            <a:ext cx="280824" cy="305295"/>
          </a:xfrm>
          <a:custGeom>
            <a:avLst/>
            <a:gdLst>
              <a:gd name="connsiteX0" fmla="*/ 129343 w 280824"/>
              <a:gd name="connsiteY0" fmla="*/ 305295 h 305295"/>
              <a:gd name="connsiteX1" fmla="*/ 0 w 280824"/>
              <a:gd name="connsiteY1" fmla="*/ 305295 h 305295"/>
              <a:gd name="connsiteX2" fmla="*/ 150317 w 280824"/>
              <a:gd name="connsiteY2" fmla="*/ 153813 h 305295"/>
              <a:gd name="connsiteX3" fmla="*/ 0 w 280824"/>
              <a:gd name="connsiteY3" fmla="*/ 0 h 305295"/>
              <a:gd name="connsiteX4" fmla="*/ 131673 w 280824"/>
              <a:gd name="connsiteY4" fmla="*/ 0 h 305295"/>
              <a:gd name="connsiteX5" fmla="*/ 280825 w 280824"/>
              <a:gd name="connsiteY5" fmla="*/ 150317 h 305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5295">
                <a:moveTo>
                  <a:pt x="129343" y="305295"/>
                </a:moveTo>
                <a:lnTo>
                  <a:pt x="0" y="305295"/>
                </a:lnTo>
                <a:lnTo>
                  <a:pt x="150317" y="153813"/>
                </a:lnTo>
                <a:lnTo>
                  <a:pt x="0" y="0"/>
                </a:lnTo>
                <a:lnTo>
                  <a:pt x="131673" y="0"/>
                </a:lnTo>
                <a:lnTo>
                  <a:pt x="280825" y="150317"/>
                </a:lnTo>
                <a:close/>
              </a:path>
            </a:pathLst>
          </a:custGeom>
          <a:solidFill>
            <a:srgbClr val="EEF2F5"/>
          </a:solidFill>
          <a:ln w="11643" cap="flat">
            <a:noFill/>
            <a:prstDash val="solid"/>
            <a:miter/>
          </a:ln>
        </p:spPr>
        <p:txBody>
          <a:bodyPr rtlCol="0" anchor="ctr"/>
          <a:lstStyle/>
          <a:p>
            <a:endParaRPr lang="de-DE"/>
          </a:p>
        </p:txBody>
      </p:sp>
      <p:sp>
        <p:nvSpPr>
          <p:cNvPr id="37" name="Freihandform: Form 36">
            <a:extLst>
              <a:ext uri="{FF2B5EF4-FFF2-40B4-BE49-F238E27FC236}">
                <a16:creationId xmlns:a16="http://schemas.microsoft.com/office/drawing/2014/main" id="{0197700D-5496-490A-8DC7-CB8C17414912}"/>
              </a:ext>
            </a:extLst>
          </p:cNvPr>
          <p:cNvSpPr/>
          <p:nvPr/>
        </p:nvSpPr>
        <p:spPr>
          <a:xfrm>
            <a:off x="10108537" y="2321688"/>
            <a:ext cx="264511" cy="286650"/>
          </a:xfrm>
          <a:custGeom>
            <a:avLst/>
            <a:gdLst>
              <a:gd name="connsiteX0" fmla="*/ 121186 w 264511"/>
              <a:gd name="connsiteY0" fmla="*/ 286651 h 286650"/>
              <a:gd name="connsiteX1" fmla="*/ 0 w 264511"/>
              <a:gd name="connsiteY1" fmla="*/ 286651 h 286650"/>
              <a:gd name="connsiteX2" fmla="*/ 140995 w 264511"/>
              <a:gd name="connsiteY2" fmla="*/ 144491 h 286650"/>
              <a:gd name="connsiteX3" fmla="*/ 0 w 264511"/>
              <a:gd name="connsiteY3" fmla="*/ 0 h 286650"/>
              <a:gd name="connsiteX4" fmla="*/ 123516 w 264511"/>
              <a:gd name="connsiteY4" fmla="*/ 0 h 286650"/>
              <a:gd name="connsiteX5" fmla="*/ 264511 w 264511"/>
              <a:gd name="connsiteY5" fmla="*/ 140995 h 28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0">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53" name="Freihandform: Form 52">
            <a:extLst>
              <a:ext uri="{FF2B5EF4-FFF2-40B4-BE49-F238E27FC236}">
                <a16:creationId xmlns:a16="http://schemas.microsoft.com/office/drawing/2014/main" id="{76A9C547-A085-4B5D-B3A0-6461D8694E0B}"/>
              </a:ext>
            </a:extLst>
          </p:cNvPr>
          <p:cNvSpPr/>
          <p:nvPr/>
        </p:nvSpPr>
        <p:spPr>
          <a:xfrm>
            <a:off x="10108537" y="2675924"/>
            <a:ext cx="264511" cy="286650"/>
          </a:xfrm>
          <a:custGeom>
            <a:avLst/>
            <a:gdLst>
              <a:gd name="connsiteX0" fmla="*/ 121186 w 264511"/>
              <a:gd name="connsiteY0" fmla="*/ 286651 h 286650"/>
              <a:gd name="connsiteX1" fmla="*/ 0 w 264511"/>
              <a:gd name="connsiteY1" fmla="*/ 286651 h 286650"/>
              <a:gd name="connsiteX2" fmla="*/ 140995 w 264511"/>
              <a:gd name="connsiteY2" fmla="*/ 144491 h 286650"/>
              <a:gd name="connsiteX3" fmla="*/ 0 w 264511"/>
              <a:gd name="connsiteY3" fmla="*/ 0 h 286650"/>
              <a:gd name="connsiteX4" fmla="*/ 123516 w 264511"/>
              <a:gd name="connsiteY4" fmla="*/ 0 h 286650"/>
              <a:gd name="connsiteX5" fmla="*/ 264511 w 264511"/>
              <a:gd name="connsiteY5" fmla="*/ 140995 h 28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0">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69" name="Freihandform: Form 68">
            <a:extLst>
              <a:ext uri="{FF2B5EF4-FFF2-40B4-BE49-F238E27FC236}">
                <a16:creationId xmlns:a16="http://schemas.microsoft.com/office/drawing/2014/main" id="{60D25080-D9B9-4692-9129-2C6183DC021A}"/>
              </a:ext>
            </a:extLst>
          </p:cNvPr>
          <p:cNvSpPr/>
          <p:nvPr/>
        </p:nvSpPr>
        <p:spPr>
          <a:xfrm>
            <a:off x="10108537" y="3031324"/>
            <a:ext cx="264511" cy="286650"/>
          </a:xfrm>
          <a:custGeom>
            <a:avLst/>
            <a:gdLst>
              <a:gd name="connsiteX0" fmla="*/ 121186 w 264511"/>
              <a:gd name="connsiteY0" fmla="*/ 286651 h 286650"/>
              <a:gd name="connsiteX1" fmla="*/ 0 w 264511"/>
              <a:gd name="connsiteY1" fmla="*/ 286651 h 286650"/>
              <a:gd name="connsiteX2" fmla="*/ 140995 w 264511"/>
              <a:gd name="connsiteY2" fmla="*/ 144491 h 286650"/>
              <a:gd name="connsiteX3" fmla="*/ 0 w 264511"/>
              <a:gd name="connsiteY3" fmla="*/ 0 h 286650"/>
              <a:gd name="connsiteX4" fmla="*/ 123516 w 264511"/>
              <a:gd name="connsiteY4" fmla="*/ 0 h 286650"/>
              <a:gd name="connsiteX5" fmla="*/ 264511 w 264511"/>
              <a:gd name="connsiteY5" fmla="*/ 140995 h 28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0">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85" name="Freihandform: Form 84">
            <a:extLst>
              <a:ext uri="{FF2B5EF4-FFF2-40B4-BE49-F238E27FC236}">
                <a16:creationId xmlns:a16="http://schemas.microsoft.com/office/drawing/2014/main" id="{2A48DA5F-5A65-4484-99B7-06DB28D0E54D}"/>
              </a:ext>
            </a:extLst>
          </p:cNvPr>
          <p:cNvSpPr/>
          <p:nvPr/>
        </p:nvSpPr>
        <p:spPr>
          <a:xfrm>
            <a:off x="10108537" y="3385560"/>
            <a:ext cx="264511" cy="287816"/>
          </a:xfrm>
          <a:custGeom>
            <a:avLst/>
            <a:gdLst>
              <a:gd name="connsiteX0" fmla="*/ 121186 w 264511"/>
              <a:gd name="connsiteY0" fmla="*/ 287816 h 287816"/>
              <a:gd name="connsiteX1" fmla="*/ 0 w 264511"/>
              <a:gd name="connsiteY1" fmla="*/ 287816 h 287816"/>
              <a:gd name="connsiteX2" fmla="*/ 140995 w 264511"/>
              <a:gd name="connsiteY2" fmla="*/ 145656 h 287816"/>
              <a:gd name="connsiteX3" fmla="*/ 0 w 264511"/>
              <a:gd name="connsiteY3" fmla="*/ 0 h 287816"/>
              <a:gd name="connsiteX4" fmla="*/ 123516 w 264511"/>
              <a:gd name="connsiteY4" fmla="*/ 0 h 287816"/>
              <a:gd name="connsiteX5" fmla="*/ 264511 w 264511"/>
              <a:gd name="connsiteY5" fmla="*/ 140995 h 287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7816">
                <a:moveTo>
                  <a:pt x="121186" y="287816"/>
                </a:moveTo>
                <a:lnTo>
                  <a:pt x="0" y="287816"/>
                </a:lnTo>
                <a:lnTo>
                  <a:pt x="140995" y="145656"/>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101" name="Freihandform: Form 100">
            <a:extLst>
              <a:ext uri="{FF2B5EF4-FFF2-40B4-BE49-F238E27FC236}">
                <a16:creationId xmlns:a16="http://schemas.microsoft.com/office/drawing/2014/main" id="{44A6A546-5137-4093-9C59-F32093CD42C4}"/>
              </a:ext>
            </a:extLst>
          </p:cNvPr>
          <p:cNvSpPr/>
          <p:nvPr/>
        </p:nvSpPr>
        <p:spPr>
          <a:xfrm>
            <a:off x="10108537" y="3740960"/>
            <a:ext cx="264511" cy="286651"/>
          </a:xfrm>
          <a:custGeom>
            <a:avLst/>
            <a:gdLst>
              <a:gd name="connsiteX0" fmla="*/ 121186 w 264511"/>
              <a:gd name="connsiteY0" fmla="*/ 286651 h 286651"/>
              <a:gd name="connsiteX1" fmla="*/ 0 w 264511"/>
              <a:gd name="connsiteY1" fmla="*/ 286651 h 286651"/>
              <a:gd name="connsiteX2" fmla="*/ 140995 w 264511"/>
              <a:gd name="connsiteY2" fmla="*/ 144491 h 286651"/>
              <a:gd name="connsiteX3" fmla="*/ 0 w 264511"/>
              <a:gd name="connsiteY3" fmla="*/ 0 h 286651"/>
              <a:gd name="connsiteX4" fmla="*/ 123516 w 264511"/>
              <a:gd name="connsiteY4" fmla="*/ 0 h 286651"/>
              <a:gd name="connsiteX5" fmla="*/ 264511 w 264511"/>
              <a:gd name="connsiteY5" fmla="*/ 140995 h 286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1">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117" name="Freihandform: Form 116">
            <a:extLst>
              <a:ext uri="{FF2B5EF4-FFF2-40B4-BE49-F238E27FC236}">
                <a16:creationId xmlns:a16="http://schemas.microsoft.com/office/drawing/2014/main" id="{AB7F8976-AA8B-4089-A252-6E621A6336A0}"/>
              </a:ext>
            </a:extLst>
          </p:cNvPr>
          <p:cNvSpPr/>
          <p:nvPr/>
        </p:nvSpPr>
        <p:spPr>
          <a:xfrm>
            <a:off x="10108537" y="4095195"/>
            <a:ext cx="264511" cy="287816"/>
          </a:xfrm>
          <a:custGeom>
            <a:avLst/>
            <a:gdLst>
              <a:gd name="connsiteX0" fmla="*/ 121186 w 264511"/>
              <a:gd name="connsiteY0" fmla="*/ 287816 h 287816"/>
              <a:gd name="connsiteX1" fmla="*/ 0 w 264511"/>
              <a:gd name="connsiteY1" fmla="*/ 287816 h 287816"/>
              <a:gd name="connsiteX2" fmla="*/ 140995 w 264511"/>
              <a:gd name="connsiteY2" fmla="*/ 145656 h 287816"/>
              <a:gd name="connsiteX3" fmla="*/ 0 w 264511"/>
              <a:gd name="connsiteY3" fmla="*/ 0 h 287816"/>
              <a:gd name="connsiteX4" fmla="*/ 123516 w 264511"/>
              <a:gd name="connsiteY4" fmla="*/ 0 h 287816"/>
              <a:gd name="connsiteX5" fmla="*/ 264511 w 264511"/>
              <a:gd name="connsiteY5" fmla="*/ 140995 h 287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7816">
                <a:moveTo>
                  <a:pt x="121186" y="287816"/>
                </a:moveTo>
                <a:lnTo>
                  <a:pt x="0" y="287816"/>
                </a:lnTo>
                <a:lnTo>
                  <a:pt x="140995" y="145656"/>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133" name="Freihandform: Form 132">
            <a:extLst>
              <a:ext uri="{FF2B5EF4-FFF2-40B4-BE49-F238E27FC236}">
                <a16:creationId xmlns:a16="http://schemas.microsoft.com/office/drawing/2014/main" id="{83F4FE5F-E30B-4C91-B22F-C67DA72E3DB6}"/>
              </a:ext>
            </a:extLst>
          </p:cNvPr>
          <p:cNvSpPr/>
          <p:nvPr/>
        </p:nvSpPr>
        <p:spPr>
          <a:xfrm>
            <a:off x="10108537" y="4450596"/>
            <a:ext cx="264511" cy="286651"/>
          </a:xfrm>
          <a:custGeom>
            <a:avLst/>
            <a:gdLst>
              <a:gd name="connsiteX0" fmla="*/ 121186 w 264511"/>
              <a:gd name="connsiteY0" fmla="*/ 286651 h 286651"/>
              <a:gd name="connsiteX1" fmla="*/ 0 w 264511"/>
              <a:gd name="connsiteY1" fmla="*/ 286651 h 286651"/>
              <a:gd name="connsiteX2" fmla="*/ 140995 w 264511"/>
              <a:gd name="connsiteY2" fmla="*/ 144491 h 286651"/>
              <a:gd name="connsiteX3" fmla="*/ 0 w 264511"/>
              <a:gd name="connsiteY3" fmla="*/ 0 h 286651"/>
              <a:gd name="connsiteX4" fmla="*/ 123516 w 264511"/>
              <a:gd name="connsiteY4" fmla="*/ 0 h 286651"/>
              <a:gd name="connsiteX5" fmla="*/ 264511 w 264511"/>
              <a:gd name="connsiteY5" fmla="*/ 140995 h 286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1">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150" name="Freihandform: Form 149">
            <a:extLst>
              <a:ext uri="{FF2B5EF4-FFF2-40B4-BE49-F238E27FC236}">
                <a16:creationId xmlns:a16="http://schemas.microsoft.com/office/drawing/2014/main" id="{A0F76902-2111-4900-A1DA-A0A919DABDFD}"/>
              </a:ext>
            </a:extLst>
          </p:cNvPr>
          <p:cNvSpPr/>
          <p:nvPr/>
        </p:nvSpPr>
        <p:spPr>
          <a:xfrm>
            <a:off x="10108537" y="4805997"/>
            <a:ext cx="264511" cy="286651"/>
          </a:xfrm>
          <a:custGeom>
            <a:avLst/>
            <a:gdLst>
              <a:gd name="connsiteX0" fmla="*/ 121186 w 264511"/>
              <a:gd name="connsiteY0" fmla="*/ 286651 h 286651"/>
              <a:gd name="connsiteX1" fmla="*/ 0 w 264511"/>
              <a:gd name="connsiteY1" fmla="*/ 286651 h 286651"/>
              <a:gd name="connsiteX2" fmla="*/ 140995 w 264511"/>
              <a:gd name="connsiteY2" fmla="*/ 144491 h 286651"/>
              <a:gd name="connsiteX3" fmla="*/ 0 w 264511"/>
              <a:gd name="connsiteY3" fmla="*/ 0 h 286651"/>
              <a:gd name="connsiteX4" fmla="*/ 123516 w 264511"/>
              <a:gd name="connsiteY4" fmla="*/ 0 h 286651"/>
              <a:gd name="connsiteX5" fmla="*/ 264511 w 264511"/>
              <a:gd name="connsiteY5" fmla="*/ 139830 h 286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1">
                <a:moveTo>
                  <a:pt x="121186" y="286651"/>
                </a:moveTo>
                <a:lnTo>
                  <a:pt x="0" y="286651"/>
                </a:lnTo>
                <a:lnTo>
                  <a:pt x="140995" y="144491"/>
                </a:lnTo>
                <a:lnTo>
                  <a:pt x="0" y="0"/>
                </a:lnTo>
                <a:lnTo>
                  <a:pt x="123516" y="0"/>
                </a:lnTo>
                <a:lnTo>
                  <a:pt x="264511" y="139830"/>
                </a:lnTo>
                <a:close/>
              </a:path>
            </a:pathLst>
          </a:custGeom>
          <a:solidFill>
            <a:srgbClr val="EEF2F5"/>
          </a:solidFill>
          <a:ln w="11643" cap="flat">
            <a:noFill/>
            <a:prstDash val="solid"/>
            <a:miter/>
          </a:ln>
        </p:spPr>
        <p:txBody>
          <a:bodyPr rtlCol="0" anchor="ctr"/>
          <a:lstStyle/>
          <a:p>
            <a:endParaRPr lang="de-DE"/>
          </a:p>
        </p:txBody>
      </p:sp>
      <p:sp>
        <p:nvSpPr>
          <p:cNvPr id="167" name="Freihandform: Form 166">
            <a:extLst>
              <a:ext uri="{FF2B5EF4-FFF2-40B4-BE49-F238E27FC236}">
                <a16:creationId xmlns:a16="http://schemas.microsoft.com/office/drawing/2014/main" id="{9C3904EA-5E6B-4F77-8FB0-BFFAE9C65946}"/>
              </a:ext>
            </a:extLst>
          </p:cNvPr>
          <p:cNvSpPr/>
          <p:nvPr/>
        </p:nvSpPr>
        <p:spPr>
          <a:xfrm>
            <a:off x="10108537" y="5160232"/>
            <a:ext cx="264511" cy="286651"/>
          </a:xfrm>
          <a:custGeom>
            <a:avLst/>
            <a:gdLst>
              <a:gd name="connsiteX0" fmla="*/ 121186 w 264511"/>
              <a:gd name="connsiteY0" fmla="*/ 286651 h 286651"/>
              <a:gd name="connsiteX1" fmla="*/ 0 w 264511"/>
              <a:gd name="connsiteY1" fmla="*/ 286651 h 286651"/>
              <a:gd name="connsiteX2" fmla="*/ 140995 w 264511"/>
              <a:gd name="connsiteY2" fmla="*/ 144491 h 286651"/>
              <a:gd name="connsiteX3" fmla="*/ 0 w 264511"/>
              <a:gd name="connsiteY3" fmla="*/ 0 h 286651"/>
              <a:gd name="connsiteX4" fmla="*/ 123516 w 264511"/>
              <a:gd name="connsiteY4" fmla="*/ 0 h 286651"/>
              <a:gd name="connsiteX5" fmla="*/ 264511 w 264511"/>
              <a:gd name="connsiteY5" fmla="*/ 140995 h 286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1">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184" name="Freihandform: Form 183">
            <a:extLst>
              <a:ext uri="{FF2B5EF4-FFF2-40B4-BE49-F238E27FC236}">
                <a16:creationId xmlns:a16="http://schemas.microsoft.com/office/drawing/2014/main" id="{99280CAD-3553-4542-850A-90F0AD935DFE}"/>
              </a:ext>
            </a:extLst>
          </p:cNvPr>
          <p:cNvSpPr/>
          <p:nvPr/>
        </p:nvSpPr>
        <p:spPr>
          <a:xfrm>
            <a:off x="10108537" y="5515633"/>
            <a:ext cx="264511" cy="286651"/>
          </a:xfrm>
          <a:custGeom>
            <a:avLst/>
            <a:gdLst>
              <a:gd name="connsiteX0" fmla="*/ 121186 w 264511"/>
              <a:gd name="connsiteY0" fmla="*/ 286651 h 286651"/>
              <a:gd name="connsiteX1" fmla="*/ 0 w 264511"/>
              <a:gd name="connsiteY1" fmla="*/ 286651 h 286651"/>
              <a:gd name="connsiteX2" fmla="*/ 140995 w 264511"/>
              <a:gd name="connsiteY2" fmla="*/ 144491 h 286651"/>
              <a:gd name="connsiteX3" fmla="*/ 0 w 264511"/>
              <a:gd name="connsiteY3" fmla="*/ 0 h 286651"/>
              <a:gd name="connsiteX4" fmla="*/ 123516 w 264511"/>
              <a:gd name="connsiteY4" fmla="*/ 0 h 286651"/>
              <a:gd name="connsiteX5" fmla="*/ 264511 w 264511"/>
              <a:gd name="connsiteY5" fmla="*/ 140995 h 286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1">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201" name="Freihandform: Form 200">
            <a:extLst>
              <a:ext uri="{FF2B5EF4-FFF2-40B4-BE49-F238E27FC236}">
                <a16:creationId xmlns:a16="http://schemas.microsoft.com/office/drawing/2014/main" id="{E8A013AF-F105-4965-95B7-AC96F227E824}"/>
              </a:ext>
            </a:extLst>
          </p:cNvPr>
          <p:cNvSpPr/>
          <p:nvPr/>
        </p:nvSpPr>
        <p:spPr>
          <a:xfrm>
            <a:off x="10108537" y="5869868"/>
            <a:ext cx="264511" cy="286650"/>
          </a:xfrm>
          <a:custGeom>
            <a:avLst/>
            <a:gdLst>
              <a:gd name="connsiteX0" fmla="*/ 121186 w 264511"/>
              <a:gd name="connsiteY0" fmla="*/ 286651 h 286650"/>
              <a:gd name="connsiteX1" fmla="*/ 0 w 264511"/>
              <a:gd name="connsiteY1" fmla="*/ 286651 h 286650"/>
              <a:gd name="connsiteX2" fmla="*/ 140995 w 264511"/>
              <a:gd name="connsiteY2" fmla="*/ 144491 h 286650"/>
              <a:gd name="connsiteX3" fmla="*/ 0 w 264511"/>
              <a:gd name="connsiteY3" fmla="*/ 0 h 286650"/>
              <a:gd name="connsiteX4" fmla="*/ 123516 w 264511"/>
              <a:gd name="connsiteY4" fmla="*/ 0 h 286650"/>
              <a:gd name="connsiteX5" fmla="*/ 264511 w 264511"/>
              <a:gd name="connsiteY5" fmla="*/ 140995 h 28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0">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218" name="Freihandform: Form 217">
            <a:extLst>
              <a:ext uri="{FF2B5EF4-FFF2-40B4-BE49-F238E27FC236}">
                <a16:creationId xmlns:a16="http://schemas.microsoft.com/office/drawing/2014/main" id="{7F42F650-844E-4C84-9059-2EC117988F05}"/>
              </a:ext>
            </a:extLst>
          </p:cNvPr>
          <p:cNvSpPr/>
          <p:nvPr/>
        </p:nvSpPr>
        <p:spPr>
          <a:xfrm>
            <a:off x="10108537" y="6225269"/>
            <a:ext cx="264511" cy="286650"/>
          </a:xfrm>
          <a:custGeom>
            <a:avLst/>
            <a:gdLst>
              <a:gd name="connsiteX0" fmla="*/ 121186 w 264511"/>
              <a:gd name="connsiteY0" fmla="*/ 286651 h 286650"/>
              <a:gd name="connsiteX1" fmla="*/ 0 w 264511"/>
              <a:gd name="connsiteY1" fmla="*/ 286651 h 286650"/>
              <a:gd name="connsiteX2" fmla="*/ 140995 w 264511"/>
              <a:gd name="connsiteY2" fmla="*/ 144491 h 286650"/>
              <a:gd name="connsiteX3" fmla="*/ 0 w 264511"/>
              <a:gd name="connsiteY3" fmla="*/ 0 h 286650"/>
              <a:gd name="connsiteX4" fmla="*/ 123516 w 264511"/>
              <a:gd name="connsiteY4" fmla="*/ 0 h 286650"/>
              <a:gd name="connsiteX5" fmla="*/ 264511 w 264511"/>
              <a:gd name="connsiteY5" fmla="*/ 140995 h 28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0">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5" name="Freihandform: Form 4">
            <a:extLst>
              <a:ext uri="{FF2B5EF4-FFF2-40B4-BE49-F238E27FC236}">
                <a16:creationId xmlns:a16="http://schemas.microsoft.com/office/drawing/2014/main" id="{37FF9268-487B-457F-B2C7-1E1C142BF17B}"/>
              </a:ext>
            </a:extLst>
          </p:cNvPr>
          <p:cNvSpPr/>
          <p:nvPr/>
        </p:nvSpPr>
        <p:spPr>
          <a:xfrm>
            <a:off x="4909201" y="2101456"/>
            <a:ext cx="16313" cy="17478"/>
          </a:xfrm>
          <a:custGeom>
            <a:avLst/>
            <a:gdLst>
              <a:gd name="connsiteX0" fmla="*/ 8157 w 16313"/>
              <a:gd name="connsiteY0" fmla="*/ 17479 h 17478"/>
              <a:gd name="connsiteX1" fmla="*/ 0 w 16313"/>
              <a:gd name="connsiteY1" fmla="*/ 17479 h 17478"/>
              <a:gd name="connsiteX2" fmla="*/ 9322 w 16313"/>
              <a:gd name="connsiteY2" fmla="*/ 8157 h 17478"/>
              <a:gd name="connsiteX3" fmla="*/ 0 w 16313"/>
              <a:gd name="connsiteY3" fmla="*/ 0 h 17478"/>
              <a:gd name="connsiteX4" fmla="*/ 8157 w 16313"/>
              <a:gd name="connsiteY4" fmla="*/ 0 h 17478"/>
              <a:gd name="connsiteX5" fmla="*/ 16313 w 16313"/>
              <a:gd name="connsiteY5" fmla="*/ 8157 h 17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13" h="17478">
                <a:moveTo>
                  <a:pt x="8157" y="17479"/>
                </a:moveTo>
                <a:lnTo>
                  <a:pt x="0" y="17479"/>
                </a:lnTo>
                <a:lnTo>
                  <a:pt x="9322" y="8157"/>
                </a:lnTo>
                <a:lnTo>
                  <a:pt x="0" y="0"/>
                </a:lnTo>
                <a:lnTo>
                  <a:pt x="8157" y="0"/>
                </a:lnTo>
                <a:lnTo>
                  <a:pt x="16313" y="8157"/>
                </a:lnTo>
                <a:close/>
              </a:path>
            </a:pathLst>
          </a:custGeom>
          <a:solidFill>
            <a:srgbClr val="EEF2F5"/>
          </a:solidFill>
          <a:ln w="11643" cap="flat">
            <a:noFill/>
            <a:prstDash val="solid"/>
            <a:miter/>
          </a:ln>
        </p:spPr>
        <p:txBody>
          <a:bodyPr rtlCol="0" anchor="ctr"/>
          <a:lstStyle/>
          <a:p>
            <a:endParaRPr lang="de-DE"/>
          </a:p>
        </p:txBody>
      </p:sp>
      <p:sp>
        <p:nvSpPr>
          <p:cNvPr id="22" name="Freihandform: Form 21">
            <a:extLst>
              <a:ext uri="{FF2B5EF4-FFF2-40B4-BE49-F238E27FC236}">
                <a16:creationId xmlns:a16="http://schemas.microsoft.com/office/drawing/2014/main" id="{67427BC4-9149-4C28-A507-8AD1464E8243}"/>
              </a:ext>
            </a:extLst>
          </p:cNvPr>
          <p:cNvSpPr/>
          <p:nvPr/>
        </p:nvSpPr>
        <p:spPr>
          <a:xfrm>
            <a:off x="4909201" y="2455692"/>
            <a:ext cx="16313" cy="18643"/>
          </a:xfrm>
          <a:custGeom>
            <a:avLst/>
            <a:gdLst>
              <a:gd name="connsiteX0" fmla="*/ 8157 w 16313"/>
              <a:gd name="connsiteY0" fmla="*/ 18644 h 18643"/>
              <a:gd name="connsiteX1" fmla="*/ 0 w 16313"/>
              <a:gd name="connsiteY1" fmla="*/ 18644 h 18643"/>
              <a:gd name="connsiteX2" fmla="*/ 9322 w 16313"/>
              <a:gd name="connsiteY2" fmla="*/ 9322 h 18643"/>
              <a:gd name="connsiteX3" fmla="*/ 0 w 16313"/>
              <a:gd name="connsiteY3" fmla="*/ 0 h 18643"/>
              <a:gd name="connsiteX4" fmla="*/ 8157 w 16313"/>
              <a:gd name="connsiteY4" fmla="*/ 0 h 18643"/>
              <a:gd name="connsiteX5" fmla="*/ 16313 w 16313"/>
              <a:gd name="connsiteY5" fmla="*/ 9322 h 18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13" h="18643">
                <a:moveTo>
                  <a:pt x="8157" y="18644"/>
                </a:moveTo>
                <a:lnTo>
                  <a:pt x="0" y="18644"/>
                </a:lnTo>
                <a:lnTo>
                  <a:pt x="9322" y="9322"/>
                </a:lnTo>
                <a:lnTo>
                  <a:pt x="0" y="0"/>
                </a:lnTo>
                <a:lnTo>
                  <a:pt x="8157" y="0"/>
                </a:lnTo>
                <a:lnTo>
                  <a:pt x="16313" y="9322"/>
                </a:lnTo>
                <a:close/>
              </a:path>
            </a:pathLst>
          </a:custGeom>
          <a:solidFill>
            <a:srgbClr val="EEF2F5"/>
          </a:solidFill>
          <a:ln w="11643" cap="flat">
            <a:noFill/>
            <a:prstDash val="solid"/>
            <a:miter/>
          </a:ln>
        </p:spPr>
        <p:txBody>
          <a:bodyPr rtlCol="0" anchor="ctr"/>
          <a:lstStyle/>
          <a:p>
            <a:endParaRPr lang="de-DE"/>
          </a:p>
        </p:txBody>
      </p:sp>
      <p:sp>
        <p:nvSpPr>
          <p:cNvPr id="38" name="Freihandform: Form 37">
            <a:extLst>
              <a:ext uri="{FF2B5EF4-FFF2-40B4-BE49-F238E27FC236}">
                <a16:creationId xmlns:a16="http://schemas.microsoft.com/office/drawing/2014/main" id="{86AC6BBB-1E60-4206-8581-A22FBBC2FD4E}"/>
              </a:ext>
            </a:extLst>
          </p:cNvPr>
          <p:cNvSpPr/>
          <p:nvPr/>
        </p:nvSpPr>
        <p:spPr>
          <a:xfrm>
            <a:off x="4909201" y="2811092"/>
            <a:ext cx="16313" cy="17478"/>
          </a:xfrm>
          <a:custGeom>
            <a:avLst/>
            <a:gdLst>
              <a:gd name="connsiteX0" fmla="*/ 8157 w 16313"/>
              <a:gd name="connsiteY0" fmla="*/ 17479 h 17478"/>
              <a:gd name="connsiteX1" fmla="*/ 0 w 16313"/>
              <a:gd name="connsiteY1" fmla="*/ 17479 h 17478"/>
              <a:gd name="connsiteX2" fmla="*/ 9322 w 16313"/>
              <a:gd name="connsiteY2" fmla="*/ 8157 h 17478"/>
              <a:gd name="connsiteX3" fmla="*/ 0 w 16313"/>
              <a:gd name="connsiteY3" fmla="*/ 0 h 17478"/>
              <a:gd name="connsiteX4" fmla="*/ 8157 w 16313"/>
              <a:gd name="connsiteY4" fmla="*/ 0 h 17478"/>
              <a:gd name="connsiteX5" fmla="*/ 16313 w 16313"/>
              <a:gd name="connsiteY5" fmla="*/ 8157 h 17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13" h="17478">
                <a:moveTo>
                  <a:pt x="8157" y="17479"/>
                </a:moveTo>
                <a:lnTo>
                  <a:pt x="0" y="17479"/>
                </a:lnTo>
                <a:lnTo>
                  <a:pt x="9322" y="8157"/>
                </a:lnTo>
                <a:lnTo>
                  <a:pt x="0" y="0"/>
                </a:lnTo>
                <a:lnTo>
                  <a:pt x="8157" y="0"/>
                </a:lnTo>
                <a:lnTo>
                  <a:pt x="16313" y="8157"/>
                </a:lnTo>
                <a:close/>
              </a:path>
            </a:pathLst>
          </a:custGeom>
          <a:solidFill>
            <a:srgbClr val="EEF2F5"/>
          </a:solidFill>
          <a:ln w="11643" cap="flat">
            <a:noFill/>
            <a:prstDash val="solid"/>
            <a:miter/>
          </a:ln>
        </p:spPr>
        <p:txBody>
          <a:bodyPr rtlCol="0" anchor="ctr"/>
          <a:lstStyle/>
          <a:p>
            <a:endParaRPr lang="de-DE"/>
          </a:p>
        </p:txBody>
      </p:sp>
      <p:sp>
        <p:nvSpPr>
          <p:cNvPr id="203" name="Freihandform: Form 202">
            <a:extLst>
              <a:ext uri="{FF2B5EF4-FFF2-40B4-BE49-F238E27FC236}">
                <a16:creationId xmlns:a16="http://schemas.microsoft.com/office/drawing/2014/main" id="{A954D734-5BDB-4F7E-8A7B-09593EE1C30A}"/>
              </a:ext>
            </a:extLst>
          </p:cNvPr>
          <p:cNvSpPr/>
          <p:nvPr/>
        </p:nvSpPr>
        <p:spPr>
          <a:xfrm>
            <a:off x="4909201" y="6359273"/>
            <a:ext cx="16313" cy="18643"/>
          </a:xfrm>
          <a:custGeom>
            <a:avLst/>
            <a:gdLst>
              <a:gd name="connsiteX0" fmla="*/ 8157 w 16313"/>
              <a:gd name="connsiteY0" fmla="*/ 18644 h 18643"/>
              <a:gd name="connsiteX1" fmla="*/ 0 w 16313"/>
              <a:gd name="connsiteY1" fmla="*/ 18644 h 18643"/>
              <a:gd name="connsiteX2" fmla="*/ 9322 w 16313"/>
              <a:gd name="connsiteY2" fmla="*/ 9322 h 18643"/>
              <a:gd name="connsiteX3" fmla="*/ 0 w 16313"/>
              <a:gd name="connsiteY3" fmla="*/ 0 h 18643"/>
              <a:gd name="connsiteX4" fmla="*/ 8157 w 16313"/>
              <a:gd name="connsiteY4" fmla="*/ 0 h 18643"/>
              <a:gd name="connsiteX5" fmla="*/ 16313 w 16313"/>
              <a:gd name="connsiteY5" fmla="*/ 9322 h 18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13" h="18643">
                <a:moveTo>
                  <a:pt x="8157" y="18644"/>
                </a:moveTo>
                <a:lnTo>
                  <a:pt x="0" y="18644"/>
                </a:lnTo>
                <a:lnTo>
                  <a:pt x="9322" y="9322"/>
                </a:lnTo>
                <a:lnTo>
                  <a:pt x="0" y="0"/>
                </a:lnTo>
                <a:lnTo>
                  <a:pt x="8157" y="0"/>
                </a:lnTo>
                <a:lnTo>
                  <a:pt x="16313" y="9322"/>
                </a:lnTo>
                <a:close/>
              </a:path>
            </a:pathLst>
          </a:custGeom>
          <a:solidFill>
            <a:srgbClr val="EEF2F5"/>
          </a:solidFill>
          <a:ln w="11643" cap="flat">
            <a:noFill/>
            <a:prstDash val="solid"/>
            <a:miter/>
          </a:ln>
        </p:spPr>
        <p:txBody>
          <a:bodyPr rtlCol="0" anchor="ctr"/>
          <a:lstStyle/>
          <a:p>
            <a:endParaRPr lang="de-DE"/>
          </a:p>
        </p:txBody>
      </p:sp>
      <p:sp>
        <p:nvSpPr>
          <p:cNvPr id="219" name="Freihandform: Form 218">
            <a:extLst>
              <a:ext uri="{FF2B5EF4-FFF2-40B4-BE49-F238E27FC236}">
                <a16:creationId xmlns:a16="http://schemas.microsoft.com/office/drawing/2014/main" id="{11ACA275-0A27-41DD-8AD0-A37EF069B3DC}"/>
              </a:ext>
            </a:extLst>
          </p:cNvPr>
          <p:cNvSpPr/>
          <p:nvPr/>
        </p:nvSpPr>
        <p:spPr>
          <a:xfrm>
            <a:off x="4909201" y="6714673"/>
            <a:ext cx="16313" cy="17478"/>
          </a:xfrm>
          <a:custGeom>
            <a:avLst/>
            <a:gdLst>
              <a:gd name="connsiteX0" fmla="*/ 8157 w 16313"/>
              <a:gd name="connsiteY0" fmla="*/ 17479 h 17478"/>
              <a:gd name="connsiteX1" fmla="*/ 0 w 16313"/>
              <a:gd name="connsiteY1" fmla="*/ 17479 h 17478"/>
              <a:gd name="connsiteX2" fmla="*/ 9322 w 16313"/>
              <a:gd name="connsiteY2" fmla="*/ 8157 h 17478"/>
              <a:gd name="connsiteX3" fmla="*/ 0 w 16313"/>
              <a:gd name="connsiteY3" fmla="*/ 0 h 17478"/>
              <a:gd name="connsiteX4" fmla="*/ 8157 w 16313"/>
              <a:gd name="connsiteY4" fmla="*/ 0 h 17478"/>
              <a:gd name="connsiteX5" fmla="*/ 16313 w 16313"/>
              <a:gd name="connsiteY5" fmla="*/ 8157 h 17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13" h="17478">
                <a:moveTo>
                  <a:pt x="8157" y="17479"/>
                </a:moveTo>
                <a:lnTo>
                  <a:pt x="0" y="17479"/>
                </a:lnTo>
                <a:lnTo>
                  <a:pt x="9322" y="8157"/>
                </a:lnTo>
                <a:lnTo>
                  <a:pt x="0" y="0"/>
                </a:lnTo>
                <a:lnTo>
                  <a:pt x="8157" y="0"/>
                </a:lnTo>
                <a:lnTo>
                  <a:pt x="16313" y="8157"/>
                </a:lnTo>
                <a:close/>
              </a:path>
            </a:pathLst>
          </a:custGeom>
          <a:solidFill>
            <a:srgbClr val="EEF2F5"/>
          </a:solidFill>
          <a:ln w="11643" cap="flat">
            <a:noFill/>
            <a:prstDash val="solid"/>
            <a:miter/>
          </a:ln>
        </p:spPr>
        <p:txBody>
          <a:bodyPr rtlCol="0" anchor="ctr"/>
          <a:lstStyle/>
          <a:p>
            <a:endParaRPr lang="de-DE"/>
          </a:p>
        </p:txBody>
      </p:sp>
      <p:sp>
        <p:nvSpPr>
          <p:cNvPr id="6" name="Freihandform: Form 5">
            <a:extLst>
              <a:ext uri="{FF2B5EF4-FFF2-40B4-BE49-F238E27FC236}">
                <a16:creationId xmlns:a16="http://schemas.microsoft.com/office/drawing/2014/main" id="{8A4E51D5-9A40-4C2C-A7AF-1757E2BA77A0}"/>
              </a:ext>
            </a:extLst>
          </p:cNvPr>
          <p:cNvSpPr/>
          <p:nvPr/>
        </p:nvSpPr>
        <p:spPr>
          <a:xfrm>
            <a:off x="5255279" y="2092134"/>
            <a:ext cx="33792" cy="36122"/>
          </a:xfrm>
          <a:custGeom>
            <a:avLst/>
            <a:gdLst>
              <a:gd name="connsiteX0" fmla="*/ 15148 w 33792"/>
              <a:gd name="connsiteY0" fmla="*/ 36123 h 36122"/>
              <a:gd name="connsiteX1" fmla="*/ 0 w 33792"/>
              <a:gd name="connsiteY1" fmla="*/ 36123 h 36122"/>
              <a:gd name="connsiteX2" fmla="*/ 18644 w 33792"/>
              <a:gd name="connsiteY2" fmla="*/ 17479 h 36122"/>
              <a:gd name="connsiteX3" fmla="*/ 0 w 33792"/>
              <a:gd name="connsiteY3" fmla="*/ 0 h 36122"/>
              <a:gd name="connsiteX4" fmla="*/ 16313 w 33792"/>
              <a:gd name="connsiteY4" fmla="*/ 0 h 36122"/>
              <a:gd name="connsiteX5" fmla="*/ 33792 w 33792"/>
              <a:gd name="connsiteY5" fmla="*/ 17479 h 3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92" h="36122">
                <a:moveTo>
                  <a:pt x="15148" y="36123"/>
                </a:moveTo>
                <a:lnTo>
                  <a:pt x="0" y="36123"/>
                </a:lnTo>
                <a:lnTo>
                  <a:pt x="18644" y="17479"/>
                </a:lnTo>
                <a:lnTo>
                  <a:pt x="0" y="0"/>
                </a:lnTo>
                <a:lnTo>
                  <a:pt x="16313" y="0"/>
                </a:lnTo>
                <a:lnTo>
                  <a:pt x="33792" y="17479"/>
                </a:lnTo>
                <a:close/>
              </a:path>
            </a:pathLst>
          </a:custGeom>
          <a:solidFill>
            <a:srgbClr val="EEF2F5"/>
          </a:solidFill>
          <a:ln w="11643" cap="flat">
            <a:noFill/>
            <a:prstDash val="solid"/>
            <a:miter/>
          </a:ln>
        </p:spPr>
        <p:txBody>
          <a:bodyPr rtlCol="0" anchor="ctr"/>
          <a:lstStyle/>
          <a:p>
            <a:endParaRPr lang="de-DE"/>
          </a:p>
        </p:txBody>
      </p:sp>
      <p:sp>
        <p:nvSpPr>
          <p:cNvPr id="23" name="Freihandform: Form 22">
            <a:extLst>
              <a:ext uri="{FF2B5EF4-FFF2-40B4-BE49-F238E27FC236}">
                <a16:creationId xmlns:a16="http://schemas.microsoft.com/office/drawing/2014/main" id="{EFF8D231-0526-443F-B572-FBC0C0A7C2F2}"/>
              </a:ext>
            </a:extLst>
          </p:cNvPr>
          <p:cNvSpPr/>
          <p:nvPr/>
        </p:nvSpPr>
        <p:spPr>
          <a:xfrm>
            <a:off x="5255279" y="2446370"/>
            <a:ext cx="33792" cy="36122"/>
          </a:xfrm>
          <a:custGeom>
            <a:avLst/>
            <a:gdLst>
              <a:gd name="connsiteX0" fmla="*/ 15148 w 33792"/>
              <a:gd name="connsiteY0" fmla="*/ 36123 h 36122"/>
              <a:gd name="connsiteX1" fmla="*/ 0 w 33792"/>
              <a:gd name="connsiteY1" fmla="*/ 36123 h 36122"/>
              <a:gd name="connsiteX2" fmla="*/ 18644 w 33792"/>
              <a:gd name="connsiteY2" fmla="*/ 18644 h 36122"/>
              <a:gd name="connsiteX3" fmla="*/ 0 w 33792"/>
              <a:gd name="connsiteY3" fmla="*/ 0 h 36122"/>
              <a:gd name="connsiteX4" fmla="*/ 16313 w 33792"/>
              <a:gd name="connsiteY4" fmla="*/ 0 h 36122"/>
              <a:gd name="connsiteX5" fmla="*/ 33792 w 33792"/>
              <a:gd name="connsiteY5" fmla="*/ 18644 h 3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92" h="36122">
                <a:moveTo>
                  <a:pt x="15148" y="36123"/>
                </a:moveTo>
                <a:lnTo>
                  <a:pt x="0" y="36123"/>
                </a:lnTo>
                <a:lnTo>
                  <a:pt x="18644" y="18644"/>
                </a:lnTo>
                <a:lnTo>
                  <a:pt x="0" y="0"/>
                </a:lnTo>
                <a:lnTo>
                  <a:pt x="16313" y="0"/>
                </a:lnTo>
                <a:lnTo>
                  <a:pt x="33792" y="18644"/>
                </a:lnTo>
                <a:close/>
              </a:path>
            </a:pathLst>
          </a:custGeom>
          <a:solidFill>
            <a:srgbClr val="EEF2F5"/>
          </a:solidFill>
          <a:ln w="11643" cap="flat">
            <a:noFill/>
            <a:prstDash val="solid"/>
            <a:miter/>
          </a:ln>
        </p:spPr>
        <p:txBody>
          <a:bodyPr rtlCol="0" anchor="ctr"/>
          <a:lstStyle/>
          <a:p>
            <a:endParaRPr lang="de-DE"/>
          </a:p>
        </p:txBody>
      </p:sp>
      <p:sp>
        <p:nvSpPr>
          <p:cNvPr id="39" name="Freihandform: Form 38">
            <a:extLst>
              <a:ext uri="{FF2B5EF4-FFF2-40B4-BE49-F238E27FC236}">
                <a16:creationId xmlns:a16="http://schemas.microsoft.com/office/drawing/2014/main" id="{4663B524-8E70-411B-AF82-46000FF0D969}"/>
              </a:ext>
            </a:extLst>
          </p:cNvPr>
          <p:cNvSpPr/>
          <p:nvPr/>
        </p:nvSpPr>
        <p:spPr>
          <a:xfrm>
            <a:off x="5255279" y="2801770"/>
            <a:ext cx="33792" cy="36122"/>
          </a:xfrm>
          <a:custGeom>
            <a:avLst/>
            <a:gdLst>
              <a:gd name="connsiteX0" fmla="*/ 15148 w 33792"/>
              <a:gd name="connsiteY0" fmla="*/ 36123 h 36122"/>
              <a:gd name="connsiteX1" fmla="*/ 0 w 33792"/>
              <a:gd name="connsiteY1" fmla="*/ 36123 h 36122"/>
              <a:gd name="connsiteX2" fmla="*/ 18644 w 33792"/>
              <a:gd name="connsiteY2" fmla="*/ 17479 h 36122"/>
              <a:gd name="connsiteX3" fmla="*/ 0 w 33792"/>
              <a:gd name="connsiteY3" fmla="*/ 0 h 36122"/>
              <a:gd name="connsiteX4" fmla="*/ 16313 w 33792"/>
              <a:gd name="connsiteY4" fmla="*/ 0 h 36122"/>
              <a:gd name="connsiteX5" fmla="*/ 33792 w 33792"/>
              <a:gd name="connsiteY5" fmla="*/ 17479 h 3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92" h="36122">
                <a:moveTo>
                  <a:pt x="15148" y="36123"/>
                </a:moveTo>
                <a:lnTo>
                  <a:pt x="0" y="36123"/>
                </a:lnTo>
                <a:lnTo>
                  <a:pt x="18644" y="17479"/>
                </a:lnTo>
                <a:lnTo>
                  <a:pt x="0" y="0"/>
                </a:lnTo>
                <a:lnTo>
                  <a:pt x="16313" y="0"/>
                </a:lnTo>
                <a:lnTo>
                  <a:pt x="33792" y="17479"/>
                </a:lnTo>
                <a:close/>
              </a:path>
            </a:pathLst>
          </a:custGeom>
          <a:solidFill>
            <a:srgbClr val="EEF2F5"/>
          </a:solidFill>
          <a:ln w="11643" cap="flat">
            <a:noFill/>
            <a:prstDash val="solid"/>
            <a:miter/>
          </a:ln>
        </p:spPr>
        <p:txBody>
          <a:bodyPr rtlCol="0" anchor="ctr"/>
          <a:lstStyle/>
          <a:p>
            <a:endParaRPr lang="de-DE"/>
          </a:p>
        </p:txBody>
      </p:sp>
      <p:sp>
        <p:nvSpPr>
          <p:cNvPr id="55" name="Freihandform: Form 54">
            <a:extLst>
              <a:ext uri="{FF2B5EF4-FFF2-40B4-BE49-F238E27FC236}">
                <a16:creationId xmlns:a16="http://schemas.microsoft.com/office/drawing/2014/main" id="{F4D09A89-D99B-46C8-9144-5A77F64C551B}"/>
              </a:ext>
            </a:extLst>
          </p:cNvPr>
          <p:cNvSpPr/>
          <p:nvPr/>
        </p:nvSpPr>
        <p:spPr>
          <a:xfrm>
            <a:off x="5255279" y="3156006"/>
            <a:ext cx="33792" cy="36122"/>
          </a:xfrm>
          <a:custGeom>
            <a:avLst/>
            <a:gdLst>
              <a:gd name="connsiteX0" fmla="*/ 15148 w 33792"/>
              <a:gd name="connsiteY0" fmla="*/ 36123 h 36122"/>
              <a:gd name="connsiteX1" fmla="*/ 0 w 33792"/>
              <a:gd name="connsiteY1" fmla="*/ 36123 h 36122"/>
              <a:gd name="connsiteX2" fmla="*/ 18644 w 33792"/>
              <a:gd name="connsiteY2" fmla="*/ 18644 h 36122"/>
              <a:gd name="connsiteX3" fmla="*/ 0 w 33792"/>
              <a:gd name="connsiteY3" fmla="*/ 0 h 36122"/>
              <a:gd name="connsiteX4" fmla="*/ 16313 w 33792"/>
              <a:gd name="connsiteY4" fmla="*/ 0 h 36122"/>
              <a:gd name="connsiteX5" fmla="*/ 33792 w 33792"/>
              <a:gd name="connsiteY5" fmla="*/ 18644 h 3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92" h="36122">
                <a:moveTo>
                  <a:pt x="15148" y="36123"/>
                </a:moveTo>
                <a:lnTo>
                  <a:pt x="0" y="36123"/>
                </a:lnTo>
                <a:lnTo>
                  <a:pt x="18644" y="18644"/>
                </a:lnTo>
                <a:lnTo>
                  <a:pt x="0" y="0"/>
                </a:lnTo>
                <a:lnTo>
                  <a:pt x="16313" y="0"/>
                </a:lnTo>
                <a:lnTo>
                  <a:pt x="33792" y="18644"/>
                </a:lnTo>
                <a:close/>
              </a:path>
            </a:pathLst>
          </a:custGeom>
          <a:solidFill>
            <a:srgbClr val="EEF2F5"/>
          </a:solidFill>
          <a:ln w="11643" cap="flat">
            <a:noFill/>
            <a:prstDash val="solid"/>
            <a:miter/>
          </a:ln>
        </p:spPr>
        <p:txBody>
          <a:bodyPr rtlCol="0" anchor="ctr"/>
          <a:lstStyle/>
          <a:p>
            <a:endParaRPr lang="de-DE"/>
          </a:p>
        </p:txBody>
      </p:sp>
      <p:sp>
        <p:nvSpPr>
          <p:cNvPr id="187" name="Freihandform: Form 186">
            <a:extLst>
              <a:ext uri="{FF2B5EF4-FFF2-40B4-BE49-F238E27FC236}">
                <a16:creationId xmlns:a16="http://schemas.microsoft.com/office/drawing/2014/main" id="{9405F1EC-B6AA-4E71-9517-3317B5730FD9}"/>
              </a:ext>
            </a:extLst>
          </p:cNvPr>
          <p:cNvSpPr/>
          <p:nvPr/>
        </p:nvSpPr>
        <p:spPr>
          <a:xfrm>
            <a:off x="5255279" y="5995715"/>
            <a:ext cx="33792" cy="36122"/>
          </a:xfrm>
          <a:custGeom>
            <a:avLst/>
            <a:gdLst>
              <a:gd name="connsiteX0" fmla="*/ 15148 w 33792"/>
              <a:gd name="connsiteY0" fmla="*/ 36123 h 36122"/>
              <a:gd name="connsiteX1" fmla="*/ 0 w 33792"/>
              <a:gd name="connsiteY1" fmla="*/ 36123 h 36122"/>
              <a:gd name="connsiteX2" fmla="*/ 18644 w 33792"/>
              <a:gd name="connsiteY2" fmla="*/ 17479 h 36122"/>
              <a:gd name="connsiteX3" fmla="*/ 0 w 33792"/>
              <a:gd name="connsiteY3" fmla="*/ 0 h 36122"/>
              <a:gd name="connsiteX4" fmla="*/ 16313 w 33792"/>
              <a:gd name="connsiteY4" fmla="*/ 0 h 36122"/>
              <a:gd name="connsiteX5" fmla="*/ 33792 w 33792"/>
              <a:gd name="connsiteY5" fmla="*/ 17479 h 3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92" h="36122">
                <a:moveTo>
                  <a:pt x="15148" y="36123"/>
                </a:moveTo>
                <a:lnTo>
                  <a:pt x="0" y="36123"/>
                </a:lnTo>
                <a:lnTo>
                  <a:pt x="18644" y="17479"/>
                </a:lnTo>
                <a:lnTo>
                  <a:pt x="0" y="0"/>
                </a:lnTo>
                <a:lnTo>
                  <a:pt x="16313" y="0"/>
                </a:lnTo>
                <a:lnTo>
                  <a:pt x="33792" y="17479"/>
                </a:lnTo>
                <a:close/>
              </a:path>
            </a:pathLst>
          </a:custGeom>
          <a:solidFill>
            <a:srgbClr val="EEF2F5"/>
          </a:solidFill>
          <a:ln w="11643" cap="flat">
            <a:noFill/>
            <a:prstDash val="solid"/>
            <a:miter/>
          </a:ln>
        </p:spPr>
        <p:txBody>
          <a:bodyPr rtlCol="0" anchor="ctr"/>
          <a:lstStyle/>
          <a:p>
            <a:endParaRPr lang="de-DE"/>
          </a:p>
        </p:txBody>
      </p:sp>
      <p:sp>
        <p:nvSpPr>
          <p:cNvPr id="204" name="Freihandform: Form 203">
            <a:extLst>
              <a:ext uri="{FF2B5EF4-FFF2-40B4-BE49-F238E27FC236}">
                <a16:creationId xmlns:a16="http://schemas.microsoft.com/office/drawing/2014/main" id="{455ED072-A29F-4FE5-8724-C330B2893FE8}"/>
              </a:ext>
            </a:extLst>
          </p:cNvPr>
          <p:cNvSpPr/>
          <p:nvPr/>
        </p:nvSpPr>
        <p:spPr>
          <a:xfrm>
            <a:off x="5255279" y="6349950"/>
            <a:ext cx="33792" cy="36122"/>
          </a:xfrm>
          <a:custGeom>
            <a:avLst/>
            <a:gdLst>
              <a:gd name="connsiteX0" fmla="*/ 15148 w 33792"/>
              <a:gd name="connsiteY0" fmla="*/ 36123 h 36122"/>
              <a:gd name="connsiteX1" fmla="*/ 0 w 33792"/>
              <a:gd name="connsiteY1" fmla="*/ 36123 h 36122"/>
              <a:gd name="connsiteX2" fmla="*/ 18644 w 33792"/>
              <a:gd name="connsiteY2" fmla="*/ 18644 h 36122"/>
              <a:gd name="connsiteX3" fmla="*/ 0 w 33792"/>
              <a:gd name="connsiteY3" fmla="*/ 0 h 36122"/>
              <a:gd name="connsiteX4" fmla="*/ 16313 w 33792"/>
              <a:gd name="connsiteY4" fmla="*/ 0 h 36122"/>
              <a:gd name="connsiteX5" fmla="*/ 33792 w 33792"/>
              <a:gd name="connsiteY5" fmla="*/ 17479 h 3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92" h="36122">
                <a:moveTo>
                  <a:pt x="15148" y="36123"/>
                </a:moveTo>
                <a:lnTo>
                  <a:pt x="0" y="36123"/>
                </a:lnTo>
                <a:lnTo>
                  <a:pt x="18644" y="18644"/>
                </a:lnTo>
                <a:lnTo>
                  <a:pt x="0" y="0"/>
                </a:lnTo>
                <a:lnTo>
                  <a:pt x="16313" y="0"/>
                </a:lnTo>
                <a:lnTo>
                  <a:pt x="33792" y="17479"/>
                </a:lnTo>
                <a:close/>
              </a:path>
            </a:pathLst>
          </a:custGeom>
          <a:solidFill>
            <a:srgbClr val="EEF2F5"/>
          </a:solidFill>
          <a:ln w="11643" cap="flat">
            <a:noFill/>
            <a:prstDash val="solid"/>
            <a:miter/>
          </a:ln>
        </p:spPr>
        <p:txBody>
          <a:bodyPr rtlCol="0" anchor="ctr"/>
          <a:lstStyle/>
          <a:p>
            <a:endParaRPr lang="de-DE"/>
          </a:p>
        </p:txBody>
      </p:sp>
      <p:sp>
        <p:nvSpPr>
          <p:cNvPr id="220" name="Freihandform: Form 219">
            <a:extLst>
              <a:ext uri="{FF2B5EF4-FFF2-40B4-BE49-F238E27FC236}">
                <a16:creationId xmlns:a16="http://schemas.microsoft.com/office/drawing/2014/main" id="{99942471-7679-49B5-9D52-AEDAA896BBEA}"/>
              </a:ext>
            </a:extLst>
          </p:cNvPr>
          <p:cNvSpPr/>
          <p:nvPr/>
        </p:nvSpPr>
        <p:spPr>
          <a:xfrm>
            <a:off x="5255279" y="6705351"/>
            <a:ext cx="33792" cy="36122"/>
          </a:xfrm>
          <a:custGeom>
            <a:avLst/>
            <a:gdLst>
              <a:gd name="connsiteX0" fmla="*/ 15148 w 33792"/>
              <a:gd name="connsiteY0" fmla="*/ 36123 h 36122"/>
              <a:gd name="connsiteX1" fmla="*/ 0 w 33792"/>
              <a:gd name="connsiteY1" fmla="*/ 36123 h 36122"/>
              <a:gd name="connsiteX2" fmla="*/ 18644 w 33792"/>
              <a:gd name="connsiteY2" fmla="*/ 17479 h 36122"/>
              <a:gd name="connsiteX3" fmla="*/ 0 w 33792"/>
              <a:gd name="connsiteY3" fmla="*/ 0 h 36122"/>
              <a:gd name="connsiteX4" fmla="*/ 16313 w 33792"/>
              <a:gd name="connsiteY4" fmla="*/ 0 h 36122"/>
              <a:gd name="connsiteX5" fmla="*/ 33792 w 33792"/>
              <a:gd name="connsiteY5" fmla="*/ 17479 h 3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92" h="36122">
                <a:moveTo>
                  <a:pt x="15148" y="36123"/>
                </a:moveTo>
                <a:lnTo>
                  <a:pt x="0" y="36123"/>
                </a:lnTo>
                <a:lnTo>
                  <a:pt x="18644" y="17479"/>
                </a:lnTo>
                <a:lnTo>
                  <a:pt x="0" y="0"/>
                </a:lnTo>
                <a:lnTo>
                  <a:pt x="16313" y="0"/>
                </a:lnTo>
                <a:lnTo>
                  <a:pt x="33792" y="17479"/>
                </a:lnTo>
                <a:close/>
              </a:path>
            </a:pathLst>
          </a:custGeom>
          <a:solidFill>
            <a:srgbClr val="EEF2F5"/>
          </a:solidFill>
          <a:ln w="11643" cap="flat">
            <a:noFill/>
            <a:prstDash val="solid"/>
            <a:miter/>
          </a:ln>
        </p:spPr>
        <p:txBody>
          <a:bodyPr rtlCol="0" anchor="ctr"/>
          <a:lstStyle/>
          <a:p>
            <a:endParaRPr lang="de-DE"/>
          </a:p>
        </p:txBody>
      </p:sp>
      <p:sp>
        <p:nvSpPr>
          <p:cNvPr id="7" name="Freihandform: Form 6">
            <a:extLst>
              <a:ext uri="{FF2B5EF4-FFF2-40B4-BE49-F238E27FC236}">
                <a16:creationId xmlns:a16="http://schemas.microsoft.com/office/drawing/2014/main" id="{4036A95C-4698-466B-86BD-E5C4BEBC8F14}"/>
              </a:ext>
            </a:extLst>
          </p:cNvPr>
          <p:cNvSpPr/>
          <p:nvPr/>
        </p:nvSpPr>
        <p:spPr>
          <a:xfrm>
            <a:off x="5602523" y="2082812"/>
            <a:ext cx="50105" cy="54766"/>
          </a:xfrm>
          <a:custGeom>
            <a:avLst/>
            <a:gdLst>
              <a:gd name="connsiteX0" fmla="*/ 22140 w 50105"/>
              <a:gd name="connsiteY0" fmla="*/ 54767 h 54766"/>
              <a:gd name="connsiteX1" fmla="*/ 0 w 50105"/>
              <a:gd name="connsiteY1" fmla="*/ 54767 h 54766"/>
              <a:gd name="connsiteX2" fmla="*/ 26801 w 50105"/>
              <a:gd name="connsiteY2" fmla="*/ 27966 h 54766"/>
              <a:gd name="connsiteX3" fmla="*/ 0 w 50105"/>
              <a:gd name="connsiteY3" fmla="*/ 0 h 54766"/>
              <a:gd name="connsiteX4" fmla="*/ 23305 w 50105"/>
              <a:gd name="connsiteY4" fmla="*/ 0 h 54766"/>
              <a:gd name="connsiteX5" fmla="*/ 50106 w 50105"/>
              <a:gd name="connsiteY5" fmla="*/ 26801 h 5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4765">
                <a:moveTo>
                  <a:pt x="22140" y="54767"/>
                </a:moveTo>
                <a:lnTo>
                  <a:pt x="0" y="54767"/>
                </a:lnTo>
                <a:lnTo>
                  <a:pt x="26801" y="27966"/>
                </a:lnTo>
                <a:lnTo>
                  <a:pt x="0" y="0"/>
                </a:lnTo>
                <a:lnTo>
                  <a:pt x="23305" y="0"/>
                </a:lnTo>
                <a:lnTo>
                  <a:pt x="50106" y="26801"/>
                </a:lnTo>
                <a:close/>
              </a:path>
            </a:pathLst>
          </a:custGeom>
          <a:solidFill>
            <a:srgbClr val="EEF2F5"/>
          </a:solidFill>
          <a:ln w="11643" cap="flat">
            <a:noFill/>
            <a:prstDash val="solid"/>
            <a:miter/>
          </a:ln>
        </p:spPr>
        <p:txBody>
          <a:bodyPr rtlCol="0" anchor="ctr"/>
          <a:lstStyle/>
          <a:p>
            <a:endParaRPr lang="de-DE"/>
          </a:p>
        </p:txBody>
      </p:sp>
      <p:sp>
        <p:nvSpPr>
          <p:cNvPr id="24" name="Freihandform: Form 23">
            <a:extLst>
              <a:ext uri="{FF2B5EF4-FFF2-40B4-BE49-F238E27FC236}">
                <a16:creationId xmlns:a16="http://schemas.microsoft.com/office/drawing/2014/main" id="{BF542F85-6793-447F-ABC7-4DD68400D714}"/>
              </a:ext>
            </a:extLst>
          </p:cNvPr>
          <p:cNvSpPr/>
          <p:nvPr/>
        </p:nvSpPr>
        <p:spPr>
          <a:xfrm>
            <a:off x="5602523" y="2438213"/>
            <a:ext cx="50105" cy="53601"/>
          </a:xfrm>
          <a:custGeom>
            <a:avLst/>
            <a:gdLst>
              <a:gd name="connsiteX0" fmla="*/ 22140 w 50105"/>
              <a:gd name="connsiteY0" fmla="*/ 53601 h 53601"/>
              <a:gd name="connsiteX1" fmla="*/ 0 w 50105"/>
              <a:gd name="connsiteY1" fmla="*/ 53601 h 53601"/>
              <a:gd name="connsiteX2" fmla="*/ 26801 w 50105"/>
              <a:gd name="connsiteY2" fmla="*/ 26801 h 53601"/>
              <a:gd name="connsiteX3" fmla="*/ 0 w 50105"/>
              <a:gd name="connsiteY3" fmla="*/ 0 h 53601"/>
              <a:gd name="connsiteX4" fmla="*/ 23305 w 50105"/>
              <a:gd name="connsiteY4" fmla="*/ 0 h 53601"/>
              <a:gd name="connsiteX5" fmla="*/ 50106 w 50105"/>
              <a:gd name="connsiteY5" fmla="*/ 25635 h 53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3601">
                <a:moveTo>
                  <a:pt x="22140" y="53601"/>
                </a:moveTo>
                <a:lnTo>
                  <a:pt x="0" y="53601"/>
                </a:lnTo>
                <a:lnTo>
                  <a:pt x="26801" y="26801"/>
                </a:lnTo>
                <a:lnTo>
                  <a:pt x="0" y="0"/>
                </a:lnTo>
                <a:lnTo>
                  <a:pt x="23305" y="0"/>
                </a:lnTo>
                <a:lnTo>
                  <a:pt x="50106" y="25635"/>
                </a:lnTo>
                <a:close/>
              </a:path>
            </a:pathLst>
          </a:custGeom>
          <a:solidFill>
            <a:srgbClr val="EEF2F5"/>
          </a:solidFill>
          <a:ln w="11643" cap="flat">
            <a:noFill/>
            <a:prstDash val="solid"/>
            <a:miter/>
          </a:ln>
        </p:spPr>
        <p:txBody>
          <a:bodyPr rtlCol="0" anchor="ctr"/>
          <a:lstStyle/>
          <a:p>
            <a:endParaRPr lang="de-DE"/>
          </a:p>
        </p:txBody>
      </p:sp>
      <p:sp>
        <p:nvSpPr>
          <p:cNvPr id="40" name="Freihandform: Form 39">
            <a:extLst>
              <a:ext uri="{FF2B5EF4-FFF2-40B4-BE49-F238E27FC236}">
                <a16:creationId xmlns:a16="http://schemas.microsoft.com/office/drawing/2014/main" id="{740F153C-C05E-494B-8276-37D3E8653A98}"/>
              </a:ext>
            </a:extLst>
          </p:cNvPr>
          <p:cNvSpPr/>
          <p:nvPr/>
        </p:nvSpPr>
        <p:spPr>
          <a:xfrm>
            <a:off x="5602523" y="2792448"/>
            <a:ext cx="50105" cy="54766"/>
          </a:xfrm>
          <a:custGeom>
            <a:avLst/>
            <a:gdLst>
              <a:gd name="connsiteX0" fmla="*/ 22140 w 50105"/>
              <a:gd name="connsiteY0" fmla="*/ 54767 h 54766"/>
              <a:gd name="connsiteX1" fmla="*/ 0 w 50105"/>
              <a:gd name="connsiteY1" fmla="*/ 54767 h 54766"/>
              <a:gd name="connsiteX2" fmla="*/ 26801 w 50105"/>
              <a:gd name="connsiteY2" fmla="*/ 27966 h 54766"/>
              <a:gd name="connsiteX3" fmla="*/ 0 w 50105"/>
              <a:gd name="connsiteY3" fmla="*/ 0 h 54766"/>
              <a:gd name="connsiteX4" fmla="*/ 23305 w 50105"/>
              <a:gd name="connsiteY4" fmla="*/ 0 h 54766"/>
              <a:gd name="connsiteX5" fmla="*/ 50106 w 50105"/>
              <a:gd name="connsiteY5" fmla="*/ 26801 h 5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4765">
                <a:moveTo>
                  <a:pt x="22140" y="54767"/>
                </a:moveTo>
                <a:lnTo>
                  <a:pt x="0" y="54767"/>
                </a:lnTo>
                <a:lnTo>
                  <a:pt x="26801" y="27966"/>
                </a:lnTo>
                <a:lnTo>
                  <a:pt x="0" y="0"/>
                </a:lnTo>
                <a:lnTo>
                  <a:pt x="23305" y="0"/>
                </a:lnTo>
                <a:lnTo>
                  <a:pt x="50106" y="26801"/>
                </a:lnTo>
                <a:close/>
              </a:path>
            </a:pathLst>
          </a:custGeom>
          <a:solidFill>
            <a:srgbClr val="EEF2F5"/>
          </a:solidFill>
          <a:ln w="11643" cap="flat">
            <a:noFill/>
            <a:prstDash val="solid"/>
            <a:miter/>
          </a:ln>
        </p:spPr>
        <p:txBody>
          <a:bodyPr rtlCol="0" anchor="ctr"/>
          <a:lstStyle/>
          <a:p>
            <a:endParaRPr lang="de-DE"/>
          </a:p>
        </p:txBody>
      </p:sp>
      <p:sp>
        <p:nvSpPr>
          <p:cNvPr id="56" name="Freihandform: Form 55">
            <a:extLst>
              <a:ext uri="{FF2B5EF4-FFF2-40B4-BE49-F238E27FC236}">
                <a16:creationId xmlns:a16="http://schemas.microsoft.com/office/drawing/2014/main" id="{6DC9BB73-A50E-4E7E-85F9-1EC71DEC332C}"/>
              </a:ext>
            </a:extLst>
          </p:cNvPr>
          <p:cNvSpPr/>
          <p:nvPr/>
        </p:nvSpPr>
        <p:spPr>
          <a:xfrm>
            <a:off x="5602523" y="3147849"/>
            <a:ext cx="50105" cy="53601"/>
          </a:xfrm>
          <a:custGeom>
            <a:avLst/>
            <a:gdLst>
              <a:gd name="connsiteX0" fmla="*/ 22140 w 50105"/>
              <a:gd name="connsiteY0" fmla="*/ 53601 h 53601"/>
              <a:gd name="connsiteX1" fmla="*/ 0 w 50105"/>
              <a:gd name="connsiteY1" fmla="*/ 53601 h 53601"/>
              <a:gd name="connsiteX2" fmla="*/ 26801 w 50105"/>
              <a:gd name="connsiteY2" fmla="*/ 26801 h 53601"/>
              <a:gd name="connsiteX3" fmla="*/ 0 w 50105"/>
              <a:gd name="connsiteY3" fmla="*/ 0 h 53601"/>
              <a:gd name="connsiteX4" fmla="*/ 23305 w 50105"/>
              <a:gd name="connsiteY4" fmla="*/ 0 h 53601"/>
              <a:gd name="connsiteX5" fmla="*/ 50106 w 50105"/>
              <a:gd name="connsiteY5" fmla="*/ 26801 h 53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3601">
                <a:moveTo>
                  <a:pt x="22140" y="53601"/>
                </a:moveTo>
                <a:lnTo>
                  <a:pt x="0" y="53601"/>
                </a:lnTo>
                <a:lnTo>
                  <a:pt x="26801" y="26801"/>
                </a:lnTo>
                <a:lnTo>
                  <a:pt x="0" y="0"/>
                </a:lnTo>
                <a:lnTo>
                  <a:pt x="23305" y="0"/>
                </a:lnTo>
                <a:lnTo>
                  <a:pt x="50106" y="26801"/>
                </a:lnTo>
                <a:close/>
              </a:path>
            </a:pathLst>
          </a:custGeom>
          <a:solidFill>
            <a:srgbClr val="EEF2F5"/>
          </a:solidFill>
          <a:ln w="11643" cap="flat">
            <a:noFill/>
            <a:prstDash val="solid"/>
            <a:miter/>
          </a:ln>
        </p:spPr>
        <p:txBody>
          <a:bodyPr rtlCol="0" anchor="ctr"/>
          <a:lstStyle/>
          <a:p>
            <a:endParaRPr lang="de-DE"/>
          </a:p>
        </p:txBody>
      </p:sp>
      <p:sp>
        <p:nvSpPr>
          <p:cNvPr id="72" name="Freihandform: Form 71">
            <a:extLst>
              <a:ext uri="{FF2B5EF4-FFF2-40B4-BE49-F238E27FC236}">
                <a16:creationId xmlns:a16="http://schemas.microsoft.com/office/drawing/2014/main" id="{15AE0A81-8164-4015-8158-36F576D4E31D}"/>
              </a:ext>
            </a:extLst>
          </p:cNvPr>
          <p:cNvSpPr/>
          <p:nvPr/>
        </p:nvSpPr>
        <p:spPr>
          <a:xfrm>
            <a:off x="5602523" y="3502084"/>
            <a:ext cx="50105" cy="54766"/>
          </a:xfrm>
          <a:custGeom>
            <a:avLst/>
            <a:gdLst>
              <a:gd name="connsiteX0" fmla="*/ 22140 w 50105"/>
              <a:gd name="connsiteY0" fmla="*/ 54767 h 54766"/>
              <a:gd name="connsiteX1" fmla="*/ 0 w 50105"/>
              <a:gd name="connsiteY1" fmla="*/ 54767 h 54766"/>
              <a:gd name="connsiteX2" fmla="*/ 26801 w 50105"/>
              <a:gd name="connsiteY2" fmla="*/ 27966 h 54766"/>
              <a:gd name="connsiteX3" fmla="*/ 0 w 50105"/>
              <a:gd name="connsiteY3" fmla="*/ 0 h 54766"/>
              <a:gd name="connsiteX4" fmla="*/ 23305 w 50105"/>
              <a:gd name="connsiteY4" fmla="*/ 0 h 54766"/>
              <a:gd name="connsiteX5" fmla="*/ 50106 w 50105"/>
              <a:gd name="connsiteY5" fmla="*/ 26801 h 5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4765">
                <a:moveTo>
                  <a:pt x="22140" y="54767"/>
                </a:moveTo>
                <a:lnTo>
                  <a:pt x="0" y="54767"/>
                </a:lnTo>
                <a:lnTo>
                  <a:pt x="26801" y="27966"/>
                </a:lnTo>
                <a:lnTo>
                  <a:pt x="0" y="0"/>
                </a:lnTo>
                <a:lnTo>
                  <a:pt x="23305" y="0"/>
                </a:lnTo>
                <a:lnTo>
                  <a:pt x="50106" y="26801"/>
                </a:lnTo>
                <a:close/>
              </a:path>
            </a:pathLst>
          </a:custGeom>
          <a:solidFill>
            <a:srgbClr val="EEF2F5"/>
          </a:solidFill>
          <a:ln w="11643" cap="flat">
            <a:noFill/>
            <a:prstDash val="solid"/>
            <a:miter/>
          </a:ln>
        </p:spPr>
        <p:txBody>
          <a:bodyPr rtlCol="0" anchor="ctr"/>
          <a:lstStyle/>
          <a:p>
            <a:endParaRPr lang="de-DE"/>
          </a:p>
        </p:txBody>
      </p:sp>
      <p:sp>
        <p:nvSpPr>
          <p:cNvPr id="171" name="Freihandform: Form 170">
            <a:extLst>
              <a:ext uri="{FF2B5EF4-FFF2-40B4-BE49-F238E27FC236}">
                <a16:creationId xmlns:a16="http://schemas.microsoft.com/office/drawing/2014/main" id="{F7E7E68A-1C17-4FA5-88E2-BA53C7F9EC18}"/>
              </a:ext>
            </a:extLst>
          </p:cNvPr>
          <p:cNvSpPr/>
          <p:nvPr/>
        </p:nvSpPr>
        <p:spPr>
          <a:xfrm>
            <a:off x="5602523" y="5630993"/>
            <a:ext cx="50105" cy="54766"/>
          </a:xfrm>
          <a:custGeom>
            <a:avLst/>
            <a:gdLst>
              <a:gd name="connsiteX0" fmla="*/ 22140 w 50105"/>
              <a:gd name="connsiteY0" fmla="*/ 54766 h 54766"/>
              <a:gd name="connsiteX1" fmla="*/ 0 w 50105"/>
              <a:gd name="connsiteY1" fmla="*/ 54766 h 54766"/>
              <a:gd name="connsiteX2" fmla="*/ 26801 w 50105"/>
              <a:gd name="connsiteY2" fmla="*/ 27966 h 54766"/>
              <a:gd name="connsiteX3" fmla="*/ 0 w 50105"/>
              <a:gd name="connsiteY3" fmla="*/ 0 h 54766"/>
              <a:gd name="connsiteX4" fmla="*/ 23305 w 50105"/>
              <a:gd name="connsiteY4" fmla="*/ 0 h 54766"/>
              <a:gd name="connsiteX5" fmla="*/ 50106 w 50105"/>
              <a:gd name="connsiteY5" fmla="*/ 26801 h 5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4765">
                <a:moveTo>
                  <a:pt x="22140" y="54766"/>
                </a:moveTo>
                <a:lnTo>
                  <a:pt x="0" y="54766"/>
                </a:lnTo>
                <a:lnTo>
                  <a:pt x="26801" y="27966"/>
                </a:lnTo>
                <a:lnTo>
                  <a:pt x="0" y="0"/>
                </a:lnTo>
                <a:lnTo>
                  <a:pt x="23305" y="0"/>
                </a:lnTo>
                <a:lnTo>
                  <a:pt x="50106" y="26801"/>
                </a:lnTo>
                <a:close/>
              </a:path>
            </a:pathLst>
          </a:custGeom>
          <a:solidFill>
            <a:srgbClr val="EEF2F5"/>
          </a:solidFill>
          <a:ln w="11643" cap="flat">
            <a:noFill/>
            <a:prstDash val="solid"/>
            <a:miter/>
          </a:ln>
        </p:spPr>
        <p:txBody>
          <a:bodyPr rtlCol="0" anchor="ctr"/>
          <a:lstStyle/>
          <a:p>
            <a:endParaRPr lang="de-DE"/>
          </a:p>
        </p:txBody>
      </p:sp>
      <p:sp>
        <p:nvSpPr>
          <p:cNvPr id="188" name="Freihandform: Form 187">
            <a:extLst>
              <a:ext uri="{FF2B5EF4-FFF2-40B4-BE49-F238E27FC236}">
                <a16:creationId xmlns:a16="http://schemas.microsoft.com/office/drawing/2014/main" id="{D858DCE1-2FBD-4D17-8C06-66D6048D5493}"/>
              </a:ext>
            </a:extLst>
          </p:cNvPr>
          <p:cNvSpPr/>
          <p:nvPr/>
        </p:nvSpPr>
        <p:spPr>
          <a:xfrm>
            <a:off x="5602523" y="5986393"/>
            <a:ext cx="50105" cy="54766"/>
          </a:xfrm>
          <a:custGeom>
            <a:avLst/>
            <a:gdLst>
              <a:gd name="connsiteX0" fmla="*/ 22140 w 50105"/>
              <a:gd name="connsiteY0" fmla="*/ 54766 h 54766"/>
              <a:gd name="connsiteX1" fmla="*/ 0 w 50105"/>
              <a:gd name="connsiteY1" fmla="*/ 54766 h 54766"/>
              <a:gd name="connsiteX2" fmla="*/ 26801 w 50105"/>
              <a:gd name="connsiteY2" fmla="*/ 26801 h 54766"/>
              <a:gd name="connsiteX3" fmla="*/ 0 w 50105"/>
              <a:gd name="connsiteY3" fmla="*/ 0 h 54766"/>
              <a:gd name="connsiteX4" fmla="*/ 23305 w 50105"/>
              <a:gd name="connsiteY4" fmla="*/ 0 h 54766"/>
              <a:gd name="connsiteX5" fmla="*/ 50106 w 50105"/>
              <a:gd name="connsiteY5" fmla="*/ 26801 h 5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4765">
                <a:moveTo>
                  <a:pt x="22140" y="54766"/>
                </a:moveTo>
                <a:lnTo>
                  <a:pt x="0" y="54766"/>
                </a:lnTo>
                <a:lnTo>
                  <a:pt x="26801" y="26801"/>
                </a:lnTo>
                <a:lnTo>
                  <a:pt x="0" y="0"/>
                </a:lnTo>
                <a:lnTo>
                  <a:pt x="23305" y="0"/>
                </a:lnTo>
                <a:lnTo>
                  <a:pt x="50106" y="26801"/>
                </a:lnTo>
                <a:close/>
              </a:path>
            </a:pathLst>
          </a:custGeom>
          <a:solidFill>
            <a:srgbClr val="EEF2F5"/>
          </a:solidFill>
          <a:ln w="11643" cap="flat">
            <a:noFill/>
            <a:prstDash val="solid"/>
            <a:miter/>
          </a:ln>
        </p:spPr>
        <p:txBody>
          <a:bodyPr rtlCol="0" anchor="ctr"/>
          <a:lstStyle/>
          <a:p>
            <a:endParaRPr lang="de-DE"/>
          </a:p>
        </p:txBody>
      </p:sp>
      <p:sp>
        <p:nvSpPr>
          <p:cNvPr id="205" name="Freihandform: Form 204">
            <a:extLst>
              <a:ext uri="{FF2B5EF4-FFF2-40B4-BE49-F238E27FC236}">
                <a16:creationId xmlns:a16="http://schemas.microsoft.com/office/drawing/2014/main" id="{A776D8C8-F6BD-495D-AE14-B62B445F9D30}"/>
              </a:ext>
            </a:extLst>
          </p:cNvPr>
          <p:cNvSpPr/>
          <p:nvPr/>
        </p:nvSpPr>
        <p:spPr>
          <a:xfrm>
            <a:off x="5602523" y="6340628"/>
            <a:ext cx="50105" cy="54766"/>
          </a:xfrm>
          <a:custGeom>
            <a:avLst/>
            <a:gdLst>
              <a:gd name="connsiteX0" fmla="*/ 22140 w 50105"/>
              <a:gd name="connsiteY0" fmla="*/ 54766 h 54766"/>
              <a:gd name="connsiteX1" fmla="*/ 0 w 50105"/>
              <a:gd name="connsiteY1" fmla="*/ 54766 h 54766"/>
              <a:gd name="connsiteX2" fmla="*/ 26801 w 50105"/>
              <a:gd name="connsiteY2" fmla="*/ 27966 h 54766"/>
              <a:gd name="connsiteX3" fmla="*/ 0 w 50105"/>
              <a:gd name="connsiteY3" fmla="*/ 0 h 54766"/>
              <a:gd name="connsiteX4" fmla="*/ 23305 w 50105"/>
              <a:gd name="connsiteY4" fmla="*/ 0 h 54766"/>
              <a:gd name="connsiteX5" fmla="*/ 50106 w 50105"/>
              <a:gd name="connsiteY5" fmla="*/ 26801 h 5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4765">
                <a:moveTo>
                  <a:pt x="22140" y="54766"/>
                </a:moveTo>
                <a:lnTo>
                  <a:pt x="0" y="54766"/>
                </a:lnTo>
                <a:lnTo>
                  <a:pt x="26801" y="27966"/>
                </a:lnTo>
                <a:lnTo>
                  <a:pt x="0" y="0"/>
                </a:lnTo>
                <a:lnTo>
                  <a:pt x="23305" y="0"/>
                </a:lnTo>
                <a:lnTo>
                  <a:pt x="50106" y="26801"/>
                </a:lnTo>
                <a:close/>
              </a:path>
            </a:pathLst>
          </a:custGeom>
          <a:solidFill>
            <a:srgbClr val="EEF2F5"/>
          </a:solidFill>
          <a:ln w="11643" cap="flat">
            <a:noFill/>
            <a:prstDash val="solid"/>
            <a:miter/>
          </a:ln>
        </p:spPr>
        <p:txBody>
          <a:bodyPr rtlCol="0" anchor="ctr"/>
          <a:lstStyle/>
          <a:p>
            <a:endParaRPr lang="de-DE"/>
          </a:p>
        </p:txBody>
      </p:sp>
      <p:sp>
        <p:nvSpPr>
          <p:cNvPr id="221" name="Freihandform: Form 220">
            <a:extLst>
              <a:ext uri="{FF2B5EF4-FFF2-40B4-BE49-F238E27FC236}">
                <a16:creationId xmlns:a16="http://schemas.microsoft.com/office/drawing/2014/main" id="{335AC205-F15B-44A8-85C9-E62E3F81F25D}"/>
              </a:ext>
            </a:extLst>
          </p:cNvPr>
          <p:cNvSpPr/>
          <p:nvPr/>
        </p:nvSpPr>
        <p:spPr>
          <a:xfrm>
            <a:off x="5602523" y="6696029"/>
            <a:ext cx="50105" cy="54766"/>
          </a:xfrm>
          <a:custGeom>
            <a:avLst/>
            <a:gdLst>
              <a:gd name="connsiteX0" fmla="*/ 22140 w 50105"/>
              <a:gd name="connsiteY0" fmla="*/ 54766 h 54766"/>
              <a:gd name="connsiteX1" fmla="*/ 0 w 50105"/>
              <a:gd name="connsiteY1" fmla="*/ 54766 h 54766"/>
              <a:gd name="connsiteX2" fmla="*/ 26801 w 50105"/>
              <a:gd name="connsiteY2" fmla="*/ 27966 h 54766"/>
              <a:gd name="connsiteX3" fmla="*/ 0 w 50105"/>
              <a:gd name="connsiteY3" fmla="*/ 0 h 54766"/>
              <a:gd name="connsiteX4" fmla="*/ 23305 w 50105"/>
              <a:gd name="connsiteY4" fmla="*/ 0 h 54766"/>
              <a:gd name="connsiteX5" fmla="*/ 50106 w 50105"/>
              <a:gd name="connsiteY5" fmla="*/ 26801 h 5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4765">
                <a:moveTo>
                  <a:pt x="22140" y="54766"/>
                </a:moveTo>
                <a:lnTo>
                  <a:pt x="0" y="54766"/>
                </a:lnTo>
                <a:lnTo>
                  <a:pt x="26801" y="27966"/>
                </a:lnTo>
                <a:lnTo>
                  <a:pt x="0" y="0"/>
                </a:lnTo>
                <a:lnTo>
                  <a:pt x="23305" y="0"/>
                </a:lnTo>
                <a:lnTo>
                  <a:pt x="50106" y="26801"/>
                </a:lnTo>
                <a:close/>
              </a:path>
            </a:pathLst>
          </a:custGeom>
          <a:solidFill>
            <a:srgbClr val="EEF2F5"/>
          </a:solidFill>
          <a:ln w="11643" cap="flat">
            <a:noFill/>
            <a:prstDash val="solid"/>
            <a:miter/>
          </a:ln>
        </p:spPr>
        <p:txBody>
          <a:bodyPr rtlCol="0" anchor="ctr"/>
          <a:lstStyle/>
          <a:p>
            <a:endParaRPr lang="de-DE"/>
          </a:p>
        </p:txBody>
      </p:sp>
      <p:sp>
        <p:nvSpPr>
          <p:cNvPr id="8" name="Freihandform: Form 7">
            <a:extLst>
              <a:ext uri="{FF2B5EF4-FFF2-40B4-BE49-F238E27FC236}">
                <a16:creationId xmlns:a16="http://schemas.microsoft.com/office/drawing/2014/main" id="{D0D01710-DC2E-4828-86F6-D324528021A5}"/>
              </a:ext>
            </a:extLst>
          </p:cNvPr>
          <p:cNvSpPr/>
          <p:nvPr/>
        </p:nvSpPr>
        <p:spPr>
          <a:xfrm>
            <a:off x="5948602" y="2073490"/>
            <a:ext cx="66419" cy="72245"/>
          </a:xfrm>
          <a:custGeom>
            <a:avLst/>
            <a:gdLst>
              <a:gd name="connsiteX0" fmla="*/ 30297 w 66419"/>
              <a:gd name="connsiteY0" fmla="*/ 72245 h 72245"/>
              <a:gd name="connsiteX1" fmla="*/ 0 w 66419"/>
              <a:gd name="connsiteY1" fmla="*/ 72245 h 72245"/>
              <a:gd name="connsiteX2" fmla="*/ 36123 w 66419"/>
              <a:gd name="connsiteY2" fmla="*/ 37288 h 72245"/>
              <a:gd name="connsiteX3" fmla="*/ 0 w 66419"/>
              <a:gd name="connsiteY3" fmla="*/ 0 h 72245"/>
              <a:gd name="connsiteX4" fmla="*/ 31462 w 66419"/>
              <a:gd name="connsiteY4" fmla="*/ 0 h 72245"/>
              <a:gd name="connsiteX5" fmla="*/ 66419 w 66419"/>
              <a:gd name="connsiteY5" fmla="*/ 36123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5"/>
                </a:moveTo>
                <a:lnTo>
                  <a:pt x="0" y="72245"/>
                </a:lnTo>
                <a:lnTo>
                  <a:pt x="36123" y="37288"/>
                </a:lnTo>
                <a:lnTo>
                  <a:pt x="0" y="0"/>
                </a:lnTo>
                <a:lnTo>
                  <a:pt x="31462" y="0"/>
                </a:lnTo>
                <a:lnTo>
                  <a:pt x="66419" y="36123"/>
                </a:lnTo>
                <a:close/>
              </a:path>
            </a:pathLst>
          </a:custGeom>
          <a:solidFill>
            <a:srgbClr val="EEF2F5"/>
          </a:solidFill>
          <a:ln w="11643" cap="flat">
            <a:noFill/>
            <a:prstDash val="solid"/>
            <a:miter/>
          </a:ln>
        </p:spPr>
        <p:txBody>
          <a:bodyPr rtlCol="0" anchor="ctr"/>
          <a:lstStyle/>
          <a:p>
            <a:endParaRPr lang="de-DE"/>
          </a:p>
        </p:txBody>
      </p:sp>
      <p:sp>
        <p:nvSpPr>
          <p:cNvPr id="25" name="Freihandform: Form 24">
            <a:extLst>
              <a:ext uri="{FF2B5EF4-FFF2-40B4-BE49-F238E27FC236}">
                <a16:creationId xmlns:a16="http://schemas.microsoft.com/office/drawing/2014/main" id="{31123F88-1002-4B81-B9C6-413FE13BBA3A}"/>
              </a:ext>
            </a:extLst>
          </p:cNvPr>
          <p:cNvSpPr/>
          <p:nvPr/>
        </p:nvSpPr>
        <p:spPr>
          <a:xfrm>
            <a:off x="5948602" y="2428891"/>
            <a:ext cx="66419" cy="72245"/>
          </a:xfrm>
          <a:custGeom>
            <a:avLst/>
            <a:gdLst>
              <a:gd name="connsiteX0" fmla="*/ 30297 w 66419"/>
              <a:gd name="connsiteY0" fmla="*/ 72245 h 72245"/>
              <a:gd name="connsiteX1" fmla="*/ 0 w 66419"/>
              <a:gd name="connsiteY1" fmla="*/ 72245 h 72245"/>
              <a:gd name="connsiteX2" fmla="*/ 36123 w 66419"/>
              <a:gd name="connsiteY2" fmla="*/ 36123 h 72245"/>
              <a:gd name="connsiteX3" fmla="*/ 0 w 66419"/>
              <a:gd name="connsiteY3" fmla="*/ 0 h 72245"/>
              <a:gd name="connsiteX4" fmla="*/ 31462 w 66419"/>
              <a:gd name="connsiteY4" fmla="*/ 0 h 72245"/>
              <a:gd name="connsiteX5" fmla="*/ 66419 w 66419"/>
              <a:gd name="connsiteY5" fmla="*/ 34957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5"/>
                </a:moveTo>
                <a:lnTo>
                  <a:pt x="0" y="72245"/>
                </a:lnTo>
                <a:lnTo>
                  <a:pt x="36123" y="36123"/>
                </a:lnTo>
                <a:lnTo>
                  <a:pt x="0" y="0"/>
                </a:lnTo>
                <a:lnTo>
                  <a:pt x="31462" y="0"/>
                </a:lnTo>
                <a:lnTo>
                  <a:pt x="66419" y="34957"/>
                </a:lnTo>
                <a:close/>
              </a:path>
            </a:pathLst>
          </a:custGeom>
          <a:solidFill>
            <a:srgbClr val="EEF2F5"/>
          </a:solidFill>
          <a:ln w="11643" cap="flat">
            <a:noFill/>
            <a:prstDash val="solid"/>
            <a:miter/>
          </a:ln>
        </p:spPr>
        <p:txBody>
          <a:bodyPr rtlCol="0" anchor="ctr"/>
          <a:lstStyle/>
          <a:p>
            <a:endParaRPr lang="de-DE"/>
          </a:p>
        </p:txBody>
      </p:sp>
      <p:sp>
        <p:nvSpPr>
          <p:cNvPr id="41" name="Freihandform: Form 40">
            <a:extLst>
              <a:ext uri="{FF2B5EF4-FFF2-40B4-BE49-F238E27FC236}">
                <a16:creationId xmlns:a16="http://schemas.microsoft.com/office/drawing/2014/main" id="{BA5C8D95-A4B2-4EE7-814A-A5E3649F4137}"/>
              </a:ext>
            </a:extLst>
          </p:cNvPr>
          <p:cNvSpPr/>
          <p:nvPr/>
        </p:nvSpPr>
        <p:spPr>
          <a:xfrm>
            <a:off x="5948602" y="2783126"/>
            <a:ext cx="66419" cy="72245"/>
          </a:xfrm>
          <a:custGeom>
            <a:avLst/>
            <a:gdLst>
              <a:gd name="connsiteX0" fmla="*/ 30297 w 66419"/>
              <a:gd name="connsiteY0" fmla="*/ 72245 h 72245"/>
              <a:gd name="connsiteX1" fmla="*/ 0 w 66419"/>
              <a:gd name="connsiteY1" fmla="*/ 72245 h 72245"/>
              <a:gd name="connsiteX2" fmla="*/ 36123 w 66419"/>
              <a:gd name="connsiteY2" fmla="*/ 37288 h 72245"/>
              <a:gd name="connsiteX3" fmla="*/ 0 w 66419"/>
              <a:gd name="connsiteY3" fmla="*/ 0 h 72245"/>
              <a:gd name="connsiteX4" fmla="*/ 31462 w 66419"/>
              <a:gd name="connsiteY4" fmla="*/ 0 h 72245"/>
              <a:gd name="connsiteX5" fmla="*/ 66419 w 66419"/>
              <a:gd name="connsiteY5" fmla="*/ 36123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5"/>
                </a:moveTo>
                <a:lnTo>
                  <a:pt x="0" y="72245"/>
                </a:lnTo>
                <a:lnTo>
                  <a:pt x="36123" y="37288"/>
                </a:lnTo>
                <a:lnTo>
                  <a:pt x="0" y="0"/>
                </a:lnTo>
                <a:lnTo>
                  <a:pt x="31462" y="0"/>
                </a:lnTo>
                <a:lnTo>
                  <a:pt x="66419" y="36123"/>
                </a:lnTo>
                <a:close/>
              </a:path>
            </a:pathLst>
          </a:custGeom>
          <a:solidFill>
            <a:srgbClr val="EEF2F5"/>
          </a:solidFill>
          <a:ln w="11643" cap="flat">
            <a:noFill/>
            <a:prstDash val="solid"/>
            <a:miter/>
          </a:ln>
        </p:spPr>
        <p:txBody>
          <a:bodyPr rtlCol="0" anchor="ctr"/>
          <a:lstStyle/>
          <a:p>
            <a:endParaRPr lang="de-DE"/>
          </a:p>
        </p:txBody>
      </p:sp>
      <p:sp>
        <p:nvSpPr>
          <p:cNvPr id="57" name="Freihandform: Form 56">
            <a:extLst>
              <a:ext uri="{FF2B5EF4-FFF2-40B4-BE49-F238E27FC236}">
                <a16:creationId xmlns:a16="http://schemas.microsoft.com/office/drawing/2014/main" id="{636D7BF9-1E35-425E-994B-CE960B642C82}"/>
              </a:ext>
            </a:extLst>
          </p:cNvPr>
          <p:cNvSpPr/>
          <p:nvPr/>
        </p:nvSpPr>
        <p:spPr>
          <a:xfrm>
            <a:off x="5948602" y="3138527"/>
            <a:ext cx="66419" cy="72245"/>
          </a:xfrm>
          <a:custGeom>
            <a:avLst/>
            <a:gdLst>
              <a:gd name="connsiteX0" fmla="*/ 30297 w 66419"/>
              <a:gd name="connsiteY0" fmla="*/ 72245 h 72245"/>
              <a:gd name="connsiteX1" fmla="*/ 0 w 66419"/>
              <a:gd name="connsiteY1" fmla="*/ 72245 h 72245"/>
              <a:gd name="connsiteX2" fmla="*/ 36123 w 66419"/>
              <a:gd name="connsiteY2" fmla="*/ 36123 h 72245"/>
              <a:gd name="connsiteX3" fmla="*/ 0 w 66419"/>
              <a:gd name="connsiteY3" fmla="*/ 0 h 72245"/>
              <a:gd name="connsiteX4" fmla="*/ 31462 w 66419"/>
              <a:gd name="connsiteY4" fmla="*/ 0 h 72245"/>
              <a:gd name="connsiteX5" fmla="*/ 66419 w 66419"/>
              <a:gd name="connsiteY5" fmla="*/ 34957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5"/>
                </a:moveTo>
                <a:lnTo>
                  <a:pt x="0" y="72245"/>
                </a:lnTo>
                <a:lnTo>
                  <a:pt x="36123" y="36123"/>
                </a:lnTo>
                <a:lnTo>
                  <a:pt x="0" y="0"/>
                </a:lnTo>
                <a:lnTo>
                  <a:pt x="31462" y="0"/>
                </a:lnTo>
                <a:lnTo>
                  <a:pt x="66419" y="34957"/>
                </a:lnTo>
                <a:close/>
              </a:path>
            </a:pathLst>
          </a:custGeom>
          <a:solidFill>
            <a:srgbClr val="EEF2F5"/>
          </a:solidFill>
          <a:ln w="11643" cap="flat">
            <a:noFill/>
            <a:prstDash val="solid"/>
            <a:miter/>
          </a:ln>
        </p:spPr>
        <p:txBody>
          <a:bodyPr rtlCol="0" anchor="ctr"/>
          <a:lstStyle/>
          <a:p>
            <a:endParaRPr lang="de-DE"/>
          </a:p>
        </p:txBody>
      </p:sp>
      <p:sp>
        <p:nvSpPr>
          <p:cNvPr id="73" name="Freihandform: Form 72">
            <a:extLst>
              <a:ext uri="{FF2B5EF4-FFF2-40B4-BE49-F238E27FC236}">
                <a16:creationId xmlns:a16="http://schemas.microsoft.com/office/drawing/2014/main" id="{DFBDD53B-EB0E-4F44-B437-1C679A10EA5C}"/>
              </a:ext>
            </a:extLst>
          </p:cNvPr>
          <p:cNvSpPr/>
          <p:nvPr/>
        </p:nvSpPr>
        <p:spPr>
          <a:xfrm>
            <a:off x="5948602" y="3492762"/>
            <a:ext cx="66419" cy="73410"/>
          </a:xfrm>
          <a:custGeom>
            <a:avLst/>
            <a:gdLst>
              <a:gd name="connsiteX0" fmla="*/ 30297 w 66419"/>
              <a:gd name="connsiteY0" fmla="*/ 73411 h 73410"/>
              <a:gd name="connsiteX1" fmla="*/ 0 w 66419"/>
              <a:gd name="connsiteY1" fmla="*/ 73411 h 73410"/>
              <a:gd name="connsiteX2" fmla="*/ 36123 w 66419"/>
              <a:gd name="connsiteY2" fmla="*/ 37288 h 73410"/>
              <a:gd name="connsiteX3" fmla="*/ 0 w 66419"/>
              <a:gd name="connsiteY3" fmla="*/ 0 h 73410"/>
              <a:gd name="connsiteX4" fmla="*/ 31462 w 66419"/>
              <a:gd name="connsiteY4" fmla="*/ 0 h 73410"/>
              <a:gd name="connsiteX5" fmla="*/ 66419 w 66419"/>
              <a:gd name="connsiteY5" fmla="*/ 36123 h 73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3410">
                <a:moveTo>
                  <a:pt x="30297" y="73411"/>
                </a:moveTo>
                <a:lnTo>
                  <a:pt x="0" y="73411"/>
                </a:lnTo>
                <a:lnTo>
                  <a:pt x="36123" y="37288"/>
                </a:lnTo>
                <a:lnTo>
                  <a:pt x="0" y="0"/>
                </a:lnTo>
                <a:lnTo>
                  <a:pt x="31462" y="0"/>
                </a:lnTo>
                <a:lnTo>
                  <a:pt x="66419" y="36123"/>
                </a:lnTo>
                <a:close/>
              </a:path>
            </a:pathLst>
          </a:custGeom>
          <a:solidFill>
            <a:srgbClr val="EEF2F5"/>
          </a:solidFill>
          <a:ln w="11643" cap="flat">
            <a:noFill/>
            <a:prstDash val="solid"/>
            <a:miter/>
          </a:ln>
        </p:spPr>
        <p:txBody>
          <a:bodyPr rtlCol="0" anchor="ctr"/>
          <a:lstStyle/>
          <a:p>
            <a:endParaRPr lang="de-DE"/>
          </a:p>
        </p:txBody>
      </p:sp>
      <p:sp>
        <p:nvSpPr>
          <p:cNvPr id="89" name="Freihandform: Form 88">
            <a:extLst>
              <a:ext uri="{FF2B5EF4-FFF2-40B4-BE49-F238E27FC236}">
                <a16:creationId xmlns:a16="http://schemas.microsoft.com/office/drawing/2014/main" id="{3107BFD1-BB04-45D5-9901-72F67CE0736C}"/>
              </a:ext>
            </a:extLst>
          </p:cNvPr>
          <p:cNvSpPr/>
          <p:nvPr/>
        </p:nvSpPr>
        <p:spPr>
          <a:xfrm>
            <a:off x="5948602" y="3848163"/>
            <a:ext cx="66419" cy="72245"/>
          </a:xfrm>
          <a:custGeom>
            <a:avLst/>
            <a:gdLst>
              <a:gd name="connsiteX0" fmla="*/ 30297 w 66419"/>
              <a:gd name="connsiteY0" fmla="*/ 72245 h 72245"/>
              <a:gd name="connsiteX1" fmla="*/ 0 w 66419"/>
              <a:gd name="connsiteY1" fmla="*/ 72245 h 72245"/>
              <a:gd name="connsiteX2" fmla="*/ 36123 w 66419"/>
              <a:gd name="connsiteY2" fmla="*/ 36123 h 72245"/>
              <a:gd name="connsiteX3" fmla="*/ 0 w 66419"/>
              <a:gd name="connsiteY3" fmla="*/ 0 h 72245"/>
              <a:gd name="connsiteX4" fmla="*/ 31462 w 66419"/>
              <a:gd name="connsiteY4" fmla="*/ 0 h 72245"/>
              <a:gd name="connsiteX5" fmla="*/ 66419 w 66419"/>
              <a:gd name="connsiteY5" fmla="*/ 34957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5"/>
                </a:moveTo>
                <a:lnTo>
                  <a:pt x="0" y="72245"/>
                </a:lnTo>
                <a:lnTo>
                  <a:pt x="36123" y="36123"/>
                </a:lnTo>
                <a:lnTo>
                  <a:pt x="0" y="0"/>
                </a:lnTo>
                <a:lnTo>
                  <a:pt x="31462" y="0"/>
                </a:lnTo>
                <a:lnTo>
                  <a:pt x="66419" y="34957"/>
                </a:lnTo>
                <a:close/>
              </a:path>
            </a:pathLst>
          </a:custGeom>
          <a:solidFill>
            <a:srgbClr val="EEF2F5"/>
          </a:solidFill>
          <a:ln w="11643" cap="flat">
            <a:noFill/>
            <a:prstDash val="solid"/>
            <a:miter/>
          </a:ln>
        </p:spPr>
        <p:txBody>
          <a:bodyPr rtlCol="0" anchor="ctr"/>
          <a:lstStyle/>
          <a:p>
            <a:endParaRPr lang="de-DE"/>
          </a:p>
        </p:txBody>
      </p:sp>
      <p:sp>
        <p:nvSpPr>
          <p:cNvPr id="155" name="Freihandform: Form 154">
            <a:extLst>
              <a:ext uri="{FF2B5EF4-FFF2-40B4-BE49-F238E27FC236}">
                <a16:creationId xmlns:a16="http://schemas.microsoft.com/office/drawing/2014/main" id="{0476C6FA-89C7-4150-9910-3BE37EF8061B}"/>
              </a:ext>
            </a:extLst>
          </p:cNvPr>
          <p:cNvSpPr/>
          <p:nvPr/>
        </p:nvSpPr>
        <p:spPr>
          <a:xfrm>
            <a:off x="5948602" y="5267435"/>
            <a:ext cx="66419" cy="72245"/>
          </a:xfrm>
          <a:custGeom>
            <a:avLst/>
            <a:gdLst>
              <a:gd name="connsiteX0" fmla="*/ 30297 w 66419"/>
              <a:gd name="connsiteY0" fmla="*/ 72246 h 72245"/>
              <a:gd name="connsiteX1" fmla="*/ 0 w 66419"/>
              <a:gd name="connsiteY1" fmla="*/ 72246 h 72245"/>
              <a:gd name="connsiteX2" fmla="*/ 36123 w 66419"/>
              <a:gd name="connsiteY2" fmla="*/ 36123 h 72245"/>
              <a:gd name="connsiteX3" fmla="*/ 0 w 66419"/>
              <a:gd name="connsiteY3" fmla="*/ 0 h 72245"/>
              <a:gd name="connsiteX4" fmla="*/ 31462 w 66419"/>
              <a:gd name="connsiteY4" fmla="*/ 0 h 72245"/>
              <a:gd name="connsiteX5" fmla="*/ 66419 w 66419"/>
              <a:gd name="connsiteY5" fmla="*/ 36123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6"/>
                </a:moveTo>
                <a:lnTo>
                  <a:pt x="0" y="72246"/>
                </a:lnTo>
                <a:lnTo>
                  <a:pt x="36123" y="36123"/>
                </a:lnTo>
                <a:lnTo>
                  <a:pt x="0" y="0"/>
                </a:lnTo>
                <a:lnTo>
                  <a:pt x="31462" y="0"/>
                </a:lnTo>
                <a:lnTo>
                  <a:pt x="66419" y="36123"/>
                </a:lnTo>
                <a:close/>
              </a:path>
            </a:pathLst>
          </a:custGeom>
          <a:solidFill>
            <a:srgbClr val="EEF2F5"/>
          </a:solidFill>
          <a:ln w="11643" cap="flat">
            <a:noFill/>
            <a:prstDash val="solid"/>
            <a:miter/>
          </a:ln>
        </p:spPr>
        <p:txBody>
          <a:bodyPr rtlCol="0" anchor="ctr"/>
          <a:lstStyle/>
          <a:p>
            <a:endParaRPr lang="de-DE"/>
          </a:p>
        </p:txBody>
      </p:sp>
      <p:sp>
        <p:nvSpPr>
          <p:cNvPr id="172" name="Freihandform: Form 171">
            <a:extLst>
              <a:ext uri="{FF2B5EF4-FFF2-40B4-BE49-F238E27FC236}">
                <a16:creationId xmlns:a16="http://schemas.microsoft.com/office/drawing/2014/main" id="{B7EA1921-A21C-4EEA-AF29-44E0ABBF486B}"/>
              </a:ext>
            </a:extLst>
          </p:cNvPr>
          <p:cNvSpPr/>
          <p:nvPr/>
        </p:nvSpPr>
        <p:spPr>
          <a:xfrm>
            <a:off x="5948602" y="5622836"/>
            <a:ext cx="66419" cy="72245"/>
          </a:xfrm>
          <a:custGeom>
            <a:avLst/>
            <a:gdLst>
              <a:gd name="connsiteX0" fmla="*/ 30297 w 66419"/>
              <a:gd name="connsiteY0" fmla="*/ 72246 h 72245"/>
              <a:gd name="connsiteX1" fmla="*/ 0 w 66419"/>
              <a:gd name="connsiteY1" fmla="*/ 72246 h 72245"/>
              <a:gd name="connsiteX2" fmla="*/ 36123 w 66419"/>
              <a:gd name="connsiteY2" fmla="*/ 36123 h 72245"/>
              <a:gd name="connsiteX3" fmla="*/ 0 w 66419"/>
              <a:gd name="connsiteY3" fmla="*/ 0 h 72245"/>
              <a:gd name="connsiteX4" fmla="*/ 31462 w 66419"/>
              <a:gd name="connsiteY4" fmla="*/ 0 h 72245"/>
              <a:gd name="connsiteX5" fmla="*/ 66419 w 66419"/>
              <a:gd name="connsiteY5" fmla="*/ 34957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6"/>
                </a:moveTo>
                <a:lnTo>
                  <a:pt x="0" y="72246"/>
                </a:lnTo>
                <a:lnTo>
                  <a:pt x="36123" y="36123"/>
                </a:lnTo>
                <a:lnTo>
                  <a:pt x="0" y="0"/>
                </a:lnTo>
                <a:lnTo>
                  <a:pt x="31462" y="0"/>
                </a:lnTo>
                <a:lnTo>
                  <a:pt x="66419" y="34957"/>
                </a:lnTo>
                <a:close/>
              </a:path>
            </a:pathLst>
          </a:custGeom>
          <a:solidFill>
            <a:srgbClr val="EEF2F5"/>
          </a:solidFill>
          <a:ln w="11643" cap="flat">
            <a:noFill/>
            <a:prstDash val="solid"/>
            <a:miter/>
          </a:ln>
        </p:spPr>
        <p:txBody>
          <a:bodyPr rtlCol="0" anchor="ctr"/>
          <a:lstStyle/>
          <a:p>
            <a:endParaRPr lang="de-DE"/>
          </a:p>
        </p:txBody>
      </p:sp>
      <p:sp>
        <p:nvSpPr>
          <p:cNvPr id="189" name="Freihandform: Form 188">
            <a:extLst>
              <a:ext uri="{FF2B5EF4-FFF2-40B4-BE49-F238E27FC236}">
                <a16:creationId xmlns:a16="http://schemas.microsoft.com/office/drawing/2014/main" id="{4B73D56C-9773-4937-82D9-0C129B27FB09}"/>
              </a:ext>
            </a:extLst>
          </p:cNvPr>
          <p:cNvSpPr/>
          <p:nvPr/>
        </p:nvSpPr>
        <p:spPr>
          <a:xfrm>
            <a:off x="5948602" y="5977071"/>
            <a:ext cx="66419" cy="72245"/>
          </a:xfrm>
          <a:custGeom>
            <a:avLst/>
            <a:gdLst>
              <a:gd name="connsiteX0" fmla="*/ 30297 w 66419"/>
              <a:gd name="connsiteY0" fmla="*/ 72246 h 72245"/>
              <a:gd name="connsiteX1" fmla="*/ 0 w 66419"/>
              <a:gd name="connsiteY1" fmla="*/ 72246 h 72245"/>
              <a:gd name="connsiteX2" fmla="*/ 36123 w 66419"/>
              <a:gd name="connsiteY2" fmla="*/ 36123 h 72245"/>
              <a:gd name="connsiteX3" fmla="*/ 0 w 66419"/>
              <a:gd name="connsiteY3" fmla="*/ 0 h 72245"/>
              <a:gd name="connsiteX4" fmla="*/ 31462 w 66419"/>
              <a:gd name="connsiteY4" fmla="*/ 0 h 72245"/>
              <a:gd name="connsiteX5" fmla="*/ 66419 w 66419"/>
              <a:gd name="connsiteY5" fmla="*/ 36123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6"/>
                </a:moveTo>
                <a:lnTo>
                  <a:pt x="0" y="72246"/>
                </a:lnTo>
                <a:lnTo>
                  <a:pt x="36123" y="36123"/>
                </a:lnTo>
                <a:lnTo>
                  <a:pt x="0" y="0"/>
                </a:lnTo>
                <a:lnTo>
                  <a:pt x="31462" y="0"/>
                </a:lnTo>
                <a:lnTo>
                  <a:pt x="66419" y="36123"/>
                </a:lnTo>
                <a:close/>
              </a:path>
            </a:pathLst>
          </a:custGeom>
          <a:solidFill>
            <a:srgbClr val="EEF2F5"/>
          </a:solidFill>
          <a:ln w="11643" cap="flat">
            <a:noFill/>
            <a:prstDash val="solid"/>
            <a:miter/>
          </a:ln>
        </p:spPr>
        <p:txBody>
          <a:bodyPr rtlCol="0" anchor="ctr"/>
          <a:lstStyle/>
          <a:p>
            <a:endParaRPr lang="de-DE"/>
          </a:p>
        </p:txBody>
      </p:sp>
      <p:sp>
        <p:nvSpPr>
          <p:cNvPr id="206" name="Freihandform: Form 205">
            <a:extLst>
              <a:ext uri="{FF2B5EF4-FFF2-40B4-BE49-F238E27FC236}">
                <a16:creationId xmlns:a16="http://schemas.microsoft.com/office/drawing/2014/main" id="{A2EEDBB3-F918-4A6E-A412-B8C8B911DDD3}"/>
              </a:ext>
            </a:extLst>
          </p:cNvPr>
          <p:cNvSpPr/>
          <p:nvPr/>
        </p:nvSpPr>
        <p:spPr>
          <a:xfrm>
            <a:off x="5948602" y="6332472"/>
            <a:ext cx="66419" cy="72245"/>
          </a:xfrm>
          <a:custGeom>
            <a:avLst/>
            <a:gdLst>
              <a:gd name="connsiteX0" fmla="*/ 30297 w 66419"/>
              <a:gd name="connsiteY0" fmla="*/ 72246 h 72245"/>
              <a:gd name="connsiteX1" fmla="*/ 0 w 66419"/>
              <a:gd name="connsiteY1" fmla="*/ 72246 h 72245"/>
              <a:gd name="connsiteX2" fmla="*/ 36123 w 66419"/>
              <a:gd name="connsiteY2" fmla="*/ 36123 h 72245"/>
              <a:gd name="connsiteX3" fmla="*/ 0 w 66419"/>
              <a:gd name="connsiteY3" fmla="*/ 0 h 72245"/>
              <a:gd name="connsiteX4" fmla="*/ 31462 w 66419"/>
              <a:gd name="connsiteY4" fmla="*/ 0 h 72245"/>
              <a:gd name="connsiteX5" fmla="*/ 66419 w 66419"/>
              <a:gd name="connsiteY5" fmla="*/ 34957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6"/>
                </a:moveTo>
                <a:lnTo>
                  <a:pt x="0" y="72246"/>
                </a:lnTo>
                <a:lnTo>
                  <a:pt x="36123" y="36123"/>
                </a:lnTo>
                <a:lnTo>
                  <a:pt x="0" y="0"/>
                </a:lnTo>
                <a:lnTo>
                  <a:pt x="31462" y="0"/>
                </a:lnTo>
                <a:lnTo>
                  <a:pt x="66419" y="34957"/>
                </a:lnTo>
                <a:close/>
              </a:path>
            </a:pathLst>
          </a:custGeom>
          <a:solidFill>
            <a:srgbClr val="EEF2F5"/>
          </a:solidFill>
          <a:ln w="11643" cap="flat">
            <a:noFill/>
            <a:prstDash val="solid"/>
            <a:miter/>
          </a:ln>
        </p:spPr>
        <p:txBody>
          <a:bodyPr rtlCol="0" anchor="ctr"/>
          <a:lstStyle/>
          <a:p>
            <a:endParaRPr lang="de-DE"/>
          </a:p>
        </p:txBody>
      </p:sp>
      <p:sp>
        <p:nvSpPr>
          <p:cNvPr id="222" name="Freihandform: Form 221">
            <a:extLst>
              <a:ext uri="{FF2B5EF4-FFF2-40B4-BE49-F238E27FC236}">
                <a16:creationId xmlns:a16="http://schemas.microsoft.com/office/drawing/2014/main" id="{E783B07A-D7A5-49D0-8D6F-D0064E121D70}"/>
              </a:ext>
            </a:extLst>
          </p:cNvPr>
          <p:cNvSpPr/>
          <p:nvPr/>
        </p:nvSpPr>
        <p:spPr>
          <a:xfrm>
            <a:off x="5948602" y="6686707"/>
            <a:ext cx="66419" cy="72245"/>
          </a:xfrm>
          <a:custGeom>
            <a:avLst/>
            <a:gdLst>
              <a:gd name="connsiteX0" fmla="*/ 30297 w 66419"/>
              <a:gd name="connsiteY0" fmla="*/ 72246 h 72245"/>
              <a:gd name="connsiteX1" fmla="*/ 0 w 66419"/>
              <a:gd name="connsiteY1" fmla="*/ 72246 h 72245"/>
              <a:gd name="connsiteX2" fmla="*/ 36123 w 66419"/>
              <a:gd name="connsiteY2" fmla="*/ 37288 h 72245"/>
              <a:gd name="connsiteX3" fmla="*/ 0 w 66419"/>
              <a:gd name="connsiteY3" fmla="*/ 0 h 72245"/>
              <a:gd name="connsiteX4" fmla="*/ 31462 w 66419"/>
              <a:gd name="connsiteY4" fmla="*/ 0 h 72245"/>
              <a:gd name="connsiteX5" fmla="*/ 66419 w 66419"/>
              <a:gd name="connsiteY5" fmla="*/ 36123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6"/>
                </a:moveTo>
                <a:lnTo>
                  <a:pt x="0" y="72246"/>
                </a:lnTo>
                <a:lnTo>
                  <a:pt x="36123" y="37288"/>
                </a:lnTo>
                <a:lnTo>
                  <a:pt x="0" y="0"/>
                </a:lnTo>
                <a:lnTo>
                  <a:pt x="31462" y="0"/>
                </a:lnTo>
                <a:lnTo>
                  <a:pt x="66419" y="36123"/>
                </a:lnTo>
                <a:close/>
              </a:path>
            </a:pathLst>
          </a:custGeom>
          <a:solidFill>
            <a:srgbClr val="EEF2F5"/>
          </a:solidFill>
          <a:ln w="11643" cap="flat">
            <a:noFill/>
            <a:prstDash val="solid"/>
            <a:miter/>
          </a:ln>
        </p:spPr>
        <p:txBody>
          <a:bodyPr rtlCol="0" anchor="ctr"/>
          <a:lstStyle/>
          <a:p>
            <a:endParaRPr lang="de-DE"/>
          </a:p>
        </p:txBody>
      </p:sp>
      <p:sp>
        <p:nvSpPr>
          <p:cNvPr id="11" name="Freihandform: Form 10">
            <a:extLst>
              <a:ext uri="{FF2B5EF4-FFF2-40B4-BE49-F238E27FC236}">
                <a16:creationId xmlns:a16="http://schemas.microsoft.com/office/drawing/2014/main" id="{75FBD411-81D5-40D9-85F5-17F8ADC51855}"/>
              </a:ext>
            </a:extLst>
          </p:cNvPr>
          <p:cNvSpPr/>
          <p:nvPr/>
        </p:nvSpPr>
        <p:spPr>
          <a:xfrm>
            <a:off x="6294680" y="2064168"/>
            <a:ext cx="83897" cy="90889"/>
          </a:xfrm>
          <a:custGeom>
            <a:avLst/>
            <a:gdLst>
              <a:gd name="connsiteX0" fmla="*/ 38453 w 83897"/>
              <a:gd name="connsiteY0" fmla="*/ 90889 h 90889"/>
              <a:gd name="connsiteX1" fmla="*/ 0 w 83897"/>
              <a:gd name="connsiteY1" fmla="*/ 90889 h 90889"/>
              <a:gd name="connsiteX2" fmla="*/ 45445 w 83897"/>
              <a:gd name="connsiteY2" fmla="*/ 46610 h 90889"/>
              <a:gd name="connsiteX3" fmla="*/ 0 w 83897"/>
              <a:gd name="connsiteY3" fmla="*/ 0 h 90889"/>
              <a:gd name="connsiteX4" fmla="*/ 39618 w 83897"/>
              <a:gd name="connsiteY4" fmla="*/ 0 h 90889"/>
              <a:gd name="connsiteX5" fmla="*/ 83898 w 83897"/>
              <a:gd name="connsiteY5" fmla="*/ 45445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6610"/>
                </a:lnTo>
                <a:lnTo>
                  <a:pt x="0" y="0"/>
                </a:lnTo>
                <a:lnTo>
                  <a:pt x="39618" y="0"/>
                </a:lnTo>
                <a:lnTo>
                  <a:pt x="83898" y="45445"/>
                </a:lnTo>
                <a:close/>
              </a:path>
            </a:pathLst>
          </a:custGeom>
          <a:solidFill>
            <a:srgbClr val="EEF2F5"/>
          </a:solidFill>
          <a:ln w="11643" cap="flat">
            <a:noFill/>
            <a:prstDash val="solid"/>
            <a:miter/>
          </a:ln>
        </p:spPr>
        <p:txBody>
          <a:bodyPr rtlCol="0" anchor="ctr"/>
          <a:lstStyle/>
          <a:p>
            <a:endParaRPr lang="de-DE"/>
          </a:p>
        </p:txBody>
      </p:sp>
      <p:sp>
        <p:nvSpPr>
          <p:cNvPr id="26" name="Freihandform: Form 25">
            <a:extLst>
              <a:ext uri="{FF2B5EF4-FFF2-40B4-BE49-F238E27FC236}">
                <a16:creationId xmlns:a16="http://schemas.microsoft.com/office/drawing/2014/main" id="{1BE891D4-79E8-4F6F-87F1-0D4367D86BBB}"/>
              </a:ext>
            </a:extLst>
          </p:cNvPr>
          <p:cNvSpPr/>
          <p:nvPr/>
        </p:nvSpPr>
        <p:spPr>
          <a:xfrm>
            <a:off x="6294680" y="2419569"/>
            <a:ext cx="83897" cy="90889"/>
          </a:xfrm>
          <a:custGeom>
            <a:avLst/>
            <a:gdLst>
              <a:gd name="connsiteX0" fmla="*/ 38453 w 83897"/>
              <a:gd name="connsiteY0" fmla="*/ 90889 h 90889"/>
              <a:gd name="connsiteX1" fmla="*/ 0 w 83897"/>
              <a:gd name="connsiteY1" fmla="*/ 90889 h 90889"/>
              <a:gd name="connsiteX2" fmla="*/ 45445 w 83897"/>
              <a:gd name="connsiteY2" fmla="*/ 45445 h 90889"/>
              <a:gd name="connsiteX3" fmla="*/ 0 w 83897"/>
              <a:gd name="connsiteY3" fmla="*/ 0 h 90889"/>
              <a:gd name="connsiteX4" fmla="*/ 39618 w 83897"/>
              <a:gd name="connsiteY4" fmla="*/ 0 h 90889"/>
              <a:gd name="connsiteX5" fmla="*/ 83898 w 83897"/>
              <a:gd name="connsiteY5" fmla="*/ 44279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endParaRPr lang="de-DE"/>
          </a:p>
        </p:txBody>
      </p:sp>
      <p:sp>
        <p:nvSpPr>
          <p:cNvPr id="42" name="Freihandform: Form 41">
            <a:extLst>
              <a:ext uri="{FF2B5EF4-FFF2-40B4-BE49-F238E27FC236}">
                <a16:creationId xmlns:a16="http://schemas.microsoft.com/office/drawing/2014/main" id="{3840402F-0CB7-4700-AB86-312936B9375A}"/>
              </a:ext>
            </a:extLst>
          </p:cNvPr>
          <p:cNvSpPr/>
          <p:nvPr/>
        </p:nvSpPr>
        <p:spPr>
          <a:xfrm>
            <a:off x="6294680" y="2773804"/>
            <a:ext cx="83897" cy="90889"/>
          </a:xfrm>
          <a:custGeom>
            <a:avLst/>
            <a:gdLst>
              <a:gd name="connsiteX0" fmla="*/ 38453 w 83897"/>
              <a:gd name="connsiteY0" fmla="*/ 90889 h 90889"/>
              <a:gd name="connsiteX1" fmla="*/ 0 w 83897"/>
              <a:gd name="connsiteY1" fmla="*/ 90889 h 90889"/>
              <a:gd name="connsiteX2" fmla="*/ 45445 w 83897"/>
              <a:gd name="connsiteY2" fmla="*/ 46610 h 90889"/>
              <a:gd name="connsiteX3" fmla="*/ 0 w 83897"/>
              <a:gd name="connsiteY3" fmla="*/ 0 h 90889"/>
              <a:gd name="connsiteX4" fmla="*/ 39618 w 83897"/>
              <a:gd name="connsiteY4" fmla="*/ 0 h 90889"/>
              <a:gd name="connsiteX5" fmla="*/ 83898 w 83897"/>
              <a:gd name="connsiteY5" fmla="*/ 45445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6610"/>
                </a:lnTo>
                <a:lnTo>
                  <a:pt x="0" y="0"/>
                </a:lnTo>
                <a:lnTo>
                  <a:pt x="39618" y="0"/>
                </a:lnTo>
                <a:lnTo>
                  <a:pt x="83898" y="45445"/>
                </a:lnTo>
                <a:close/>
              </a:path>
            </a:pathLst>
          </a:custGeom>
          <a:solidFill>
            <a:srgbClr val="EEF2F5"/>
          </a:solidFill>
          <a:ln w="11643" cap="flat">
            <a:noFill/>
            <a:prstDash val="solid"/>
            <a:miter/>
          </a:ln>
        </p:spPr>
        <p:txBody>
          <a:bodyPr rtlCol="0" anchor="ctr"/>
          <a:lstStyle/>
          <a:p>
            <a:endParaRPr lang="de-DE"/>
          </a:p>
        </p:txBody>
      </p:sp>
      <p:sp>
        <p:nvSpPr>
          <p:cNvPr id="58" name="Freihandform: Form 57">
            <a:extLst>
              <a:ext uri="{FF2B5EF4-FFF2-40B4-BE49-F238E27FC236}">
                <a16:creationId xmlns:a16="http://schemas.microsoft.com/office/drawing/2014/main" id="{C92817E7-21F5-4822-9D42-BC3A22B20F43}"/>
              </a:ext>
            </a:extLst>
          </p:cNvPr>
          <p:cNvSpPr/>
          <p:nvPr/>
        </p:nvSpPr>
        <p:spPr>
          <a:xfrm>
            <a:off x="6294680" y="3129205"/>
            <a:ext cx="83897" cy="90889"/>
          </a:xfrm>
          <a:custGeom>
            <a:avLst/>
            <a:gdLst>
              <a:gd name="connsiteX0" fmla="*/ 38453 w 83897"/>
              <a:gd name="connsiteY0" fmla="*/ 90889 h 90889"/>
              <a:gd name="connsiteX1" fmla="*/ 0 w 83897"/>
              <a:gd name="connsiteY1" fmla="*/ 90889 h 90889"/>
              <a:gd name="connsiteX2" fmla="*/ 45445 w 83897"/>
              <a:gd name="connsiteY2" fmla="*/ 45445 h 90889"/>
              <a:gd name="connsiteX3" fmla="*/ 0 w 83897"/>
              <a:gd name="connsiteY3" fmla="*/ 0 h 90889"/>
              <a:gd name="connsiteX4" fmla="*/ 39618 w 83897"/>
              <a:gd name="connsiteY4" fmla="*/ 0 h 90889"/>
              <a:gd name="connsiteX5" fmla="*/ 83898 w 83897"/>
              <a:gd name="connsiteY5" fmla="*/ 44279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endParaRPr lang="de-DE"/>
          </a:p>
        </p:txBody>
      </p:sp>
      <p:sp>
        <p:nvSpPr>
          <p:cNvPr id="74" name="Freihandform: Form 73">
            <a:extLst>
              <a:ext uri="{FF2B5EF4-FFF2-40B4-BE49-F238E27FC236}">
                <a16:creationId xmlns:a16="http://schemas.microsoft.com/office/drawing/2014/main" id="{B9D0716B-8D9A-4338-AEA4-79A7EEDD478B}"/>
              </a:ext>
            </a:extLst>
          </p:cNvPr>
          <p:cNvSpPr/>
          <p:nvPr/>
        </p:nvSpPr>
        <p:spPr>
          <a:xfrm>
            <a:off x="6294680" y="3484606"/>
            <a:ext cx="83897" cy="89724"/>
          </a:xfrm>
          <a:custGeom>
            <a:avLst/>
            <a:gdLst>
              <a:gd name="connsiteX0" fmla="*/ 38453 w 83897"/>
              <a:gd name="connsiteY0" fmla="*/ 89724 h 89724"/>
              <a:gd name="connsiteX1" fmla="*/ 0 w 83897"/>
              <a:gd name="connsiteY1" fmla="*/ 89724 h 89724"/>
              <a:gd name="connsiteX2" fmla="*/ 45445 w 83897"/>
              <a:gd name="connsiteY2" fmla="*/ 45445 h 89724"/>
              <a:gd name="connsiteX3" fmla="*/ 0 w 83897"/>
              <a:gd name="connsiteY3" fmla="*/ 0 h 89724"/>
              <a:gd name="connsiteX4" fmla="*/ 39618 w 83897"/>
              <a:gd name="connsiteY4" fmla="*/ 0 h 89724"/>
              <a:gd name="connsiteX5" fmla="*/ 83898 w 83897"/>
              <a:gd name="connsiteY5" fmla="*/ 44279 h 89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89724">
                <a:moveTo>
                  <a:pt x="38453" y="89724"/>
                </a:moveTo>
                <a:lnTo>
                  <a:pt x="0" y="89724"/>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endParaRPr lang="de-DE"/>
          </a:p>
        </p:txBody>
      </p:sp>
      <p:sp>
        <p:nvSpPr>
          <p:cNvPr id="90" name="Freihandform: Form 89">
            <a:extLst>
              <a:ext uri="{FF2B5EF4-FFF2-40B4-BE49-F238E27FC236}">
                <a16:creationId xmlns:a16="http://schemas.microsoft.com/office/drawing/2014/main" id="{9161924B-A7F2-4DF3-B909-33BF43FA25EF}"/>
              </a:ext>
            </a:extLst>
          </p:cNvPr>
          <p:cNvSpPr/>
          <p:nvPr/>
        </p:nvSpPr>
        <p:spPr>
          <a:xfrm>
            <a:off x="6294680" y="3838841"/>
            <a:ext cx="83897" cy="90889"/>
          </a:xfrm>
          <a:custGeom>
            <a:avLst/>
            <a:gdLst>
              <a:gd name="connsiteX0" fmla="*/ 38453 w 83897"/>
              <a:gd name="connsiteY0" fmla="*/ 90889 h 90889"/>
              <a:gd name="connsiteX1" fmla="*/ 0 w 83897"/>
              <a:gd name="connsiteY1" fmla="*/ 90889 h 90889"/>
              <a:gd name="connsiteX2" fmla="*/ 45445 w 83897"/>
              <a:gd name="connsiteY2" fmla="*/ 45445 h 90889"/>
              <a:gd name="connsiteX3" fmla="*/ 0 w 83897"/>
              <a:gd name="connsiteY3" fmla="*/ 0 h 90889"/>
              <a:gd name="connsiteX4" fmla="*/ 39618 w 83897"/>
              <a:gd name="connsiteY4" fmla="*/ 0 h 90889"/>
              <a:gd name="connsiteX5" fmla="*/ 83898 w 83897"/>
              <a:gd name="connsiteY5" fmla="*/ 44279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endParaRPr lang="de-DE"/>
          </a:p>
        </p:txBody>
      </p:sp>
      <p:sp>
        <p:nvSpPr>
          <p:cNvPr id="106" name="Freihandform: Form 105">
            <a:extLst>
              <a:ext uri="{FF2B5EF4-FFF2-40B4-BE49-F238E27FC236}">
                <a16:creationId xmlns:a16="http://schemas.microsoft.com/office/drawing/2014/main" id="{9F04DFFC-EA40-46F4-8195-B5F7E353EE2A}"/>
              </a:ext>
            </a:extLst>
          </p:cNvPr>
          <p:cNvSpPr/>
          <p:nvPr/>
        </p:nvSpPr>
        <p:spPr>
          <a:xfrm>
            <a:off x="6294680" y="4194242"/>
            <a:ext cx="83897" cy="89724"/>
          </a:xfrm>
          <a:custGeom>
            <a:avLst/>
            <a:gdLst>
              <a:gd name="connsiteX0" fmla="*/ 38453 w 83897"/>
              <a:gd name="connsiteY0" fmla="*/ 89724 h 89724"/>
              <a:gd name="connsiteX1" fmla="*/ 0 w 83897"/>
              <a:gd name="connsiteY1" fmla="*/ 89724 h 89724"/>
              <a:gd name="connsiteX2" fmla="*/ 45445 w 83897"/>
              <a:gd name="connsiteY2" fmla="*/ 45445 h 89724"/>
              <a:gd name="connsiteX3" fmla="*/ 0 w 83897"/>
              <a:gd name="connsiteY3" fmla="*/ 0 h 89724"/>
              <a:gd name="connsiteX4" fmla="*/ 39618 w 83897"/>
              <a:gd name="connsiteY4" fmla="*/ 0 h 89724"/>
              <a:gd name="connsiteX5" fmla="*/ 83898 w 83897"/>
              <a:gd name="connsiteY5" fmla="*/ 44279 h 89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89724">
                <a:moveTo>
                  <a:pt x="38453" y="89724"/>
                </a:moveTo>
                <a:lnTo>
                  <a:pt x="0" y="89724"/>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endParaRPr lang="de-DE"/>
          </a:p>
        </p:txBody>
      </p:sp>
      <p:sp>
        <p:nvSpPr>
          <p:cNvPr id="139" name="Freihandform: Form 138">
            <a:extLst>
              <a:ext uri="{FF2B5EF4-FFF2-40B4-BE49-F238E27FC236}">
                <a16:creationId xmlns:a16="http://schemas.microsoft.com/office/drawing/2014/main" id="{5362CBB1-E50A-41B7-8ED0-9FCFE213E9A5}"/>
              </a:ext>
            </a:extLst>
          </p:cNvPr>
          <p:cNvSpPr/>
          <p:nvPr/>
        </p:nvSpPr>
        <p:spPr>
          <a:xfrm>
            <a:off x="6294680" y="4903878"/>
            <a:ext cx="83897" cy="89724"/>
          </a:xfrm>
          <a:custGeom>
            <a:avLst/>
            <a:gdLst>
              <a:gd name="connsiteX0" fmla="*/ 38453 w 83897"/>
              <a:gd name="connsiteY0" fmla="*/ 89724 h 89724"/>
              <a:gd name="connsiteX1" fmla="*/ 0 w 83897"/>
              <a:gd name="connsiteY1" fmla="*/ 89724 h 89724"/>
              <a:gd name="connsiteX2" fmla="*/ 45445 w 83897"/>
              <a:gd name="connsiteY2" fmla="*/ 45445 h 89724"/>
              <a:gd name="connsiteX3" fmla="*/ 0 w 83897"/>
              <a:gd name="connsiteY3" fmla="*/ 0 h 89724"/>
              <a:gd name="connsiteX4" fmla="*/ 39618 w 83897"/>
              <a:gd name="connsiteY4" fmla="*/ 0 h 89724"/>
              <a:gd name="connsiteX5" fmla="*/ 83898 w 83897"/>
              <a:gd name="connsiteY5" fmla="*/ 44279 h 89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89724">
                <a:moveTo>
                  <a:pt x="38453" y="89724"/>
                </a:moveTo>
                <a:lnTo>
                  <a:pt x="0" y="89724"/>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endParaRPr lang="de-DE"/>
          </a:p>
        </p:txBody>
      </p:sp>
      <p:sp>
        <p:nvSpPr>
          <p:cNvPr id="156" name="Freihandform: Form 155">
            <a:extLst>
              <a:ext uri="{FF2B5EF4-FFF2-40B4-BE49-F238E27FC236}">
                <a16:creationId xmlns:a16="http://schemas.microsoft.com/office/drawing/2014/main" id="{2508847B-61E4-41D1-A3A0-A411189F6767}"/>
              </a:ext>
            </a:extLst>
          </p:cNvPr>
          <p:cNvSpPr/>
          <p:nvPr/>
        </p:nvSpPr>
        <p:spPr>
          <a:xfrm>
            <a:off x="6294680" y="5258113"/>
            <a:ext cx="83897" cy="90889"/>
          </a:xfrm>
          <a:custGeom>
            <a:avLst/>
            <a:gdLst>
              <a:gd name="connsiteX0" fmla="*/ 38453 w 83897"/>
              <a:gd name="connsiteY0" fmla="*/ 90889 h 90889"/>
              <a:gd name="connsiteX1" fmla="*/ 0 w 83897"/>
              <a:gd name="connsiteY1" fmla="*/ 90889 h 90889"/>
              <a:gd name="connsiteX2" fmla="*/ 45445 w 83897"/>
              <a:gd name="connsiteY2" fmla="*/ 45445 h 90889"/>
              <a:gd name="connsiteX3" fmla="*/ 0 w 83897"/>
              <a:gd name="connsiteY3" fmla="*/ 0 h 90889"/>
              <a:gd name="connsiteX4" fmla="*/ 39618 w 83897"/>
              <a:gd name="connsiteY4" fmla="*/ 0 h 90889"/>
              <a:gd name="connsiteX5" fmla="*/ 83898 w 83897"/>
              <a:gd name="connsiteY5" fmla="*/ 44279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endParaRPr lang="de-DE"/>
          </a:p>
        </p:txBody>
      </p:sp>
      <p:sp>
        <p:nvSpPr>
          <p:cNvPr id="173" name="Freihandform: Form 172">
            <a:extLst>
              <a:ext uri="{FF2B5EF4-FFF2-40B4-BE49-F238E27FC236}">
                <a16:creationId xmlns:a16="http://schemas.microsoft.com/office/drawing/2014/main" id="{E2A7CA26-A6FF-4830-89D6-0AE49ECECB52}"/>
              </a:ext>
            </a:extLst>
          </p:cNvPr>
          <p:cNvSpPr/>
          <p:nvPr/>
        </p:nvSpPr>
        <p:spPr>
          <a:xfrm>
            <a:off x="6294680" y="5613514"/>
            <a:ext cx="83897" cy="90889"/>
          </a:xfrm>
          <a:custGeom>
            <a:avLst/>
            <a:gdLst>
              <a:gd name="connsiteX0" fmla="*/ 38453 w 83897"/>
              <a:gd name="connsiteY0" fmla="*/ 90889 h 90889"/>
              <a:gd name="connsiteX1" fmla="*/ 0 w 83897"/>
              <a:gd name="connsiteY1" fmla="*/ 90889 h 90889"/>
              <a:gd name="connsiteX2" fmla="*/ 45445 w 83897"/>
              <a:gd name="connsiteY2" fmla="*/ 45445 h 90889"/>
              <a:gd name="connsiteX3" fmla="*/ 0 w 83897"/>
              <a:gd name="connsiteY3" fmla="*/ 0 h 90889"/>
              <a:gd name="connsiteX4" fmla="*/ 39618 w 83897"/>
              <a:gd name="connsiteY4" fmla="*/ 0 h 90889"/>
              <a:gd name="connsiteX5" fmla="*/ 83898 w 83897"/>
              <a:gd name="connsiteY5" fmla="*/ 44279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endParaRPr lang="de-DE"/>
          </a:p>
        </p:txBody>
      </p:sp>
      <p:sp>
        <p:nvSpPr>
          <p:cNvPr id="190" name="Freihandform: Form 189">
            <a:extLst>
              <a:ext uri="{FF2B5EF4-FFF2-40B4-BE49-F238E27FC236}">
                <a16:creationId xmlns:a16="http://schemas.microsoft.com/office/drawing/2014/main" id="{0D910AA1-D94C-4927-9F7F-6AE33C84B359}"/>
              </a:ext>
            </a:extLst>
          </p:cNvPr>
          <p:cNvSpPr/>
          <p:nvPr/>
        </p:nvSpPr>
        <p:spPr>
          <a:xfrm>
            <a:off x="6294680" y="5967749"/>
            <a:ext cx="83897" cy="90889"/>
          </a:xfrm>
          <a:custGeom>
            <a:avLst/>
            <a:gdLst>
              <a:gd name="connsiteX0" fmla="*/ 38453 w 83897"/>
              <a:gd name="connsiteY0" fmla="*/ 90889 h 90889"/>
              <a:gd name="connsiteX1" fmla="*/ 0 w 83897"/>
              <a:gd name="connsiteY1" fmla="*/ 90889 h 90889"/>
              <a:gd name="connsiteX2" fmla="*/ 45445 w 83897"/>
              <a:gd name="connsiteY2" fmla="*/ 46610 h 90889"/>
              <a:gd name="connsiteX3" fmla="*/ 0 w 83897"/>
              <a:gd name="connsiteY3" fmla="*/ 0 h 90889"/>
              <a:gd name="connsiteX4" fmla="*/ 39618 w 83897"/>
              <a:gd name="connsiteY4" fmla="*/ 0 h 90889"/>
              <a:gd name="connsiteX5" fmla="*/ 83898 w 83897"/>
              <a:gd name="connsiteY5" fmla="*/ 45445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6610"/>
                </a:lnTo>
                <a:lnTo>
                  <a:pt x="0" y="0"/>
                </a:lnTo>
                <a:lnTo>
                  <a:pt x="39618" y="0"/>
                </a:lnTo>
                <a:lnTo>
                  <a:pt x="83898" y="45445"/>
                </a:lnTo>
                <a:close/>
              </a:path>
            </a:pathLst>
          </a:custGeom>
          <a:solidFill>
            <a:srgbClr val="EEF2F5"/>
          </a:solidFill>
          <a:ln w="11643" cap="flat">
            <a:noFill/>
            <a:prstDash val="solid"/>
            <a:miter/>
          </a:ln>
        </p:spPr>
        <p:txBody>
          <a:bodyPr rtlCol="0" anchor="ctr"/>
          <a:lstStyle/>
          <a:p>
            <a:endParaRPr lang="de-DE"/>
          </a:p>
        </p:txBody>
      </p:sp>
      <p:sp>
        <p:nvSpPr>
          <p:cNvPr id="207" name="Freihandform: Form 206">
            <a:extLst>
              <a:ext uri="{FF2B5EF4-FFF2-40B4-BE49-F238E27FC236}">
                <a16:creationId xmlns:a16="http://schemas.microsoft.com/office/drawing/2014/main" id="{21DCF3C4-698C-4A65-960C-FC9526795073}"/>
              </a:ext>
            </a:extLst>
          </p:cNvPr>
          <p:cNvSpPr/>
          <p:nvPr/>
        </p:nvSpPr>
        <p:spPr>
          <a:xfrm>
            <a:off x="6294680" y="6323150"/>
            <a:ext cx="83897" cy="90889"/>
          </a:xfrm>
          <a:custGeom>
            <a:avLst/>
            <a:gdLst>
              <a:gd name="connsiteX0" fmla="*/ 38453 w 83897"/>
              <a:gd name="connsiteY0" fmla="*/ 90889 h 90889"/>
              <a:gd name="connsiteX1" fmla="*/ 0 w 83897"/>
              <a:gd name="connsiteY1" fmla="*/ 90889 h 90889"/>
              <a:gd name="connsiteX2" fmla="*/ 45445 w 83897"/>
              <a:gd name="connsiteY2" fmla="*/ 45445 h 90889"/>
              <a:gd name="connsiteX3" fmla="*/ 0 w 83897"/>
              <a:gd name="connsiteY3" fmla="*/ 0 h 90889"/>
              <a:gd name="connsiteX4" fmla="*/ 39618 w 83897"/>
              <a:gd name="connsiteY4" fmla="*/ 0 h 90889"/>
              <a:gd name="connsiteX5" fmla="*/ 83898 w 83897"/>
              <a:gd name="connsiteY5" fmla="*/ 44279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endParaRPr lang="de-DE"/>
          </a:p>
        </p:txBody>
      </p:sp>
      <p:sp>
        <p:nvSpPr>
          <p:cNvPr id="223" name="Freihandform: Form 222">
            <a:extLst>
              <a:ext uri="{FF2B5EF4-FFF2-40B4-BE49-F238E27FC236}">
                <a16:creationId xmlns:a16="http://schemas.microsoft.com/office/drawing/2014/main" id="{E38105B6-8D3F-48F3-9F5F-2328382B7C38}"/>
              </a:ext>
            </a:extLst>
          </p:cNvPr>
          <p:cNvSpPr/>
          <p:nvPr/>
        </p:nvSpPr>
        <p:spPr>
          <a:xfrm>
            <a:off x="6294680" y="6677385"/>
            <a:ext cx="83897" cy="90889"/>
          </a:xfrm>
          <a:custGeom>
            <a:avLst/>
            <a:gdLst>
              <a:gd name="connsiteX0" fmla="*/ 38453 w 83897"/>
              <a:gd name="connsiteY0" fmla="*/ 90889 h 90889"/>
              <a:gd name="connsiteX1" fmla="*/ 0 w 83897"/>
              <a:gd name="connsiteY1" fmla="*/ 90889 h 90889"/>
              <a:gd name="connsiteX2" fmla="*/ 45445 w 83897"/>
              <a:gd name="connsiteY2" fmla="*/ 46610 h 90889"/>
              <a:gd name="connsiteX3" fmla="*/ 0 w 83897"/>
              <a:gd name="connsiteY3" fmla="*/ 0 h 90889"/>
              <a:gd name="connsiteX4" fmla="*/ 39618 w 83897"/>
              <a:gd name="connsiteY4" fmla="*/ 0 h 90889"/>
              <a:gd name="connsiteX5" fmla="*/ 83898 w 83897"/>
              <a:gd name="connsiteY5" fmla="*/ 45445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6610"/>
                </a:lnTo>
                <a:lnTo>
                  <a:pt x="0" y="0"/>
                </a:lnTo>
                <a:lnTo>
                  <a:pt x="39618" y="0"/>
                </a:lnTo>
                <a:lnTo>
                  <a:pt x="83898" y="45445"/>
                </a:lnTo>
                <a:close/>
              </a:path>
            </a:pathLst>
          </a:custGeom>
          <a:solidFill>
            <a:srgbClr val="EEF2F5"/>
          </a:solidFill>
          <a:ln w="11643" cap="flat">
            <a:noFill/>
            <a:prstDash val="solid"/>
            <a:miter/>
          </a:ln>
        </p:spPr>
        <p:txBody>
          <a:bodyPr rtlCol="0" anchor="ctr"/>
          <a:lstStyle/>
          <a:p>
            <a:endParaRPr lang="de-DE"/>
          </a:p>
        </p:txBody>
      </p:sp>
      <p:sp>
        <p:nvSpPr>
          <p:cNvPr id="12" name="Freihandform: Form 11">
            <a:extLst>
              <a:ext uri="{FF2B5EF4-FFF2-40B4-BE49-F238E27FC236}">
                <a16:creationId xmlns:a16="http://schemas.microsoft.com/office/drawing/2014/main" id="{583AB347-5EFD-45EC-837F-436640EC31BF}"/>
              </a:ext>
            </a:extLst>
          </p:cNvPr>
          <p:cNvSpPr/>
          <p:nvPr/>
        </p:nvSpPr>
        <p:spPr>
          <a:xfrm>
            <a:off x="6641924" y="2056012"/>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3601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27" name="Freihandform: Form 26">
            <a:extLst>
              <a:ext uri="{FF2B5EF4-FFF2-40B4-BE49-F238E27FC236}">
                <a16:creationId xmlns:a16="http://schemas.microsoft.com/office/drawing/2014/main" id="{2C9F6191-45F4-4549-838F-728D0F86DCCC}"/>
              </a:ext>
            </a:extLst>
          </p:cNvPr>
          <p:cNvSpPr/>
          <p:nvPr/>
        </p:nvSpPr>
        <p:spPr>
          <a:xfrm>
            <a:off x="6641924" y="2410247"/>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3601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43" name="Freihandform: Form 42">
            <a:extLst>
              <a:ext uri="{FF2B5EF4-FFF2-40B4-BE49-F238E27FC236}">
                <a16:creationId xmlns:a16="http://schemas.microsoft.com/office/drawing/2014/main" id="{58997C67-D006-44A2-AD3D-33F34BD464B4}"/>
              </a:ext>
            </a:extLst>
          </p:cNvPr>
          <p:cNvSpPr/>
          <p:nvPr/>
        </p:nvSpPr>
        <p:spPr>
          <a:xfrm>
            <a:off x="6641924" y="2765648"/>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3601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59" name="Freihandform: Form 58">
            <a:extLst>
              <a:ext uri="{FF2B5EF4-FFF2-40B4-BE49-F238E27FC236}">
                <a16:creationId xmlns:a16="http://schemas.microsoft.com/office/drawing/2014/main" id="{C4E89A45-8CD6-4F72-A3FF-464AD5125F97}"/>
              </a:ext>
            </a:extLst>
          </p:cNvPr>
          <p:cNvSpPr/>
          <p:nvPr/>
        </p:nvSpPr>
        <p:spPr>
          <a:xfrm>
            <a:off x="6641924" y="3119883"/>
            <a:ext cx="100211" cy="109533"/>
          </a:xfrm>
          <a:custGeom>
            <a:avLst/>
            <a:gdLst>
              <a:gd name="connsiteX0" fmla="*/ 45445 w 100211"/>
              <a:gd name="connsiteY0" fmla="*/ 109533 h 109533"/>
              <a:gd name="connsiteX1" fmla="*/ 0 w 100211"/>
              <a:gd name="connsiteY1" fmla="*/ 109533 h 109533"/>
              <a:gd name="connsiteX2" fmla="*/ 53601 w 100211"/>
              <a:gd name="connsiteY2" fmla="*/ 54767 h 109533"/>
              <a:gd name="connsiteX3" fmla="*/ 0 w 100211"/>
              <a:gd name="connsiteY3" fmla="*/ 0 h 109533"/>
              <a:gd name="connsiteX4" fmla="*/ 46610 w 100211"/>
              <a:gd name="connsiteY4" fmla="*/ 0 h 109533"/>
              <a:gd name="connsiteX5" fmla="*/ 100211 w 100211"/>
              <a:gd name="connsiteY5" fmla="*/ 53601 h 109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9533">
                <a:moveTo>
                  <a:pt x="45445" y="109533"/>
                </a:moveTo>
                <a:lnTo>
                  <a:pt x="0" y="109533"/>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75" name="Freihandform: Form 74">
            <a:extLst>
              <a:ext uri="{FF2B5EF4-FFF2-40B4-BE49-F238E27FC236}">
                <a16:creationId xmlns:a16="http://schemas.microsoft.com/office/drawing/2014/main" id="{B9D7B804-0A3A-4555-AA49-BAAC4D841F25}"/>
              </a:ext>
            </a:extLst>
          </p:cNvPr>
          <p:cNvSpPr/>
          <p:nvPr/>
        </p:nvSpPr>
        <p:spPr>
          <a:xfrm>
            <a:off x="6641924" y="3475284"/>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3601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91" name="Freihandform: Form 90">
            <a:extLst>
              <a:ext uri="{FF2B5EF4-FFF2-40B4-BE49-F238E27FC236}">
                <a16:creationId xmlns:a16="http://schemas.microsoft.com/office/drawing/2014/main" id="{E186CBFA-7613-4BC9-8990-21E472FC7476}"/>
              </a:ext>
            </a:extLst>
          </p:cNvPr>
          <p:cNvSpPr/>
          <p:nvPr/>
        </p:nvSpPr>
        <p:spPr>
          <a:xfrm>
            <a:off x="6641924" y="3829519"/>
            <a:ext cx="100211" cy="109533"/>
          </a:xfrm>
          <a:custGeom>
            <a:avLst/>
            <a:gdLst>
              <a:gd name="connsiteX0" fmla="*/ 45445 w 100211"/>
              <a:gd name="connsiteY0" fmla="*/ 109533 h 109533"/>
              <a:gd name="connsiteX1" fmla="*/ 0 w 100211"/>
              <a:gd name="connsiteY1" fmla="*/ 109533 h 109533"/>
              <a:gd name="connsiteX2" fmla="*/ 53601 w 100211"/>
              <a:gd name="connsiteY2" fmla="*/ 54767 h 109533"/>
              <a:gd name="connsiteX3" fmla="*/ 0 w 100211"/>
              <a:gd name="connsiteY3" fmla="*/ 0 h 109533"/>
              <a:gd name="connsiteX4" fmla="*/ 46610 w 100211"/>
              <a:gd name="connsiteY4" fmla="*/ 0 h 109533"/>
              <a:gd name="connsiteX5" fmla="*/ 100211 w 100211"/>
              <a:gd name="connsiteY5" fmla="*/ 53601 h 109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9533">
                <a:moveTo>
                  <a:pt x="45445" y="109533"/>
                </a:moveTo>
                <a:lnTo>
                  <a:pt x="0" y="109533"/>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107" name="Freihandform: Form 106">
            <a:extLst>
              <a:ext uri="{FF2B5EF4-FFF2-40B4-BE49-F238E27FC236}">
                <a16:creationId xmlns:a16="http://schemas.microsoft.com/office/drawing/2014/main" id="{431E1B18-1EEB-4090-9700-F9FE3C0FED51}"/>
              </a:ext>
            </a:extLst>
          </p:cNvPr>
          <p:cNvSpPr/>
          <p:nvPr/>
        </p:nvSpPr>
        <p:spPr>
          <a:xfrm>
            <a:off x="6641924" y="4184920"/>
            <a:ext cx="100211" cy="108367"/>
          </a:xfrm>
          <a:custGeom>
            <a:avLst/>
            <a:gdLst>
              <a:gd name="connsiteX0" fmla="*/ 45445 w 100211"/>
              <a:gd name="connsiteY0" fmla="*/ 108368 h 108367"/>
              <a:gd name="connsiteX1" fmla="*/ 0 w 100211"/>
              <a:gd name="connsiteY1" fmla="*/ 108368 h 108367"/>
              <a:gd name="connsiteX2" fmla="*/ 53601 w 100211"/>
              <a:gd name="connsiteY2" fmla="*/ 54767 h 108367"/>
              <a:gd name="connsiteX3" fmla="*/ 0 w 100211"/>
              <a:gd name="connsiteY3" fmla="*/ 0 h 108367"/>
              <a:gd name="connsiteX4" fmla="*/ 46610 w 100211"/>
              <a:gd name="connsiteY4" fmla="*/ 0 h 108367"/>
              <a:gd name="connsiteX5" fmla="*/ 100211 w 100211"/>
              <a:gd name="connsiteY5" fmla="*/ 53601 h 108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7">
                <a:moveTo>
                  <a:pt x="45445" y="108368"/>
                </a:moveTo>
                <a:lnTo>
                  <a:pt x="0" y="108368"/>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123" name="Freihandform: Form 122">
            <a:extLst>
              <a:ext uri="{FF2B5EF4-FFF2-40B4-BE49-F238E27FC236}">
                <a16:creationId xmlns:a16="http://schemas.microsoft.com/office/drawing/2014/main" id="{DC2F5F31-D8DD-48D9-A875-60890175F7E1}"/>
              </a:ext>
            </a:extLst>
          </p:cNvPr>
          <p:cNvSpPr/>
          <p:nvPr/>
        </p:nvSpPr>
        <p:spPr>
          <a:xfrm>
            <a:off x="6641924" y="4539155"/>
            <a:ext cx="100211" cy="109533"/>
          </a:xfrm>
          <a:custGeom>
            <a:avLst/>
            <a:gdLst>
              <a:gd name="connsiteX0" fmla="*/ 45445 w 100211"/>
              <a:gd name="connsiteY0" fmla="*/ 109533 h 109533"/>
              <a:gd name="connsiteX1" fmla="*/ 0 w 100211"/>
              <a:gd name="connsiteY1" fmla="*/ 109533 h 109533"/>
              <a:gd name="connsiteX2" fmla="*/ 53601 w 100211"/>
              <a:gd name="connsiteY2" fmla="*/ 54767 h 109533"/>
              <a:gd name="connsiteX3" fmla="*/ 0 w 100211"/>
              <a:gd name="connsiteY3" fmla="*/ 0 h 109533"/>
              <a:gd name="connsiteX4" fmla="*/ 46610 w 100211"/>
              <a:gd name="connsiteY4" fmla="*/ 0 h 109533"/>
              <a:gd name="connsiteX5" fmla="*/ 100211 w 100211"/>
              <a:gd name="connsiteY5" fmla="*/ 53601 h 109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9533">
                <a:moveTo>
                  <a:pt x="45445" y="109533"/>
                </a:moveTo>
                <a:lnTo>
                  <a:pt x="0" y="109533"/>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140" name="Freihandform: Form 139">
            <a:extLst>
              <a:ext uri="{FF2B5EF4-FFF2-40B4-BE49-F238E27FC236}">
                <a16:creationId xmlns:a16="http://schemas.microsoft.com/office/drawing/2014/main" id="{76442F10-6EC9-4E34-AAE4-0D75456E4698}"/>
              </a:ext>
            </a:extLst>
          </p:cNvPr>
          <p:cNvSpPr/>
          <p:nvPr/>
        </p:nvSpPr>
        <p:spPr>
          <a:xfrm>
            <a:off x="6641924" y="4894556"/>
            <a:ext cx="100211" cy="108367"/>
          </a:xfrm>
          <a:custGeom>
            <a:avLst/>
            <a:gdLst>
              <a:gd name="connsiteX0" fmla="*/ 45445 w 100211"/>
              <a:gd name="connsiteY0" fmla="*/ 108368 h 108367"/>
              <a:gd name="connsiteX1" fmla="*/ 0 w 100211"/>
              <a:gd name="connsiteY1" fmla="*/ 108368 h 108367"/>
              <a:gd name="connsiteX2" fmla="*/ 53601 w 100211"/>
              <a:gd name="connsiteY2" fmla="*/ 54767 h 108367"/>
              <a:gd name="connsiteX3" fmla="*/ 0 w 100211"/>
              <a:gd name="connsiteY3" fmla="*/ 0 h 108367"/>
              <a:gd name="connsiteX4" fmla="*/ 46610 w 100211"/>
              <a:gd name="connsiteY4" fmla="*/ 0 h 108367"/>
              <a:gd name="connsiteX5" fmla="*/ 100211 w 100211"/>
              <a:gd name="connsiteY5" fmla="*/ 53601 h 108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7">
                <a:moveTo>
                  <a:pt x="45445" y="108368"/>
                </a:moveTo>
                <a:lnTo>
                  <a:pt x="0" y="108368"/>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157" name="Freihandform: Form 156">
            <a:extLst>
              <a:ext uri="{FF2B5EF4-FFF2-40B4-BE49-F238E27FC236}">
                <a16:creationId xmlns:a16="http://schemas.microsoft.com/office/drawing/2014/main" id="{3F3DF7DA-74D8-4504-A71D-F774354EAB93}"/>
              </a:ext>
            </a:extLst>
          </p:cNvPr>
          <p:cNvSpPr/>
          <p:nvPr/>
        </p:nvSpPr>
        <p:spPr>
          <a:xfrm>
            <a:off x="6641924" y="5249956"/>
            <a:ext cx="100211" cy="108367"/>
          </a:xfrm>
          <a:custGeom>
            <a:avLst/>
            <a:gdLst>
              <a:gd name="connsiteX0" fmla="*/ 45445 w 100211"/>
              <a:gd name="connsiteY0" fmla="*/ 108368 h 108367"/>
              <a:gd name="connsiteX1" fmla="*/ 0 w 100211"/>
              <a:gd name="connsiteY1" fmla="*/ 108368 h 108367"/>
              <a:gd name="connsiteX2" fmla="*/ 53601 w 100211"/>
              <a:gd name="connsiteY2" fmla="*/ 54767 h 108367"/>
              <a:gd name="connsiteX3" fmla="*/ 0 w 100211"/>
              <a:gd name="connsiteY3" fmla="*/ 0 h 108367"/>
              <a:gd name="connsiteX4" fmla="*/ 46610 w 100211"/>
              <a:gd name="connsiteY4" fmla="*/ 0 h 108367"/>
              <a:gd name="connsiteX5" fmla="*/ 100211 w 100211"/>
              <a:gd name="connsiteY5" fmla="*/ 52436 h 108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7">
                <a:moveTo>
                  <a:pt x="45445" y="108368"/>
                </a:moveTo>
                <a:lnTo>
                  <a:pt x="0" y="108368"/>
                </a:lnTo>
                <a:lnTo>
                  <a:pt x="53601" y="54767"/>
                </a:lnTo>
                <a:lnTo>
                  <a:pt x="0" y="0"/>
                </a:lnTo>
                <a:lnTo>
                  <a:pt x="46610" y="0"/>
                </a:lnTo>
                <a:lnTo>
                  <a:pt x="100211" y="52436"/>
                </a:lnTo>
                <a:close/>
              </a:path>
            </a:pathLst>
          </a:custGeom>
          <a:solidFill>
            <a:srgbClr val="EEF2F5"/>
          </a:solidFill>
          <a:ln w="11643" cap="flat">
            <a:noFill/>
            <a:prstDash val="solid"/>
            <a:miter/>
          </a:ln>
        </p:spPr>
        <p:txBody>
          <a:bodyPr rtlCol="0" anchor="ctr"/>
          <a:lstStyle/>
          <a:p>
            <a:endParaRPr lang="de-DE"/>
          </a:p>
        </p:txBody>
      </p:sp>
      <p:sp>
        <p:nvSpPr>
          <p:cNvPr id="174" name="Freihandform: Form 173">
            <a:extLst>
              <a:ext uri="{FF2B5EF4-FFF2-40B4-BE49-F238E27FC236}">
                <a16:creationId xmlns:a16="http://schemas.microsoft.com/office/drawing/2014/main" id="{89F7D4C0-B771-4BD2-8BB9-46691BD63CD6}"/>
              </a:ext>
            </a:extLst>
          </p:cNvPr>
          <p:cNvSpPr/>
          <p:nvPr/>
        </p:nvSpPr>
        <p:spPr>
          <a:xfrm>
            <a:off x="6641924" y="5604192"/>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3601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191" name="Freihandform: Form 190">
            <a:extLst>
              <a:ext uri="{FF2B5EF4-FFF2-40B4-BE49-F238E27FC236}">
                <a16:creationId xmlns:a16="http://schemas.microsoft.com/office/drawing/2014/main" id="{5A593B9A-6E44-429E-AEBA-35E20D56B0CE}"/>
              </a:ext>
            </a:extLst>
          </p:cNvPr>
          <p:cNvSpPr/>
          <p:nvPr/>
        </p:nvSpPr>
        <p:spPr>
          <a:xfrm>
            <a:off x="6641924" y="5959592"/>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2436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2436"/>
                </a:lnTo>
                <a:close/>
              </a:path>
            </a:pathLst>
          </a:custGeom>
          <a:solidFill>
            <a:srgbClr val="EEF2F5"/>
          </a:solidFill>
          <a:ln w="11643" cap="flat">
            <a:noFill/>
            <a:prstDash val="solid"/>
            <a:miter/>
          </a:ln>
        </p:spPr>
        <p:txBody>
          <a:bodyPr rtlCol="0" anchor="ctr"/>
          <a:lstStyle/>
          <a:p>
            <a:endParaRPr lang="de-DE"/>
          </a:p>
        </p:txBody>
      </p:sp>
      <p:sp>
        <p:nvSpPr>
          <p:cNvPr id="208" name="Freihandform: Form 207">
            <a:extLst>
              <a:ext uri="{FF2B5EF4-FFF2-40B4-BE49-F238E27FC236}">
                <a16:creationId xmlns:a16="http://schemas.microsoft.com/office/drawing/2014/main" id="{DF218C48-5CF6-4B07-AF60-4DE0F6FD1BC1}"/>
              </a:ext>
            </a:extLst>
          </p:cNvPr>
          <p:cNvSpPr/>
          <p:nvPr/>
        </p:nvSpPr>
        <p:spPr>
          <a:xfrm>
            <a:off x="6641924" y="6313828"/>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3601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224" name="Freihandform: Form 223">
            <a:extLst>
              <a:ext uri="{FF2B5EF4-FFF2-40B4-BE49-F238E27FC236}">
                <a16:creationId xmlns:a16="http://schemas.microsoft.com/office/drawing/2014/main" id="{AA5BC021-58DD-4FE3-BDC3-0802A56E539C}"/>
              </a:ext>
            </a:extLst>
          </p:cNvPr>
          <p:cNvSpPr/>
          <p:nvPr/>
        </p:nvSpPr>
        <p:spPr>
          <a:xfrm>
            <a:off x="6641924" y="6669228"/>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2436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2436"/>
                </a:lnTo>
                <a:close/>
              </a:path>
            </a:pathLst>
          </a:custGeom>
          <a:solidFill>
            <a:srgbClr val="EEF2F5"/>
          </a:solidFill>
          <a:ln w="11643" cap="flat">
            <a:noFill/>
            <a:prstDash val="solid"/>
            <a:miter/>
          </a:ln>
        </p:spPr>
        <p:txBody>
          <a:bodyPr rtlCol="0" anchor="ctr"/>
          <a:lstStyle/>
          <a:p>
            <a:endParaRPr lang="de-DE"/>
          </a:p>
        </p:txBody>
      </p:sp>
      <p:sp>
        <p:nvSpPr>
          <p:cNvPr id="13" name="Freihandform: Form 12">
            <a:extLst>
              <a:ext uri="{FF2B5EF4-FFF2-40B4-BE49-F238E27FC236}">
                <a16:creationId xmlns:a16="http://schemas.microsoft.com/office/drawing/2014/main" id="{41B3CD6E-4668-431E-B52B-BEFAFA264BED}"/>
              </a:ext>
            </a:extLst>
          </p:cNvPr>
          <p:cNvSpPr/>
          <p:nvPr/>
        </p:nvSpPr>
        <p:spPr>
          <a:xfrm>
            <a:off x="6988003" y="2046690"/>
            <a:ext cx="117690" cy="127012"/>
          </a:xfrm>
          <a:custGeom>
            <a:avLst/>
            <a:gdLst>
              <a:gd name="connsiteX0" fmla="*/ 53601 w 117690"/>
              <a:gd name="connsiteY0" fmla="*/ 127012 h 127012"/>
              <a:gd name="connsiteX1" fmla="*/ 0 w 117690"/>
              <a:gd name="connsiteY1" fmla="*/ 127012 h 127012"/>
              <a:gd name="connsiteX2" fmla="*/ 62924 w 117690"/>
              <a:gd name="connsiteY2" fmla="*/ 64089 h 127012"/>
              <a:gd name="connsiteX3" fmla="*/ 0 w 117690"/>
              <a:gd name="connsiteY3" fmla="*/ 0 h 127012"/>
              <a:gd name="connsiteX4" fmla="*/ 54767 w 117690"/>
              <a:gd name="connsiteY4" fmla="*/ 0 h 127012"/>
              <a:gd name="connsiteX5" fmla="*/ 117690 w 117690"/>
              <a:gd name="connsiteY5" fmla="*/ 61758 h 12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2">
                <a:moveTo>
                  <a:pt x="53601" y="127012"/>
                </a:moveTo>
                <a:lnTo>
                  <a:pt x="0" y="127012"/>
                </a:lnTo>
                <a:lnTo>
                  <a:pt x="62924" y="64089"/>
                </a:lnTo>
                <a:lnTo>
                  <a:pt x="0" y="0"/>
                </a:lnTo>
                <a:lnTo>
                  <a:pt x="54767" y="0"/>
                </a:lnTo>
                <a:lnTo>
                  <a:pt x="117690" y="61758"/>
                </a:lnTo>
                <a:close/>
              </a:path>
            </a:pathLst>
          </a:custGeom>
          <a:solidFill>
            <a:srgbClr val="EEF2F5"/>
          </a:solidFill>
          <a:ln w="11643" cap="flat">
            <a:noFill/>
            <a:prstDash val="solid"/>
            <a:miter/>
          </a:ln>
        </p:spPr>
        <p:txBody>
          <a:bodyPr rtlCol="0" anchor="ctr"/>
          <a:lstStyle/>
          <a:p>
            <a:endParaRPr lang="de-DE"/>
          </a:p>
        </p:txBody>
      </p:sp>
      <p:sp>
        <p:nvSpPr>
          <p:cNvPr id="28" name="Freihandform: Form 27">
            <a:extLst>
              <a:ext uri="{FF2B5EF4-FFF2-40B4-BE49-F238E27FC236}">
                <a16:creationId xmlns:a16="http://schemas.microsoft.com/office/drawing/2014/main" id="{44ADAD78-1959-4CDE-A14A-2F7982F10CE6}"/>
              </a:ext>
            </a:extLst>
          </p:cNvPr>
          <p:cNvSpPr/>
          <p:nvPr/>
        </p:nvSpPr>
        <p:spPr>
          <a:xfrm>
            <a:off x="6988003" y="2400925"/>
            <a:ext cx="117690" cy="127012"/>
          </a:xfrm>
          <a:custGeom>
            <a:avLst/>
            <a:gdLst>
              <a:gd name="connsiteX0" fmla="*/ 53601 w 117690"/>
              <a:gd name="connsiteY0" fmla="*/ 127012 h 127012"/>
              <a:gd name="connsiteX1" fmla="*/ 0 w 117690"/>
              <a:gd name="connsiteY1" fmla="*/ 127012 h 127012"/>
              <a:gd name="connsiteX2" fmla="*/ 62924 w 117690"/>
              <a:gd name="connsiteY2" fmla="*/ 64089 h 127012"/>
              <a:gd name="connsiteX3" fmla="*/ 0 w 117690"/>
              <a:gd name="connsiteY3" fmla="*/ 0 h 127012"/>
              <a:gd name="connsiteX4" fmla="*/ 54767 w 117690"/>
              <a:gd name="connsiteY4" fmla="*/ 0 h 127012"/>
              <a:gd name="connsiteX5" fmla="*/ 117690 w 117690"/>
              <a:gd name="connsiteY5" fmla="*/ 62923 h 12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2">
                <a:moveTo>
                  <a:pt x="53601" y="127012"/>
                </a:moveTo>
                <a:lnTo>
                  <a:pt x="0" y="127012"/>
                </a:lnTo>
                <a:lnTo>
                  <a:pt x="62924" y="64089"/>
                </a:lnTo>
                <a:lnTo>
                  <a:pt x="0" y="0"/>
                </a:lnTo>
                <a:lnTo>
                  <a:pt x="54767" y="0"/>
                </a:lnTo>
                <a:lnTo>
                  <a:pt x="117690" y="62923"/>
                </a:lnTo>
                <a:close/>
              </a:path>
            </a:pathLst>
          </a:custGeom>
          <a:solidFill>
            <a:srgbClr val="EEF2F5"/>
          </a:solidFill>
          <a:ln w="11643" cap="flat">
            <a:noFill/>
            <a:prstDash val="solid"/>
            <a:miter/>
          </a:ln>
        </p:spPr>
        <p:txBody>
          <a:bodyPr rtlCol="0" anchor="ctr"/>
          <a:lstStyle/>
          <a:p>
            <a:endParaRPr lang="de-DE"/>
          </a:p>
        </p:txBody>
      </p:sp>
      <p:sp>
        <p:nvSpPr>
          <p:cNvPr id="44" name="Freihandform: Form 43">
            <a:extLst>
              <a:ext uri="{FF2B5EF4-FFF2-40B4-BE49-F238E27FC236}">
                <a16:creationId xmlns:a16="http://schemas.microsoft.com/office/drawing/2014/main" id="{187A0A4D-77CA-456F-91F4-F6F8704B8154}"/>
              </a:ext>
            </a:extLst>
          </p:cNvPr>
          <p:cNvSpPr/>
          <p:nvPr/>
        </p:nvSpPr>
        <p:spPr>
          <a:xfrm>
            <a:off x="6988003" y="2756326"/>
            <a:ext cx="117690" cy="127012"/>
          </a:xfrm>
          <a:custGeom>
            <a:avLst/>
            <a:gdLst>
              <a:gd name="connsiteX0" fmla="*/ 53601 w 117690"/>
              <a:gd name="connsiteY0" fmla="*/ 127012 h 127012"/>
              <a:gd name="connsiteX1" fmla="*/ 0 w 117690"/>
              <a:gd name="connsiteY1" fmla="*/ 127012 h 127012"/>
              <a:gd name="connsiteX2" fmla="*/ 62924 w 117690"/>
              <a:gd name="connsiteY2" fmla="*/ 64089 h 127012"/>
              <a:gd name="connsiteX3" fmla="*/ 0 w 117690"/>
              <a:gd name="connsiteY3" fmla="*/ 0 h 127012"/>
              <a:gd name="connsiteX4" fmla="*/ 54767 w 117690"/>
              <a:gd name="connsiteY4" fmla="*/ 0 h 127012"/>
              <a:gd name="connsiteX5" fmla="*/ 117690 w 117690"/>
              <a:gd name="connsiteY5" fmla="*/ 61758 h 12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2">
                <a:moveTo>
                  <a:pt x="53601" y="127012"/>
                </a:moveTo>
                <a:lnTo>
                  <a:pt x="0" y="127012"/>
                </a:lnTo>
                <a:lnTo>
                  <a:pt x="62924" y="64089"/>
                </a:lnTo>
                <a:lnTo>
                  <a:pt x="0" y="0"/>
                </a:lnTo>
                <a:lnTo>
                  <a:pt x="54767" y="0"/>
                </a:lnTo>
                <a:lnTo>
                  <a:pt x="117690" y="61758"/>
                </a:lnTo>
                <a:close/>
              </a:path>
            </a:pathLst>
          </a:custGeom>
          <a:solidFill>
            <a:srgbClr val="EEF2F5"/>
          </a:solidFill>
          <a:ln w="11643" cap="flat">
            <a:noFill/>
            <a:prstDash val="solid"/>
            <a:miter/>
          </a:ln>
        </p:spPr>
        <p:txBody>
          <a:bodyPr rtlCol="0" anchor="ctr"/>
          <a:lstStyle/>
          <a:p>
            <a:endParaRPr lang="de-DE"/>
          </a:p>
        </p:txBody>
      </p:sp>
      <p:sp>
        <p:nvSpPr>
          <p:cNvPr id="60" name="Freihandform: Form 59">
            <a:extLst>
              <a:ext uri="{FF2B5EF4-FFF2-40B4-BE49-F238E27FC236}">
                <a16:creationId xmlns:a16="http://schemas.microsoft.com/office/drawing/2014/main" id="{CB07603B-B3CF-406B-8F49-C88DDBDF26D2}"/>
              </a:ext>
            </a:extLst>
          </p:cNvPr>
          <p:cNvSpPr/>
          <p:nvPr/>
        </p:nvSpPr>
        <p:spPr>
          <a:xfrm>
            <a:off x="6988003" y="3111726"/>
            <a:ext cx="117690" cy="125846"/>
          </a:xfrm>
          <a:custGeom>
            <a:avLst/>
            <a:gdLst>
              <a:gd name="connsiteX0" fmla="*/ 53601 w 117690"/>
              <a:gd name="connsiteY0" fmla="*/ 125847 h 125846"/>
              <a:gd name="connsiteX1" fmla="*/ 0 w 117690"/>
              <a:gd name="connsiteY1" fmla="*/ 125847 h 125846"/>
              <a:gd name="connsiteX2" fmla="*/ 62924 w 117690"/>
              <a:gd name="connsiteY2" fmla="*/ 62923 h 125846"/>
              <a:gd name="connsiteX3" fmla="*/ 0 w 117690"/>
              <a:gd name="connsiteY3" fmla="*/ 0 h 125846"/>
              <a:gd name="connsiteX4" fmla="*/ 54767 w 117690"/>
              <a:gd name="connsiteY4" fmla="*/ 0 h 125846"/>
              <a:gd name="connsiteX5" fmla="*/ 117690 w 117690"/>
              <a:gd name="connsiteY5" fmla="*/ 61758 h 125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5846">
                <a:moveTo>
                  <a:pt x="53601" y="125847"/>
                </a:moveTo>
                <a:lnTo>
                  <a:pt x="0" y="125847"/>
                </a:lnTo>
                <a:lnTo>
                  <a:pt x="62924" y="62923"/>
                </a:lnTo>
                <a:lnTo>
                  <a:pt x="0" y="0"/>
                </a:lnTo>
                <a:lnTo>
                  <a:pt x="54767" y="0"/>
                </a:lnTo>
                <a:lnTo>
                  <a:pt x="117690" y="61758"/>
                </a:lnTo>
                <a:close/>
              </a:path>
            </a:pathLst>
          </a:custGeom>
          <a:solidFill>
            <a:srgbClr val="EEF2F5"/>
          </a:solidFill>
          <a:ln w="11643" cap="flat">
            <a:noFill/>
            <a:prstDash val="solid"/>
            <a:miter/>
          </a:ln>
        </p:spPr>
        <p:txBody>
          <a:bodyPr rtlCol="0" anchor="ctr"/>
          <a:lstStyle/>
          <a:p>
            <a:endParaRPr lang="de-DE"/>
          </a:p>
        </p:txBody>
      </p:sp>
      <p:sp>
        <p:nvSpPr>
          <p:cNvPr id="76" name="Freihandform: Form 75">
            <a:extLst>
              <a:ext uri="{FF2B5EF4-FFF2-40B4-BE49-F238E27FC236}">
                <a16:creationId xmlns:a16="http://schemas.microsoft.com/office/drawing/2014/main" id="{C87C0BBB-E201-45AD-A8CC-B6DF36C9BFCA}"/>
              </a:ext>
            </a:extLst>
          </p:cNvPr>
          <p:cNvSpPr/>
          <p:nvPr/>
        </p:nvSpPr>
        <p:spPr>
          <a:xfrm>
            <a:off x="6988003" y="3465962"/>
            <a:ext cx="117690" cy="127012"/>
          </a:xfrm>
          <a:custGeom>
            <a:avLst/>
            <a:gdLst>
              <a:gd name="connsiteX0" fmla="*/ 53601 w 117690"/>
              <a:gd name="connsiteY0" fmla="*/ 127012 h 127012"/>
              <a:gd name="connsiteX1" fmla="*/ 0 w 117690"/>
              <a:gd name="connsiteY1" fmla="*/ 127012 h 127012"/>
              <a:gd name="connsiteX2" fmla="*/ 62924 w 117690"/>
              <a:gd name="connsiteY2" fmla="*/ 64089 h 127012"/>
              <a:gd name="connsiteX3" fmla="*/ 0 w 117690"/>
              <a:gd name="connsiteY3" fmla="*/ 0 h 127012"/>
              <a:gd name="connsiteX4" fmla="*/ 54767 w 117690"/>
              <a:gd name="connsiteY4" fmla="*/ 0 h 127012"/>
              <a:gd name="connsiteX5" fmla="*/ 117690 w 117690"/>
              <a:gd name="connsiteY5" fmla="*/ 62923 h 12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2">
                <a:moveTo>
                  <a:pt x="53601" y="127012"/>
                </a:moveTo>
                <a:lnTo>
                  <a:pt x="0" y="127012"/>
                </a:lnTo>
                <a:lnTo>
                  <a:pt x="62924" y="64089"/>
                </a:lnTo>
                <a:lnTo>
                  <a:pt x="0" y="0"/>
                </a:lnTo>
                <a:lnTo>
                  <a:pt x="54767" y="0"/>
                </a:lnTo>
                <a:lnTo>
                  <a:pt x="117690" y="62923"/>
                </a:lnTo>
                <a:close/>
              </a:path>
            </a:pathLst>
          </a:custGeom>
          <a:solidFill>
            <a:srgbClr val="EEF2F5"/>
          </a:solidFill>
          <a:ln w="11643" cap="flat">
            <a:noFill/>
            <a:prstDash val="solid"/>
            <a:miter/>
          </a:ln>
        </p:spPr>
        <p:txBody>
          <a:bodyPr rtlCol="0" anchor="ctr"/>
          <a:lstStyle/>
          <a:p>
            <a:endParaRPr lang="de-DE"/>
          </a:p>
        </p:txBody>
      </p:sp>
      <p:sp>
        <p:nvSpPr>
          <p:cNvPr id="92" name="Freihandform: Form 91">
            <a:extLst>
              <a:ext uri="{FF2B5EF4-FFF2-40B4-BE49-F238E27FC236}">
                <a16:creationId xmlns:a16="http://schemas.microsoft.com/office/drawing/2014/main" id="{E84E584C-AD1A-4283-9393-9ADAC5705999}"/>
              </a:ext>
            </a:extLst>
          </p:cNvPr>
          <p:cNvSpPr/>
          <p:nvPr/>
        </p:nvSpPr>
        <p:spPr>
          <a:xfrm>
            <a:off x="6988003" y="3821362"/>
            <a:ext cx="117690" cy="125846"/>
          </a:xfrm>
          <a:custGeom>
            <a:avLst/>
            <a:gdLst>
              <a:gd name="connsiteX0" fmla="*/ 53601 w 117690"/>
              <a:gd name="connsiteY0" fmla="*/ 125847 h 125846"/>
              <a:gd name="connsiteX1" fmla="*/ 0 w 117690"/>
              <a:gd name="connsiteY1" fmla="*/ 125847 h 125846"/>
              <a:gd name="connsiteX2" fmla="*/ 62924 w 117690"/>
              <a:gd name="connsiteY2" fmla="*/ 62923 h 125846"/>
              <a:gd name="connsiteX3" fmla="*/ 0 w 117690"/>
              <a:gd name="connsiteY3" fmla="*/ 0 h 125846"/>
              <a:gd name="connsiteX4" fmla="*/ 54767 w 117690"/>
              <a:gd name="connsiteY4" fmla="*/ 0 h 125846"/>
              <a:gd name="connsiteX5" fmla="*/ 117690 w 117690"/>
              <a:gd name="connsiteY5" fmla="*/ 61758 h 125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5846">
                <a:moveTo>
                  <a:pt x="53601" y="125847"/>
                </a:moveTo>
                <a:lnTo>
                  <a:pt x="0" y="125847"/>
                </a:lnTo>
                <a:lnTo>
                  <a:pt x="62924" y="62923"/>
                </a:lnTo>
                <a:lnTo>
                  <a:pt x="0" y="0"/>
                </a:lnTo>
                <a:lnTo>
                  <a:pt x="54767" y="0"/>
                </a:lnTo>
                <a:lnTo>
                  <a:pt x="117690" y="61758"/>
                </a:lnTo>
                <a:close/>
              </a:path>
            </a:pathLst>
          </a:custGeom>
          <a:solidFill>
            <a:srgbClr val="EEF2F5"/>
          </a:solidFill>
          <a:ln w="11643" cap="flat">
            <a:noFill/>
            <a:prstDash val="solid"/>
            <a:miter/>
          </a:ln>
        </p:spPr>
        <p:txBody>
          <a:bodyPr rtlCol="0" anchor="ctr"/>
          <a:lstStyle/>
          <a:p>
            <a:endParaRPr lang="de-DE"/>
          </a:p>
        </p:txBody>
      </p:sp>
      <p:sp>
        <p:nvSpPr>
          <p:cNvPr id="108" name="Freihandform: Form 107">
            <a:extLst>
              <a:ext uri="{FF2B5EF4-FFF2-40B4-BE49-F238E27FC236}">
                <a16:creationId xmlns:a16="http://schemas.microsoft.com/office/drawing/2014/main" id="{821A23CA-DB65-474C-8F4A-71EDD9066EAA}"/>
              </a:ext>
            </a:extLst>
          </p:cNvPr>
          <p:cNvSpPr/>
          <p:nvPr/>
        </p:nvSpPr>
        <p:spPr>
          <a:xfrm>
            <a:off x="6988003" y="4175598"/>
            <a:ext cx="117690" cy="127011"/>
          </a:xfrm>
          <a:custGeom>
            <a:avLst/>
            <a:gdLst>
              <a:gd name="connsiteX0" fmla="*/ 53601 w 117690"/>
              <a:gd name="connsiteY0" fmla="*/ 127012 h 127011"/>
              <a:gd name="connsiteX1" fmla="*/ 0 w 117690"/>
              <a:gd name="connsiteY1" fmla="*/ 127012 h 127011"/>
              <a:gd name="connsiteX2" fmla="*/ 62924 w 117690"/>
              <a:gd name="connsiteY2" fmla="*/ 64089 h 127011"/>
              <a:gd name="connsiteX3" fmla="*/ 0 w 117690"/>
              <a:gd name="connsiteY3" fmla="*/ 0 h 127011"/>
              <a:gd name="connsiteX4" fmla="*/ 54767 w 117690"/>
              <a:gd name="connsiteY4" fmla="*/ 0 h 127011"/>
              <a:gd name="connsiteX5" fmla="*/ 117690 w 117690"/>
              <a:gd name="connsiteY5" fmla="*/ 62923 h 12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1">
                <a:moveTo>
                  <a:pt x="53601" y="127012"/>
                </a:moveTo>
                <a:lnTo>
                  <a:pt x="0" y="127012"/>
                </a:lnTo>
                <a:lnTo>
                  <a:pt x="62924" y="64089"/>
                </a:lnTo>
                <a:lnTo>
                  <a:pt x="0" y="0"/>
                </a:lnTo>
                <a:lnTo>
                  <a:pt x="54767" y="0"/>
                </a:lnTo>
                <a:lnTo>
                  <a:pt x="117690" y="62923"/>
                </a:lnTo>
                <a:close/>
              </a:path>
            </a:pathLst>
          </a:custGeom>
          <a:solidFill>
            <a:srgbClr val="EEF2F5"/>
          </a:solidFill>
          <a:ln w="11643" cap="flat">
            <a:noFill/>
            <a:prstDash val="solid"/>
            <a:miter/>
          </a:ln>
        </p:spPr>
        <p:txBody>
          <a:bodyPr rtlCol="0" anchor="ctr"/>
          <a:lstStyle/>
          <a:p>
            <a:endParaRPr lang="de-DE"/>
          </a:p>
        </p:txBody>
      </p:sp>
      <p:sp>
        <p:nvSpPr>
          <p:cNvPr id="124" name="Freihandform: Form 123">
            <a:extLst>
              <a:ext uri="{FF2B5EF4-FFF2-40B4-BE49-F238E27FC236}">
                <a16:creationId xmlns:a16="http://schemas.microsoft.com/office/drawing/2014/main" id="{A21B059E-24B7-45F6-86CA-657F48380E87}"/>
              </a:ext>
            </a:extLst>
          </p:cNvPr>
          <p:cNvSpPr/>
          <p:nvPr/>
        </p:nvSpPr>
        <p:spPr>
          <a:xfrm>
            <a:off x="6988003" y="4530998"/>
            <a:ext cx="117690" cy="125846"/>
          </a:xfrm>
          <a:custGeom>
            <a:avLst/>
            <a:gdLst>
              <a:gd name="connsiteX0" fmla="*/ 53601 w 117690"/>
              <a:gd name="connsiteY0" fmla="*/ 125847 h 125846"/>
              <a:gd name="connsiteX1" fmla="*/ 0 w 117690"/>
              <a:gd name="connsiteY1" fmla="*/ 125847 h 125846"/>
              <a:gd name="connsiteX2" fmla="*/ 62924 w 117690"/>
              <a:gd name="connsiteY2" fmla="*/ 64089 h 125846"/>
              <a:gd name="connsiteX3" fmla="*/ 0 w 117690"/>
              <a:gd name="connsiteY3" fmla="*/ 0 h 125846"/>
              <a:gd name="connsiteX4" fmla="*/ 54767 w 117690"/>
              <a:gd name="connsiteY4" fmla="*/ 0 h 125846"/>
              <a:gd name="connsiteX5" fmla="*/ 117690 w 117690"/>
              <a:gd name="connsiteY5" fmla="*/ 61758 h 125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5846">
                <a:moveTo>
                  <a:pt x="53601" y="125847"/>
                </a:moveTo>
                <a:lnTo>
                  <a:pt x="0" y="125847"/>
                </a:lnTo>
                <a:lnTo>
                  <a:pt x="62924" y="64089"/>
                </a:lnTo>
                <a:lnTo>
                  <a:pt x="0" y="0"/>
                </a:lnTo>
                <a:lnTo>
                  <a:pt x="54767" y="0"/>
                </a:lnTo>
                <a:lnTo>
                  <a:pt x="117690" y="61758"/>
                </a:lnTo>
                <a:close/>
              </a:path>
            </a:pathLst>
          </a:custGeom>
          <a:solidFill>
            <a:srgbClr val="EEF2F5"/>
          </a:solidFill>
          <a:ln w="11643" cap="flat">
            <a:noFill/>
            <a:prstDash val="solid"/>
            <a:miter/>
          </a:ln>
        </p:spPr>
        <p:txBody>
          <a:bodyPr rtlCol="0" anchor="ctr"/>
          <a:lstStyle/>
          <a:p>
            <a:endParaRPr lang="de-DE"/>
          </a:p>
        </p:txBody>
      </p:sp>
      <p:sp>
        <p:nvSpPr>
          <p:cNvPr id="141" name="Freihandform: Form 140">
            <a:extLst>
              <a:ext uri="{FF2B5EF4-FFF2-40B4-BE49-F238E27FC236}">
                <a16:creationId xmlns:a16="http://schemas.microsoft.com/office/drawing/2014/main" id="{B826AAAD-4F78-48CC-8D7F-6FF66CB56257}"/>
              </a:ext>
            </a:extLst>
          </p:cNvPr>
          <p:cNvSpPr/>
          <p:nvPr/>
        </p:nvSpPr>
        <p:spPr>
          <a:xfrm>
            <a:off x="6988003" y="4885234"/>
            <a:ext cx="117690" cy="127012"/>
          </a:xfrm>
          <a:custGeom>
            <a:avLst/>
            <a:gdLst>
              <a:gd name="connsiteX0" fmla="*/ 53601 w 117690"/>
              <a:gd name="connsiteY0" fmla="*/ 127012 h 127012"/>
              <a:gd name="connsiteX1" fmla="*/ 0 w 117690"/>
              <a:gd name="connsiteY1" fmla="*/ 127012 h 127012"/>
              <a:gd name="connsiteX2" fmla="*/ 62924 w 117690"/>
              <a:gd name="connsiteY2" fmla="*/ 64089 h 127012"/>
              <a:gd name="connsiteX3" fmla="*/ 0 w 117690"/>
              <a:gd name="connsiteY3" fmla="*/ 0 h 127012"/>
              <a:gd name="connsiteX4" fmla="*/ 54767 w 117690"/>
              <a:gd name="connsiteY4" fmla="*/ 0 h 127012"/>
              <a:gd name="connsiteX5" fmla="*/ 117690 w 117690"/>
              <a:gd name="connsiteY5" fmla="*/ 62923 h 12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2">
                <a:moveTo>
                  <a:pt x="53601" y="127012"/>
                </a:moveTo>
                <a:lnTo>
                  <a:pt x="0" y="127012"/>
                </a:lnTo>
                <a:lnTo>
                  <a:pt x="62924" y="64089"/>
                </a:lnTo>
                <a:lnTo>
                  <a:pt x="0" y="0"/>
                </a:lnTo>
                <a:lnTo>
                  <a:pt x="54767" y="0"/>
                </a:lnTo>
                <a:lnTo>
                  <a:pt x="117690" y="62923"/>
                </a:lnTo>
                <a:close/>
              </a:path>
            </a:pathLst>
          </a:custGeom>
          <a:solidFill>
            <a:srgbClr val="EEF2F5"/>
          </a:solidFill>
          <a:ln w="11643" cap="flat">
            <a:noFill/>
            <a:prstDash val="solid"/>
            <a:miter/>
          </a:ln>
        </p:spPr>
        <p:txBody>
          <a:bodyPr rtlCol="0" anchor="ctr"/>
          <a:lstStyle/>
          <a:p>
            <a:endParaRPr lang="de-DE"/>
          </a:p>
        </p:txBody>
      </p:sp>
      <p:sp>
        <p:nvSpPr>
          <p:cNvPr id="158" name="Freihandform: Form 157">
            <a:extLst>
              <a:ext uri="{FF2B5EF4-FFF2-40B4-BE49-F238E27FC236}">
                <a16:creationId xmlns:a16="http://schemas.microsoft.com/office/drawing/2014/main" id="{52E552E0-7863-4113-BBA5-301C77EAF452}"/>
              </a:ext>
            </a:extLst>
          </p:cNvPr>
          <p:cNvSpPr/>
          <p:nvPr/>
        </p:nvSpPr>
        <p:spPr>
          <a:xfrm>
            <a:off x="6988003" y="5240634"/>
            <a:ext cx="117690" cy="127011"/>
          </a:xfrm>
          <a:custGeom>
            <a:avLst/>
            <a:gdLst>
              <a:gd name="connsiteX0" fmla="*/ 53601 w 117690"/>
              <a:gd name="connsiteY0" fmla="*/ 127012 h 127011"/>
              <a:gd name="connsiteX1" fmla="*/ 0 w 117690"/>
              <a:gd name="connsiteY1" fmla="*/ 127012 h 127011"/>
              <a:gd name="connsiteX2" fmla="*/ 62924 w 117690"/>
              <a:gd name="connsiteY2" fmla="*/ 64089 h 127011"/>
              <a:gd name="connsiteX3" fmla="*/ 0 w 117690"/>
              <a:gd name="connsiteY3" fmla="*/ 0 h 127011"/>
              <a:gd name="connsiteX4" fmla="*/ 54767 w 117690"/>
              <a:gd name="connsiteY4" fmla="*/ 0 h 127011"/>
              <a:gd name="connsiteX5" fmla="*/ 117690 w 117690"/>
              <a:gd name="connsiteY5" fmla="*/ 61758 h 12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1">
                <a:moveTo>
                  <a:pt x="53601" y="127012"/>
                </a:moveTo>
                <a:lnTo>
                  <a:pt x="0" y="127012"/>
                </a:lnTo>
                <a:lnTo>
                  <a:pt x="62924" y="64089"/>
                </a:lnTo>
                <a:lnTo>
                  <a:pt x="0" y="0"/>
                </a:lnTo>
                <a:lnTo>
                  <a:pt x="54767" y="0"/>
                </a:lnTo>
                <a:lnTo>
                  <a:pt x="117690" y="61758"/>
                </a:lnTo>
                <a:close/>
              </a:path>
            </a:pathLst>
          </a:custGeom>
          <a:solidFill>
            <a:srgbClr val="EEF2F5"/>
          </a:solidFill>
          <a:ln w="11643" cap="flat">
            <a:noFill/>
            <a:prstDash val="solid"/>
            <a:miter/>
          </a:ln>
        </p:spPr>
        <p:txBody>
          <a:bodyPr rtlCol="0" anchor="ctr"/>
          <a:lstStyle/>
          <a:p>
            <a:endParaRPr lang="de-DE"/>
          </a:p>
        </p:txBody>
      </p:sp>
      <p:sp>
        <p:nvSpPr>
          <p:cNvPr id="175" name="Freihandform: Form 174">
            <a:extLst>
              <a:ext uri="{FF2B5EF4-FFF2-40B4-BE49-F238E27FC236}">
                <a16:creationId xmlns:a16="http://schemas.microsoft.com/office/drawing/2014/main" id="{B682B6CF-0860-48B1-8C00-95D42CF736E9}"/>
              </a:ext>
            </a:extLst>
          </p:cNvPr>
          <p:cNvSpPr/>
          <p:nvPr/>
        </p:nvSpPr>
        <p:spPr>
          <a:xfrm>
            <a:off x="6988003" y="5594870"/>
            <a:ext cx="117690" cy="127011"/>
          </a:xfrm>
          <a:custGeom>
            <a:avLst/>
            <a:gdLst>
              <a:gd name="connsiteX0" fmla="*/ 53601 w 117690"/>
              <a:gd name="connsiteY0" fmla="*/ 127012 h 127011"/>
              <a:gd name="connsiteX1" fmla="*/ 0 w 117690"/>
              <a:gd name="connsiteY1" fmla="*/ 127012 h 127011"/>
              <a:gd name="connsiteX2" fmla="*/ 62924 w 117690"/>
              <a:gd name="connsiteY2" fmla="*/ 64089 h 127011"/>
              <a:gd name="connsiteX3" fmla="*/ 0 w 117690"/>
              <a:gd name="connsiteY3" fmla="*/ 0 h 127011"/>
              <a:gd name="connsiteX4" fmla="*/ 54767 w 117690"/>
              <a:gd name="connsiteY4" fmla="*/ 0 h 127011"/>
              <a:gd name="connsiteX5" fmla="*/ 117690 w 117690"/>
              <a:gd name="connsiteY5" fmla="*/ 62923 h 12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1">
                <a:moveTo>
                  <a:pt x="53601" y="127012"/>
                </a:moveTo>
                <a:lnTo>
                  <a:pt x="0" y="127012"/>
                </a:lnTo>
                <a:lnTo>
                  <a:pt x="62924" y="64089"/>
                </a:lnTo>
                <a:lnTo>
                  <a:pt x="0" y="0"/>
                </a:lnTo>
                <a:lnTo>
                  <a:pt x="54767" y="0"/>
                </a:lnTo>
                <a:lnTo>
                  <a:pt x="117690" y="62923"/>
                </a:lnTo>
                <a:close/>
              </a:path>
            </a:pathLst>
          </a:custGeom>
          <a:solidFill>
            <a:srgbClr val="EEF2F5"/>
          </a:solidFill>
          <a:ln w="11643" cap="flat">
            <a:noFill/>
            <a:prstDash val="solid"/>
            <a:miter/>
          </a:ln>
        </p:spPr>
        <p:txBody>
          <a:bodyPr rtlCol="0" anchor="ctr"/>
          <a:lstStyle/>
          <a:p>
            <a:endParaRPr lang="de-DE"/>
          </a:p>
        </p:txBody>
      </p:sp>
      <p:sp>
        <p:nvSpPr>
          <p:cNvPr id="192" name="Freihandform: Form 191">
            <a:extLst>
              <a:ext uri="{FF2B5EF4-FFF2-40B4-BE49-F238E27FC236}">
                <a16:creationId xmlns:a16="http://schemas.microsoft.com/office/drawing/2014/main" id="{454B7B92-8F20-486A-A2F6-3D352B2C3337}"/>
              </a:ext>
            </a:extLst>
          </p:cNvPr>
          <p:cNvSpPr/>
          <p:nvPr/>
        </p:nvSpPr>
        <p:spPr>
          <a:xfrm>
            <a:off x="6988003" y="5950270"/>
            <a:ext cx="117690" cy="127011"/>
          </a:xfrm>
          <a:custGeom>
            <a:avLst/>
            <a:gdLst>
              <a:gd name="connsiteX0" fmla="*/ 53601 w 117690"/>
              <a:gd name="connsiteY0" fmla="*/ 127012 h 127011"/>
              <a:gd name="connsiteX1" fmla="*/ 0 w 117690"/>
              <a:gd name="connsiteY1" fmla="*/ 127012 h 127011"/>
              <a:gd name="connsiteX2" fmla="*/ 62924 w 117690"/>
              <a:gd name="connsiteY2" fmla="*/ 64089 h 127011"/>
              <a:gd name="connsiteX3" fmla="*/ 0 w 117690"/>
              <a:gd name="connsiteY3" fmla="*/ 0 h 127011"/>
              <a:gd name="connsiteX4" fmla="*/ 54767 w 117690"/>
              <a:gd name="connsiteY4" fmla="*/ 0 h 127011"/>
              <a:gd name="connsiteX5" fmla="*/ 117690 w 117690"/>
              <a:gd name="connsiteY5" fmla="*/ 61758 h 12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1">
                <a:moveTo>
                  <a:pt x="53601" y="127012"/>
                </a:moveTo>
                <a:lnTo>
                  <a:pt x="0" y="127012"/>
                </a:lnTo>
                <a:lnTo>
                  <a:pt x="62924" y="64089"/>
                </a:lnTo>
                <a:lnTo>
                  <a:pt x="0" y="0"/>
                </a:lnTo>
                <a:lnTo>
                  <a:pt x="54767" y="0"/>
                </a:lnTo>
                <a:lnTo>
                  <a:pt x="117690" y="61758"/>
                </a:lnTo>
                <a:close/>
              </a:path>
            </a:pathLst>
          </a:custGeom>
          <a:solidFill>
            <a:srgbClr val="EEF2F5"/>
          </a:solidFill>
          <a:ln w="11643" cap="flat">
            <a:noFill/>
            <a:prstDash val="solid"/>
            <a:miter/>
          </a:ln>
        </p:spPr>
        <p:txBody>
          <a:bodyPr rtlCol="0" anchor="ctr"/>
          <a:lstStyle/>
          <a:p>
            <a:endParaRPr lang="de-DE"/>
          </a:p>
        </p:txBody>
      </p:sp>
      <p:sp>
        <p:nvSpPr>
          <p:cNvPr id="209" name="Freihandform: Form 208">
            <a:extLst>
              <a:ext uri="{FF2B5EF4-FFF2-40B4-BE49-F238E27FC236}">
                <a16:creationId xmlns:a16="http://schemas.microsoft.com/office/drawing/2014/main" id="{731C9EF6-821F-43D3-AF27-A0A6EE4233B2}"/>
              </a:ext>
            </a:extLst>
          </p:cNvPr>
          <p:cNvSpPr/>
          <p:nvPr/>
        </p:nvSpPr>
        <p:spPr>
          <a:xfrm>
            <a:off x="6988003" y="6304506"/>
            <a:ext cx="117690" cy="127011"/>
          </a:xfrm>
          <a:custGeom>
            <a:avLst/>
            <a:gdLst>
              <a:gd name="connsiteX0" fmla="*/ 53601 w 117690"/>
              <a:gd name="connsiteY0" fmla="*/ 127012 h 127011"/>
              <a:gd name="connsiteX1" fmla="*/ 0 w 117690"/>
              <a:gd name="connsiteY1" fmla="*/ 127012 h 127011"/>
              <a:gd name="connsiteX2" fmla="*/ 62924 w 117690"/>
              <a:gd name="connsiteY2" fmla="*/ 64089 h 127011"/>
              <a:gd name="connsiteX3" fmla="*/ 0 w 117690"/>
              <a:gd name="connsiteY3" fmla="*/ 0 h 127011"/>
              <a:gd name="connsiteX4" fmla="*/ 54767 w 117690"/>
              <a:gd name="connsiteY4" fmla="*/ 0 h 127011"/>
              <a:gd name="connsiteX5" fmla="*/ 117690 w 117690"/>
              <a:gd name="connsiteY5" fmla="*/ 62923 h 12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1">
                <a:moveTo>
                  <a:pt x="53601" y="127012"/>
                </a:moveTo>
                <a:lnTo>
                  <a:pt x="0" y="127012"/>
                </a:lnTo>
                <a:lnTo>
                  <a:pt x="62924" y="64089"/>
                </a:lnTo>
                <a:lnTo>
                  <a:pt x="0" y="0"/>
                </a:lnTo>
                <a:lnTo>
                  <a:pt x="54767" y="0"/>
                </a:lnTo>
                <a:lnTo>
                  <a:pt x="117690" y="62923"/>
                </a:lnTo>
                <a:close/>
              </a:path>
            </a:pathLst>
          </a:custGeom>
          <a:solidFill>
            <a:srgbClr val="EEF2F5"/>
          </a:solidFill>
          <a:ln w="11643" cap="flat">
            <a:noFill/>
            <a:prstDash val="solid"/>
            <a:miter/>
          </a:ln>
        </p:spPr>
        <p:txBody>
          <a:bodyPr rtlCol="0" anchor="ctr"/>
          <a:lstStyle/>
          <a:p>
            <a:endParaRPr lang="de-DE"/>
          </a:p>
        </p:txBody>
      </p:sp>
      <p:sp>
        <p:nvSpPr>
          <p:cNvPr id="225" name="Freihandform: Form 224">
            <a:extLst>
              <a:ext uri="{FF2B5EF4-FFF2-40B4-BE49-F238E27FC236}">
                <a16:creationId xmlns:a16="http://schemas.microsoft.com/office/drawing/2014/main" id="{E9AB3220-DE9C-44AE-ADC2-AF15E390E82D}"/>
              </a:ext>
            </a:extLst>
          </p:cNvPr>
          <p:cNvSpPr/>
          <p:nvPr/>
        </p:nvSpPr>
        <p:spPr>
          <a:xfrm>
            <a:off x="6988003" y="6659906"/>
            <a:ext cx="117690" cy="127011"/>
          </a:xfrm>
          <a:custGeom>
            <a:avLst/>
            <a:gdLst>
              <a:gd name="connsiteX0" fmla="*/ 53601 w 117690"/>
              <a:gd name="connsiteY0" fmla="*/ 127012 h 127011"/>
              <a:gd name="connsiteX1" fmla="*/ 0 w 117690"/>
              <a:gd name="connsiteY1" fmla="*/ 127012 h 127011"/>
              <a:gd name="connsiteX2" fmla="*/ 62924 w 117690"/>
              <a:gd name="connsiteY2" fmla="*/ 64089 h 127011"/>
              <a:gd name="connsiteX3" fmla="*/ 0 w 117690"/>
              <a:gd name="connsiteY3" fmla="*/ 0 h 127011"/>
              <a:gd name="connsiteX4" fmla="*/ 54767 w 117690"/>
              <a:gd name="connsiteY4" fmla="*/ 0 h 127011"/>
              <a:gd name="connsiteX5" fmla="*/ 117690 w 117690"/>
              <a:gd name="connsiteY5" fmla="*/ 61758 h 12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1">
                <a:moveTo>
                  <a:pt x="53601" y="127012"/>
                </a:moveTo>
                <a:lnTo>
                  <a:pt x="0" y="127012"/>
                </a:lnTo>
                <a:lnTo>
                  <a:pt x="62924" y="64089"/>
                </a:lnTo>
                <a:lnTo>
                  <a:pt x="0" y="0"/>
                </a:lnTo>
                <a:lnTo>
                  <a:pt x="54767" y="0"/>
                </a:lnTo>
                <a:lnTo>
                  <a:pt x="117690" y="61758"/>
                </a:lnTo>
                <a:close/>
              </a:path>
            </a:pathLst>
          </a:custGeom>
          <a:solidFill>
            <a:srgbClr val="EEF2F5"/>
          </a:solidFill>
          <a:ln w="11643" cap="flat">
            <a:noFill/>
            <a:prstDash val="solid"/>
            <a:miter/>
          </a:ln>
        </p:spPr>
        <p:txBody>
          <a:bodyPr rtlCol="0" anchor="ctr"/>
          <a:lstStyle/>
          <a:p>
            <a:endParaRPr lang="de-DE"/>
          </a:p>
        </p:txBody>
      </p:sp>
      <p:sp>
        <p:nvSpPr>
          <p:cNvPr id="14" name="Freihandform: Form 13">
            <a:extLst>
              <a:ext uri="{FF2B5EF4-FFF2-40B4-BE49-F238E27FC236}">
                <a16:creationId xmlns:a16="http://schemas.microsoft.com/office/drawing/2014/main" id="{EFAF6EFC-5984-485E-8562-F3C5B1286F10}"/>
              </a:ext>
            </a:extLst>
          </p:cNvPr>
          <p:cNvSpPr/>
          <p:nvPr/>
        </p:nvSpPr>
        <p:spPr>
          <a:xfrm>
            <a:off x="7335247" y="2038533"/>
            <a:ext cx="132838" cy="143325"/>
          </a:xfrm>
          <a:custGeom>
            <a:avLst/>
            <a:gdLst>
              <a:gd name="connsiteX0" fmla="*/ 60593 w 132838"/>
              <a:gd name="connsiteY0" fmla="*/ 143326 h 143325"/>
              <a:gd name="connsiteX1" fmla="*/ 0 w 132838"/>
              <a:gd name="connsiteY1" fmla="*/ 143326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6"/>
                </a:moveTo>
                <a:lnTo>
                  <a:pt x="0" y="143326"/>
                </a:lnTo>
                <a:lnTo>
                  <a:pt x="71080" y="72245"/>
                </a:lnTo>
                <a:lnTo>
                  <a:pt x="0" y="0"/>
                </a:lnTo>
                <a:lnTo>
                  <a:pt x="61758" y="0"/>
                </a:lnTo>
                <a:lnTo>
                  <a:pt x="132838" y="69915"/>
                </a:lnTo>
                <a:close/>
              </a:path>
            </a:pathLst>
          </a:custGeom>
          <a:solidFill>
            <a:srgbClr val="EEF2F5"/>
          </a:solidFill>
          <a:ln w="11643" cap="flat">
            <a:noFill/>
            <a:prstDash val="solid"/>
            <a:miter/>
          </a:ln>
        </p:spPr>
        <p:txBody>
          <a:bodyPr rtlCol="0" anchor="ctr"/>
          <a:lstStyle/>
          <a:p>
            <a:endParaRPr lang="de-DE"/>
          </a:p>
        </p:txBody>
      </p:sp>
      <p:sp>
        <p:nvSpPr>
          <p:cNvPr id="29" name="Freihandform: Form 28">
            <a:extLst>
              <a:ext uri="{FF2B5EF4-FFF2-40B4-BE49-F238E27FC236}">
                <a16:creationId xmlns:a16="http://schemas.microsoft.com/office/drawing/2014/main" id="{C38B5C98-4ABA-4DD0-92EE-6AE4E7466D1F}"/>
              </a:ext>
            </a:extLst>
          </p:cNvPr>
          <p:cNvSpPr/>
          <p:nvPr/>
        </p:nvSpPr>
        <p:spPr>
          <a:xfrm>
            <a:off x="7335247" y="2392768"/>
            <a:ext cx="132838" cy="143325"/>
          </a:xfrm>
          <a:custGeom>
            <a:avLst/>
            <a:gdLst>
              <a:gd name="connsiteX0" fmla="*/ 60593 w 132838"/>
              <a:gd name="connsiteY0" fmla="*/ 143325 h 143325"/>
              <a:gd name="connsiteX1" fmla="*/ 0 w 132838"/>
              <a:gd name="connsiteY1" fmla="*/ 143325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71080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5"/>
                </a:moveTo>
                <a:lnTo>
                  <a:pt x="0" y="143325"/>
                </a:lnTo>
                <a:lnTo>
                  <a:pt x="71080" y="72245"/>
                </a:lnTo>
                <a:lnTo>
                  <a:pt x="0" y="0"/>
                </a:lnTo>
                <a:lnTo>
                  <a:pt x="61758" y="0"/>
                </a:lnTo>
                <a:lnTo>
                  <a:pt x="132838" y="71080"/>
                </a:lnTo>
                <a:close/>
              </a:path>
            </a:pathLst>
          </a:custGeom>
          <a:solidFill>
            <a:srgbClr val="EEF2F5"/>
          </a:solidFill>
          <a:ln w="11643" cap="flat">
            <a:noFill/>
            <a:prstDash val="solid"/>
            <a:miter/>
          </a:ln>
        </p:spPr>
        <p:txBody>
          <a:bodyPr rtlCol="0" anchor="ctr"/>
          <a:lstStyle/>
          <a:p>
            <a:endParaRPr lang="de-DE"/>
          </a:p>
        </p:txBody>
      </p:sp>
      <p:sp>
        <p:nvSpPr>
          <p:cNvPr id="45" name="Freihandform: Form 44">
            <a:extLst>
              <a:ext uri="{FF2B5EF4-FFF2-40B4-BE49-F238E27FC236}">
                <a16:creationId xmlns:a16="http://schemas.microsoft.com/office/drawing/2014/main" id="{79F3C30E-5951-4096-8825-BA1A1F523534}"/>
              </a:ext>
            </a:extLst>
          </p:cNvPr>
          <p:cNvSpPr/>
          <p:nvPr/>
        </p:nvSpPr>
        <p:spPr>
          <a:xfrm>
            <a:off x="7335247" y="2748169"/>
            <a:ext cx="132838" cy="143325"/>
          </a:xfrm>
          <a:custGeom>
            <a:avLst/>
            <a:gdLst>
              <a:gd name="connsiteX0" fmla="*/ 60593 w 132838"/>
              <a:gd name="connsiteY0" fmla="*/ 143325 h 143325"/>
              <a:gd name="connsiteX1" fmla="*/ 0 w 132838"/>
              <a:gd name="connsiteY1" fmla="*/ 143325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5"/>
                </a:moveTo>
                <a:lnTo>
                  <a:pt x="0" y="143325"/>
                </a:lnTo>
                <a:lnTo>
                  <a:pt x="71080" y="72245"/>
                </a:lnTo>
                <a:lnTo>
                  <a:pt x="0" y="0"/>
                </a:lnTo>
                <a:lnTo>
                  <a:pt x="61758" y="0"/>
                </a:lnTo>
                <a:lnTo>
                  <a:pt x="132838" y="69915"/>
                </a:lnTo>
                <a:close/>
              </a:path>
            </a:pathLst>
          </a:custGeom>
          <a:solidFill>
            <a:srgbClr val="EEF2F5"/>
          </a:solidFill>
          <a:ln w="11643" cap="flat">
            <a:noFill/>
            <a:prstDash val="solid"/>
            <a:miter/>
          </a:ln>
        </p:spPr>
        <p:txBody>
          <a:bodyPr rtlCol="0" anchor="ctr"/>
          <a:lstStyle/>
          <a:p>
            <a:endParaRPr lang="de-DE"/>
          </a:p>
        </p:txBody>
      </p:sp>
      <p:sp>
        <p:nvSpPr>
          <p:cNvPr id="61" name="Freihandform: Form 60">
            <a:extLst>
              <a:ext uri="{FF2B5EF4-FFF2-40B4-BE49-F238E27FC236}">
                <a16:creationId xmlns:a16="http://schemas.microsoft.com/office/drawing/2014/main" id="{72D38BC9-A038-42F1-84CC-8FE548646FD4}"/>
              </a:ext>
            </a:extLst>
          </p:cNvPr>
          <p:cNvSpPr/>
          <p:nvPr/>
        </p:nvSpPr>
        <p:spPr>
          <a:xfrm>
            <a:off x="7335247" y="3102404"/>
            <a:ext cx="132838" cy="143325"/>
          </a:xfrm>
          <a:custGeom>
            <a:avLst/>
            <a:gdLst>
              <a:gd name="connsiteX0" fmla="*/ 60593 w 132838"/>
              <a:gd name="connsiteY0" fmla="*/ 143326 h 143325"/>
              <a:gd name="connsiteX1" fmla="*/ 0 w 132838"/>
              <a:gd name="connsiteY1" fmla="*/ 143326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71080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6"/>
                </a:moveTo>
                <a:lnTo>
                  <a:pt x="0" y="143326"/>
                </a:lnTo>
                <a:lnTo>
                  <a:pt x="71080" y="72245"/>
                </a:lnTo>
                <a:lnTo>
                  <a:pt x="0" y="0"/>
                </a:lnTo>
                <a:lnTo>
                  <a:pt x="61758" y="0"/>
                </a:lnTo>
                <a:lnTo>
                  <a:pt x="132838" y="71080"/>
                </a:lnTo>
                <a:close/>
              </a:path>
            </a:pathLst>
          </a:custGeom>
          <a:solidFill>
            <a:srgbClr val="EEF2F5"/>
          </a:solidFill>
          <a:ln w="11643" cap="flat">
            <a:noFill/>
            <a:prstDash val="solid"/>
            <a:miter/>
          </a:ln>
        </p:spPr>
        <p:txBody>
          <a:bodyPr rtlCol="0" anchor="ctr"/>
          <a:lstStyle/>
          <a:p>
            <a:endParaRPr lang="de-DE"/>
          </a:p>
        </p:txBody>
      </p:sp>
      <p:sp>
        <p:nvSpPr>
          <p:cNvPr id="77" name="Freihandform: Form 76">
            <a:extLst>
              <a:ext uri="{FF2B5EF4-FFF2-40B4-BE49-F238E27FC236}">
                <a16:creationId xmlns:a16="http://schemas.microsoft.com/office/drawing/2014/main" id="{4C23EFB8-6839-469E-BA4B-6EBF505449D2}"/>
              </a:ext>
            </a:extLst>
          </p:cNvPr>
          <p:cNvSpPr/>
          <p:nvPr/>
        </p:nvSpPr>
        <p:spPr>
          <a:xfrm>
            <a:off x="7335247" y="3457805"/>
            <a:ext cx="132838" cy="143325"/>
          </a:xfrm>
          <a:custGeom>
            <a:avLst/>
            <a:gdLst>
              <a:gd name="connsiteX0" fmla="*/ 60593 w 132838"/>
              <a:gd name="connsiteY0" fmla="*/ 143326 h 143325"/>
              <a:gd name="connsiteX1" fmla="*/ 0 w 132838"/>
              <a:gd name="connsiteY1" fmla="*/ 143326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6"/>
                </a:moveTo>
                <a:lnTo>
                  <a:pt x="0" y="143326"/>
                </a:lnTo>
                <a:lnTo>
                  <a:pt x="71080" y="72245"/>
                </a:lnTo>
                <a:lnTo>
                  <a:pt x="0" y="0"/>
                </a:lnTo>
                <a:lnTo>
                  <a:pt x="61758" y="0"/>
                </a:lnTo>
                <a:lnTo>
                  <a:pt x="132838" y="69915"/>
                </a:lnTo>
                <a:close/>
              </a:path>
            </a:pathLst>
          </a:custGeom>
          <a:solidFill>
            <a:srgbClr val="EEF2F5"/>
          </a:solidFill>
          <a:ln w="11643" cap="flat">
            <a:noFill/>
            <a:prstDash val="solid"/>
            <a:miter/>
          </a:ln>
        </p:spPr>
        <p:txBody>
          <a:bodyPr rtlCol="0" anchor="ctr"/>
          <a:lstStyle/>
          <a:p>
            <a:endParaRPr lang="de-DE"/>
          </a:p>
        </p:txBody>
      </p:sp>
      <p:sp>
        <p:nvSpPr>
          <p:cNvPr id="93" name="Freihandform: Form 92">
            <a:extLst>
              <a:ext uri="{FF2B5EF4-FFF2-40B4-BE49-F238E27FC236}">
                <a16:creationId xmlns:a16="http://schemas.microsoft.com/office/drawing/2014/main" id="{45EE2EBC-AC9B-4F66-BE0E-F697842CD09A}"/>
              </a:ext>
            </a:extLst>
          </p:cNvPr>
          <p:cNvSpPr/>
          <p:nvPr/>
        </p:nvSpPr>
        <p:spPr>
          <a:xfrm>
            <a:off x="7335247" y="3812040"/>
            <a:ext cx="132838" cy="144490"/>
          </a:xfrm>
          <a:custGeom>
            <a:avLst/>
            <a:gdLst>
              <a:gd name="connsiteX0" fmla="*/ 60593 w 132838"/>
              <a:gd name="connsiteY0" fmla="*/ 144491 h 144490"/>
              <a:gd name="connsiteX1" fmla="*/ 0 w 132838"/>
              <a:gd name="connsiteY1" fmla="*/ 144491 h 144490"/>
              <a:gd name="connsiteX2" fmla="*/ 71080 w 132838"/>
              <a:gd name="connsiteY2" fmla="*/ 73410 h 144490"/>
              <a:gd name="connsiteX3" fmla="*/ 0 w 132838"/>
              <a:gd name="connsiteY3" fmla="*/ 0 h 144490"/>
              <a:gd name="connsiteX4" fmla="*/ 61758 w 132838"/>
              <a:gd name="connsiteY4" fmla="*/ 0 h 144490"/>
              <a:gd name="connsiteX5" fmla="*/ 132838 w 132838"/>
              <a:gd name="connsiteY5" fmla="*/ 71080 h 144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4490">
                <a:moveTo>
                  <a:pt x="60593" y="144491"/>
                </a:moveTo>
                <a:lnTo>
                  <a:pt x="0" y="144491"/>
                </a:lnTo>
                <a:lnTo>
                  <a:pt x="71080" y="73410"/>
                </a:lnTo>
                <a:lnTo>
                  <a:pt x="0" y="0"/>
                </a:lnTo>
                <a:lnTo>
                  <a:pt x="61758" y="0"/>
                </a:lnTo>
                <a:lnTo>
                  <a:pt x="132838" y="71080"/>
                </a:lnTo>
                <a:close/>
              </a:path>
            </a:pathLst>
          </a:custGeom>
          <a:solidFill>
            <a:srgbClr val="EEF2F5"/>
          </a:solidFill>
          <a:ln w="11643" cap="flat">
            <a:noFill/>
            <a:prstDash val="solid"/>
            <a:miter/>
          </a:ln>
        </p:spPr>
        <p:txBody>
          <a:bodyPr rtlCol="0" anchor="ctr"/>
          <a:lstStyle/>
          <a:p>
            <a:endParaRPr lang="de-DE"/>
          </a:p>
        </p:txBody>
      </p:sp>
      <p:sp>
        <p:nvSpPr>
          <p:cNvPr id="109" name="Freihandform: Form 108">
            <a:extLst>
              <a:ext uri="{FF2B5EF4-FFF2-40B4-BE49-F238E27FC236}">
                <a16:creationId xmlns:a16="http://schemas.microsoft.com/office/drawing/2014/main" id="{23A8A58E-C664-472A-80B9-B34A798D133E}"/>
              </a:ext>
            </a:extLst>
          </p:cNvPr>
          <p:cNvSpPr/>
          <p:nvPr/>
        </p:nvSpPr>
        <p:spPr>
          <a:xfrm>
            <a:off x="7335247" y="4167441"/>
            <a:ext cx="132838" cy="143325"/>
          </a:xfrm>
          <a:custGeom>
            <a:avLst/>
            <a:gdLst>
              <a:gd name="connsiteX0" fmla="*/ 60593 w 132838"/>
              <a:gd name="connsiteY0" fmla="*/ 143325 h 143325"/>
              <a:gd name="connsiteX1" fmla="*/ 0 w 132838"/>
              <a:gd name="connsiteY1" fmla="*/ 143325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5"/>
                </a:moveTo>
                <a:lnTo>
                  <a:pt x="0" y="143325"/>
                </a:lnTo>
                <a:lnTo>
                  <a:pt x="71080" y="72245"/>
                </a:lnTo>
                <a:lnTo>
                  <a:pt x="0" y="0"/>
                </a:lnTo>
                <a:lnTo>
                  <a:pt x="61758" y="0"/>
                </a:lnTo>
                <a:lnTo>
                  <a:pt x="132838" y="69915"/>
                </a:lnTo>
                <a:close/>
              </a:path>
            </a:pathLst>
          </a:custGeom>
          <a:solidFill>
            <a:srgbClr val="EEF2F5"/>
          </a:solidFill>
          <a:ln w="11643" cap="flat">
            <a:noFill/>
            <a:prstDash val="solid"/>
            <a:miter/>
          </a:ln>
        </p:spPr>
        <p:txBody>
          <a:bodyPr rtlCol="0" anchor="ctr"/>
          <a:lstStyle/>
          <a:p>
            <a:endParaRPr lang="de-DE"/>
          </a:p>
        </p:txBody>
      </p:sp>
      <p:sp>
        <p:nvSpPr>
          <p:cNvPr id="125" name="Freihandform: Form 124">
            <a:extLst>
              <a:ext uri="{FF2B5EF4-FFF2-40B4-BE49-F238E27FC236}">
                <a16:creationId xmlns:a16="http://schemas.microsoft.com/office/drawing/2014/main" id="{C3B2D139-38F0-4A0D-927D-BDFD81D0A329}"/>
              </a:ext>
            </a:extLst>
          </p:cNvPr>
          <p:cNvSpPr/>
          <p:nvPr/>
        </p:nvSpPr>
        <p:spPr>
          <a:xfrm>
            <a:off x="7335247" y="4522842"/>
            <a:ext cx="132838" cy="143325"/>
          </a:xfrm>
          <a:custGeom>
            <a:avLst/>
            <a:gdLst>
              <a:gd name="connsiteX0" fmla="*/ 60593 w 132838"/>
              <a:gd name="connsiteY0" fmla="*/ 143325 h 143325"/>
              <a:gd name="connsiteX1" fmla="*/ 0 w 132838"/>
              <a:gd name="connsiteY1" fmla="*/ 143325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5"/>
                </a:moveTo>
                <a:lnTo>
                  <a:pt x="0" y="143325"/>
                </a:lnTo>
                <a:lnTo>
                  <a:pt x="71080" y="72245"/>
                </a:lnTo>
                <a:lnTo>
                  <a:pt x="0" y="0"/>
                </a:lnTo>
                <a:lnTo>
                  <a:pt x="61758" y="0"/>
                </a:lnTo>
                <a:lnTo>
                  <a:pt x="132838" y="69915"/>
                </a:lnTo>
                <a:close/>
              </a:path>
            </a:pathLst>
          </a:custGeom>
          <a:solidFill>
            <a:srgbClr val="EEF2F5"/>
          </a:solidFill>
          <a:ln w="11643" cap="flat">
            <a:noFill/>
            <a:prstDash val="solid"/>
            <a:miter/>
          </a:ln>
        </p:spPr>
        <p:txBody>
          <a:bodyPr rtlCol="0" anchor="ctr"/>
          <a:lstStyle/>
          <a:p>
            <a:endParaRPr lang="de-DE"/>
          </a:p>
        </p:txBody>
      </p:sp>
      <p:sp>
        <p:nvSpPr>
          <p:cNvPr id="142" name="Freihandform: Form 141">
            <a:extLst>
              <a:ext uri="{FF2B5EF4-FFF2-40B4-BE49-F238E27FC236}">
                <a16:creationId xmlns:a16="http://schemas.microsoft.com/office/drawing/2014/main" id="{B85C4BDF-6D64-4824-8953-A0E638E3F3C2}"/>
              </a:ext>
            </a:extLst>
          </p:cNvPr>
          <p:cNvSpPr/>
          <p:nvPr/>
        </p:nvSpPr>
        <p:spPr>
          <a:xfrm>
            <a:off x="7335247" y="4877077"/>
            <a:ext cx="132838" cy="143325"/>
          </a:xfrm>
          <a:custGeom>
            <a:avLst/>
            <a:gdLst>
              <a:gd name="connsiteX0" fmla="*/ 60593 w 132838"/>
              <a:gd name="connsiteY0" fmla="*/ 143325 h 143325"/>
              <a:gd name="connsiteX1" fmla="*/ 0 w 132838"/>
              <a:gd name="connsiteY1" fmla="*/ 143325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71080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5"/>
                </a:moveTo>
                <a:lnTo>
                  <a:pt x="0" y="143325"/>
                </a:lnTo>
                <a:lnTo>
                  <a:pt x="71080" y="72245"/>
                </a:lnTo>
                <a:lnTo>
                  <a:pt x="0" y="0"/>
                </a:lnTo>
                <a:lnTo>
                  <a:pt x="61758" y="0"/>
                </a:lnTo>
                <a:lnTo>
                  <a:pt x="132838" y="71080"/>
                </a:lnTo>
                <a:close/>
              </a:path>
            </a:pathLst>
          </a:custGeom>
          <a:solidFill>
            <a:srgbClr val="EEF2F5"/>
          </a:solidFill>
          <a:ln w="11643" cap="flat">
            <a:noFill/>
            <a:prstDash val="solid"/>
            <a:miter/>
          </a:ln>
        </p:spPr>
        <p:txBody>
          <a:bodyPr rtlCol="0" anchor="ctr"/>
          <a:lstStyle/>
          <a:p>
            <a:endParaRPr lang="de-DE"/>
          </a:p>
        </p:txBody>
      </p:sp>
      <p:sp>
        <p:nvSpPr>
          <p:cNvPr id="159" name="Freihandform: Form 158">
            <a:extLst>
              <a:ext uri="{FF2B5EF4-FFF2-40B4-BE49-F238E27FC236}">
                <a16:creationId xmlns:a16="http://schemas.microsoft.com/office/drawing/2014/main" id="{847A43FF-6A21-4A02-A0F3-7A25CB4C4A3E}"/>
              </a:ext>
            </a:extLst>
          </p:cNvPr>
          <p:cNvSpPr/>
          <p:nvPr/>
        </p:nvSpPr>
        <p:spPr>
          <a:xfrm>
            <a:off x="7335247" y="5232478"/>
            <a:ext cx="132838" cy="143325"/>
          </a:xfrm>
          <a:custGeom>
            <a:avLst/>
            <a:gdLst>
              <a:gd name="connsiteX0" fmla="*/ 60593 w 132838"/>
              <a:gd name="connsiteY0" fmla="*/ 143325 h 143325"/>
              <a:gd name="connsiteX1" fmla="*/ 0 w 132838"/>
              <a:gd name="connsiteY1" fmla="*/ 143325 h 143325"/>
              <a:gd name="connsiteX2" fmla="*/ 71080 w 132838"/>
              <a:gd name="connsiteY2" fmla="*/ 72246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5"/>
                </a:moveTo>
                <a:lnTo>
                  <a:pt x="0" y="143325"/>
                </a:lnTo>
                <a:lnTo>
                  <a:pt x="71080" y="72246"/>
                </a:lnTo>
                <a:lnTo>
                  <a:pt x="0" y="0"/>
                </a:lnTo>
                <a:lnTo>
                  <a:pt x="61758" y="0"/>
                </a:lnTo>
                <a:lnTo>
                  <a:pt x="132838" y="69915"/>
                </a:lnTo>
                <a:close/>
              </a:path>
            </a:pathLst>
          </a:custGeom>
          <a:solidFill>
            <a:srgbClr val="EEF2F5"/>
          </a:solidFill>
          <a:ln w="11643" cap="flat">
            <a:noFill/>
            <a:prstDash val="solid"/>
            <a:miter/>
          </a:ln>
        </p:spPr>
        <p:txBody>
          <a:bodyPr rtlCol="0" anchor="ctr"/>
          <a:lstStyle/>
          <a:p>
            <a:endParaRPr lang="de-DE"/>
          </a:p>
        </p:txBody>
      </p:sp>
      <p:sp>
        <p:nvSpPr>
          <p:cNvPr id="176" name="Freihandform: Form 175">
            <a:extLst>
              <a:ext uri="{FF2B5EF4-FFF2-40B4-BE49-F238E27FC236}">
                <a16:creationId xmlns:a16="http://schemas.microsoft.com/office/drawing/2014/main" id="{5F6F18CA-B559-43C7-A028-9927FEF76A9E}"/>
              </a:ext>
            </a:extLst>
          </p:cNvPr>
          <p:cNvSpPr/>
          <p:nvPr/>
        </p:nvSpPr>
        <p:spPr>
          <a:xfrm>
            <a:off x="7335247" y="5586713"/>
            <a:ext cx="132838" cy="143325"/>
          </a:xfrm>
          <a:custGeom>
            <a:avLst/>
            <a:gdLst>
              <a:gd name="connsiteX0" fmla="*/ 60593 w 132838"/>
              <a:gd name="connsiteY0" fmla="*/ 143326 h 143325"/>
              <a:gd name="connsiteX1" fmla="*/ 0 w 132838"/>
              <a:gd name="connsiteY1" fmla="*/ 143326 h 143325"/>
              <a:gd name="connsiteX2" fmla="*/ 71080 w 132838"/>
              <a:gd name="connsiteY2" fmla="*/ 72246 h 143325"/>
              <a:gd name="connsiteX3" fmla="*/ 0 w 132838"/>
              <a:gd name="connsiteY3" fmla="*/ 0 h 143325"/>
              <a:gd name="connsiteX4" fmla="*/ 61758 w 132838"/>
              <a:gd name="connsiteY4" fmla="*/ 0 h 143325"/>
              <a:gd name="connsiteX5" fmla="*/ 132838 w 132838"/>
              <a:gd name="connsiteY5" fmla="*/ 71080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6"/>
                </a:moveTo>
                <a:lnTo>
                  <a:pt x="0" y="143326"/>
                </a:lnTo>
                <a:lnTo>
                  <a:pt x="71080" y="72246"/>
                </a:lnTo>
                <a:lnTo>
                  <a:pt x="0" y="0"/>
                </a:lnTo>
                <a:lnTo>
                  <a:pt x="61758" y="0"/>
                </a:lnTo>
                <a:lnTo>
                  <a:pt x="132838" y="71080"/>
                </a:lnTo>
                <a:close/>
              </a:path>
            </a:pathLst>
          </a:custGeom>
          <a:solidFill>
            <a:srgbClr val="EEF2F5"/>
          </a:solidFill>
          <a:ln w="11643" cap="flat">
            <a:noFill/>
            <a:prstDash val="solid"/>
            <a:miter/>
          </a:ln>
        </p:spPr>
        <p:txBody>
          <a:bodyPr rtlCol="0" anchor="ctr"/>
          <a:lstStyle/>
          <a:p>
            <a:endParaRPr lang="de-DE"/>
          </a:p>
        </p:txBody>
      </p:sp>
      <p:sp>
        <p:nvSpPr>
          <p:cNvPr id="193" name="Freihandform: Form 192">
            <a:extLst>
              <a:ext uri="{FF2B5EF4-FFF2-40B4-BE49-F238E27FC236}">
                <a16:creationId xmlns:a16="http://schemas.microsoft.com/office/drawing/2014/main" id="{CA0955FD-7B34-49C4-9B74-6CBFAD6AC0D2}"/>
              </a:ext>
            </a:extLst>
          </p:cNvPr>
          <p:cNvSpPr/>
          <p:nvPr/>
        </p:nvSpPr>
        <p:spPr>
          <a:xfrm>
            <a:off x="7335247" y="5942114"/>
            <a:ext cx="132838" cy="143325"/>
          </a:xfrm>
          <a:custGeom>
            <a:avLst/>
            <a:gdLst>
              <a:gd name="connsiteX0" fmla="*/ 60593 w 132838"/>
              <a:gd name="connsiteY0" fmla="*/ 143326 h 143325"/>
              <a:gd name="connsiteX1" fmla="*/ 0 w 132838"/>
              <a:gd name="connsiteY1" fmla="*/ 143326 h 143325"/>
              <a:gd name="connsiteX2" fmla="*/ 71080 w 132838"/>
              <a:gd name="connsiteY2" fmla="*/ 72246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6"/>
                </a:moveTo>
                <a:lnTo>
                  <a:pt x="0" y="143326"/>
                </a:lnTo>
                <a:lnTo>
                  <a:pt x="71080" y="72246"/>
                </a:lnTo>
                <a:lnTo>
                  <a:pt x="0" y="0"/>
                </a:lnTo>
                <a:lnTo>
                  <a:pt x="61758" y="0"/>
                </a:lnTo>
                <a:lnTo>
                  <a:pt x="132838" y="69915"/>
                </a:lnTo>
                <a:close/>
              </a:path>
            </a:pathLst>
          </a:custGeom>
          <a:solidFill>
            <a:srgbClr val="EEF2F5"/>
          </a:solidFill>
          <a:ln w="11643" cap="flat">
            <a:noFill/>
            <a:prstDash val="solid"/>
            <a:miter/>
          </a:ln>
        </p:spPr>
        <p:txBody>
          <a:bodyPr rtlCol="0" anchor="ctr"/>
          <a:lstStyle/>
          <a:p>
            <a:endParaRPr lang="de-DE"/>
          </a:p>
        </p:txBody>
      </p:sp>
      <p:sp>
        <p:nvSpPr>
          <p:cNvPr id="210" name="Freihandform: Form 209">
            <a:extLst>
              <a:ext uri="{FF2B5EF4-FFF2-40B4-BE49-F238E27FC236}">
                <a16:creationId xmlns:a16="http://schemas.microsoft.com/office/drawing/2014/main" id="{D68D90D4-26AA-4477-A0C9-8263189B58F9}"/>
              </a:ext>
            </a:extLst>
          </p:cNvPr>
          <p:cNvSpPr/>
          <p:nvPr/>
        </p:nvSpPr>
        <p:spPr>
          <a:xfrm>
            <a:off x="7335247" y="6296349"/>
            <a:ext cx="132838" cy="143325"/>
          </a:xfrm>
          <a:custGeom>
            <a:avLst/>
            <a:gdLst>
              <a:gd name="connsiteX0" fmla="*/ 60593 w 132838"/>
              <a:gd name="connsiteY0" fmla="*/ 143326 h 143325"/>
              <a:gd name="connsiteX1" fmla="*/ 0 w 132838"/>
              <a:gd name="connsiteY1" fmla="*/ 143326 h 143325"/>
              <a:gd name="connsiteX2" fmla="*/ 71080 w 132838"/>
              <a:gd name="connsiteY2" fmla="*/ 72246 h 143325"/>
              <a:gd name="connsiteX3" fmla="*/ 0 w 132838"/>
              <a:gd name="connsiteY3" fmla="*/ 0 h 143325"/>
              <a:gd name="connsiteX4" fmla="*/ 61758 w 132838"/>
              <a:gd name="connsiteY4" fmla="*/ 0 h 143325"/>
              <a:gd name="connsiteX5" fmla="*/ 132838 w 132838"/>
              <a:gd name="connsiteY5" fmla="*/ 71080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6"/>
                </a:moveTo>
                <a:lnTo>
                  <a:pt x="0" y="143326"/>
                </a:lnTo>
                <a:lnTo>
                  <a:pt x="71080" y="72246"/>
                </a:lnTo>
                <a:lnTo>
                  <a:pt x="0" y="0"/>
                </a:lnTo>
                <a:lnTo>
                  <a:pt x="61758" y="0"/>
                </a:lnTo>
                <a:lnTo>
                  <a:pt x="132838" y="71080"/>
                </a:lnTo>
                <a:close/>
              </a:path>
            </a:pathLst>
          </a:custGeom>
          <a:solidFill>
            <a:srgbClr val="EEF2F5"/>
          </a:solidFill>
          <a:ln w="11643" cap="flat">
            <a:noFill/>
            <a:prstDash val="solid"/>
            <a:miter/>
          </a:ln>
        </p:spPr>
        <p:txBody>
          <a:bodyPr rtlCol="0" anchor="ctr"/>
          <a:lstStyle/>
          <a:p>
            <a:endParaRPr lang="de-DE"/>
          </a:p>
        </p:txBody>
      </p:sp>
      <p:sp>
        <p:nvSpPr>
          <p:cNvPr id="226" name="Freihandform: Form 225">
            <a:extLst>
              <a:ext uri="{FF2B5EF4-FFF2-40B4-BE49-F238E27FC236}">
                <a16:creationId xmlns:a16="http://schemas.microsoft.com/office/drawing/2014/main" id="{97640BFA-E4AC-482E-B26E-9BE22B98A669}"/>
              </a:ext>
            </a:extLst>
          </p:cNvPr>
          <p:cNvSpPr/>
          <p:nvPr/>
        </p:nvSpPr>
        <p:spPr>
          <a:xfrm>
            <a:off x="7335247" y="6651749"/>
            <a:ext cx="132838" cy="143325"/>
          </a:xfrm>
          <a:custGeom>
            <a:avLst/>
            <a:gdLst>
              <a:gd name="connsiteX0" fmla="*/ 60593 w 132838"/>
              <a:gd name="connsiteY0" fmla="*/ 143326 h 143325"/>
              <a:gd name="connsiteX1" fmla="*/ 0 w 132838"/>
              <a:gd name="connsiteY1" fmla="*/ 143326 h 143325"/>
              <a:gd name="connsiteX2" fmla="*/ 71080 w 132838"/>
              <a:gd name="connsiteY2" fmla="*/ 72246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6"/>
                </a:moveTo>
                <a:lnTo>
                  <a:pt x="0" y="143326"/>
                </a:lnTo>
                <a:lnTo>
                  <a:pt x="71080" y="72246"/>
                </a:lnTo>
                <a:lnTo>
                  <a:pt x="0" y="0"/>
                </a:lnTo>
                <a:lnTo>
                  <a:pt x="61758" y="0"/>
                </a:lnTo>
                <a:lnTo>
                  <a:pt x="132838" y="69915"/>
                </a:lnTo>
                <a:close/>
              </a:path>
            </a:pathLst>
          </a:custGeom>
          <a:solidFill>
            <a:srgbClr val="EEF2F5"/>
          </a:solidFill>
          <a:ln w="11643" cap="flat">
            <a:noFill/>
            <a:prstDash val="solid"/>
            <a:miter/>
          </a:ln>
        </p:spPr>
        <p:txBody>
          <a:bodyPr rtlCol="0" anchor="ctr"/>
          <a:lstStyle/>
          <a:p>
            <a:endParaRPr lang="de-DE"/>
          </a:p>
        </p:txBody>
      </p:sp>
      <p:sp>
        <p:nvSpPr>
          <p:cNvPr id="15" name="Freihandform: Form 14">
            <a:extLst>
              <a:ext uri="{FF2B5EF4-FFF2-40B4-BE49-F238E27FC236}">
                <a16:creationId xmlns:a16="http://schemas.microsoft.com/office/drawing/2014/main" id="{F336D4C3-F14F-4477-B07F-E766912B6926}"/>
              </a:ext>
            </a:extLst>
          </p:cNvPr>
          <p:cNvSpPr/>
          <p:nvPr/>
        </p:nvSpPr>
        <p:spPr>
          <a:xfrm>
            <a:off x="7682491" y="2029211"/>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30" name="Freihandform: Form 29">
            <a:extLst>
              <a:ext uri="{FF2B5EF4-FFF2-40B4-BE49-F238E27FC236}">
                <a16:creationId xmlns:a16="http://schemas.microsoft.com/office/drawing/2014/main" id="{34D4DA1D-8EE2-4188-AE9C-9791ECBC66C5}"/>
              </a:ext>
            </a:extLst>
          </p:cNvPr>
          <p:cNvSpPr/>
          <p:nvPr/>
        </p:nvSpPr>
        <p:spPr>
          <a:xfrm>
            <a:off x="7682491" y="2384612"/>
            <a:ext cx="147986" cy="160804"/>
          </a:xfrm>
          <a:custGeom>
            <a:avLst/>
            <a:gdLst>
              <a:gd name="connsiteX0" fmla="*/ 67584 w 147986"/>
              <a:gd name="connsiteY0" fmla="*/ 160804 h 160804"/>
              <a:gd name="connsiteX1" fmla="*/ 0 w 147986"/>
              <a:gd name="connsiteY1" fmla="*/ 160804 h 160804"/>
              <a:gd name="connsiteX2" fmla="*/ 79237 w 147986"/>
              <a:gd name="connsiteY2" fmla="*/ 80402 h 160804"/>
              <a:gd name="connsiteX3" fmla="*/ 0 w 147986"/>
              <a:gd name="connsiteY3" fmla="*/ 0 h 160804"/>
              <a:gd name="connsiteX4" fmla="*/ 68750 w 147986"/>
              <a:gd name="connsiteY4" fmla="*/ 0 h 160804"/>
              <a:gd name="connsiteX5" fmla="*/ 147986 w 147986"/>
              <a:gd name="connsiteY5" fmla="*/ 79237 h 160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0804">
                <a:moveTo>
                  <a:pt x="67584" y="160804"/>
                </a:moveTo>
                <a:lnTo>
                  <a:pt x="0" y="160804"/>
                </a:lnTo>
                <a:lnTo>
                  <a:pt x="79237" y="80402"/>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46" name="Freihandform: Form 45">
            <a:extLst>
              <a:ext uri="{FF2B5EF4-FFF2-40B4-BE49-F238E27FC236}">
                <a16:creationId xmlns:a16="http://schemas.microsoft.com/office/drawing/2014/main" id="{ADAD204A-493D-4101-A53B-41343EE7F6DE}"/>
              </a:ext>
            </a:extLst>
          </p:cNvPr>
          <p:cNvSpPr/>
          <p:nvPr/>
        </p:nvSpPr>
        <p:spPr>
          <a:xfrm>
            <a:off x="7682491" y="2738847"/>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62" name="Freihandform: Form 61">
            <a:extLst>
              <a:ext uri="{FF2B5EF4-FFF2-40B4-BE49-F238E27FC236}">
                <a16:creationId xmlns:a16="http://schemas.microsoft.com/office/drawing/2014/main" id="{0605F07B-22A0-4571-A9A8-F5DA3A1756E5}"/>
              </a:ext>
            </a:extLst>
          </p:cNvPr>
          <p:cNvSpPr/>
          <p:nvPr/>
        </p:nvSpPr>
        <p:spPr>
          <a:xfrm>
            <a:off x="7682491" y="3094248"/>
            <a:ext cx="147986" cy="160804"/>
          </a:xfrm>
          <a:custGeom>
            <a:avLst/>
            <a:gdLst>
              <a:gd name="connsiteX0" fmla="*/ 67584 w 147986"/>
              <a:gd name="connsiteY0" fmla="*/ 160804 h 160804"/>
              <a:gd name="connsiteX1" fmla="*/ 0 w 147986"/>
              <a:gd name="connsiteY1" fmla="*/ 160804 h 160804"/>
              <a:gd name="connsiteX2" fmla="*/ 79237 w 147986"/>
              <a:gd name="connsiteY2" fmla="*/ 81567 h 160804"/>
              <a:gd name="connsiteX3" fmla="*/ 0 w 147986"/>
              <a:gd name="connsiteY3" fmla="*/ 0 h 160804"/>
              <a:gd name="connsiteX4" fmla="*/ 68750 w 147986"/>
              <a:gd name="connsiteY4" fmla="*/ 0 h 160804"/>
              <a:gd name="connsiteX5" fmla="*/ 147986 w 147986"/>
              <a:gd name="connsiteY5" fmla="*/ 79237 h 160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0804">
                <a:moveTo>
                  <a:pt x="67584" y="160804"/>
                </a:moveTo>
                <a:lnTo>
                  <a:pt x="0" y="160804"/>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78" name="Freihandform: Form 77">
            <a:extLst>
              <a:ext uri="{FF2B5EF4-FFF2-40B4-BE49-F238E27FC236}">
                <a16:creationId xmlns:a16="http://schemas.microsoft.com/office/drawing/2014/main" id="{3EC20671-A11E-46B3-BAE0-32B973030757}"/>
              </a:ext>
            </a:extLst>
          </p:cNvPr>
          <p:cNvSpPr/>
          <p:nvPr/>
        </p:nvSpPr>
        <p:spPr>
          <a:xfrm>
            <a:off x="7682491" y="3448483"/>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94" name="Freihandform: Form 93">
            <a:extLst>
              <a:ext uri="{FF2B5EF4-FFF2-40B4-BE49-F238E27FC236}">
                <a16:creationId xmlns:a16="http://schemas.microsoft.com/office/drawing/2014/main" id="{A30F4723-63CF-4B8C-9113-E2531A8EBC72}"/>
              </a:ext>
            </a:extLst>
          </p:cNvPr>
          <p:cNvSpPr/>
          <p:nvPr/>
        </p:nvSpPr>
        <p:spPr>
          <a:xfrm>
            <a:off x="7682491" y="3803883"/>
            <a:ext cx="147986" cy="160804"/>
          </a:xfrm>
          <a:custGeom>
            <a:avLst/>
            <a:gdLst>
              <a:gd name="connsiteX0" fmla="*/ 67584 w 147986"/>
              <a:gd name="connsiteY0" fmla="*/ 160804 h 160804"/>
              <a:gd name="connsiteX1" fmla="*/ 0 w 147986"/>
              <a:gd name="connsiteY1" fmla="*/ 160804 h 160804"/>
              <a:gd name="connsiteX2" fmla="*/ 79237 w 147986"/>
              <a:gd name="connsiteY2" fmla="*/ 81567 h 160804"/>
              <a:gd name="connsiteX3" fmla="*/ 0 w 147986"/>
              <a:gd name="connsiteY3" fmla="*/ 0 h 160804"/>
              <a:gd name="connsiteX4" fmla="*/ 68750 w 147986"/>
              <a:gd name="connsiteY4" fmla="*/ 0 h 160804"/>
              <a:gd name="connsiteX5" fmla="*/ 147986 w 147986"/>
              <a:gd name="connsiteY5" fmla="*/ 79237 h 160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0804">
                <a:moveTo>
                  <a:pt x="67584" y="160804"/>
                </a:moveTo>
                <a:lnTo>
                  <a:pt x="0" y="160804"/>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110" name="Freihandform: Form 109">
            <a:extLst>
              <a:ext uri="{FF2B5EF4-FFF2-40B4-BE49-F238E27FC236}">
                <a16:creationId xmlns:a16="http://schemas.microsoft.com/office/drawing/2014/main" id="{0B073543-0431-463D-BD2B-670537378FD9}"/>
              </a:ext>
            </a:extLst>
          </p:cNvPr>
          <p:cNvSpPr/>
          <p:nvPr/>
        </p:nvSpPr>
        <p:spPr>
          <a:xfrm>
            <a:off x="7682491" y="4158119"/>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126" name="Freihandform: Form 125">
            <a:extLst>
              <a:ext uri="{FF2B5EF4-FFF2-40B4-BE49-F238E27FC236}">
                <a16:creationId xmlns:a16="http://schemas.microsoft.com/office/drawing/2014/main" id="{D645C434-6F6D-4B2F-9987-6BA4C184BDAD}"/>
              </a:ext>
            </a:extLst>
          </p:cNvPr>
          <p:cNvSpPr/>
          <p:nvPr/>
        </p:nvSpPr>
        <p:spPr>
          <a:xfrm>
            <a:off x="7682491" y="4513520"/>
            <a:ext cx="147986" cy="160804"/>
          </a:xfrm>
          <a:custGeom>
            <a:avLst/>
            <a:gdLst>
              <a:gd name="connsiteX0" fmla="*/ 67584 w 147986"/>
              <a:gd name="connsiteY0" fmla="*/ 160804 h 160804"/>
              <a:gd name="connsiteX1" fmla="*/ 0 w 147986"/>
              <a:gd name="connsiteY1" fmla="*/ 160804 h 160804"/>
              <a:gd name="connsiteX2" fmla="*/ 79237 w 147986"/>
              <a:gd name="connsiteY2" fmla="*/ 81567 h 160804"/>
              <a:gd name="connsiteX3" fmla="*/ 0 w 147986"/>
              <a:gd name="connsiteY3" fmla="*/ 0 h 160804"/>
              <a:gd name="connsiteX4" fmla="*/ 68750 w 147986"/>
              <a:gd name="connsiteY4" fmla="*/ 0 h 160804"/>
              <a:gd name="connsiteX5" fmla="*/ 147986 w 147986"/>
              <a:gd name="connsiteY5" fmla="*/ 79237 h 160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0804">
                <a:moveTo>
                  <a:pt x="67584" y="160804"/>
                </a:moveTo>
                <a:lnTo>
                  <a:pt x="0" y="160804"/>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143" name="Freihandform: Form 142">
            <a:extLst>
              <a:ext uri="{FF2B5EF4-FFF2-40B4-BE49-F238E27FC236}">
                <a16:creationId xmlns:a16="http://schemas.microsoft.com/office/drawing/2014/main" id="{78C199F1-38D6-4003-B23F-FB1D901A96D0}"/>
              </a:ext>
            </a:extLst>
          </p:cNvPr>
          <p:cNvSpPr/>
          <p:nvPr/>
        </p:nvSpPr>
        <p:spPr>
          <a:xfrm>
            <a:off x="7682491" y="4867755"/>
            <a:ext cx="147986" cy="161969"/>
          </a:xfrm>
          <a:custGeom>
            <a:avLst/>
            <a:gdLst>
              <a:gd name="connsiteX0" fmla="*/ 67584 w 147986"/>
              <a:gd name="connsiteY0" fmla="*/ 161970 h 161969"/>
              <a:gd name="connsiteX1" fmla="*/ 0 w 147986"/>
              <a:gd name="connsiteY1" fmla="*/ 161970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70"/>
                </a:moveTo>
                <a:lnTo>
                  <a:pt x="0" y="161970"/>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160" name="Freihandform: Form 159">
            <a:extLst>
              <a:ext uri="{FF2B5EF4-FFF2-40B4-BE49-F238E27FC236}">
                <a16:creationId xmlns:a16="http://schemas.microsoft.com/office/drawing/2014/main" id="{88794CE9-C4AD-447D-ADEB-D45D8252050B}"/>
              </a:ext>
            </a:extLst>
          </p:cNvPr>
          <p:cNvSpPr/>
          <p:nvPr/>
        </p:nvSpPr>
        <p:spPr>
          <a:xfrm>
            <a:off x="7682491" y="5223156"/>
            <a:ext cx="147986" cy="160804"/>
          </a:xfrm>
          <a:custGeom>
            <a:avLst/>
            <a:gdLst>
              <a:gd name="connsiteX0" fmla="*/ 67584 w 147986"/>
              <a:gd name="connsiteY0" fmla="*/ 160804 h 160804"/>
              <a:gd name="connsiteX1" fmla="*/ 0 w 147986"/>
              <a:gd name="connsiteY1" fmla="*/ 160804 h 160804"/>
              <a:gd name="connsiteX2" fmla="*/ 79237 w 147986"/>
              <a:gd name="connsiteY2" fmla="*/ 81567 h 160804"/>
              <a:gd name="connsiteX3" fmla="*/ 0 w 147986"/>
              <a:gd name="connsiteY3" fmla="*/ 0 h 160804"/>
              <a:gd name="connsiteX4" fmla="*/ 68750 w 147986"/>
              <a:gd name="connsiteY4" fmla="*/ 0 h 160804"/>
              <a:gd name="connsiteX5" fmla="*/ 147986 w 147986"/>
              <a:gd name="connsiteY5" fmla="*/ 79237 h 160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0804">
                <a:moveTo>
                  <a:pt x="67584" y="160804"/>
                </a:moveTo>
                <a:lnTo>
                  <a:pt x="0" y="160804"/>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177" name="Freihandform: Form 176">
            <a:extLst>
              <a:ext uri="{FF2B5EF4-FFF2-40B4-BE49-F238E27FC236}">
                <a16:creationId xmlns:a16="http://schemas.microsoft.com/office/drawing/2014/main" id="{FB39A232-82A2-4ED2-B532-B8247CC2812D}"/>
              </a:ext>
            </a:extLst>
          </p:cNvPr>
          <p:cNvSpPr/>
          <p:nvPr/>
        </p:nvSpPr>
        <p:spPr>
          <a:xfrm>
            <a:off x="7682491" y="5577391"/>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194" name="Freihandform: Form 193">
            <a:extLst>
              <a:ext uri="{FF2B5EF4-FFF2-40B4-BE49-F238E27FC236}">
                <a16:creationId xmlns:a16="http://schemas.microsoft.com/office/drawing/2014/main" id="{B5F8FABB-7522-42DB-BB0F-06A4420A79B1}"/>
              </a:ext>
            </a:extLst>
          </p:cNvPr>
          <p:cNvSpPr/>
          <p:nvPr/>
        </p:nvSpPr>
        <p:spPr>
          <a:xfrm>
            <a:off x="7682491" y="5932792"/>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211" name="Freihandform: Form 210">
            <a:extLst>
              <a:ext uri="{FF2B5EF4-FFF2-40B4-BE49-F238E27FC236}">
                <a16:creationId xmlns:a16="http://schemas.microsoft.com/office/drawing/2014/main" id="{D1F73513-4E28-4A8A-BEBF-47911EDB513A}"/>
              </a:ext>
            </a:extLst>
          </p:cNvPr>
          <p:cNvSpPr/>
          <p:nvPr/>
        </p:nvSpPr>
        <p:spPr>
          <a:xfrm>
            <a:off x="7682491" y="6287027"/>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80402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80402"/>
                </a:lnTo>
                <a:close/>
              </a:path>
            </a:pathLst>
          </a:custGeom>
          <a:solidFill>
            <a:srgbClr val="EEF2F5"/>
          </a:solidFill>
          <a:ln w="11643" cap="flat">
            <a:noFill/>
            <a:prstDash val="solid"/>
            <a:miter/>
          </a:ln>
        </p:spPr>
        <p:txBody>
          <a:bodyPr rtlCol="0" anchor="ctr"/>
          <a:lstStyle/>
          <a:p>
            <a:endParaRPr lang="de-DE"/>
          </a:p>
        </p:txBody>
      </p:sp>
      <p:sp>
        <p:nvSpPr>
          <p:cNvPr id="227" name="Freihandform: Form 226">
            <a:extLst>
              <a:ext uri="{FF2B5EF4-FFF2-40B4-BE49-F238E27FC236}">
                <a16:creationId xmlns:a16="http://schemas.microsoft.com/office/drawing/2014/main" id="{4D6DE079-31CD-44BD-8304-6E69A15E3218}"/>
              </a:ext>
            </a:extLst>
          </p:cNvPr>
          <p:cNvSpPr/>
          <p:nvPr/>
        </p:nvSpPr>
        <p:spPr>
          <a:xfrm>
            <a:off x="7682491" y="6642428"/>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16" name="Freihandform: Form 15">
            <a:extLst>
              <a:ext uri="{FF2B5EF4-FFF2-40B4-BE49-F238E27FC236}">
                <a16:creationId xmlns:a16="http://schemas.microsoft.com/office/drawing/2014/main" id="{AA2702D7-FFC1-412B-9F48-632A7CE520AC}"/>
              </a:ext>
            </a:extLst>
          </p:cNvPr>
          <p:cNvSpPr/>
          <p:nvPr/>
        </p:nvSpPr>
        <p:spPr>
          <a:xfrm>
            <a:off x="8028570" y="2019889"/>
            <a:ext cx="165465" cy="179448"/>
          </a:xfrm>
          <a:custGeom>
            <a:avLst/>
            <a:gdLst>
              <a:gd name="connsiteX0" fmla="*/ 75741 w 165465"/>
              <a:gd name="connsiteY0" fmla="*/ 179448 h 179448"/>
              <a:gd name="connsiteX1" fmla="*/ 0 w 165465"/>
              <a:gd name="connsiteY1" fmla="*/ 179448 h 179448"/>
              <a:gd name="connsiteX2" fmla="*/ 88559 w 165465"/>
              <a:gd name="connsiteY2" fmla="*/ 90889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31" name="Freihandform: Form 30">
            <a:extLst>
              <a:ext uri="{FF2B5EF4-FFF2-40B4-BE49-F238E27FC236}">
                <a16:creationId xmlns:a16="http://schemas.microsoft.com/office/drawing/2014/main" id="{648C99A7-3678-4CC0-AF16-855FE8DF6A83}"/>
              </a:ext>
            </a:extLst>
          </p:cNvPr>
          <p:cNvSpPr/>
          <p:nvPr/>
        </p:nvSpPr>
        <p:spPr>
          <a:xfrm>
            <a:off x="8028570" y="2375290"/>
            <a:ext cx="165465" cy="179448"/>
          </a:xfrm>
          <a:custGeom>
            <a:avLst/>
            <a:gdLst>
              <a:gd name="connsiteX0" fmla="*/ 75741 w 165465"/>
              <a:gd name="connsiteY0" fmla="*/ 179448 h 179448"/>
              <a:gd name="connsiteX1" fmla="*/ 0 w 165465"/>
              <a:gd name="connsiteY1" fmla="*/ 179448 h 179448"/>
              <a:gd name="connsiteX2" fmla="*/ 88559 w 165465"/>
              <a:gd name="connsiteY2" fmla="*/ 90889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47" name="Freihandform: Form 46">
            <a:extLst>
              <a:ext uri="{FF2B5EF4-FFF2-40B4-BE49-F238E27FC236}">
                <a16:creationId xmlns:a16="http://schemas.microsoft.com/office/drawing/2014/main" id="{0E3F6CC1-3FE3-4CB0-8193-8A547CA4FB4E}"/>
              </a:ext>
            </a:extLst>
          </p:cNvPr>
          <p:cNvSpPr/>
          <p:nvPr/>
        </p:nvSpPr>
        <p:spPr>
          <a:xfrm>
            <a:off x="8028570" y="2729525"/>
            <a:ext cx="165465" cy="179448"/>
          </a:xfrm>
          <a:custGeom>
            <a:avLst/>
            <a:gdLst>
              <a:gd name="connsiteX0" fmla="*/ 75741 w 165465"/>
              <a:gd name="connsiteY0" fmla="*/ 179448 h 179448"/>
              <a:gd name="connsiteX1" fmla="*/ 0 w 165465"/>
              <a:gd name="connsiteY1" fmla="*/ 179448 h 179448"/>
              <a:gd name="connsiteX2" fmla="*/ 88559 w 165465"/>
              <a:gd name="connsiteY2" fmla="*/ 90889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63" name="Freihandform: Form 62">
            <a:extLst>
              <a:ext uri="{FF2B5EF4-FFF2-40B4-BE49-F238E27FC236}">
                <a16:creationId xmlns:a16="http://schemas.microsoft.com/office/drawing/2014/main" id="{49D6FD09-D76C-4E44-8667-31EAE0B38FB7}"/>
              </a:ext>
            </a:extLst>
          </p:cNvPr>
          <p:cNvSpPr/>
          <p:nvPr/>
        </p:nvSpPr>
        <p:spPr>
          <a:xfrm>
            <a:off x="8028570" y="3084926"/>
            <a:ext cx="165465" cy="179448"/>
          </a:xfrm>
          <a:custGeom>
            <a:avLst/>
            <a:gdLst>
              <a:gd name="connsiteX0" fmla="*/ 75741 w 165465"/>
              <a:gd name="connsiteY0" fmla="*/ 179448 h 179448"/>
              <a:gd name="connsiteX1" fmla="*/ 0 w 165465"/>
              <a:gd name="connsiteY1" fmla="*/ 179448 h 179448"/>
              <a:gd name="connsiteX2" fmla="*/ 88559 w 165465"/>
              <a:gd name="connsiteY2" fmla="*/ 90889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79" name="Freihandform: Form 78">
            <a:extLst>
              <a:ext uri="{FF2B5EF4-FFF2-40B4-BE49-F238E27FC236}">
                <a16:creationId xmlns:a16="http://schemas.microsoft.com/office/drawing/2014/main" id="{92A2F530-7C00-4840-A5DC-15FB5F070BFC}"/>
              </a:ext>
            </a:extLst>
          </p:cNvPr>
          <p:cNvSpPr/>
          <p:nvPr/>
        </p:nvSpPr>
        <p:spPr>
          <a:xfrm>
            <a:off x="8028570" y="3439161"/>
            <a:ext cx="165465" cy="180613"/>
          </a:xfrm>
          <a:custGeom>
            <a:avLst/>
            <a:gdLst>
              <a:gd name="connsiteX0" fmla="*/ 75741 w 165465"/>
              <a:gd name="connsiteY0" fmla="*/ 180614 h 180613"/>
              <a:gd name="connsiteX1" fmla="*/ 0 w 165465"/>
              <a:gd name="connsiteY1" fmla="*/ 180614 h 180613"/>
              <a:gd name="connsiteX2" fmla="*/ 88559 w 165465"/>
              <a:gd name="connsiteY2" fmla="*/ 90889 h 180613"/>
              <a:gd name="connsiteX3" fmla="*/ 0 w 165465"/>
              <a:gd name="connsiteY3" fmla="*/ 0 h 180613"/>
              <a:gd name="connsiteX4" fmla="*/ 76906 w 165465"/>
              <a:gd name="connsiteY4" fmla="*/ 0 h 180613"/>
              <a:gd name="connsiteX5" fmla="*/ 165465 w 165465"/>
              <a:gd name="connsiteY5" fmla="*/ 88559 h 180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80613">
                <a:moveTo>
                  <a:pt x="75741" y="180614"/>
                </a:moveTo>
                <a:lnTo>
                  <a:pt x="0" y="180614"/>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95" name="Freihandform: Form 94">
            <a:extLst>
              <a:ext uri="{FF2B5EF4-FFF2-40B4-BE49-F238E27FC236}">
                <a16:creationId xmlns:a16="http://schemas.microsoft.com/office/drawing/2014/main" id="{6D26EBCB-8FC5-402E-8D7D-BBB49F3CFCC5}"/>
              </a:ext>
            </a:extLst>
          </p:cNvPr>
          <p:cNvSpPr/>
          <p:nvPr/>
        </p:nvSpPr>
        <p:spPr>
          <a:xfrm>
            <a:off x="8028570" y="3794562"/>
            <a:ext cx="165465" cy="179448"/>
          </a:xfrm>
          <a:custGeom>
            <a:avLst/>
            <a:gdLst>
              <a:gd name="connsiteX0" fmla="*/ 75741 w 165465"/>
              <a:gd name="connsiteY0" fmla="*/ 179448 h 179448"/>
              <a:gd name="connsiteX1" fmla="*/ 0 w 165465"/>
              <a:gd name="connsiteY1" fmla="*/ 179448 h 179448"/>
              <a:gd name="connsiteX2" fmla="*/ 88559 w 165465"/>
              <a:gd name="connsiteY2" fmla="*/ 90889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111" name="Freihandform: Form 110">
            <a:extLst>
              <a:ext uri="{FF2B5EF4-FFF2-40B4-BE49-F238E27FC236}">
                <a16:creationId xmlns:a16="http://schemas.microsoft.com/office/drawing/2014/main" id="{CCAAEEA3-A150-4712-ACA6-4E1DDCA0F471}"/>
              </a:ext>
            </a:extLst>
          </p:cNvPr>
          <p:cNvSpPr/>
          <p:nvPr/>
        </p:nvSpPr>
        <p:spPr>
          <a:xfrm>
            <a:off x="8028570" y="4148797"/>
            <a:ext cx="165465" cy="180613"/>
          </a:xfrm>
          <a:custGeom>
            <a:avLst/>
            <a:gdLst>
              <a:gd name="connsiteX0" fmla="*/ 75741 w 165465"/>
              <a:gd name="connsiteY0" fmla="*/ 180613 h 180613"/>
              <a:gd name="connsiteX1" fmla="*/ 0 w 165465"/>
              <a:gd name="connsiteY1" fmla="*/ 180613 h 180613"/>
              <a:gd name="connsiteX2" fmla="*/ 88559 w 165465"/>
              <a:gd name="connsiteY2" fmla="*/ 90889 h 180613"/>
              <a:gd name="connsiteX3" fmla="*/ 0 w 165465"/>
              <a:gd name="connsiteY3" fmla="*/ 0 h 180613"/>
              <a:gd name="connsiteX4" fmla="*/ 76906 w 165465"/>
              <a:gd name="connsiteY4" fmla="*/ 0 h 180613"/>
              <a:gd name="connsiteX5" fmla="*/ 165465 w 165465"/>
              <a:gd name="connsiteY5" fmla="*/ 88559 h 180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80613">
                <a:moveTo>
                  <a:pt x="75741" y="180613"/>
                </a:moveTo>
                <a:lnTo>
                  <a:pt x="0" y="180613"/>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127" name="Freihandform: Form 126">
            <a:extLst>
              <a:ext uri="{FF2B5EF4-FFF2-40B4-BE49-F238E27FC236}">
                <a16:creationId xmlns:a16="http://schemas.microsoft.com/office/drawing/2014/main" id="{4836B90C-7140-46A6-8E06-F6F443FAF626}"/>
              </a:ext>
            </a:extLst>
          </p:cNvPr>
          <p:cNvSpPr/>
          <p:nvPr/>
        </p:nvSpPr>
        <p:spPr>
          <a:xfrm>
            <a:off x="8028570" y="4504198"/>
            <a:ext cx="165465" cy="179448"/>
          </a:xfrm>
          <a:custGeom>
            <a:avLst/>
            <a:gdLst>
              <a:gd name="connsiteX0" fmla="*/ 75741 w 165465"/>
              <a:gd name="connsiteY0" fmla="*/ 179448 h 179448"/>
              <a:gd name="connsiteX1" fmla="*/ 0 w 165465"/>
              <a:gd name="connsiteY1" fmla="*/ 179448 h 179448"/>
              <a:gd name="connsiteX2" fmla="*/ 88559 w 165465"/>
              <a:gd name="connsiteY2" fmla="*/ 90889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144" name="Freihandform: Form 143">
            <a:extLst>
              <a:ext uri="{FF2B5EF4-FFF2-40B4-BE49-F238E27FC236}">
                <a16:creationId xmlns:a16="http://schemas.microsoft.com/office/drawing/2014/main" id="{3BBFE07D-6FDD-4238-9402-B3F281DCA33E}"/>
              </a:ext>
            </a:extLst>
          </p:cNvPr>
          <p:cNvSpPr/>
          <p:nvPr/>
        </p:nvSpPr>
        <p:spPr>
          <a:xfrm>
            <a:off x="8028570" y="4859598"/>
            <a:ext cx="165465" cy="179448"/>
          </a:xfrm>
          <a:custGeom>
            <a:avLst/>
            <a:gdLst>
              <a:gd name="connsiteX0" fmla="*/ 75741 w 165465"/>
              <a:gd name="connsiteY0" fmla="*/ 179448 h 179448"/>
              <a:gd name="connsiteX1" fmla="*/ 0 w 165465"/>
              <a:gd name="connsiteY1" fmla="*/ 179448 h 179448"/>
              <a:gd name="connsiteX2" fmla="*/ 88559 w 165465"/>
              <a:gd name="connsiteY2" fmla="*/ 89724 h 179448"/>
              <a:gd name="connsiteX3" fmla="*/ 0 w 165465"/>
              <a:gd name="connsiteY3" fmla="*/ 0 h 179448"/>
              <a:gd name="connsiteX4" fmla="*/ 76906 w 165465"/>
              <a:gd name="connsiteY4" fmla="*/ 0 h 179448"/>
              <a:gd name="connsiteX5" fmla="*/ 165465 w 165465"/>
              <a:gd name="connsiteY5" fmla="*/ 87394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89724"/>
                </a:lnTo>
                <a:lnTo>
                  <a:pt x="0" y="0"/>
                </a:lnTo>
                <a:lnTo>
                  <a:pt x="76906" y="0"/>
                </a:lnTo>
                <a:lnTo>
                  <a:pt x="165465" y="87394"/>
                </a:lnTo>
                <a:close/>
              </a:path>
            </a:pathLst>
          </a:custGeom>
          <a:solidFill>
            <a:srgbClr val="EEF2F5"/>
          </a:solidFill>
          <a:ln w="11643" cap="flat">
            <a:noFill/>
            <a:prstDash val="solid"/>
            <a:miter/>
          </a:ln>
        </p:spPr>
        <p:txBody>
          <a:bodyPr rtlCol="0" anchor="ctr"/>
          <a:lstStyle/>
          <a:p>
            <a:endParaRPr lang="de-DE"/>
          </a:p>
        </p:txBody>
      </p:sp>
      <p:sp>
        <p:nvSpPr>
          <p:cNvPr id="161" name="Freihandform: Form 160">
            <a:extLst>
              <a:ext uri="{FF2B5EF4-FFF2-40B4-BE49-F238E27FC236}">
                <a16:creationId xmlns:a16="http://schemas.microsoft.com/office/drawing/2014/main" id="{9F4D763A-5B43-4FAB-9B68-52F7F446418E}"/>
              </a:ext>
            </a:extLst>
          </p:cNvPr>
          <p:cNvSpPr/>
          <p:nvPr/>
        </p:nvSpPr>
        <p:spPr>
          <a:xfrm>
            <a:off x="8028570" y="5213834"/>
            <a:ext cx="165465" cy="179448"/>
          </a:xfrm>
          <a:custGeom>
            <a:avLst/>
            <a:gdLst>
              <a:gd name="connsiteX0" fmla="*/ 75741 w 165465"/>
              <a:gd name="connsiteY0" fmla="*/ 179448 h 179448"/>
              <a:gd name="connsiteX1" fmla="*/ 0 w 165465"/>
              <a:gd name="connsiteY1" fmla="*/ 179448 h 179448"/>
              <a:gd name="connsiteX2" fmla="*/ 88559 w 165465"/>
              <a:gd name="connsiteY2" fmla="*/ 90890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90"/>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178" name="Freihandform: Form 177">
            <a:extLst>
              <a:ext uri="{FF2B5EF4-FFF2-40B4-BE49-F238E27FC236}">
                <a16:creationId xmlns:a16="http://schemas.microsoft.com/office/drawing/2014/main" id="{41FB849E-381E-41F8-9504-EDE13E3D8055}"/>
              </a:ext>
            </a:extLst>
          </p:cNvPr>
          <p:cNvSpPr/>
          <p:nvPr/>
        </p:nvSpPr>
        <p:spPr>
          <a:xfrm>
            <a:off x="8028570" y="5569234"/>
            <a:ext cx="165465" cy="179448"/>
          </a:xfrm>
          <a:custGeom>
            <a:avLst/>
            <a:gdLst>
              <a:gd name="connsiteX0" fmla="*/ 75741 w 165465"/>
              <a:gd name="connsiteY0" fmla="*/ 179448 h 179448"/>
              <a:gd name="connsiteX1" fmla="*/ 0 w 165465"/>
              <a:gd name="connsiteY1" fmla="*/ 179448 h 179448"/>
              <a:gd name="connsiteX2" fmla="*/ 88559 w 165465"/>
              <a:gd name="connsiteY2" fmla="*/ 89724 h 179448"/>
              <a:gd name="connsiteX3" fmla="*/ 0 w 165465"/>
              <a:gd name="connsiteY3" fmla="*/ 0 h 179448"/>
              <a:gd name="connsiteX4" fmla="*/ 76906 w 165465"/>
              <a:gd name="connsiteY4" fmla="*/ 0 h 179448"/>
              <a:gd name="connsiteX5" fmla="*/ 165465 w 165465"/>
              <a:gd name="connsiteY5" fmla="*/ 87394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89724"/>
                </a:lnTo>
                <a:lnTo>
                  <a:pt x="0" y="0"/>
                </a:lnTo>
                <a:lnTo>
                  <a:pt x="76906" y="0"/>
                </a:lnTo>
                <a:lnTo>
                  <a:pt x="165465" y="87394"/>
                </a:lnTo>
                <a:close/>
              </a:path>
            </a:pathLst>
          </a:custGeom>
          <a:solidFill>
            <a:srgbClr val="EEF2F5"/>
          </a:solidFill>
          <a:ln w="11643" cap="flat">
            <a:noFill/>
            <a:prstDash val="solid"/>
            <a:miter/>
          </a:ln>
        </p:spPr>
        <p:txBody>
          <a:bodyPr rtlCol="0" anchor="ctr"/>
          <a:lstStyle/>
          <a:p>
            <a:endParaRPr lang="de-DE"/>
          </a:p>
        </p:txBody>
      </p:sp>
      <p:sp>
        <p:nvSpPr>
          <p:cNvPr id="195" name="Freihandform: Form 194">
            <a:extLst>
              <a:ext uri="{FF2B5EF4-FFF2-40B4-BE49-F238E27FC236}">
                <a16:creationId xmlns:a16="http://schemas.microsoft.com/office/drawing/2014/main" id="{5427778E-AAB9-42E1-BC64-75764828EDB0}"/>
              </a:ext>
            </a:extLst>
          </p:cNvPr>
          <p:cNvSpPr/>
          <p:nvPr/>
        </p:nvSpPr>
        <p:spPr>
          <a:xfrm>
            <a:off x="8028570" y="5923469"/>
            <a:ext cx="165465" cy="179448"/>
          </a:xfrm>
          <a:custGeom>
            <a:avLst/>
            <a:gdLst>
              <a:gd name="connsiteX0" fmla="*/ 75741 w 165465"/>
              <a:gd name="connsiteY0" fmla="*/ 179448 h 179448"/>
              <a:gd name="connsiteX1" fmla="*/ 0 w 165465"/>
              <a:gd name="connsiteY1" fmla="*/ 179448 h 179448"/>
              <a:gd name="connsiteX2" fmla="*/ 88559 w 165465"/>
              <a:gd name="connsiteY2" fmla="*/ 90890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90"/>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212" name="Freihandform: Form 211">
            <a:extLst>
              <a:ext uri="{FF2B5EF4-FFF2-40B4-BE49-F238E27FC236}">
                <a16:creationId xmlns:a16="http://schemas.microsoft.com/office/drawing/2014/main" id="{E72C56CD-8028-4274-A62F-5994CAF54FEF}"/>
              </a:ext>
            </a:extLst>
          </p:cNvPr>
          <p:cNvSpPr/>
          <p:nvPr/>
        </p:nvSpPr>
        <p:spPr>
          <a:xfrm>
            <a:off x="8028570" y="6278870"/>
            <a:ext cx="165465" cy="179448"/>
          </a:xfrm>
          <a:custGeom>
            <a:avLst/>
            <a:gdLst>
              <a:gd name="connsiteX0" fmla="*/ 75741 w 165465"/>
              <a:gd name="connsiteY0" fmla="*/ 179448 h 179448"/>
              <a:gd name="connsiteX1" fmla="*/ 0 w 165465"/>
              <a:gd name="connsiteY1" fmla="*/ 179448 h 179448"/>
              <a:gd name="connsiteX2" fmla="*/ 88559 w 165465"/>
              <a:gd name="connsiteY2" fmla="*/ 89724 h 179448"/>
              <a:gd name="connsiteX3" fmla="*/ 0 w 165465"/>
              <a:gd name="connsiteY3" fmla="*/ 0 h 179448"/>
              <a:gd name="connsiteX4" fmla="*/ 76906 w 165465"/>
              <a:gd name="connsiteY4" fmla="*/ 0 h 179448"/>
              <a:gd name="connsiteX5" fmla="*/ 165465 w 165465"/>
              <a:gd name="connsiteY5" fmla="*/ 87394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89724"/>
                </a:lnTo>
                <a:lnTo>
                  <a:pt x="0" y="0"/>
                </a:lnTo>
                <a:lnTo>
                  <a:pt x="76906" y="0"/>
                </a:lnTo>
                <a:lnTo>
                  <a:pt x="165465" y="87394"/>
                </a:lnTo>
                <a:close/>
              </a:path>
            </a:pathLst>
          </a:custGeom>
          <a:solidFill>
            <a:srgbClr val="EEF2F5"/>
          </a:solidFill>
          <a:ln w="11643" cap="flat">
            <a:noFill/>
            <a:prstDash val="solid"/>
            <a:miter/>
          </a:ln>
        </p:spPr>
        <p:txBody>
          <a:bodyPr rtlCol="0" anchor="ctr"/>
          <a:lstStyle/>
          <a:p>
            <a:endParaRPr lang="de-DE"/>
          </a:p>
        </p:txBody>
      </p:sp>
      <p:sp>
        <p:nvSpPr>
          <p:cNvPr id="228" name="Freihandform: Form 227">
            <a:extLst>
              <a:ext uri="{FF2B5EF4-FFF2-40B4-BE49-F238E27FC236}">
                <a16:creationId xmlns:a16="http://schemas.microsoft.com/office/drawing/2014/main" id="{6D995F94-547B-4E8B-8F80-D2C01332D74E}"/>
              </a:ext>
            </a:extLst>
          </p:cNvPr>
          <p:cNvSpPr/>
          <p:nvPr/>
        </p:nvSpPr>
        <p:spPr>
          <a:xfrm>
            <a:off x="8028570" y="6633106"/>
            <a:ext cx="165465" cy="179448"/>
          </a:xfrm>
          <a:custGeom>
            <a:avLst/>
            <a:gdLst>
              <a:gd name="connsiteX0" fmla="*/ 75741 w 165465"/>
              <a:gd name="connsiteY0" fmla="*/ 179448 h 179448"/>
              <a:gd name="connsiteX1" fmla="*/ 0 w 165465"/>
              <a:gd name="connsiteY1" fmla="*/ 179448 h 179448"/>
              <a:gd name="connsiteX2" fmla="*/ 88559 w 165465"/>
              <a:gd name="connsiteY2" fmla="*/ 90889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17" name="Freihandform: Form 16">
            <a:extLst>
              <a:ext uri="{FF2B5EF4-FFF2-40B4-BE49-F238E27FC236}">
                <a16:creationId xmlns:a16="http://schemas.microsoft.com/office/drawing/2014/main" id="{FBFA7DD1-6DE8-48E2-BB35-DCE366E698C5}"/>
              </a:ext>
            </a:extLst>
          </p:cNvPr>
          <p:cNvSpPr/>
          <p:nvPr/>
        </p:nvSpPr>
        <p:spPr>
          <a:xfrm>
            <a:off x="8375813" y="2011732"/>
            <a:ext cx="180613" cy="196926"/>
          </a:xfrm>
          <a:custGeom>
            <a:avLst/>
            <a:gdLst>
              <a:gd name="connsiteX0" fmla="*/ 82733 w 180613"/>
              <a:gd name="connsiteY0" fmla="*/ 196927 h 196926"/>
              <a:gd name="connsiteX1" fmla="*/ 0 w 180613"/>
              <a:gd name="connsiteY1" fmla="*/ 196927 h 196926"/>
              <a:gd name="connsiteX2" fmla="*/ 96715 w 180613"/>
              <a:gd name="connsiteY2" fmla="*/ 99046 h 196926"/>
              <a:gd name="connsiteX3" fmla="*/ 0 w 180613"/>
              <a:gd name="connsiteY3" fmla="*/ 0 h 196926"/>
              <a:gd name="connsiteX4" fmla="*/ 83898 w 180613"/>
              <a:gd name="connsiteY4" fmla="*/ 0 h 196926"/>
              <a:gd name="connsiteX5" fmla="*/ 180613 w 180613"/>
              <a:gd name="connsiteY5" fmla="*/ 96716 h 196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6926">
                <a:moveTo>
                  <a:pt x="82733" y="196927"/>
                </a:moveTo>
                <a:lnTo>
                  <a:pt x="0" y="196927"/>
                </a:lnTo>
                <a:lnTo>
                  <a:pt x="96715" y="99046"/>
                </a:lnTo>
                <a:lnTo>
                  <a:pt x="0" y="0"/>
                </a:lnTo>
                <a:lnTo>
                  <a:pt x="83898" y="0"/>
                </a:lnTo>
                <a:lnTo>
                  <a:pt x="180613" y="96716"/>
                </a:lnTo>
                <a:close/>
              </a:path>
            </a:pathLst>
          </a:custGeom>
          <a:solidFill>
            <a:srgbClr val="EEF2F5"/>
          </a:solidFill>
          <a:ln w="11643" cap="flat">
            <a:noFill/>
            <a:prstDash val="solid"/>
            <a:miter/>
          </a:ln>
        </p:spPr>
        <p:txBody>
          <a:bodyPr rtlCol="0" anchor="ctr"/>
          <a:lstStyle/>
          <a:p>
            <a:endParaRPr lang="de-DE"/>
          </a:p>
        </p:txBody>
      </p:sp>
      <p:sp>
        <p:nvSpPr>
          <p:cNvPr id="32" name="Freihandform: Form 31">
            <a:extLst>
              <a:ext uri="{FF2B5EF4-FFF2-40B4-BE49-F238E27FC236}">
                <a16:creationId xmlns:a16="http://schemas.microsoft.com/office/drawing/2014/main" id="{7C08602B-27E1-4F5C-B2BA-86218542705A}"/>
              </a:ext>
            </a:extLst>
          </p:cNvPr>
          <p:cNvSpPr/>
          <p:nvPr/>
        </p:nvSpPr>
        <p:spPr>
          <a:xfrm>
            <a:off x="8375813" y="2367133"/>
            <a:ext cx="180613" cy="195761"/>
          </a:xfrm>
          <a:custGeom>
            <a:avLst/>
            <a:gdLst>
              <a:gd name="connsiteX0" fmla="*/ 82733 w 180613"/>
              <a:gd name="connsiteY0" fmla="*/ 195762 h 195761"/>
              <a:gd name="connsiteX1" fmla="*/ 0 w 180613"/>
              <a:gd name="connsiteY1" fmla="*/ 195762 h 195761"/>
              <a:gd name="connsiteX2" fmla="*/ 96715 w 180613"/>
              <a:gd name="connsiteY2" fmla="*/ 99046 h 195761"/>
              <a:gd name="connsiteX3" fmla="*/ 0 w 180613"/>
              <a:gd name="connsiteY3" fmla="*/ 0 h 195761"/>
              <a:gd name="connsiteX4" fmla="*/ 83898 w 180613"/>
              <a:gd name="connsiteY4" fmla="*/ 0 h 195761"/>
              <a:gd name="connsiteX5" fmla="*/ 180613 w 180613"/>
              <a:gd name="connsiteY5" fmla="*/ 95550 h 19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5761">
                <a:moveTo>
                  <a:pt x="82733" y="195762"/>
                </a:moveTo>
                <a:lnTo>
                  <a:pt x="0" y="195762"/>
                </a:lnTo>
                <a:lnTo>
                  <a:pt x="96715" y="99046"/>
                </a:lnTo>
                <a:lnTo>
                  <a:pt x="0" y="0"/>
                </a:lnTo>
                <a:lnTo>
                  <a:pt x="83898" y="0"/>
                </a:lnTo>
                <a:lnTo>
                  <a:pt x="180613" y="95550"/>
                </a:lnTo>
                <a:close/>
              </a:path>
            </a:pathLst>
          </a:custGeom>
          <a:solidFill>
            <a:srgbClr val="EEF2F5"/>
          </a:solidFill>
          <a:ln w="11643" cap="flat">
            <a:noFill/>
            <a:prstDash val="solid"/>
            <a:miter/>
          </a:ln>
        </p:spPr>
        <p:txBody>
          <a:bodyPr rtlCol="0" anchor="ctr"/>
          <a:lstStyle/>
          <a:p>
            <a:endParaRPr lang="de-DE"/>
          </a:p>
        </p:txBody>
      </p:sp>
      <p:sp>
        <p:nvSpPr>
          <p:cNvPr id="48" name="Freihandform: Form 47">
            <a:extLst>
              <a:ext uri="{FF2B5EF4-FFF2-40B4-BE49-F238E27FC236}">
                <a16:creationId xmlns:a16="http://schemas.microsoft.com/office/drawing/2014/main" id="{B3543F06-832E-4301-879E-B06B3D8A1139}"/>
              </a:ext>
            </a:extLst>
          </p:cNvPr>
          <p:cNvSpPr/>
          <p:nvPr/>
        </p:nvSpPr>
        <p:spPr>
          <a:xfrm>
            <a:off x="8375813" y="2721368"/>
            <a:ext cx="180613" cy="196926"/>
          </a:xfrm>
          <a:custGeom>
            <a:avLst/>
            <a:gdLst>
              <a:gd name="connsiteX0" fmla="*/ 82733 w 180613"/>
              <a:gd name="connsiteY0" fmla="*/ 196927 h 196926"/>
              <a:gd name="connsiteX1" fmla="*/ 0 w 180613"/>
              <a:gd name="connsiteY1" fmla="*/ 196927 h 196926"/>
              <a:gd name="connsiteX2" fmla="*/ 96715 w 180613"/>
              <a:gd name="connsiteY2" fmla="*/ 99046 h 196926"/>
              <a:gd name="connsiteX3" fmla="*/ 0 w 180613"/>
              <a:gd name="connsiteY3" fmla="*/ 0 h 196926"/>
              <a:gd name="connsiteX4" fmla="*/ 83898 w 180613"/>
              <a:gd name="connsiteY4" fmla="*/ 0 h 196926"/>
              <a:gd name="connsiteX5" fmla="*/ 180613 w 180613"/>
              <a:gd name="connsiteY5" fmla="*/ 96716 h 196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6926">
                <a:moveTo>
                  <a:pt x="82733" y="196927"/>
                </a:moveTo>
                <a:lnTo>
                  <a:pt x="0" y="196927"/>
                </a:lnTo>
                <a:lnTo>
                  <a:pt x="96715" y="99046"/>
                </a:lnTo>
                <a:lnTo>
                  <a:pt x="0" y="0"/>
                </a:lnTo>
                <a:lnTo>
                  <a:pt x="83898" y="0"/>
                </a:lnTo>
                <a:lnTo>
                  <a:pt x="180613" y="96716"/>
                </a:lnTo>
                <a:close/>
              </a:path>
            </a:pathLst>
          </a:custGeom>
          <a:solidFill>
            <a:srgbClr val="EEF2F5"/>
          </a:solidFill>
          <a:ln w="11643" cap="flat">
            <a:noFill/>
            <a:prstDash val="solid"/>
            <a:miter/>
          </a:ln>
        </p:spPr>
        <p:txBody>
          <a:bodyPr rtlCol="0" anchor="ctr"/>
          <a:lstStyle/>
          <a:p>
            <a:endParaRPr lang="de-DE"/>
          </a:p>
        </p:txBody>
      </p:sp>
      <p:sp>
        <p:nvSpPr>
          <p:cNvPr id="64" name="Freihandform: Form 63">
            <a:extLst>
              <a:ext uri="{FF2B5EF4-FFF2-40B4-BE49-F238E27FC236}">
                <a16:creationId xmlns:a16="http://schemas.microsoft.com/office/drawing/2014/main" id="{448857AA-F125-42A1-8BA3-8AC5BA3389BB}"/>
              </a:ext>
            </a:extLst>
          </p:cNvPr>
          <p:cNvSpPr/>
          <p:nvPr/>
        </p:nvSpPr>
        <p:spPr>
          <a:xfrm>
            <a:off x="8375813" y="3076769"/>
            <a:ext cx="180613" cy="195761"/>
          </a:xfrm>
          <a:custGeom>
            <a:avLst/>
            <a:gdLst>
              <a:gd name="connsiteX0" fmla="*/ 82733 w 180613"/>
              <a:gd name="connsiteY0" fmla="*/ 195762 h 195761"/>
              <a:gd name="connsiteX1" fmla="*/ 0 w 180613"/>
              <a:gd name="connsiteY1" fmla="*/ 195762 h 195761"/>
              <a:gd name="connsiteX2" fmla="*/ 96715 w 180613"/>
              <a:gd name="connsiteY2" fmla="*/ 99046 h 195761"/>
              <a:gd name="connsiteX3" fmla="*/ 0 w 180613"/>
              <a:gd name="connsiteY3" fmla="*/ 0 h 195761"/>
              <a:gd name="connsiteX4" fmla="*/ 83898 w 180613"/>
              <a:gd name="connsiteY4" fmla="*/ 0 h 195761"/>
              <a:gd name="connsiteX5" fmla="*/ 180613 w 180613"/>
              <a:gd name="connsiteY5" fmla="*/ 95550 h 19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5761">
                <a:moveTo>
                  <a:pt x="82733" y="195762"/>
                </a:moveTo>
                <a:lnTo>
                  <a:pt x="0" y="195762"/>
                </a:lnTo>
                <a:lnTo>
                  <a:pt x="96715" y="99046"/>
                </a:lnTo>
                <a:lnTo>
                  <a:pt x="0" y="0"/>
                </a:lnTo>
                <a:lnTo>
                  <a:pt x="83898" y="0"/>
                </a:lnTo>
                <a:lnTo>
                  <a:pt x="180613" y="95550"/>
                </a:lnTo>
                <a:close/>
              </a:path>
            </a:pathLst>
          </a:custGeom>
          <a:solidFill>
            <a:srgbClr val="EEF2F5"/>
          </a:solidFill>
          <a:ln w="11643" cap="flat">
            <a:noFill/>
            <a:prstDash val="solid"/>
            <a:miter/>
          </a:ln>
        </p:spPr>
        <p:txBody>
          <a:bodyPr rtlCol="0" anchor="ctr"/>
          <a:lstStyle/>
          <a:p>
            <a:endParaRPr lang="de-DE"/>
          </a:p>
        </p:txBody>
      </p:sp>
      <p:sp>
        <p:nvSpPr>
          <p:cNvPr id="80" name="Freihandform: Form 79">
            <a:extLst>
              <a:ext uri="{FF2B5EF4-FFF2-40B4-BE49-F238E27FC236}">
                <a16:creationId xmlns:a16="http://schemas.microsoft.com/office/drawing/2014/main" id="{4D03B1F2-B454-4805-B554-BE60EE27F881}"/>
              </a:ext>
            </a:extLst>
          </p:cNvPr>
          <p:cNvSpPr/>
          <p:nvPr/>
        </p:nvSpPr>
        <p:spPr>
          <a:xfrm>
            <a:off x="8375813" y="3431004"/>
            <a:ext cx="180613" cy="196926"/>
          </a:xfrm>
          <a:custGeom>
            <a:avLst/>
            <a:gdLst>
              <a:gd name="connsiteX0" fmla="*/ 82733 w 180613"/>
              <a:gd name="connsiteY0" fmla="*/ 196927 h 196926"/>
              <a:gd name="connsiteX1" fmla="*/ 0 w 180613"/>
              <a:gd name="connsiteY1" fmla="*/ 196927 h 196926"/>
              <a:gd name="connsiteX2" fmla="*/ 96715 w 180613"/>
              <a:gd name="connsiteY2" fmla="*/ 99046 h 196926"/>
              <a:gd name="connsiteX3" fmla="*/ 0 w 180613"/>
              <a:gd name="connsiteY3" fmla="*/ 0 h 196926"/>
              <a:gd name="connsiteX4" fmla="*/ 83898 w 180613"/>
              <a:gd name="connsiteY4" fmla="*/ 0 h 196926"/>
              <a:gd name="connsiteX5" fmla="*/ 180613 w 180613"/>
              <a:gd name="connsiteY5" fmla="*/ 96716 h 196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6926">
                <a:moveTo>
                  <a:pt x="82733" y="196927"/>
                </a:moveTo>
                <a:lnTo>
                  <a:pt x="0" y="196927"/>
                </a:lnTo>
                <a:lnTo>
                  <a:pt x="96715" y="99046"/>
                </a:lnTo>
                <a:lnTo>
                  <a:pt x="0" y="0"/>
                </a:lnTo>
                <a:lnTo>
                  <a:pt x="83898" y="0"/>
                </a:lnTo>
                <a:lnTo>
                  <a:pt x="180613" y="96716"/>
                </a:lnTo>
                <a:close/>
              </a:path>
            </a:pathLst>
          </a:custGeom>
          <a:solidFill>
            <a:srgbClr val="EEF2F5"/>
          </a:solidFill>
          <a:ln w="11643" cap="flat">
            <a:noFill/>
            <a:prstDash val="solid"/>
            <a:miter/>
          </a:ln>
        </p:spPr>
        <p:txBody>
          <a:bodyPr rtlCol="0" anchor="ctr"/>
          <a:lstStyle/>
          <a:p>
            <a:endParaRPr lang="de-DE"/>
          </a:p>
        </p:txBody>
      </p:sp>
      <p:sp>
        <p:nvSpPr>
          <p:cNvPr id="96" name="Freihandform: Form 95">
            <a:extLst>
              <a:ext uri="{FF2B5EF4-FFF2-40B4-BE49-F238E27FC236}">
                <a16:creationId xmlns:a16="http://schemas.microsoft.com/office/drawing/2014/main" id="{FFDA75BC-562C-4970-A5BF-655AB3F5011C}"/>
              </a:ext>
            </a:extLst>
          </p:cNvPr>
          <p:cNvSpPr/>
          <p:nvPr/>
        </p:nvSpPr>
        <p:spPr>
          <a:xfrm>
            <a:off x="8375813" y="3786405"/>
            <a:ext cx="180613" cy="195761"/>
          </a:xfrm>
          <a:custGeom>
            <a:avLst/>
            <a:gdLst>
              <a:gd name="connsiteX0" fmla="*/ 82733 w 180613"/>
              <a:gd name="connsiteY0" fmla="*/ 195762 h 195761"/>
              <a:gd name="connsiteX1" fmla="*/ 0 w 180613"/>
              <a:gd name="connsiteY1" fmla="*/ 195762 h 195761"/>
              <a:gd name="connsiteX2" fmla="*/ 96715 w 180613"/>
              <a:gd name="connsiteY2" fmla="*/ 99046 h 195761"/>
              <a:gd name="connsiteX3" fmla="*/ 0 w 180613"/>
              <a:gd name="connsiteY3" fmla="*/ 0 h 195761"/>
              <a:gd name="connsiteX4" fmla="*/ 83898 w 180613"/>
              <a:gd name="connsiteY4" fmla="*/ 0 h 195761"/>
              <a:gd name="connsiteX5" fmla="*/ 180613 w 180613"/>
              <a:gd name="connsiteY5" fmla="*/ 96716 h 19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5761">
                <a:moveTo>
                  <a:pt x="82733" y="195762"/>
                </a:moveTo>
                <a:lnTo>
                  <a:pt x="0" y="195762"/>
                </a:lnTo>
                <a:lnTo>
                  <a:pt x="96715" y="99046"/>
                </a:lnTo>
                <a:lnTo>
                  <a:pt x="0" y="0"/>
                </a:lnTo>
                <a:lnTo>
                  <a:pt x="83898" y="0"/>
                </a:lnTo>
                <a:lnTo>
                  <a:pt x="180613" y="96716"/>
                </a:lnTo>
                <a:close/>
              </a:path>
            </a:pathLst>
          </a:custGeom>
          <a:solidFill>
            <a:srgbClr val="EEF2F5"/>
          </a:solidFill>
          <a:ln w="11643" cap="flat">
            <a:noFill/>
            <a:prstDash val="solid"/>
            <a:miter/>
          </a:ln>
        </p:spPr>
        <p:txBody>
          <a:bodyPr rtlCol="0" anchor="ctr"/>
          <a:lstStyle/>
          <a:p>
            <a:endParaRPr lang="de-DE"/>
          </a:p>
        </p:txBody>
      </p:sp>
      <p:sp>
        <p:nvSpPr>
          <p:cNvPr id="112" name="Freihandform: Form 111">
            <a:extLst>
              <a:ext uri="{FF2B5EF4-FFF2-40B4-BE49-F238E27FC236}">
                <a16:creationId xmlns:a16="http://schemas.microsoft.com/office/drawing/2014/main" id="{D5FBE564-C560-47E5-B3B3-465A98E51447}"/>
              </a:ext>
            </a:extLst>
          </p:cNvPr>
          <p:cNvSpPr/>
          <p:nvPr/>
        </p:nvSpPr>
        <p:spPr>
          <a:xfrm>
            <a:off x="8375813" y="4140640"/>
            <a:ext cx="180613" cy="196926"/>
          </a:xfrm>
          <a:custGeom>
            <a:avLst/>
            <a:gdLst>
              <a:gd name="connsiteX0" fmla="*/ 82733 w 180613"/>
              <a:gd name="connsiteY0" fmla="*/ 196927 h 196926"/>
              <a:gd name="connsiteX1" fmla="*/ 0 w 180613"/>
              <a:gd name="connsiteY1" fmla="*/ 196927 h 196926"/>
              <a:gd name="connsiteX2" fmla="*/ 96715 w 180613"/>
              <a:gd name="connsiteY2" fmla="*/ 99046 h 196926"/>
              <a:gd name="connsiteX3" fmla="*/ 0 w 180613"/>
              <a:gd name="connsiteY3" fmla="*/ 0 h 196926"/>
              <a:gd name="connsiteX4" fmla="*/ 83898 w 180613"/>
              <a:gd name="connsiteY4" fmla="*/ 0 h 196926"/>
              <a:gd name="connsiteX5" fmla="*/ 180613 w 180613"/>
              <a:gd name="connsiteY5" fmla="*/ 96716 h 196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6926">
                <a:moveTo>
                  <a:pt x="82733" y="196927"/>
                </a:moveTo>
                <a:lnTo>
                  <a:pt x="0" y="196927"/>
                </a:lnTo>
                <a:lnTo>
                  <a:pt x="96715" y="99046"/>
                </a:lnTo>
                <a:lnTo>
                  <a:pt x="0" y="0"/>
                </a:lnTo>
                <a:lnTo>
                  <a:pt x="83898" y="0"/>
                </a:lnTo>
                <a:lnTo>
                  <a:pt x="180613" y="96716"/>
                </a:lnTo>
                <a:close/>
              </a:path>
            </a:pathLst>
          </a:custGeom>
          <a:solidFill>
            <a:srgbClr val="EEF2F5"/>
          </a:solidFill>
          <a:ln w="11643" cap="flat">
            <a:noFill/>
            <a:prstDash val="solid"/>
            <a:miter/>
          </a:ln>
        </p:spPr>
        <p:txBody>
          <a:bodyPr rtlCol="0" anchor="ctr"/>
          <a:lstStyle/>
          <a:p>
            <a:endParaRPr lang="de-DE"/>
          </a:p>
        </p:txBody>
      </p:sp>
      <p:sp>
        <p:nvSpPr>
          <p:cNvPr id="128" name="Freihandform: Form 127">
            <a:extLst>
              <a:ext uri="{FF2B5EF4-FFF2-40B4-BE49-F238E27FC236}">
                <a16:creationId xmlns:a16="http://schemas.microsoft.com/office/drawing/2014/main" id="{CF51EF18-4B1E-42D2-850F-FFA6C258A83C}"/>
              </a:ext>
            </a:extLst>
          </p:cNvPr>
          <p:cNvSpPr/>
          <p:nvPr/>
        </p:nvSpPr>
        <p:spPr>
          <a:xfrm>
            <a:off x="8375813" y="4496041"/>
            <a:ext cx="180613" cy="195761"/>
          </a:xfrm>
          <a:custGeom>
            <a:avLst/>
            <a:gdLst>
              <a:gd name="connsiteX0" fmla="*/ 82733 w 180613"/>
              <a:gd name="connsiteY0" fmla="*/ 195762 h 195761"/>
              <a:gd name="connsiteX1" fmla="*/ 0 w 180613"/>
              <a:gd name="connsiteY1" fmla="*/ 195762 h 195761"/>
              <a:gd name="connsiteX2" fmla="*/ 96715 w 180613"/>
              <a:gd name="connsiteY2" fmla="*/ 99046 h 195761"/>
              <a:gd name="connsiteX3" fmla="*/ 0 w 180613"/>
              <a:gd name="connsiteY3" fmla="*/ 0 h 195761"/>
              <a:gd name="connsiteX4" fmla="*/ 83898 w 180613"/>
              <a:gd name="connsiteY4" fmla="*/ 0 h 195761"/>
              <a:gd name="connsiteX5" fmla="*/ 180613 w 180613"/>
              <a:gd name="connsiteY5" fmla="*/ 96716 h 19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5761">
                <a:moveTo>
                  <a:pt x="82733" y="195762"/>
                </a:moveTo>
                <a:lnTo>
                  <a:pt x="0" y="195762"/>
                </a:lnTo>
                <a:lnTo>
                  <a:pt x="96715" y="99046"/>
                </a:lnTo>
                <a:lnTo>
                  <a:pt x="0" y="0"/>
                </a:lnTo>
                <a:lnTo>
                  <a:pt x="83898" y="0"/>
                </a:lnTo>
                <a:lnTo>
                  <a:pt x="180613" y="96716"/>
                </a:lnTo>
                <a:close/>
              </a:path>
            </a:pathLst>
          </a:custGeom>
          <a:solidFill>
            <a:srgbClr val="EEF2F5"/>
          </a:solidFill>
          <a:ln w="11643" cap="flat">
            <a:noFill/>
            <a:prstDash val="solid"/>
            <a:miter/>
          </a:ln>
        </p:spPr>
        <p:txBody>
          <a:bodyPr rtlCol="0" anchor="ctr"/>
          <a:lstStyle/>
          <a:p>
            <a:endParaRPr lang="de-DE"/>
          </a:p>
        </p:txBody>
      </p:sp>
      <p:sp>
        <p:nvSpPr>
          <p:cNvPr id="145" name="Freihandform: Form 144">
            <a:extLst>
              <a:ext uri="{FF2B5EF4-FFF2-40B4-BE49-F238E27FC236}">
                <a16:creationId xmlns:a16="http://schemas.microsoft.com/office/drawing/2014/main" id="{56E41581-3FC6-4323-9C89-CF91773848F3}"/>
              </a:ext>
            </a:extLst>
          </p:cNvPr>
          <p:cNvSpPr/>
          <p:nvPr/>
        </p:nvSpPr>
        <p:spPr>
          <a:xfrm>
            <a:off x="8375813" y="4850276"/>
            <a:ext cx="180613" cy="196927"/>
          </a:xfrm>
          <a:custGeom>
            <a:avLst/>
            <a:gdLst>
              <a:gd name="connsiteX0" fmla="*/ 82733 w 180613"/>
              <a:gd name="connsiteY0" fmla="*/ 196927 h 196927"/>
              <a:gd name="connsiteX1" fmla="*/ 0 w 180613"/>
              <a:gd name="connsiteY1" fmla="*/ 196927 h 196927"/>
              <a:gd name="connsiteX2" fmla="*/ 96715 w 180613"/>
              <a:gd name="connsiteY2" fmla="*/ 99046 h 196927"/>
              <a:gd name="connsiteX3" fmla="*/ 0 w 180613"/>
              <a:gd name="connsiteY3" fmla="*/ 0 h 196927"/>
              <a:gd name="connsiteX4" fmla="*/ 83898 w 180613"/>
              <a:gd name="connsiteY4" fmla="*/ 0 h 196927"/>
              <a:gd name="connsiteX5" fmla="*/ 180613 w 180613"/>
              <a:gd name="connsiteY5" fmla="*/ 96716 h 196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6927">
                <a:moveTo>
                  <a:pt x="82733" y="196927"/>
                </a:moveTo>
                <a:lnTo>
                  <a:pt x="0" y="196927"/>
                </a:lnTo>
                <a:lnTo>
                  <a:pt x="96715" y="99046"/>
                </a:lnTo>
                <a:lnTo>
                  <a:pt x="0" y="0"/>
                </a:lnTo>
                <a:lnTo>
                  <a:pt x="83898" y="0"/>
                </a:lnTo>
                <a:lnTo>
                  <a:pt x="180613" y="96716"/>
                </a:lnTo>
                <a:close/>
              </a:path>
            </a:pathLst>
          </a:custGeom>
          <a:solidFill>
            <a:srgbClr val="EEF2F5"/>
          </a:solidFill>
          <a:ln w="11643" cap="flat">
            <a:noFill/>
            <a:prstDash val="solid"/>
            <a:miter/>
          </a:ln>
        </p:spPr>
        <p:txBody>
          <a:bodyPr rtlCol="0" anchor="ctr"/>
          <a:lstStyle/>
          <a:p>
            <a:endParaRPr lang="de-DE"/>
          </a:p>
        </p:txBody>
      </p:sp>
      <p:sp>
        <p:nvSpPr>
          <p:cNvPr id="162" name="Freihandform: Form 161">
            <a:extLst>
              <a:ext uri="{FF2B5EF4-FFF2-40B4-BE49-F238E27FC236}">
                <a16:creationId xmlns:a16="http://schemas.microsoft.com/office/drawing/2014/main" id="{D57C87CD-CA7C-4C12-80C4-9130A88B17BE}"/>
              </a:ext>
            </a:extLst>
          </p:cNvPr>
          <p:cNvSpPr/>
          <p:nvPr/>
        </p:nvSpPr>
        <p:spPr>
          <a:xfrm>
            <a:off x="8375813" y="5205677"/>
            <a:ext cx="180613" cy="195761"/>
          </a:xfrm>
          <a:custGeom>
            <a:avLst/>
            <a:gdLst>
              <a:gd name="connsiteX0" fmla="*/ 82733 w 180613"/>
              <a:gd name="connsiteY0" fmla="*/ 195762 h 195761"/>
              <a:gd name="connsiteX1" fmla="*/ 0 w 180613"/>
              <a:gd name="connsiteY1" fmla="*/ 195762 h 195761"/>
              <a:gd name="connsiteX2" fmla="*/ 96715 w 180613"/>
              <a:gd name="connsiteY2" fmla="*/ 99046 h 195761"/>
              <a:gd name="connsiteX3" fmla="*/ 0 w 180613"/>
              <a:gd name="connsiteY3" fmla="*/ 0 h 195761"/>
              <a:gd name="connsiteX4" fmla="*/ 83898 w 180613"/>
              <a:gd name="connsiteY4" fmla="*/ 0 h 195761"/>
              <a:gd name="connsiteX5" fmla="*/ 180613 w 180613"/>
              <a:gd name="connsiteY5" fmla="*/ 96715 h 19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5761">
                <a:moveTo>
                  <a:pt x="82733" y="195762"/>
                </a:moveTo>
                <a:lnTo>
                  <a:pt x="0" y="195762"/>
                </a:lnTo>
                <a:lnTo>
                  <a:pt x="96715" y="99046"/>
                </a:lnTo>
                <a:lnTo>
                  <a:pt x="0" y="0"/>
                </a:lnTo>
                <a:lnTo>
                  <a:pt x="83898" y="0"/>
                </a:lnTo>
                <a:lnTo>
                  <a:pt x="180613" y="96715"/>
                </a:lnTo>
                <a:close/>
              </a:path>
            </a:pathLst>
          </a:custGeom>
          <a:solidFill>
            <a:srgbClr val="EEF2F5"/>
          </a:solidFill>
          <a:ln w="11643" cap="flat">
            <a:noFill/>
            <a:prstDash val="solid"/>
            <a:miter/>
          </a:ln>
        </p:spPr>
        <p:txBody>
          <a:bodyPr rtlCol="0" anchor="ctr"/>
          <a:lstStyle/>
          <a:p>
            <a:endParaRPr lang="de-DE"/>
          </a:p>
        </p:txBody>
      </p:sp>
      <p:sp>
        <p:nvSpPr>
          <p:cNvPr id="179" name="Freihandform: Form 178">
            <a:extLst>
              <a:ext uri="{FF2B5EF4-FFF2-40B4-BE49-F238E27FC236}">
                <a16:creationId xmlns:a16="http://schemas.microsoft.com/office/drawing/2014/main" id="{DB846A0F-C8EB-418A-9689-60A3F1E0344D}"/>
              </a:ext>
            </a:extLst>
          </p:cNvPr>
          <p:cNvSpPr/>
          <p:nvPr/>
        </p:nvSpPr>
        <p:spPr>
          <a:xfrm>
            <a:off x="8375813" y="5559912"/>
            <a:ext cx="180613" cy="196926"/>
          </a:xfrm>
          <a:custGeom>
            <a:avLst/>
            <a:gdLst>
              <a:gd name="connsiteX0" fmla="*/ 82733 w 180613"/>
              <a:gd name="connsiteY0" fmla="*/ 196927 h 196926"/>
              <a:gd name="connsiteX1" fmla="*/ 0 w 180613"/>
              <a:gd name="connsiteY1" fmla="*/ 196927 h 196926"/>
              <a:gd name="connsiteX2" fmla="*/ 96715 w 180613"/>
              <a:gd name="connsiteY2" fmla="*/ 99046 h 196926"/>
              <a:gd name="connsiteX3" fmla="*/ 0 w 180613"/>
              <a:gd name="connsiteY3" fmla="*/ 0 h 196926"/>
              <a:gd name="connsiteX4" fmla="*/ 83898 w 180613"/>
              <a:gd name="connsiteY4" fmla="*/ 0 h 196926"/>
              <a:gd name="connsiteX5" fmla="*/ 180613 w 180613"/>
              <a:gd name="connsiteY5" fmla="*/ 96715 h 196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6926">
                <a:moveTo>
                  <a:pt x="82733" y="196927"/>
                </a:moveTo>
                <a:lnTo>
                  <a:pt x="0" y="196927"/>
                </a:lnTo>
                <a:lnTo>
                  <a:pt x="96715" y="99046"/>
                </a:lnTo>
                <a:lnTo>
                  <a:pt x="0" y="0"/>
                </a:lnTo>
                <a:lnTo>
                  <a:pt x="83898" y="0"/>
                </a:lnTo>
                <a:lnTo>
                  <a:pt x="180613" y="96715"/>
                </a:lnTo>
                <a:close/>
              </a:path>
            </a:pathLst>
          </a:custGeom>
          <a:solidFill>
            <a:srgbClr val="EEF2F5"/>
          </a:solidFill>
          <a:ln w="11643" cap="flat">
            <a:noFill/>
            <a:prstDash val="solid"/>
            <a:miter/>
          </a:ln>
        </p:spPr>
        <p:txBody>
          <a:bodyPr rtlCol="0" anchor="ctr"/>
          <a:lstStyle/>
          <a:p>
            <a:endParaRPr lang="de-DE"/>
          </a:p>
        </p:txBody>
      </p:sp>
      <p:sp>
        <p:nvSpPr>
          <p:cNvPr id="196" name="Freihandform: Form 195">
            <a:extLst>
              <a:ext uri="{FF2B5EF4-FFF2-40B4-BE49-F238E27FC236}">
                <a16:creationId xmlns:a16="http://schemas.microsoft.com/office/drawing/2014/main" id="{4CB58DF8-2ADA-40F9-A585-F61E28EAC1FD}"/>
              </a:ext>
            </a:extLst>
          </p:cNvPr>
          <p:cNvSpPr/>
          <p:nvPr/>
        </p:nvSpPr>
        <p:spPr>
          <a:xfrm>
            <a:off x="8375813" y="5915313"/>
            <a:ext cx="180613" cy="195761"/>
          </a:xfrm>
          <a:custGeom>
            <a:avLst/>
            <a:gdLst>
              <a:gd name="connsiteX0" fmla="*/ 82733 w 180613"/>
              <a:gd name="connsiteY0" fmla="*/ 195762 h 195761"/>
              <a:gd name="connsiteX1" fmla="*/ 0 w 180613"/>
              <a:gd name="connsiteY1" fmla="*/ 195762 h 195761"/>
              <a:gd name="connsiteX2" fmla="*/ 96715 w 180613"/>
              <a:gd name="connsiteY2" fmla="*/ 99046 h 195761"/>
              <a:gd name="connsiteX3" fmla="*/ 0 w 180613"/>
              <a:gd name="connsiteY3" fmla="*/ 0 h 195761"/>
              <a:gd name="connsiteX4" fmla="*/ 83898 w 180613"/>
              <a:gd name="connsiteY4" fmla="*/ 0 h 195761"/>
              <a:gd name="connsiteX5" fmla="*/ 180613 w 180613"/>
              <a:gd name="connsiteY5" fmla="*/ 96715 h 19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5761">
                <a:moveTo>
                  <a:pt x="82733" y="195762"/>
                </a:moveTo>
                <a:lnTo>
                  <a:pt x="0" y="195762"/>
                </a:lnTo>
                <a:lnTo>
                  <a:pt x="96715" y="99046"/>
                </a:lnTo>
                <a:lnTo>
                  <a:pt x="0" y="0"/>
                </a:lnTo>
                <a:lnTo>
                  <a:pt x="83898" y="0"/>
                </a:lnTo>
                <a:lnTo>
                  <a:pt x="180613" y="96715"/>
                </a:lnTo>
                <a:close/>
              </a:path>
            </a:pathLst>
          </a:custGeom>
          <a:solidFill>
            <a:srgbClr val="EEF2F5"/>
          </a:solidFill>
          <a:ln w="11643" cap="flat">
            <a:noFill/>
            <a:prstDash val="solid"/>
            <a:miter/>
          </a:ln>
        </p:spPr>
        <p:txBody>
          <a:bodyPr rtlCol="0" anchor="ctr"/>
          <a:lstStyle/>
          <a:p>
            <a:endParaRPr lang="de-DE"/>
          </a:p>
        </p:txBody>
      </p:sp>
      <p:sp>
        <p:nvSpPr>
          <p:cNvPr id="213" name="Freihandform: Form 212">
            <a:extLst>
              <a:ext uri="{FF2B5EF4-FFF2-40B4-BE49-F238E27FC236}">
                <a16:creationId xmlns:a16="http://schemas.microsoft.com/office/drawing/2014/main" id="{57028041-D229-4433-B39C-C3F33483B647}"/>
              </a:ext>
            </a:extLst>
          </p:cNvPr>
          <p:cNvSpPr/>
          <p:nvPr/>
        </p:nvSpPr>
        <p:spPr>
          <a:xfrm>
            <a:off x="8375813" y="6270714"/>
            <a:ext cx="180613" cy="195761"/>
          </a:xfrm>
          <a:custGeom>
            <a:avLst/>
            <a:gdLst>
              <a:gd name="connsiteX0" fmla="*/ 82733 w 180613"/>
              <a:gd name="connsiteY0" fmla="*/ 195762 h 195761"/>
              <a:gd name="connsiteX1" fmla="*/ 0 w 180613"/>
              <a:gd name="connsiteY1" fmla="*/ 195762 h 195761"/>
              <a:gd name="connsiteX2" fmla="*/ 96715 w 180613"/>
              <a:gd name="connsiteY2" fmla="*/ 97881 h 195761"/>
              <a:gd name="connsiteX3" fmla="*/ 0 w 180613"/>
              <a:gd name="connsiteY3" fmla="*/ 0 h 195761"/>
              <a:gd name="connsiteX4" fmla="*/ 83898 w 180613"/>
              <a:gd name="connsiteY4" fmla="*/ 0 h 195761"/>
              <a:gd name="connsiteX5" fmla="*/ 180613 w 180613"/>
              <a:gd name="connsiteY5" fmla="*/ 95550 h 19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5761">
                <a:moveTo>
                  <a:pt x="82733" y="195762"/>
                </a:moveTo>
                <a:lnTo>
                  <a:pt x="0" y="195762"/>
                </a:lnTo>
                <a:lnTo>
                  <a:pt x="96715" y="97881"/>
                </a:lnTo>
                <a:lnTo>
                  <a:pt x="0" y="0"/>
                </a:lnTo>
                <a:lnTo>
                  <a:pt x="83898" y="0"/>
                </a:lnTo>
                <a:lnTo>
                  <a:pt x="180613" y="95550"/>
                </a:lnTo>
                <a:close/>
              </a:path>
            </a:pathLst>
          </a:custGeom>
          <a:solidFill>
            <a:srgbClr val="EEF2F5"/>
          </a:solidFill>
          <a:ln w="11643" cap="flat">
            <a:noFill/>
            <a:prstDash val="solid"/>
            <a:miter/>
          </a:ln>
        </p:spPr>
        <p:txBody>
          <a:bodyPr rtlCol="0" anchor="ctr"/>
          <a:lstStyle/>
          <a:p>
            <a:endParaRPr lang="de-DE"/>
          </a:p>
        </p:txBody>
      </p:sp>
      <p:sp>
        <p:nvSpPr>
          <p:cNvPr id="229" name="Freihandform: Form 228">
            <a:extLst>
              <a:ext uri="{FF2B5EF4-FFF2-40B4-BE49-F238E27FC236}">
                <a16:creationId xmlns:a16="http://schemas.microsoft.com/office/drawing/2014/main" id="{9B8DB432-5722-4DDC-9DA4-82611DB7AF21}"/>
              </a:ext>
            </a:extLst>
          </p:cNvPr>
          <p:cNvSpPr/>
          <p:nvPr/>
        </p:nvSpPr>
        <p:spPr>
          <a:xfrm>
            <a:off x="8375813" y="6624949"/>
            <a:ext cx="180613" cy="196926"/>
          </a:xfrm>
          <a:custGeom>
            <a:avLst/>
            <a:gdLst>
              <a:gd name="connsiteX0" fmla="*/ 82733 w 180613"/>
              <a:gd name="connsiteY0" fmla="*/ 196927 h 196926"/>
              <a:gd name="connsiteX1" fmla="*/ 0 w 180613"/>
              <a:gd name="connsiteY1" fmla="*/ 196927 h 196926"/>
              <a:gd name="connsiteX2" fmla="*/ 96715 w 180613"/>
              <a:gd name="connsiteY2" fmla="*/ 99046 h 196926"/>
              <a:gd name="connsiteX3" fmla="*/ 0 w 180613"/>
              <a:gd name="connsiteY3" fmla="*/ 0 h 196926"/>
              <a:gd name="connsiteX4" fmla="*/ 83898 w 180613"/>
              <a:gd name="connsiteY4" fmla="*/ 0 h 196926"/>
              <a:gd name="connsiteX5" fmla="*/ 180613 w 180613"/>
              <a:gd name="connsiteY5" fmla="*/ 96715 h 196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6926">
                <a:moveTo>
                  <a:pt x="82733" y="196927"/>
                </a:moveTo>
                <a:lnTo>
                  <a:pt x="0" y="196927"/>
                </a:lnTo>
                <a:lnTo>
                  <a:pt x="96715" y="99046"/>
                </a:lnTo>
                <a:lnTo>
                  <a:pt x="0" y="0"/>
                </a:lnTo>
                <a:lnTo>
                  <a:pt x="83898" y="0"/>
                </a:lnTo>
                <a:lnTo>
                  <a:pt x="180613" y="96715"/>
                </a:lnTo>
                <a:close/>
              </a:path>
            </a:pathLst>
          </a:custGeom>
          <a:solidFill>
            <a:srgbClr val="EEF2F5"/>
          </a:solidFill>
          <a:ln w="11643" cap="flat">
            <a:noFill/>
            <a:prstDash val="solid"/>
            <a:miter/>
          </a:ln>
        </p:spPr>
        <p:txBody>
          <a:bodyPr rtlCol="0" anchor="ctr"/>
          <a:lstStyle/>
          <a:p>
            <a:endParaRPr lang="de-DE"/>
          </a:p>
        </p:txBody>
      </p:sp>
      <p:sp>
        <p:nvSpPr>
          <p:cNvPr id="18" name="Freihandform: Form 17">
            <a:extLst>
              <a:ext uri="{FF2B5EF4-FFF2-40B4-BE49-F238E27FC236}">
                <a16:creationId xmlns:a16="http://schemas.microsoft.com/office/drawing/2014/main" id="{5D717E25-D335-4E65-A411-45D9057ED87F}"/>
              </a:ext>
            </a:extLst>
          </p:cNvPr>
          <p:cNvSpPr/>
          <p:nvPr/>
        </p:nvSpPr>
        <p:spPr>
          <a:xfrm>
            <a:off x="8721892" y="2002410"/>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6038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6038"/>
                </a:lnTo>
                <a:close/>
              </a:path>
            </a:pathLst>
          </a:custGeom>
          <a:solidFill>
            <a:srgbClr val="EEF2F5"/>
          </a:solidFill>
          <a:ln w="11643" cap="flat">
            <a:noFill/>
            <a:prstDash val="solid"/>
            <a:miter/>
          </a:ln>
        </p:spPr>
        <p:txBody>
          <a:bodyPr rtlCol="0" anchor="ctr"/>
          <a:lstStyle/>
          <a:p>
            <a:endParaRPr lang="de-DE"/>
          </a:p>
        </p:txBody>
      </p:sp>
      <p:sp>
        <p:nvSpPr>
          <p:cNvPr id="33" name="Freihandform: Form 32">
            <a:extLst>
              <a:ext uri="{FF2B5EF4-FFF2-40B4-BE49-F238E27FC236}">
                <a16:creationId xmlns:a16="http://schemas.microsoft.com/office/drawing/2014/main" id="{8191837C-2D2D-4E7E-BB7B-2C536FE31ED3}"/>
              </a:ext>
            </a:extLst>
          </p:cNvPr>
          <p:cNvSpPr/>
          <p:nvPr/>
        </p:nvSpPr>
        <p:spPr>
          <a:xfrm>
            <a:off x="8721892" y="2357811"/>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4872"/>
                </a:lnTo>
                <a:close/>
              </a:path>
            </a:pathLst>
          </a:custGeom>
          <a:solidFill>
            <a:srgbClr val="EEF2F5"/>
          </a:solidFill>
          <a:ln w="11643" cap="flat">
            <a:noFill/>
            <a:prstDash val="solid"/>
            <a:miter/>
          </a:ln>
        </p:spPr>
        <p:txBody>
          <a:bodyPr rtlCol="0" anchor="ctr"/>
          <a:lstStyle/>
          <a:p>
            <a:endParaRPr lang="de-DE"/>
          </a:p>
        </p:txBody>
      </p:sp>
      <p:sp>
        <p:nvSpPr>
          <p:cNvPr id="49" name="Freihandform: Form 48">
            <a:extLst>
              <a:ext uri="{FF2B5EF4-FFF2-40B4-BE49-F238E27FC236}">
                <a16:creationId xmlns:a16="http://schemas.microsoft.com/office/drawing/2014/main" id="{7C3E3047-07A6-44AE-A863-B14D0E91E9D2}"/>
              </a:ext>
            </a:extLst>
          </p:cNvPr>
          <p:cNvSpPr/>
          <p:nvPr/>
        </p:nvSpPr>
        <p:spPr>
          <a:xfrm>
            <a:off x="8721892" y="2712046"/>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6038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6038"/>
                </a:lnTo>
                <a:close/>
              </a:path>
            </a:pathLst>
          </a:custGeom>
          <a:solidFill>
            <a:srgbClr val="EEF2F5"/>
          </a:solidFill>
          <a:ln w="11643" cap="flat">
            <a:noFill/>
            <a:prstDash val="solid"/>
            <a:miter/>
          </a:ln>
        </p:spPr>
        <p:txBody>
          <a:bodyPr rtlCol="0" anchor="ctr"/>
          <a:lstStyle/>
          <a:p>
            <a:endParaRPr lang="de-DE"/>
          </a:p>
        </p:txBody>
      </p:sp>
      <p:sp>
        <p:nvSpPr>
          <p:cNvPr id="65" name="Freihandform: Form 64">
            <a:extLst>
              <a:ext uri="{FF2B5EF4-FFF2-40B4-BE49-F238E27FC236}">
                <a16:creationId xmlns:a16="http://schemas.microsoft.com/office/drawing/2014/main" id="{A33D910C-FE80-4271-80EB-43FB226FC311}"/>
              </a:ext>
            </a:extLst>
          </p:cNvPr>
          <p:cNvSpPr/>
          <p:nvPr/>
        </p:nvSpPr>
        <p:spPr>
          <a:xfrm>
            <a:off x="8721892" y="3067447"/>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4872"/>
                </a:lnTo>
                <a:close/>
              </a:path>
            </a:pathLst>
          </a:custGeom>
          <a:solidFill>
            <a:srgbClr val="EEF2F5"/>
          </a:solidFill>
          <a:ln w="11643" cap="flat">
            <a:noFill/>
            <a:prstDash val="solid"/>
            <a:miter/>
          </a:ln>
        </p:spPr>
        <p:txBody>
          <a:bodyPr rtlCol="0" anchor="ctr"/>
          <a:lstStyle/>
          <a:p>
            <a:endParaRPr lang="de-DE"/>
          </a:p>
        </p:txBody>
      </p:sp>
      <p:sp>
        <p:nvSpPr>
          <p:cNvPr id="81" name="Freihandform: Form 80">
            <a:extLst>
              <a:ext uri="{FF2B5EF4-FFF2-40B4-BE49-F238E27FC236}">
                <a16:creationId xmlns:a16="http://schemas.microsoft.com/office/drawing/2014/main" id="{3C2ACAE0-E8A8-4FC5-919A-02F70B7D5438}"/>
              </a:ext>
            </a:extLst>
          </p:cNvPr>
          <p:cNvSpPr/>
          <p:nvPr/>
        </p:nvSpPr>
        <p:spPr>
          <a:xfrm>
            <a:off x="8721892" y="3421682"/>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6038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6038"/>
                </a:lnTo>
                <a:close/>
              </a:path>
            </a:pathLst>
          </a:custGeom>
          <a:solidFill>
            <a:srgbClr val="EEF2F5"/>
          </a:solidFill>
          <a:ln w="11643" cap="flat">
            <a:noFill/>
            <a:prstDash val="solid"/>
            <a:miter/>
          </a:ln>
        </p:spPr>
        <p:txBody>
          <a:bodyPr rtlCol="0" anchor="ctr"/>
          <a:lstStyle/>
          <a:p>
            <a:endParaRPr lang="de-DE"/>
          </a:p>
        </p:txBody>
      </p:sp>
      <p:sp>
        <p:nvSpPr>
          <p:cNvPr id="97" name="Freihandform: Form 96">
            <a:extLst>
              <a:ext uri="{FF2B5EF4-FFF2-40B4-BE49-F238E27FC236}">
                <a16:creationId xmlns:a16="http://schemas.microsoft.com/office/drawing/2014/main" id="{49C7B20E-CBCC-427C-8257-9EDB4B177C6A}"/>
              </a:ext>
            </a:extLst>
          </p:cNvPr>
          <p:cNvSpPr/>
          <p:nvPr/>
        </p:nvSpPr>
        <p:spPr>
          <a:xfrm>
            <a:off x="8721892" y="3777083"/>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4872"/>
                </a:lnTo>
                <a:close/>
              </a:path>
            </a:pathLst>
          </a:custGeom>
          <a:solidFill>
            <a:srgbClr val="EEF2F5"/>
          </a:solidFill>
          <a:ln w="11643" cap="flat">
            <a:noFill/>
            <a:prstDash val="solid"/>
            <a:miter/>
          </a:ln>
        </p:spPr>
        <p:txBody>
          <a:bodyPr rtlCol="0" anchor="ctr"/>
          <a:lstStyle/>
          <a:p>
            <a:endParaRPr lang="de-DE"/>
          </a:p>
        </p:txBody>
      </p:sp>
      <p:sp>
        <p:nvSpPr>
          <p:cNvPr id="113" name="Freihandform: Form 112">
            <a:extLst>
              <a:ext uri="{FF2B5EF4-FFF2-40B4-BE49-F238E27FC236}">
                <a16:creationId xmlns:a16="http://schemas.microsoft.com/office/drawing/2014/main" id="{AA929FBA-3B60-4B90-A12C-EEB1A0A8CF38}"/>
              </a:ext>
            </a:extLst>
          </p:cNvPr>
          <p:cNvSpPr/>
          <p:nvPr/>
        </p:nvSpPr>
        <p:spPr>
          <a:xfrm>
            <a:off x="8721892" y="4132484"/>
            <a:ext cx="198092" cy="214405"/>
          </a:xfrm>
          <a:custGeom>
            <a:avLst/>
            <a:gdLst>
              <a:gd name="connsiteX0" fmla="*/ 90889 w 198092"/>
              <a:gd name="connsiteY0" fmla="*/ 214406 h 214405"/>
              <a:gd name="connsiteX1" fmla="*/ 0 w 198092"/>
              <a:gd name="connsiteY1" fmla="*/ 214406 h 214405"/>
              <a:gd name="connsiteX2" fmla="*/ 106037 w 198092"/>
              <a:gd name="connsiteY2" fmla="*/ 107203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7203"/>
                </a:lnTo>
                <a:lnTo>
                  <a:pt x="0" y="0"/>
                </a:lnTo>
                <a:lnTo>
                  <a:pt x="92055" y="0"/>
                </a:lnTo>
                <a:lnTo>
                  <a:pt x="198092" y="104872"/>
                </a:lnTo>
                <a:close/>
              </a:path>
            </a:pathLst>
          </a:custGeom>
          <a:solidFill>
            <a:srgbClr val="EEF2F5"/>
          </a:solidFill>
          <a:ln w="11643" cap="flat">
            <a:noFill/>
            <a:prstDash val="solid"/>
            <a:miter/>
          </a:ln>
        </p:spPr>
        <p:txBody>
          <a:bodyPr rtlCol="0" anchor="ctr"/>
          <a:lstStyle/>
          <a:p>
            <a:endParaRPr lang="de-DE"/>
          </a:p>
        </p:txBody>
      </p:sp>
      <p:sp>
        <p:nvSpPr>
          <p:cNvPr id="129" name="Freihandform: Form 128">
            <a:extLst>
              <a:ext uri="{FF2B5EF4-FFF2-40B4-BE49-F238E27FC236}">
                <a16:creationId xmlns:a16="http://schemas.microsoft.com/office/drawing/2014/main" id="{2A2E02AC-BFFD-44C8-869B-053E6C74FD2B}"/>
              </a:ext>
            </a:extLst>
          </p:cNvPr>
          <p:cNvSpPr/>
          <p:nvPr/>
        </p:nvSpPr>
        <p:spPr>
          <a:xfrm>
            <a:off x="8721892" y="4486719"/>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4872"/>
                </a:lnTo>
                <a:close/>
              </a:path>
            </a:pathLst>
          </a:custGeom>
          <a:solidFill>
            <a:srgbClr val="EEF2F5"/>
          </a:solidFill>
          <a:ln w="11643" cap="flat">
            <a:noFill/>
            <a:prstDash val="solid"/>
            <a:miter/>
          </a:ln>
        </p:spPr>
        <p:txBody>
          <a:bodyPr rtlCol="0" anchor="ctr"/>
          <a:lstStyle/>
          <a:p>
            <a:endParaRPr lang="de-DE"/>
          </a:p>
        </p:txBody>
      </p:sp>
      <p:sp>
        <p:nvSpPr>
          <p:cNvPr id="146" name="Freihandform: Form 145">
            <a:extLst>
              <a:ext uri="{FF2B5EF4-FFF2-40B4-BE49-F238E27FC236}">
                <a16:creationId xmlns:a16="http://schemas.microsoft.com/office/drawing/2014/main" id="{05AC39C3-CD17-42BE-BFB8-C8A94809F9BF}"/>
              </a:ext>
            </a:extLst>
          </p:cNvPr>
          <p:cNvSpPr/>
          <p:nvPr/>
        </p:nvSpPr>
        <p:spPr>
          <a:xfrm>
            <a:off x="8721892" y="4842120"/>
            <a:ext cx="198092" cy="214405"/>
          </a:xfrm>
          <a:custGeom>
            <a:avLst/>
            <a:gdLst>
              <a:gd name="connsiteX0" fmla="*/ 90889 w 198092"/>
              <a:gd name="connsiteY0" fmla="*/ 214406 h 214405"/>
              <a:gd name="connsiteX1" fmla="*/ 0 w 198092"/>
              <a:gd name="connsiteY1" fmla="*/ 214406 h 214405"/>
              <a:gd name="connsiteX2" fmla="*/ 106037 w 198092"/>
              <a:gd name="connsiteY2" fmla="*/ 107203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7203"/>
                </a:lnTo>
                <a:lnTo>
                  <a:pt x="0" y="0"/>
                </a:lnTo>
                <a:lnTo>
                  <a:pt x="92055" y="0"/>
                </a:lnTo>
                <a:lnTo>
                  <a:pt x="198092" y="104872"/>
                </a:lnTo>
                <a:close/>
              </a:path>
            </a:pathLst>
          </a:custGeom>
          <a:solidFill>
            <a:srgbClr val="EEF2F5"/>
          </a:solidFill>
          <a:ln w="11643" cap="flat">
            <a:noFill/>
            <a:prstDash val="solid"/>
            <a:miter/>
          </a:ln>
        </p:spPr>
        <p:txBody>
          <a:bodyPr rtlCol="0" anchor="ctr"/>
          <a:lstStyle/>
          <a:p>
            <a:endParaRPr lang="de-DE"/>
          </a:p>
        </p:txBody>
      </p:sp>
      <p:sp>
        <p:nvSpPr>
          <p:cNvPr id="163" name="Freihandform: Form 162">
            <a:extLst>
              <a:ext uri="{FF2B5EF4-FFF2-40B4-BE49-F238E27FC236}">
                <a16:creationId xmlns:a16="http://schemas.microsoft.com/office/drawing/2014/main" id="{88E84DF2-6EB7-427E-A4CB-C71E9DB80B42}"/>
              </a:ext>
            </a:extLst>
          </p:cNvPr>
          <p:cNvSpPr/>
          <p:nvPr/>
        </p:nvSpPr>
        <p:spPr>
          <a:xfrm>
            <a:off x="8721892" y="5196355"/>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6038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6038"/>
                </a:lnTo>
                <a:close/>
              </a:path>
            </a:pathLst>
          </a:custGeom>
          <a:solidFill>
            <a:srgbClr val="EEF2F5"/>
          </a:solidFill>
          <a:ln w="11643" cap="flat">
            <a:noFill/>
            <a:prstDash val="solid"/>
            <a:miter/>
          </a:ln>
        </p:spPr>
        <p:txBody>
          <a:bodyPr rtlCol="0" anchor="ctr"/>
          <a:lstStyle/>
          <a:p>
            <a:endParaRPr lang="de-DE"/>
          </a:p>
        </p:txBody>
      </p:sp>
      <p:sp>
        <p:nvSpPr>
          <p:cNvPr id="180" name="Freihandform: Form 179">
            <a:extLst>
              <a:ext uri="{FF2B5EF4-FFF2-40B4-BE49-F238E27FC236}">
                <a16:creationId xmlns:a16="http://schemas.microsoft.com/office/drawing/2014/main" id="{73606A8C-ADFE-479C-B34E-C91AE8F14BDF}"/>
              </a:ext>
            </a:extLst>
          </p:cNvPr>
          <p:cNvSpPr/>
          <p:nvPr/>
        </p:nvSpPr>
        <p:spPr>
          <a:xfrm>
            <a:off x="8721892" y="5551755"/>
            <a:ext cx="198092" cy="214405"/>
          </a:xfrm>
          <a:custGeom>
            <a:avLst/>
            <a:gdLst>
              <a:gd name="connsiteX0" fmla="*/ 90889 w 198092"/>
              <a:gd name="connsiteY0" fmla="*/ 214406 h 214405"/>
              <a:gd name="connsiteX1" fmla="*/ 0 w 198092"/>
              <a:gd name="connsiteY1" fmla="*/ 214406 h 214405"/>
              <a:gd name="connsiteX2" fmla="*/ 106037 w 198092"/>
              <a:gd name="connsiteY2" fmla="*/ 107203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7203"/>
                </a:lnTo>
                <a:lnTo>
                  <a:pt x="0" y="0"/>
                </a:lnTo>
                <a:lnTo>
                  <a:pt x="92055" y="0"/>
                </a:lnTo>
                <a:lnTo>
                  <a:pt x="198092" y="104872"/>
                </a:lnTo>
                <a:close/>
              </a:path>
            </a:pathLst>
          </a:custGeom>
          <a:solidFill>
            <a:srgbClr val="EEF2F5"/>
          </a:solidFill>
          <a:ln w="11643" cap="flat">
            <a:noFill/>
            <a:prstDash val="solid"/>
            <a:miter/>
          </a:ln>
        </p:spPr>
        <p:txBody>
          <a:bodyPr rtlCol="0" anchor="ctr"/>
          <a:lstStyle/>
          <a:p>
            <a:endParaRPr lang="de-DE"/>
          </a:p>
        </p:txBody>
      </p:sp>
      <p:sp>
        <p:nvSpPr>
          <p:cNvPr id="197" name="Freihandform: Form 196">
            <a:extLst>
              <a:ext uri="{FF2B5EF4-FFF2-40B4-BE49-F238E27FC236}">
                <a16:creationId xmlns:a16="http://schemas.microsoft.com/office/drawing/2014/main" id="{FC296AC6-E750-4BE9-BDD1-981A05C08FF5}"/>
              </a:ext>
            </a:extLst>
          </p:cNvPr>
          <p:cNvSpPr/>
          <p:nvPr/>
        </p:nvSpPr>
        <p:spPr>
          <a:xfrm>
            <a:off x="8721892" y="5905991"/>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6038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6038"/>
                </a:lnTo>
                <a:close/>
              </a:path>
            </a:pathLst>
          </a:custGeom>
          <a:solidFill>
            <a:srgbClr val="EEF2F5"/>
          </a:solidFill>
          <a:ln w="11643" cap="flat">
            <a:noFill/>
            <a:prstDash val="solid"/>
            <a:miter/>
          </a:ln>
        </p:spPr>
        <p:txBody>
          <a:bodyPr rtlCol="0" anchor="ctr"/>
          <a:lstStyle/>
          <a:p>
            <a:endParaRPr lang="de-DE"/>
          </a:p>
        </p:txBody>
      </p:sp>
      <p:sp>
        <p:nvSpPr>
          <p:cNvPr id="214" name="Freihandform: Form 213">
            <a:extLst>
              <a:ext uri="{FF2B5EF4-FFF2-40B4-BE49-F238E27FC236}">
                <a16:creationId xmlns:a16="http://schemas.microsoft.com/office/drawing/2014/main" id="{C03E7333-2F83-4C83-832A-36CD5A0C1B61}"/>
              </a:ext>
            </a:extLst>
          </p:cNvPr>
          <p:cNvSpPr/>
          <p:nvPr/>
        </p:nvSpPr>
        <p:spPr>
          <a:xfrm>
            <a:off x="8721892" y="6261391"/>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4872"/>
                </a:lnTo>
                <a:close/>
              </a:path>
            </a:pathLst>
          </a:custGeom>
          <a:solidFill>
            <a:srgbClr val="EEF2F5"/>
          </a:solidFill>
          <a:ln w="11643" cap="flat">
            <a:noFill/>
            <a:prstDash val="solid"/>
            <a:miter/>
          </a:ln>
        </p:spPr>
        <p:txBody>
          <a:bodyPr rtlCol="0" anchor="ctr"/>
          <a:lstStyle/>
          <a:p>
            <a:endParaRPr lang="de-DE"/>
          </a:p>
        </p:txBody>
      </p:sp>
      <p:sp>
        <p:nvSpPr>
          <p:cNvPr id="230" name="Freihandform: Form 229">
            <a:extLst>
              <a:ext uri="{FF2B5EF4-FFF2-40B4-BE49-F238E27FC236}">
                <a16:creationId xmlns:a16="http://schemas.microsoft.com/office/drawing/2014/main" id="{83AA4FB9-F340-4ECE-A8B5-BF0225383456}"/>
              </a:ext>
            </a:extLst>
          </p:cNvPr>
          <p:cNvSpPr/>
          <p:nvPr/>
        </p:nvSpPr>
        <p:spPr>
          <a:xfrm>
            <a:off x="8721892" y="6615627"/>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6037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6037"/>
                </a:lnTo>
                <a:close/>
              </a:path>
            </a:pathLst>
          </a:custGeom>
          <a:solidFill>
            <a:srgbClr val="EEF2F5"/>
          </a:solidFill>
          <a:ln w="11643" cap="flat">
            <a:noFill/>
            <a:prstDash val="solid"/>
            <a:miter/>
          </a:ln>
        </p:spPr>
        <p:txBody>
          <a:bodyPr rtlCol="0" anchor="ctr"/>
          <a:lstStyle/>
          <a:p>
            <a:endParaRPr lang="de-DE"/>
          </a:p>
        </p:txBody>
      </p:sp>
      <p:sp>
        <p:nvSpPr>
          <p:cNvPr id="19" name="Freihandform: Form 18">
            <a:extLst>
              <a:ext uri="{FF2B5EF4-FFF2-40B4-BE49-F238E27FC236}">
                <a16:creationId xmlns:a16="http://schemas.microsoft.com/office/drawing/2014/main" id="{9DB76664-FCBB-4E4F-B5E6-C249AA6B44D0}"/>
              </a:ext>
            </a:extLst>
          </p:cNvPr>
          <p:cNvSpPr/>
          <p:nvPr/>
        </p:nvSpPr>
        <p:spPr>
          <a:xfrm>
            <a:off x="9069136" y="1994253"/>
            <a:ext cx="214405" cy="231884"/>
          </a:xfrm>
          <a:custGeom>
            <a:avLst/>
            <a:gdLst>
              <a:gd name="connsiteX0" fmla="*/ 97881 w 214405"/>
              <a:gd name="connsiteY0" fmla="*/ 231884 h 231884"/>
              <a:gd name="connsiteX1" fmla="*/ 0 w 214405"/>
              <a:gd name="connsiteY1" fmla="*/ 231884 h 231884"/>
              <a:gd name="connsiteX2" fmla="*/ 114194 w 214405"/>
              <a:gd name="connsiteY2" fmla="*/ 116525 h 231884"/>
              <a:gd name="connsiteX3" fmla="*/ 0 w 214405"/>
              <a:gd name="connsiteY3" fmla="*/ 0 h 231884"/>
              <a:gd name="connsiteX4" fmla="*/ 100211 w 214405"/>
              <a:gd name="connsiteY4" fmla="*/ 0 h 231884"/>
              <a:gd name="connsiteX5" fmla="*/ 214406 w 214405"/>
              <a:gd name="connsiteY5" fmla="*/ 114194 h 23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1884">
                <a:moveTo>
                  <a:pt x="97881" y="231884"/>
                </a:moveTo>
                <a:lnTo>
                  <a:pt x="0" y="231884"/>
                </a:lnTo>
                <a:lnTo>
                  <a:pt x="114194" y="116525"/>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34" name="Freihandform: Form 33">
            <a:extLst>
              <a:ext uri="{FF2B5EF4-FFF2-40B4-BE49-F238E27FC236}">
                <a16:creationId xmlns:a16="http://schemas.microsoft.com/office/drawing/2014/main" id="{1C9E837E-20C0-4E65-AB7F-E12A38184389}"/>
              </a:ext>
            </a:extLst>
          </p:cNvPr>
          <p:cNvSpPr/>
          <p:nvPr/>
        </p:nvSpPr>
        <p:spPr>
          <a:xfrm>
            <a:off x="9069136" y="2348489"/>
            <a:ext cx="214405" cy="233049"/>
          </a:xfrm>
          <a:custGeom>
            <a:avLst/>
            <a:gdLst>
              <a:gd name="connsiteX0" fmla="*/ 97881 w 214405"/>
              <a:gd name="connsiteY0" fmla="*/ 233050 h 233049"/>
              <a:gd name="connsiteX1" fmla="*/ 0 w 214405"/>
              <a:gd name="connsiteY1" fmla="*/ 233050 h 233049"/>
              <a:gd name="connsiteX2" fmla="*/ 114194 w 214405"/>
              <a:gd name="connsiteY2" fmla="*/ 117690 h 233049"/>
              <a:gd name="connsiteX3" fmla="*/ 0 w 214405"/>
              <a:gd name="connsiteY3" fmla="*/ 0 h 233049"/>
              <a:gd name="connsiteX4" fmla="*/ 100211 w 214405"/>
              <a:gd name="connsiteY4" fmla="*/ 0 h 233049"/>
              <a:gd name="connsiteX5" fmla="*/ 214406 w 214405"/>
              <a:gd name="connsiteY5" fmla="*/ 114194 h 23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3048">
                <a:moveTo>
                  <a:pt x="97881" y="233050"/>
                </a:moveTo>
                <a:lnTo>
                  <a:pt x="0" y="233050"/>
                </a:lnTo>
                <a:lnTo>
                  <a:pt x="114194" y="117690"/>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50" name="Freihandform: Form 49">
            <a:extLst>
              <a:ext uri="{FF2B5EF4-FFF2-40B4-BE49-F238E27FC236}">
                <a16:creationId xmlns:a16="http://schemas.microsoft.com/office/drawing/2014/main" id="{8113F30E-6E8E-4B5D-82C9-BD00E85422E7}"/>
              </a:ext>
            </a:extLst>
          </p:cNvPr>
          <p:cNvSpPr/>
          <p:nvPr/>
        </p:nvSpPr>
        <p:spPr>
          <a:xfrm>
            <a:off x="9069136" y="2703889"/>
            <a:ext cx="214405" cy="231884"/>
          </a:xfrm>
          <a:custGeom>
            <a:avLst/>
            <a:gdLst>
              <a:gd name="connsiteX0" fmla="*/ 97881 w 214405"/>
              <a:gd name="connsiteY0" fmla="*/ 231884 h 231884"/>
              <a:gd name="connsiteX1" fmla="*/ 0 w 214405"/>
              <a:gd name="connsiteY1" fmla="*/ 231884 h 231884"/>
              <a:gd name="connsiteX2" fmla="*/ 114194 w 214405"/>
              <a:gd name="connsiteY2" fmla="*/ 116525 h 231884"/>
              <a:gd name="connsiteX3" fmla="*/ 0 w 214405"/>
              <a:gd name="connsiteY3" fmla="*/ 0 h 231884"/>
              <a:gd name="connsiteX4" fmla="*/ 100211 w 214405"/>
              <a:gd name="connsiteY4" fmla="*/ 0 h 231884"/>
              <a:gd name="connsiteX5" fmla="*/ 214406 w 214405"/>
              <a:gd name="connsiteY5" fmla="*/ 114194 h 23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1884">
                <a:moveTo>
                  <a:pt x="97881" y="231884"/>
                </a:moveTo>
                <a:lnTo>
                  <a:pt x="0" y="231884"/>
                </a:lnTo>
                <a:lnTo>
                  <a:pt x="114194" y="116525"/>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66" name="Freihandform: Form 65">
            <a:extLst>
              <a:ext uri="{FF2B5EF4-FFF2-40B4-BE49-F238E27FC236}">
                <a16:creationId xmlns:a16="http://schemas.microsoft.com/office/drawing/2014/main" id="{83CF9041-D1BF-47E7-A660-B0728CA7416C}"/>
              </a:ext>
            </a:extLst>
          </p:cNvPr>
          <p:cNvSpPr/>
          <p:nvPr/>
        </p:nvSpPr>
        <p:spPr>
          <a:xfrm>
            <a:off x="9069136" y="3058125"/>
            <a:ext cx="214405" cy="233049"/>
          </a:xfrm>
          <a:custGeom>
            <a:avLst/>
            <a:gdLst>
              <a:gd name="connsiteX0" fmla="*/ 97881 w 214405"/>
              <a:gd name="connsiteY0" fmla="*/ 233050 h 233049"/>
              <a:gd name="connsiteX1" fmla="*/ 0 w 214405"/>
              <a:gd name="connsiteY1" fmla="*/ 233050 h 233049"/>
              <a:gd name="connsiteX2" fmla="*/ 114194 w 214405"/>
              <a:gd name="connsiteY2" fmla="*/ 117690 h 233049"/>
              <a:gd name="connsiteX3" fmla="*/ 0 w 214405"/>
              <a:gd name="connsiteY3" fmla="*/ 0 h 233049"/>
              <a:gd name="connsiteX4" fmla="*/ 100211 w 214405"/>
              <a:gd name="connsiteY4" fmla="*/ 0 h 233049"/>
              <a:gd name="connsiteX5" fmla="*/ 214406 w 214405"/>
              <a:gd name="connsiteY5" fmla="*/ 114194 h 23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3048">
                <a:moveTo>
                  <a:pt x="97881" y="233050"/>
                </a:moveTo>
                <a:lnTo>
                  <a:pt x="0" y="233050"/>
                </a:lnTo>
                <a:lnTo>
                  <a:pt x="114194" y="117690"/>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82" name="Freihandform: Form 81">
            <a:extLst>
              <a:ext uri="{FF2B5EF4-FFF2-40B4-BE49-F238E27FC236}">
                <a16:creationId xmlns:a16="http://schemas.microsoft.com/office/drawing/2014/main" id="{5E3A187E-D2FD-43A2-AA3C-854C35701E6E}"/>
              </a:ext>
            </a:extLst>
          </p:cNvPr>
          <p:cNvSpPr/>
          <p:nvPr/>
        </p:nvSpPr>
        <p:spPr>
          <a:xfrm>
            <a:off x="9069136" y="3413526"/>
            <a:ext cx="214405" cy="231884"/>
          </a:xfrm>
          <a:custGeom>
            <a:avLst/>
            <a:gdLst>
              <a:gd name="connsiteX0" fmla="*/ 97881 w 214405"/>
              <a:gd name="connsiteY0" fmla="*/ 231884 h 231884"/>
              <a:gd name="connsiteX1" fmla="*/ 0 w 214405"/>
              <a:gd name="connsiteY1" fmla="*/ 231884 h 231884"/>
              <a:gd name="connsiteX2" fmla="*/ 114194 w 214405"/>
              <a:gd name="connsiteY2" fmla="*/ 116525 h 231884"/>
              <a:gd name="connsiteX3" fmla="*/ 0 w 214405"/>
              <a:gd name="connsiteY3" fmla="*/ 0 h 231884"/>
              <a:gd name="connsiteX4" fmla="*/ 100211 w 214405"/>
              <a:gd name="connsiteY4" fmla="*/ 0 h 231884"/>
              <a:gd name="connsiteX5" fmla="*/ 214406 w 214405"/>
              <a:gd name="connsiteY5" fmla="*/ 114194 h 23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1884">
                <a:moveTo>
                  <a:pt x="97881" y="231884"/>
                </a:moveTo>
                <a:lnTo>
                  <a:pt x="0" y="231884"/>
                </a:lnTo>
                <a:lnTo>
                  <a:pt x="114194" y="116525"/>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98" name="Freihandform: Form 97">
            <a:extLst>
              <a:ext uri="{FF2B5EF4-FFF2-40B4-BE49-F238E27FC236}">
                <a16:creationId xmlns:a16="http://schemas.microsoft.com/office/drawing/2014/main" id="{D3A81AAA-9E9E-4B15-AAC7-1E1DC2995BB7}"/>
              </a:ext>
            </a:extLst>
          </p:cNvPr>
          <p:cNvSpPr/>
          <p:nvPr/>
        </p:nvSpPr>
        <p:spPr>
          <a:xfrm>
            <a:off x="9069136" y="3767761"/>
            <a:ext cx="214405" cy="233049"/>
          </a:xfrm>
          <a:custGeom>
            <a:avLst/>
            <a:gdLst>
              <a:gd name="connsiteX0" fmla="*/ 97881 w 214405"/>
              <a:gd name="connsiteY0" fmla="*/ 233050 h 233049"/>
              <a:gd name="connsiteX1" fmla="*/ 0 w 214405"/>
              <a:gd name="connsiteY1" fmla="*/ 233050 h 233049"/>
              <a:gd name="connsiteX2" fmla="*/ 114194 w 214405"/>
              <a:gd name="connsiteY2" fmla="*/ 117690 h 233049"/>
              <a:gd name="connsiteX3" fmla="*/ 0 w 214405"/>
              <a:gd name="connsiteY3" fmla="*/ 0 h 233049"/>
              <a:gd name="connsiteX4" fmla="*/ 100211 w 214405"/>
              <a:gd name="connsiteY4" fmla="*/ 0 h 233049"/>
              <a:gd name="connsiteX5" fmla="*/ 214406 w 214405"/>
              <a:gd name="connsiteY5" fmla="*/ 114194 h 23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3048">
                <a:moveTo>
                  <a:pt x="97881" y="233050"/>
                </a:moveTo>
                <a:lnTo>
                  <a:pt x="0" y="233050"/>
                </a:lnTo>
                <a:lnTo>
                  <a:pt x="114194" y="117690"/>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114" name="Freihandform: Form 113">
            <a:extLst>
              <a:ext uri="{FF2B5EF4-FFF2-40B4-BE49-F238E27FC236}">
                <a16:creationId xmlns:a16="http://schemas.microsoft.com/office/drawing/2014/main" id="{D7414768-9244-413F-B790-A52513170C11}"/>
              </a:ext>
            </a:extLst>
          </p:cNvPr>
          <p:cNvSpPr/>
          <p:nvPr/>
        </p:nvSpPr>
        <p:spPr>
          <a:xfrm>
            <a:off x="9069136" y="4123162"/>
            <a:ext cx="214405" cy="231884"/>
          </a:xfrm>
          <a:custGeom>
            <a:avLst/>
            <a:gdLst>
              <a:gd name="connsiteX0" fmla="*/ 97881 w 214405"/>
              <a:gd name="connsiteY0" fmla="*/ 231884 h 231884"/>
              <a:gd name="connsiteX1" fmla="*/ 0 w 214405"/>
              <a:gd name="connsiteY1" fmla="*/ 231884 h 231884"/>
              <a:gd name="connsiteX2" fmla="*/ 114194 w 214405"/>
              <a:gd name="connsiteY2" fmla="*/ 116525 h 231884"/>
              <a:gd name="connsiteX3" fmla="*/ 0 w 214405"/>
              <a:gd name="connsiteY3" fmla="*/ 0 h 231884"/>
              <a:gd name="connsiteX4" fmla="*/ 100211 w 214405"/>
              <a:gd name="connsiteY4" fmla="*/ 0 h 231884"/>
              <a:gd name="connsiteX5" fmla="*/ 214406 w 214405"/>
              <a:gd name="connsiteY5" fmla="*/ 114194 h 23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1884">
                <a:moveTo>
                  <a:pt x="97881" y="231884"/>
                </a:moveTo>
                <a:lnTo>
                  <a:pt x="0" y="231884"/>
                </a:lnTo>
                <a:lnTo>
                  <a:pt x="114194" y="116525"/>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130" name="Freihandform: Form 129">
            <a:extLst>
              <a:ext uri="{FF2B5EF4-FFF2-40B4-BE49-F238E27FC236}">
                <a16:creationId xmlns:a16="http://schemas.microsoft.com/office/drawing/2014/main" id="{401AC1C2-779B-43DF-BA19-77977887DF48}"/>
              </a:ext>
            </a:extLst>
          </p:cNvPr>
          <p:cNvSpPr/>
          <p:nvPr/>
        </p:nvSpPr>
        <p:spPr>
          <a:xfrm>
            <a:off x="9069136" y="4477397"/>
            <a:ext cx="214405" cy="233049"/>
          </a:xfrm>
          <a:custGeom>
            <a:avLst/>
            <a:gdLst>
              <a:gd name="connsiteX0" fmla="*/ 97881 w 214405"/>
              <a:gd name="connsiteY0" fmla="*/ 233050 h 233049"/>
              <a:gd name="connsiteX1" fmla="*/ 0 w 214405"/>
              <a:gd name="connsiteY1" fmla="*/ 233050 h 233049"/>
              <a:gd name="connsiteX2" fmla="*/ 114194 w 214405"/>
              <a:gd name="connsiteY2" fmla="*/ 117690 h 233049"/>
              <a:gd name="connsiteX3" fmla="*/ 0 w 214405"/>
              <a:gd name="connsiteY3" fmla="*/ 0 h 233049"/>
              <a:gd name="connsiteX4" fmla="*/ 100211 w 214405"/>
              <a:gd name="connsiteY4" fmla="*/ 0 h 233049"/>
              <a:gd name="connsiteX5" fmla="*/ 214406 w 214405"/>
              <a:gd name="connsiteY5" fmla="*/ 114194 h 23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3048">
                <a:moveTo>
                  <a:pt x="97881" y="233050"/>
                </a:moveTo>
                <a:lnTo>
                  <a:pt x="0" y="233050"/>
                </a:lnTo>
                <a:lnTo>
                  <a:pt x="114194" y="117690"/>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147" name="Freihandform: Form 146">
            <a:extLst>
              <a:ext uri="{FF2B5EF4-FFF2-40B4-BE49-F238E27FC236}">
                <a16:creationId xmlns:a16="http://schemas.microsoft.com/office/drawing/2014/main" id="{828616FB-ED5E-4EBB-AE8B-F4FB143D7DA7}"/>
              </a:ext>
            </a:extLst>
          </p:cNvPr>
          <p:cNvSpPr/>
          <p:nvPr/>
        </p:nvSpPr>
        <p:spPr>
          <a:xfrm>
            <a:off x="9069136" y="4832797"/>
            <a:ext cx="214405" cy="231884"/>
          </a:xfrm>
          <a:custGeom>
            <a:avLst/>
            <a:gdLst>
              <a:gd name="connsiteX0" fmla="*/ 97881 w 214405"/>
              <a:gd name="connsiteY0" fmla="*/ 231884 h 231884"/>
              <a:gd name="connsiteX1" fmla="*/ 0 w 214405"/>
              <a:gd name="connsiteY1" fmla="*/ 231884 h 231884"/>
              <a:gd name="connsiteX2" fmla="*/ 114194 w 214405"/>
              <a:gd name="connsiteY2" fmla="*/ 116525 h 231884"/>
              <a:gd name="connsiteX3" fmla="*/ 0 w 214405"/>
              <a:gd name="connsiteY3" fmla="*/ 0 h 231884"/>
              <a:gd name="connsiteX4" fmla="*/ 100211 w 214405"/>
              <a:gd name="connsiteY4" fmla="*/ 0 h 231884"/>
              <a:gd name="connsiteX5" fmla="*/ 214406 w 214405"/>
              <a:gd name="connsiteY5" fmla="*/ 114194 h 23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1884">
                <a:moveTo>
                  <a:pt x="97881" y="231884"/>
                </a:moveTo>
                <a:lnTo>
                  <a:pt x="0" y="231884"/>
                </a:lnTo>
                <a:lnTo>
                  <a:pt x="114194" y="116525"/>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164" name="Freihandform: Form 163">
            <a:extLst>
              <a:ext uri="{FF2B5EF4-FFF2-40B4-BE49-F238E27FC236}">
                <a16:creationId xmlns:a16="http://schemas.microsoft.com/office/drawing/2014/main" id="{1552BFC2-885E-488D-9178-E4EF0A480D27}"/>
              </a:ext>
            </a:extLst>
          </p:cNvPr>
          <p:cNvSpPr/>
          <p:nvPr/>
        </p:nvSpPr>
        <p:spPr>
          <a:xfrm>
            <a:off x="9069136" y="5187033"/>
            <a:ext cx="214405" cy="233049"/>
          </a:xfrm>
          <a:custGeom>
            <a:avLst/>
            <a:gdLst>
              <a:gd name="connsiteX0" fmla="*/ 97881 w 214405"/>
              <a:gd name="connsiteY0" fmla="*/ 233050 h 233049"/>
              <a:gd name="connsiteX1" fmla="*/ 0 w 214405"/>
              <a:gd name="connsiteY1" fmla="*/ 233050 h 233049"/>
              <a:gd name="connsiteX2" fmla="*/ 114194 w 214405"/>
              <a:gd name="connsiteY2" fmla="*/ 117690 h 233049"/>
              <a:gd name="connsiteX3" fmla="*/ 0 w 214405"/>
              <a:gd name="connsiteY3" fmla="*/ 0 h 233049"/>
              <a:gd name="connsiteX4" fmla="*/ 100211 w 214405"/>
              <a:gd name="connsiteY4" fmla="*/ 0 h 233049"/>
              <a:gd name="connsiteX5" fmla="*/ 214406 w 214405"/>
              <a:gd name="connsiteY5" fmla="*/ 114194 h 23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3048">
                <a:moveTo>
                  <a:pt x="97881" y="233050"/>
                </a:moveTo>
                <a:lnTo>
                  <a:pt x="0" y="233050"/>
                </a:lnTo>
                <a:lnTo>
                  <a:pt x="114194" y="117690"/>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181" name="Freihandform: Form 180">
            <a:extLst>
              <a:ext uri="{FF2B5EF4-FFF2-40B4-BE49-F238E27FC236}">
                <a16:creationId xmlns:a16="http://schemas.microsoft.com/office/drawing/2014/main" id="{80648966-F9E2-4B5F-ABE6-533E21207054}"/>
              </a:ext>
            </a:extLst>
          </p:cNvPr>
          <p:cNvSpPr/>
          <p:nvPr/>
        </p:nvSpPr>
        <p:spPr>
          <a:xfrm>
            <a:off x="9069136" y="5542434"/>
            <a:ext cx="214405" cy="231884"/>
          </a:xfrm>
          <a:custGeom>
            <a:avLst/>
            <a:gdLst>
              <a:gd name="connsiteX0" fmla="*/ 97881 w 214405"/>
              <a:gd name="connsiteY0" fmla="*/ 231884 h 231884"/>
              <a:gd name="connsiteX1" fmla="*/ 0 w 214405"/>
              <a:gd name="connsiteY1" fmla="*/ 231884 h 231884"/>
              <a:gd name="connsiteX2" fmla="*/ 114194 w 214405"/>
              <a:gd name="connsiteY2" fmla="*/ 117690 h 231884"/>
              <a:gd name="connsiteX3" fmla="*/ 0 w 214405"/>
              <a:gd name="connsiteY3" fmla="*/ 0 h 231884"/>
              <a:gd name="connsiteX4" fmla="*/ 100211 w 214405"/>
              <a:gd name="connsiteY4" fmla="*/ 0 h 231884"/>
              <a:gd name="connsiteX5" fmla="*/ 214406 w 214405"/>
              <a:gd name="connsiteY5" fmla="*/ 114194 h 23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1884">
                <a:moveTo>
                  <a:pt x="97881" y="231884"/>
                </a:moveTo>
                <a:lnTo>
                  <a:pt x="0" y="231884"/>
                </a:lnTo>
                <a:lnTo>
                  <a:pt x="114194" y="117690"/>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198" name="Freihandform: Form 197">
            <a:extLst>
              <a:ext uri="{FF2B5EF4-FFF2-40B4-BE49-F238E27FC236}">
                <a16:creationId xmlns:a16="http://schemas.microsoft.com/office/drawing/2014/main" id="{8C7041C5-0B5B-4AF4-9E5A-19A8C4C12F42}"/>
              </a:ext>
            </a:extLst>
          </p:cNvPr>
          <p:cNvSpPr/>
          <p:nvPr/>
        </p:nvSpPr>
        <p:spPr>
          <a:xfrm>
            <a:off x="9069136" y="5896669"/>
            <a:ext cx="214405" cy="233049"/>
          </a:xfrm>
          <a:custGeom>
            <a:avLst/>
            <a:gdLst>
              <a:gd name="connsiteX0" fmla="*/ 97881 w 214405"/>
              <a:gd name="connsiteY0" fmla="*/ 233050 h 233049"/>
              <a:gd name="connsiteX1" fmla="*/ 0 w 214405"/>
              <a:gd name="connsiteY1" fmla="*/ 233050 h 233049"/>
              <a:gd name="connsiteX2" fmla="*/ 114194 w 214405"/>
              <a:gd name="connsiteY2" fmla="*/ 117690 h 233049"/>
              <a:gd name="connsiteX3" fmla="*/ 0 w 214405"/>
              <a:gd name="connsiteY3" fmla="*/ 0 h 233049"/>
              <a:gd name="connsiteX4" fmla="*/ 100211 w 214405"/>
              <a:gd name="connsiteY4" fmla="*/ 0 h 233049"/>
              <a:gd name="connsiteX5" fmla="*/ 214406 w 214405"/>
              <a:gd name="connsiteY5" fmla="*/ 114194 h 23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3048">
                <a:moveTo>
                  <a:pt x="97881" y="233050"/>
                </a:moveTo>
                <a:lnTo>
                  <a:pt x="0" y="233050"/>
                </a:lnTo>
                <a:lnTo>
                  <a:pt x="114194" y="117690"/>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215" name="Freihandform: Form 214">
            <a:extLst>
              <a:ext uri="{FF2B5EF4-FFF2-40B4-BE49-F238E27FC236}">
                <a16:creationId xmlns:a16="http://schemas.microsoft.com/office/drawing/2014/main" id="{DC129505-58A5-42E7-B349-A205FB83331A}"/>
              </a:ext>
            </a:extLst>
          </p:cNvPr>
          <p:cNvSpPr/>
          <p:nvPr/>
        </p:nvSpPr>
        <p:spPr>
          <a:xfrm>
            <a:off x="9069136" y="6252070"/>
            <a:ext cx="214405" cy="233049"/>
          </a:xfrm>
          <a:custGeom>
            <a:avLst/>
            <a:gdLst>
              <a:gd name="connsiteX0" fmla="*/ 97881 w 214405"/>
              <a:gd name="connsiteY0" fmla="*/ 233050 h 233049"/>
              <a:gd name="connsiteX1" fmla="*/ 0 w 214405"/>
              <a:gd name="connsiteY1" fmla="*/ 233050 h 233049"/>
              <a:gd name="connsiteX2" fmla="*/ 114194 w 214405"/>
              <a:gd name="connsiteY2" fmla="*/ 117690 h 233049"/>
              <a:gd name="connsiteX3" fmla="*/ 0 w 214405"/>
              <a:gd name="connsiteY3" fmla="*/ 0 h 233049"/>
              <a:gd name="connsiteX4" fmla="*/ 100211 w 214405"/>
              <a:gd name="connsiteY4" fmla="*/ 0 h 233049"/>
              <a:gd name="connsiteX5" fmla="*/ 214406 w 214405"/>
              <a:gd name="connsiteY5" fmla="*/ 114194 h 23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3048">
                <a:moveTo>
                  <a:pt x="97881" y="233050"/>
                </a:moveTo>
                <a:lnTo>
                  <a:pt x="0" y="233050"/>
                </a:lnTo>
                <a:lnTo>
                  <a:pt x="114194" y="117690"/>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231" name="Freihandform: Form 230">
            <a:extLst>
              <a:ext uri="{FF2B5EF4-FFF2-40B4-BE49-F238E27FC236}">
                <a16:creationId xmlns:a16="http://schemas.microsoft.com/office/drawing/2014/main" id="{7D437321-278E-41CD-A64F-B829FA8D7F6A}"/>
              </a:ext>
            </a:extLst>
          </p:cNvPr>
          <p:cNvSpPr/>
          <p:nvPr/>
        </p:nvSpPr>
        <p:spPr>
          <a:xfrm>
            <a:off x="9069136" y="6607470"/>
            <a:ext cx="214405" cy="231884"/>
          </a:xfrm>
          <a:custGeom>
            <a:avLst/>
            <a:gdLst>
              <a:gd name="connsiteX0" fmla="*/ 97881 w 214405"/>
              <a:gd name="connsiteY0" fmla="*/ 231884 h 231884"/>
              <a:gd name="connsiteX1" fmla="*/ 0 w 214405"/>
              <a:gd name="connsiteY1" fmla="*/ 231884 h 231884"/>
              <a:gd name="connsiteX2" fmla="*/ 114194 w 214405"/>
              <a:gd name="connsiteY2" fmla="*/ 116525 h 231884"/>
              <a:gd name="connsiteX3" fmla="*/ 0 w 214405"/>
              <a:gd name="connsiteY3" fmla="*/ 0 h 231884"/>
              <a:gd name="connsiteX4" fmla="*/ 100211 w 214405"/>
              <a:gd name="connsiteY4" fmla="*/ 0 h 231884"/>
              <a:gd name="connsiteX5" fmla="*/ 214406 w 214405"/>
              <a:gd name="connsiteY5" fmla="*/ 114194 h 23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1884">
                <a:moveTo>
                  <a:pt x="97881" y="231884"/>
                </a:moveTo>
                <a:lnTo>
                  <a:pt x="0" y="231884"/>
                </a:lnTo>
                <a:lnTo>
                  <a:pt x="114194" y="116525"/>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20" name="Freihandform: Form 19">
            <a:extLst>
              <a:ext uri="{FF2B5EF4-FFF2-40B4-BE49-F238E27FC236}">
                <a16:creationId xmlns:a16="http://schemas.microsoft.com/office/drawing/2014/main" id="{59C6ABB5-FB82-4897-A910-6DBB4D07120E}"/>
              </a:ext>
            </a:extLst>
          </p:cNvPr>
          <p:cNvSpPr/>
          <p:nvPr/>
        </p:nvSpPr>
        <p:spPr>
          <a:xfrm>
            <a:off x="9415215" y="1984931"/>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2351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5847"/>
                </a:lnTo>
                <a:lnTo>
                  <a:pt x="0" y="0"/>
                </a:lnTo>
                <a:lnTo>
                  <a:pt x="108368" y="0"/>
                </a:lnTo>
                <a:lnTo>
                  <a:pt x="230719" y="122351"/>
                </a:lnTo>
                <a:close/>
              </a:path>
            </a:pathLst>
          </a:custGeom>
          <a:solidFill>
            <a:srgbClr val="EEF2F5"/>
          </a:solidFill>
          <a:ln w="11643" cap="flat">
            <a:noFill/>
            <a:prstDash val="solid"/>
            <a:miter/>
          </a:ln>
        </p:spPr>
        <p:txBody>
          <a:bodyPr rtlCol="0" anchor="ctr"/>
          <a:lstStyle/>
          <a:p>
            <a:endParaRPr lang="de-DE"/>
          </a:p>
        </p:txBody>
      </p:sp>
      <p:sp>
        <p:nvSpPr>
          <p:cNvPr id="35" name="Freihandform: Form 34">
            <a:extLst>
              <a:ext uri="{FF2B5EF4-FFF2-40B4-BE49-F238E27FC236}">
                <a16:creationId xmlns:a16="http://schemas.microsoft.com/office/drawing/2014/main" id="{4B50BF8D-98A0-4C91-8957-BC9FDA550D32}"/>
              </a:ext>
            </a:extLst>
          </p:cNvPr>
          <p:cNvSpPr/>
          <p:nvPr/>
        </p:nvSpPr>
        <p:spPr>
          <a:xfrm>
            <a:off x="9415215" y="2339167"/>
            <a:ext cx="230718" cy="250528"/>
          </a:xfrm>
          <a:custGeom>
            <a:avLst/>
            <a:gdLst>
              <a:gd name="connsiteX0" fmla="*/ 106037 w 230718"/>
              <a:gd name="connsiteY0" fmla="*/ 250528 h 250528"/>
              <a:gd name="connsiteX1" fmla="*/ 0 w 230718"/>
              <a:gd name="connsiteY1" fmla="*/ 250528 h 250528"/>
              <a:gd name="connsiteX2" fmla="*/ 123516 w 230718"/>
              <a:gd name="connsiteY2" fmla="*/ 127012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7012"/>
                </a:lnTo>
                <a:lnTo>
                  <a:pt x="0" y="0"/>
                </a:lnTo>
                <a:lnTo>
                  <a:pt x="108368" y="0"/>
                </a:lnTo>
                <a:lnTo>
                  <a:pt x="230719" y="123516"/>
                </a:lnTo>
                <a:close/>
              </a:path>
            </a:pathLst>
          </a:custGeom>
          <a:solidFill>
            <a:srgbClr val="EEF2F5"/>
          </a:solidFill>
          <a:ln w="11643" cap="flat">
            <a:noFill/>
            <a:prstDash val="solid"/>
            <a:miter/>
          </a:ln>
        </p:spPr>
        <p:txBody>
          <a:bodyPr rtlCol="0" anchor="ctr"/>
          <a:lstStyle/>
          <a:p>
            <a:endParaRPr lang="de-DE"/>
          </a:p>
        </p:txBody>
      </p:sp>
      <p:sp>
        <p:nvSpPr>
          <p:cNvPr id="51" name="Freihandform: Form 50">
            <a:extLst>
              <a:ext uri="{FF2B5EF4-FFF2-40B4-BE49-F238E27FC236}">
                <a16:creationId xmlns:a16="http://schemas.microsoft.com/office/drawing/2014/main" id="{D1B3B4E3-CEF5-496B-A094-E4A3B0CD5519}"/>
              </a:ext>
            </a:extLst>
          </p:cNvPr>
          <p:cNvSpPr/>
          <p:nvPr/>
        </p:nvSpPr>
        <p:spPr>
          <a:xfrm>
            <a:off x="9415215" y="2694568"/>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5847"/>
                </a:lnTo>
                <a:lnTo>
                  <a:pt x="0" y="0"/>
                </a:lnTo>
                <a:lnTo>
                  <a:pt x="108368" y="0"/>
                </a:lnTo>
                <a:lnTo>
                  <a:pt x="230719" y="123516"/>
                </a:lnTo>
                <a:close/>
              </a:path>
            </a:pathLst>
          </a:custGeom>
          <a:solidFill>
            <a:srgbClr val="EEF2F5"/>
          </a:solidFill>
          <a:ln w="11643" cap="flat">
            <a:noFill/>
            <a:prstDash val="solid"/>
            <a:miter/>
          </a:ln>
        </p:spPr>
        <p:txBody>
          <a:bodyPr rtlCol="0" anchor="ctr"/>
          <a:lstStyle/>
          <a:p>
            <a:endParaRPr lang="de-DE"/>
          </a:p>
        </p:txBody>
      </p:sp>
      <p:sp>
        <p:nvSpPr>
          <p:cNvPr id="67" name="Freihandform: Form 66">
            <a:extLst>
              <a:ext uri="{FF2B5EF4-FFF2-40B4-BE49-F238E27FC236}">
                <a16:creationId xmlns:a16="http://schemas.microsoft.com/office/drawing/2014/main" id="{03766B2F-D62E-4376-B19A-E9A0137C9FF8}"/>
              </a:ext>
            </a:extLst>
          </p:cNvPr>
          <p:cNvSpPr/>
          <p:nvPr/>
        </p:nvSpPr>
        <p:spPr>
          <a:xfrm>
            <a:off x="9415215" y="3048803"/>
            <a:ext cx="230718" cy="250528"/>
          </a:xfrm>
          <a:custGeom>
            <a:avLst/>
            <a:gdLst>
              <a:gd name="connsiteX0" fmla="*/ 106037 w 230718"/>
              <a:gd name="connsiteY0" fmla="*/ 250528 h 250528"/>
              <a:gd name="connsiteX1" fmla="*/ 0 w 230718"/>
              <a:gd name="connsiteY1" fmla="*/ 250528 h 250528"/>
              <a:gd name="connsiteX2" fmla="*/ 123516 w 230718"/>
              <a:gd name="connsiteY2" fmla="*/ 127012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7012"/>
                </a:lnTo>
                <a:lnTo>
                  <a:pt x="0" y="0"/>
                </a:lnTo>
                <a:lnTo>
                  <a:pt x="108368" y="0"/>
                </a:lnTo>
                <a:lnTo>
                  <a:pt x="230719" y="123516"/>
                </a:lnTo>
                <a:close/>
              </a:path>
            </a:pathLst>
          </a:custGeom>
          <a:solidFill>
            <a:srgbClr val="EEF2F5"/>
          </a:solidFill>
          <a:ln w="11643" cap="flat">
            <a:noFill/>
            <a:prstDash val="solid"/>
            <a:miter/>
          </a:ln>
        </p:spPr>
        <p:txBody>
          <a:bodyPr rtlCol="0" anchor="ctr"/>
          <a:lstStyle/>
          <a:p>
            <a:endParaRPr lang="de-DE"/>
          </a:p>
        </p:txBody>
      </p:sp>
      <p:sp>
        <p:nvSpPr>
          <p:cNvPr id="83" name="Freihandform: Form 82">
            <a:extLst>
              <a:ext uri="{FF2B5EF4-FFF2-40B4-BE49-F238E27FC236}">
                <a16:creationId xmlns:a16="http://schemas.microsoft.com/office/drawing/2014/main" id="{AF30F1BC-BAAD-4C43-8F77-BAF589EBE37F}"/>
              </a:ext>
            </a:extLst>
          </p:cNvPr>
          <p:cNvSpPr/>
          <p:nvPr/>
        </p:nvSpPr>
        <p:spPr>
          <a:xfrm>
            <a:off x="9415215" y="3404203"/>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5847"/>
                </a:lnTo>
                <a:lnTo>
                  <a:pt x="0" y="0"/>
                </a:lnTo>
                <a:lnTo>
                  <a:pt x="108368" y="0"/>
                </a:lnTo>
                <a:lnTo>
                  <a:pt x="230719" y="123516"/>
                </a:lnTo>
                <a:close/>
              </a:path>
            </a:pathLst>
          </a:custGeom>
          <a:solidFill>
            <a:srgbClr val="EEF2F5"/>
          </a:solidFill>
          <a:ln w="11643" cap="flat">
            <a:noFill/>
            <a:prstDash val="solid"/>
            <a:miter/>
          </a:ln>
        </p:spPr>
        <p:txBody>
          <a:bodyPr rtlCol="0" anchor="ctr"/>
          <a:lstStyle/>
          <a:p>
            <a:endParaRPr lang="de-DE"/>
          </a:p>
        </p:txBody>
      </p:sp>
      <p:sp>
        <p:nvSpPr>
          <p:cNvPr id="99" name="Freihandform: Form 98">
            <a:extLst>
              <a:ext uri="{FF2B5EF4-FFF2-40B4-BE49-F238E27FC236}">
                <a16:creationId xmlns:a16="http://schemas.microsoft.com/office/drawing/2014/main" id="{EB01FE63-3ABC-4A0B-B6A7-BC06FBCD3820}"/>
              </a:ext>
            </a:extLst>
          </p:cNvPr>
          <p:cNvSpPr/>
          <p:nvPr/>
        </p:nvSpPr>
        <p:spPr>
          <a:xfrm>
            <a:off x="9415215" y="3758439"/>
            <a:ext cx="230718" cy="251693"/>
          </a:xfrm>
          <a:custGeom>
            <a:avLst/>
            <a:gdLst>
              <a:gd name="connsiteX0" fmla="*/ 106037 w 230718"/>
              <a:gd name="connsiteY0" fmla="*/ 251694 h 251693"/>
              <a:gd name="connsiteX1" fmla="*/ 0 w 230718"/>
              <a:gd name="connsiteY1" fmla="*/ 251694 h 251693"/>
              <a:gd name="connsiteX2" fmla="*/ 123516 w 230718"/>
              <a:gd name="connsiteY2" fmla="*/ 127012 h 251693"/>
              <a:gd name="connsiteX3" fmla="*/ 0 w 230718"/>
              <a:gd name="connsiteY3" fmla="*/ 0 h 251693"/>
              <a:gd name="connsiteX4" fmla="*/ 108368 w 230718"/>
              <a:gd name="connsiteY4" fmla="*/ 0 h 251693"/>
              <a:gd name="connsiteX5" fmla="*/ 230719 w 230718"/>
              <a:gd name="connsiteY5" fmla="*/ 123516 h 251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1693">
                <a:moveTo>
                  <a:pt x="106037" y="251694"/>
                </a:moveTo>
                <a:lnTo>
                  <a:pt x="0" y="251694"/>
                </a:lnTo>
                <a:lnTo>
                  <a:pt x="123516" y="127012"/>
                </a:lnTo>
                <a:lnTo>
                  <a:pt x="0" y="0"/>
                </a:lnTo>
                <a:lnTo>
                  <a:pt x="108368" y="0"/>
                </a:lnTo>
                <a:lnTo>
                  <a:pt x="230719" y="123516"/>
                </a:lnTo>
                <a:close/>
              </a:path>
            </a:pathLst>
          </a:custGeom>
          <a:solidFill>
            <a:srgbClr val="EEF2F5"/>
          </a:solidFill>
          <a:ln w="11643" cap="flat">
            <a:noFill/>
            <a:prstDash val="solid"/>
            <a:miter/>
          </a:ln>
        </p:spPr>
        <p:txBody>
          <a:bodyPr rtlCol="0" anchor="ctr"/>
          <a:lstStyle/>
          <a:p>
            <a:endParaRPr lang="de-DE"/>
          </a:p>
        </p:txBody>
      </p:sp>
      <p:sp>
        <p:nvSpPr>
          <p:cNvPr id="115" name="Freihandform: Form 114">
            <a:extLst>
              <a:ext uri="{FF2B5EF4-FFF2-40B4-BE49-F238E27FC236}">
                <a16:creationId xmlns:a16="http://schemas.microsoft.com/office/drawing/2014/main" id="{A88CE84F-0A79-46B8-839D-DEE0DC50B30B}"/>
              </a:ext>
            </a:extLst>
          </p:cNvPr>
          <p:cNvSpPr/>
          <p:nvPr/>
        </p:nvSpPr>
        <p:spPr>
          <a:xfrm>
            <a:off x="9415215" y="4113840"/>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5847"/>
                </a:lnTo>
                <a:lnTo>
                  <a:pt x="0" y="0"/>
                </a:lnTo>
                <a:lnTo>
                  <a:pt x="108368" y="0"/>
                </a:lnTo>
                <a:lnTo>
                  <a:pt x="230719" y="123516"/>
                </a:lnTo>
                <a:close/>
              </a:path>
            </a:pathLst>
          </a:custGeom>
          <a:solidFill>
            <a:srgbClr val="EEF2F5"/>
          </a:solidFill>
          <a:ln w="11643" cap="flat">
            <a:noFill/>
            <a:prstDash val="solid"/>
            <a:miter/>
          </a:ln>
        </p:spPr>
        <p:txBody>
          <a:bodyPr rtlCol="0" anchor="ctr"/>
          <a:lstStyle/>
          <a:p>
            <a:endParaRPr lang="de-DE"/>
          </a:p>
        </p:txBody>
      </p:sp>
      <p:sp>
        <p:nvSpPr>
          <p:cNvPr id="131" name="Freihandform: Form 130">
            <a:extLst>
              <a:ext uri="{FF2B5EF4-FFF2-40B4-BE49-F238E27FC236}">
                <a16:creationId xmlns:a16="http://schemas.microsoft.com/office/drawing/2014/main" id="{F56B8540-4A40-448B-96CE-F13FEB89FE24}"/>
              </a:ext>
            </a:extLst>
          </p:cNvPr>
          <p:cNvSpPr/>
          <p:nvPr/>
        </p:nvSpPr>
        <p:spPr>
          <a:xfrm>
            <a:off x="9415215" y="4469240"/>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2351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5847"/>
                </a:lnTo>
                <a:lnTo>
                  <a:pt x="0" y="0"/>
                </a:lnTo>
                <a:lnTo>
                  <a:pt x="108368" y="0"/>
                </a:lnTo>
                <a:lnTo>
                  <a:pt x="230719" y="122351"/>
                </a:lnTo>
                <a:close/>
              </a:path>
            </a:pathLst>
          </a:custGeom>
          <a:solidFill>
            <a:srgbClr val="EEF2F5"/>
          </a:solidFill>
          <a:ln w="11643" cap="flat">
            <a:noFill/>
            <a:prstDash val="solid"/>
            <a:miter/>
          </a:ln>
        </p:spPr>
        <p:txBody>
          <a:bodyPr rtlCol="0" anchor="ctr"/>
          <a:lstStyle/>
          <a:p>
            <a:endParaRPr lang="de-DE"/>
          </a:p>
        </p:txBody>
      </p:sp>
      <p:sp>
        <p:nvSpPr>
          <p:cNvPr id="148" name="Freihandform: Form 147">
            <a:extLst>
              <a:ext uri="{FF2B5EF4-FFF2-40B4-BE49-F238E27FC236}">
                <a16:creationId xmlns:a16="http://schemas.microsoft.com/office/drawing/2014/main" id="{FA4D92A2-824B-4123-BA21-136199CED582}"/>
              </a:ext>
            </a:extLst>
          </p:cNvPr>
          <p:cNvSpPr/>
          <p:nvPr/>
        </p:nvSpPr>
        <p:spPr>
          <a:xfrm>
            <a:off x="9415215" y="4823475"/>
            <a:ext cx="230718" cy="250528"/>
          </a:xfrm>
          <a:custGeom>
            <a:avLst/>
            <a:gdLst>
              <a:gd name="connsiteX0" fmla="*/ 106037 w 230718"/>
              <a:gd name="connsiteY0" fmla="*/ 250528 h 250528"/>
              <a:gd name="connsiteX1" fmla="*/ 0 w 230718"/>
              <a:gd name="connsiteY1" fmla="*/ 250528 h 250528"/>
              <a:gd name="connsiteX2" fmla="*/ 123516 w 230718"/>
              <a:gd name="connsiteY2" fmla="*/ 127012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7012"/>
                </a:lnTo>
                <a:lnTo>
                  <a:pt x="0" y="0"/>
                </a:lnTo>
                <a:lnTo>
                  <a:pt x="108368" y="0"/>
                </a:lnTo>
                <a:lnTo>
                  <a:pt x="230719" y="123516"/>
                </a:lnTo>
                <a:close/>
              </a:path>
            </a:pathLst>
          </a:custGeom>
          <a:solidFill>
            <a:srgbClr val="EEF2F5"/>
          </a:solidFill>
          <a:ln w="11643" cap="flat">
            <a:noFill/>
            <a:prstDash val="solid"/>
            <a:miter/>
          </a:ln>
        </p:spPr>
        <p:txBody>
          <a:bodyPr rtlCol="0" anchor="ctr"/>
          <a:lstStyle/>
          <a:p>
            <a:endParaRPr lang="de-DE"/>
          </a:p>
        </p:txBody>
      </p:sp>
      <p:sp>
        <p:nvSpPr>
          <p:cNvPr id="165" name="Freihandform: Form 164">
            <a:extLst>
              <a:ext uri="{FF2B5EF4-FFF2-40B4-BE49-F238E27FC236}">
                <a16:creationId xmlns:a16="http://schemas.microsoft.com/office/drawing/2014/main" id="{B480051A-E4BB-4D8D-9463-F9DC0CB12BA8}"/>
              </a:ext>
            </a:extLst>
          </p:cNvPr>
          <p:cNvSpPr/>
          <p:nvPr/>
        </p:nvSpPr>
        <p:spPr>
          <a:xfrm>
            <a:off x="9415215" y="5178876"/>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2351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5847"/>
                </a:lnTo>
                <a:lnTo>
                  <a:pt x="0" y="0"/>
                </a:lnTo>
                <a:lnTo>
                  <a:pt x="108368" y="0"/>
                </a:lnTo>
                <a:lnTo>
                  <a:pt x="230719" y="122351"/>
                </a:lnTo>
                <a:close/>
              </a:path>
            </a:pathLst>
          </a:custGeom>
          <a:solidFill>
            <a:srgbClr val="EEF2F5"/>
          </a:solidFill>
          <a:ln w="11643" cap="flat">
            <a:noFill/>
            <a:prstDash val="solid"/>
            <a:miter/>
          </a:ln>
        </p:spPr>
        <p:txBody>
          <a:bodyPr rtlCol="0" anchor="ctr"/>
          <a:lstStyle/>
          <a:p>
            <a:endParaRPr lang="de-DE"/>
          </a:p>
        </p:txBody>
      </p:sp>
      <p:sp>
        <p:nvSpPr>
          <p:cNvPr id="182" name="Freihandform: Form 181">
            <a:extLst>
              <a:ext uri="{FF2B5EF4-FFF2-40B4-BE49-F238E27FC236}">
                <a16:creationId xmlns:a16="http://schemas.microsoft.com/office/drawing/2014/main" id="{8B9C7922-A46C-4300-8536-75C60F1BDA2A}"/>
              </a:ext>
            </a:extLst>
          </p:cNvPr>
          <p:cNvSpPr/>
          <p:nvPr/>
        </p:nvSpPr>
        <p:spPr>
          <a:xfrm>
            <a:off x="9415215" y="5533111"/>
            <a:ext cx="230718" cy="250528"/>
          </a:xfrm>
          <a:custGeom>
            <a:avLst/>
            <a:gdLst>
              <a:gd name="connsiteX0" fmla="*/ 106037 w 230718"/>
              <a:gd name="connsiteY0" fmla="*/ 250528 h 250528"/>
              <a:gd name="connsiteX1" fmla="*/ 0 w 230718"/>
              <a:gd name="connsiteY1" fmla="*/ 250528 h 250528"/>
              <a:gd name="connsiteX2" fmla="*/ 123516 w 230718"/>
              <a:gd name="connsiteY2" fmla="*/ 127012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7012"/>
                </a:lnTo>
                <a:lnTo>
                  <a:pt x="0" y="0"/>
                </a:lnTo>
                <a:lnTo>
                  <a:pt x="108368" y="0"/>
                </a:lnTo>
                <a:lnTo>
                  <a:pt x="230719" y="123516"/>
                </a:lnTo>
                <a:close/>
              </a:path>
            </a:pathLst>
          </a:custGeom>
          <a:solidFill>
            <a:srgbClr val="EEF2F5"/>
          </a:solidFill>
          <a:ln w="11643" cap="flat">
            <a:noFill/>
            <a:prstDash val="solid"/>
            <a:miter/>
          </a:ln>
        </p:spPr>
        <p:txBody>
          <a:bodyPr rtlCol="0" anchor="ctr"/>
          <a:lstStyle/>
          <a:p>
            <a:endParaRPr lang="de-DE"/>
          </a:p>
        </p:txBody>
      </p:sp>
      <p:sp>
        <p:nvSpPr>
          <p:cNvPr id="199" name="Freihandform: Form 198">
            <a:extLst>
              <a:ext uri="{FF2B5EF4-FFF2-40B4-BE49-F238E27FC236}">
                <a16:creationId xmlns:a16="http://schemas.microsoft.com/office/drawing/2014/main" id="{808E1183-99E4-4B7F-B544-06366CD89D96}"/>
              </a:ext>
            </a:extLst>
          </p:cNvPr>
          <p:cNvSpPr/>
          <p:nvPr/>
        </p:nvSpPr>
        <p:spPr>
          <a:xfrm>
            <a:off x="9415215" y="5888512"/>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2351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5847"/>
                </a:lnTo>
                <a:lnTo>
                  <a:pt x="0" y="0"/>
                </a:lnTo>
                <a:lnTo>
                  <a:pt x="108368" y="0"/>
                </a:lnTo>
                <a:lnTo>
                  <a:pt x="230719" y="122351"/>
                </a:lnTo>
                <a:close/>
              </a:path>
            </a:pathLst>
          </a:custGeom>
          <a:solidFill>
            <a:srgbClr val="EEF2F5"/>
          </a:solidFill>
          <a:ln w="11643" cap="flat">
            <a:noFill/>
            <a:prstDash val="solid"/>
            <a:miter/>
          </a:ln>
        </p:spPr>
        <p:txBody>
          <a:bodyPr rtlCol="0" anchor="ctr"/>
          <a:lstStyle/>
          <a:p>
            <a:endParaRPr lang="de-DE"/>
          </a:p>
        </p:txBody>
      </p:sp>
      <p:sp>
        <p:nvSpPr>
          <p:cNvPr id="216" name="Freihandform: Form 215">
            <a:extLst>
              <a:ext uri="{FF2B5EF4-FFF2-40B4-BE49-F238E27FC236}">
                <a16:creationId xmlns:a16="http://schemas.microsoft.com/office/drawing/2014/main" id="{CD034923-4C0A-4423-8672-AB74CD3F1B7B}"/>
              </a:ext>
            </a:extLst>
          </p:cNvPr>
          <p:cNvSpPr/>
          <p:nvPr/>
        </p:nvSpPr>
        <p:spPr>
          <a:xfrm>
            <a:off x="9415215" y="6242748"/>
            <a:ext cx="230718" cy="250528"/>
          </a:xfrm>
          <a:custGeom>
            <a:avLst/>
            <a:gdLst>
              <a:gd name="connsiteX0" fmla="*/ 106037 w 230718"/>
              <a:gd name="connsiteY0" fmla="*/ 250528 h 250528"/>
              <a:gd name="connsiteX1" fmla="*/ 0 w 230718"/>
              <a:gd name="connsiteY1" fmla="*/ 250528 h 250528"/>
              <a:gd name="connsiteX2" fmla="*/ 123516 w 230718"/>
              <a:gd name="connsiteY2" fmla="*/ 127012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7012"/>
                </a:lnTo>
                <a:lnTo>
                  <a:pt x="0" y="0"/>
                </a:lnTo>
                <a:lnTo>
                  <a:pt x="108368" y="0"/>
                </a:lnTo>
                <a:lnTo>
                  <a:pt x="230719" y="123516"/>
                </a:lnTo>
                <a:close/>
              </a:path>
            </a:pathLst>
          </a:custGeom>
          <a:solidFill>
            <a:srgbClr val="EEF2F5"/>
          </a:solidFill>
          <a:ln w="11643" cap="flat">
            <a:noFill/>
            <a:prstDash val="solid"/>
            <a:miter/>
          </a:ln>
        </p:spPr>
        <p:txBody>
          <a:bodyPr rtlCol="0" anchor="ctr"/>
          <a:lstStyle/>
          <a:p>
            <a:endParaRPr lang="de-DE"/>
          </a:p>
        </p:txBody>
      </p:sp>
      <p:sp>
        <p:nvSpPr>
          <p:cNvPr id="232" name="Freihandform: Form 231">
            <a:extLst>
              <a:ext uri="{FF2B5EF4-FFF2-40B4-BE49-F238E27FC236}">
                <a16:creationId xmlns:a16="http://schemas.microsoft.com/office/drawing/2014/main" id="{B9006F61-C8F9-435F-8E25-867EF66AB2C0}"/>
              </a:ext>
            </a:extLst>
          </p:cNvPr>
          <p:cNvSpPr/>
          <p:nvPr/>
        </p:nvSpPr>
        <p:spPr>
          <a:xfrm>
            <a:off x="9415215" y="6598148"/>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2351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5847"/>
                </a:lnTo>
                <a:lnTo>
                  <a:pt x="0" y="0"/>
                </a:lnTo>
                <a:lnTo>
                  <a:pt x="108368" y="0"/>
                </a:lnTo>
                <a:lnTo>
                  <a:pt x="230719" y="122351"/>
                </a:lnTo>
                <a:close/>
              </a:path>
            </a:pathLst>
          </a:custGeom>
          <a:solidFill>
            <a:srgbClr val="EEF2F5"/>
          </a:solidFill>
          <a:ln w="11643" cap="flat">
            <a:noFill/>
            <a:prstDash val="solid"/>
            <a:miter/>
          </a:ln>
        </p:spPr>
        <p:txBody>
          <a:bodyPr rtlCol="0" anchor="ctr"/>
          <a:lstStyle/>
          <a:p>
            <a:endParaRPr lang="de-DE"/>
          </a:p>
        </p:txBody>
      </p:sp>
      <p:sp>
        <p:nvSpPr>
          <p:cNvPr id="21" name="Freihandform: Form 20">
            <a:extLst>
              <a:ext uri="{FF2B5EF4-FFF2-40B4-BE49-F238E27FC236}">
                <a16:creationId xmlns:a16="http://schemas.microsoft.com/office/drawing/2014/main" id="{FA010AB3-93D2-478F-82A2-79D3EAB3E973}"/>
              </a:ext>
            </a:extLst>
          </p:cNvPr>
          <p:cNvSpPr/>
          <p:nvPr/>
        </p:nvSpPr>
        <p:spPr>
          <a:xfrm>
            <a:off x="9761293" y="1975610"/>
            <a:ext cx="248198" cy="269172"/>
          </a:xfrm>
          <a:custGeom>
            <a:avLst/>
            <a:gdLst>
              <a:gd name="connsiteX0" fmla="*/ 114195 w 248198"/>
              <a:gd name="connsiteY0" fmla="*/ 269172 h 269172"/>
              <a:gd name="connsiteX1" fmla="*/ 0 w 248198"/>
              <a:gd name="connsiteY1" fmla="*/ 269172 h 269172"/>
              <a:gd name="connsiteX2" fmla="*/ 132838 w 248198"/>
              <a:gd name="connsiteY2" fmla="*/ 135169 h 269172"/>
              <a:gd name="connsiteX3" fmla="*/ 0 w 248198"/>
              <a:gd name="connsiteY3" fmla="*/ 0 h 269172"/>
              <a:gd name="connsiteX4" fmla="*/ 116525 w 248198"/>
              <a:gd name="connsiteY4" fmla="*/ 0 h 269172"/>
              <a:gd name="connsiteX5" fmla="*/ 248198 w 248198"/>
              <a:gd name="connsiteY5" fmla="*/ 131673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endParaRPr lang="de-DE"/>
          </a:p>
        </p:txBody>
      </p:sp>
      <p:sp>
        <p:nvSpPr>
          <p:cNvPr id="36" name="Freihandform: Form 35">
            <a:extLst>
              <a:ext uri="{FF2B5EF4-FFF2-40B4-BE49-F238E27FC236}">
                <a16:creationId xmlns:a16="http://schemas.microsoft.com/office/drawing/2014/main" id="{E7957182-0D78-447E-AD11-155CFFA4EFCF}"/>
              </a:ext>
            </a:extLst>
          </p:cNvPr>
          <p:cNvSpPr/>
          <p:nvPr/>
        </p:nvSpPr>
        <p:spPr>
          <a:xfrm>
            <a:off x="9761293" y="2331010"/>
            <a:ext cx="248198" cy="268007"/>
          </a:xfrm>
          <a:custGeom>
            <a:avLst/>
            <a:gdLst>
              <a:gd name="connsiteX0" fmla="*/ 114195 w 248198"/>
              <a:gd name="connsiteY0" fmla="*/ 268007 h 268007"/>
              <a:gd name="connsiteX1" fmla="*/ 0 w 248198"/>
              <a:gd name="connsiteY1" fmla="*/ 268007 h 268007"/>
              <a:gd name="connsiteX2" fmla="*/ 132838 w 248198"/>
              <a:gd name="connsiteY2" fmla="*/ 135169 h 268007"/>
              <a:gd name="connsiteX3" fmla="*/ 0 w 248198"/>
              <a:gd name="connsiteY3" fmla="*/ 0 h 268007"/>
              <a:gd name="connsiteX4" fmla="*/ 116525 w 248198"/>
              <a:gd name="connsiteY4" fmla="*/ 0 h 268007"/>
              <a:gd name="connsiteX5" fmla="*/ 248198 w 248198"/>
              <a:gd name="connsiteY5" fmla="*/ 131673 h 268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8007">
                <a:moveTo>
                  <a:pt x="114195" y="268007"/>
                </a:moveTo>
                <a:lnTo>
                  <a:pt x="0" y="268007"/>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endParaRPr lang="de-DE"/>
          </a:p>
        </p:txBody>
      </p:sp>
      <p:sp>
        <p:nvSpPr>
          <p:cNvPr id="52" name="Freihandform: Form 51">
            <a:extLst>
              <a:ext uri="{FF2B5EF4-FFF2-40B4-BE49-F238E27FC236}">
                <a16:creationId xmlns:a16="http://schemas.microsoft.com/office/drawing/2014/main" id="{D00B278C-4E10-45E8-A202-B55CBB4B885E}"/>
              </a:ext>
            </a:extLst>
          </p:cNvPr>
          <p:cNvSpPr/>
          <p:nvPr/>
        </p:nvSpPr>
        <p:spPr>
          <a:xfrm>
            <a:off x="9761293" y="2685246"/>
            <a:ext cx="248198" cy="269172"/>
          </a:xfrm>
          <a:custGeom>
            <a:avLst/>
            <a:gdLst>
              <a:gd name="connsiteX0" fmla="*/ 114195 w 248198"/>
              <a:gd name="connsiteY0" fmla="*/ 269172 h 269172"/>
              <a:gd name="connsiteX1" fmla="*/ 0 w 248198"/>
              <a:gd name="connsiteY1" fmla="*/ 269172 h 269172"/>
              <a:gd name="connsiteX2" fmla="*/ 132838 w 248198"/>
              <a:gd name="connsiteY2" fmla="*/ 135169 h 269172"/>
              <a:gd name="connsiteX3" fmla="*/ 0 w 248198"/>
              <a:gd name="connsiteY3" fmla="*/ 0 h 269172"/>
              <a:gd name="connsiteX4" fmla="*/ 116525 w 248198"/>
              <a:gd name="connsiteY4" fmla="*/ 0 h 269172"/>
              <a:gd name="connsiteX5" fmla="*/ 248198 w 248198"/>
              <a:gd name="connsiteY5" fmla="*/ 131673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endParaRPr lang="de-DE"/>
          </a:p>
        </p:txBody>
      </p:sp>
      <p:sp>
        <p:nvSpPr>
          <p:cNvPr id="68" name="Freihandform: Form 67">
            <a:extLst>
              <a:ext uri="{FF2B5EF4-FFF2-40B4-BE49-F238E27FC236}">
                <a16:creationId xmlns:a16="http://schemas.microsoft.com/office/drawing/2014/main" id="{0496EBBE-CFB1-46AA-A6F5-690502856668}"/>
              </a:ext>
            </a:extLst>
          </p:cNvPr>
          <p:cNvSpPr/>
          <p:nvPr/>
        </p:nvSpPr>
        <p:spPr>
          <a:xfrm>
            <a:off x="9761293" y="3040646"/>
            <a:ext cx="248198" cy="268007"/>
          </a:xfrm>
          <a:custGeom>
            <a:avLst/>
            <a:gdLst>
              <a:gd name="connsiteX0" fmla="*/ 114195 w 248198"/>
              <a:gd name="connsiteY0" fmla="*/ 268007 h 268007"/>
              <a:gd name="connsiteX1" fmla="*/ 0 w 248198"/>
              <a:gd name="connsiteY1" fmla="*/ 268007 h 268007"/>
              <a:gd name="connsiteX2" fmla="*/ 132838 w 248198"/>
              <a:gd name="connsiteY2" fmla="*/ 135169 h 268007"/>
              <a:gd name="connsiteX3" fmla="*/ 0 w 248198"/>
              <a:gd name="connsiteY3" fmla="*/ 0 h 268007"/>
              <a:gd name="connsiteX4" fmla="*/ 116525 w 248198"/>
              <a:gd name="connsiteY4" fmla="*/ 0 h 268007"/>
              <a:gd name="connsiteX5" fmla="*/ 248198 w 248198"/>
              <a:gd name="connsiteY5" fmla="*/ 131673 h 268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8007">
                <a:moveTo>
                  <a:pt x="114195" y="268007"/>
                </a:moveTo>
                <a:lnTo>
                  <a:pt x="0" y="268007"/>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endParaRPr lang="de-DE"/>
          </a:p>
        </p:txBody>
      </p:sp>
      <p:sp>
        <p:nvSpPr>
          <p:cNvPr id="84" name="Freihandform: Form 83">
            <a:extLst>
              <a:ext uri="{FF2B5EF4-FFF2-40B4-BE49-F238E27FC236}">
                <a16:creationId xmlns:a16="http://schemas.microsoft.com/office/drawing/2014/main" id="{A40B40D6-E2B0-405B-8866-4C365074F335}"/>
              </a:ext>
            </a:extLst>
          </p:cNvPr>
          <p:cNvSpPr/>
          <p:nvPr/>
        </p:nvSpPr>
        <p:spPr>
          <a:xfrm>
            <a:off x="9761293" y="3394882"/>
            <a:ext cx="248198" cy="269172"/>
          </a:xfrm>
          <a:custGeom>
            <a:avLst/>
            <a:gdLst>
              <a:gd name="connsiteX0" fmla="*/ 114195 w 248198"/>
              <a:gd name="connsiteY0" fmla="*/ 269172 h 269172"/>
              <a:gd name="connsiteX1" fmla="*/ 0 w 248198"/>
              <a:gd name="connsiteY1" fmla="*/ 269172 h 269172"/>
              <a:gd name="connsiteX2" fmla="*/ 132838 w 248198"/>
              <a:gd name="connsiteY2" fmla="*/ 135169 h 269172"/>
              <a:gd name="connsiteX3" fmla="*/ 0 w 248198"/>
              <a:gd name="connsiteY3" fmla="*/ 0 h 269172"/>
              <a:gd name="connsiteX4" fmla="*/ 116525 w 248198"/>
              <a:gd name="connsiteY4" fmla="*/ 0 h 269172"/>
              <a:gd name="connsiteX5" fmla="*/ 248198 w 248198"/>
              <a:gd name="connsiteY5" fmla="*/ 131673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endParaRPr lang="de-DE"/>
          </a:p>
        </p:txBody>
      </p:sp>
      <p:sp>
        <p:nvSpPr>
          <p:cNvPr id="100" name="Freihandform: Form 99">
            <a:extLst>
              <a:ext uri="{FF2B5EF4-FFF2-40B4-BE49-F238E27FC236}">
                <a16:creationId xmlns:a16="http://schemas.microsoft.com/office/drawing/2014/main" id="{B976F48C-00EC-49CD-AA95-7B3C97644278}"/>
              </a:ext>
            </a:extLst>
          </p:cNvPr>
          <p:cNvSpPr/>
          <p:nvPr/>
        </p:nvSpPr>
        <p:spPr>
          <a:xfrm>
            <a:off x="9761293" y="3750282"/>
            <a:ext cx="248198" cy="268007"/>
          </a:xfrm>
          <a:custGeom>
            <a:avLst/>
            <a:gdLst>
              <a:gd name="connsiteX0" fmla="*/ 114195 w 248198"/>
              <a:gd name="connsiteY0" fmla="*/ 268007 h 268007"/>
              <a:gd name="connsiteX1" fmla="*/ 0 w 248198"/>
              <a:gd name="connsiteY1" fmla="*/ 268007 h 268007"/>
              <a:gd name="connsiteX2" fmla="*/ 132838 w 248198"/>
              <a:gd name="connsiteY2" fmla="*/ 135169 h 268007"/>
              <a:gd name="connsiteX3" fmla="*/ 0 w 248198"/>
              <a:gd name="connsiteY3" fmla="*/ 0 h 268007"/>
              <a:gd name="connsiteX4" fmla="*/ 116525 w 248198"/>
              <a:gd name="connsiteY4" fmla="*/ 0 h 268007"/>
              <a:gd name="connsiteX5" fmla="*/ 248198 w 248198"/>
              <a:gd name="connsiteY5" fmla="*/ 131673 h 268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8007">
                <a:moveTo>
                  <a:pt x="114195" y="268007"/>
                </a:moveTo>
                <a:lnTo>
                  <a:pt x="0" y="268007"/>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endParaRPr lang="de-DE"/>
          </a:p>
        </p:txBody>
      </p:sp>
      <p:sp>
        <p:nvSpPr>
          <p:cNvPr id="116" name="Freihandform: Form 115">
            <a:extLst>
              <a:ext uri="{FF2B5EF4-FFF2-40B4-BE49-F238E27FC236}">
                <a16:creationId xmlns:a16="http://schemas.microsoft.com/office/drawing/2014/main" id="{DFC41532-B3AB-4B18-A81F-7D2CA52826B2}"/>
              </a:ext>
            </a:extLst>
          </p:cNvPr>
          <p:cNvSpPr/>
          <p:nvPr/>
        </p:nvSpPr>
        <p:spPr>
          <a:xfrm>
            <a:off x="9761293" y="4104518"/>
            <a:ext cx="248198" cy="269172"/>
          </a:xfrm>
          <a:custGeom>
            <a:avLst/>
            <a:gdLst>
              <a:gd name="connsiteX0" fmla="*/ 114195 w 248198"/>
              <a:gd name="connsiteY0" fmla="*/ 269172 h 269172"/>
              <a:gd name="connsiteX1" fmla="*/ 0 w 248198"/>
              <a:gd name="connsiteY1" fmla="*/ 269172 h 269172"/>
              <a:gd name="connsiteX2" fmla="*/ 132838 w 248198"/>
              <a:gd name="connsiteY2" fmla="*/ 136334 h 269172"/>
              <a:gd name="connsiteX3" fmla="*/ 0 w 248198"/>
              <a:gd name="connsiteY3" fmla="*/ 0 h 269172"/>
              <a:gd name="connsiteX4" fmla="*/ 116525 w 248198"/>
              <a:gd name="connsiteY4" fmla="*/ 0 h 269172"/>
              <a:gd name="connsiteX5" fmla="*/ 248198 w 248198"/>
              <a:gd name="connsiteY5" fmla="*/ 132838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6334"/>
                </a:lnTo>
                <a:lnTo>
                  <a:pt x="0" y="0"/>
                </a:lnTo>
                <a:lnTo>
                  <a:pt x="116525" y="0"/>
                </a:lnTo>
                <a:lnTo>
                  <a:pt x="248198" y="132838"/>
                </a:lnTo>
                <a:close/>
              </a:path>
            </a:pathLst>
          </a:custGeom>
          <a:solidFill>
            <a:srgbClr val="EEF2F5"/>
          </a:solidFill>
          <a:ln w="11643" cap="flat">
            <a:noFill/>
            <a:prstDash val="solid"/>
            <a:miter/>
          </a:ln>
        </p:spPr>
        <p:txBody>
          <a:bodyPr rtlCol="0" anchor="ctr"/>
          <a:lstStyle/>
          <a:p>
            <a:endParaRPr lang="de-DE"/>
          </a:p>
        </p:txBody>
      </p:sp>
      <p:sp>
        <p:nvSpPr>
          <p:cNvPr id="132" name="Freihandform: Form 131">
            <a:extLst>
              <a:ext uri="{FF2B5EF4-FFF2-40B4-BE49-F238E27FC236}">
                <a16:creationId xmlns:a16="http://schemas.microsoft.com/office/drawing/2014/main" id="{ADC8DAC7-8942-46EB-9D62-4E4C4662A9C7}"/>
              </a:ext>
            </a:extLst>
          </p:cNvPr>
          <p:cNvSpPr/>
          <p:nvPr/>
        </p:nvSpPr>
        <p:spPr>
          <a:xfrm>
            <a:off x="9761293" y="4459918"/>
            <a:ext cx="248198" cy="268007"/>
          </a:xfrm>
          <a:custGeom>
            <a:avLst/>
            <a:gdLst>
              <a:gd name="connsiteX0" fmla="*/ 114195 w 248198"/>
              <a:gd name="connsiteY0" fmla="*/ 268007 h 268007"/>
              <a:gd name="connsiteX1" fmla="*/ 0 w 248198"/>
              <a:gd name="connsiteY1" fmla="*/ 268007 h 268007"/>
              <a:gd name="connsiteX2" fmla="*/ 132838 w 248198"/>
              <a:gd name="connsiteY2" fmla="*/ 135169 h 268007"/>
              <a:gd name="connsiteX3" fmla="*/ 0 w 248198"/>
              <a:gd name="connsiteY3" fmla="*/ 0 h 268007"/>
              <a:gd name="connsiteX4" fmla="*/ 116525 w 248198"/>
              <a:gd name="connsiteY4" fmla="*/ 0 h 268007"/>
              <a:gd name="connsiteX5" fmla="*/ 248198 w 248198"/>
              <a:gd name="connsiteY5" fmla="*/ 131673 h 268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8007">
                <a:moveTo>
                  <a:pt x="114195" y="268007"/>
                </a:moveTo>
                <a:lnTo>
                  <a:pt x="0" y="268007"/>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endParaRPr lang="de-DE"/>
          </a:p>
        </p:txBody>
      </p:sp>
      <p:sp>
        <p:nvSpPr>
          <p:cNvPr id="149" name="Freihandform: Form 148">
            <a:extLst>
              <a:ext uri="{FF2B5EF4-FFF2-40B4-BE49-F238E27FC236}">
                <a16:creationId xmlns:a16="http://schemas.microsoft.com/office/drawing/2014/main" id="{83716F88-9554-4FCB-B2C3-8BD6193695E2}"/>
              </a:ext>
            </a:extLst>
          </p:cNvPr>
          <p:cNvSpPr/>
          <p:nvPr/>
        </p:nvSpPr>
        <p:spPr>
          <a:xfrm>
            <a:off x="9761293" y="4814154"/>
            <a:ext cx="248198" cy="269172"/>
          </a:xfrm>
          <a:custGeom>
            <a:avLst/>
            <a:gdLst>
              <a:gd name="connsiteX0" fmla="*/ 114195 w 248198"/>
              <a:gd name="connsiteY0" fmla="*/ 269172 h 269172"/>
              <a:gd name="connsiteX1" fmla="*/ 0 w 248198"/>
              <a:gd name="connsiteY1" fmla="*/ 269172 h 269172"/>
              <a:gd name="connsiteX2" fmla="*/ 132838 w 248198"/>
              <a:gd name="connsiteY2" fmla="*/ 136334 h 269172"/>
              <a:gd name="connsiteX3" fmla="*/ 0 w 248198"/>
              <a:gd name="connsiteY3" fmla="*/ 0 h 269172"/>
              <a:gd name="connsiteX4" fmla="*/ 116525 w 248198"/>
              <a:gd name="connsiteY4" fmla="*/ 0 h 269172"/>
              <a:gd name="connsiteX5" fmla="*/ 248198 w 248198"/>
              <a:gd name="connsiteY5" fmla="*/ 132838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6334"/>
                </a:lnTo>
                <a:lnTo>
                  <a:pt x="0" y="0"/>
                </a:lnTo>
                <a:lnTo>
                  <a:pt x="116525" y="0"/>
                </a:lnTo>
                <a:lnTo>
                  <a:pt x="248198" y="132838"/>
                </a:lnTo>
                <a:close/>
              </a:path>
            </a:pathLst>
          </a:custGeom>
          <a:solidFill>
            <a:srgbClr val="EEF2F5"/>
          </a:solidFill>
          <a:ln w="11643" cap="flat">
            <a:noFill/>
            <a:prstDash val="solid"/>
            <a:miter/>
          </a:ln>
        </p:spPr>
        <p:txBody>
          <a:bodyPr rtlCol="0" anchor="ctr"/>
          <a:lstStyle/>
          <a:p>
            <a:endParaRPr lang="de-DE"/>
          </a:p>
        </p:txBody>
      </p:sp>
      <p:sp>
        <p:nvSpPr>
          <p:cNvPr id="166" name="Freihandform: Form 165">
            <a:extLst>
              <a:ext uri="{FF2B5EF4-FFF2-40B4-BE49-F238E27FC236}">
                <a16:creationId xmlns:a16="http://schemas.microsoft.com/office/drawing/2014/main" id="{AEC95E7D-635D-425A-9F1A-DEBC1F5484DB}"/>
              </a:ext>
            </a:extLst>
          </p:cNvPr>
          <p:cNvSpPr/>
          <p:nvPr/>
        </p:nvSpPr>
        <p:spPr>
          <a:xfrm>
            <a:off x="9761293" y="5169554"/>
            <a:ext cx="248198" cy="268007"/>
          </a:xfrm>
          <a:custGeom>
            <a:avLst/>
            <a:gdLst>
              <a:gd name="connsiteX0" fmla="*/ 114195 w 248198"/>
              <a:gd name="connsiteY0" fmla="*/ 268007 h 268007"/>
              <a:gd name="connsiteX1" fmla="*/ 0 w 248198"/>
              <a:gd name="connsiteY1" fmla="*/ 268007 h 268007"/>
              <a:gd name="connsiteX2" fmla="*/ 132838 w 248198"/>
              <a:gd name="connsiteY2" fmla="*/ 135169 h 268007"/>
              <a:gd name="connsiteX3" fmla="*/ 0 w 248198"/>
              <a:gd name="connsiteY3" fmla="*/ 0 h 268007"/>
              <a:gd name="connsiteX4" fmla="*/ 116525 w 248198"/>
              <a:gd name="connsiteY4" fmla="*/ 0 h 268007"/>
              <a:gd name="connsiteX5" fmla="*/ 248198 w 248198"/>
              <a:gd name="connsiteY5" fmla="*/ 131673 h 268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8007">
                <a:moveTo>
                  <a:pt x="114195" y="268007"/>
                </a:moveTo>
                <a:lnTo>
                  <a:pt x="0" y="268007"/>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endParaRPr lang="de-DE"/>
          </a:p>
        </p:txBody>
      </p:sp>
      <p:sp>
        <p:nvSpPr>
          <p:cNvPr id="183" name="Freihandform: Form 182">
            <a:extLst>
              <a:ext uri="{FF2B5EF4-FFF2-40B4-BE49-F238E27FC236}">
                <a16:creationId xmlns:a16="http://schemas.microsoft.com/office/drawing/2014/main" id="{C1CCBBCB-A182-4421-8619-C206846375DB}"/>
              </a:ext>
            </a:extLst>
          </p:cNvPr>
          <p:cNvSpPr/>
          <p:nvPr/>
        </p:nvSpPr>
        <p:spPr>
          <a:xfrm>
            <a:off x="9761293" y="5523790"/>
            <a:ext cx="248198" cy="269172"/>
          </a:xfrm>
          <a:custGeom>
            <a:avLst/>
            <a:gdLst>
              <a:gd name="connsiteX0" fmla="*/ 114195 w 248198"/>
              <a:gd name="connsiteY0" fmla="*/ 269172 h 269172"/>
              <a:gd name="connsiteX1" fmla="*/ 0 w 248198"/>
              <a:gd name="connsiteY1" fmla="*/ 269172 h 269172"/>
              <a:gd name="connsiteX2" fmla="*/ 132838 w 248198"/>
              <a:gd name="connsiteY2" fmla="*/ 136334 h 269172"/>
              <a:gd name="connsiteX3" fmla="*/ 0 w 248198"/>
              <a:gd name="connsiteY3" fmla="*/ 0 h 269172"/>
              <a:gd name="connsiteX4" fmla="*/ 116525 w 248198"/>
              <a:gd name="connsiteY4" fmla="*/ 0 h 269172"/>
              <a:gd name="connsiteX5" fmla="*/ 248198 w 248198"/>
              <a:gd name="connsiteY5" fmla="*/ 132838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6334"/>
                </a:lnTo>
                <a:lnTo>
                  <a:pt x="0" y="0"/>
                </a:lnTo>
                <a:lnTo>
                  <a:pt x="116525" y="0"/>
                </a:lnTo>
                <a:lnTo>
                  <a:pt x="248198" y="132838"/>
                </a:lnTo>
                <a:close/>
              </a:path>
            </a:pathLst>
          </a:custGeom>
          <a:solidFill>
            <a:srgbClr val="EEF2F5"/>
          </a:solidFill>
          <a:ln w="11643" cap="flat">
            <a:noFill/>
            <a:prstDash val="solid"/>
            <a:miter/>
          </a:ln>
        </p:spPr>
        <p:txBody>
          <a:bodyPr rtlCol="0" anchor="ctr"/>
          <a:lstStyle/>
          <a:p>
            <a:endParaRPr lang="de-DE"/>
          </a:p>
        </p:txBody>
      </p:sp>
      <p:sp>
        <p:nvSpPr>
          <p:cNvPr id="200" name="Freihandform: Form 199">
            <a:extLst>
              <a:ext uri="{FF2B5EF4-FFF2-40B4-BE49-F238E27FC236}">
                <a16:creationId xmlns:a16="http://schemas.microsoft.com/office/drawing/2014/main" id="{D91A4514-348C-465D-A689-222304D82209}"/>
              </a:ext>
            </a:extLst>
          </p:cNvPr>
          <p:cNvSpPr/>
          <p:nvPr/>
        </p:nvSpPr>
        <p:spPr>
          <a:xfrm>
            <a:off x="9761293" y="5879190"/>
            <a:ext cx="248198" cy="269172"/>
          </a:xfrm>
          <a:custGeom>
            <a:avLst/>
            <a:gdLst>
              <a:gd name="connsiteX0" fmla="*/ 114195 w 248198"/>
              <a:gd name="connsiteY0" fmla="*/ 269172 h 269172"/>
              <a:gd name="connsiteX1" fmla="*/ 0 w 248198"/>
              <a:gd name="connsiteY1" fmla="*/ 269172 h 269172"/>
              <a:gd name="connsiteX2" fmla="*/ 132838 w 248198"/>
              <a:gd name="connsiteY2" fmla="*/ 135169 h 269172"/>
              <a:gd name="connsiteX3" fmla="*/ 0 w 248198"/>
              <a:gd name="connsiteY3" fmla="*/ 0 h 269172"/>
              <a:gd name="connsiteX4" fmla="*/ 116525 w 248198"/>
              <a:gd name="connsiteY4" fmla="*/ 0 h 269172"/>
              <a:gd name="connsiteX5" fmla="*/ 248198 w 248198"/>
              <a:gd name="connsiteY5" fmla="*/ 131673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endParaRPr lang="de-DE"/>
          </a:p>
        </p:txBody>
      </p:sp>
      <p:sp>
        <p:nvSpPr>
          <p:cNvPr id="217" name="Freihandform: Form 216">
            <a:extLst>
              <a:ext uri="{FF2B5EF4-FFF2-40B4-BE49-F238E27FC236}">
                <a16:creationId xmlns:a16="http://schemas.microsoft.com/office/drawing/2014/main" id="{1B4C065C-ED4E-40BF-AA0C-B75D23AF7B43}"/>
              </a:ext>
            </a:extLst>
          </p:cNvPr>
          <p:cNvSpPr/>
          <p:nvPr/>
        </p:nvSpPr>
        <p:spPr>
          <a:xfrm>
            <a:off x="9761293" y="6233426"/>
            <a:ext cx="248198" cy="269172"/>
          </a:xfrm>
          <a:custGeom>
            <a:avLst/>
            <a:gdLst>
              <a:gd name="connsiteX0" fmla="*/ 114195 w 248198"/>
              <a:gd name="connsiteY0" fmla="*/ 269172 h 269172"/>
              <a:gd name="connsiteX1" fmla="*/ 0 w 248198"/>
              <a:gd name="connsiteY1" fmla="*/ 269172 h 269172"/>
              <a:gd name="connsiteX2" fmla="*/ 132838 w 248198"/>
              <a:gd name="connsiteY2" fmla="*/ 136334 h 269172"/>
              <a:gd name="connsiteX3" fmla="*/ 0 w 248198"/>
              <a:gd name="connsiteY3" fmla="*/ 0 h 269172"/>
              <a:gd name="connsiteX4" fmla="*/ 116525 w 248198"/>
              <a:gd name="connsiteY4" fmla="*/ 0 h 269172"/>
              <a:gd name="connsiteX5" fmla="*/ 248198 w 248198"/>
              <a:gd name="connsiteY5" fmla="*/ 132838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6334"/>
                </a:lnTo>
                <a:lnTo>
                  <a:pt x="0" y="0"/>
                </a:lnTo>
                <a:lnTo>
                  <a:pt x="116525" y="0"/>
                </a:lnTo>
                <a:lnTo>
                  <a:pt x="248198" y="132838"/>
                </a:lnTo>
                <a:close/>
              </a:path>
            </a:pathLst>
          </a:custGeom>
          <a:solidFill>
            <a:srgbClr val="EEF2F5"/>
          </a:solidFill>
          <a:ln w="11643" cap="flat">
            <a:noFill/>
            <a:prstDash val="solid"/>
            <a:miter/>
          </a:ln>
        </p:spPr>
        <p:txBody>
          <a:bodyPr rtlCol="0" anchor="ctr"/>
          <a:lstStyle/>
          <a:p>
            <a:endParaRPr lang="de-DE"/>
          </a:p>
        </p:txBody>
      </p:sp>
      <p:sp>
        <p:nvSpPr>
          <p:cNvPr id="233" name="Freihandform: Form 232">
            <a:extLst>
              <a:ext uri="{FF2B5EF4-FFF2-40B4-BE49-F238E27FC236}">
                <a16:creationId xmlns:a16="http://schemas.microsoft.com/office/drawing/2014/main" id="{26A7552F-9339-4F13-B25C-D2F62499E1D6}"/>
              </a:ext>
            </a:extLst>
          </p:cNvPr>
          <p:cNvSpPr/>
          <p:nvPr/>
        </p:nvSpPr>
        <p:spPr>
          <a:xfrm>
            <a:off x="9761293" y="6588826"/>
            <a:ext cx="248198" cy="269172"/>
          </a:xfrm>
          <a:custGeom>
            <a:avLst/>
            <a:gdLst>
              <a:gd name="connsiteX0" fmla="*/ 114195 w 248198"/>
              <a:gd name="connsiteY0" fmla="*/ 269172 h 269172"/>
              <a:gd name="connsiteX1" fmla="*/ 0 w 248198"/>
              <a:gd name="connsiteY1" fmla="*/ 269172 h 269172"/>
              <a:gd name="connsiteX2" fmla="*/ 132838 w 248198"/>
              <a:gd name="connsiteY2" fmla="*/ 135169 h 269172"/>
              <a:gd name="connsiteX3" fmla="*/ 0 w 248198"/>
              <a:gd name="connsiteY3" fmla="*/ 0 h 269172"/>
              <a:gd name="connsiteX4" fmla="*/ 116525 w 248198"/>
              <a:gd name="connsiteY4" fmla="*/ 0 h 269172"/>
              <a:gd name="connsiteX5" fmla="*/ 248198 w 248198"/>
              <a:gd name="connsiteY5" fmla="*/ 131673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endParaRPr lang="de-DE"/>
          </a:p>
        </p:txBody>
      </p:sp>
      <p:sp>
        <p:nvSpPr>
          <p:cNvPr id="10" name="Textplatzhalter 9">
            <a:extLst>
              <a:ext uri="{FF2B5EF4-FFF2-40B4-BE49-F238E27FC236}">
                <a16:creationId xmlns:a16="http://schemas.microsoft.com/office/drawing/2014/main" id="{87105EF2-AC01-455D-9C26-5D6999587D6D}"/>
              </a:ext>
            </a:extLst>
          </p:cNvPr>
          <p:cNvSpPr>
            <a:spLocks noGrp="1"/>
          </p:cNvSpPr>
          <p:nvPr userDrawn="1">
            <p:ph type="body" sz="quarter" idx="11"/>
          </p:nvPr>
        </p:nvSpPr>
        <p:spPr>
          <a:xfrm>
            <a:off x="815951" y="1979612"/>
            <a:ext cx="10560096" cy="4338638"/>
          </a:xfrm>
          <a:prstGeom prst="rect">
            <a:avLst/>
          </a:prstGeom>
        </p:spPr>
        <p:txBody>
          <a:bodyPr>
            <a:normAutofit/>
          </a:bodyPr>
          <a:lstStyle>
            <a:lvl1pPr marL="266700" indent="-266700">
              <a:buSzPct val="120000"/>
              <a:buFontTx/>
              <a:buBlip>
                <a:blip r:embed="rId2"/>
              </a:buBlip>
              <a:defRPr sz="1800"/>
            </a:lvl1pPr>
            <a:lvl2pPr marL="630238" indent="-268288">
              <a:buSzPct val="120000"/>
              <a:buFontTx/>
              <a:buBlip>
                <a:blip r:embed="rId2"/>
              </a:buBlip>
              <a:defRPr sz="1800"/>
            </a:lvl2pPr>
            <a:lvl3pPr marL="990600" indent="-274638">
              <a:buSzPct val="120000"/>
              <a:buFontTx/>
              <a:buBlip>
                <a:blip r:embed="rId2"/>
              </a:buBlip>
              <a:defRPr sz="1800"/>
            </a:lvl3pPr>
            <a:lvl4pPr marL="1343025" indent="-263525">
              <a:buSzPct val="120000"/>
              <a:buFontTx/>
              <a:buBlip>
                <a:blip r:embed="rId2"/>
              </a:buBlip>
              <a:defRPr sz="1800"/>
            </a:lvl4pPr>
            <a:lvl5pPr marL="1704975" indent="-271463">
              <a:buSzPct val="120000"/>
              <a:buFontTx/>
              <a:buBlip>
                <a:blip r:embed="rId2"/>
              </a:buBlip>
              <a:defRPr sz="18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2577864036"/>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8" dur="1000" decel="10000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000" fill="hold"/>
                                        <p:tgtEl>
                                          <p:spTgt spid="4"/>
                                        </p:tgtEl>
                                        <p:attrNameLst>
                                          <p:attrName>ppt_x</p:attrName>
                                        </p:attrNameLst>
                                      </p:cBhvr>
                                      <p:tavLst>
                                        <p:tav tm="0">
                                          <p:val>
                                            <p:strVal val="0-#ppt_w/2"/>
                                          </p:val>
                                        </p:tav>
                                        <p:tav tm="100000">
                                          <p:val>
                                            <p:strVal val="#ppt_x"/>
                                          </p:val>
                                        </p:tav>
                                      </p:tavLst>
                                    </p:anim>
                                    <p:anim calcmode="lin" valueType="num">
                                      <p:cBhvr additive="base">
                                        <p:cTn id="8" dur="1000" fill="hold"/>
                                        <p:tgtEl>
                                          <p:spTgt spid="4"/>
                                        </p:tgtEl>
                                        <p:attrNameLst>
                                          <p:attrName>ppt_y</p:attrName>
                                        </p:attrNameLst>
                                      </p:cBhvr>
                                      <p:tavLst>
                                        <p:tav tm="0">
                                          <p:val>
                                            <p:strVal val="#ppt_y"/>
                                          </p:val>
                                        </p:tav>
                                        <p:tav tm="100000">
                                          <p:val>
                                            <p:strVal val="#ppt_y"/>
                                          </p:val>
                                        </p:tav>
                                      </p:tavLst>
                                    </p:anim>
                                  </p:childTnLst>
                                </p:cTn>
                              </p:par>
                              <p:par>
                                <p:cTn id="9" presetID="2" presetClass="entr" presetSubtype="8" dur="1000" decel="100000" fill="hold" grpId="0" nodeType="withEffect">
                                  <p:stCondLst>
                                    <p:cond delay="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1000" fill="hold"/>
                                        <p:tgtEl>
                                          <p:spTgt spid="10"/>
                                        </p:tgtEl>
                                        <p:attrNameLst>
                                          <p:attrName>ppt_x</p:attrName>
                                        </p:attrNameLst>
                                      </p:cBhvr>
                                      <p:tavLst>
                                        <p:tav tm="0">
                                          <p:val>
                                            <p:strVal val="0-#ppt_w/2"/>
                                          </p:val>
                                        </p:tav>
                                        <p:tav tm="100000">
                                          <p:val>
                                            <p:strVal val="#ppt_x"/>
                                          </p:val>
                                        </p:tav>
                                      </p:tavLst>
                                    </p:anim>
                                    <p:anim calcmode="lin" valueType="num">
                                      <p:cBhvr additive="base">
                                        <p:cTn id="12" dur="1000" fill="hold"/>
                                        <p:tgtEl>
                                          <p:spTgt spid="10"/>
                                        </p:tgtEl>
                                        <p:attrNameLst>
                                          <p:attrName>ppt_y</p:attrName>
                                        </p:attrNameLst>
                                      </p:cBhvr>
                                      <p:tavLst>
                                        <p:tav tm="0">
                                          <p:val>
                                            <p:strVal val="#ppt_y"/>
                                          </p:val>
                                        </p:tav>
                                        <p:tav tm="100000">
                                          <p:val>
                                            <p:strVal val="#ppt_y"/>
                                          </p:val>
                                        </p:tav>
                                      </p:tavLst>
                                    </p:anim>
                                  </p:childTnLst>
                                </p:cTn>
                              </p:par>
                              <p:par>
                                <p:cTn id="13" presetID="26" presetClass="emph" presetSubtype="0" dur="2000" repeatCount="indefinite" fill="hold" grpId="0" nodeType="withEffect">
                                  <p:stCondLst>
                                    <p:cond delay="0"/>
                                  </p:stCondLst>
                                  <p:childTnLst>
                                    <p:animEffect transition="out" filter="fade">
                                      <p:cBhvr>
                                        <p:cTn id="14" dur="2000" tmFilter="0, 0; .2, .5; .8, .5; 1, 0"/>
                                        <p:tgtEl>
                                          <p:spTgt spid="5"/>
                                        </p:tgtEl>
                                      </p:cBhvr>
                                    </p:animEffect>
                                    <p:animScale>
                                      <p:cBhvr>
                                        <p:cTn id="15" dur="1000" autoRev="1" fill="hold"/>
                                        <p:tgtEl>
                                          <p:spTgt spid="5"/>
                                        </p:tgtEl>
                                      </p:cBhvr>
                                      <p:by x="105000" y="105000"/>
                                    </p:animScale>
                                  </p:childTnLst>
                                </p:cTn>
                              </p:par>
                              <p:par>
                                <p:cTn id="16" presetID="26" presetClass="emph" presetSubtype="0" dur="2000" repeatCount="indefinite" fill="hold" grpId="0" nodeType="withEffect">
                                  <p:stCondLst>
                                    <p:cond delay="0"/>
                                  </p:stCondLst>
                                  <p:childTnLst>
                                    <p:animEffect transition="out" filter="fade">
                                      <p:cBhvr>
                                        <p:cTn id="17" dur="2000" tmFilter="0, 0; .2, .5; .8, .5; 1, 0"/>
                                        <p:tgtEl>
                                          <p:spTgt spid="22"/>
                                        </p:tgtEl>
                                      </p:cBhvr>
                                    </p:animEffect>
                                    <p:animScale>
                                      <p:cBhvr>
                                        <p:cTn id="18" dur="1000" autoRev="1" fill="hold"/>
                                        <p:tgtEl>
                                          <p:spTgt spid="22"/>
                                        </p:tgtEl>
                                      </p:cBhvr>
                                      <p:by x="105000" y="105000"/>
                                    </p:animScale>
                                  </p:childTnLst>
                                </p:cTn>
                              </p:par>
                              <p:par>
                                <p:cTn id="19" presetID="26" presetClass="emph" presetSubtype="0" dur="2000" repeatCount="indefinite" fill="hold" grpId="0" nodeType="withEffect">
                                  <p:stCondLst>
                                    <p:cond delay="0"/>
                                  </p:stCondLst>
                                  <p:childTnLst>
                                    <p:animEffect transition="out" filter="fade">
                                      <p:cBhvr>
                                        <p:cTn id="20" dur="2000" tmFilter="0, 0; .2, .5; .8, .5; 1, 0"/>
                                        <p:tgtEl>
                                          <p:spTgt spid="38"/>
                                        </p:tgtEl>
                                      </p:cBhvr>
                                    </p:animEffect>
                                    <p:animScale>
                                      <p:cBhvr>
                                        <p:cTn id="21" dur="1000" autoRev="1" fill="hold"/>
                                        <p:tgtEl>
                                          <p:spTgt spid="38"/>
                                        </p:tgtEl>
                                      </p:cBhvr>
                                      <p:by x="105000" y="105000"/>
                                    </p:animScale>
                                  </p:childTnLst>
                                </p:cTn>
                              </p:par>
                              <p:par>
                                <p:cTn id="22" presetID="26" presetClass="emph" presetSubtype="0" dur="2000" repeatCount="indefinite" fill="hold" grpId="0" nodeType="withEffect">
                                  <p:stCondLst>
                                    <p:cond delay="0"/>
                                  </p:stCondLst>
                                  <p:childTnLst>
                                    <p:animEffect transition="out" filter="fade">
                                      <p:cBhvr>
                                        <p:cTn id="23" dur="2000" tmFilter="0, 0; .2, .5; .8, .5; 1, 0"/>
                                        <p:tgtEl>
                                          <p:spTgt spid="203"/>
                                        </p:tgtEl>
                                      </p:cBhvr>
                                    </p:animEffect>
                                    <p:animScale>
                                      <p:cBhvr>
                                        <p:cTn id="24" dur="1000" autoRev="1" fill="hold"/>
                                        <p:tgtEl>
                                          <p:spTgt spid="203"/>
                                        </p:tgtEl>
                                      </p:cBhvr>
                                      <p:by x="105000" y="105000"/>
                                    </p:animScale>
                                  </p:childTnLst>
                                </p:cTn>
                              </p:par>
                              <p:par>
                                <p:cTn id="25" presetID="26" presetClass="emph" presetSubtype="0" dur="2000" repeatCount="indefinite" fill="hold" grpId="0" nodeType="withEffect">
                                  <p:stCondLst>
                                    <p:cond delay="0"/>
                                  </p:stCondLst>
                                  <p:childTnLst>
                                    <p:animEffect transition="out" filter="fade">
                                      <p:cBhvr>
                                        <p:cTn id="26" dur="2000" tmFilter="0, 0; .2, .5; .8, .5; 1, 0"/>
                                        <p:tgtEl>
                                          <p:spTgt spid="219"/>
                                        </p:tgtEl>
                                      </p:cBhvr>
                                    </p:animEffect>
                                    <p:animScale>
                                      <p:cBhvr>
                                        <p:cTn id="27" dur="1000" autoRev="1" fill="hold"/>
                                        <p:tgtEl>
                                          <p:spTgt spid="219"/>
                                        </p:tgtEl>
                                      </p:cBhvr>
                                      <p:by x="105000" y="105000"/>
                                    </p:animScale>
                                  </p:childTnLst>
                                </p:cTn>
                              </p:par>
                              <p:par>
                                <p:cTn id="28" presetID="26" presetClass="emph" presetSubtype="0" dur="2000" repeatCount="indefinite" fill="hold" grpId="0" nodeType="withEffect">
                                  <p:stCondLst>
                                    <p:cond delay="250"/>
                                  </p:stCondLst>
                                  <p:childTnLst>
                                    <p:animEffect transition="out" filter="fade">
                                      <p:cBhvr>
                                        <p:cTn id="29" dur="2000" tmFilter="0, 0; .2, .5; .8, .5; 1, 0"/>
                                        <p:tgtEl>
                                          <p:spTgt spid="6"/>
                                        </p:tgtEl>
                                      </p:cBhvr>
                                    </p:animEffect>
                                    <p:animScale>
                                      <p:cBhvr>
                                        <p:cTn id="30" dur="1000" autoRev="1" fill="hold"/>
                                        <p:tgtEl>
                                          <p:spTgt spid="6"/>
                                        </p:tgtEl>
                                      </p:cBhvr>
                                      <p:by x="105000" y="105000"/>
                                    </p:animScale>
                                  </p:childTnLst>
                                </p:cTn>
                              </p:par>
                              <p:par>
                                <p:cTn id="31" presetID="26" presetClass="emph" presetSubtype="0" dur="2000" repeatCount="indefinite" fill="hold" grpId="0" nodeType="withEffect">
                                  <p:stCondLst>
                                    <p:cond delay="250"/>
                                  </p:stCondLst>
                                  <p:childTnLst>
                                    <p:animEffect transition="out" filter="fade">
                                      <p:cBhvr>
                                        <p:cTn id="32" dur="2000" tmFilter="0, 0; .2, .5; .8, .5; 1, 0"/>
                                        <p:tgtEl>
                                          <p:spTgt spid="23"/>
                                        </p:tgtEl>
                                      </p:cBhvr>
                                    </p:animEffect>
                                    <p:animScale>
                                      <p:cBhvr>
                                        <p:cTn id="33" dur="1000" autoRev="1" fill="hold"/>
                                        <p:tgtEl>
                                          <p:spTgt spid="23"/>
                                        </p:tgtEl>
                                      </p:cBhvr>
                                      <p:by x="105000" y="105000"/>
                                    </p:animScale>
                                  </p:childTnLst>
                                </p:cTn>
                              </p:par>
                              <p:par>
                                <p:cTn id="34" presetID="26" presetClass="emph" presetSubtype="0" dur="2000" repeatCount="indefinite" fill="hold" grpId="0" nodeType="withEffect">
                                  <p:stCondLst>
                                    <p:cond delay="250"/>
                                  </p:stCondLst>
                                  <p:childTnLst>
                                    <p:animEffect transition="out" filter="fade">
                                      <p:cBhvr>
                                        <p:cTn id="35" dur="2000" tmFilter="0, 0; .2, .5; .8, .5; 1, 0"/>
                                        <p:tgtEl>
                                          <p:spTgt spid="39"/>
                                        </p:tgtEl>
                                      </p:cBhvr>
                                    </p:animEffect>
                                    <p:animScale>
                                      <p:cBhvr>
                                        <p:cTn id="36" dur="1000" autoRev="1" fill="hold"/>
                                        <p:tgtEl>
                                          <p:spTgt spid="39"/>
                                        </p:tgtEl>
                                      </p:cBhvr>
                                      <p:by x="105000" y="105000"/>
                                    </p:animScale>
                                  </p:childTnLst>
                                </p:cTn>
                              </p:par>
                              <p:par>
                                <p:cTn id="37" presetID="26" presetClass="emph" presetSubtype="0" dur="2000" repeatCount="indefinite" fill="hold" grpId="0" nodeType="withEffect">
                                  <p:stCondLst>
                                    <p:cond delay="250"/>
                                  </p:stCondLst>
                                  <p:childTnLst>
                                    <p:animEffect transition="out" filter="fade">
                                      <p:cBhvr>
                                        <p:cTn id="38" dur="2000" tmFilter="0, 0; .2, .5; .8, .5; 1, 0"/>
                                        <p:tgtEl>
                                          <p:spTgt spid="55"/>
                                        </p:tgtEl>
                                      </p:cBhvr>
                                    </p:animEffect>
                                    <p:animScale>
                                      <p:cBhvr>
                                        <p:cTn id="39" dur="1000" autoRev="1" fill="hold"/>
                                        <p:tgtEl>
                                          <p:spTgt spid="55"/>
                                        </p:tgtEl>
                                      </p:cBhvr>
                                      <p:by x="105000" y="105000"/>
                                    </p:animScale>
                                  </p:childTnLst>
                                </p:cTn>
                              </p:par>
                              <p:par>
                                <p:cTn id="40" presetID="26" presetClass="emph" presetSubtype="0" dur="2000" repeatCount="indefinite" fill="hold" grpId="0" nodeType="withEffect">
                                  <p:stCondLst>
                                    <p:cond delay="250"/>
                                  </p:stCondLst>
                                  <p:childTnLst>
                                    <p:animEffect transition="out" filter="fade">
                                      <p:cBhvr>
                                        <p:cTn id="41" dur="2000" tmFilter="0, 0; .2, .5; .8, .5; 1, 0"/>
                                        <p:tgtEl>
                                          <p:spTgt spid="187"/>
                                        </p:tgtEl>
                                      </p:cBhvr>
                                    </p:animEffect>
                                    <p:animScale>
                                      <p:cBhvr>
                                        <p:cTn id="42" dur="1000" autoRev="1" fill="hold"/>
                                        <p:tgtEl>
                                          <p:spTgt spid="187"/>
                                        </p:tgtEl>
                                      </p:cBhvr>
                                      <p:by x="105000" y="105000"/>
                                    </p:animScale>
                                  </p:childTnLst>
                                </p:cTn>
                              </p:par>
                              <p:par>
                                <p:cTn id="43" presetID="26" presetClass="emph" presetSubtype="0" dur="2000" repeatCount="indefinite" fill="hold" grpId="0" nodeType="withEffect">
                                  <p:stCondLst>
                                    <p:cond delay="250"/>
                                  </p:stCondLst>
                                  <p:childTnLst>
                                    <p:animEffect transition="out" filter="fade">
                                      <p:cBhvr>
                                        <p:cTn id="44" dur="2000" tmFilter="0, 0; .2, .5; .8, .5; 1, 0"/>
                                        <p:tgtEl>
                                          <p:spTgt spid="204"/>
                                        </p:tgtEl>
                                      </p:cBhvr>
                                    </p:animEffect>
                                    <p:animScale>
                                      <p:cBhvr>
                                        <p:cTn id="45" dur="1000" autoRev="1" fill="hold"/>
                                        <p:tgtEl>
                                          <p:spTgt spid="204"/>
                                        </p:tgtEl>
                                      </p:cBhvr>
                                      <p:by x="105000" y="105000"/>
                                    </p:animScale>
                                  </p:childTnLst>
                                </p:cTn>
                              </p:par>
                              <p:par>
                                <p:cTn id="46" presetID="26" presetClass="emph" presetSubtype="0" dur="2000" repeatCount="indefinite" fill="hold" grpId="0" nodeType="withEffect">
                                  <p:stCondLst>
                                    <p:cond delay="250"/>
                                  </p:stCondLst>
                                  <p:childTnLst>
                                    <p:animEffect transition="out" filter="fade">
                                      <p:cBhvr>
                                        <p:cTn id="47" dur="2000" tmFilter="0, 0; .2, .5; .8, .5; 1, 0"/>
                                        <p:tgtEl>
                                          <p:spTgt spid="220"/>
                                        </p:tgtEl>
                                      </p:cBhvr>
                                    </p:animEffect>
                                    <p:animScale>
                                      <p:cBhvr>
                                        <p:cTn id="48" dur="1000" autoRev="1" fill="hold"/>
                                        <p:tgtEl>
                                          <p:spTgt spid="220"/>
                                        </p:tgtEl>
                                      </p:cBhvr>
                                      <p:by x="105000" y="105000"/>
                                    </p:animScale>
                                  </p:childTnLst>
                                </p:cTn>
                              </p:par>
                              <p:par>
                                <p:cTn id="49" presetID="26" presetClass="emph" presetSubtype="0" dur="2000" repeatCount="indefinite" fill="hold" grpId="0" nodeType="withEffect">
                                  <p:stCondLst>
                                    <p:cond delay="500"/>
                                  </p:stCondLst>
                                  <p:childTnLst>
                                    <p:animEffect transition="out" filter="fade">
                                      <p:cBhvr>
                                        <p:cTn id="50" dur="2000" tmFilter="0, 0; .2, .5; .8, .5; 1, 0"/>
                                        <p:tgtEl>
                                          <p:spTgt spid="7"/>
                                        </p:tgtEl>
                                      </p:cBhvr>
                                    </p:animEffect>
                                    <p:animScale>
                                      <p:cBhvr>
                                        <p:cTn id="51" dur="1000" autoRev="1" fill="hold"/>
                                        <p:tgtEl>
                                          <p:spTgt spid="7"/>
                                        </p:tgtEl>
                                      </p:cBhvr>
                                      <p:by x="105000" y="105000"/>
                                    </p:animScale>
                                  </p:childTnLst>
                                </p:cTn>
                              </p:par>
                              <p:par>
                                <p:cTn id="52" presetID="26" presetClass="emph" presetSubtype="0" dur="2000" repeatCount="indefinite" fill="hold" grpId="0" nodeType="withEffect">
                                  <p:stCondLst>
                                    <p:cond delay="500"/>
                                  </p:stCondLst>
                                  <p:childTnLst>
                                    <p:animEffect transition="out" filter="fade">
                                      <p:cBhvr>
                                        <p:cTn id="53" dur="2000" tmFilter="0, 0; .2, .5; .8, .5; 1, 0"/>
                                        <p:tgtEl>
                                          <p:spTgt spid="24"/>
                                        </p:tgtEl>
                                      </p:cBhvr>
                                    </p:animEffect>
                                    <p:animScale>
                                      <p:cBhvr>
                                        <p:cTn id="54" dur="1000" autoRev="1" fill="hold"/>
                                        <p:tgtEl>
                                          <p:spTgt spid="24"/>
                                        </p:tgtEl>
                                      </p:cBhvr>
                                      <p:by x="105000" y="105000"/>
                                    </p:animScale>
                                  </p:childTnLst>
                                </p:cTn>
                              </p:par>
                              <p:par>
                                <p:cTn id="55" presetID="26" presetClass="emph" presetSubtype="0" dur="2000" repeatCount="indefinite" fill="hold" grpId="0" nodeType="withEffect">
                                  <p:stCondLst>
                                    <p:cond delay="500"/>
                                  </p:stCondLst>
                                  <p:childTnLst>
                                    <p:animEffect transition="out" filter="fade">
                                      <p:cBhvr>
                                        <p:cTn id="56" dur="2000" tmFilter="0, 0; .2, .5; .8, .5; 1, 0"/>
                                        <p:tgtEl>
                                          <p:spTgt spid="40"/>
                                        </p:tgtEl>
                                      </p:cBhvr>
                                    </p:animEffect>
                                    <p:animScale>
                                      <p:cBhvr>
                                        <p:cTn id="57" dur="1000" autoRev="1" fill="hold"/>
                                        <p:tgtEl>
                                          <p:spTgt spid="40"/>
                                        </p:tgtEl>
                                      </p:cBhvr>
                                      <p:by x="105000" y="105000"/>
                                    </p:animScale>
                                  </p:childTnLst>
                                </p:cTn>
                              </p:par>
                              <p:par>
                                <p:cTn id="58" presetID="26" presetClass="emph" presetSubtype="0" dur="2000" repeatCount="indefinite" fill="hold" grpId="0" nodeType="withEffect">
                                  <p:stCondLst>
                                    <p:cond delay="500"/>
                                  </p:stCondLst>
                                  <p:childTnLst>
                                    <p:animEffect transition="out" filter="fade">
                                      <p:cBhvr>
                                        <p:cTn id="59" dur="2000" tmFilter="0, 0; .2, .5; .8, .5; 1, 0"/>
                                        <p:tgtEl>
                                          <p:spTgt spid="56"/>
                                        </p:tgtEl>
                                      </p:cBhvr>
                                    </p:animEffect>
                                    <p:animScale>
                                      <p:cBhvr>
                                        <p:cTn id="60" dur="1000" autoRev="1" fill="hold"/>
                                        <p:tgtEl>
                                          <p:spTgt spid="56"/>
                                        </p:tgtEl>
                                      </p:cBhvr>
                                      <p:by x="105000" y="105000"/>
                                    </p:animScale>
                                  </p:childTnLst>
                                </p:cTn>
                              </p:par>
                              <p:par>
                                <p:cTn id="61" presetID="26" presetClass="emph" presetSubtype="0" dur="2000" repeatCount="indefinite" fill="hold" grpId="0" nodeType="withEffect">
                                  <p:stCondLst>
                                    <p:cond delay="500"/>
                                  </p:stCondLst>
                                  <p:childTnLst>
                                    <p:animEffect transition="out" filter="fade">
                                      <p:cBhvr>
                                        <p:cTn id="62" dur="2000" tmFilter="0, 0; .2, .5; .8, .5; 1, 0"/>
                                        <p:tgtEl>
                                          <p:spTgt spid="72"/>
                                        </p:tgtEl>
                                      </p:cBhvr>
                                    </p:animEffect>
                                    <p:animScale>
                                      <p:cBhvr>
                                        <p:cTn id="63" dur="1000" autoRev="1" fill="hold"/>
                                        <p:tgtEl>
                                          <p:spTgt spid="72"/>
                                        </p:tgtEl>
                                      </p:cBhvr>
                                      <p:by x="105000" y="105000"/>
                                    </p:animScale>
                                  </p:childTnLst>
                                </p:cTn>
                              </p:par>
                              <p:par>
                                <p:cTn id="64" presetID="26" presetClass="emph" presetSubtype="0" dur="2000" repeatCount="indefinite" fill="hold" grpId="0" nodeType="withEffect">
                                  <p:stCondLst>
                                    <p:cond delay="500"/>
                                  </p:stCondLst>
                                  <p:childTnLst>
                                    <p:animEffect transition="out" filter="fade">
                                      <p:cBhvr>
                                        <p:cTn id="65" dur="2000" tmFilter="0, 0; .2, .5; .8, .5; 1, 0"/>
                                        <p:tgtEl>
                                          <p:spTgt spid="171"/>
                                        </p:tgtEl>
                                      </p:cBhvr>
                                    </p:animEffect>
                                    <p:animScale>
                                      <p:cBhvr>
                                        <p:cTn id="66" dur="1000" autoRev="1" fill="hold"/>
                                        <p:tgtEl>
                                          <p:spTgt spid="171"/>
                                        </p:tgtEl>
                                      </p:cBhvr>
                                      <p:by x="105000" y="105000"/>
                                    </p:animScale>
                                  </p:childTnLst>
                                </p:cTn>
                              </p:par>
                              <p:par>
                                <p:cTn id="67" presetID="26" presetClass="emph" presetSubtype="0" dur="2000" repeatCount="indefinite" fill="hold" grpId="0" nodeType="withEffect">
                                  <p:stCondLst>
                                    <p:cond delay="500"/>
                                  </p:stCondLst>
                                  <p:childTnLst>
                                    <p:animEffect transition="out" filter="fade">
                                      <p:cBhvr>
                                        <p:cTn id="68" dur="2000" tmFilter="0, 0; .2, .5; .8, .5; 1, 0"/>
                                        <p:tgtEl>
                                          <p:spTgt spid="188"/>
                                        </p:tgtEl>
                                      </p:cBhvr>
                                    </p:animEffect>
                                    <p:animScale>
                                      <p:cBhvr>
                                        <p:cTn id="69" dur="1000" autoRev="1" fill="hold"/>
                                        <p:tgtEl>
                                          <p:spTgt spid="188"/>
                                        </p:tgtEl>
                                      </p:cBhvr>
                                      <p:by x="105000" y="105000"/>
                                    </p:animScale>
                                  </p:childTnLst>
                                </p:cTn>
                              </p:par>
                              <p:par>
                                <p:cTn id="70" presetID="26" presetClass="emph" presetSubtype="0" dur="2000" repeatCount="indefinite" fill="hold" grpId="0" nodeType="withEffect">
                                  <p:stCondLst>
                                    <p:cond delay="500"/>
                                  </p:stCondLst>
                                  <p:childTnLst>
                                    <p:animEffect transition="out" filter="fade">
                                      <p:cBhvr>
                                        <p:cTn id="71" dur="2000" tmFilter="0, 0; .2, .5; .8, .5; 1, 0"/>
                                        <p:tgtEl>
                                          <p:spTgt spid="205"/>
                                        </p:tgtEl>
                                      </p:cBhvr>
                                    </p:animEffect>
                                    <p:animScale>
                                      <p:cBhvr>
                                        <p:cTn id="72" dur="1000" autoRev="1" fill="hold"/>
                                        <p:tgtEl>
                                          <p:spTgt spid="205"/>
                                        </p:tgtEl>
                                      </p:cBhvr>
                                      <p:by x="105000" y="105000"/>
                                    </p:animScale>
                                  </p:childTnLst>
                                </p:cTn>
                              </p:par>
                              <p:par>
                                <p:cTn id="73" presetID="26" presetClass="emph" presetSubtype="0" dur="2000" repeatCount="indefinite" fill="hold" grpId="0" nodeType="withEffect">
                                  <p:stCondLst>
                                    <p:cond delay="500"/>
                                  </p:stCondLst>
                                  <p:childTnLst>
                                    <p:animEffect transition="out" filter="fade">
                                      <p:cBhvr>
                                        <p:cTn id="74" dur="2000" tmFilter="0, 0; .2, .5; .8, .5; 1, 0"/>
                                        <p:tgtEl>
                                          <p:spTgt spid="221"/>
                                        </p:tgtEl>
                                      </p:cBhvr>
                                    </p:animEffect>
                                    <p:animScale>
                                      <p:cBhvr>
                                        <p:cTn id="75" dur="1000" autoRev="1" fill="hold"/>
                                        <p:tgtEl>
                                          <p:spTgt spid="221"/>
                                        </p:tgtEl>
                                      </p:cBhvr>
                                      <p:by x="105000" y="105000"/>
                                    </p:animScale>
                                  </p:childTnLst>
                                </p:cTn>
                              </p:par>
                              <p:par>
                                <p:cTn id="76" presetID="26" presetClass="emph" presetSubtype="0" dur="2000" repeatCount="indefinite" fill="hold" grpId="0" nodeType="withEffect">
                                  <p:stCondLst>
                                    <p:cond delay="750"/>
                                  </p:stCondLst>
                                  <p:childTnLst>
                                    <p:animEffect transition="out" filter="fade">
                                      <p:cBhvr>
                                        <p:cTn id="77" dur="2000" tmFilter="0, 0; .2, .5; .8, .5; 1, 0"/>
                                        <p:tgtEl>
                                          <p:spTgt spid="8"/>
                                        </p:tgtEl>
                                      </p:cBhvr>
                                    </p:animEffect>
                                    <p:animScale>
                                      <p:cBhvr>
                                        <p:cTn id="78" dur="1000" autoRev="1" fill="hold"/>
                                        <p:tgtEl>
                                          <p:spTgt spid="8"/>
                                        </p:tgtEl>
                                      </p:cBhvr>
                                      <p:by x="105000" y="105000"/>
                                    </p:animScale>
                                  </p:childTnLst>
                                </p:cTn>
                              </p:par>
                              <p:par>
                                <p:cTn id="79" presetID="26" presetClass="emph" presetSubtype="0" dur="2000" repeatCount="indefinite" fill="hold" grpId="0" nodeType="withEffect">
                                  <p:stCondLst>
                                    <p:cond delay="750"/>
                                  </p:stCondLst>
                                  <p:childTnLst>
                                    <p:animEffect transition="out" filter="fade">
                                      <p:cBhvr>
                                        <p:cTn id="80" dur="2000" tmFilter="0, 0; .2, .5; .8, .5; 1, 0"/>
                                        <p:tgtEl>
                                          <p:spTgt spid="25"/>
                                        </p:tgtEl>
                                      </p:cBhvr>
                                    </p:animEffect>
                                    <p:animScale>
                                      <p:cBhvr>
                                        <p:cTn id="81" dur="1000" autoRev="1" fill="hold"/>
                                        <p:tgtEl>
                                          <p:spTgt spid="25"/>
                                        </p:tgtEl>
                                      </p:cBhvr>
                                      <p:by x="105000" y="105000"/>
                                    </p:animScale>
                                  </p:childTnLst>
                                </p:cTn>
                              </p:par>
                              <p:par>
                                <p:cTn id="82" presetID="26" presetClass="emph" presetSubtype="0" dur="2000" repeatCount="indefinite" fill="hold" grpId="0" nodeType="withEffect">
                                  <p:stCondLst>
                                    <p:cond delay="750"/>
                                  </p:stCondLst>
                                  <p:childTnLst>
                                    <p:animEffect transition="out" filter="fade">
                                      <p:cBhvr>
                                        <p:cTn id="83" dur="2000" tmFilter="0, 0; .2, .5; .8, .5; 1, 0"/>
                                        <p:tgtEl>
                                          <p:spTgt spid="41"/>
                                        </p:tgtEl>
                                      </p:cBhvr>
                                    </p:animEffect>
                                    <p:animScale>
                                      <p:cBhvr>
                                        <p:cTn id="84" dur="1000" autoRev="1" fill="hold"/>
                                        <p:tgtEl>
                                          <p:spTgt spid="41"/>
                                        </p:tgtEl>
                                      </p:cBhvr>
                                      <p:by x="105000" y="105000"/>
                                    </p:animScale>
                                  </p:childTnLst>
                                </p:cTn>
                              </p:par>
                              <p:par>
                                <p:cTn id="85" presetID="26" presetClass="emph" presetSubtype="0" dur="2000" repeatCount="indefinite" fill="hold" grpId="0" nodeType="withEffect">
                                  <p:stCondLst>
                                    <p:cond delay="750"/>
                                  </p:stCondLst>
                                  <p:childTnLst>
                                    <p:animEffect transition="out" filter="fade">
                                      <p:cBhvr>
                                        <p:cTn id="86" dur="2000" tmFilter="0, 0; .2, .5; .8, .5; 1, 0"/>
                                        <p:tgtEl>
                                          <p:spTgt spid="57"/>
                                        </p:tgtEl>
                                      </p:cBhvr>
                                    </p:animEffect>
                                    <p:animScale>
                                      <p:cBhvr>
                                        <p:cTn id="87" dur="1000" autoRev="1" fill="hold"/>
                                        <p:tgtEl>
                                          <p:spTgt spid="57"/>
                                        </p:tgtEl>
                                      </p:cBhvr>
                                      <p:by x="105000" y="105000"/>
                                    </p:animScale>
                                  </p:childTnLst>
                                </p:cTn>
                              </p:par>
                              <p:par>
                                <p:cTn id="88" presetID="26" presetClass="emph" presetSubtype="0" dur="2000" repeatCount="indefinite" fill="hold" grpId="0" nodeType="withEffect">
                                  <p:stCondLst>
                                    <p:cond delay="750"/>
                                  </p:stCondLst>
                                  <p:childTnLst>
                                    <p:animEffect transition="out" filter="fade">
                                      <p:cBhvr>
                                        <p:cTn id="89" dur="2000" tmFilter="0, 0; .2, .5; .8, .5; 1, 0"/>
                                        <p:tgtEl>
                                          <p:spTgt spid="73"/>
                                        </p:tgtEl>
                                      </p:cBhvr>
                                    </p:animEffect>
                                    <p:animScale>
                                      <p:cBhvr>
                                        <p:cTn id="90" dur="1000" autoRev="1" fill="hold"/>
                                        <p:tgtEl>
                                          <p:spTgt spid="73"/>
                                        </p:tgtEl>
                                      </p:cBhvr>
                                      <p:by x="105000" y="105000"/>
                                    </p:animScale>
                                  </p:childTnLst>
                                </p:cTn>
                              </p:par>
                              <p:par>
                                <p:cTn id="91" presetID="26" presetClass="emph" presetSubtype="0" dur="2000" repeatCount="indefinite" fill="hold" grpId="0" nodeType="withEffect">
                                  <p:stCondLst>
                                    <p:cond delay="750"/>
                                  </p:stCondLst>
                                  <p:childTnLst>
                                    <p:animEffect transition="out" filter="fade">
                                      <p:cBhvr>
                                        <p:cTn id="92" dur="2000" tmFilter="0, 0; .2, .5; .8, .5; 1, 0"/>
                                        <p:tgtEl>
                                          <p:spTgt spid="89"/>
                                        </p:tgtEl>
                                      </p:cBhvr>
                                    </p:animEffect>
                                    <p:animScale>
                                      <p:cBhvr>
                                        <p:cTn id="93" dur="1000" autoRev="1" fill="hold"/>
                                        <p:tgtEl>
                                          <p:spTgt spid="89"/>
                                        </p:tgtEl>
                                      </p:cBhvr>
                                      <p:by x="105000" y="105000"/>
                                    </p:animScale>
                                  </p:childTnLst>
                                </p:cTn>
                              </p:par>
                              <p:par>
                                <p:cTn id="94" presetID="26" presetClass="emph" presetSubtype="0" dur="2000" repeatCount="indefinite" fill="hold" grpId="0" nodeType="withEffect">
                                  <p:stCondLst>
                                    <p:cond delay="750"/>
                                  </p:stCondLst>
                                  <p:childTnLst>
                                    <p:animEffect transition="out" filter="fade">
                                      <p:cBhvr>
                                        <p:cTn id="95" dur="2000" tmFilter="0, 0; .2, .5; .8, .5; 1, 0"/>
                                        <p:tgtEl>
                                          <p:spTgt spid="155"/>
                                        </p:tgtEl>
                                      </p:cBhvr>
                                    </p:animEffect>
                                    <p:animScale>
                                      <p:cBhvr>
                                        <p:cTn id="96" dur="1000" autoRev="1" fill="hold"/>
                                        <p:tgtEl>
                                          <p:spTgt spid="155"/>
                                        </p:tgtEl>
                                      </p:cBhvr>
                                      <p:by x="105000" y="105000"/>
                                    </p:animScale>
                                  </p:childTnLst>
                                </p:cTn>
                              </p:par>
                              <p:par>
                                <p:cTn id="97" presetID="26" presetClass="emph" presetSubtype="0" dur="2000" repeatCount="indefinite" fill="hold" grpId="0" nodeType="withEffect">
                                  <p:stCondLst>
                                    <p:cond delay="750"/>
                                  </p:stCondLst>
                                  <p:childTnLst>
                                    <p:animEffect transition="out" filter="fade">
                                      <p:cBhvr>
                                        <p:cTn id="98" dur="2000" tmFilter="0, 0; .2, .5; .8, .5; 1, 0"/>
                                        <p:tgtEl>
                                          <p:spTgt spid="172"/>
                                        </p:tgtEl>
                                      </p:cBhvr>
                                    </p:animEffect>
                                    <p:animScale>
                                      <p:cBhvr>
                                        <p:cTn id="99" dur="1000" autoRev="1" fill="hold"/>
                                        <p:tgtEl>
                                          <p:spTgt spid="172"/>
                                        </p:tgtEl>
                                      </p:cBhvr>
                                      <p:by x="105000" y="105000"/>
                                    </p:animScale>
                                  </p:childTnLst>
                                </p:cTn>
                              </p:par>
                              <p:par>
                                <p:cTn id="100" presetID="26" presetClass="emph" presetSubtype="0" dur="2000" repeatCount="indefinite" fill="hold" grpId="0" nodeType="withEffect">
                                  <p:stCondLst>
                                    <p:cond delay="750"/>
                                  </p:stCondLst>
                                  <p:childTnLst>
                                    <p:animEffect transition="out" filter="fade">
                                      <p:cBhvr>
                                        <p:cTn id="101" dur="2000" tmFilter="0, 0; .2, .5; .8, .5; 1, 0"/>
                                        <p:tgtEl>
                                          <p:spTgt spid="189"/>
                                        </p:tgtEl>
                                      </p:cBhvr>
                                    </p:animEffect>
                                    <p:animScale>
                                      <p:cBhvr>
                                        <p:cTn id="102" dur="1000" autoRev="1" fill="hold"/>
                                        <p:tgtEl>
                                          <p:spTgt spid="189"/>
                                        </p:tgtEl>
                                      </p:cBhvr>
                                      <p:by x="105000" y="105000"/>
                                    </p:animScale>
                                  </p:childTnLst>
                                </p:cTn>
                              </p:par>
                              <p:par>
                                <p:cTn id="103" presetID="26" presetClass="emph" presetSubtype="0" dur="2000" repeatCount="indefinite" fill="hold" grpId="0" nodeType="withEffect">
                                  <p:stCondLst>
                                    <p:cond delay="750"/>
                                  </p:stCondLst>
                                  <p:childTnLst>
                                    <p:animEffect transition="out" filter="fade">
                                      <p:cBhvr>
                                        <p:cTn id="104" dur="2000" tmFilter="0, 0; .2, .5; .8, .5; 1, 0"/>
                                        <p:tgtEl>
                                          <p:spTgt spid="206"/>
                                        </p:tgtEl>
                                      </p:cBhvr>
                                    </p:animEffect>
                                    <p:animScale>
                                      <p:cBhvr>
                                        <p:cTn id="105" dur="1000" autoRev="1" fill="hold"/>
                                        <p:tgtEl>
                                          <p:spTgt spid="206"/>
                                        </p:tgtEl>
                                      </p:cBhvr>
                                      <p:by x="105000" y="105000"/>
                                    </p:animScale>
                                  </p:childTnLst>
                                </p:cTn>
                              </p:par>
                              <p:par>
                                <p:cTn id="106" presetID="26" presetClass="emph" presetSubtype="0" dur="2000" repeatCount="indefinite" fill="hold" grpId="0" nodeType="withEffect">
                                  <p:stCondLst>
                                    <p:cond delay="750"/>
                                  </p:stCondLst>
                                  <p:childTnLst>
                                    <p:animEffect transition="out" filter="fade">
                                      <p:cBhvr>
                                        <p:cTn id="107" dur="2000" tmFilter="0, 0; .2, .5; .8, .5; 1, 0"/>
                                        <p:tgtEl>
                                          <p:spTgt spid="222"/>
                                        </p:tgtEl>
                                      </p:cBhvr>
                                    </p:animEffect>
                                    <p:animScale>
                                      <p:cBhvr>
                                        <p:cTn id="108" dur="1000" autoRev="1" fill="hold"/>
                                        <p:tgtEl>
                                          <p:spTgt spid="222"/>
                                        </p:tgtEl>
                                      </p:cBhvr>
                                      <p:by x="105000" y="105000"/>
                                    </p:animScale>
                                  </p:childTnLst>
                                </p:cTn>
                              </p:par>
                              <p:par>
                                <p:cTn id="109" presetID="26" presetClass="emph" presetSubtype="0" dur="2000" repeatCount="indefinite" fill="hold" grpId="0" nodeType="withEffect">
                                  <p:stCondLst>
                                    <p:cond delay="1000"/>
                                  </p:stCondLst>
                                  <p:childTnLst>
                                    <p:animEffect transition="out" filter="fade">
                                      <p:cBhvr>
                                        <p:cTn id="110" dur="2000" tmFilter="0, 0; .2, .5; .8, .5; 1, 0"/>
                                        <p:tgtEl>
                                          <p:spTgt spid="11"/>
                                        </p:tgtEl>
                                      </p:cBhvr>
                                    </p:animEffect>
                                    <p:animScale>
                                      <p:cBhvr>
                                        <p:cTn id="111" dur="1000" autoRev="1" fill="hold"/>
                                        <p:tgtEl>
                                          <p:spTgt spid="11"/>
                                        </p:tgtEl>
                                      </p:cBhvr>
                                      <p:by x="105000" y="105000"/>
                                    </p:animScale>
                                  </p:childTnLst>
                                </p:cTn>
                              </p:par>
                              <p:par>
                                <p:cTn id="112" presetID="26" presetClass="emph" presetSubtype="0" dur="2000" repeatCount="indefinite" fill="hold" grpId="0" nodeType="withEffect">
                                  <p:stCondLst>
                                    <p:cond delay="1000"/>
                                  </p:stCondLst>
                                  <p:childTnLst>
                                    <p:animEffect transition="out" filter="fade">
                                      <p:cBhvr>
                                        <p:cTn id="113" dur="2000" tmFilter="0, 0; .2, .5; .8, .5; 1, 0"/>
                                        <p:tgtEl>
                                          <p:spTgt spid="26"/>
                                        </p:tgtEl>
                                      </p:cBhvr>
                                    </p:animEffect>
                                    <p:animScale>
                                      <p:cBhvr>
                                        <p:cTn id="114" dur="1000" autoRev="1" fill="hold"/>
                                        <p:tgtEl>
                                          <p:spTgt spid="26"/>
                                        </p:tgtEl>
                                      </p:cBhvr>
                                      <p:by x="105000" y="105000"/>
                                    </p:animScale>
                                  </p:childTnLst>
                                </p:cTn>
                              </p:par>
                              <p:par>
                                <p:cTn id="115" presetID="26" presetClass="emph" presetSubtype="0" dur="2000" repeatCount="indefinite" fill="hold" grpId="0" nodeType="withEffect">
                                  <p:stCondLst>
                                    <p:cond delay="1000"/>
                                  </p:stCondLst>
                                  <p:childTnLst>
                                    <p:animEffect transition="out" filter="fade">
                                      <p:cBhvr>
                                        <p:cTn id="116" dur="2000" tmFilter="0, 0; .2, .5; .8, .5; 1, 0"/>
                                        <p:tgtEl>
                                          <p:spTgt spid="42"/>
                                        </p:tgtEl>
                                      </p:cBhvr>
                                    </p:animEffect>
                                    <p:animScale>
                                      <p:cBhvr>
                                        <p:cTn id="117" dur="1000" autoRev="1" fill="hold"/>
                                        <p:tgtEl>
                                          <p:spTgt spid="42"/>
                                        </p:tgtEl>
                                      </p:cBhvr>
                                      <p:by x="105000" y="105000"/>
                                    </p:animScale>
                                  </p:childTnLst>
                                </p:cTn>
                              </p:par>
                              <p:par>
                                <p:cTn id="118" presetID="26" presetClass="emph" presetSubtype="0" dur="2000" repeatCount="indefinite" fill="hold" grpId="0" nodeType="withEffect">
                                  <p:stCondLst>
                                    <p:cond delay="1000"/>
                                  </p:stCondLst>
                                  <p:childTnLst>
                                    <p:animEffect transition="out" filter="fade">
                                      <p:cBhvr>
                                        <p:cTn id="119" dur="2000" tmFilter="0, 0; .2, .5; .8, .5; 1, 0"/>
                                        <p:tgtEl>
                                          <p:spTgt spid="58"/>
                                        </p:tgtEl>
                                      </p:cBhvr>
                                    </p:animEffect>
                                    <p:animScale>
                                      <p:cBhvr>
                                        <p:cTn id="120" dur="1000" autoRev="1" fill="hold"/>
                                        <p:tgtEl>
                                          <p:spTgt spid="58"/>
                                        </p:tgtEl>
                                      </p:cBhvr>
                                      <p:by x="105000" y="105000"/>
                                    </p:animScale>
                                  </p:childTnLst>
                                </p:cTn>
                              </p:par>
                              <p:par>
                                <p:cTn id="121" presetID="26" presetClass="emph" presetSubtype="0" dur="2000" repeatCount="indefinite" fill="hold" grpId="0" nodeType="withEffect">
                                  <p:stCondLst>
                                    <p:cond delay="1000"/>
                                  </p:stCondLst>
                                  <p:childTnLst>
                                    <p:animEffect transition="out" filter="fade">
                                      <p:cBhvr>
                                        <p:cTn id="122" dur="2000" tmFilter="0, 0; .2, .5; .8, .5; 1, 0"/>
                                        <p:tgtEl>
                                          <p:spTgt spid="74"/>
                                        </p:tgtEl>
                                      </p:cBhvr>
                                    </p:animEffect>
                                    <p:animScale>
                                      <p:cBhvr>
                                        <p:cTn id="123" dur="1000" autoRev="1" fill="hold"/>
                                        <p:tgtEl>
                                          <p:spTgt spid="74"/>
                                        </p:tgtEl>
                                      </p:cBhvr>
                                      <p:by x="105000" y="105000"/>
                                    </p:animScale>
                                  </p:childTnLst>
                                </p:cTn>
                              </p:par>
                              <p:par>
                                <p:cTn id="124" presetID="26" presetClass="emph" presetSubtype="0" dur="2000" repeatCount="indefinite" fill="hold" grpId="0" nodeType="withEffect">
                                  <p:stCondLst>
                                    <p:cond delay="1000"/>
                                  </p:stCondLst>
                                  <p:childTnLst>
                                    <p:animEffect transition="out" filter="fade">
                                      <p:cBhvr>
                                        <p:cTn id="125" dur="2000" tmFilter="0, 0; .2, .5; .8, .5; 1, 0"/>
                                        <p:tgtEl>
                                          <p:spTgt spid="90"/>
                                        </p:tgtEl>
                                      </p:cBhvr>
                                    </p:animEffect>
                                    <p:animScale>
                                      <p:cBhvr>
                                        <p:cTn id="126" dur="1000" autoRev="1" fill="hold"/>
                                        <p:tgtEl>
                                          <p:spTgt spid="90"/>
                                        </p:tgtEl>
                                      </p:cBhvr>
                                      <p:by x="105000" y="105000"/>
                                    </p:animScale>
                                  </p:childTnLst>
                                </p:cTn>
                              </p:par>
                              <p:par>
                                <p:cTn id="127" presetID="26" presetClass="emph" presetSubtype="0" dur="2000" repeatCount="indefinite" fill="hold" grpId="0" nodeType="withEffect">
                                  <p:stCondLst>
                                    <p:cond delay="1000"/>
                                  </p:stCondLst>
                                  <p:childTnLst>
                                    <p:animEffect transition="out" filter="fade">
                                      <p:cBhvr>
                                        <p:cTn id="128" dur="2000" tmFilter="0, 0; .2, .5; .8, .5; 1, 0"/>
                                        <p:tgtEl>
                                          <p:spTgt spid="106"/>
                                        </p:tgtEl>
                                      </p:cBhvr>
                                    </p:animEffect>
                                    <p:animScale>
                                      <p:cBhvr>
                                        <p:cTn id="129" dur="1000" autoRev="1" fill="hold"/>
                                        <p:tgtEl>
                                          <p:spTgt spid="106"/>
                                        </p:tgtEl>
                                      </p:cBhvr>
                                      <p:by x="105000" y="105000"/>
                                    </p:animScale>
                                  </p:childTnLst>
                                </p:cTn>
                              </p:par>
                              <p:par>
                                <p:cTn id="130" presetID="26" presetClass="emph" presetSubtype="0" dur="2000" repeatCount="indefinite" fill="hold" grpId="0" nodeType="withEffect">
                                  <p:stCondLst>
                                    <p:cond delay="1000"/>
                                  </p:stCondLst>
                                  <p:childTnLst>
                                    <p:animEffect transition="out" filter="fade">
                                      <p:cBhvr>
                                        <p:cTn id="131" dur="2000" tmFilter="0, 0; .2, .5; .8, .5; 1, 0"/>
                                        <p:tgtEl>
                                          <p:spTgt spid="139"/>
                                        </p:tgtEl>
                                      </p:cBhvr>
                                    </p:animEffect>
                                    <p:animScale>
                                      <p:cBhvr>
                                        <p:cTn id="132" dur="1000" autoRev="1" fill="hold"/>
                                        <p:tgtEl>
                                          <p:spTgt spid="139"/>
                                        </p:tgtEl>
                                      </p:cBhvr>
                                      <p:by x="105000" y="105000"/>
                                    </p:animScale>
                                  </p:childTnLst>
                                </p:cTn>
                              </p:par>
                              <p:par>
                                <p:cTn id="133" presetID="26" presetClass="emph" presetSubtype="0" dur="2000" repeatCount="indefinite" fill="hold" grpId="0" nodeType="withEffect">
                                  <p:stCondLst>
                                    <p:cond delay="1000"/>
                                  </p:stCondLst>
                                  <p:childTnLst>
                                    <p:animEffect transition="out" filter="fade">
                                      <p:cBhvr>
                                        <p:cTn id="134" dur="2000" tmFilter="0, 0; .2, .5; .8, .5; 1, 0"/>
                                        <p:tgtEl>
                                          <p:spTgt spid="156"/>
                                        </p:tgtEl>
                                      </p:cBhvr>
                                    </p:animEffect>
                                    <p:animScale>
                                      <p:cBhvr>
                                        <p:cTn id="135" dur="1000" autoRev="1" fill="hold"/>
                                        <p:tgtEl>
                                          <p:spTgt spid="156"/>
                                        </p:tgtEl>
                                      </p:cBhvr>
                                      <p:by x="105000" y="105000"/>
                                    </p:animScale>
                                  </p:childTnLst>
                                </p:cTn>
                              </p:par>
                              <p:par>
                                <p:cTn id="136" presetID="26" presetClass="emph" presetSubtype="0" dur="2000" repeatCount="indefinite" fill="hold" grpId="0" nodeType="withEffect">
                                  <p:stCondLst>
                                    <p:cond delay="1000"/>
                                  </p:stCondLst>
                                  <p:childTnLst>
                                    <p:animEffect transition="out" filter="fade">
                                      <p:cBhvr>
                                        <p:cTn id="137" dur="2000" tmFilter="0, 0; .2, .5; .8, .5; 1, 0"/>
                                        <p:tgtEl>
                                          <p:spTgt spid="173"/>
                                        </p:tgtEl>
                                      </p:cBhvr>
                                    </p:animEffect>
                                    <p:animScale>
                                      <p:cBhvr>
                                        <p:cTn id="138" dur="1000" autoRev="1" fill="hold"/>
                                        <p:tgtEl>
                                          <p:spTgt spid="173"/>
                                        </p:tgtEl>
                                      </p:cBhvr>
                                      <p:by x="105000" y="105000"/>
                                    </p:animScale>
                                  </p:childTnLst>
                                </p:cTn>
                              </p:par>
                              <p:par>
                                <p:cTn id="139" presetID="26" presetClass="emph" presetSubtype="0" dur="2000" repeatCount="indefinite" fill="hold" grpId="0" nodeType="withEffect">
                                  <p:stCondLst>
                                    <p:cond delay="1000"/>
                                  </p:stCondLst>
                                  <p:childTnLst>
                                    <p:animEffect transition="out" filter="fade">
                                      <p:cBhvr>
                                        <p:cTn id="140" dur="2000" tmFilter="0, 0; .2, .5; .8, .5; 1, 0"/>
                                        <p:tgtEl>
                                          <p:spTgt spid="190"/>
                                        </p:tgtEl>
                                      </p:cBhvr>
                                    </p:animEffect>
                                    <p:animScale>
                                      <p:cBhvr>
                                        <p:cTn id="141" dur="1000" autoRev="1" fill="hold"/>
                                        <p:tgtEl>
                                          <p:spTgt spid="190"/>
                                        </p:tgtEl>
                                      </p:cBhvr>
                                      <p:by x="105000" y="105000"/>
                                    </p:animScale>
                                  </p:childTnLst>
                                </p:cTn>
                              </p:par>
                              <p:par>
                                <p:cTn id="142" presetID="26" presetClass="emph" presetSubtype="0" dur="2000" repeatCount="indefinite" fill="hold" grpId="0" nodeType="withEffect">
                                  <p:stCondLst>
                                    <p:cond delay="1000"/>
                                  </p:stCondLst>
                                  <p:childTnLst>
                                    <p:animEffect transition="out" filter="fade">
                                      <p:cBhvr>
                                        <p:cTn id="143" dur="2000" tmFilter="0, 0; .2, .5; .8, .5; 1, 0"/>
                                        <p:tgtEl>
                                          <p:spTgt spid="207"/>
                                        </p:tgtEl>
                                      </p:cBhvr>
                                    </p:animEffect>
                                    <p:animScale>
                                      <p:cBhvr>
                                        <p:cTn id="144" dur="1000" autoRev="1" fill="hold"/>
                                        <p:tgtEl>
                                          <p:spTgt spid="207"/>
                                        </p:tgtEl>
                                      </p:cBhvr>
                                      <p:by x="105000" y="105000"/>
                                    </p:animScale>
                                  </p:childTnLst>
                                </p:cTn>
                              </p:par>
                              <p:par>
                                <p:cTn id="145" presetID="26" presetClass="emph" presetSubtype="0" dur="2000" repeatCount="indefinite" fill="hold" grpId="0" nodeType="withEffect">
                                  <p:stCondLst>
                                    <p:cond delay="1000"/>
                                  </p:stCondLst>
                                  <p:childTnLst>
                                    <p:animEffect transition="out" filter="fade">
                                      <p:cBhvr>
                                        <p:cTn id="146" dur="2000" tmFilter="0, 0; .2, .5; .8, .5; 1, 0"/>
                                        <p:tgtEl>
                                          <p:spTgt spid="223"/>
                                        </p:tgtEl>
                                      </p:cBhvr>
                                    </p:animEffect>
                                    <p:animScale>
                                      <p:cBhvr>
                                        <p:cTn id="147" dur="1000" autoRev="1" fill="hold"/>
                                        <p:tgtEl>
                                          <p:spTgt spid="223"/>
                                        </p:tgtEl>
                                      </p:cBhvr>
                                      <p:by x="105000" y="105000"/>
                                    </p:animScale>
                                  </p:childTnLst>
                                </p:cTn>
                              </p:par>
                              <p:par>
                                <p:cTn id="148" presetID="26" presetClass="emph" presetSubtype="0" dur="2000" repeatCount="indefinite" fill="hold" grpId="0" nodeType="withEffect">
                                  <p:stCondLst>
                                    <p:cond delay="1250"/>
                                  </p:stCondLst>
                                  <p:childTnLst>
                                    <p:animEffect transition="out" filter="fade">
                                      <p:cBhvr>
                                        <p:cTn id="149" dur="2000" tmFilter="0, 0; .2, .5; .8, .5; 1, 0"/>
                                        <p:tgtEl>
                                          <p:spTgt spid="12"/>
                                        </p:tgtEl>
                                      </p:cBhvr>
                                    </p:animEffect>
                                    <p:animScale>
                                      <p:cBhvr>
                                        <p:cTn id="150" dur="1000" autoRev="1" fill="hold"/>
                                        <p:tgtEl>
                                          <p:spTgt spid="12"/>
                                        </p:tgtEl>
                                      </p:cBhvr>
                                      <p:by x="105000" y="105000"/>
                                    </p:animScale>
                                  </p:childTnLst>
                                </p:cTn>
                              </p:par>
                              <p:par>
                                <p:cTn id="151" presetID="26" presetClass="emph" presetSubtype="0" dur="2000" repeatCount="indefinite" fill="hold" grpId="0" nodeType="withEffect">
                                  <p:stCondLst>
                                    <p:cond delay="1250"/>
                                  </p:stCondLst>
                                  <p:childTnLst>
                                    <p:animEffect transition="out" filter="fade">
                                      <p:cBhvr>
                                        <p:cTn id="152" dur="2000" tmFilter="0, 0; .2, .5; .8, .5; 1, 0"/>
                                        <p:tgtEl>
                                          <p:spTgt spid="27"/>
                                        </p:tgtEl>
                                      </p:cBhvr>
                                    </p:animEffect>
                                    <p:animScale>
                                      <p:cBhvr>
                                        <p:cTn id="153" dur="1000" autoRev="1" fill="hold"/>
                                        <p:tgtEl>
                                          <p:spTgt spid="27"/>
                                        </p:tgtEl>
                                      </p:cBhvr>
                                      <p:by x="105000" y="105000"/>
                                    </p:animScale>
                                  </p:childTnLst>
                                </p:cTn>
                              </p:par>
                              <p:par>
                                <p:cTn id="154" presetID="26" presetClass="emph" presetSubtype="0" dur="2000" repeatCount="indefinite" fill="hold" grpId="0" nodeType="withEffect">
                                  <p:stCondLst>
                                    <p:cond delay="1250"/>
                                  </p:stCondLst>
                                  <p:childTnLst>
                                    <p:animEffect transition="out" filter="fade">
                                      <p:cBhvr>
                                        <p:cTn id="155" dur="2000" tmFilter="0, 0; .2, .5; .8, .5; 1, 0"/>
                                        <p:tgtEl>
                                          <p:spTgt spid="43"/>
                                        </p:tgtEl>
                                      </p:cBhvr>
                                    </p:animEffect>
                                    <p:animScale>
                                      <p:cBhvr>
                                        <p:cTn id="156" dur="1000" autoRev="1" fill="hold"/>
                                        <p:tgtEl>
                                          <p:spTgt spid="43"/>
                                        </p:tgtEl>
                                      </p:cBhvr>
                                      <p:by x="105000" y="105000"/>
                                    </p:animScale>
                                  </p:childTnLst>
                                </p:cTn>
                              </p:par>
                              <p:par>
                                <p:cTn id="157" presetID="26" presetClass="emph" presetSubtype="0" dur="2000" repeatCount="indefinite" fill="hold" grpId="0" nodeType="withEffect">
                                  <p:stCondLst>
                                    <p:cond delay="1250"/>
                                  </p:stCondLst>
                                  <p:childTnLst>
                                    <p:animEffect transition="out" filter="fade">
                                      <p:cBhvr>
                                        <p:cTn id="158" dur="2000" tmFilter="0, 0; .2, .5; .8, .5; 1, 0"/>
                                        <p:tgtEl>
                                          <p:spTgt spid="59"/>
                                        </p:tgtEl>
                                      </p:cBhvr>
                                    </p:animEffect>
                                    <p:animScale>
                                      <p:cBhvr>
                                        <p:cTn id="159" dur="1000" autoRev="1" fill="hold"/>
                                        <p:tgtEl>
                                          <p:spTgt spid="59"/>
                                        </p:tgtEl>
                                      </p:cBhvr>
                                      <p:by x="105000" y="105000"/>
                                    </p:animScale>
                                  </p:childTnLst>
                                </p:cTn>
                              </p:par>
                              <p:par>
                                <p:cTn id="160" presetID="26" presetClass="emph" presetSubtype="0" dur="2000" repeatCount="indefinite" fill="hold" grpId="0" nodeType="withEffect">
                                  <p:stCondLst>
                                    <p:cond delay="1250"/>
                                  </p:stCondLst>
                                  <p:childTnLst>
                                    <p:animEffect transition="out" filter="fade">
                                      <p:cBhvr>
                                        <p:cTn id="161" dur="2000" tmFilter="0, 0; .2, .5; .8, .5; 1, 0"/>
                                        <p:tgtEl>
                                          <p:spTgt spid="75"/>
                                        </p:tgtEl>
                                      </p:cBhvr>
                                    </p:animEffect>
                                    <p:animScale>
                                      <p:cBhvr>
                                        <p:cTn id="162" dur="1000" autoRev="1" fill="hold"/>
                                        <p:tgtEl>
                                          <p:spTgt spid="75"/>
                                        </p:tgtEl>
                                      </p:cBhvr>
                                      <p:by x="105000" y="105000"/>
                                    </p:animScale>
                                  </p:childTnLst>
                                </p:cTn>
                              </p:par>
                              <p:par>
                                <p:cTn id="163" presetID="26" presetClass="emph" presetSubtype="0" dur="2000" repeatCount="indefinite" fill="hold" grpId="0" nodeType="withEffect">
                                  <p:stCondLst>
                                    <p:cond delay="1250"/>
                                  </p:stCondLst>
                                  <p:childTnLst>
                                    <p:animEffect transition="out" filter="fade">
                                      <p:cBhvr>
                                        <p:cTn id="164" dur="2000" tmFilter="0, 0; .2, .5; .8, .5; 1, 0"/>
                                        <p:tgtEl>
                                          <p:spTgt spid="91"/>
                                        </p:tgtEl>
                                      </p:cBhvr>
                                    </p:animEffect>
                                    <p:animScale>
                                      <p:cBhvr>
                                        <p:cTn id="165" dur="1000" autoRev="1" fill="hold"/>
                                        <p:tgtEl>
                                          <p:spTgt spid="91"/>
                                        </p:tgtEl>
                                      </p:cBhvr>
                                      <p:by x="105000" y="105000"/>
                                    </p:animScale>
                                  </p:childTnLst>
                                </p:cTn>
                              </p:par>
                              <p:par>
                                <p:cTn id="166" presetID="26" presetClass="emph" presetSubtype="0" dur="2000" repeatCount="indefinite" fill="hold" grpId="0" nodeType="withEffect">
                                  <p:stCondLst>
                                    <p:cond delay="1250"/>
                                  </p:stCondLst>
                                  <p:childTnLst>
                                    <p:animEffect transition="out" filter="fade">
                                      <p:cBhvr>
                                        <p:cTn id="167" dur="2000" tmFilter="0, 0; .2, .5; .8, .5; 1, 0"/>
                                        <p:tgtEl>
                                          <p:spTgt spid="107"/>
                                        </p:tgtEl>
                                      </p:cBhvr>
                                    </p:animEffect>
                                    <p:animScale>
                                      <p:cBhvr>
                                        <p:cTn id="168" dur="1000" autoRev="1" fill="hold"/>
                                        <p:tgtEl>
                                          <p:spTgt spid="107"/>
                                        </p:tgtEl>
                                      </p:cBhvr>
                                      <p:by x="105000" y="105000"/>
                                    </p:animScale>
                                  </p:childTnLst>
                                </p:cTn>
                              </p:par>
                              <p:par>
                                <p:cTn id="169" presetID="26" presetClass="emph" presetSubtype="0" dur="2000" repeatCount="indefinite" fill="hold" grpId="0" nodeType="withEffect">
                                  <p:stCondLst>
                                    <p:cond delay="1250"/>
                                  </p:stCondLst>
                                  <p:childTnLst>
                                    <p:animEffect transition="out" filter="fade">
                                      <p:cBhvr>
                                        <p:cTn id="170" dur="2000" tmFilter="0, 0; .2, .5; .8, .5; 1, 0"/>
                                        <p:tgtEl>
                                          <p:spTgt spid="123"/>
                                        </p:tgtEl>
                                      </p:cBhvr>
                                    </p:animEffect>
                                    <p:animScale>
                                      <p:cBhvr>
                                        <p:cTn id="171" dur="1000" autoRev="1" fill="hold"/>
                                        <p:tgtEl>
                                          <p:spTgt spid="123"/>
                                        </p:tgtEl>
                                      </p:cBhvr>
                                      <p:by x="105000" y="105000"/>
                                    </p:animScale>
                                  </p:childTnLst>
                                </p:cTn>
                              </p:par>
                              <p:par>
                                <p:cTn id="172" presetID="26" presetClass="emph" presetSubtype="0" dur="2000" repeatCount="indefinite" fill="hold" grpId="0" nodeType="withEffect">
                                  <p:stCondLst>
                                    <p:cond delay="1250"/>
                                  </p:stCondLst>
                                  <p:childTnLst>
                                    <p:animEffect transition="out" filter="fade">
                                      <p:cBhvr>
                                        <p:cTn id="173" dur="2000" tmFilter="0, 0; .2, .5; .8, .5; 1, 0"/>
                                        <p:tgtEl>
                                          <p:spTgt spid="140"/>
                                        </p:tgtEl>
                                      </p:cBhvr>
                                    </p:animEffect>
                                    <p:animScale>
                                      <p:cBhvr>
                                        <p:cTn id="174" dur="1000" autoRev="1" fill="hold"/>
                                        <p:tgtEl>
                                          <p:spTgt spid="140"/>
                                        </p:tgtEl>
                                      </p:cBhvr>
                                      <p:by x="105000" y="105000"/>
                                    </p:animScale>
                                  </p:childTnLst>
                                </p:cTn>
                              </p:par>
                              <p:par>
                                <p:cTn id="175" presetID="26" presetClass="emph" presetSubtype="0" dur="2000" repeatCount="indefinite" fill="hold" grpId="0" nodeType="withEffect">
                                  <p:stCondLst>
                                    <p:cond delay="1250"/>
                                  </p:stCondLst>
                                  <p:childTnLst>
                                    <p:animEffect transition="out" filter="fade">
                                      <p:cBhvr>
                                        <p:cTn id="176" dur="2000" tmFilter="0, 0; .2, .5; .8, .5; 1, 0"/>
                                        <p:tgtEl>
                                          <p:spTgt spid="157"/>
                                        </p:tgtEl>
                                      </p:cBhvr>
                                    </p:animEffect>
                                    <p:animScale>
                                      <p:cBhvr>
                                        <p:cTn id="177" dur="1000" autoRev="1" fill="hold"/>
                                        <p:tgtEl>
                                          <p:spTgt spid="157"/>
                                        </p:tgtEl>
                                      </p:cBhvr>
                                      <p:by x="105000" y="105000"/>
                                    </p:animScale>
                                  </p:childTnLst>
                                </p:cTn>
                              </p:par>
                              <p:par>
                                <p:cTn id="178" presetID="26" presetClass="emph" presetSubtype="0" dur="2000" repeatCount="indefinite" fill="hold" grpId="0" nodeType="withEffect">
                                  <p:stCondLst>
                                    <p:cond delay="1250"/>
                                  </p:stCondLst>
                                  <p:childTnLst>
                                    <p:animEffect transition="out" filter="fade">
                                      <p:cBhvr>
                                        <p:cTn id="179" dur="2000" tmFilter="0, 0; .2, .5; .8, .5; 1, 0"/>
                                        <p:tgtEl>
                                          <p:spTgt spid="174"/>
                                        </p:tgtEl>
                                      </p:cBhvr>
                                    </p:animEffect>
                                    <p:animScale>
                                      <p:cBhvr>
                                        <p:cTn id="180" dur="1000" autoRev="1" fill="hold"/>
                                        <p:tgtEl>
                                          <p:spTgt spid="174"/>
                                        </p:tgtEl>
                                      </p:cBhvr>
                                      <p:by x="105000" y="105000"/>
                                    </p:animScale>
                                  </p:childTnLst>
                                </p:cTn>
                              </p:par>
                              <p:par>
                                <p:cTn id="181" presetID="26" presetClass="emph" presetSubtype="0" dur="2000" repeatCount="indefinite" fill="hold" grpId="0" nodeType="withEffect">
                                  <p:stCondLst>
                                    <p:cond delay="1250"/>
                                  </p:stCondLst>
                                  <p:childTnLst>
                                    <p:animEffect transition="out" filter="fade">
                                      <p:cBhvr>
                                        <p:cTn id="182" dur="2000" tmFilter="0, 0; .2, .5; .8, .5; 1, 0"/>
                                        <p:tgtEl>
                                          <p:spTgt spid="191"/>
                                        </p:tgtEl>
                                      </p:cBhvr>
                                    </p:animEffect>
                                    <p:animScale>
                                      <p:cBhvr>
                                        <p:cTn id="183" dur="1000" autoRev="1" fill="hold"/>
                                        <p:tgtEl>
                                          <p:spTgt spid="191"/>
                                        </p:tgtEl>
                                      </p:cBhvr>
                                      <p:by x="105000" y="105000"/>
                                    </p:animScale>
                                  </p:childTnLst>
                                </p:cTn>
                              </p:par>
                              <p:par>
                                <p:cTn id="184" presetID="26" presetClass="emph" presetSubtype="0" dur="2000" repeatCount="indefinite" fill="hold" grpId="0" nodeType="withEffect">
                                  <p:stCondLst>
                                    <p:cond delay="1250"/>
                                  </p:stCondLst>
                                  <p:childTnLst>
                                    <p:animEffect transition="out" filter="fade">
                                      <p:cBhvr>
                                        <p:cTn id="185" dur="2000" tmFilter="0, 0; .2, .5; .8, .5; 1, 0"/>
                                        <p:tgtEl>
                                          <p:spTgt spid="208"/>
                                        </p:tgtEl>
                                      </p:cBhvr>
                                    </p:animEffect>
                                    <p:animScale>
                                      <p:cBhvr>
                                        <p:cTn id="186" dur="1000" autoRev="1" fill="hold"/>
                                        <p:tgtEl>
                                          <p:spTgt spid="208"/>
                                        </p:tgtEl>
                                      </p:cBhvr>
                                      <p:by x="105000" y="105000"/>
                                    </p:animScale>
                                  </p:childTnLst>
                                </p:cTn>
                              </p:par>
                              <p:par>
                                <p:cTn id="187" presetID="26" presetClass="emph" presetSubtype="0" dur="2000" repeatCount="indefinite" fill="hold" grpId="0" nodeType="withEffect">
                                  <p:stCondLst>
                                    <p:cond delay="1250"/>
                                  </p:stCondLst>
                                  <p:childTnLst>
                                    <p:animEffect transition="out" filter="fade">
                                      <p:cBhvr>
                                        <p:cTn id="188" dur="2000" tmFilter="0, 0; .2, .5; .8, .5; 1, 0"/>
                                        <p:tgtEl>
                                          <p:spTgt spid="224"/>
                                        </p:tgtEl>
                                      </p:cBhvr>
                                    </p:animEffect>
                                    <p:animScale>
                                      <p:cBhvr>
                                        <p:cTn id="189" dur="1000" autoRev="1" fill="hold"/>
                                        <p:tgtEl>
                                          <p:spTgt spid="224"/>
                                        </p:tgtEl>
                                      </p:cBhvr>
                                      <p:by x="105000" y="105000"/>
                                    </p:animScale>
                                  </p:childTnLst>
                                </p:cTn>
                              </p:par>
                              <p:par>
                                <p:cTn id="190" presetID="26" presetClass="emph" presetSubtype="0" dur="2000" repeatCount="indefinite" fill="hold" grpId="0" nodeType="withEffect">
                                  <p:stCondLst>
                                    <p:cond delay="1500"/>
                                  </p:stCondLst>
                                  <p:childTnLst>
                                    <p:animEffect transition="out" filter="fade">
                                      <p:cBhvr>
                                        <p:cTn id="191" dur="2000" tmFilter="0, 0; .2, .5; .8, .5; 1, 0"/>
                                        <p:tgtEl>
                                          <p:spTgt spid="13"/>
                                        </p:tgtEl>
                                      </p:cBhvr>
                                    </p:animEffect>
                                    <p:animScale>
                                      <p:cBhvr>
                                        <p:cTn id="192" dur="1000" autoRev="1" fill="hold"/>
                                        <p:tgtEl>
                                          <p:spTgt spid="13"/>
                                        </p:tgtEl>
                                      </p:cBhvr>
                                      <p:by x="105000" y="105000"/>
                                    </p:animScale>
                                  </p:childTnLst>
                                </p:cTn>
                              </p:par>
                              <p:par>
                                <p:cTn id="193" presetID="26" presetClass="emph" presetSubtype="0" dur="2000" repeatCount="indefinite" fill="hold" grpId="0" nodeType="withEffect">
                                  <p:stCondLst>
                                    <p:cond delay="1500"/>
                                  </p:stCondLst>
                                  <p:childTnLst>
                                    <p:animEffect transition="out" filter="fade">
                                      <p:cBhvr>
                                        <p:cTn id="194" dur="2000" tmFilter="0, 0; .2, .5; .8, .5; 1, 0"/>
                                        <p:tgtEl>
                                          <p:spTgt spid="28"/>
                                        </p:tgtEl>
                                      </p:cBhvr>
                                    </p:animEffect>
                                    <p:animScale>
                                      <p:cBhvr>
                                        <p:cTn id="195" dur="1000" autoRev="1" fill="hold"/>
                                        <p:tgtEl>
                                          <p:spTgt spid="28"/>
                                        </p:tgtEl>
                                      </p:cBhvr>
                                      <p:by x="105000" y="105000"/>
                                    </p:animScale>
                                  </p:childTnLst>
                                </p:cTn>
                              </p:par>
                              <p:par>
                                <p:cTn id="196" presetID="26" presetClass="emph" presetSubtype="0" dur="2000" repeatCount="indefinite" fill="hold" grpId="0" nodeType="withEffect">
                                  <p:stCondLst>
                                    <p:cond delay="1500"/>
                                  </p:stCondLst>
                                  <p:childTnLst>
                                    <p:animEffect transition="out" filter="fade">
                                      <p:cBhvr>
                                        <p:cTn id="197" dur="2000" tmFilter="0, 0; .2, .5; .8, .5; 1, 0"/>
                                        <p:tgtEl>
                                          <p:spTgt spid="44"/>
                                        </p:tgtEl>
                                      </p:cBhvr>
                                    </p:animEffect>
                                    <p:animScale>
                                      <p:cBhvr>
                                        <p:cTn id="198" dur="1000" autoRev="1" fill="hold"/>
                                        <p:tgtEl>
                                          <p:spTgt spid="44"/>
                                        </p:tgtEl>
                                      </p:cBhvr>
                                      <p:by x="105000" y="105000"/>
                                    </p:animScale>
                                  </p:childTnLst>
                                </p:cTn>
                              </p:par>
                              <p:par>
                                <p:cTn id="199" presetID="26" presetClass="emph" presetSubtype="0" dur="2000" repeatCount="indefinite" fill="hold" grpId="0" nodeType="withEffect">
                                  <p:stCondLst>
                                    <p:cond delay="1500"/>
                                  </p:stCondLst>
                                  <p:childTnLst>
                                    <p:animEffect transition="out" filter="fade">
                                      <p:cBhvr>
                                        <p:cTn id="200" dur="2000" tmFilter="0, 0; .2, .5; .8, .5; 1, 0"/>
                                        <p:tgtEl>
                                          <p:spTgt spid="60"/>
                                        </p:tgtEl>
                                      </p:cBhvr>
                                    </p:animEffect>
                                    <p:animScale>
                                      <p:cBhvr>
                                        <p:cTn id="201" dur="1000" autoRev="1" fill="hold"/>
                                        <p:tgtEl>
                                          <p:spTgt spid="60"/>
                                        </p:tgtEl>
                                      </p:cBhvr>
                                      <p:by x="105000" y="105000"/>
                                    </p:animScale>
                                  </p:childTnLst>
                                </p:cTn>
                              </p:par>
                              <p:par>
                                <p:cTn id="202" presetID="26" presetClass="emph" presetSubtype="0" dur="2000" repeatCount="indefinite" fill="hold" grpId="0" nodeType="withEffect">
                                  <p:stCondLst>
                                    <p:cond delay="1500"/>
                                  </p:stCondLst>
                                  <p:childTnLst>
                                    <p:animEffect transition="out" filter="fade">
                                      <p:cBhvr>
                                        <p:cTn id="203" dur="2000" tmFilter="0, 0; .2, .5; .8, .5; 1, 0"/>
                                        <p:tgtEl>
                                          <p:spTgt spid="76"/>
                                        </p:tgtEl>
                                      </p:cBhvr>
                                    </p:animEffect>
                                    <p:animScale>
                                      <p:cBhvr>
                                        <p:cTn id="204" dur="1000" autoRev="1" fill="hold"/>
                                        <p:tgtEl>
                                          <p:spTgt spid="76"/>
                                        </p:tgtEl>
                                      </p:cBhvr>
                                      <p:by x="105000" y="105000"/>
                                    </p:animScale>
                                  </p:childTnLst>
                                </p:cTn>
                              </p:par>
                              <p:par>
                                <p:cTn id="205" presetID="26" presetClass="emph" presetSubtype="0" dur="2000" repeatCount="indefinite" fill="hold" grpId="0" nodeType="withEffect">
                                  <p:stCondLst>
                                    <p:cond delay="1500"/>
                                  </p:stCondLst>
                                  <p:childTnLst>
                                    <p:animEffect transition="out" filter="fade">
                                      <p:cBhvr>
                                        <p:cTn id="206" dur="2000" tmFilter="0, 0; .2, .5; .8, .5; 1, 0"/>
                                        <p:tgtEl>
                                          <p:spTgt spid="92"/>
                                        </p:tgtEl>
                                      </p:cBhvr>
                                    </p:animEffect>
                                    <p:animScale>
                                      <p:cBhvr>
                                        <p:cTn id="207" dur="1000" autoRev="1" fill="hold"/>
                                        <p:tgtEl>
                                          <p:spTgt spid="92"/>
                                        </p:tgtEl>
                                      </p:cBhvr>
                                      <p:by x="105000" y="105000"/>
                                    </p:animScale>
                                  </p:childTnLst>
                                </p:cTn>
                              </p:par>
                              <p:par>
                                <p:cTn id="208" presetID="26" presetClass="emph" presetSubtype="0" dur="2000" repeatCount="indefinite" fill="hold" grpId="0" nodeType="withEffect">
                                  <p:stCondLst>
                                    <p:cond delay="1500"/>
                                  </p:stCondLst>
                                  <p:childTnLst>
                                    <p:animEffect transition="out" filter="fade">
                                      <p:cBhvr>
                                        <p:cTn id="209" dur="2000" tmFilter="0, 0; .2, .5; .8, .5; 1, 0"/>
                                        <p:tgtEl>
                                          <p:spTgt spid="108"/>
                                        </p:tgtEl>
                                      </p:cBhvr>
                                    </p:animEffect>
                                    <p:animScale>
                                      <p:cBhvr>
                                        <p:cTn id="210" dur="1000" autoRev="1" fill="hold"/>
                                        <p:tgtEl>
                                          <p:spTgt spid="108"/>
                                        </p:tgtEl>
                                      </p:cBhvr>
                                      <p:by x="105000" y="105000"/>
                                    </p:animScale>
                                  </p:childTnLst>
                                </p:cTn>
                              </p:par>
                              <p:par>
                                <p:cTn id="211" presetID="26" presetClass="emph" presetSubtype="0" dur="2000" repeatCount="indefinite" fill="hold" grpId="0" nodeType="withEffect">
                                  <p:stCondLst>
                                    <p:cond delay="1500"/>
                                  </p:stCondLst>
                                  <p:childTnLst>
                                    <p:animEffect transition="out" filter="fade">
                                      <p:cBhvr>
                                        <p:cTn id="212" dur="2000" tmFilter="0, 0; .2, .5; .8, .5; 1, 0"/>
                                        <p:tgtEl>
                                          <p:spTgt spid="124"/>
                                        </p:tgtEl>
                                      </p:cBhvr>
                                    </p:animEffect>
                                    <p:animScale>
                                      <p:cBhvr>
                                        <p:cTn id="213" dur="1000" autoRev="1" fill="hold"/>
                                        <p:tgtEl>
                                          <p:spTgt spid="124"/>
                                        </p:tgtEl>
                                      </p:cBhvr>
                                      <p:by x="105000" y="105000"/>
                                    </p:animScale>
                                  </p:childTnLst>
                                </p:cTn>
                              </p:par>
                              <p:par>
                                <p:cTn id="214" presetID="26" presetClass="emph" presetSubtype="0" dur="2000" repeatCount="indefinite" fill="hold" grpId="0" nodeType="withEffect">
                                  <p:stCondLst>
                                    <p:cond delay="1500"/>
                                  </p:stCondLst>
                                  <p:childTnLst>
                                    <p:animEffect transition="out" filter="fade">
                                      <p:cBhvr>
                                        <p:cTn id="215" dur="2000" tmFilter="0, 0; .2, .5; .8, .5; 1, 0"/>
                                        <p:tgtEl>
                                          <p:spTgt spid="141"/>
                                        </p:tgtEl>
                                      </p:cBhvr>
                                    </p:animEffect>
                                    <p:animScale>
                                      <p:cBhvr>
                                        <p:cTn id="216" dur="1000" autoRev="1" fill="hold"/>
                                        <p:tgtEl>
                                          <p:spTgt spid="141"/>
                                        </p:tgtEl>
                                      </p:cBhvr>
                                      <p:by x="105000" y="105000"/>
                                    </p:animScale>
                                  </p:childTnLst>
                                </p:cTn>
                              </p:par>
                              <p:par>
                                <p:cTn id="217" presetID="26" presetClass="emph" presetSubtype="0" dur="2000" repeatCount="indefinite" fill="hold" grpId="0" nodeType="withEffect">
                                  <p:stCondLst>
                                    <p:cond delay="1500"/>
                                  </p:stCondLst>
                                  <p:childTnLst>
                                    <p:animEffect transition="out" filter="fade">
                                      <p:cBhvr>
                                        <p:cTn id="218" dur="2000" tmFilter="0, 0; .2, .5; .8, .5; 1, 0"/>
                                        <p:tgtEl>
                                          <p:spTgt spid="158"/>
                                        </p:tgtEl>
                                      </p:cBhvr>
                                    </p:animEffect>
                                    <p:animScale>
                                      <p:cBhvr>
                                        <p:cTn id="219" dur="1000" autoRev="1" fill="hold"/>
                                        <p:tgtEl>
                                          <p:spTgt spid="158"/>
                                        </p:tgtEl>
                                      </p:cBhvr>
                                      <p:by x="105000" y="105000"/>
                                    </p:animScale>
                                  </p:childTnLst>
                                </p:cTn>
                              </p:par>
                              <p:par>
                                <p:cTn id="220" presetID="26" presetClass="emph" presetSubtype="0" dur="2000" repeatCount="indefinite" fill="hold" grpId="0" nodeType="withEffect">
                                  <p:stCondLst>
                                    <p:cond delay="1500"/>
                                  </p:stCondLst>
                                  <p:childTnLst>
                                    <p:animEffect transition="out" filter="fade">
                                      <p:cBhvr>
                                        <p:cTn id="221" dur="2000" tmFilter="0, 0; .2, .5; .8, .5; 1, 0"/>
                                        <p:tgtEl>
                                          <p:spTgt spid="175"/>
                                        </p:tgtEl>
                                      </p:cBhvr>
                                    </p:animEffect>
                                    <p:animScale>
                                      <p:cBhvr>
                                        <p:cTn id="222" dur="1000" autoRev="1" fill="hold"/>
                                        <p:tgtEl>
                                          <p:spTgt spid="175"/>
                                        </p:tgtEl>
                                      </p:cBhvr>
                                      <p:by x="105000" y="105000"/>
                                    </p:animScale>
                                  </p:childTnLst>
                                </p:cTn>
                              </p:par>
                              <p:par>
                                <p:cTn id="223" presetID="26" presetClass="emph" presetSubtype="0" dur="2000" repeatCount="indefinite" fill="hold" grpId="0" nodeType="withEffect">
                                  <p:stCondLst>
                                    <p:cond delay="1500"/>
                                  </p:stCondLst>
                                  <p:childTnLst>
                                    <p:animEffect transition="out" filter="fade">
                                      <p:cBhvr>
                                        <p:cTn id="224" dur="2000" tmFilter="0, 0; .2, .5; .8, .5; 1, 0"/>
                                        <p:tgtEl>
                                          <p:spTgt spid="192"/>
                                        </p:tgtEl>
                                      </p:cBhvr>
                                    </p:animEffect>
                                    <p:animScale>
                                      <p:cBhvr>
                                        <p:cTn id="225" dur="1000" autoRev="1" fill="hold"/>
                                        <p:tgtEl>
                                          <p:spTgt spid="192"/>
                                        </p:tgtEl>
                                      </p:cBhvr>
                                      <p:by x="105000" y="105000"/>
                                    </p:animScale>
                                  </p:childTnLst>
                                </p:cTn>
                              </p:par>
                              <p:par>
                                <p:cTn id="226" presetID="26" presetClass="emph" presetSubtype="0" dur="2000" repeatCount="indefinite" fill="hold" grpId="0" nodeType="withEffect">
                                  <p:stCondLst>
                                    <p:cond delay="1500"/>
                                  </p:stCondLst>
                                  <p:childTnLst>
                                    <p:animEffect transition="out" filter="fade">
                                      <p:cBhvr>
                                        <p:cTn id="227" dur="2000" tmFilter="0, 0; .2, .5; .8, .5; 1, 0"/>
                                        <p:tgtEl>
                                          <p:spTgt spid="209"/>
                                        </p:tgtEl>
                                      </p:cBhvr>
                                    </p:animEffect>
                                    <p:animScale>
                                      <p:cBhvr>
                                        <p:cTn id="228" dur="1000" autoRev="1" fill="hold"/>
                                        <p:tgtEl>
                                          <p:spTgt spid="209"/>
                                        </p:tgtEl>
                                      </p:cBhvr>
                                      <p:by x="105000" y="105000"/>
                                    </p:animScale>
                                  </p:childTnLst>
                                </p:cTn>
                              </p:par>
                              <p:par>
                                <p:cTn id="229" presetID="26" presetClass="emph" presetSubtype="0" dur="2000" repeatCount="indefinite" fill="hold" grpId="0" nodeType="withEffect">
                                  <p:stCondLst>
                                    <p:cond delay="1500"/>
                                  </p:stCondLst>
                                  <p:childTnLst>
                                    <p:animEffect transition="out" filter="fade">
                                      <p:cBhvr>
                                        <p:cTn id="230" dur="2000" tmFilter="0, 0; .2, .5; .8, .5; 1, 0"/>
                                        <p:tgtEl>
                                          <p:spTgt spid="225"/>
                                        </p:tgtEl>
                                      </p:cBhvr>
                                    </p:animEffect>
                                    <p:animScale>
                                      <p:cBhvr>
                                        <p:cTn id="231" dur="1000" autoRev="1" fill="hold"/>
                                        <p:tgtEl>
                                          <p:spTgt spid="225"/>
                                        </p:tgtEl>
                                      </p:cBhvr>
                                      <p:by x="105000" y="105000"/>
                                    </p:animScale>
                                  </p:childTnLst>
                                </p:cTn>
                              </p:par>
                              <p:par>
                                <p:cTn id="232" presetID="26" presetClass="emph" presetSubtype="0" dur="2000" repeatCount="indefinite" fill="hold" grpId="0" nodeType="withEffect">
                                  <p:stCondLst>
                                    <p:cond delay="1750"/>
                                  </p:stCondLst>
                                  <p:childTnLst>
                                    <p:animEffect transition="out" filter="fade">
                                      <p:cBhvr>
                                        <p:cTn id="233" dur="2000" tmFilter="0, 0; .2, .5; .8, .5; 1, 0"/>
                                        <p:tgtEl>
                                          <p:spTgt spid="14"/>
                                        </p:tgtEl>
                                      </p:cBhvr>
                                    </p:animEffect>
                                    <p:animScale>
                                      <p:cBhvr>
                                        <p:cTn id="234" dur="1000" autoRev="1" fill="hold"/>
                                        <p:tgtEl>
                                          <p:spTgt spid="14"/>
                                        </p:tgtEl>
                                      </p:cBhvr>
                                      <p:by x="105000" y="105000"/>
                                    </p:animScale>
                                  </p:childTnLst>
                                </p:cTn>
                              </p:par>
                              <p:par>
                                <p:cTn id="235" presetID="26" presetClass="emph" presetSubtype="0" dur="2000" repeatCount="indefinite" fill="hold" grpId="0" nodeType="withEffect">
                                  <p:stCondLst>
                                    <p:cond delay="1750"/>
                                  </p:stCondLst>
                                  <p:childTnLst>
                                    <p:animEffect transition="out" filter="fade">
                                      <p:cBhvr>
                                        <p:cTn id="236" dur="2000" tmFilter="0, 0; .2, .5; .8, .5; 1, 0"/>
                                        <p:tgtEl>
                                          <p:spTgt spid="29"/>
                                        </p:tgtEl>
                                      </p:cBhvr>
                                    </p:animEffect>
                                    <p:animScale>
                                      <p:cBhvr>
                                        <p:cTn id="237" dur="1000" autoRev="1" fill="hold"/>
                                        <p:tgtEl>
                                          <p:spTgt spid="29"/>
                                        </p:tgtEl>
                                      </p:cBhvr>
                                      <p:by x="105000" y="105000"/>
                                    </p:animScale>
                                  </p:childTnLst>
                                </p:cTn>
                              </p:par>
                              <p:par>
                                <p:cTn id="238" presetID="26" presetClass="emph" presetSubtype="0" dur="2000" repeatCount="indefinite" fill="hold" grpId="0" nodeType="withEffect">
                                  <p:stCondLst>
                                    <p:cond delay="1750"/>
                                  </p:stCondLst>
                                  <p:childTnLst>
                                    <p:animEffect transition="out" filter="fade">
                                      <p:cBhvr>
                                        <p:cTn id="239" dur="2000" tmFilter="0, 0; .2, .5; .8, .5; 1, 0"/>
                                        <p:tgtEl>
                                          <p:spTgt spid="45"/>
                                        </p:tgtEl>
                                      </p:cBhvr>
                                    </p:animEffect>
                                    <p:animScale>
                                      <p:cBhvr>
                                        <p:cTn id="240" dur="1000" autoRev="1" fill="hold"/>
                                        <p:tgtEl>
                                          <p:spTgt spid="45"/>
                                        </p:tgtEl>
                                      </p:cBhvr>
                                      <p:by x="105000" y="105000"/>
                                    </p:animScale>
                                  </p:childTnLst>
                                </p:cTn>
                              </p:par>
                              <p:par>
                                <p:cTn id="241" presetID="26" presetClass="emph" presetSubtype="0" dur="2000" repeatCount="indefinite" fill="hold" grpId="0" nodeType="withEffect">
                                  <p:stCondLst>
                                    <p:cond delay="1750"/>
                                  </p:stCondLst>
                                  <p:childTnLst>
                                    <p:animEffect transition="out" filter="fade">
                                      <p:cBhvr>
                                        <p:cTn id="242" dur="2000" tmFilter="0, 0; .2, .5; .8, .5; 1, 0"/>
                                        <p:tgtEl>
                                          <p:spTgt spid="61"/>
                                        </p:tgtEl>
                                      </p:cBhvr>
                                    </p:animEffect>
                                    <p:animScale>
                                      <p:cBhvr>
                                        <p:cTn id="243" dur="1000" autoRev="1" fill="hold"/>
                                        <p:tgtEl>
                                          <p:spTgt spid="61"/>
                                        </p:tgtEl>
                                      </p:cBhvr>
                                      <p:by x="105000" y="105000"/>
                                    </p:animScale>
                                  </p:childTnLst>
                                </p:cTn>
                              </p:par>
                              <p:par>
                                <p:cTn id="244" presetID="26" presetClass="emph" presetSubtype="0" dur="2000" repeatCount="indefinite" fill="hold" grpId="0" nodeType="withEffect">
                                  <p:stCondLst>
                                    <p:cond delay="1750"/>
                                  </p:stCondLst>
                                  <p:childTnLst>
                                    <p:animEffect transition="out" filter="fade">
                                      <p:cBhvr>
                                        <p:cTn id="245" dur="2000" tmFilter="0, 0; .2, .5; .8, .5; 1, 0"/>
                                        <p:tgtEl>
                                          <p:spTgt spid="77"/>
                                        </p:tgtEl>
                                      </p:cBhvr>
                                    </p:animEffect>
                                    <p:animScale>
                                      <p:cBhvr>
                                        <p:cTn id="246" dur="1000" autoRev="1" fill="hold"/>
                                        <p:tgtEl>
                                          <p:spTgt spid="77"/>
                                        </p:tgtEl>
                                      </p:cBhvr>
                                      <p:by x="105000" y="105000"/>
                                    </p:animScale>
                                  </p:childTnLst>
                                </p:cTn>
                              </p:par>
                              <p:par>
                                <p:cTn id="247" presetID="26" presetClass="emph" presetSubtype="0" dur="2000" repeatCount="indefinite" fill="hold" grpId="0" nodeType="withEffect">
                                  <p:stCondLst>
                                    <p:cond delay="1750"/>
                                  </p:stCondLst>
                                  <p:childTnLst>
                                    <p:animEffect transition="out" filter="fade">
                                      <p:cBhvr>
                                        <p:cTn id="248" dur="2000" tmFilter="0, 0; .2, .5; .8, .5; 1, 0"/>
                                        <p:tgtEl>
                                          <p:spTgt spid="93"/>
                                        </p:tgtEl>
                                      </p:cBhvr>
                                    </p:animEffect>
                                    <p:animScale>
                                      <p:cBhvr>
                                        <p:cTn id="249" dur="1000" autoRev="1" fill="hold"/>
                                        <p:tgtEl>
                                          <p:spTgt spid="93"/>
                                        </p:tgtEl>
                                      </p:cBhvr>
                                      <p:by x="105000" y="105000"/>
                                    </p:animScale>
                                  </p:childTnLst>
                                </p:cTn>
                              </p:par>
                              <p:par>
                                <p:cTn id="250" presetID="26" presetClass="emph" presetSubtype="0" dur="2000" repeatCount="indefinite" fill="hold" grpId="0" nodeType="withEffect">
                                  <p:stCondLst>
                                    <p:cond delay="1750"/>
                                  </p:stCondLst>
                                  <p:childTnLst>
                                    <p:animEffect transition="out" filter="fade">
                                      <p:cBhvr>
                                        <p:cTn id="251" dur="2000" tmFilter="0, 0; .2, .5; .8, .5; 1, 0"/>
                                        <p:tgtEl>
                                          <p:spTgt spid="109"/>
                                        </p:tgtEl>
                                      </p:cBhvr>
                                    </p:animEffect>
                                    <p:animScale>
                                      <p:cBhvr>
                                        <p:cTn id="252" dur="1000" autoRev="1" fill="hold"/>
                                        <p:tgtEl>
                                          <p:spTgt spid="109"/>
                                        </p:tgtEl>
                                      </p:cBhvr>
                                      <p:by x="105000" y="105000"/>
                                    </p:animScale>
                                  </p:childTnLst>
                                </p:cTn>
                              </p:par>
                              <p:par>
                                <p:cTn id="253" presetID="26" presetClass="emph" presetSubtype="0" dur="2000" repeatCount="indefinite" fill="hold" grpId="0" nodeType="withEffect">
                                  <p:stCondLst>
                                    <p:cond delay="1750"/>
                                  </p:stCondLst>
                                  <p:childTnLst>
                                    <p:animEffect transition="out" filter="fade">
                                      <p:cBhvr>
                                        <p:cTn id="254" dur="2000" tmFilter="0, 0; .2, .5; .8, .5; 1, 0"/>
                                        <p:tgtEl>
                                          <p:spTgt spid="125"/>
                                        </p:tgtEl>
                                      </p:cBhvr>
                                    </p:animEffect>
                                    <p:animScale>
                                      <p:cBhvr>
                                        <p:cTn id="255" dur="1000" autoRev="1" fill="hold"/>
                                        <p:tgtEl>
                                          <p:spTgt spid="125"/>
                                        </p:tgtEl>
                                      </p:cBhvr>
                                      <p:by x="105000" y="105000"/>
                                    </p:animScale>
                                  </p:childTnLst>
                                </p:cTn>
                              </p:par>
                              <p:par>
                                <p:cTn id="256" presetID="26" presetClass="emph" presetSubtype="0" dur="2000" repeatCount="indefinite" fill="hold" grpId="0" nodeType="withEffect">
                                  <p:stCondLst>
                                    <p:cond delay="1750"/>
                                  </p:stCondLst>
                                  <p:childTnLst>
                                    <p:animEffect transition="out" filter="fade">
                                      <p:cBhvr>
                                        <p:cTn id="257" dur="2000" tmFilter="0, 0; .2, .5; .8, .5; 1, 0"/>
                                        <p:tgtEl>
                                          <p:spTgt spid="142"/>
                                        </p:tgtEl>
                                      </p:cBhvr>
                                    </p:animEffect>
                                    <p:animScale>
                                      <p:cBhvr>
                                        <p:cTn id="258" dur="1000" autoRev="1" fill="hold"/>
                                        <p:tgtEl>
                                          <p:spTgt spid="142"/>
                                        </p:tgtEl>
                                      </p:cBhvr>
                                      <p:by x="105000" y="105000"/>
                                    </p:animScale>
                                  </p:childTnLst>
                                </p:cTn>
                              </p:par>
                              <p:par>
                                <p:cTn id="259" presetID="26" presetClass="emph" presetSubtype="0" dur="2000" repeatCount="indefinite" fill="hold" grpId="0" nodeType="withEffect">
                                  <p:stCondLst>
                                    <p:cond delay="1750"/>
                                  </p:stCondLst>
                                  <p:childTnLst>
                                    <p:animEffect transition="out" filter="fade">
                                      <p:cBhvr>
                                        <p:cTn id="260" dur="2000" tmFilter="0, 0; .2, .5; .8, .5; 1, 0"/>
                                        <p:tgtEl>
                                          <p:spTgt spid="159"/>
                                        </p:tgtEl>
                                      </p:cBhvr>
                                    </p:animEffect>
                                    <p:animScale>
                                      <p:cBhvr>
                                        <p:cTn id="261" dur="1000" autoRev="1" fill="hold"/>
                                        <p:tgtEl>
                                          <p:spTgt spid="159"/>
                                        </p:tgtEl>
                                      </p:cBhvr>
                                      <p:by x="105000" y="105000"/>
                                    </p:animScale>
                                  </p:childTnLst>
                                </p:cTn>
                              </p:par>
                              <p:par>
                                <p:cTn id="262" presetID="26" presetClass="emph" presetSubtype="0" dur="2000" repeatCount="indefinite" fill="hold" grpId="0" nodeType="withEffect">
                                  <p:stCondLst>
                                    <p:cond delay="1750"/>
                                  </p:stCondLst>
                                  <p:childTnLst>
                                    <p:animEffect transition="out" filter="fade">
                                      <p:cBhvr>
                                        <p:cTn id="263" dur="2000" tmFilter="0, 0; .2, .5; .8, .5; 1, 0"/>
                                        <p:tgtEl>
                                          <p:spTgt spid="176"/>
                                        </p:tgtEl>
                                      </p:cBhvr>
                                    </p:animEffect>
                                    <p:animScale>
                                      <p:cBhvr>
                                        <p:cTn id="264" dur="1000" autoRev="1" fill="hold"/>
                                        <p:tgtEl>
                                          <p:spTgt spid="176"/>
                                        </p:tgtEl>
                                      </p:cBhvr>
                                      <p:by x="105000" y="105000"/>
                                    </p:animScale>
                                  </p:childTnLst>
                                </p:cTn>
                              </p:par>
                              <p:par>
                                <p:cTn id="265" presetID="26" presetClass="emph" presetSubtype="0" dur="2000" repeatCount="indefinite" fill="hold" grpId="0" nodeType="withEffect">
                                  <p:stCondLst>
                                    <p:cond delay="1750"/>
                                  </p:stCondLst>
                                  <p:childTnLst>
                                    <p:animEffect transition="out" filter="fade">
                                      <p:cBhvr>
                                        <p:cTn id="266" dur="2000" tmFilter="0, 0; .2, .5; .8, .5; 1, 0"/>
                                        <p:tgtEl>
                                          <p:spTgt spid="193"/>
                                        </p:tgtEl>
                                      </p:cBhvr>
                                    </p:animEffect>
                                    <p:animScale>
                                      <p:cBhvr>
                                        <p:cTn id="267" dur="1000" autoRev="1" fill="hold"/>
                                        <p:tgtEl>
                                          <p:spTgt spid="193"/>
                                        </p:tgtEl>
                                      </p:cBhvr>
                                      <p:by x="105000" y="105000"/>
                                    </p:animScale>
                                  </p:childTnLst>
                                </p:cTn>
                              </p:par>
                              <p:par>
                                <p:cTn id="268" presetID="26" presetClass="emph" presetSubtype="0" dur="2000" repeatCount="indefinite" fill="hold" grpId="0" nodeType="withEffect">
                                  <p:stCondLst>
                                    <p:cond delay="1750"/>
                                  </p:stCondLst>
                                  <p:childTnLst>
                                    <p:animEffect transition="out" filter="fade">
                                      <p:cBhvr>
                                        <p:cTn id="269" dur="2000" tmFilter="0, 0; .2, .5; .8, .5; 1, 0"/>
                                        <p:tgtEl>
                                          <p:spTgt spid="210"/>
                                        </p:tgtEl>
                                      </p:cBhvr>
                                    </p:animEffect>
                                    <p:animScale>
                                      <p:cBhvr>
                                        <p:cTn id="270" dur="1000" autoRev="1" fill="hold"/>
                                        <p:tgtEl>
                                          <p:spTgt spid="210"/>
                                        </p:tgtEl>
                                      </p:cBhvr>
                                      <p:by x="105000" y="105000"/>
                                    </p:animScale>
                                  </p:childTnLst>
                                </p:cTn>
                              </p:par>
                              <p:par>
                                <p:cTn id="271" presetID="26" presetClass="emph" presetSubtype="0" dur="2000" repeatCount="indefinite" fill="hold" grpId="0" nodeType="withEffect">
                                  <p:stCondLst>
                                    <p:cond delay="1750"/>
                                  </p:stCondLst>
                                  <p:childTnLst>
                                    <p:animEffect transition="out" filter="fade">
                                      <p:cBhvr>
                                        <p:cTn id="272" dur="2000" tmFilter="0, 0; .2, .5; .8, .5; 1, 0"/>
                                        <p:tgtEl>
                                          <p:spTgt spid="226"/>
                                        </p:tgtEl>
                                      </p:cBhvr>
                                    </p:animEffect>
                                    <p:animScale>
                                      <p:cBhvr>
                                        <p:cTn id="273" dur="1000" autoRev="1" fill="hold"/>
                                        <p:tgtEl>
                                          <p:spTgt spid="226"/>
                                        </p:tgtEl>
                                      </p:cBhvr>
                                      <p:by x="105000" y="105000"/>
                                    </p:animScale>
                                  </p:childTnLst>
                                </p:cTn>
                              </p:par>
                              <p:par>
                                <p:cTn id="274" presetID="26" presetClass="emph" presetSubtype="0" dur="2000" repeatCount="indefinite" fill="hold" grpId="0" nodeType="withEffect">
                                  <p:stCondLst>
                                    <p:cond delay="2000"/>
                                  </p:stCondLst>
                                  <p:childTnLst>
                                    <p:animEffect transition="out" filter="fade">
                                      <p:cBhvr>
                                        <p:cTn id="275" dur="2000" tmFilter="0, 0; .2, .5; .8, .5; 1, 0"/>
                                        <p:tgtEl>
                                          <p:spTgt spid="15"/>
                                        </p:tgtEl>
                                      </p:cBhvr>
                                    </p:animEffect>
                                    <p:animScale>
                                      <p:cBhvr>
                                        <p:cTn id="276" dur="1000" autoRev="1" fill="hold"/>
                                        <p:tgtEl>
                                          <p:spTgt spid="15"/>
                                        </p:tgtEl>
                                      </p:cBhvr>
                                      <p:by x="105000" y="105000"/>
                                    </p:animScale>
                                  </p:childTnLst>
                                </p:cTn>
                              </p:par>
                              <p:par>
                                <p:cTn id="277" presetID="26" presetClass="emph" presetSubtype="0" dur="2000" repeatCount="indefinite" fill="hold" grpId="0" nodeType="withEffect">
                                  <p:stCondLst>
                                    <p:cond delay="2000"/>
                                  </p:stCondLst>
                                  <p:childTnLst>
                                    <p:animEffect transition="out" filter="fade">
                                      <p:cBhvr>
                                        <p:cTn id="278" dur="2000" tmFilter="0, 0; .2, .5; .8, .5; 1, 0"/>
                                        <p:tgtEl>
                                          <p:spTgt spid="30"/>
                                        </p:tgtEl>
                                      </p:cBhvr>
                                    </p:animEffect>
                                    <p:animScale>
                                      <p:cBhvr>
                                        <p:cTn id="279" dur="1000" autoRev="1" fill="hold"/>
                                        <p:tgtEl>
                                          <p:spTgt spid="30"/>
                                        </p:tgtEl>
                                      </p:cBhvr>
                                      <p:by x="105000" y="105000"/>
                                    </p:animScale>
                                  </p:childTnLst>
                                </p:cTn>
                              </p:par>
                              <p:par>
                                <p:cTn id="280" presetID="26" presetClass="emph" presetSubtype="0" dur="2000" repeatCount="indefinite" fill="hold" grpId="0" nodeType="withEffect">
                                  <p:stCondLst>
                                    <p:cond delay="2000"/>
                                  </p:stCondLst>
                                  <p:childTnLst>
                                    <p:animEffect transition="out" filter="fade">
                                      <p:cBhvr>
                                        <p:cTn id="281" dur="2000" tmFilter="0, 0; .2, .5; .8, .5; 1, 0"/>
                                        <p:tgtEl>
                                          <p:spTgt spid="46"/>
                                        </p:tgtEl>
                                      </p:cBhvr>
                                    </p:animEffect>
                                    <p:animScale>
                                      <p:cBhvr>
                                        <p:cTn id="282" dur="1000" autoRev="1" fill="hold"/>
                                        <p:tgtEl>
                                          <p:spTgt spid="46"/>
                                        </p:tgtEl>
                                      </p:cBhvr>
                                      <p:by x="105000" y="105000"/>
                                    </p:animScale>
                                  </p:childTnLst>
                                </p:cTn>
                              </p:par>
                              <p:par>
                                <p:cTn id="283" presetID="26" presetClass="emph" presetSubtype="0" dur="2000" repeatCount="indefinite" fill="hold" grpId="0" nodeType="withEffect">
                                  <p:stCondLst>
                                    <p:cond delay="2000"/>
                                  </p:stCondLst>
                                  <p:childTnLst>
                                    <p:animEffect transition="out" filter="fade">
                                      <p:cBhvr>
                                        <p:cTn id="284" dur="2000" tmFilter="0, 0; .2, .5; .8, .5; 1, 0"/>
                                        <p:tgtEl>
                                          <p:spTgt spid="62"/>
                                        </p:tgtEl>
                                      </p:cBhvr>
                                    </p:animEffect>
                                    <p:animScale>
                                      <p:cBhvr>
                                        <p:cTn id="285" dur="1000" autoRev="1" fill="hold"/>
                                        <p:tgtEl>
                                          <p:spTgt spid="62"/>
                                        </p:tgtEl>
                                      </p:cBhvr>
                                      <p:by x="105000" y="105000"/>
                                    </p:animScale>
                                  </p:childTnLst>
                                </p:cTn>
                              </p:par>
                              <p:par>
                                <p:cTn id="286" presetID="26" presetClass="emph" presetSubtype="0" dur="2000" repeatCount="indefinite" fill="hold" grpId="0" nodeType="withEffect">
                                  <p:stCondLst>
                                    <p:cond delay="2000"/>
                                  </p:stCondLst>
                                  <p:childTnLst>
                                    <p:animEffect transition="out" filter="fade">
                                      <p:cBhvr>
                                        <p:cTn id="287" dur="2000" tmFilter="0, 0; .2, .5; .8, .5; 1, 0"/>
                                        <p:tgtEl>
                                          <p:spTgt spid="78"/>
                                        </p:tgtEl>
                                      </p:cBhvr>
                                    </p:animEffect>
                                    <p:animScale>
                                      <p:cBhvr>
                                        <p:cTn id="288" dur="1000" autoRev="1" fill="hold"/>
                                        <p:tgtEl>
                                          <p:spTgt spid="78"/>
                                        </p:tgtEl>
                                      </p:cBhvr>
                                      <p:by x="105000" y="105000"/>
                                    </p:animScale>
                                  </p:childTnLst>
                                </p:cTn>
                              </p:par>
                              <p:par>
                                <p:cTn id="289" presetID="26" presetClass="emph" presetSubtype="0" dur="2000" repeatCount="indefinite" fill="hold" grpId="0" nodeType="withEffect">
                                  <p:stCondLst>
                                    <p:cond delay="2000"/>
                                  </p:stCondLst>
                                  <p:childTnLst>
                                    <p:animEffect transition="out" filter="fade">
                                      <p:cBhvr>
                                        <p:cTn id="290" dur="2000" tmFilter="0, 0; .2, .5; .8, .5; 1, 0"/>
                                        <p:tgtEl>
                                          <p:spTgt spid="94"/>
                                        </p:tgtEl>
                                      </p:cBhvr>
                                    </p:animEffect>
                                    <p:animScale>
                                      <p:cBhvr>
                                        <p:cTn id="291" dur="1000" autoRev="1" fill="hold"/>
                                        <p:tgtEl>
                                          <p:spTgt spid="94"/>
                                        </p:tgtEl>
                                      </p:cBhvr>
                                      <p:by x="105000" y="105000"/>
                                    </p:animScale>
                                  </p:childTnLst>
                                </p:cTn>
                              </p:par>
                              <p:par>
                                <p:cTn id="292" presetID="26" presetClass="emph" presetSubtype="0" dur="2000" repeatCount="indefinite" fill="hold" grpId="0" nodeType="withEffect">
                                  <p:stCondLst>
                                    <p:cond delay="2000"/>
                                  </p:stCondLst>
                                  <p:childTnLst>
                                    <p:animEffect transition="out" filter="fade">
                                      <p:cBhvr>
                                        <p:cTn id="293" dur="2000" tmFilter="0, 0; .2, .5; .8, .5; 1, 0"/>
                                        <p:tgtEl>
                                          <p:spTgt spid="110"/>
                                        </p:tgtEl>
                                      </p:cBhvr>
                                    </p:animEffect>
                                    <p:animScale>
                                      <p:cBhvr>
                                        <p:cTn id="294" dur="1000" autoRev="1" fill="hold"/>
                                        <p:tgtEl>
                                          <p:spTgt spid="110"/>
                                        </p:tgtEl>
                                      </p:cBhvr>
                                      <p:by x="105000" y="105000"/>
                                    </p:animScale>
                                  </p:childTnLst>
                                </p:cTn>
                              </p:par>
                              <p:par>
                                <p:cTn id="295" presetID="26" presetClass="emph" presetSubtype="0" dur="2000" repeatCount="indefinite" fill="hold" grpId="0" nodeType="withEffect">
                                  <p:stCondLst>
                                    <p:cond delay="2000"/>
                                  </p:stCondLst>
                                  <p:childTnLst>
                                    <p:animEffect transition="out" filter="fade">
                                      <p:cBhvr>
                                        <p:cTn id="296" dur="2000" tmFilter="0, 0; .2, .5; .8, .5; 1, 0"/>
                                        <p:tgtEl>
                                          <p:spTgt spid="126"/>
                                        </p:tgtEl>
                                      </p:cBhvr>
                                    </p:animEffect>
                                    <p:animScale>
                                      <p:cBhvr>
                                        <p:cTn id="297" dur="1000" autoRev="1" fill="hold"/>
                                        <p:tgtEl>
                                          <p:spTgt spid="126"/>
                                        </p:tgtEl>
                                      </p:cBhvr>
                                      <p:by x="105000" y="105000"/>
                                    </p:animScale>
                                  </p:childTnLst>
                                </p:cTn>
                              </p:par>
                              <p:par>
                                <p:cTn id="298" presetID="26" presetClass="emph" presetSubtype="0" dur="2000" repeatCount="indefinite" fill="hold" grpId="0" nodeType="withEffect">
                                  <p:stCondLst>
                                    <p:cond delay="2000"/>
                                  </p:stCondLst>
                                  <p:childTnLst>
                                    <p:animEffect transition="out" filter="fade">
                                      <p:cBhvr>
                                        <p:cTn id="299" dur="2000" tmFilter="0, 0; .2, .5; .8, .5; 1, 0"/>
                                        <p:tgtEl>
                                          <p:spTgt spid="143"/>
                                        </p:tgtEl>
                                      </p:cBhvr>
                                    </p:animEffect>
                                    <p:animScale>
                                      <p:cBhvr>
                                        <p:cTn id="300" dur="1000" autoRev="1" fill="hold"/>
                                        <p:tgtEl>
                                          <p:spTgt spid="143"/>
                                        </p:tgtEl>
                                      </p:cBhvr>
                                      <p:by x="105000" y="105000"/>
                                    </p:animScale>
                                  </p:childTnLst>
                                </p:cTn>
                              </p:par>
                              <p:par>
                                <p:cTn id="301" presetID="26" presetClass="emph" presetSubtype="0" dur="2000" repeatCount="indefinite" fill="hold" grpId="0" nodeType="withEffect">
                                  <p:stCondLst>
                                    <p:cond delay="2000"/>
                                  </p:stCondLst>
                                  <p:childTnLst>
                                    <p:animEffect transition="out" filter="fade">
                                      <p:cBhvr>
                                        <p:cTn id="302" dur="2000" tmFilter="0, 0; .2, .5; .8, .5; 1, 0"/>
                                        <p:tgtEl>
                                          <p:spTgt spid="160"/>
                                        </p:tgtEl>
                                      </p:cBhvr>
                                    </p:animEffect>
                                    <p:animScale>
                                      <p:cBhvr>
                                        <p:cTn id="303" dur="1000" autoRev="1" fill="hold"/>
                                        <p:tgtEl>
                                          <p:spTgt spid="160"/>
                                        </p:tgtEl>
                                      </p:cBhvr>
                                      <p:by x="105000" y="105000"/>
                                    </p:animScale>
                                  </p:childTnLst>
                                </p:cTn>
                              </p:par>
                              <p:par>
                                <p:cTn id="304" presetID="26" presetClass="emph" presetSubtype="0" dur="2000" repeatCount="indefinite" fill="hold" grpId="0" nodeType="withEffect">
                                  <p:stCondLst>
                                    <p:cond delay="2000"/>
                                  </p:stCondLst>
                                  <p:childTnLst>
                                    <p:animEffect transition="out" filter="fade">
                                      <p:cBhvr>
                                        <p:cTn id="305" dur="2000" tmFilter="0, 0; .2, .5; .8, .5; 1, 0"/>
                                        <p:tgtEl>
                                          <p:spTgt spid="177"/>
                                        </p:tgtEl>
                                      </p:cBhvr>
                                    </p:animEffect>
                                    <p:animScale>
                                      <p:cBhvr>
                                        <p:cTn id="306" dur="1000" autoRev="1" fill="hold"/>
                                        <p:tgtEl>
                                          <p:spTgt spid="177"/>
                                        </p:tgtEl>
                                      </p:cBhvr>
                                      <p:by x="105000" y="105000"/>
                                    </p:animScale>
                                  </p:childTnLst>
                                </p:cTn>
                              </p:par>
                              <p:par>
                                <p:cTn id="307" presetID="26" presetClass="emph" presetSubtype="0" dur="2000" repeatCount="indefinite" fill="hold" grpId="0" nodeType="withEffect">
                                  <p:stCondLst>
                                    <p:cond delay="2000"/>
                                  </p:stCondLst>
                                  <p:childTnLst>
                                    <p:animEffect transition="out" filter="fade">
                                      <p:cBhvr>
                                        <p:cTn id="308" dur="2000" tmFilter="0, 0; .2, .5; .8, .5; 1, 0"/>
                                        <p:tgtEl>
                                          <p:spTgt spid="194"/>
                                        </p:tgtEl>
                                      </p:cBhvr>
                                    </p:animEffect>
                                    <p:animScale>
                                      <p:cBhvr>
                                        <p:cTn id="309" dur="1000" autoRev="1" fill="hold"/>
                                        <p:tgtEl>
                                          <p:spTgt spid="194"/>
                                        </p:tgtEl>
                                      </p:cBhvr>
                                      <p:by x="105000" y="105000"/>
                                    </p:animScale>
                                  </p:childTnLst>
                                </p:cTn>
                              </p:par>
                              <p:par>
                                <p:cTn id="310" presetID="26" presetClass="emph" presetSubtype="0" dur="2000" repeatCount="indefinite" fill="hold" grpId="0" nodeType="withEffect">
                                  <p:stCondLst>
                                    <p:cond delay="2000"/>
                                  </p:stCondLst>
                                  <p:childTnLst>
                                    <p:animEffect transition="out" filter="fade">
                                      <p:cBhvr>
                                        <p:cTn id="311" dur="2000" tmFilter="0, 0; .2, .5; .8, .5; 1, 0"/>
                                        <p:tgtEl>
                                          <p:spTgt spid="211"/>
                                        </p:tgtEl>
                                      </p:cBhvr>
                                    </p:animEffect>
                                    <p:animScale>
                                      <p:cBhvr>
                                        <p:cTn id="312" dur="1000" autoRev="1" fill="hold"/>
                                        <p:tgtEl>
                                          <p:spTgt spid="211"/>
                                        </p:tgtEl>
                                      </p:cBhvr>
                                      <p:by x="105000" y="105000"/>
                                    </p:animScale>
                                  </p:childTnLst>
                                </p:cTn>
                              </p:par>
                              <p:par>
                                <p:cTn id="313" presetID="26" presetClass="emph" presetSubtype="0" dur="2000" repeatCount="indefinite" fill="hold" grpId="0" nodeType="withEffect">
                                  <p:stCondLst>
                                    <p:cond delay="2000"/>
                                  </p:stCondLst>
                                  <p:childTnLst>
                                    <p:animEffect transition="out" filter="fade">
                                      <p:cBhvr>
                                        <p:cTn id="314" dur="2000" tmFilter="0, 0; .2, .5; .8, .5; 1, 0"/>
                                        <p:tgtEl>
                                          <p:spTgt spid="227"/>
                                        </p:tgtEl>
                                      </p:cBhvr>
                                    </p:animEffect>
                                    <p:animScale>
                                      <p:cBhvr>
                                        <p:cTn id="315" dur="1000" autoRev="1" fill="hold"/>
                                        <p:tgtEl>
                                          <p:spTgt spid="227"/>
                                        </p:tgtEl>
                                      </p:cBhvr>
                                      <p:by x="105000" y="105000"/>
                                    </p:animScale>
                                  </p:childTnLst>
                                </p:cTn>
                              </p:par>
                              <p:par>
                                <p:cTn id="316" presetID="26" presetClass="emph" presetSubtype="0" dur="2000" repeatCount="indefinite" fill="hold" grpId="0" nodeType="withEffect">
                                  <p:stCondLst>
                                    <p:cond delay="2250"/>
                                  </p:stCondLst>
                                  <p:childTnLst>
                                    <p:animEffect transition="out" filter="fade">
                                      <p:cBhvr>
                                        <p:cTn id="317" dur="2000" tmFilter="0, 0; .2, .5; .8, .5; 1, 0"/>
                                        <p:tgtEl>
                                          <p:spTgt spid="16"/>
                                        </p:tgtEl>
                                      </p:cBhvr>
                                    </p:animEffect>
                                    <p:animScale>
                                      <p:cBhvr>
                                        <p:cTn id="318" dur="1000" autoRev="1" fill="hold"/>
                                        <p:tgtEl>
                                          <p:spTgt spid="16"/>
                                        </p:tgtEl>
                                      </p:cBhvr>
                                      <p:by x="105000" y="105000"/>
                                    </p:animScale>
                                  </p:childTnLst>
                                </p:cTn>
                              </p:par>
                              <p:par>
                                <p:cTn id="319" presetID="26" presetClass="emph" presetSubtype="0" dur="2000" repeatCount="indefinite" fill="hold" grpId="0" nodeType="withEffect">
                                  <p:stCondLst>
                                    <p:cond delay="2250"/>
                                  </p:stCondLst>
                                  <p:childTnLst>
                                    <p:animEffect transition="out" filter="fade">
                                      <p:cBhvr>
                                        <p:cTn id="320" dur="2000" tmFilter="0, 0; .2, .5; .8, .5; 1, 0"/>
                                        <p:tgtEl>
                                          <p:spTgt spid="31"/>
                                        </p:tgtEl>
                                      </p:cBhvr>
                                    </p:animEffect>
                                    <p:animScale>
                                      <p:cBhvr>
                                        <p:cTn id="321" dur="1000" autoRev="1" fill="hold"/>
                                        <p:tgtEl>
                                          <p:spTgt spid="31"/>
                                        </p:tgtEl>
                                      </p:cBhvr>
                                      <p:by x="105000" y="105000"/>
                                    </p:animScale>
                                  </p:childTnLst>
                                </p:cTn>
                              </p:par>
                              <p:par>
                                <p:cTn id="322" presetID="26" presetClass="emph" presetSubtype="0" dur="2000" repeatCount="indefinite" fill="hold" grpId="0" nodeType="withEffect">
                                  <p:stCondLst>
                                    <p:cond delay="2250"/>
                                  </p:stCondLst>
                                  <p:childTnLst>
                                    <p:animEffect transition="out" filter="fade">
                                      <p:cBhvr>
                                        <p:cTn id="323" dur="2000" tmFilter="0, 0; .2, .5; .8, .5; 1, 0"/>
                                        <p:tgtEl>
                                          <p:spTgt spid="47"/>
                                        </p:tgtEl>
                                      </p:cBhvr>
                                    </p:animEffect>
                                    <p:animScale>
                                      <p:cBhvr>
                                        <p:cTn id="324" dur="1000" autoRev="1" fill="hold"/>
                                        <p:tgtEl>
                                          <p:spTgt spid="47"/>
                                        </p:tgtEl>
                                      </p:cBhvr>
                                      <p:by x="105000" y="105000"/>
                                    </p:animScale>
                                  </p:childTnLst>
                                </p:cTn>
                              </p:par>
                              <p:par>
                                <p:cTn id="325" presetID="26" presetClass="emph" presetSubtype="0" dur="2000" repeatCount="indefinite" fill="hold" grpId="0" nodeType="withEffect">
                                  <p:stCondLst>
                                    <p:cond delay="2250"/>
                                  </p:stCondLst>
                                  <p:childTnLst>
                                    <p:animEffect transition="out" filter="fade">
                                      <p:cBhvr>
                                        <p:cTn id="326" dur="2000" tmFilter="0, 0; .2, .5; .8, .5; 1, 0"/>
                                        <p:tgtEl>
                                          <p:spTgt spid="63"/>
                                        </p:tgtEl>
                                      </p:cBhvr>
                                    </p:animEffect>
                                    <p:animScale>
                                      <p:cBhvr>
                                        <p:cTn id="327" dur="1000" autoRev="1" fill="hold"/>
                                        <p:tgtEl>
                                          <p:spTgt spid="63"/>
                                        </p:tgtEl>
                                      </p:cBhvr>
                                      <p:by x="105000" y="105000"/>
                                    </p:animScale>
                                  </p:childTnLst>
                                </p:cTn>
                              </p:par>
                              <p:par>
                                <p:cTn id="328" presetID="26" presetClass="emph" presetSubtype="0" dur="2000" repeatCount="indefinite" fill="hold" grpId="0" nodeType="withEffect">
                                  <p:stCondLst>
                                    <p:cond delay="2250"/>
                                  </p:stCondLst>
                                  <p:childTnLst>
                                    <p:animEffect transition="out" filter="fade">
                                      <p:cBhvr>
                                        <p:cTn id="329" dur="2000" tmFilter="0, 0; .2, .5; .8, .5; 1, 0"/>
                                        <p:tgtEl>
                                          <p:spTgt spid="79"/>
                                        </p:tgtEl>
                                      </p:cBhvr>
                                    </p:animEffect>
                                    <p:animScale>
                                      <p:cBhvr>
                                        <p:cTn id="330" dur="1000" autoRev="1" fill="hold"/>
                                        <p:tgtEl>
                                          <p:spTgt spid="79"/>
                                        </p:tgtEl>
                                      </p:cBhvr>
                                      <p:by x="105000" y="105000"/>
                                    </p:animScale>
                                  </p:childTnLst>
                                </p:cTn>
                              </p:par>
                              <p:par>
                                <p:cTn id="331" presetID="26" presetClass="emph" presetSubtype="0" dur="2000" repeatCount="indefinite" fill="hold" grpId="0" nodeType="withEffect">
                                  <p:stCondLst>
                                    <p:cond delay="2250"/>
                                  </p:stCondLst>
                                  <p:childTnLst>
                                    <p:animEffect transition="out" filter="fade">
                                      <p:cBhvr>
                                        <p:cTn id="332" dur="2000" tmFilter="0, 0; .2, .5; .8, .5; 1, 0"/>
                                        <p:tgtEl>
                                          <p:spTgt spid="95"/>
                                        </p:tgtEl>
                                      </p:cBhvr>
                                    </p:animEffect>
                                    <p:animScale>
                                      <p:cBhvr>
                                        <p:cTn id="333" dur="1000" autoRev="1" fill="hold"/>
                                        <p:tgtEl>
                                          <p:spTgt spid="95"/>
                                        </p:tgtEl>
                                      </p:cBhvr>
                                      <p:by x="105000" y="105000"/>
                                    </p:animScale>
                                  </p:childTnLst>
                                </p:cTn>
                              </p:par>
                              <p:par>
                                <p:cTn id="334" presetID="26" presetClass="emph" presetSubtype="0" dur="2000" repeatCount="indefinite" fill="hold" grpId="0" nodeType="withEffect">
                                  <p:stCondLst>
                                    <p:cond delay="2250"/>
                                  </p:stCondLst>
                                  <p:childTnLst>
                                    <p:animEffect transition="out" filter="fade">
                                      <p:cBhvr>
                                        <p:cTn id="335" dur="2000" tmFilter="0, 0; .2, .5; .8, .5; 1, 0"/>
                                        <p:tgtEl>
                                          <p:spTgt spid="111"/>
                                        </p:tgtEl>
                                      </p:cBhvr>
                                    </p:animEffect>
                                    <p:animScale>
                                      <p:cBhvr>
                                        <p:cTn id="336" dur="1000" autoRev="1" fill="hold"/>
                                        <p:tgtEl>
                                          <p:spTgt spid="111"/>
                                        </p:tgtEl>
                                      </p:cBhvr>
                                      <p:by x="105000" y="105000"/>
                                    </p:animScale>
                                  </p:childTnLst>
                                </p:cTn>
                              </p:par>
                              <p:par>
                                <p:cTn id="337" presetID="26" presetClass="emph" presetSubtype="0" dur="2000" repeatCount="indefinite" fill="hold" grpId="0" nodeType="withEffect">
                                  <p:stCondLst>
                                    <p:cond delay="2250"/>
                                  </p:stCondLst>
                                  <p:childTnLst>
                                    <p:animEffect transition="out" filter="fade">
                                      <p:cBhvr>
                                        <p:cTn id="338" dur="2000" tmFilter="0, 0; .2, .5; .8, .5; 1, 0"/>
                                        <p:tgtEl>
                                          <p:spTgt spid="127"/>
                                        </p:tgtEl>
                                      </p:cBhvr>
                                    </p:animEffect>
                                    <p:animScale>
                                      <p:cBhvr>
                                        <p:cTn id="339" dur="1000" autoRev="1" fill="hold"/>
                                        <p:tgtEl>
                                          <p:spTgt spid="127"/>
                                        </p:tgtEl>
                                      </p:cBhvr>
                                      <p:by x="105000" y="105000"/>
                                    </p:animScale>
                                  </p:childTnLst>
                                </p:cTn>
                              </p:par>
                              <p:par>
                                <p:cTn id="340" presetID="26" presetClass="emph" presetSubtype="0" dur="2000" repeatCount="indefinite" fill="hold" grpId="0" nodeType="withEffect">
                                  <p:stCondLst>
                                    <p:cond delay="2250"/>
                                  </p:stCondLst>
                                  <p:childTnLst>
                                    <p:animEffect transition="out" filter="fade">
                                      <p:cBhvr>
                                        <p:cTn id="341" dur="2000" tmFilter="0, 0; .2, .5; .8, .5; 1, 0"/>
                                        <p:tgtEl>
                                          <p:spTgt spid="144"/>
                                        </p:tgtEl>
                                      </p:cBhvr>
                                    </p:animEffect>
                                    <p:animScale>
                                      <p:cBhvr>
                                        <p:cTn id="342" dur="1000" autoRev="1" fill="hold"/>
                                        <p:tgtEl>
                                          <p:spTgt spid="144"/>
                                        </p:tgtEl>
                                      </p:cBhvr>
                                      <p:by x="105000" y="105000"/>
                                    </p:animScale>
                                  </p:childTnLst>
                                </p:cTn>
                              </p:par>
                              <p:par>
                                <p:cTn id="343" presetID="26" presetClass="emph" presetSubtype="0" dur="2000" repeatCount="indefinite" fill="hold" grpId="0" nodeType="withEffect">
                                  <p:stCondLst>
                                    <p:cond delay="2250"/>
                                  </p:stCondLst>
                                  <p:childTnLst>
                                    <p:animEffect transition="out" filter="fade">
                                      <p:cBhvr>
                                        <p:cTn id="344" dur="2000" tmFilter="0, 0; .2, .5; .8, .5; 1, 0"/>
                                        <p:tgtEl>
                                          <p:spTgt spid="161"/>
                                        </p:tgtEl>
                                      </p:cBhvr>
                                    </p:animEffect>
                                    <p:animScale>
                                      <p:cBhvr>
                                        <p:cTn id="345" dur="1000" autoRev="1" fill="hold"/>
                                        <p:tgtEl>
                                          <p:spTgt spid="161"/>
                                        </p:tgtEl>
                                      </p:cBhvr>
                                      <p:by x="105000" y="105000"/>
                                    </p:animScale>
                                  </p:childTnLst>
                                </p:cTn>
                              </p:par>
                              <p:par>
                                <p:cTn id="346" presetID="26" presetClass="emph" presetSubtype="0" dur="2000" repeatCount="indefinite" fill="hold" grpId="0" nodeType="withEffect">
                                  <p:stCondLst>
                                    <p:cond delay="2250"/>
                                  </p:stCondLst>
                                  <p:childTnLst>
                                    <p:animEffect transition="out" filter="fade">
                                      <p:cBhvr>
                                        <p:cTn id="347" dur="2000" tmFilter="0, 0; .2, .5; .8, .5; 1, 0"/>
                                        <p:tgtEl>
                                          <p:spTgt spid="178"/>
                                        </p:tgtEl>
                                      </p:cBhvr>
                                    </p:animEffect>
                                    <p:animScale>
                                      <p:cBhvr>
                                        <p:cTn id="348" dur="1000" autoRev="1" fill="hold"/>
                                        <p:tgtEl>
                                          <p:spTgt spid="178"/>
                                        </p:tgtEl>
                                      </p:cBhvr>
                                      <p:by x="105000" y="105000"/>
                                    </p:animScale>
                                  </p:childTnLst>
                                </p:cTn>
                              </p:par>
                              <p:par>
                                <p:cTn id="349" presetID="26" presetClass="emph" presetSubtype="0" dur="2000" repeatCount="indefinite" fill="hold" grpId="0" nodeType="withEffect">
                                  <p:stCondLst>
                                    <p:cond delay="2250"/>
                                  </p:stCondLst>
                                  <p:childTnLst>
                                    <p:animEffect transition="out" filter="fade">
                                      <p:cBhvr>
                                        <p:cTn id="350" dur="2000" tmFilter="0, 0; .2, .5; .8, .5; 1, 0"/>
                                        <p:tgtEl>
                                          <p:spTgt spid="195"/>
                                        </p:tgtEl>
                                      </p:cBhvr>
                                    </p:animEffect>
                                    <p:animScale>
                                      <p:cBhvr>
                                        <p:cTn id="351" dur="1000" autoRev="1" fill="hold"/>
                                        <p:tgtEl>
                                          <p:spTgt spid="195"/>
                                        </p:tgtEl>
                                      </p:cBhvr>
                                      <p:by x="105000" y="105000"/>
                                    </p:animScale>
                                  </p:childTnLst>
                                </p:cTn>
                              </p:par>
                              <p:par>
                                <p:cTn id="352" presetID="26" presetClass="emph" presetSubtype="0" dur="2000" repeatCount="indefinite" fill="hold" grpId="0" nodeType="withEffect">
                                  <p:stCondLst>
                                    <p:cond delay="2250"/>
                                  </p:stCondLst>
                                  <p:childTnLst>
                                    <p:animEffect transition="out" filter="fade">
                                      <p:cBhvr>
                                        <p:cTn id="353" dur="2000" tmFilter="0, 0; .2, .5; .8, .5; 1, 0"/>
                                        <p:tgtEl>
                                          <p:spTgt spid="212"/>
                                        </p:tgtEl>
                                      </p:cBhvr>
                                    </p:animEffect>
                                    <p:animScale>
                                      <p:cBhvr>
                                        <p:cTn id="354" dur="1000" autoRev="1" fill="hold"/>
                                        <p:tgtEl>
                                          <p:spTgt spid="212"/>
                                        </p:tgtEl>
                                      </p:cBhvr>
                                      <p:by x="105000" y="105000"/>
                                    </p:animScale>
                                  </p:childTnLst>
                                </p:cTn>
                              </p:par>
                              <p:par>
                                <p:cTn id="355" presetID="26" presetClass="emph" presetSubtype="0" dur="2000" repeatCount="indefinite" fill="hold" grpId="0" nodeType="withEffect">
                                  <p:stCondLst>
                                    <p:cond delay="2250"/>
                                  </p:stCondLst>
                                  <p:childTnLst>
                                    <p:animEffect transition="out" filter="fade">
                                      <p:cBhvr>
                                        <p:cTn id="356" dur="2000" tmFilter="0, 0; .2, .5; .8, .5; 1, 0"/>
                                        <p:tgtEl>
                                          <p:spTgt spid="228"/>
                                        </p:tgtEl>
                                      </p:cBhvr>
                                    </p:animEffect>
                                    <p:animScale>
                                      <p:cBhvr>
                                        <p:cTn id="357" dur="1000" autoRev="1" fill="hold"/>
                                        <p:tgtEl>
                                          <p:spTgt spid="228"/>
                                        </p:tgtEl>
                                      </p:cBhvr>
                                      <p:by x="105000" y="105000"/>
                                    </p:animScale>
                                  </p:childTnLst>
                                </p:cTn>
                              </p:par>
                              <p:par>
                                <p:cTn id="358" presetID="26" presetClass="emph" presetSubtype="0" dur="2000" repeatCount="indefinite" fill="hold" grpId="0" nodeType="withEffect">
                                  <p:stCondLst>
                                    <p:cond delay="2500"/>
                                  </p:stCondLst>
                                  <p:childTnLst>
                                    <p:animEffect transition="out" filter="fade">
                                      <p:cBhvr>
                                        <p:cTn id="359" dur="2000" tmFilter="0, 0; .2, .5; .8, .5; 1, 0"/>
                                        <p:tgtEl>
                                          <p:spTgt spid="17"/>
                                        </p:tgtEl>
                                      </p:cBhvr>
                                    </p:animEffect>
                                    <p:animScale>
                                      <p:cBhvr>
                                        <p:cTn id="360" dur="1000" autoRev="1" fill="hold"/>
                                        <p:tgtEl>
                                          <p:spTgt spid="17"/>
                                        </p:tgtEl>
                                      </p:cBhvr>
                                      <p:by x="105000" y="105000"/>
                                    </p:animScale>
                                  </p:childTnLst>
                                </p:cTn>
                              </p:par>
                              <p:par>
                                <p:cTn id="361" presetID="26" presetClass="emph" presetSubtype="0" dur="2000" repeatCount="indefinite" fill="hold" grpId="0" nodeType="withEffect">
                                  <p:stCondLst>
                                    <p:cond delay="2500"/>
                                  </p:stCondLst>
                                  <p:childTnLst>
                                    <p:animEffect transition="out" filter="fade">
                                      <p:cBhvr>
                                        <p:cTn id="362" dur="2000" tmFilter="0, 0; .2, .5; .8, .5; 1, 0"/>
                                        <p:tgtEl>
                                          <p:spTgt spid="32"/>
                                        </p:tgtEl>
                                      </p:cBhvr>
                                    </p:animEffect>
                                    <p:animScale>
                                      <p:cBhvr>
                                        <p:cTn id="363" dur="1000" autoRev="1" fill="hold"/>
                                        <p:tgtEl>
                                          <p:spTgt spid="32"/>
                                        </p:tgtEl>
                                      </p:cBhvr>
                                      <p:by x="105000" y="105000"/>
                                    </p:animScale>
                                  </p:childTnLst>
                                </p:cTn>
                              </p:par>
                              <p:par>
                                <p:cTn id="364" presetID="26" presetClass="emph" presetSubtype="0" dur="2000" repeatCount="indefinite" fill="hold" grpId="0" nodeType="withEffect">
                                  <p:stCondLst>
                                    <p:cond delay="2500"/>
                                  </p:stCondLst>
                                  <p:childTnLst>
                                    <p:animEffect transition="out" filter="fade">
                                      <p:cBhvr>
                                        <p:cTn id="365" dur="2000" tmFilter="0, 0; .2, .5; .8, .5; 1, 0"/>
                                        <p:tgtEl>
                                          <p:spTgt spid="48"/>
                                        </p:tgtEl>
                                      </p:cBhvr>
                                    </p:animEffect>
                                    <p:animScale>
                                      <p:cBhvr>
                                        <p:cTn id="366" dur="1000" autoRev="1" fill="hold"/>
                                        <p:tgtEl>
                                          <p:spTgt spid="48"/>
                                        </p:tgtEl>
                                      </p:cBhvr>
                                      <p:by x="105000" y="105000"/>
                                    </p:animScale>
                                  </p:childTnLst>
                                </p:cTn>
                              </p:par>
                              <p:par>
                                <p:cTn id="367" presetID="26" presetClass="emph" presetSubtype="0" dur="2000" repeatCount="indefinite" fill="hold" grpId="0" nodeType="withEffect">
                                  <p:stCondLst>
                                    <p:cond delay="2500"/>
                                  </p:stCondLst>
                                  <p:childTnLst>
                                    <p:animEffect transition="out" filter="fade">
                                      <p:cBhvr>
                                        <p:cTn id="368" dur="2000" tmFilter="0, 0; .2, .5; .8, .5; 1, 0"/>
                                        <p:tgtEl>
                                          <p:spTgt spid="64"/>
                                        </p:tgtEl>
                                      </p:cBhvr>
                                    </p:animEffect>
                                    <p:animScale>
                                      <p:cBhvr>
                                        <p:cTn id="369" dur="1000" autoRev="1" fill="hold"/>
                                        <p:tgtEl>
                                          <p:spTgt spid="64"/>
                                        </p:tgtEl>
                                      </p:cBhvr>
                                      <p:by x="105000" y="105000"/>
                                    </p:animScale>
                                  </p:childTnLst>
                                </p:cTn>
                              </p:par>
                              <p:par>
                                <p:cTn id="370" presetID="26" presetClass="emph" presetSubtype="0" dur="2000" repeatCount="indefinite" fill="hold" grpId="0" nodeType="withEffect">
                                  <p:stCondLst>
                                    <p:cond delay="2500"/>
                                  </p:stCondLst>
                                  <p:childTnLst>
                                    <p:animEffect transition="out" filter="fade">
                                      <p:cBhvr>
                                        <p:cTn id="371" dur="2000" tmFilter="0, 0; .2, .5; .8, .5; 1, 0"/>
                                        <p:tgtEl>
                                          <p:spTgt spid="80"/>
                                        </p:tgtEl>
                                      </p:cBhvr>
                                    </p:animEffect>
                                    <p:animScale>
                                      <p:cBhvr>
                                        <p:cTn id="372" dur="1000" autoRev="1" fill="hold"/>
                                        <p:tgtEl>
                                          <p:spTgt spid="80"/>
                                        </p:tgtEl>
                                      </p:cBhvr>
                                      <p:by x="105000" y="105000"/>
                                    </p:animScale>
                                  </p:childTnLst>
                                </p:cTn>
                              </p:par>
                              <p:par>
                                <p:cTn id="373" presetID="26" presetClass="emph" presetSubtype="0" dur="2000" repeatCount="indefinite" fill="hold" grpId="0" nodeType="withEffect">
                                  <p:stCondLst>
                                    <p:cond delay="2500"/>
                                  </p:stCondLst>
                                  <p:childTnLst>
                                    <p:animEffect transition="out" filter="fade">
                                      <p:cBhvr>
                                        <p:cTn id="374" dur="2000" tmFilter="0, 0; .2, .5; .8, .5; 1, 0"/>
                                        <p:tgtEl>
                                          <p:spTgt spid="96"/>
                                        </p:tgtEl>
                                      </p:cBhvr>
                                    </p:animEffect>
                                    <p:animScale>
                                      <p:cBhvr>
                                        <p:cTn id="375" dur="1000" autoRev="1" fill="hold"/>
                                        <p:tgtEl>
                                          <p:spTgt spid="96"/>
                                        </p:tgtEl>
                                      </p:cBhvr>
                                      <p:by x="105000" y="105000"/>
                                    </p:animScale>
                                  </p:childTnLst>
                                </p:cTn>
                              </p:par>
                              <p:par>
                                <p:cTn id="376" presetID="26" presetClass="emph" presetSubtype="0" dur="2000" repeatCount="indefinite" fill="hold" grpId="0" nodeType="withEffect">
                                  <p:stCondLst>
                                    <p:cond delay="2500"/>
                                  </p:stCondLst>
                                  <p:childTnLst>
                                    <p:animEffect transition="out" filter="fade">
                                      <p:cBhvr>
                                        <p:cTn id="377" dur="2000" tmFilter="0, 0; .2, .5; .8, .5; 1, 0"/>
                                        <p:tgtEl>
                                          <p:spTgt spid="112"/>
                                        </p:tgtEl>
                                      </p:cBhvr>
                                    </p:animEffect>
                                    <p:animScale>
                                      <p:cBhvr>
                                        <p:cTn id="378" dur="1000" autoRev="1" fill="hold"/>
                                        <p:tgtEl>
                                          <p:spTgt spid="112"/>
                                        </p:tgtEl>
                                      </p:cBhvr>
                                      <p:by x="105000" y="105000"/>
                                    </p:animScale>
                                  </p:childTnLst>
                                </p:cTn>
                              </p:par>
                              <p:par>
                                <p:cTn id="379" presetID="26" presetClass="emph" presetSubtype="0" dur="2000" repeatCount="indefinite" fill="hold" grpId="0" nodeType="withEffect">
                                  <p:stCondLst>
                                    <p:cond delay="2500"/>
                                  </p:stCondLst>
                                  <p:childTnLst>
                                    <p:animEffect transition="out" filter="fade">
                                      <p:cBhvr>
                                        <p:cTn id="380" dur="2000" tmFilter="0, 0; .2, .5; .8, .5; 1, 0"/>
                                        <p:tgtEl>
                                          <p:spTgt spid="128"/>
                                        </p:tgtEl>
                                      </p:cBhvr>
                                    </p:animEffect>
                                    <p:animScale>
                                      <p:cBhvr>
                                        <p:cTn id="381" dur="1000" autoRev="1" fill="hold"/>
                                        <p:tgtEl>
                                          <p:spTgt spid="128"/>
                                        </p:tgtEl>
                                      </p:cBhvr>
                                      <p:by x="105000" y="105000"/>
                                    </p:animScale>
                                  </p:childTnLst>
                                </p:cTn>
                              </p:par>
                              <p:par>
                                <p:cTn id="382" presetID="26" presetClass="emph" presetSubtype="0" dur="2000" repeatCount="indefinite" fill="hold" grpId="0" nodeType="withEffect">
                                  <p:stCondLst>
                                    <p:cond delay="2500"/>
                                  </p:stCondLst>
                                  <p:childTnLst>
                                    <p:animEffect transition="out" filter="fade">
                                      <p:cBhvr>
                                        <p:cTn id="383" dur="2000" tmFilter="0, 0; .2, .5; .8, .5; 1, 0"/>
                                        <p:tgtEl>
                                          <p:spTgt spid="145"/>
                                        </p:tgtEl>
                                      </p:cBhvr>
                                    </p:animEffect>
                                    <p:animScale>
                                      <p:cBhvr>
                                        <p:cTn id="384" dur="1000" autoRev="1" fill="hold"/>
                                        <p:tgtEl>
                                          <p:spTgt spid="145"/>
                                        </p:tgtEl>
                                      </p:cBhvr>
                                      <p:by x="105000" y="105000"/>
                                    </p:animScale>
                                  </p:childTnLst>
                                </p:cTn>
                              </p:par>
                              <p:par>
                                <p:cTn id="385" presetID="26" presetClass="emph" presetSubtype="0" dur="2000" repeatCount="indefinite" fill="hold" grpId="0" nodeType="withEffect">
                                  <p:stCondLst>
                                    <p:cond delay="2500"/>
                                  </p:stCondLst>
                                  <p:childTnLst>
                                    <p:animEffect transition="out" filter="fade">
                                      <p:cBhvr>
                                        <p:cTn id="386" dur="2000" tmFilter="0, 0; .2, .5; .8, .5; 1, 0"/>
                                        <p:tgtEl>
                                          <p:spTgt spid="162"/>
                                        </p:tgtEl>
                                      </p:cBhvr>
                                    </p:animEffect>
                                    <p:animScale>
                                      <p:cBhvr>
                                        <p:cTn id="387" dur="1000" autoRev="1" fill="hold"/>
                                        <p:tgtEl>
                                          <p:spTgt spid="162"/>
                                        </p:tgtEl>
                                      </p:cBhvr>
                                      <p:by x="105000" y="105000"/>
                                    </p:animScale>
                                  </p:childTnLst>
                                </p:cTn>
                              </p:par>
                              <p:par>
                                <p:cTn id="388" presetID="26" presetClass="emph" presetSubtype="0" dur="2000" repeatCount="indefinite" fill="hold" grpId="0" nodeType="withEffect">
                                  <p:stCondLst>
                                    <p:cond delay="2500"/>
                                  </p:stCondLst>
                                  <p:childTnLst>
                                    <p:animEffect transition="out" filter="fade">
                                      <p:cBhvr>
                                        <p:cTn id="389" dur="2000" tmFilter="0, 0; .2, .5; .8, .5; 1, 0"/>
                                        <p:tgtEl>
                                          <p:spTgt spid="179"/>
                                        </p:tgtEl>
                                      </p:cBhvr>
                                    </p:animEffect>
                                    <p:animScale>
                                      <p:cBhvr>
                                        <p:cTn id="390" dur="1000" autoRev="1" fill="hold"/>
                                        <p:tgtEl>
                                          <p:spTgt spid="179"/>
                                        </p:tgtEl>
                                      </p:cBhvr>
                                      <p:by x="105000" y="105000"/>
                                    </p:animScale>
                                  </p:childTnLst>
                                </p:cTn>
                              </p:par>
                              <p:par>
                                <p:cTn id="391" presetID="26" presetClass="emph" presetSubtype="0" dur="2000" repeatCount="indefinite" fill="hold" grpId="0" nodeType="withEffect">
                                  <p:stCondLst>
                                    <p:cond delay="2500"/>
                                  </p:stCondLst>
                                  <p:childTnLst>
                                    <p:animEffect transition="out" filter="fade">
                                      <p:cBhvr>
                                        <p:cTn id="392" dur="2000" tmFilter="0, 0; .2, .5; .8, .5; 1, 0"/>
                                        <p:tgtEl>
                                          <p:spTgt spid="196"/>
                                        </p:tgtEl>
                                      </p:cBhvr>
                                    </p:animEffect>
                                    <p:animScale>
                                      <p:cBhvr>
                                        <p:cTn id="393" dur="1000" autoRev="1" fill="hold"/>
                                        <p:tgtEl>
                                          <p:spTgt spid="196"/>
                                        </p:tgtEl>
                                      </p:cBhvr>
                                      <p:by x="105000" y="105000"/>
                                    </p:animScale>
                                  </p:childTnLst>
                                </p:cTn>
                              </p:par>
                              <p:par>
                                <p:cTn id="394" presetID="26" presetClass="emph" presetSubtype="0" dur="2000" repeatCount="indefinite" fill="hold" grpId="0" nodeType="withEffect">
                                  <p:stCondLst>
                                    <p:cond delay="2500"/>
                                  </p:stCondLst>
                                  <p:childTnLst>
                                    <p:animEffect transition="out" filter="fade">
                                      <p:cBhvr>
                                        <p:cTn id="395" dur="2000" tmFilter="0, 0; .2, .5; .8, .5; 1, 0"/>
                                        <p:tgtEl>
                                          <p:spTgt spid="213"/>
                                        </p:tgtEl>
                                      </p:cBhvr>
                                    </p:animEffect>
                                    <p:animScale>
                                      <p:cBhvr>
                                        <p:cTn id="396" dur="1000" autoRev="1" fill="hold"/>
                                        <p:tgtEl>
                                          <p:spTgt spid="213"/>
                                        </p:tgtEl>
                                      </p:cBhvr>
                                      <p:by x="105000" y="105000"/>
                                    </p:animScale>
                                  </p:childTnLst>
                                </p:cTn>
                              </p:par>
                              <p:par>
                                <p:cTn id="397" presetID="26" presetClass="emph" presetSubtype="0" dur="2000" repeatCount="indefinite" fill="hold" grpId="0" nodeType="withEffect">
                                  <p:stCondLst>
                                    <p:cond delay="2500"/>
                                  </p:stCondLst>
                                  <p:childTnLst>
                                    <p:animEffect transition="out" filter="fade">
                                      <p:cBhvr>
                                        <p:cTn id="398" dur="2000" tmFilter="0, 0; .2, .5; .8, .5; 1, 0"/>
                                        <p:tgtEl>
                                          <p:spTgt spid="229"/>
                                        </p:tgtEl>
                                      </p:cBhvr>
                                    </p:animEffect>
                                    <p:animScale>
                                      <p:cBhvr>
                                        <p:cTn id="399" dur="1000" autoRev="1" fill="hold"/>
                                        <p:tgtEl>
                                          <p:spTgt spid="229"/>
                                        </p:tgtEl>
                                      </p:cBhvr>
                                      <p:by x="105000" y="105000"/>
                                    </p:animScale>
                                  </p:childTnLst>
                                </p:cTn>
                              </p:par>
                              <p:par>
                                <p:cTn id="400" presetID="26" presetClass="emph" presetSubtype="0" dur="2000" repeatCount="indefinite" fill="hold" grpId="0" nodeType="withEffect">
                                  <p:stCondLst>
                                    <p:cond delay="2750"/>
                                  </p:stCondLst>
                                  <p:childTnLst>
                                    <p:animEffect transition="out" filter="fade">
                                      <p:cBhvr>
                                        <p:cTn id="401" dur="2000" tmFilter="0, 0; .2, .5; .8, .5; 1, 0"/>
                                        <p:tgtEl>
                                          <p:spTgt spid="18"/>
                                        </p:tgtEl>
                                      </p:cBhvr>
                                    </p:animEffect>
                                    <p:animScale>
                                      <p:cBhvr>
                                        <p:cTn id="402" dur="1000" autoRev="1" fill="hold"/>
                                        <p:tgtEl>
                                          <p:spTgt spid="18"/>
                                        </p:tgtEl>
                                      </p:cBhvr>
                                      <p:by x="105000" y="105000"/>
                                    </p:animScale>
                                  </p:childTnLst>
                                </p:cTn>
                              </p:par>
                              <p:par>
                                <p:cTn id="403" presetID="26" presetClass="emph" presetSubtype="0" dur="2000" repeatCount="indefinite" fill="hold" grpId="0" nodeType="withEffect">
                                  <p:stCondLst>
                                    <p:cond delay="2750"/>
                                  </p:stCondLst>
                                  <p:childTnLst>
                                    <p:animEffect transition="out" filter="fade">
                                      <p:cBhvr>
                                        <p:cTn id="404" dur="2000" tmFilter="0, 0; .2, .5; .8, .5; 1, 0"/>
                                        <p:tgtEl>
                                          <p:spTgt spid="33"/>
                                        </p:tgtEl>
                                      </p:cBhvr>
                                    </p:animEffect>
                                    <p:animScale>
                                      <p:cBhvr>
                                        <p:cTn id="405" dur="1000" autoRev="1" fill="hold"/>
                                        <p:tgtEl>
                                          <p:spTgt spid="33"/>
                                        </p:tgtEl>
                                      </p:cBhvr>
                                      <p:by x="105000" y="105000"/>
                                    </p:animScale>
                                  </p:childTnLst>
                                </p:cTn>
                              </p:par>
                              <p:par>
                                <p:cTn id="406" presetID="26" presetClass="emph" presetSubtype="0" dur="2000" repeatCount="indefinite" fill="hold" grpId="0" nodeType="withEffect">
                                  <p:stCondLst>
                                    <p:cond delay="2750"/>
                                  </p:stCondLst>
                                  <p:childTnLst>
                                    <p:animEffect transition="out" filter="fade">
                                      <p:cBhvr>
                                        <p:cTn id="407" dur="2000" tmFilter="0, 0; .2, .5; .8, .5; 1, 0"/>
                                        <p:tgtEl>
                                          <p:spTgt spid="49"/>
                                        </p:tgtEl>
                                      </p:cBhvr>
                                    </p:animEffect>
                                    <p:animScale>
                                      <p:cBhvr>
                                        <p:cTn id="408" dur="1000" autoRev="1" fill="hold"/>
                                        <p:tgtEl>
                                          <p:spTgt spid="49"/>
                                        </p:tgtEl>
                                      </p:cBhvr>
                                      <p:by x="105000" y="105000"/>
                                    </p:animScale>
                                  </p:childTnLst>
                                </p:cTn>
                              </p:par>
                              <p:par>
                                <p:cTn id="409" presetID="26" presetClass="emph" presetSubtype="0" dur="2000" repeatCount="indefinite" fill="hold" grpId="0" nodeType="withEffect">
                                  <p:stCondLst>
                                    <p:cond delay="2750"/>
                                  </p:stCondLst>
                                  <p:childTnLst>
                                    <p:animEffect transition="out" filter="fade">
                                      <p:cBhvr>
                                        <p:cTn id="410" dur="2000" tmFilter="0, 0; .2, .5; .8, .5; 1, 0"/>
                                        <p:tgtEl>
                                          <p:spTgt spid="65"/>
                                        </p:tgtEl>
                                      </p:cBhvr>
                                    </p:animEffect>
                                    <p:animScale>
                                      <p:cBhvr>
                                        <p:cTn id="411" dur="1000" autoRev="1" fill="hold"/>
                                        <p:tgtEl>
                                          <p:spTgt spid="65"/>
                                        </p:tgtEl>
                                      </p:cBhvr>
                                      <p:by x="105000" y="105000"/>
                                    </p:animScale>
                                  </p:childTnLst>
                                </p:cTn>
                              </p:par>
                              <p:par>
                                <p:cTn id="412" presetID="26" presetClass="emph" presetSubtype="0" dur="2000" repeatCount="indefinite" fill="hold" grpId="0" nodeType="withEffect">
                                  <p:stCondLst>
                                    <p:cond delay="2750"/>
                                  </p:stCondLst>
                                  <p:childTnLst>
                                    <p:animEffect transition="out" filter="fade">
                                      <p:cBhvr>
                                        <p:cTn id="413" dur="2000" tmFilter="0, 0; .2, .5; .8, .5; 1, 0"/>
                                        <p:tgtEl>
                                          <p:spTgt spid="81"/>
                                        </p:tgtEl>
                                      </p:cBhvr>
                                    </p:animEffect>
                                    <p:animScale>
                                      <p:cBhvr>
                                        <p:cTn id="414" dur="1000" autoRev="1" fill="hold"/>
                                        <p:tgtEl>
                                          <p:spTgt spid="81"/>
                                        </p:tgtEl>
                                      </p:cBhvr>
                                      <p:by x="105000" y="105000"/>
                                    </p:animScale>
                                  </p:childTnLst>
                                </p:cTn>
                              </p:par>
                              <p:par>
                                <p:cTn id="415" presetID="26" presetClass="emph" presetSubtype="0" dur="2000" repeatCount="indefinite" fill="hold" grpId="0" nodeType="withEffect">
                                  <p:stCondLst>
                                    <p:cond delay="2750"/>
                                  </p:stCondLst>
                                  <p:childTnLst>
                                    <p:animEffect transition="out" filter="fade">
                                      <p:cBhvr>
                                        <p:cTn id="416" dur="2000" tmFilter="0, 0; .2, .5; .8, .5; 1, 0"/>
                                        <p:tgtEl>
                                          <p:spTgt spid="97"/>
                                        </p:tgtEl>
                                      </p:cBhvr>
                                    </p:animEffect>
                                    <p:animScale>
                                      <p:cBhvr>
                                        <p:cTn id="417" dur="1000" autoRev="1" fill="hold"/>
                                        <p:tgtEl>
                                          <p:spTgt spid="97"/>
                                        </p:tgtEl>
                                      </p:cBhvr>
                                      <p:by x="105000" y="105000"/>
                                    </p:animScale>
                                  </p:childTnLst>
                                </p:cTn>
                              </p:par>
                              <p:par>
                                <p:cTn id="418" presetID="26" presetClass="emph" presetSubtype="0" dur="2000" repeatCount="indefinite" fill="hold" grpId="0" nodeType="withEffect">
                                  <p:stCondLst>
                                    <p:cond delay="2750"/>
                                  </p:stCondLst>
                                  <p:childTnLst>
                                    <p:animEffect transition="out" filter="fade">
                                      <p:cBhvr>
                                        <p:cTn id="419" dur="2000" tmFilter="0, 0; .2, .5; .8, .5; 1, 0"/>
                                        <p:tgtEl>
                                          <p:spTgt spid="113"/>
                                        </p:tgtEl>
                                      </p:cBhvr>
                                    </p:animEffect>
                                    <p:animScale>
                                      <p:cBhvr>
                                        <p:cTn id="420" dur="1000" autoRev="1" fill="hold"/>
                                        <p:tgtEl>
                                          <p:spTgt spid="113"/>
                                        </p:tgtEl>
                                      </p:cBhvr>
                                      <p:by x="105000" y="105000"/>
                                    </p:animScale>
                                  </p:childTnLst>
                                </p:cTn>
                              </p:par>
                              <p:par>
                                <p:cTn id="421" presetID="26" presetClass="emph" presetSubtype="0" dur="2000" repeatCount="indefinite" fill="hold" grpId="0" nodeType="withEffect">
                                  <p:stCondLst>
                                    <p:cond delay="2750"/>
                                  </p:stCondLst>
                                  <p:childTnLst>
                                    <p:animEffect transition="out" filter="fade">
                                      <p:cBhvr>
                                        <p:cTn id="422" dur="2000" tmFilter="0, 0; .2, .5; .8, .5; 1, 0"/>
                                        <p:tgtEl>
                                          <p:spTgt spid="129"/>
                                        </p:tgtEl>
                                      </p:cBhvr>
                                    </p:animEffect>
                                    <p:animScale>
                                      <p:cBhvr>
                                        <p:cTn id="423" dur="1000" autoRev="1" fill="hold"/>
                                        <p:tgtEl>
                                          <p:spTgt spid="129"/>
                                        </p:tgtEl>
                                      </p:cBhvr>
                                      <p:by x="105000" y="105000"/>
                                    </p:animScale>
                                  </p:childTnLst>
                                </p:cTn>
                              </p:par>
                              <p:par>
                                <p:cTn id="424" presetID="26" presetClass="emph" presetSubtype="0" dur="2000" repeatCount="indefinite" fill="hold" grpId="0" nodeType="withEffect">
                                  <p:stCondLst>
                                    <p:cond delay="2750"/>
                                  </p:stCondLst>
                                  <p:childTnLst>
                                    <p:animEffect transition="out" filter="fade">
                                      <p:cBhvr>
                                        <p:cTn id="425" dur="2000" tmFilter="0, 0; .2, .5; .8, .5; 1, 0"/>
                                        <p:tgtEl>
                                          <p:spTgt spid="146"/>
                                        </p:tgtEl>
                                      </p:cBhvr>
                                    </p:animEffect>
                                    <p:animScale>
                                      <p:cBhvr>
                                        <p:cTn id="426" dur="1000" autoRev="1" fill="hold"/>
                                        <p:tgtEl>
                                          <p:spTgt spid="146"/>
                                        </p:tgtEl>
                                      </p:cBhvr>
                                      <p:by x="105000" y="105000"/>
                                    </p:animScale>
                                  </p:childTnLst>
                                </p:cTn>
                              </p:par>
                              <p:par>
                                <p:cTn id="427" presetID="26" presetClass="emph" presetSubtype="0" dur="2000" repeatCount="indefinite" fill="hold" grpId="0" nodeType="withEffect">
                                  <p:stCondLst>
                                    <p:cond delay="2750"/>
                                  </p:stCondLst>
                                  <p:childTnLst>
                                    <p:animEffect transition="out" filter="fade">
                                      <p:cBhvr>
                                        <p:cTn id="428" dur="2000" tmFilter="0, 0; .2, .5; .8, .5; 1, 0"/>
                                        <p:tgtEl>
                                          <p:spTgt spid="163"/>
                                        </p:tgtEl>
                                      </p:cBhvr>
                                    </p:animEffect>
                                    <p:animScale>
                                      <p:cBhvr>
                                        <p:cTn id="429" dur="1000" autoRev="1" fill="hold"/>
                                        <p:tgtEl>
                                          <p:spTgt spid="163"/>
                                        </p:tgtEl>
                                      </p:cBhvr>
                                      <p:by x="105000" y="105000"/>
                                    </p:animScale>
                                  </p:childTnLst>
                                </p:cTn>
                              </p:par>
                              <p:par>
                                <p:cTn id="430" presetID="26" presetClass="emph" presetSubtype="0" dur="2000" repeatCount="indefinite" fill="hold" grpId="0" nodeType="withEffect">
                                  <p:stCondLst>
                                    <p:cond delay="2750"/>
                                  </p:stCondLst>
                                  <p:childTnLst>
                                    <p:animEffect transition="out" filter="fade">
                                      <p:cBhvr>
                                        <p:cTn id="431" dur="2000" tmFilter="0, 0; .2, .5; .8, .5; 1, 0"/>
                                        <p:tgtEl>
                                          <p:spTgt spid="180"/>
                                        </p:tgtEl>
                                      </p:cBhvr>
                                    </p:animEffect>
                                    <p:animScale>
                                      <p:cBhvr>
                                        <p:cTn id="432" dur="1000" autoRev="1" fill="hold"/>
                                        <p:tgtEl>
                                          <p:spTgt spid="180"/>
                                        </p:tgtEl>
                                      </p:cBhvr>
                                      <p:by x="105000" y="105000"/>
                                    </p:animScale>
                                  </p:childTnLst>
                                </p:cTn>
                              </p:par>
                              <p:par>
                                <p:cTn id="433" presetID="26" presetClass="emph" presetSubtype="0" dur="2000" repeatCount="indefinite" fill="hold" grpId="0" nodeType="withEffect">
                                  <p:stCondLst>
                                    <p:cond delay="2750"/>
                                  </p:stCondLst>
                                  <p:childTnLst>
                                    <p:animEffect transition="out" filter="fade">
                                      <p:cBhvr>
                                        <p:cTn id="434" dur="2000" tmFilter="0, 0; .2, .5; .8, .5; 1, 0"/>
                                        <p:tgtEl>
                                          <p:spTgt spid="197"/>
                                        </p:tgtEl>
                                      </p:cBhvr>
                                    </p:animEffect>
                                    <p:animScale>
                                      <p:cBhvr>
                                        <p:cTn id="435" dur="1000" autoRev="1" fill="hold"/>
                                        <p:tgtEl>
                                          <p:spTgt spid="197"/>
                                        </p:tgtEl>
                                      </p:cBhvr>
                                      <p:by x="105000" y="105000"/>
                                    </p:animScale>
                                  </p:childTnLst>
                                </p:cTn>
                              </p:par>
                              <p:par>
                                <p:cTn id="436" presetID="26" presetClass="emph" presetSubtype="0" dur="2000" repeatCount="indefinite" fill="hold" grpId="0" nodeType="withEffect">
                                  <p:stCondLst>
                                    <p:cond delay="2750"/>
                                  </p:stCondLst>
                                  <p:childTnLst>
                                    <p:animEffect transition="out" filter="fade">
                                      <p:cBhvr>
                                        <p:cTn id="437" dur="2000" tmFilter="0, 0; .2, .5; .8, .5; 1, 0"/>
                                        <p:tgtEl>
                                          <p:spTgt spid="214"/>
                                        </p:tgtEl>
                                      </p:cBhvr>
                                    </p:animEffect>
                                    <p:animScale>
                                      <p:cBhvr>
                                        <p:cTn id="438" dur="1000" autoRev="1" fill="hold"/>
                                        <p:tgtEl>
                                          <p:spTgt spid="214"/>
                                        </p:tgtEl>
                                      </p:cBhvr>
                                      <p:by x="105000" y="105000"/>
                                    </p:animScale>
                                  </p:childTnLst>
                                </p:cTn>
                              </p:par>
                              <p:par>
                                <p:cTn id="439" presetID="26" presetClass="emph" presetSubtype="0" dur="2000" repeatCount="indefinite" fill="hold" grpId="0" nodeType="withEffect">
                                  <p:stCondLst>
                                    <p:cond delay="2750"/>
                                  </p:stCondLst>
                                  <p:childTnLst>
                                    <p:animEffect transition="out" filter="fade">
                                      <p:cBhvr>
                                        <p:cTn id="440" dur="2000" tmFilter="0, 0; .2, .5; .8, .5; 1, 0"/>
                                        <p:tgtEl>
                                          <p:spTgt spid="230"/>
                                        </p:tgtEl>
                                      </p:cBhvr>
                                    </p:animEffect>
                                    <p:animScale>
                                      <p:cBhvr>
                                        <p:cTn id="441" dur="1000" autoRev="1" fill="hold"/>
                                        <p:tgtEl>
                                          <p:spTgt spid="230"/>
                                        </p:tgtEl>
                                      </p:cBhvr>
                                      <p:by x="105000" y="105000"/>
                                    </p:animScale>
                                  </p:childTnLst>
                                </p:cTn>
                              </p:par>
                              <p:par>
                                <p:cTn id="442" presetID="26" presetClass="emph" presetSubtype="0" dur="2000" repeatCount="indefinite" fill="hold" grpId="0" nodeType="withEffect">
                                  <p:stCondLst>
                                    <p:cond delay="3000"/>
                                  </p:stCondLst>
                                  <p:childTnLst>
                                    <p:animEffect transition="out" filter="fade">
                                      <p:cBhvr>
                                        <p:cTn id="443" dur="2000" tmFilter="0, 0; .2, .5; .8, .5; 1, 0"/>
                                        <p:tgtEl>
                                          <p:spTgt spid="19"/>
                                        </p:tgtEl>
                                      </p:cBhvr>
                                    </p:animEffect>
                                    <p:animScale>
                                      <p:cBhvr>
                                        <p:cTn id="444" dur="1000" autoRev="1" fill="hold"/>
                                        <p:tgtEl>
                                          <p:spTgt spid="19"/>
                                        </p:tgtEl>
                                      </p:cBhvr>
                                      <p:by x="105000" y="105000"/>
                                    </p:animScale>
                                  </p:childTnLst>
                                </p:cTn>
                              </p:par>
                              <p:par>
                                <p:cTn id="445" presetID="26" presetClass="emph" presetSubtype="0" dur="2000" repeatCount="indefinite" fill="hold" grpId="0" nodeType="withEffect">
                                  <p:stCondLst>
                                    <p:cond delay="3000"/>
                                  </p:stCondLst>
                                  <p:childTnLst>
                                    <p:animEffect transition="out" filter="fade">
                                      <p:cBhvr>
                                        <p:cTn id="446" dur="2000" tmFilter="0, 0; .2, .5; .8, .5; 1, 0"/>
                                        <p:tgtEl>
                                          <p:spTgt spid="34"/>
                                        </p:tgtEl>
                                      </p:cBhvr>
                                    </p:animEffect>
                                    <p:animScale>
                                      <p:cBhvr>
                                        <p:cTn id="447" dur="1000" autoRev="1" fill="hold"/>
                                        <p:tgtEl>
                                          <p:spTgt spid="34"/>
                                        </p:tgtEl>
                                      </p:cBhvr>
                                      <p:by x="105000" y="105000"/>
                                    </p:animScale>
                                  </p:childTnLst>
                                </p:cTn>
                              </p:par>
                              <p:par>
                                <p:cTn id="448" presetID="26" presetClass="emph" presetSubtype="0" dur="2000" repeatCount="indefinite" fill="hold" grpId="0" nodeType="withEffect">
                                  <p:stCondLst>
                                    <p:cond delay="3000"/>
                                  </p:stCondLst>
                                  <p:childTnLst>
                                    <p:animEffect transition="out" filter="fade">
                                      <p:cBhvr>
                                        <p:cTn id="449" dur="2000" tmFilter="0, 0; .2, .5; .8, .5; 1, 0"/>
                                        <p:tgtEl>
                                          <p:spTgt spid="50"/>
                                        </p:tgtEl>
                                      </p:cBhvr>
                                    </p:animEffect>
                                    <p:animScale>
                                      <p:cBhvr>
                                        <p:cTn id="450" dur="1000" autoRev="1" fill="hold"/>
                                        <p:tgtEl>
                                          <p:spTgt spid="50"/>
                                        </p:tgtEl>
                                      </p:cBhvr>
                                      <p:by x="105000" y="105000"/>
                                    </p:animScale>
                                  </p:childTnLst>
                                </p:cTn>
                              </p:par>
                              <p:par>
                                <p:cTn id="451" presetID="26" presetClass="emph" presetSubtype="0" dur="2000" repeatCount="indefinite" fill="hold" grpId="0" nodeType="withEffect">
                                  <p:stCondLst>
                                    <p:cond delay="3000"/>
                                  </p:stCondLst>
                                  <p:childTnLst>
                                    <p:animEffect transition="out" filter="fade">
                                      <p:cBhvr>
                                        <p:cTn id="452" dur="2000" tmFilter="0, 0; .2, .5; .8, .5; 1, 0"/>
                                        <p:tgtEl>
                                          <p:spTgt spid="66"/>
                                        </p:tgtEl>
                                      </p:cBhvr>
                                    </p:animEffect>
                                    <p:animScale>
                                      <p:cBhvr>
                                        <p:cTn id="453" dur="1000" autoRev="1" fill="hold"/>
                                        <p:tgtEl>
                                          <p:spTgt spid="66"/>
                                        </p:tgtEl>
                                      </p:cBhvr>
                                      <p:by x="105000" y="105000"/>
                                    </p:animScale>
                                  </p:childTnLst>
                                </p:cTn>
                              </p:par>
                              <p:par>
                                <p:cTn id="454" presetID="26" presetClass="emph" presetSubtype="0" dur="2000" repeatCount="indefinite" fill="hold" grpId="0" nodeType="withEffect">
                                  <p:stCondLst>
                                    <p:cond delay="3000"/>
                                  </p:stCondLst>
                                  <p:childTnLst>
                                    <p:animEffect transition="out" filter="fade">
                                      <p:cBhvr>
                                        <p:cTn id="455" dur="2000" tmFilter="0, 0; .2, .5; .8, .5; 1, 0"/>
                                        <p:tgtEl>
                                          <p:spTgt spid="82"/>
                                        </p:tgtEl>
                                      </p:cBhvr>
                                    </p:animEffect>
                                    <p:animScale>
                                      <p:cBhvr>
                                        <p:cTn id="456" dur="1000" autoRev="1" fill="hold"/>
                                        <p:tgtEl>
                                          <p:spTgt spid="82"/>
                                        </p:tgtEl>
                                      </p:cBhvr>
                                      <p:by x="105000" y="105000"/>
                                    </p:animScale>
                                  </p:childTnLst>
                                </p:cTn>
                              </p:par>
                              <p:par>
                                <p:cTn id="457" presetID="26" presetClass="emph" presetSubtype="0" dur="2000" repeatCount="indefinite" fill="hold" grpId="0" nodeType="withEffect">
                                  <p:stCondLst>
                                    <p:cond delay="3000"/>
                                  </p:stCondLst>
                                  <p:childTnLst>
                                    <p:animEffect transition="out" filter="fade">
                                      <p:cBhvr>
                                        <p:cTn id="458" dur="2000" tmFilter="0, 0; .2, .5; .8, .5; 1, 0"/>
                                        <p:tgtEl>
                                          <p:spTgt spid="98"/>
                                        </p:tgtEl>
                                      </p:cBhvr>
                                    </p:animEffect>
                                    <p:animScale>
                                      <p:cBhvr>
                                        <p:cTn id="459" dur="1000" autoRev="1" fill="hold"/>
                                        <p:tgtEl>
                                          <p:spTgt spid="98"/>
                                        </p:tgtEl>
                                      </p:cBhvr>
                                      <p:by x="105000" y="105000"/>
                                    </p:animScale>
                                  </p:childTnLst>
                                </p:cTn>
                              </p:par>
                              <p:par>
                                <p:cTn id="460" presetID="26" presetClass="emph" presetSubtype="0" dur="2000" repeatCount="indefinite" fill="hold" grpId="0" nodeType="withEffect">
                                  <p:stCondLst>
                                    <p:cond delay="3000"/>
                                  </p:stCondLst>
                                  <p:childTnLst>
                                    <p:animEffect transition="out" filter="fade">
                                      <p:cBhvr>
                                        <p:cTn id="461" dur="2000" tmFilter="0, 0; .2, .5; .8, .5; 1, 0"/>
                                        <p:tgtEl>
                                          <p:spTgt spid="114"/>
                                        </p:tgtEl>
                                      </p:cBhvr>
                                    </p:animEffect>
                                    <p:animScale>
                                      <p:cBhvr>
                                        <p:cTn id="462" dur="1000" autoRev="1" fill="hold"/>
                                        <p:tgtEl>
                                          <p:spTgt spid="114"/>
                                        </p:tgtEl>
                                      </p:cBhvr>
                                      <p:by x="105000" y="105000"/>
                                    </p:animScale>
                                  </p:childTnLst>
                                </p:cTn>
                              </p:par>
                              <p:par>
                                <p:cTn id="463" presetID="26" presetClass="emph" presetSubtype="0" dur="2000" repeatCount="indefinite" fill="hold" grpId="0" nodeType="withEffect">
                                  <p:stCondLst>
                                    <p:cond delay="3000"/>
                                  </p:stCondLst>
                                  <p:childTnLst>
                                    <p:animEffect transition="out" filter="fade">
                                      <p:cBhvr>
                                        <p:cTn id="464" dur="2000" tmFilter="0, 0; .2, .5; .8, .5; 1, 0"/>
                                        <p:tgtEl>
                                          <p:spTgt spid="130"/>
                                        </p:tgtEl>
                                      </p:cBhvr>
                                    </p:animEffect>
                                    <p:animScale>
                                      <p:cBhvr>
                                        <p:cTn id="465" dur="1000" autoRev="1" fill="hold"/>
                                        <p:tgtEl>
                                          <p:spTgt spid="130"/>
                                        </p:tgtEl>
                                      </p:cBhvr>
                                      <p:by x="105000" y="105000"/>
                                    </p:animScale>
                                  </p:childTnLst>
                                </p:cTn>
                              </p:par>
                              <p:par>
                                <p:cTn id="466" presetID="26" presetClass="emph" presetSubtype="0" dur="2000" repeatCount="indefinite" fill="hold" grpId="0" nodeType="withEffect">
                                  <p:stCondLst>
                                    <p:cond delay="3000"/>
                                  </p:stCondLst>
                                  <p:childTnLst>
                                    <p:animEffect transition="out" filter="fade">
                                      <p:cBhvr>
                                        <p:cTn id="467" dur="2000" tmFilter="0, 0; .2, .5; .8, .5; 1, 0"/>
                                        <p:tgtEl>
                                          <p:spTgt spid="147"/>
                                        </p:tgtEl>
                                      </p:cBhvr>
                                    </p:animEffect>
                                    <p:animScale>
                                      <p:cBhvr>
                                        <p:cTn id="468" dur="1000" autoRev="1" fill="hold"/>
                                        <p:tgtEl>
                                          <p:spTgt spid="147"/>
                                        </p:tgtEl>
                                      </p:cBhvr>
                                      <p:by x="105000" y="105000"/>
                                    </p:animScale>
                                  </p:childTnLst>
                                </p:cTn>
                              </p:par>
                              <p:par>
                                <p:cTn id="469" presetID="26" presetClass="emph" presetSubtype="0" dur="2000" repeatCount="indefinite" fill="hold" grpId="0" nodeType="withEffect">
                                  <p:stCondLst>
                                    <p:cond delay="3000"/>
                                  </p:stCondLst>
                                  <p:childTnLst>
                                    <p:animEffect transition="out" filter="fade">
                                      <p:cBhvr>
                                        <p:cTn id="470" dur="2000" tmFilter="0, 0; .2, .5; .8, .5; 1, 0"/>
                                        <p:tgtEl>
                                          <p:spTgt spid="164"/>
                                        </p:tgtEl>
                                      </p:cBhvr>
                                    </p:animEffect>
                                    <p:animScale>
                                      <p:cBhvr>
                                        <p:cTn id="471" dur="1000" autoRev="1" fill="hold"/>
                                        <p:tgtEl>
                                          <p:spTgt spid="164"/>
                                        </p:tgtEl>
                                      </p:cBhvr>
                                      <p:by x="105000" y="105000"/>
                                    </p:animScale>
                                  </p:childTnLst>
                                </p:cTn>
                              </p:par>
                              <p:par>
                                <p:cTn id="472" presetID="26" presetClass="emph" presetSubtype="0" dur="2000" repeatCount="indefinite" fill="hold" grpId="0" nodeType="withEffect">
                                  <p:stCondLst>
                                    <p:cond delay="3000"/>
                                  </p:stCondLst>
                                  <p:childTnLst>
                                    <p:animEffect transition="out" filter="fade">
                                      <p:cBhvr>
                                        <p:cTn id="473" dur="2000" tmFilter="0, 0; .2, .5; .8, .5; 1, 0"/>
                                        <p:tgtEl>
                                          <p:spTgt spid="181"/>
                                        </p:tgtEl>
                                      </p:cBhvr>
                                    </p:animEffect>
                                    <p:animScale>
                                      <p:cBhvr>
                                        <p:cTn id="474" dur="1000" autoRev="1" fill="hold"/>
                                        <p:tgtEl>
                                          <p:spTgt spid="181"/>
                                        </p:tgtEl>
                                      </p:cBhvr>
                                      <p:by x="105000" y="105000"/>
                                    </p:animScale>
                                  </p:childTnLst>
                                </p:cTn>
                              </p:par>
                              <p:par>
                                <p:cTn id="475" presetID="26" presetClass="emph" presetSubtype="0" dur="2000" repeatCount="indefinite" fill="hold" grpId="0" nodeType="withEffect">
                                  <p:stCondLst>
                                    <p:cond delay="3000"/>
                                  </p:stCondLst>
                                  <p:childTnLst>
                                    <p:animEffect transition="out" filter="fade">
                                      <p:cBhvr>
                                        <p:cTn id="476" dur="2000" tmFilter="0, 0; .2, .5; .8, .5; 1, 0"/>
                                        <p:tgtEl>
                                          <p:spTgt spid="198"/>
                                        </p:tgtEl>
                                      </p:cBhvr>
                                    </p:animEffect>
                                    <p:animScale>
                                      <p:cBhvr>
                                        <p:cTn id="477" dur="1000" autoRev="1" fill="hold"/>
                                        <p:tgtEl>
                                          <p:spTgt spid="198"/>
                                        </p:tgtEl>
                                      </p:cBhvr>
                                      <p:by x="105000" y="105000"/>
                                    </p:animScale>
                                  </p:childTnLst>
                                </p:cTn>
                              </p:par>
                              <p:par>
                                <p:cTn id="478" presetID="26" presetClass="emph" presetSubtype="0" dur="2000" repeatCount="indefinite" fill="hold" grpId="0" nodeType="withEffect">
                                  <p:stCondLst>
                                    <p:cond delay="3000"/>
                                  </p:stCondLst>
                                  <p:childTnLst>
                                    <p:animEffect transition="out" filter="fade">
                                      <p:cBhvr>
                                        <p:cTn id="479" dur="2000" tmFilter="0, 0; .2, .5; .8, .5; 1, 0"/>
                                        <p:tgtEl>
                                          <p:spTgt spid="215"/>
                                        </p:tgtEl>
                                      </p:cBhvr>
                                    </p:animEffect>
                                    <p:animScale>
                                      <p:cBhvr>
                                        <p:cTn id="480" dur="1000" autoRev="1" fill="hold"/>
                                        <p:tgtEl>
                                          <p:spTgt spid="215"/>
                                        </p:tgtEl>
                                      </p:cBhvr>
                                      <p:by x="105000" y="105000"/>
                                    </p:animScale>
                                  </p:childTnLst>
                                </p:cTn>
                              </p:par>
                              <p:par>
                                <p:cTn id="481" presetID="26" presetClass="emph" presetSubtype="0" dur="2000" repeatCount="indefinite" fill="hold" grpId="0" nodeType="withEffect">
                                  <p:stCondLst>
                                    <p:cond delay="3000"/>
                                  </p:stCondLst>
                                  <p:childTnLst>
                                    <p:animEffect transition="out" filter="fade">
                                      <p:cBhvr>
                                        <p:cTn id="482" dur="2000" tmFilter="0, 0; .2, .5; .8, .5; 1, 0"/>
                                        <p:tgtEl>
                                          <p:spTgt spid="231"/>
                                        </p:tgtEl>
                                      </p:cBhvr>
                                    </p:animEffect>
                                    <p:animScale>
                                      <p:cBhvr>
                                        <p:cTn id="483" dur="1000" autoRev="1" fill="hold"/>
                                        <p:tgtEl>
                                          <p:spTgt spid="231"/>
                                        </p:tgtEl>
                                      </p:cBhvr>
                                      <p:by x="105000" y="105000"/>
                                    </p:animScale>
                                  </p:childTnLst>
                                </p:cTn>
                              </p:par>
                              <p:par>
                                <p:cTn id="484" presetID="26" presetClass="emph" presetSubtype="0" dur="2000" repeatCount="indefinite" fill="hold" grpId="0" nodeType="withEffect">
                                  <p:stCondLst>
                                    <p:cond delay="3250"/>
                                  </p:stCondLst>
                                  <p:childTnLst>
                                    <p:animEffect transition="out" filter="fade">
                                      <p:cBhvr>
                                        <p:cTn id="485" dur="2000" tmFilter="0, 0; .2, .5; .8, .5; 1, 0"/>
                                        <p:tgtEl>
                                          <p:spTgt spid="20"/>
                                        </p:tgtEl>
                                      </p:cBhvr>
                                    </p:animEffect>
                                    <p:animScale>
                                      <p:cBhvr>
                                        <p:cTn id="486" dur="1000" autoRev="1" fill="hold"/>
                                        <p:tgtEl>
                                          <p:spTgt spid="20"/>
                                        </p:tgtEl>
                                      </p:cBhvr>
                                      <p:by x="105000" y="105000"/>
                                    </p:animScale>
                                  </p:childTnLst>
                                </p:cTn>
                              </p:par>
                              <p:par>
                                <p:cTn id="487" presetID="26" presetClass="emph" presetSubtype="0" dur="2000" repeatCount="indefinite" fill="hold" grpId="0" nodeType="withEffect">
                                  <p:stCondLst>
                                    <p:cond delay="3250"/>
                                  </p:stCondLst>
                                  <p:childTnLst>
                                    <p:animEffect transition="out" filter="fade">
                                      <p:cBhvr>
                                        <p:cTn id="488" dur="2000" tmFilter="0, 0; .2, .5; .8, .5; 1, 0"/>
                                        <p:tgtEl>
                                          <p:spTgt spid="35"/>
                                        </p:tgtEl>
                                      </p:cBhvr>
                                    </p:animEffect>
                                    <p:animScale>
                                      <p:cBhvr>
                                        <p:cTn id="489" dur="1000" autoRev="1" fill="hold"/>
                                        <p:tgtEl>
                                          <p:spTgt spid="35"/>
                                        </p:tgtEl>
                                      </p:cBhvr>
                                      <p:by x="105000" y="105000"/>
                                    </p:animScale>
                                  </p:childTnLst>
                                </p:cTn>
                              </p:par>
                              <p:par>
                                <p:cTn id="490" presetID="26" presetClass="emph" presetSubtype="0" dur="2000" repeatCount="indefinite" fill="hold" grpId="0" nodeType="withEffect">
                                  <p:stCondLst>
                                    <p:cond delay="3250"/>
                                  </p:stCondLst>
                                  <p:childTnLst>
                                    <p:animEffect transition="out" filter="fade">
                                      <p:cBhvr>
                                        <p:cTn id="491" dur="2000" tmFilter="0, 0; .2, .5; .8, .5; 1, 0"/>
                                        <p:tgtEl>
                                          <p:spTgt spid="51"/>
                                        </p:tgtEl>
                                      </p:cBhvr>
                                    </p:animEffect>
                                    <p:animScale>
                                      <p:cBhvr>
                                        <p:cTn id="492" dur="1000" autoRev="1" fill="hold"/>
                                        <p:tgtEl>
                                          <p:spTgt spid="51"/>
                                        </p:tgtEl>
                                      </p:cBhvr>
                                      <p:by x="105000" y="105000"/>
                                    </p:animScale>
                                  </p:childTnLst>
                                </p:cTn>
                              </p:par>
                              <p:par>
                                <p:cTn id="493" presetID="26" presetClass="emph" presetSubtype="0" dur="2000" repeatCount="indefinite" fill="hold" grpId="0" nodeType="withEffect">
                                  <p:stCondLst>
                                    <p:cond delay="3250"/>
                                  </p:stCondLst>
                                  <p:childTnLst>
                                    <p:animEffect transition="out" filter="fade">
                                      <p:cBhvr>
                                        <p:cTn id="494" dur="2000" tmFilter="0, 0; .2, .5; .8, .5; 1, 0"/>
                                        <p:tgtEl>
                                          <p:spTgt spid="67"/>
                                        </p:tgtEl>
                                      </p:cBhvr>
                                    </p:animEffect>
                                    <p:animScale>
                                      <p:cBhvr>
                                        <p:cTn id="495" dur="1000" autoRev="1" fill="hold"/>
                                        <p:tgtEl>
                                          <p:spTgt spid="67"/>
                                        </p:tgtEl>
                                      </p:cBhvr>
                                      <p:by x="105000" y="105000"/>
                                    </p:animScale>
                                  </p:childTnLst>
                                </p:cTn>
                              </p:par>
                              <p:par>
                                <p:cTn id="496" presetID="26" presetClass="emph" presetSubtype="0" dur="2000" repeatCount="indefinite" fill="hold" grpId="0" nodeType="withEffect">
                                  <p:stCondLst>
                                    <p:cond delay="3250"/>
                                  </p:stCondLst>
                                  <p:childTnLst>
                                    <p:animEffect transition="out" filter="fade">
                                      <p:cBhvr>
                                        <p:cTn id="497" dur="2000" tmFilter="0, 0; .2, .5; .8, .5; 1, 0"/>
                                        <p:tgtEl>
                                          <p:spTgt spid="83"/>
                                        </p:tgtEl>
                                      </p:cBhvr>
                                    </p:animEffect>
                                    <p:animScale>
                                      <p:cBhvr>
                                        <p:cTn id="498" dur="1000" autoRev="1" fill="hold"/>
                                        <p:tgtEl>
                                          <p:spTgt spid="83"/>
                                        </p:tgtEl>
                                      </p:cBhvr>
                                      <p:by x="105000" y="105000"/>
                                    </p:animScale>
                                  </p:childTnLst>
                                </p:cTn>
                              </p:par>
                              <p:par>
                                <p:cTn id="499" presetID="26" presetClass="emph" presetSubtype="0" dur="2000" repeatCount="indefinite" fill="hold" grpId="0" nodeType="withEffect">
                                  <p:stCondLst>
                                    <p:cond delay="3250"/>
                                  </p:stCondLst>
                                  <p:childTnLst>
                                    <p:animEffect transition="out" filter="fade">
                                      <p:cBhvr>
                                        <p:cTn id="500" dur="2000" tmFilter="0, 0; .2, .5; .8, .5; 1, 0"/>
                                        <p:tgtEl>
                                          <p:spTgt spid="99"/>
                                        </p:tgtEl>
                                      </p:cBhvr>
                                    </p:animEffect>
                                    <p:animScale>
                                      <p:cBhvr>
                                        <p:cTn id="501" dur="1000" autoRev="1" fill="hold"/>
                                        <p:tgtEl>
                                          <p:spTgt spid="99"/>
                                        </p:tgtEl>
                                      </p:cBhvr>
                                      <p:by x="105000" y="105000"/>
                                    </p:animScale>
                                  </p:childTnLst>
                                </p:cTn>
                              </p:par>
                              <p:par>
                                <p:cTn id="502" presetID="26" presetClass="emph" presetSubtype="0" dur="2000" repeatCount="indefinite" fill="hold" grpId="0" nodeType="withEffect">
                                  <p:stCondLst>
                                    <p:cond delay="3250"/>
                                  </p:stCondLst>
                                  <p:childTnLst>
                                    <p:animEffect transition="out" filter="fade">
                                      <p:cBhvr>
                                        <p:cTn id="503" dur="2000" tmFilter="0, 0; .2, .5; .8, .5; 1, 0"/>
                                        <p:tgtEl>
                                          <p:spTgt spid="115"/>
                                        </p:tgtEl>
                                      </p:cBhvr>
                                    </p:animEffect>
                                    <p:animScale>
                                      <p:cBhvr>
                                        <p:cTn id="504" dur="1000" autoRev="1" fill="hold"/>
                                        <p:tgtEl>
                                          <p:spTgt spid="115"/>
                                        </p:tgtEl>
                                      </p:cBhvr>
                                      <p:by x="105000" y="105000"/>
                                    </p:animScale>
                                  </p:childTnLst>
                                </p:cTn>
                              </p:par>
                              <p:par>
                                <p:cTn id="505" presetID="26" presetClass="emph" presetSubtype="0" dur="2000" repeatCount="indefinite" fill="hold" grpId="0" nodeType="withEffect">
                                  <p:stCondLst>
                                    <p:cond delay="3250"/>
                                  </p:stCondLst>
                                  <p:childTnLst>
                                    <p:animEffect transition="out" filter="fade">
                                      <p:cBhvr>
                                        <p:cTn id="506" dur="2000" tmFilter="0, 0; .2, .5; .8, .5; 1, 0"/>
                                        <p:tgtEl>
                                          <p:spTgt spid="131"/>
                                        </p:tgtEl>
                                      </p:cBhvr>
                                    </p:animEffect>
                                    <p:animScale>
                                      <p:cBhvr>
                                        <p:cTn id="507" dur="1000" autoRev="1" fill="hold"/>
                                        <p:tgtEl>
                                          <p:spTgt spid="131"/>
                                        </p:tgtEl>
                                      </p:cBhvr>
                                      <p:by x="105000" y="105000"/>
                                    </p:animScale>
                                  </p:childTnLst>
                                </p:cTn>
                              </p:par>
                              <p:par>
                                <p:cTn id="508" presetID="26" presetClass="emph" presetSubtype="0" dur="2000" repeatCount="indefinite" fill="hold" grpId="0" nodeType="withEffect">
                                  <p:stCondLst>
                                    <p:cond delay="3250"/>
                                  </p:stCondLst>
                                  <p:childTnLst>
                                    <p:animEffect transition="out" filter="fade">
                                      <p:cBhvr>
                                        <p:cTn id="509" dur="2000" tmFilter="0, 0; .2, .5; .8, .5; 1, 0"/>
                                        <p:tgtEl>
                                          <p:spTgt spid="148"/>
                                        </p:tgtEl>
                                      </p:cBhvr>
                                    </p:animEffect>
                                    <p:animScale>
                                      <p:cBhvr>
                                        <p:cTn id="510" dur="1000" autoRev="1" fill="hold"/>
                                        <p:tgtEl>
                                          <p:spTgt spid="148"/>
                                        </p:tgtEl>
                                      </p:cBhvr>
                                      <p:by x="105000" y="105000"/>
                                    </p:animScale>
                                  </p:childTnLst>
                                </p:cTn>
                              </p:par>
                              <p:par>
                                <p:cTn id="511" presetID="26" presetClass="emph" presetSubtype="0" dur="2000" repeatCount="indefinite" fill="hold" grpId="0" nodeType="withEffect">
                                  <p:stCondLst>
                                    <p:cond delay="3250"/>
                                  </p:stCondLst>
                                  <p:childTnLst>
                                    <p:animEffect transition="out" filter="fade">
                                      <p:cBhvr>
                                        <p:cTn id="512" dur="2000" tmFilter="0, 0; .2, .5; .8, .5; 1, 0"/>
                                        <p:tgtEl>
                                          <p:spTgt spid="165"/>
                                        </p:tgtEl>
                                      </p:cBhvr>
                                    </p:animEffect>
                                    <p:animScale>
                                      <p:cBhvr>
                                        <p:cTn id="513" dur="1000" autoRev="1" fill="hold"/>
                                        <p:tgtEl>
                                          <p:spTgt spid="165"/>
                                        </p:tgtEl>
                                      </p:cBhvr>
                                      <p:by x="105000" y="105000"/>
                                    </p:animScale>
                                  </p:childTnLst>
                                </p:cTn>
                              </p:par>
                              <p:par>
                                <p:cTn id="514" presetID="26" presetClass="emph" presetSubtype="0" dur="2000" repeatCount="indefinite" fill="hold" grpId="0" nodeType="withEffect">
                                  <p:stCondLst>
                                    <p:cond delay="3250"/>
                                  </p:stCondLst>
                                  <p:childTnLst>
                                    <p:animEffect transition="out" filter="fade">
                                      <p:cBhvr>
                                        <p:cTn id="515" dur="2000" tmFilter="0, 0; .2, .5; .8, .5; 1, 0"/>
                                        <p:tgtEl>
                                          <p:spTgt spid="182"/>
                                        </p:tgtEl>
                                      </p:cBhvr>
                                    </p:animEffect>
                                    <p:animScale>
                                      <p:cBhvr>
                                        <p:cTn id="516" dur="1000" autoRev="1" fill="hold"/>
                                        <p:tgtEl>
                                          <p:spTgt spid="182"/>
                                        </p:tgtEl>
                                      </p:cBhvr>
                                      <p:by x="105000" y="105000"/>
                                    </p:animScale>
                                  </p:childTnLst>
                                </p:cTn>
                              </p:par>
                              <p:par>
                                <p:cTn id="517" presetID="26" presetClass="emph" presetSubtype="0" dur="2000" repeatCount="indefinite" fill="hold" grpId="0" nodeType="withEffect">
                                  <p:stCondLst>
                                    <p:cond delay="3250"/>
                                  </p:stCondLst>
                                  <p:childTnLst>
                                    <p:animEffect transition="out" filter="fade">
                                      <p:cBhvr>
                                        <p:cTn id="518" dur="2000" tmFilter="0, 0; .2, .5; .8, .5; 1, 0"/>
                                        <p:tgtEl>
                                          <p:spTgt spid="199"/>
                                        </p:tgtEl>
                                      </p:cBhvr>
                                    </p:animEffect>
                                    <p:animScale>
                                      <p:cBhvr>
                                        <p:cTn id="519" dur="1000" autoRev="1" fill="hold"/>
                                        <p:tgtEl>
                                          <p:spTgt spid="199"/>
                                        </p:tgtEl>
                                      </p:cBhvr>
                                      <p:by x="105000" y="105000"/>
                                    </p:animScale>
                                  </p:childTnLst>
                                </p:cTn>
                              </p:par>
                              <p:par>
                                <p:cTn id="520" presetID="26" presetClass="emph" presetSubtype="0" dur="2000" repeatCount="indefinite" fill="hold" grpId="0" nodeType="withEffect">
                                  <p:stCondLst>
                                    <p:cond delay="3250"/>
                                  </p:stCondLst>
                                  <p:childTnLst>
                                    <p:animEffect transition="out" filter="fade">
                                      <p:cBhvr>
                                        <p:cTn id="521" dur="2000" tmFilter="0, 0; .2, .5; .8, .5; 1, 0"/>
                                        <p:tgtEl>
                                          <p:spTgt spid="216"/>
                                        </p:tgtEl>
                                      </p:cBhvr>
                                    </p:animEffect>
                                    <p:animScale>
                                      <p:cBhvr>
                                        <p:cTn id="522" dur="1000" autoRev="1" fill="hold"/>
                                        <p:tgtEl>
                                          <p:spTgt spid="216"/>
                                        </p:tgtEl>
                                      </p:cBhvr>
                                      <p:by x="105000" y="105000"/>
                                    </p:animScale>
                                  </p:childTnLst>
                                </p:cTn>
                              </p:par>
                              <p:par>
                                <p:cTn id="523" presetID="26" presetClass="emph" presetSubtype="0" dur="2000" repeatCount="indefinite" fill="hold" grpId="0" nodeType="withEffect">
                                  <p:stCondLst>
                                    <p:cond delay="3250"/>
                                  </p:stCondLst>
                                  <p:childTnLst>
                                    <p:animEffect transition="out" filter="fade">
                                      <p:cBhvr>
                                        <p:cTn id="524" dur="2000" tmFilter="0, 0; .2, .5; .8, .5; 1, 0"/>
                                        <p:tgtEl>
                                          <p:spTgt spid="232"/>
                                        </p:tgtEl>
                                      </p:cBhvr>
                                    </p:animEffect>
                                    <p:animScale>
                                      <p:cBhvr>
                                        <p:cTn id="525" dur="1000" autoRev="1" fill="hold"/>
                                        <p:tgtEl>
                                          <p:spTgt spid="232"/>
                                        </p:tgtEl>
                                      </p:cBhvr>
                                      <p:by x="105000" y="105000"/>
                                    </p:animScale>
                                  </p:childTnLst>
                                </p:cTn>
                              </p:par>
                              <p:par>
                                <p:cTn id="526" presetID="26" presetClass="emph" presetSubtype="0" dur="2000" repeatCount="indefinite" fill="hold" grpId="0" nodeType="withEffect">
                                  <p:stCondLst>
                                    <p:cond delay="3500"/>
                                  </p:stCondLst>
                                  <p:childTnLst>
                                    <p:animEffect transition="out" filter="fade">
                                      <p:cBhvr>
                                        <p:cTn id="527" dur="2000" tmFilter="0, 0; .2, .5; .8, .5; 1, 0"/>
                                        <p:tgtEl>
                                          <p:spTgt spid="21"/>
                                        </p:tgtEl>
                                      </p:cBhvr>
                                    </p:animEffect>
                                    <p:animScale>
                                      <p:cBhvr>
                                        <p:cTn id="528" dur="1000" autoRev="1" fill="hold"/>
                                        <p:tgtEl>
                                          <p:spTgt spid="21"/>
                                        </p:tgtEl>
                                      </p:cBhvr>
                                      <p:by x="105000" y="105000"/>
                                    </p:animScale>
                                  </p:childTnLst>
                                </p:cTn>
                              </p:par>
                              <p:par>
                                <p:cTn id="529" presetID="26" presetClass="emph" presetSubtype="0" dur="2000" repeatCount="indefinite" fill="hold" grpId="0" nodeType="withEffect">
                                  <p:stCondLst>
                                    <p:cond delay="3500"/>
                                  </p:stCondLst>
                                  <p:childTnLst>
                                    <p:animEffect transition="out" filter="fade">
                                      <p:cBhvr>
                                        <p:cTn id="530" dur="2000" tmFilter="0, 0; .2, .5; .8, .5; 1, 0"/>
                                        <p:tgtEl>
                                          <p:spTgt spid="36"/>
                                        </p:tgtEl>
                                      </p:cBhvr>
                                    </p:animEffect>
                                    <p:animScale>
                                      <p:cBhvr>
                                        <p:cTn id="531" dur="1000" autoRev="1" fill="hold"/>
                                        <p:tgtEl>
                                          <p:spTgt spid="36"/>
                                        </p:tgtEl>
                                      </p:cBhvr>
                                      <p:by x="105000" y="105000"/>
                                    </p:animScale>
                                  </p:childTnLst>
                                </p:cTn>
                              </p:par>
                              <p:par>
                                <p:cTn id="532" presetID="26" presetClass="emph" presetSubtype="0" dur="2000" repeatCount="indefinite" fill="hold" grpId="0" nodeType="withEffect">
                                  <p:stCondLst>
                                    <p:cond delay="3500"/>
                                  </p:stCondLst>
                                  <p:childTnLst>
                                    <p:animEffect transition="out" filter="fade">
                                      <p:cBhvr>
                                        <p:cTn id="533" dur="2000" tmFilter="0, 0; .2, .5; .8, .5; 1, 0"/>
                                        <p:tgtEl>
                                          <p:spTgt spid="52"/>
                                        </p:tgtEl>
                                      </p:cBhvr>
                                    </p:animEffect>
                                    <p:animScale>
                                      <p:cBhvr>
                                        <p:cTn id="534" dur="1000" autoRev="1" fill="hold"/>
                                        <p:tgtEl>
                                          <p:spTgt spid="52"/>
                                        </p:tgtEl>
                                      </p:cBhvr>
                                      <p:by x="105000" y="105000"/>
                                    </p:animScale>
                                  </p:childTnLst>
                                </p:cTn>
                              </p:par>
                              <p:par>
                                <p:cTn id="535" presetID="26" presetClass="emph" presetSubtype="0" dur="2000" repeatCount="indefinite" fill="hold" grpId="0" nodeType="withEffect">
                                  <p:stCondLst>
                                    <p:cond delay="3500"/>
                                  </p:stCondLst>
                                  <p:childTnLst>
                                    <p:animEffect transition="out" filter="fade">
                                      <p:cBhvr>
                                        <p:cTn id="536" dur="2000" tmFilter="0, 0; .2, .5; .8, .5; 1, 0"/>
                                        <p:tgtEl>
                                          <p:spTgt spid="68"/>
                                        </p:tgtEl>
                                      </p:cBhvr>
                                    </p:animEffect>
                                    <p:animScale>
                                      <p:cBhvr>
                                        <p:cTn id="537" dur="1000" autoRev="1" fill="hold"/>
                                        <p:tgtEl>
                                          <p:spTgt spid="68"/>
                                        </p:tgtEl>
                                      </p:cBhvr>
                                      <p:by x="105000" y="105000"/>
                                    </p:animScale>
                                  </p:childTnLst>
                                </p:cTn>
                              </p:par>
                              <p:par>
                                <p:cTn id="538" presetID="26" presetClass="emph" presetSubtype="0" dur="2000" repeatCount="indefinite" fill="hold" grpId="0" nodeType="withEffect">
                                  <p:stCondLst>
                                    <p:cond delay="3500"/>
                                  </p:stCondLst>
                                  <p:childTnLst>
                                    <p:animEffect transition="out" filter="fade">
                                      <p:cBhvr>
                                        <p:cTn id="539" dur="2000" tmFilter="0, 0; .2, .5; .8, .5; 1, 0"/>
                                        <p:tgtEl>
                                          <p:spTgt spid="84"/>
                                        </p:tgtEl>
                                      </p:cBhvr>
                                    </p:animEffect>
                                    <p:animScale>
                                      <p:cBhvr>
                                        <p:cTn id="540" dur="1000" autoRev="1" fill="hold"/>
                                        <p:tgtEl>
                                          <p:spTgt spid="84"/>
                                        </p:tgtEl>
                                      </p:cBhvr>
                                      <p:by x="105000" y="105000"/>
                                    </p:animScale>
                                  </p:childTnLst>
                                </p:cTn>
                              </p:par>
                              <p:par>
                                <p:cTn id="541" presetID="26" presetClass="emph" presetSubtype="0" dur="2000" repeatCount="indefinite" fill="hold" grpId="0" nodeType="withEffect">
                                  <p:stCondLst>
                                    <p:cond delay="3500"/>
                                  </p:stCondLst>
                                  <p:childTnLst>
                                    <p:animEffect transition="out" filter="fade">
                                      <p:cBhvr>
                                        <p:cTn id="542" dur="2000" tmFilter="0, 0; .2, .5; .8, .5; 1, 0"/>
                                        <p:tgtEl>
                                          <p:spTgt spid="100"/>
                                        </p:tgtEl>
                                      </p:cBhvr>
                                    </p:animEffect>
                                    <p:animScale>
                                      <p:cBhvr>
                                        <p:cTn id="543" dur="1000" autoRev="1" fill="hold"/>
                                        <p:tgtEl>
                                          <p:spTgt spid="100"/>
                                        </p:tgtEl>
                                      </p:cBhvr>
                                      <p:by x="105000" y="105000"/>
                                    </p:animScale>
                                  </p:childTnLst>
                                </p:cTn>
                              </p:par>
                              <p:par>
                                <p:cTn id="544" presetID="26" presetClass="emph" presetSubtype="0" dur="2000" repeatCount="indefinite" fill="hold" grpId="0" nodeType="withEffect">
                                  <p:stCondLst>
                                    <p:cond delay="3500"/>
                                  </p:stCondLst>
                                  <p:childTnLst>
                                    <p:animEffect transition="out" filter="fade">
                                      <p:cBhvr>
                                        <p:cTn id="545" dur="2000" tmFilter="0, 0; .2, .5; .8, .5; 1, 0"/>
                                        <p:tgtEl>
                                          <p:spTgt spid="116"/>
                                        </p:tgtEl>
                                      </p:cBhvr>
                                    </p:animEffect>
                                    <p:animScale>
                                      <p:cBhvr>
                                        <p:cTn id="546" dur="1000" autoRev="1" fill="hold"/>
                                        <p:tgtEl>
                                          <p:spTgt spid="116"/>
                                        </p:tgtEl>
                                      </p:cBhvr>
                                      <p:by x="105000" y="105000"/>
                                    </p:animScale>
                                  </p:childTnLst>
                                </p:cTn>
                              </p:par>
                              <p:par>
                                <p:cTn id="547" presetID="26" presetClass="emph" presetSubtype="0" dur="2000" repeatCount="indefinite" fill="hold" grpId="0" nodeType="withEffect">
                                  <p:stCondLst>
                                    <p:cond delay="3500"/>
                                  </p:stCondLst>
                                  <p:childTnLst>
                                    <p:animEffect transition="out" filter="fade">
                                      <p:cBhvr>
                                        <p:cTn id="548" dur="2000" tmFilter="0, 0; .2, .5; .8, .5; 1, 0"/>
                                        <p:tgtEl>
                                          <p:spTgt spid="132"/>
                                        </p:tgtEl>
                                      </p:cBhvr>
                                    </p:animEffect>
                                    <p:animScale>
                                      <p:cBhvr>
                                        <p:cTn id="549" dur="1000" autoRev="1" fill="hold"/>
                                        <p:tgtEl>
                                          <p:spTgt spid="132"/>
                                        </p:tgtEl>
                                      </p:cBhvr>
                                      <p:by x="105000" y="105000"/>
                                    </p:animScale>
                                  </p:childTnLst>
                                </p:cTn>
                              </p:par>
                              <p:par>
                                <p:cTn id="550" presetID="26" presetClass="emph" presetSubtype="0" dur="2000" repeatCount="indefinite" fill="hold" grpId="0" nodeType="withEffect">
                                  <p:stCondLst>
                                    <p:cond delay="3500"/>
                                  </p:stCondLst>
                                  <p:childTnLst>
                                    <p:animEffect transition="out" filter="fade">
                                      <p:cBhvr>
                                        <p:cTn id="551" dur="2000" tmFilter="0, 0; .2, .5; .8, .5; 1, 0"/>
                                        <p:tgtEl>
                                          <p:spTgt spid="149"/>
                                        </p:tgtEl>
                                      </p:cBhvr>
                                    </p:animEffect>
                                    <p:animScale>
                                      <p:cBhvr>
                                        <p:cTn id="552" dur="1000" autoRev="1" fill="hold"/>
                                        <p:tgtEl>
                                          <p:spTgt spid="149"/>
                                        </p:tgtEl>
                                      </p:cBhvr>
                                      <p:by x="105000" y="105000"/>
                                    </p:animScale>
                                  </p:childTnLst>
                                </p:cTn>
                              </p:par>
                              <p:par>
                                <p:cTn id="553" presetID="26" presetClass="emph" presetSubtype="0" dur="2000" repeatCount="indefinite" fill="hold" grpId="0" nodeType="withEffect">
                                  <p:stCondLst>
                                    <p:cond delay="3500"/>
                                  </p:stCondLst>
                                  <p:childTnLst>
                                    <p:animEffect transition="out" filter="fade">
                                      <p:cBhvr>
                                        <p:cTn id="554" dur="2000" tmFilter="0, 0; .2, .5; .8, .5; 1, 0"/>
                                        <p:tgtEl>
                                          <p:spTgt spid="166"/>
                                        </p:tgtEl>
                                      </p:cBhvr>
                                    </p:animEffect>
                                    <p:animScale>
                                      <p:cBhvr>
                                        <p:cTn id="555" dur="1000" autoRev="1" fill="hold"/>
                                        <p:tgtEl>
                                          <p:spTgt spid="166"/>
                                        </p:tgtEl>
                                      </p:cBhvr>
                                      <p:by x="105000" y="105000"/>
                                    </p:animScale>
                                  </p:childTnLst>
                                </p:cTn>
                              </p:par>
                              <p:par>
                                <p:cTn id="556" presetID="26" presetClass="emph" presetSubtype="0" dur="2000" repeatCount="indefinite" fill="hold" grpId="0" nodeType="withEffect">
                                  <p:stCondLst>
                                    <p:cond delay="3500"/>
                                  </p:stCondLst>
                                  <p:childTnLst>
                                    <p:animEffect transition="out" filter="fade">
                                      <p:cBhvr>
                                        <p:cTn id="557" dur="2000" tmFilter="0, 0; .2, .5; .8, .5; 1, 0"/>
                                        <p:tgtEl>
                                          <p:spTgt spid="183"/>
                                        </p:tgtEl>
                                      </p:cBhvr>
                                    </p:animEffect>
                                    <p:animScale>
                                      <p:cBhvr>
                                        <p:cTn id="558" dur="1000" autoRev="1" fill="hold"/>
                                        <p:tgtEl>
                                          <p:spTgt spid="183"/>
                                        </p:tgtEl>
                                      </p:cBhvr>
                                      <p:by x="105000" y="105000"/>
                                    </p:animScale>
                                  </p:childTnLst>
                                </p:cTn>
                              </p:par>
                              <p:par>
                                <p:cTn id="559" presetID="26" presetClass="emph" presetSubtype="0" dur="2000" repeatCount="indefinite" fill="hold" grpId="0" nodeType="withEffect">
                                  <p:stCondLst>
                                    <p:cond delay="3500"/>
                                  </p:stCondLst>
                                  <p:childTnLst>
                                    <p:animEffect transition="out" filter="fade">
                                      <p:cBhvr>
                                        <p:cTn id="560" dur="2000" tmFilter="0, 0; .2, .5; .8, .5; 1, 0"/>
                                        <p:tgtEl>
                                          <p:spTgt spid="200"/>
                                        </p:tgtEl>
                                      </p:cBhvr>
                                    </p:animEffect>
                                    <p:animScale>
                                      <p:cBhvr>
                                        <p:cTn id="561" dur="1000" autoRev="1" fill="hold"/>
                                        <p:tgtEl>
                                          <p:spTgt spid="200"/>
                                        </p:tgtEl>
                                      </p:cBhvr>
                                      <p:by x="105000" y="105000"/>
                                    </p:animScale>
                                  </p:childTnLst>
                                </p:cTn>
                              </p:par>
                              <p:par>
                                <p:cTn id="562" presetID="26" presetClass="emph" presetSubtype="0" dur="2000" repeatCount="indefinite" fill="hold" grpId="0" nodeType="withEffect">
                                  <p:stCondLst>
                                    <p:cond delay="3500"/>
                                  </p:stCondLst>
                                  <p:childTnLst>
                                    <p:animEffect transition="out" filter="fade">
                                      <p:cBhvr>
                                        <p:cTn id="563" dur="2000" tmFilter="0, 0; .2, .5; .8, .5; 1, 0"/>
                                        <p:tgtEl>
                                          <p:spTgt spid="217"/>
                                        </p:tgtEl>
                                      </p:cBhvr>
                                    </p:animEffect>
                                    <p:animScale>
                                      <p:cBhvr>
                                        <p:cTn id="564" dur="1000" autoRev="1" fill="hold"/>
                                        <p:tgtEl>
                                          <p:spTgt spid="217"/>
                                        </p:tgtEl>
                                      </p:cBhvr>
                                      <p:by x="105000" y="105000"/>
                                    </p:animScale>
                                  </p:childTnLst>
                                </p:cTn>
                              </p:par>
                              <p:par>
                                <p:cTn id="565" presetID="26" presetClass="emph" presetSubtype="0" dur="2000" repeatCount="indefinite" fill="hold" grpId="0" nodeType="withEffect">
                                  <p:stCondLst>
                                    <p:cond delay="3500"/>
                                  </p:stCondLst>
                                  <p:childTnLst>
                                    <p:animEffect transition="out" filter="fade">
                                      <p:cBhvr>
                                        <p:cTn id="566" dur="2000" tmFilter="0, 0; .2, .5; .8, .5; 1, 0"/>
                                        <p:tgtEl>
                                          <p:spTgt spid="233"/>
                                        </p:tgtEl>
                                      </p:cBhvr>
                                    </p:animEffect>
                                    <p:animScale>
                                      <p:cBhvr>
                                        <p:cTn id="567" dur="1000" autoRev="1" fill="hold"/>
                                        <p:tgtEl>
                                          <p:spTgt spid="233"/>
                                        </p:tgtEl>
                                      </p:cBhvr>
                                      <p:by x="105000" y="105000"/>
                                    </p:animScale>
                                  </p:childTnLst>
                                </p:cTn>
                              </p:par>
                              <p:par>
                                <p:cTn id="568" presetID="26" presetClass="emph" presetSubtype="0" dur="2000" repeatCount="indefinite" fill="hold" grpId="0" nodeType="withEffect">
                                  <p:stCondLst>
                                    <p:cond delay="3750"/>
                                  </p:stCondLst>
                                  <p:childTnLst>
                                    <p:animEffect transition="out" filter="fade">
                                      <p:cBhvr>
                                        <p:cTn id="569" dur="2000" tmFilter="0, 0; .2, .5; .8, .5; 1, 0"/>
                                        <p:tgtEl>
                                          <p:spTgt spid="37"/>
                                        </p:tgtEl>
                                      </p:cBhvr>
                                    </p:animEffect>
                                    <p:animScale>
                                      <p:cBhvr>
                                        <p:cTn id="570" dur="1000" autoRev="1" fill="hold"/>
                                        <p:tgtEl>
                                          <p:spTgt spid="37"/>
                                        </p:tgtEl>
                                      </p:cBhvr>
                                      <p:by x="105000" y="105000"/>
                                    </p:animScale>
                                  </p:childTnLst>
                                </p:cTn>
                              </p:par>
                              <p:par>
                                <p:cTn id="571" presetID="26" presetClass="emph" presetSubtype="0" dur="2000" repeatCount="indefinite" fill="hold" grpId="0" nodeType="withEffect">
                                  <p:stCondLst>
                                    <p:cond delay="3750"/>
                                  </p:stCondLst>
                                  <p:childTnLst>
                                    <p:animEffect transition="out" filter="fade">
                                      <p:cBhvr>
                                        <p:cTn id="572" dur="2000" tmFilter="0, 0; .2, .5; .8, .5; 1, 0"/>
                                        <p:tgtEl>
                                          <p:spTgt spid="53"/>
                                        </p:tgtEl>
                                      </p:cBhvr>
                                    </p:animEffect>
                                    <p:animScale>
                                      <p:cBhvr>
                                        <p:cTn id="573" dur="1000" autoRev="1" fill="hold"/>
                                        <p:tgtEl>
                                          <p:spTgt spid="53"/>
                                        </p:tgtEl>
                                      </p:cBhvr>
                                      <p:by x="105000" y="105000"/>
                                    </p:animScale>
                                  </p:childTnLst>
                                </p:cTn>
                              </p:par>
                              <p:par>
                                <p:cTn id="574" presetID="26" presetClass="emph" presetSubtype="0" dur="2000" repeatCount="indefinite" fill="hold" grpId="0" nodeType="withEffect">
                                  <p:stCondLst>
                                    <p:cond delay="3750"/>
                                  </p:stCondLst>
                                  <p:childTnLst>
                                    <p:animEffect transition="out" filter="fade">
                                      <p:cBhvr>
                                        <p:cTn id="575" dur="2000" tmFilter="0, 0; .2, .5; .8, .5; 1, 0"/>
                                        <p:tgtEl>
                                          <p:spTgt spid="69"/>
                                        </p:tgtEl>
                                      </p:cBhvr>
                                    </p:animEffect>
                                    <p:animScale>
                                      <p:cBhvr>
                                        <p:cTn id="576" dur="1000" autoRev="1" fill="hold"/>
                                        <p:tgtEl>
                                          <p:spTgt spid="69"/>
                                        </p:tgtEl>
                                      </p:cBhvr>
                                      <p:by x="105000" y="105000"/>
                                    </p:animScale>
                                  </p:childTnLst>
                                </p:cTn>
                              </p:par>
                              <p:par>
                                <p:cTn id="577" presetID="26" presetClass="emph" presetSubtype="0" dur="2000" repeatCount="indefinite" fill="hold" grpId="0" nodeType="withEffect">
                                  <p:stCondLst>
                                    <p:cond delay="3750"/>
                                  </p:stCondLst>
                                  <p:childTnLst>
                                    <p:animEffect transition="out" filter="fade">
                                      <p:cBhvr>
                                        <p:cTn id="578" dur="2000" tmFilter="0, 0; .2, .5; .8, .5; 1, 0"/>
                                        <p:tgtEl>
                                          <p:spTgt spid="85"/>
                                        </p:tgtEl>
                                      </p:cBhvr>
                                    </p:animEffect>
                                    <p:animScale>
                                      <p:cBhvr>
                                        <p:cTn id="579" dur="1000" autoRev="1" fill="hold"/>
                                        <p:tgtEl>
                                          <p:spTgt spid="85"/>
                                        </p:tgtEl>
                                      </p:cBhvr>
                                      <p:by x="105000" y="105000"/>
                                    </p:animScale>
                                  </p:childTnLst>
                                </p:cTn>
                              </p:par>
                              <p:par>
                                <p:cTn id="580" presetID="26" presetClass="emph" presetSubtype="0" dur="2000" repeatCount="indefinite" fill="hold" grpId="0" nodeType="withEffect">
                                  <p:stCondLst>
                                    <p:cond delay="3750"/>
                                  </p:stCondLst>
                                  <p:childTnLst>
                                    <p:animEffect transition="out" filter="fade">
                                      <p:cBhvr>
                                        <p:cTn id="581" dur="2000" tmFilter="0, 0; .2, .5; .8, .5; 1, 0"/>
                                        <p:tgtEl>
                                          <p:spTgt spid="101"/>
                                        </p:tgtEl>
                                      </p:cBhvr>
                                    </p:animEffect>
                                    <p:animScale>
                                      <p:cBhvr>
                                        <p:cTn id="582" dur="1000" autoRev="1" fill="hold"/>
                                        <p:tgtEl>
                                          <p:spTgt spid="101"/>
                                        </p:tgtEl>
                                      </p:cBhvr>
                                      <p:by x="105000" y="105000"/>
                                    </p:animScale>
                                  </p:childTnLst>
                                </p:cTn>
                              </p:par>
                              <p:par>
                                <p:cTn id="583" presetID="26" presetClass="emph" presetSubtype="0" dur="2000" repeatCount="indefinite" fill="hold" grpId="0" nodeType="withEffect">
                                  <p:stCondLst>
                                    <p:cond delay="3750"/>
                                  </p:stCondLst>
                                  <p:childTnLst>
                                    <p:animEffect transition="out" filter="fade">
                                      <p:cBhvr>
                                        <p:cTn id="584" dur="2000" tmFilter="0, 0; .2, .5; .8, .5; 1, 0"/>
                                        <p:tgtEl>
                                          <p:spTgt spid="117"/>
                                        </p:tgtEl>
                                      </p:cBhvr>
                                    </p:animEffect>
                                    <p:animScale>
                                      <p:cBhvr>
                                        <p:cTn id="585" dur="1000" autoRev="1" fill="hold"/>
                                        <p:tgtEl>
                                          <p:spTgt spid="117"/>
                                        </p:tgtEl>
                                      </p:cBhvr>
                                      <p:by x="105000" y="105000"/>
                                    </p:animScale>
                                  </p:childTnLst>
                                </p:cTn>
                              </p:par>
                              <p:par>
                                <p:cTn id="586" presetID="26" presetClass="emph" presetSubtype="0" dur="2000" repeatCount="indefinite" fill="hold" grpId="0" nodeType="withEffect">
                                  <p:stCondLst>
                                    <p:cond delay="3750"/>
                                  </p:stCondLst>
                                  <p:childTnLst>
                                    <p:animEffect transition="out" filter="fade">
                                      <p:cBhvr>
                                        <p:cTn id="587" dur="2000" tmFilter="0, 0; .2, .5; .8, .5; 1, 0"/>
                                        <p:tgtEl>
                                          <p:spTgt spid="133"/>
                                        </p:tgtEl>
                                      </p:cBhvr>
                                    </p:animEffect>
                                    <p:animScale>
                                      <p:cBhvr>
                                        <p:cTn id="588" dur="1000" autoRev="1" fill="hold"/>
                                        <p:tgtEl>
                                          <p:spTgt spid="133"/>
                                        </p:tgtEl>
                                      </p:cBhvr>
                                      <p:by x="105000" y="105000"/>
                                    </p:animScale>
                                  </p:childTnLst>
                                </p:cTn>
                              </p:par>
                              <p:par>
                                <p:cTn id="589" presetID="26" presetClass="emph" presetSubtype="0" dur="2000" repeatCount="indefinite" fill="hold" grpId="0" nodeType="withEffect">
                                  <p:stCondLst>
                                    <p:cond delay="3750"/>
                                  </p:stCondLst>
                                  <p:childTnLst>
                                    <p:animEffect transition="out" filter="fade">
                                      <p:cBhvr>
                                        <p:cTn id="590" dur="2000" tmFilter="0, 0; .2, .5; .8, .5; 1, 0"/>
                                        <p:tgtEl>
                                          <p:spTgt spid="150"/>
                                        </p:tgtEl>
                                      </p:cBhvr>
                                    </p:animEffect>
                                    <p:animScale>
                                      <p:cBhvr>
                                        <p:cTn id="591" dur="1000" autoRev="1" fill="hold"/>
                                        <p:tgtEl>
                                          <p:spTgt spid="150"/>
                                        </p:tgtEl>
                                      </p:cBhvr>
                                      <p:by x="105000" y="105000"/>
                                    </p:animScale>
                                  </p:childTnLst>
                                </p:cTn>
                              </p:par>
                              <p:par>
                                <p:cTn id="592" presetID="26" presetClass="emph" presetSubtype="0" dur="2000" repeatCount="indefinite" fill="hold" grpId="0" nodeType="withEffect">
                                  <p:stCondLst>
                                    <p:cond delay="3750"/>
                                  </p:stCondLst>
                                  <p:childTnLst>
                                    <p:animEffect transition="out" filter="fade">
                                      <p:cBhvr>
                                        <p:cTn id="593" dur="2000" tmFilter="0, 0; .2, .5; .8, .5; 1, 0"/>
                                        <p:tgtEl>
                                          <p:spTgt spid="167"/>
                                        </p:tgtEl>
                                      </p:cBhvr>
                                    </p:animEffect>
                                    <p:animScale>
                                      <p:cBhvr>
                                        <p:cTn id="594" dur="1000" autoRev="1" fill="hold"/>
                                        <p:tgtEl>
                                          <p:spTgt spid="167"/>
                                        </p:tgtEl>
                                      </p:cBhvr>
                                      <p:by x="105000" y="105000"/>
                                    </p:animScale>
                                  </p:childTnLst>
                                </p:cTn>
                              </p:par>
                              <p:par>
                                <p:cTn id="595" presetID="26" presetClass="emph" presetSubtype="0" dur="2000" repeatCount="indefinite" fill="hold" grpId="0" nodeType="withEffect">
                                  <p:stCondLst>
                                    <p:cond delay="3750"/>
                                  </p:stCondLst>
                                  <p:childTnLst>
                                    <p:animEffect transition="out" filter="fade">
                                      <p:cBhvr>
                                        <p:cTn id="596" dur="2000" tmFilter="0, 0; .2, .5; .8, .5; 1, 0"/>
                                        <p:tgtEl>
                                          <p:spTgt spid="184"/>
                                        </p:tgtEl>
                                      </p:cBhvr>
                                    </p:animEffect>
                                    <p:animScale>
                                      <p:cBhvr>
                                        <p:cTn id="597" dur="1000" autoRev="1" fill="hold"/>
                                        <p:tgtEl>
                                          <p:spTgt spid="184"/>
                                        </p:tgtEl>
                                      </p:cBhvr>
                                      <p:by x="105000" y="105000"/>
                                    </p:animScale>
                                  </p:childTnLst>
                                </p:cTn>
                              </p:par>
                              <p:par>
                                <p:cTn id="598" presetID="26" presetClass="emph" presetSubtype="0" dur="2000" repeatCount="indefinite" fill="hold" grpId="0" nodeType="withEffect">
                                  <p:stCondLst>
                                    <p:cond delay="3750"/>
                                  </p:stCondLst>
                                  <p:childTnLst>
                                    <p:animEffect transition="out" filter="fade">
                                      <p:cBhvr>
                                        <p:cTn id="599" dur="2000" tmFilter="0, 0; .2, .5; .8, .5; 1, 0"/>
                                        <p:tgtEl>
                                          <p:spTgt spid="201"/>
                                        </p:tgtEl>
                                      </p:cBhvr>
                                    </p:animEffect>
                                    <p:animScale>
                                      <p:cBhvr>
                                        <p:cTn id="600" dur="1000" autoRev="1" fill="hold"/>
                                        <p:tgtEl>
                                          <p:spTgt spid="201"/>
                                        </p:tgtEl>
                                      </p:cBhvr>
                                      <p:by x="105000" y="105000"/>
                                    </p:animScale>
                                  </p:childTnLst>
                                </p:cTn>
                              </p:par>
                              <p:par>
                                <p:cTn id="601" presetID="26" presetClass="emph" presetSubtype="0" dur="2000" repeatCount="indefinite" fill="hold" grpId="0" nodeType="withEffect">
                                  <p:stCondLst>
                                    <p:cond delay="3750"/>
                                  </p:stCondLst>
                                  <p:childTnLst>
                                    <p:animEffect transition="out" filter="fade">
                                      <p:cBhvr>
                                        <p:cTn id="602" dur="2000" tmFilter="0, 0; .2, .5; .8, .5; 1, 0"/>
                                        <p:tgtEl>
                                          <p:spTgt spid="218"/>
                                        </p:tgtEl>
                                      </p:cBhvr>
                                    </p:animEffect>
                                    <p:animScale>
                                      <p:cBhvr>
                                        <p:cTn id="603" dur="1000" autoRev="1" fill="hold"/>
                                        <p:tgtEl>
                                          <p:spTgt spid="218"/>
                                        </p:tgtEl>
                                      </p:cBhvr>
                                      <p:by x="105000" y="105000"/>
                                    </p:animScale>
                                  </p:childTnLst>
                                </p:cTn>
                              </p:par>
                              <p:par>
                                <p:cTn id="604" presetID="26" presetClass="emph" presetSubtype="0" dur="2000" repeatCount="indefinite" fill="hold" grpId="0" nodeType="withEffect">
                                  <p:stCondLst>
                                    <p:cond delay="4000"/>
                                  </p:stCondLst>
                                  <p:childTnLst>
                                    <p:animEffect transition="out" filter="fade">
                                      <p:cBhvr>
                                        <p:cTn id="605" dur="2000" tmFilter="0, 0; .2, .5; .8, .5; 1, 0"/>
                                        <p:tgtEl>
                                          <p:spTgt spid="54"/>
                                        </p:tgtEl>
                                      </p:cBhvr>
                                    </p:animEffect>
                                    <p:animScale>
                                      <p:cBhvr>
                                        <p:cTn id="606" dur="1000" autoRev="1" fill="hold"/>
                                        <p:tgtEl>
                                          <p:spTgt spid="54"/>
                                        </p:tgtEl>
                                      </p:cBhvr>
                                      <p:by x="105000" y="105000"/>
                                    </p:animScale>
                                  </p:childTnLst>
                                </p:cTn>
                              </p:par>
                              <p:par>
                                <p:cTn id="607" presetID="26" presetClass="emph" presetSubtype="0" dur="2000" repeatCount="indefinite" fill="hold" grpId="0" nodeType="withEffect">
                                  <p:stCondLst>
                                    <p:cond delay="4000"/>
                                  </p:stCondLst>
                                  <p:childTnLst>
                                    <p:animEffect transition="out" filter="fade">
                                      <p:cBhvr>
                                        <p:cTn id="608" dur="2000" tmFilter="0, 0; .2, .5; .8, .5; 1, 0"/>
                                        <p:tgtEl>
                                          <p:spTgt spid="70"/>
                                        </p:tgtEl>
                                      </p:cBhvr>
                                    </p:animEffect>
                                    <p:animScale>
                                      <p:cBhvr>
                                        <p:cTn id="609" dur="1000" autoRev="1" fill="hold"/>
                                        <p:tgtEl>
                                          <p:spTgt spid="70"/>
                                        </p:tgtEl>
                                      </p:cBhvr>
                                      <p:by x="105000" y="105000"/>
                                    </p:animScale>
                                  </p:childTnLst>
                                </p:cTn>
                              </p:par>
                              <p:par>
                                <p:cTn id="610" presetID="26" presetClass="emph" presetSubtype="0" dur="2000" repeatCount="indefinite" fill="hold" grpId="0" nodeType="withEffect">
                                  <p:stCondLst>
                                    <p:cond delay="4000"/>
                                  </p:stCondLst>
                                  <p:childTnLst>
                                    <p:animEffect transition="out" filter="fade">
                                      <p:cBhvr>
                                        <p:cTn id="611" dur="2000" tmFilter="0, 0; .2, .5; .8, .5; 1, 0"/>
                                        <p:tgtEl>
                                          <p:spTgt spid="86"/>
                                        </p:tgtEl>
                                      </p:cBhvr>
                                    </p:animEffect>
                                    <p:animScale>
                                      <p:cBhvr>
                                        <p:cTn id="612" dur="1000" autoRev="1" fill="hold"/>
                                        <p:tgtEl>
                                          <p:spTgt spid="86"/>
                                        </p:tgtEl>
                                      </p:cBhvr>
                                      <p:by x="105000" y="105000"/>
                                    </p:animScale>
                                  </p:childTnLst>
                                </p:cTn>
                              </p:par>
                              <p:par>
                                <p:cTn id="613" presetID="26" presetClass="emph" presetSubtype="0" dur="2000" repeatCount="indefinite" fill="hold" grpId="0" nodeType="withEffect">
                                  <p:stCondLst>
                                    <p:cond delay="4000"/>
                                  </p:stCondLst>
                                  <p:childTnLst>
                                    <p:animEffect transition="out" filter="fade">
                                      <p:cBhvr>
                                        <p:cTn id="614" dur="2000" tmFilter="0, 0; .2, .5; .8, .5; 1, 0"/>
                                        <p:tgtEl>
                                          <p:spTgt spid="102"/>
                                        </p:tgtEl>
                                      </p:cBhvr>
                                    </p:animEffect>
                                    <p:animScale>
                                      <p:cBhvr>
                                        <p:cTn id="615" dur="1000" autoRev="1" fill="hold"/>
                                        <p:tgtEl>
                                          <p:spTgt spid="102"/>
                                        </p:tgtEl>
                                      </p:cBhvr>
                                      <p:by x="105000" y="105000"/>
                                    </p:animScale>
                                  </p:childTnLst>
                                </p:cTn>
                              </p:par>
                              <p:par>
                                <p:cTn id="616" presetID="26" presetClass="emph" presetSubtype="0" dur="2000" repeatCount="indefinite" fill="hold" grpId="0" nodeType="withEffect">
                                  <p:stCondLst>
                                    <p:cond delay="4000"/>
                                  </p:stCondLst>
                                  <p:childTnLst>
                                    <p:animEffect transition="out" filter="fade">
                                      <p:cBhvr>
                                        <p:cTn id="617" dur="2000" tmFilter="0, 0; .2, .5; .8, .5; 1, 0"/>
                                        <p:tgtEl>
                                          <p:spTgt spid="118"/>
                                        </p:tgtEl>
                                      </p:cBhvr>
                                    </p:animEffect>
                                    <p:animScale>
                                      <p:cBhvr>
                                        <p:cTn id="618" dur="1000" autoRev="1" fill="hold"/>
                                        <p:tgtEl>
                                          <p:spTgt spid="118"/>
                                        </p:tgtEl>
                                      </p:cBhvr>
                                      <p:by x="105000" y="105000"/>
                                    </p:animScale>
                                  </p:childTnLst>
                                </p:cTn>
                              </p:par>
                              <p:par>
                                <p:cTn id="619" presetID="26" presetClass="emph" presetSubtype="0" dur="2000" repeatCount="indefinite" fill="hold" grpId="0" nodeType="withEffect">
                                  <p:stCondLst>
                                    <p:cond delay="4000"/>
                                  </p:stCondLst>
                                  <p:childTnLst>
                                    <p:animEffect transition="out" filter="fade">
                                      <p:cBhvr>
                                        <p:cTn id="620" dur="2000" tmFilter="0, 0; .2, .5; .8, .5; 1, 0"/>
                                        <p:tgtEl>
                                          <p:spTgt spid="134"/>
                                        </p:tgtEl>
                                      </p:cBhvr>
                                    </p:animEffect>
                                    <p:animScale>
                                      <p:cBhvr>
                                        <p:cTn id="621" dur="1000" autoRev="1" fill="hold"/>
                                        <p:tgtEl>
                                          <p:spTgt spid="134"/>
                                        </p:tgtEl>
                                      </p:cBhvr>
                                      <p:by x="105000" y="105000"/>
                                    </p:animScale>
                                  </p:childTnLst>
                                </p:cTn>
                              </p:par>
                              <p:par>
                                <p:cTn id="622" presetID="26" presetClass="emph" presetSubtype="0" dur="2000" repeatCount="indefinite" fill="hold" grpId="0" nodeType="withEffect">
                                  <p:stCondLst>
                                    <p:cond delay="4000"/>
                                  </p:stCondLst>
                                  <p:childTnLst>
                                    <p:animEffect transition="out" filter="fade">
                                      <p:cBhvr>
                                        <p:cTn id="623" dur="2000" tmFilter="0, 0; .2, .5; .8, .5; 1, 0"/>
                                        <p:tgtEl>
                                          <p:spTgt spid="151"/>
                                        </p:tgtEl>
                                      </p:cBhvr>
                                    </p:animEffect>
                                    <p:animScale>
                                      <p:cBhvr>
                                        <p:cTn id="624" dur="1000" autoRev="1" fill="hold"/>
                                        <p:tgtEl>
                                          <p:spTgt spid="151"/>
                                        </p:tgtEl>
                                      </p:cBhvr>
                                      <p:by x="105000" y="105000"/>
                                    </p:animScale>
                                  </p:childTnLst>
                                </p:cTn>
                              </p:par>
                              <p:par>
                                <p:cTn id="625" presetID="26" presetClass="emph" presetSubtype="0" dur="2000" repeatCount="indefinite" fill="hold" grpId="0" nodeType="withEffect">
                                  <p:stCondLst>
                                    <p:cond delay="4000"/>
                                  </p:stCondLst>
                                  <p:childTnLst>
                                    <p:animEffect transition="out" filter="fade">
                                      <p:cBhvr>
                                        <p:cTn id="626" dur="2000" tmFilter="0, 0; .2, .5; .8, .5; 1, 0"/>
                                        <p:tgtEl>
                                          <p:spTgt spid="168"/>
                                        </p:tgtEl>
                                      </p:cBhvr>
                                    </p:animEffect>
                                    <p:animScale>
                                      <p:cBhvr>
                                        <p:cTn id="627" dur="1000" autoRev="1" fill="hold"/>
                                        <p:tgtEl>
                                          <p:spTgt spid="168"/>
                                        </p:tgtEl>
                                      </p:cBhvr>
                                      <p:by x="105000" y="105000"/>
                                    </p:animScale>
                                  </p:childTnLst>
                                </p:cTn>
                              </p:par>
                              <p:par>
                                <p:cTn id="628" presetID="26" presetClass="emph" presetSubtype="0" dur="2000" repeatCount="indefinite" fill="hold" grpId="0" nodeType="withEffect">
                                  <p:stCondLst>
                                    <p:cond delay="4000"/>
                                  </p:stCondLst>
                                  <p:childTnLst>
                                    <p:animEffect transition="out" filter="fade">
                                      <p:cBhvr>
                                        <p:cTn id="629" dur="2000" tmFilter="0, 0; .2, .5; .8, .5; 1, 0"/>
                                        <p:tgtEl>
                                          <p:spTgt spid="185"/>
                                        </p:tgtEl>
                                      </p:cBhvr>
                                    </p:animEffect>
                                    <p:animScale>
                                      <p:cBhvr>
                                        <p:cTn id="630" dur="1000" autoRev="1" fill="hold"/>
                                        <p:tgtEl>
                                          <p:spTgt spid="185"/>
                                        </p:tgtEl>
                                      </p:cBhvr>
                                      <p:by x="105000" y="105000"/>
                                    </p:animScale>
                                  </p:childTnLst>
                                </p:cTn>
                              </p:par>
                              <p:par>
                                <p:cTn id="631" presetID="26" presetClass="emph" presetSubtype="0" dur="2000" repeatCount="indefinite" fill="hold" grpId="0" nodeType="withEffect">
                                  <p:stCondLst>
                                    <p:cond delay="4000"/>
                                  </p:stCondLst>
                                  <p:childTnLst>
                                    <p:animEffect transition="out" filter="fade">
                                      <p:cBhvr>
                                        <p:cTn id="632" dur="2000" tmFilter="0, 0; .2, .5; .8, .5; 1, 0"/>
                                        <p:tgtEl>
                                          <p:spTgt spid="202"/>
                                        </p:tgtEl>
                                      </p:cBhvr>
                                    </p:animEffect>
                                    <p:animScale>
                                      <p:cBhvr>
                                        <p:cTn id="633" dur="1000" autoRev="1" fill="hold"/>
                                        <p:tgtEl>
                                          <p:spTgt spid="202"/>
                                        </p:tgtEl>
                                      </p:cBhvr>
                                      <p:by x="105000" y="105000"/>
                                    </p:animScale>
                                  </p:childTnLst>
                                </p:cTn>
                              </p:par>
                              <p:par>
                                <p:cTn id="634" presetID="26" presetClass="emph" presetSubtype="0" dur="2000" repeatCount="indefinite" fill="hold" grpId="0" nodeType="withEffect">
                                  <p:stCondLst>
                                    <p:cond delay="4250"/>
                                  </p:stCondLst>
                                  <p:childTnLst>
                                    <p:animEffect transition="out" filter="fade">
                                      <p:cBhvr>
                                        <p:cTn id="635" dur="2000" tmFilter="0, 0; .2, .5; .8, .5; 1, 0"/>
                                        <p:tgtEl>
                                          <p:spTgt spid="71"/>
                                        </p:tgtEl>
                                      </p:cBhvr>
                                    </p:animEffect>
                                    <p:animScale>
                                      <p:cBhvr>
                                        <p:cTn id="636" dur="1000" autoRev="1" fill="hold"/>
                                        <p:tgtEl>
                                          <p:spTgt spid="71"/>
                                        </p:tgtEl>
                                      </p:cBhvr>
                                      <p:by x="105000" y="105000"/>
                                    </p:animScale>
                                  </p:childTnLst>
                                </p:cTn>
                              </p:par>
                              <p:par>
                                <p:cTn id="637" presetID="26" presetClass="emph" presetSubtype="0" dur="2000" repeatCount="indefinite" fill="hold" grpId="0" nodeType="withEffect">
                                  <p:stCondLst>
                                    <p:cond delay="4250"/>
                                  </p:stCondLst>
                                  <p:childTnLst>
                                    <p:animEffect transition="out" filter="fade">
                                      <p:cBhvr>
                                        <p:cTn id="638" dur="2000" tmFilter="0, 0; .2, .5; .8, .5; 1, 0"/>
                                        <p:tgtEl>
                                          <p:spTgt spid="87"/>
                                        </p:tgtEl>
                                      </p:cBhvr>
                                    </p:animEffect>
                                    <p:animScale>
                                      <p:cBhvr>
                                        <p:cTn id="639" dur="1000" autoRev="1" fill="hold"/>
                                        <p:tgtEl>
                                          <p:spTgt spid="87"/>
                                        </p:tgtEl>
                                      </p:cBhvr>
                                      <p:by x="105000" y="105000"/>
                                    </p:animScale>
                                  </p:childTnLst>
                                </p:cTn>
                              </p:par>
                              <p:par>
                                <p:cTn id="640" presetID="26" presetClass="emph" presetSubtype="0" dur="2000" repeatCount="indefinite" fill="hold" grpId="0" nodeType="withEffect">
                                  <p:stCondLst>
                                    <p:cond delay="4250"/>
                                  </p:stCondLst>
                                  <p:childTnLst>
                                    <p:animEffect transition="out" filter="fade">
                                      <p:cBhvr>
                                        <p:cTn id="641" dur="2000" tmFilter="0, 0; .2, .5; .8, .5; 1, 0"/>
                                        <p:tgtEl>
                                          <p:spTgt spid="103"/>
                                        </p:tgtEl>
                                      </p:cBhvr>
                                    </p:animEffect>
                                    <p:animScale>
                                      <p:cBhvr>
                                        <p:cTn id="642" dur="1000" autoRev="1" fill="hold"/>
                                        <p:tgtEl>
                                          <p:spTgt spid="103"/>
                                        </p:tgtEl>
                                      </p:cBhvr>
                                      <p:by x="105000" y="105000"/>
                                    </p:animScale>
                                  </p:childTnLst>
                                </p:cTn>
                              </p:par>
                              <p:par>
                                <p:cTn id="643" presetID="26" presetClass="emph" presetSubtype="0" dur="2000" repeatCount="indefinite" fill="hold" grpId="0" nodeType="withEffect">
                                  <p:stCondLst>
                                    <p:cond delay="4250"/>
                                  </p:stCondLst>
                                  <p:childTnLst>
                                    <p:animEffect transition="out" filter="fade">
                                      <p:cBhvr>
                                        <p:cTn id="644" dur="2000" tmFilter="0, 0; .2, .5; .8, .5; 1, 0"/>
                                        <p:tgtEl>
                                          <p:spTgt spid="119"/>
                                        </p:tgtEl>
                                      </p:cBhvr>
                                    </p:animEffect>
                                    <p:animScale>
                                      <p:cBhvr>
                                        <p:cTn id="645" dur="1000" autoRev="1" fill="hold"/>
                                        <p:tgtEl>
                                          <p:spTgt spid="119"/>
                                        </p:tgtEl>
                                      </p:cBhvr>
                                      <p:by x="105000" y="105000"/>
                                    </p:animScale>
                                  </p:childTnLst>
                                </p:cTn>
                              </p:par>
                              <p:par>
                                <p:cTn id="646" presetID="26" presetClass="emph" presetSubtype="0" dur="2000" repeatCount="indefinite" fill="hold" grpId="0" nodeType="withEffect">
                                  <p:stCondLst>
                                    <p:cond delay="4250"/>
                                  </p:stCondLst>
                                  <p:childTnLst>
                                    <p:animEffect transition="out" filter="fade">
                                      <p:cBhvr>
                                        <p:cTn id="647" dur="2000" tmFilter="0, 0; .2, .5; .8, .5; 1, 0"/>
                                        <p:tgtEl>
                                          <p:spTgt spid="135"/>
                                        </p:tgtEl>
                                      </p:cBhvr>
                                    </p:animEffect>
                                    <p:animScale>
                                      <p:cBhvr>
                                        <p:cTn id="648" dur="1000" autoRev="1" fill="hold"/>
                                        <p:tgtEl>
                                          <p:spTgt spid="135"/>
                                        </p:tgtEl>
                                      </p:cBhvr>
                                      <p:by x="105000" y="105000"/>
                                    </p:animScale>
                                  </p:childTnLst>
                                </p:cTn>
                              </p:par>
                              <p:par>
                                <p:cTn id="649" presetID="26" presetClass="emph" presetSubtype="0" dur="2000" repeatCount="indefinite" fill="hold" grpId="0" nodeType="withEffect">
                                  <p:stCondLst>
                                    <p:cond delay="4250"/>
                                  </p:stCondLst>
                                  <p:childTnLst>
                                    <p:animEffect transition="out" filter="fade">
                                      <p:cBhvr>
                                        <p:cTn id="650" dur="2000" tmFilter="0, 0; .2, .5; .8, .5; 1, 0"/>
                                        <p:tgtEl>
                                          <p:spTgt spid="152"/>
                                        </p:tgtEl>
                                      </p:cBhvr>
                                    </p:animEffect>
                                    <p:animScale>
                                      <p:cBhvr>
                                        <p:cTn id="651" dur="1000" autoRev="1" fill="hold"/>
                                        <p:tgtEl>
                                          <p:spTgt spid="152"/>
                                        </p:tgtEl>
                                      </p:cBhvr>
                                      <p:by x="105000" y="105000"/>
                                    </p:animScale>
                                  </p:childTnLst>
                                </p:cTn>
                              </p:par>
                              <p:par>
                                <p:cTn id="652" presetID="26" presetClass="emph" presetSubtype="0" dur="2000" repeatCount="indefinite" fill="hold" grpId="0" nodeType="withEffect">
                                  <p:stCondLst>
                                    <p:cond delay="4250"/>
                                  </p:stCondLst>
                                  <p:childTnLst>
                                    <p:animEffect transition="out" filter="fade">
                                      <p:cBhvr>
                                        <p:cTn id="653" dur="2000" tmFilter="0, 0; .2, .5; .8, .5; 1, 0"/>
                                        <p:tgtEl>
                                          <p:spTgt spid="169"/>
                                        </p:tgtEl>
                                      </p:cBhvr>
                                    </p:animEffect>
                                    <p:animScale>
                                      <p:cBhvr>
                                        <p:cTn id="654" dur="1000" autoRev="1" fill="hold"/>
                                        <p:tgtEl>
                                          <p:spTgt spid="169"/>
                                        </p:tgtEl>
                                      </p:cBhvr>
                                      <p:by x="105000" y="105000"/>
                                    </p:animScale>
                                  </p:childTnLst>
                                </p:cTn>
                              </p:par>
                              <p:par>
                                <p:cTn id="655" presetID="26" presetClass="emph" presetSubtype="0" dur="2000" repeatCount="indefinite" fill="hold" grpId="0" nodeType="withEffect">
                                  <p:stCondLst>
                                    <p:cond delay="4250"/>
                                  </p:stCondLst>
                                  <p:childTnLst>
                                    <p:animEffect transition="out" filter="fade">
                                      <p:cBhvr>
                                        <p:cTn id="656" dur="2000" tmFilter="0, 0; .2, .5; .8, .5; 1, 0"/>
                                        <p:tgtEl>
                                          <p:spTgt spid="186"/>
                                        </p:tgtEl>
                                      </p:cBhvr>
                                    </p:animEffect>
                                    <p:animScale>
                                      <p:cBhvr>
                                        <p:cTn id="657" dur="1000" autoRev="1" fill="hold"/>
                                        <p:tgtEl>
                                          <p:spTgt spid="186"/>
                                        </p:tgtEl>
                                      </p:cBhvr>
                                      <p:by x="105000" y="105000"/>
                                    </p:animScale>
                                  </p:childTnLst>
                                </p:cTn>
                              </p:par>
                              <p:par>
                                <p:cTn id="658" presetID="26" presetClass="emph" presetSubtype="0" dur="2000" repeatCount="indefinite" fill="hold" grpId="0" nodeType="withEffect">
                                  <p:stCondLst>
                                    <p:cond delay="4500"/>
                                  </p:stCondLst>
                                  <p:childTnLst>
                                    <p:animEffect transition="out" filter="fade">
                                      <p:cBhvr>
                                        <p:cTn id="659" dur="2000" tmFilter="0, 0; .2, .5; .8, .5; 1, 0"/>
                                        <p:tgtEl>
                                          <p:spTgt spid="88"/>
                                        </p:tgtEl>
                                      </p:cBhvr>
                                    </p:animEffect>
                                    <p:animScale>
                                      <p:cBhvr>
                                        <p:cTn id="660" dur="1000" autoRev="1" fill="hold"/>
                                        <p:tgtEl>
                                          <p:spTgt spid="88"/>
                                        </p:tgtEl>
                                      </p:cBhvr>
                                      <p:by x="105000" y="105000"/>
                                    </p:animScale>
                                  </p:childTnLst>
                                </p:cTn>
                              </p:par>
                              <p:par>
                                <p:cTn id="661" presetID="26" presetClass="emph" presetSubtype="0" dur="2000" repeatCount="indefinite" fill="hold" grpId="0" nodeType="withEffect">
                                  <p:stCondLst>
                                    <p:cond delay="4500"/>
                                  </p:stCondLst>
                                  <p:childTnLst>
                                    <p:animEffect transition="out" filter="fade">
                                      <p:cBhvr>
                                        <p:cTn id="662" dur="2000" tmFilter="0, 0; .2, .5; .8, .5; 1, 0"/>
                                        <p:tgtEl>
                                          <p:spTgt spid="104"/>
                                        </p:tgtEl>
                                      </p:cBhvr>
                                    </p:animEffect>
                                    <p:animScale>
                                      <p:cBhvr>
                                        <p:cTn id="663" dur="1000" autoRev="1" fill="hold"/>
                                        <p:tgtEl>
                                          <p:spTgt spid="104"/>
                                        </p:tgtEl>
                                      </p:cBhvr>
                                      <p:by x="105000" y="105000"/>
                                    </p:animScale>
                                  </p:childTnLst>
                                </p:cTn>
                              </p:par>
                              <p:par>
                                <p:cTn id="664" presetID="26" presetClass="emph" presetSubtype="0" dur="2000" repeatCount="indefinite" fill="hold" grpId="0" nodeType="withEffect">
                                  <p:stCondLst>
                                    <p:cond delay="4500"/>
                                  </p:stCondLst>
                                  <p:childTnLst>
                                    <p:animEffect transition="out" filter="fade">
                                      <p:cBhvr>
                                        <p:cTn id="665" dur="2000" tmFilter="0, 0; .2, .5; .8, .5; 1, 0"/>
                                        <p:tgtEl>
                                          <p:spTgt spid="120"/>
                                        </p:tgtEl>
                                      </p:cBhvr>
                                    </p:animEffect>
                                    <p:animScale>
                                      <p:cBhvr>
                                        <p:cTn id="666" dur="1000" autoRev="1" fill="hold"/>
                                        <p:tgtEl>
                                          <p:spTgt spid="120"/>
                                        </p:tgtEl>
                                      </p:cBhvr>
                                      <p:by x="105000" y="105000"/>
                                    </p:animScale>
                                  </p:childTnLst>
                                </p:cTn>
                              </p:par>
                              <p:par>
                                <p:cTn id="667" presetID="26" presetClass="emph" presetSubtype="0" dur="2000" repeatCount="indefinite" fill="hold" grpId="0" nodeType="withEffect">
                                  <p:stCondLst>
                                    <p:cond delay="4500"/>
                                  </p:stCondLst>
                                  <p:childTnLst>
                                    <p:animEffect transition="out" filter="fade">
                                      <p:cBhvr>
                                        <p:cTn id="668" dur="2000" tmFilter="0, 0; .2, .5; .8, .5; 1, 0"/>
                                        <p:tgtEl>
                                          <p:spTgt spid="136"/>
                                        </p:tgtEl>
                                      </p:cBhvr>
                                    </p:animEffect>
                                    <p:animScale>
                                      <p:cBhvr>
                                        <p:cTn id="669" dur="1000" autoRev="1" fill="hold"/>
                                        <p:tgtEl>
                                          <p:spTgt spid="136"/>
                                        </p:tgtEl>
                                      </p:cBhvr>
                                      <p:by x="105000" y="105000"/>
                                    </p:animScale>
                                  </p:childTnLst>
                                </p:cTn>
                              </p:par>
                              <p:par>
                                <p:cTn id="670" presetID="26" presetClass="emph" presetSubtype="0" dur="2000" repeatCount="indefinite" fill="hold" grpId="0" nodeType="withEffect">
                                  <p:stCondLst>
                                    <p:cond delay="4500"/>
                                  </p:stCondLst>
                                  <p:childTnLst>
                                    <p:animEffect transition="out" filter="fade">
                                      <p:cBhvr>
                                        <p:cTn id="671" dur="2000" tmFilter="0, 0; .2, .5; .8, .5; 1, 0"/>
                                        <p:tgtEl>
                                          <p:spTgt spid="153"/>
                                        </p:tgtEl>
                                      </p:cBhvr>
                                    </p:animEffect>
                                    <p:animScale>
                                      <p:cBhvr>
                                        <p:cTn id="672" dur="1000" autoRev="1" fill="hold"/>
                                        <p:tgtEl>
                                          <p:spTgt spid="153"/>
                                        </p:tgtEl>
                                      </p:cBhvr>
                                      <p:by x="105000" y="105000"/>
                                    </p:animScale>
                                  </p:childTnLst>
                                </p:cTn>
                              </p:par>
                              <p:par>
                                <p:cTn id="673" presetID="26" presetClass="emph" presetSubtype="0" dur="2000" repeatCount="indefinite" fill="hold" grpId="0" nodeType="withEffect">
                                  <p:stCondLst>
                                    <p:cond delay="4500"/>
                                  </p:stCondLst>
                                  <p:childTnLst>
                                    <p:animEffect transition="out" filter="fade">
                                      <p:cBhvr>
                                        <p:cTn id="674" dur="2000" tmFilter="0, 0; .2, .5; .8, .5; 1, 0"/>
                                        <p:tgtEl>
                                          <p:spTgt spid="170"/>
                                        </p:tgtEl>
                                      </p:cBhvr>
                                    </p:animEffect>
                                    <p:animScale>
                                      <p:cBhvr>
                                        <p:cTn id="675" dur="1000" autoRev="1" fill="hold"/>
                                        <p:tgtEl>
                                          <p:spTgt spid="170"/>
                                        </p:tgtEl>
                                      </p:cBhvr>
                                      <p:by x="105000" y="105000"/>
                                    </p:animScale>
                                  </p:childTnLst>
                                </p:cTn>
                              </p:par>
                              <p:par>
                                <p:cTn id="676" presetID="26" presetClass="emph" presetSubtype="0" dur="2000" repeatCount="indefinite" fill="hold" grpId="0" nodeType="withEffect">
                                  <p:stCondLst>
                                    <p:cond delay="4750"/>
                                  </p:stCondLst>
                                  <p:childTnLst>
                                    <p:animEffect transition="out" filter="fade">
                                      <p:cBhvr>
                                        <p:cTn id="677" dur="2000" tmFilter="0, 0; .2, .5; .8, .5; 1, 0"/>
                                        <p:tgtEl>
                                          <p:spTgt spid="105"/>
                                        </p:tgtEl>
                                      </p:cBhvr>
                                    </p:animEffect>
                                    <p:animScale>
                                      <p:cBhvr>
                                        <p:cTn id="678" dur="1000" autoRev="1" fill="hold"/>
                                        <p:tgtEl>
                                          <p:spTgt spid="105"/>
                                        </p:tgtEl>
                                      </p:cBhvr>
                                      <p:by x="105000" y="105000"/>
                                    </p:animScale>
                                  </p:childTnLst>
                                </p:cTn>
                              </p:par>
                              <p:par>
                                <p:cTn id="679" presetID="26" presetClass="emph" presetSubtype="0" dur="2000" repeatCount="indefinite" fill="hold" grpId="0" nodeType="withEffect">
                                  <p:stCondLst>
                                    <p:cond delay="4750"/>
                                  </p:stCondLst>
                                  <p:childTnLst>
                                    <p:animEffect transition="out" filter="fade">
                                      <p:cBhvr>
                                        <p:cTn id="680" dur="2000" tmFilter="0, 0; .2, .5; .8, .5; 1, 0"/>
                                        <p:tgtEl>
                                          <p:spTgt spid="121"/>
                                        </p:tgtEl>
                                      </p:cBhvr>
                                    </p:animEffect>
                                    <p:animScale>
                                      <p:cBhvr>
                                        <p:cTn id="681" dur="1000" autoRev="1" fill="hold"/>
                                        <p:tgtEl>
                                          <p:spTgt spid="121"/>
                                        </p:tgtEl>
                                      </p:cBhvr>
                                      <p:by x="105000" y="105000"/>
                                    </p:animScale>
                                  </p:childTnLst>
                                </p:cTn>
                              </p:par>
                              <p:par>
                                <p:cTn id="682" presetID="26" presetClass="emph" presetSubtype="0" dur="2000" repeatCount="indefinite" fill="hold" grpId="0" nodeType="withEffect">
                                  <p:stCondLst>
                                    <p:cond delay="4750"/>
                                  </p:stCondLst>
                                  <p:childTnLst>
                                    <p:animEffect transition="out" filter="fade">
                                      <p:cBhvr>
                                        <p:cTn id="683" dur="2000" tmFilter="0, 0; .2, .5; .8, .5; 1, 0"/>
                                        <p:tgtEl>
                                          <p:spTgt spid="137"/>
                                        </p:tgtEl>
                                      </p:cBhvr>
                                    </p:animEffect>
                                    <p:animScale>
                                      <p:cBhvr>
                                        <p:cTn id="684" dur="1000" autoRev="1" fill="hold"/>
                                        <p:tgtEl>
                                          <p:spTgt spid="137"/>
                                        </p:tgtEl>
                                      </p:cBhvr>
                                      <p:by x="105000" y="105000"/>
                                    </p:animScale>
                                  </p:childTnLst>
                                </p:cTn>
                              </p:par>
                              <p:par>
                                <p:cTn id="685" presetID="26" presetClass="emph" presetSubtype="0" dur="2000" repeatCount="indefinite" fill="hold" grpId="0" nodeType="withEffect">
                                  <p:stCondLst>
                                    <p:cond delay="4750"/>
                                  </p:stCondLst>
                                  <p:childTnLst>
                                    <p:animEffect transition="out" filter="fade">
                                      <p:cBhvr>
                                        <p:cTn id="686" dur="2000" tmFilter="0, 0; .2, .5; .8, .5; 1, 0"/>
                                        <p:tgtEl>
                                          <p:spTgt spid="154"/>
                                        </p:tgtEl>
                                      </p:cBhvr>
                                    </p:animEffect>
                                    <p:animScale>
                                      <p:cBhvr>
                                        <p:cTn id="687" dur="1000" autoRev="1" fill="hold"/>
                                        <p:tgtEl>
                                          <p:spTgt spid="154"/>
                                        </p:tgtEl>
                                      </p:cBhvr>
                                      <p:by x="105000" y="105000"/>
                                    </p:animScale>
                                  </p:childTnLst>
                                </p:cTn>
                              </p:par>
                              <p:par>
                                <p:cTn id="688" presetID="26" presetClass="emph" presetSubtype="0" dur="2000" repeatCount="indefinite" fill="hold" grpId="0" nodeType="withEffect">
                                  <p:stCondLst>
                                    <p:cond delay="5000"/>
                                  </p:stCondLst>
                                  <p:childTnLst>
                                    <p:animEffect transition="out" filter="fade">
                                      <p:cBhvr>
                                        <p:cTn id="689" dur="2000" tmFilter="0, 0; .2, .5; .8, .5; 1, 0"/>
                                        <p:tgtEl>
                                          <p:spTgt spid="122"/>
                                        </p:tgtEl>
                                      </p:cBhvr>
                                    </p:animEffect>
                                    <p:animScale>
                                      <p:cBhvr>
                                        <p:cTn id="690" dur="1000" autoRev="1" fill="hold"/>
                                        <p:tgtEl>
                                          <p:spTgt spid="122"/>
                                        </p:tgtEl>
                                      </p:cBhvr>
                                      <p:by x="105000" y="105000"/>
                                    </p:animScale>
                                  </p:childTnLst>
                                </p:cTn>
                              </p:par>
                              <p:par>
                                <p:cTn id="691" presetID="26" presetClass="emph" presetSubtype="0" dur="2000" repeatCount="indefinite" fill="hold" grpId="0" nodeType="withEffect">
                                  <p:stCondLst>
                                    <p:cond delay="5000"/>
                                  </p:stCondLst>
                                  <p:childTnLst>
                                    <p:animEffect transition="out" filter="fade">
                                      <p:cBhvr>
                                        <p:cTn id="692" dur="2000" tmFilter="0, 0; .2, .5; .8, .5; 1, 0"/>
                                        <p:tgtEl>
                                          <p:spTgt spid="138"/>
                                        </p:tgtEl>
                                      </p:cBhvr>
                                    </p:animEffect>
                                    <p:animScale>
                                      <p:cBhvr>
                                        <p:cTn id="693" dur="1000" autoRev="1" fill="hold"/>
                                        <p:tgtEl>
                                          <p:spTgt spid="138"/>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122" grpId="0" animBg="1"/>
      <p:bldP spid="138" grpId="0" animBg="1"/>
      <p:bldP spid="105" grpId="0" animBg="1"/>
      <p:bldP spid="121" grpId="0" animBg="1"/>
      <p:bldP spid="137" grpId="0" animBg="1"/>
      <p:bldP spid="154" grpId="0" animBg="1"/>
      <p:bldP spid="88" grpId="0" animBg="1"/>
      <p:bldP spid="104" grpId="0" animBg="1"/>
      <p:bldP spid="120" grpId="0" animBg="1"/>
      <p:bldP spid="136" grpId="0" animBg="1"/>
      <p:bldP spid="153" grpId="0" animBg="1"/>
      <p:bldP spid="170" grpId="0" animBg="1"/>
      <p:bldP spid="71" grpId="0" animBg="1"/>
      <p:bldP spid="87" grpId="0" animBg="1"/>
      <p:bldP spid="103" grpId="0" animBg="1"/>
      <p:bldP spid="119" grpId="0" animBg="1"/>
      <p:bldP spid="135" grpId="0" animBg="1"/>
      <p:bldP spid="152" grpId="0" animBg="1"/>
      <p:bldP spid="169" grpId="0" animBg="1"/>
      <p:bldP spid="186" grpId="0" animBg="1"/>
      <p:bldP spid="54" grpId="0" animBg="1"/>
      <p:bldP spid="70" grpId="0" animBg="1"/>
      <p:bldP spid="86" grpId="0" animBg="1"/>
      <p:bldP spid="102" grpId="0" animBg="1"/>
      <p:bldP spid="118" grpId="0" animBg="1"/>
      <p:bldP spid="134" grpId="0" animBg="1"/>
      <p:bldP spid="151" grpId="0" animBg="1"/>
      <p:bldP spid="168" grpId="0" animBg="1"/>
      <p:bldP spid="185" grpId="0" animBg="1"/>
      <p:bldP spid="202" grpId="0" animBg="1"/>
      <p:bldP spid="37" grpId="0" animBg="1"/>
      <p:bldP spid="53" grpId="0" animBg="1"/>
      <p:bldP spid="69" grpId="0" animBg="1"/>
      <p:bldP spid="85" grpId="0" animBg="1"/>
      <p:bldP spid="101" grpId="0" animBg="1"/>
      <p:bldP spid="117" grpId="0" animBg="1"/>
      <p:bldP spid="133" grpId="0" animBg="1"/>
      <p:bldP spid="150" grpId="0" animBg="1"/>
      <p:bldP spid="167" grpId="0" animBg="1"/>
      <p:bldP spid="184" grpId="0" animBg="1"/>
      <p:bldP spid="201" grpId="0" animBg="1"/>
      <p:bldP spid="218" grpId="0" animBg="1"/>
      <p:bldP spid="5" grpId="0" animBg="1"/>
      <p:bldP spid="22" grpId="0" animBg="1"/>
      <p:bldP spid="38" grpId="0" animBg="1"/>
      <p:bldP spid="203" grpId="0" animBg="1"/>
      <p:bldP spid="219" grpId="0" animBg="1"/>
      <p:bldP spid="6" grpId="0" animBg="1"/>
      <p:bldP spid="23" grpId="0" animBg="1"/>
      <p:bldP spid="39" grpId="0" animBg="1"/>
      <p:bldP spid="55" grpId="0" animBg="1"/>
      <p:bldP spid="187" grpId="0" animBg="1"/>
      <p:bldP spid="204" grpId="0" animBg="1"/>
      <p:bldP spid="220" grpId="0" animBg="1"/>
      <p:bldP spid="7" grpId="0" animBg="1"/>
      <p:bldP spid="24" grpId="0" animBg="1"/>
      <p:bldP spid="40" grpId="0" animBg="1"/>
      <p:bldP spid="56" grpId="0" animBg="1"/>
      <p:bldP spid="72" grpId="0" animBg="1"/>
      <p:bldP spid="171" grpId="0" animBg="1"/>
      <p:bldP spid="188" grpId="0" animBg="1"/>
      <p:bldP spid="205" grpId="0" animBg="1"/>
      <p:bldP spid="221" grpId="0" animBg="1"/>
      <p:bldP spid="8" grpId="0" animBg="1"/>
      <p:bldP spid="25" grpId="0" animBg="1"/>
      <p:bldP spid="41" grpId="0" animBg="1"/>
      <p:bldP spid="57" grpId="0" animBg="1"/>
      <p:bldP spid="73" grpId="0" animBg="1"/>
      <p:bldP spid="89" grpId="0" animBg="1"/>
      <p:bldP spid="155" grpId="0" animBg="1"/>
      <p:bldP spid="172" grpId="0" animBg="1"/>
      <p:bldP spid="189" grpId="0" animBg="1"/>
      <p:bldP spid="206" grpId="0" animBg="1"/>
      <p:bldP spid="222" grpId="0" animBg="1"/>
      <p:bldP spid="11" grpId="0" animBg="1"/>
      <p:bldP spid="26" grpId="0" animBg="1"/>
      <p:bldP spid="42" grpId="0" animBg="1"/>
      <p:bldP spid="58" grpId="0" animBg="1"/>
      <p:bldP spid="74" grpId="0" animBg="1"/>
      <p:bldP spid="90" grpId="0" animBg="1"/>
      <p:bldP spid="106" grpId="0" animBg="1"/>
      <p:bldP spid="139" grpId="0" animBg="1"/>
      <p:bldP spid="156" grpId="0" animBg="1"/>
      <p:bldP spid="173" grpId="0" animBg="1"/>
      <p:bldP spid="190" grpId="0" animBg="1"/>
      <p:bldP spid="207" grpId="0" animBg="1"/>
      <p:bldP spid="223" grpId="0" animBg="1"/>
      <p:bldP spid="12" grpId="0" animBg="1"/>
      <p:bldP spid="27" grpId="0" animBg="1"/>
      <p:bldP spid="43" grpId="0" animBg="1"/>
      <p:bldP spid="59" grpId="0" animBg="1"/>
      <p:bldP spid="75" grpId="0" animBg="1"/>
      <p:bldP spid="91" grpId="0" animBg="1"/>
      <p:bldP spid="107" grpId="0" animBg="1"/>
      <p:bldP spid="123" grpId="0" animBg="1"/>
      <p:bldP spid="140" grpId="0" animBg="1"/>
      <p:bldP spid="157" grpId="0" animBg="1"/>
      <p:bldP spid="174" grpId="0" animBg="1"/>
      <p:bldP spid="191" grpId="0" animBg="1"/>
      <p:bldP spid="208" grpId="0" animBg="1"/>
      <p:bldP spid="224" grpId="0" animBg="1"/>
      <p:bldP spid="13" grpId="0" animBg="1"/>
      <p:bldP spid="28" grpId="0" animBg="1"/>
      <p:bldP spid="44" grpId="0" animBg="1"/>
      <p:bldP spid="60" grpId="0" animBg="1"/>
      <p:bldP spid="76" grpId="0" animBg="1"/>
      <p:bldP spid="92" grpId="0" animBg="1"/>
      <p:bldP spid="108" grpId="0" animBg="1"/>
      <p:bldP spid="124" grpId="0" animBg="1"/>
      <p:bldP spid="141" grpId="0" animBg="1"/>
      <p:bldP spid="158" grpId="0" animBg="1"/>
      <p:bldP spid="175" grpId="0" animBg="1"/>
      <p:bldP spid="192" grpId="0" animBg="1"/>
      <p:bldP spid="209" grpId="0" animBg="1"/>
      <p:bldP spid="225" grpId="0" animBg="1"/>
      <p:bldP spid="14" grpId="0" animBg="1"/>
      <p:bldP spid="29" grpId="0" animBg="1"/>
      <p:bldP spid="45" grpId="0" animBg="1"/>
      <p:bldP spid="61" grpId="0" animBg="1"/>
      <p:bldP spid="77" grpId="0" animBg="1"/>
      <p:bldP spid="93" grpId="0" animBg="1"/>
      <p:bldP spid="109" grpId="0" animBg="1"/>
      <p:bldP spid="125" grpId="0" animBg="1"/>
      <p:bldP spid="142" grpId="0" animBg="1"/>
      <p:bldP spid="159" grpId="0" animBg="1"/>
      <p:bldP spid="176" grpId="0" animBg="1"/>
      <p:bldP spid="193" grpId="0" animBg="1"/>
      <p:bldP spid="210" grpId="0" animBg="1"/>
      <p:bldP spid="226" grpId="0" animBg="1"/>
      <p:bldP spid="15" grpId="0" animBg="1"/>
      <p:bldP spid="30" grpId="0" animBg="1"/>
      <p:bldP spid="46" grpId="0" animBg="1"/>
      <p:bldP spid="62" grpId="0" animBg="1"/>
      <p:bldP spid="78" grpId="0" animBg="1"/>
      <p:bldP spid="94" grpId="0" animBg="1"/>
      <p:bldP spid="110" grpId="0" animBg="1"/>
      <p:bldP spid="126" grpId="0" animBg="1"/>
      <p:bldP spid="143" grpId="0" animBg="1"/>
      <p:bldP spid="160" grpId="0" animBg="1"/>
      <p:bldP spid="177" grpId="0" animBg="1"/>
      <p:bldP spid="194" grpId="0" animBg="1"/>
      <p:bldP spid="211" grpId="0" animBg="1"/>
      <p:bldP spid="227" grpId="0" animBg="1"/>
      <p:bldP spid="16" grpId="0" animBg="1"/>
      <p:bldP spid="31" grpId="0" animBg="1"/>
      <p:bldP spid="47" grpId="0" animBg="1"/>
      <p:bldP spid="63" grpId="0" animBg="1"/>
      <p:bldP spid="79" grpId="0" animBg="1"/>
      <p:bldP spid="95" grpId="0" animBg="1"/>
      <p:bldP spid="111" grpId="0" animBg="1"/>
      <p:bldP spid="127" grpId="0" animBg="1"/>
      <p:bldP spid="144" grpId="0" animBg="1"/>
      <p:bldP spid="161" grpId="0" animBg="1"/>
      <p:bldP spid="178" grpId="0" animBg="1"/>
      <p:bldP spid="195" grpId="0" animBg="1"/>
      <p:bldP spid="212" grpId="0" animBg="1"/>
      <p:bldP spid="228" grpId="0" animBg="1"/>
      <p:bldP spid="17" grpId="0" animBg="1"/>
      <p:bldP spid="32" grpId="0" animBg="1"/>
      <p:bldP spid="48" grpId="0" animBg="1"/>
      <p:bldP spid="64" grpId="0" animBg="1"/>
      <p:bldP spid="80" grpId="0" animBg="1"/>
      <p:bldP spid="96" grpId="0" animBg="1"/>
      <p:bldP spid="112" grpId="0" animBg="1"/>
      <p:bldP spid="128" grpId="0" animBg="1"/>
      <p:bldP spid="145" grpId="0" animBg="1"/>
      <p:bldP spid="162" grpId="0" animBg="1"/>
      <p:bldP spid="179" grpId="0" animBg="1"/>
      <p:bldP spid="196" grpId="0" animBg="1"/>
      <p:bldP spid="213" grpId="0" animBg="1"/>
      <p:bldP spid="229" grpId="0" animBg="1"/>
      <p:bldP spid="18" grpId="0" animBg="1"/>
      <p:bldP spid="33" grpId="0" animBg="1"/>
      <p:bldP spid="49" grpId="0" animBg="1"/>
      <p:bldP spid="65" grpId="0" animBg="1"/>
      <p:bldP spid="81" grpId="0" animBg="1"/>
      <p:bldP spid="97" grpId="0" animBg="1"/>
      <p:bldP spid="113" grpId="0" animBg="1"/>
      <p:bldP spid="129" grpId="0" animBg="1"/>
      <p:bldP spid="146" grpId="0" animBg="1"/>
      <p:bldP spid="163" grpId="0" animBg="1"/>
      <p:bldP spid="180" grpId="0" animBg="1"/>
      <p:bldP spid="197" grpId="0" animBg="1"/>
      <p:bldP spid="214" grpId="0" animBg="1"/>
      <p:bldP spid="230" grpId="0" animBg="1"/>
      <p:bldP spid="19" grpId="0" animBg="1"/>
      <p:bldP spid="34" grpId="0" animBg="1"/>
      <p:bldP spid="50" grpId="0" animBg="1"/>
      <p:bldP spid="66" grpId="0" animBg="1"/>
      <p:bldP spid="82" grpId="0" animBg="1"/>
      <p:bldP spid="98" grpId="0" animBg="1"/>
      <p:bldP spid="114" grpId="0" animBg="1"/>
      <p:bldP spid="130" grpId="0" animBg="1"/>
      <p:bldP spid="147" grpId="0" animBg="1"/>
      <p:bldP spid="164" grpId="0" animBg="1"/>
      <p:bldP spid="181" grpId="0" animBg="1"/>
      <p:bldP spid="198" grpId="0" animBg="1"/>
      <p:bldP spid="215" grpId="0" animBg="1"/>
      <p:bldP spid="231" grpId="0" animBg="1"/>
      <p:bldP spid="20" grpId="0" animBg="1"/>
      <p:bldP spid="35" grpId="0" animBg="1"/>
      <p:bldP spid="51" grpId="0" animBg="1"/>
      <p:bldP spid="67" grpId="0" animBg="1"/>
      <p:bldP spid="83" grpId="0" animBg="1"/>
      <p:bldP spid="99" grpId="0" animBg="1"/>
      <p:bldP spid="115" grpId="0" animBg="1"/>
      <p:bldP spid="131" grpId="0" animBg="1"/>
      <p:bldP spid="148" grpId="0" animBg="1"/>
      <p:bldP spid="165" grpId="0" animBg="1"/>
      <p:bldP spid="182" grpId="0" animBg="1"/>
      <p:bldP spid="199" grpId="0" animBg="1"/>
      <p:bldP spid="216" grpId="0" animBg="1"/>
      <p:bldP spid="232" grpId="0" animBg="1"/>
      <p:bldP spid="21" grpId="0" animBg="1"/>
      <p:bldP spid="36" grpId="0" animBg="1"/>
      <p:bldP spid="52" grpId="0" animBg="1"/>
      <p:bldP spid="68" grpId="0" animBg="1"/>
      <p:bldP spid="84" grpId="0" animBg="1"/>
      <p:bldP spid="100" grpId="0" animBg="1"/>
      <p:bldP spid="116" grpId="0" animBg="1"/>
      <p:bldP spid="132" grpId="0" animBg="1"/>
      <p:bldP spid="149" grpId="0" animBg="1"/>
      <p:bldP spid="166" grpId="0" animBg="1"/>
      <p:bldP spid="183" grpId="0" animBg="1"/>
      <p:bldP spid="200" grpId="0" animBg="1"/>
      <p:bldP spid="217" grpId="0" animBg="1"/>
      <p:bldP spid="233" grpId="0" animBg="1"/>
      <p:bldP spid="10" grpId="0">
        <p:tmplLst>
          <p:tmpl>
            <p:tnLst>
              <p:par>
                <p:cTn presetID="2" presetClass="entr" presetSubtype="8" decel="100000" fill="hold" nodeType="withEffect">
                  <p:stCondLst>
                    <p:cond delay="0"/>
                  </p:stCondLst>
                  <p:childTnLst>
                    <p:set>
                      <p:cBhvr>
                        <p:cTn dur="1" fill="hold">
                          <p:stCondLst>
                            <p:cond delay="0"/>
                          </p:stCondLst>
                        </p:cTn>
                        <p:tgtEl>
                          <p:spTgt spid="10"/>
                        </p:tgtEl>
                        <p:attrNameLst>
                          <p:attrName>style.visibility</p:attrName>
                        </p:attrNameLst>
                      </p:cBhvr>
                      <p:to>
                        <p:strVal val="visible"/>
                      </p:to>
                    </p:set>
                    <p:anim calcmode="lin" valueType="num">
                      <p:cBhvr additive="base">
                        <p:cTn dur="1000" fill="hold"/>
                        <p:tgtEl>
                          <p:spTgt spid="10"/>
                        </p:tgtEl>
                        <p:attrNameLst>
                          <p:attrName>ppt_x</p:attrName>
                        </p:attrNameLst>
                      </p:cBhvr>
                      <p:tavLst>
                        <p:tav tm="0">
                          <p:val>
                            <p:strVal val="0-#ppt_w/2"/>
                          </p:val>
                        </p:tav>
                        <p:tav tm="100000">
                          <p:val>
                            <p:strVal val="#ppt_x"/>
                          </p:val>
                        </p:tav>
                      </p:tavLst>
                    </p:anim>
                    <p:anim calcmode="lin" valueType="num">
                      <p:cBhvr additive="base">
                        <p:cTn dur="1000" fill="hold"/>
                        <p:tgtEl>
                          <p:spTgt spid="10"/>
                        </p:tgtEl>
                        <p:attrNameLst>
                          <p:attrName>ppt_y</p:attrName>
                        </p:attrNameLst>
                      </p:cBhvr>
                      <p:tavLst>
                        <p:tav tm="0">
                          <p:val>
                            <p:strVal val="#ppt_y"/>
                          </p:val>
                        </p:tav>
                        <p:tav tm="100000">
                          <p:val>
                            <p:strVal val="#ppt_y"/>
                          </p:val>
                        </p:tav>
                      </p:tavLst>
                    </p:anim>
                  </p:childTnLst>
                </p:cTn>
              </p:par>
            </p:tnLst>
          </p:tmpl>
        </p:tmplLst>
      </p:bldP>
    </p:bld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HEADING/TEXT 1 column">
    <p:spTree>
      <p:nvGrpSpPr>
        <p:cNvPr id="1" name=""/>
        <p:cNvGrpSpPr/>
        <p:nvPr/>
      </p:nvGrpSpPr>
      <p:grpSpPr>
        <a:xfrm>
          <a:off x="0" y="0"/>
          <a:ext cx="0" cy="0"/>
          <a:chOff x="0" y="0"/>
          <a:chExt cx="0" cy="0"/>
        </a:xfrm>
      </p:grpSpPr>
      <p:sp>
        <p:nvSpPr>
          <p:cNvPr id="13" name="Freihandform: Form 12">
            <a:extLst>
              <a:ext uri="{FF2B5EF4-FFF2-40B4-BE49-F238E27FC236}">
                <a16:creationId xmlns:a16="http://schemas.microsoft.com/office/drawing/2014/main" id="{50EC640D-C73C-4FD9-AD9A-88EE410704F4}"/>
              </a:ext>
            </a:extLst>
          </p:cNvPr>
          <p:cNvSpPr/>
          <p:nvPr/>
        </p:nvSpPr>
        <p:spPr>
          <a:xfrm>
            <a:off x="2362200" y="1975611"/>
            <a:ext cx="9829800" cy="4882390"/>
          </a:xfrm>
          <a:custGeom>
            <a:avLst/>
            <a:gdLst>
              <a:gd name="connsiteX0" fmla="*/ 910059 w 9829800"/>
              <a:gd name="connsiteY0" fmla="*/ 0 h 4882390"/>
              <a:gd name="connsiteX1" fmla="*/ 3015085 w 9829800"/>
              <a:gd name="connsiteY1" fmla="*/ 0 h 4882390"/>
              <a:gd name="connsiteX2" fmla="*/ 7981950 w 9829800"/>
              <a:gd name="connsiteY2" fmla="*/ 0 h 4882390"/>
              <a:gd name="connsiteX3" fmla="*/ 9829800 w 9829800"/>
              <a:gd name="connsiteY3" fmla="*/ 0 h 4882390"/>
              <a:gd name="connsiteX4" fmla="*/ 9829800 w 9829800"/>
              <a:gd name="connsiteY4" fmla="*/ 4882390 h 4882390"/>
              <a:gd name="connsiteX5" fmla="*/ 7981950 w 9829800"/>
              <a:gd name="connsiteY5" fmla="*/ 4882390 h 4882390"/>
              <a:gd name="connsiteX6" fmla="*/ 2183098 w 9829800"/>
              <a:gd name="connsiteY6" fmla="*/ 4882390 h 4882390"/>
              <a:gd name="connsiteX7" fmla="*/ 78072 w 9829800"/>
              <a:gd name="connsiteY7" fmla="*/ 4882390 h 4882390"/>
              <a:gd name="connsiteX8" fmla="*/ 0 w 9829800"/>
              <a:gd name="connsiteY8" fmla="*/ 4804318 h 4882390"/>
              <a:gd name="connsiteX9" fmla="*/ 831987 w 9829800"/>
              <a:gd name="connsiteY9" fmla="*/ 78072 h 4882390"/>
              <a:gd name="connsiteX10" fmla="*/ 910059 w 9829800"/>
              <a:gd name="connsiteY10" fmla="*/ 0 h 4882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829800" h="4882390">
                <a:moveTo>
                  <a:pt x="910059" y="0"/>
                </a:moveTo>
                <a:lnTo>
                  <a:pt x="3015085" y="0"/>
                </a:lnTo>
                <a:lnTo>
                  <a:pt x="7981950" y="0"/>
                </a:lnTo>
                <a:lnTo>
                  <a:pt x="9829800" y="0"/>
                </a:lnTo>
                <a:lnTo>
                  <a:pt x="9829800" y="4882390"/>
                </a:lnTo>
                <a:lnTo>
                  <a:pt x="7981950" y="4882390"/>
                </a:lnTo>
                <a:lnTo>
                  <a:pt x="2183098" y="4882390"/>
                </a:lnTo>
                <a:lnTo>
                  <a:pt x="78072" y="4882390"/>
                </a:lnTo>
                <a:cubicBezTo>
                  <a:pt x="34957" y="4882390"/>
                  <a:pt x="0" y="4847433"/>
                  <a:pt x="0" y="4804318"/>
                </a:cubicBezTo>
                <a:lnTo>
                  <a:pt x="831987" y="78072"/>
                </a:lnTo>
                <a:cubicBezTo>
                  <a:pt x="831987" y="34957"/>
                  <a:pt x="866945" y="0"/>
                  <a:pt x="910059" y="0"/>
                </a:cubicBezTo>
                <a:close/>
              </a:path>
            </a:pathLst>
          </a:custGeom>
          <a:gradFill>
            <a:gsLst>
              <a:gs pos="0">
                <a:schemeClr val="bg1"/>
              </a:gs>
              <a:gs pos="95000">
                <a:srgbClr val="ECF0F4"/>
              </a:gs>
            </a:gsLst>
            <a:lin ang="5400000" scaled="1"/>
          </a:gradFill>
          <a:ln w="11652" cap="flat">
            <a:noFill/>
            <a:prstDash val="solid"/>
            <a:miter/>
          </a:ln>
        </p:spPr>
        <p:txBody>
          <a:bodyPr rtlCol="0" anchor="ctr"/>
          <a:lstStyle/>
          <a:p>
            <a:endParaRPr lang="de-DE"/>
          </a:p>
        </p:txBody>
      </p:sp>
      <p:sp>
        <p:nvSpPr>
          <p:cNvPr id="2" name="Titel 1">
            <a:extLst>
              <a:ext uri="{FF2B5EF4-FFF2-40B4-BE49-F238E27FC236}">
                <a16:creationId xmlns:a16="http://schemas.microsoft.com/office/drawing/2014/main" id="{0526DC72-FA1D-422D-8055-3374742D122B}"/>
              </a:ext>
            </a:extLst>
          </p:cNvPr>
          <p:cNvSpPr>
            <a:spLocks noGrp="1"/>
          </p:cNvSpPr>
          <p:nvPr>
            <p:ph type="title"/>
          </p:nvPr>
        </p:nvSpPr>
        <p:spPr/>
        <p:txBody>
          <a:bodyPr/>
          <a:lstStyle>
            <a:lvl1pPr>
              <a:lnSpc>
                <a:spcPct val="100000"/>
              </a:lnSpc>
              <a:defRPr/>
            </a:lvl1pPr>
          </a:lstStyle>
          <a:p>
            <a:r>
              <a:rPr lang="de-DE"/>
              <a:t>Mastertitelformat bearbeiten</a:t>
            </a:r>
          </a:p>
        </p:txBody>
      </p:sp>
      <p:sp>
        <p:nvSpPr>
          <p:cNvPr id="3" name="Foliennummernplatzhalter 2">
            <a:extLst>
              <a:ext uri="{FF2B5EF4-FFF2-40B4-BE49-F238E27FC236}">
                <a16:creationId xmlns:a16="http://schemas.microsoft.com/office/drawing/2014/main" id="{5B327254-466C-4606-8589-BCC72CBDADDF}"/>
              </a:ext>
            </a:extLst>
          </p:cNvPr>
          <p:cNvSpPr>
            <a:spLocks noGrp="1"/>
          </p:cNvSpPr>
          <p:nvPr>
            <p:ph type="sldNum" sz="quarter" idx="10"/>
          </p:nvPr>
        </p:nvSpPr>
        <p:spPr/>
        <p:txBody>
          <a:bodyPr/>
          <a:lstStyle/>
          <a:p>
            <a:fld id="{A04BEB4F-8CE1-4F18-986F-6CE0A0BE9470}" type="slidenum">
              <a:rPr lang="de-DE" smtClean="0"/>
              <a:t>‹#›</a:t>
            </a:fld>
            <a:endParaRPr lang="de-DE"/>
          </a:p>
        </p:txBody>
      </p:sp>
      <p:sp>
        <p:nvSpPr>
          <p:cNvPr id="5" name="Textplatzhalter 9">
            <a:extLst>
              <a:ext uri="{FF2B5EF4-FFF2-40B4-BE49-F238E27FC236}">
                <a16:creationId xmlns:a16="http://schemas.microsoft.com/office/drawing/2014/main" id="{6024922C-391C-46EA-9F1C-F5344AAB64C8}"/>
              </a:ext>
            </a:extLst>
          </p:cNvPr>
          <p:cNvSpPr>
            <a:spLocks noGrp="1"/>
          </p:cNvSpPr>
          <p:nvPr>
            <p:ph type="body" sz="quarter" idx="11"/>
          </p:nvPr>
        </p:nvSpPr>
        <p:spPr>
          <a:xfrm>
            <a:off x="815951" y="1979612"/>
            <a:ext cx="10560096" cy="4338638"/>
          </a:xfrm>
          <a:prstGeom prst="rect">
            <a:avLst/>
          </a:prstGeom>
        </p:spPr>
        <p:txBody>
          <a:bodyPr lIns="0" tIns="0" rIns="0" bIns="0">
            <a:normAutofit/>
          </a:bodyPr>
          <a:lstStyle>
            <a:lvl1pPr>
              <a:defRPr sz="1800"/>
            </a:lvl1pPr>
            <a:lvl2pPr>
              <a:defRPr sz="1800"/>
            </a:lvl2pPr>
            <a:lvl3pPr>
              <a:defRPr sz="1800"/>
            </a:lvl3pPr>
            <a:lvl4pPr>
              <a:defRPr sz="1800"/>
            </a:lvl4pPr>
            <a:lvl5pPr>
              <a:defRPr sz="18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00307989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8" dur="1000" decel="10000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0-#ppt_w/2"/>
                                          </p:val>
                                        </p:tav>
                                        <p:tav tm="100000">
                                          <p:val>
                                            <p:strVal val="#ppt_x"/>
                                          </p:val>
                                        </p:tav>
                                      </p:tavLst>
                                    </p:anim>
                                    <p:anim calcmode="lin" valueType="num">
                                      <p:cBhvr additive="base">
                                        <p:cTn id="8" dur="1000" fill="hold"/>
                                        <p:tgtEl>
                                          <p:spTgt spid="2"/>
                                        </p:tgtEl>
                                        <p:attrNameLst>
                                          <p:attrName>ppt_y</p:attrName>
                                        </p:attrNameLst>
                                      </p:cBhvr>
                                      <p:tavLst>
                                        <p:tav tm="0">
                                          <p:val>
                                            <p:strVal val="#ppt_y"/>
                                          </p:val>
                                        </p:tav>
                                        <p:tav tm="100000">
                                          <p:val>
                                            <p:strVal val="#ppt_y"/>
                                          </p:val>
                                        </p:tav>
                                      </p:tavLst>
                                    </p:anim>
                                  </p:childTnLst>
                                </p:cTn>
                              </p:par>
                              <p:par>
                                <p:cTn id="9" presetID="2" presetClass="entr" presetSubtype="8" dur="1000" decel="100000" fill="hold" grpId="0" nodeType="withEffect">
                                  <p:stCondLst>
                                    <p:cond delay="25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1000" fill="hold"/>
                                        <p:tgtEl>
                                          <p:spTgt spid="5"/>
                                        </p:tgtEl>
                                        <p:attrNameLst>
                                          <p:attrName>ppt_x</p:attrName>
                                        </p:attrNameLst>
                                      </p:cBhvr>
                                      <p:tavLst>
                                        <p:tav tm="0">
                                          <p:val>
                                            <p:strVal val="0-#ppt_w/2"/>
                                          </p:val>
                                        </p:tav>
                                        <p:tav tm="100000">
                                          <p:val>
                                            <p:strVal val="#ppt_x"/>
                                          </p:val>
                                        </p:tav>
                                      </p:tavLst>
                                    </p:anim>
                                    <p:anim calcmode="lin" valueType="num">
                                      <p:cBhvr additive="base">
                                        <p:cTn id="12" dur="100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uiExpand="1">
        <p:tmplLst>
          <p:tmpl>
            <p:tnLst>
              <p:par>
                <p:cTn presetID="2" presetClass="entr" presetSubtype="8" decel="100000" fill="hold" nodeType="withEffect">
                  <p:stCondLst>
                    <p:cond delay="250"/>
                  </p:stCondLst>
                  <p:childTnLst>
                    <p:set>
                      <p:cBhvr>
                        <p:cTn dur="1" fill="hold">
                          <p:stCondLst>
                            <p:cond delay="0"/>
                          </p:stCondLst>
                        </p:cTn>
                        <p:tgtEl>
                          <p:spTgt spid="5"/>
                        </p:tgtEl>
                        <p:attrNameLst>
                          <p:attrName>style.visibility</p:attrName>
                        </p:attrNameLst>
                      </p:cBhvr>
                      <p:to>
                        <p:strVal val="visible"/>
                      </p:to>
                    </p:set>
                    <p:anim calcmode="lin" valueType="num">
                      <p:cBhvr additive="base">
                        <p:cTn dur="1000" fill="hold"/>
                        <p:tgtEl>
                          <p:spTgt spid="5"/>
                        </p:tgtEl>
                        <p:attrNameLst>
                          <p:attrName>ppt_x</p:attrName>
                        </p:attrNameLst>
                      </p:cBhvr>
                      <p:tavLst>
                        <p:tav tm="0">
                          <p:val>
                            <p:strVal val="0-#ppt_w/2"/>
                          </p:val>
                        </p:tav>
                        <p:tav tm="100000">
                          <p:val>
                            <p:strVal val="#ppt_x"/>
                          </p:val>
                        </p:tav>
                      </p:tavLst>
                    </p:anim>
                    <p:anim calcmode="lin" valueType="num">
                      <p:cBhvr additive="base">
                        <p:cTn dur="1000" fill="hold"/>
                        <p:tgtEl>
                          <p:spTgt spid="5"/>
                        </p:tgtEl>
                        <p:attrNameLst>
                          <p:attrName>ppt_y</p:attrName>
                        </p:attrNameLst>
                      </p:cBhvr>
                      <p:tavLst>
                        <p:tav tm="0">
                          <p:val>
                            <p:strVal val="#ppt_y"/>
                          </p:val>
                        </p:tav>
                        <p:tav tm="100000">
                          <p:val>
                            <p:strVal val="#ppt_y"/>
                          </p:val>
                        </p:tav>
                      </p:tavLst>
                    </p:anim>
                  </p:childTnLst>
                </p:cTn>
              </p:par>
            </p:tnLst>
          </p:tmpl>
        </p:tmplLst>
      </p:bldP>
    </p:bld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HEADING/TEXT/IMAGE 1 small">
    <p:spTree>
      <p:nvGrpSpPr>
        <p:cNvPr id="1" name=""/>
        <p:cNvGrpSpPr/>
        <p:nvPr/>
      </p:nvGrpSpPr>
      <p:grpSpPr>
        <a:xfrm>
          <a:off x="0" y="0"/>
          <a:ext cx="0" cy="0"/>
          <a:chOff x="0" y="0"/>
          <a:chExt cx="0" cy="0"/>
        </a:xfrm>
      </p:grpSpPr>
      <p:sp>
        <p:nvSpPr>
          <p:cNvPr id="13" name="Freihandform: Form 12">
            <a:extLst>
              <a:ext uri="{FF2B5EF4-FFF2-40B4-BE49-F238E27FC236}">
                <a16:creationId xmlns:a16="http://schemas.microsoft.com/office/drawing/2014/main" id="{50EC640D-C73C-4FD9-AD9A-88EE410704F4}"/>
              </a:ext>
            </a:extLst>
          </p:cNvPr>
          <p:cNvSpPr/>
          <p:nvPr/>
        </p:nvSpPr>
        <p:spPr>
          <a:xfrm rot="10800000">
            <a:off x="0" y="1975611"/>
            <a:ext cx="9829800" cy="4882390"/>
          </a:xfrm>
          <a:custGeom>
            <a:avLst/>
            <a:gdLst>
              <a:gd name="connsiteX0" fmla="*/ 910059 w 9829800"/>
              <a:gd name="connsiteY0" fmla="*/ 0 h 4882390"/>
              <a:gd name="connsiteX1" fmla="*/ 3015085 w 9829800"/>
              <a:gd name="connsiteY1" fmla="*/ 0 h 4882390"/>
              <a:gd name="connsiteX2" fmla="*/ 7981950 w 9829800"/>
              <a:gd name="connsiteY2" fmla="*/ 0 h 4882390"/>
              <a:gd name="connsiteX3" fmla="*/ 9829800 w 9829800"/>
              <a:gd name="connsiteY3" fmla="*/ 0 h 4882390"/>
              <a:gd name="connsiteX4" fmla="*/ 9829800 w 9829800"/>
              <a:gd name="connsiteY4" fmla="*/ 4882390 h 4882390"/>
              <a:gd name="connsiteX5" fmla="*/ 7981950 w 9829800"/>
              <a:gd name="connsiteY5" fmla="*/ 4882390 h 4882390"/>
              <a:gd name="connsiteX6" fmla="*/ 2183098 w 9829800"/>
              <a:gd name="connsiteY6" fmla="*/ 4882390 h 4882390"/>
              <a:gd name="connsiteX7" fmla="*/ 78072 w 9829800"/>
              <a:gd name="connsiteY7" fmla="*/ 4882390 h 4882390"/>
              <a:gd name="connsiteX8" fmla="*/ 0 w 9829800"/>
              <a:gd name="connsiteY8" fmla="*/ 4804318 h 4882390"/>
              <a:gd name="connsiteX9" fmla="*/ 831987 w 9829800"/>
              <a:gd name="connsiteY9" fmla="*/ 78072 h 4882390"/>
              <a:gd name="connsiteX10" fmla="*/ 910059 w 9829800"/>
              <a:gd name="connsiteY10" fmla="*/ 0 h 4882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829800" h="4882390">
                <a:moveTo>
                  <a:pt x="910059" y="0"/>
                </a:moveTo>
                <a:lnTo>
                  <a:pt x="3015085" y="0"/>
                </a:lnTo>
                <a:lnTo>
                  <a:pt x="7981950" y="0"/>
                </a:lnTo>
                <a:lnTo>
                  <a:pt x="9829800" y="0"/>
                </a:lnTo>
                <a:lnTo>
                  <a:pt x="9829800" y="4882390"/>
                </a:lnTo>
                <a:lnTo>
                  <a:pt x="7981950" y="4882390"/>
                </a:lnTo>
                <a:lnTo>
                  <a:pt x="2183098" y="4882390"/>
                </a:lnTo>
                <a:lnTo>
                  <a:pt x="78072" y="4882390"/>
                </a:lnTo>
                <a:cubicBezTo>
                  <a:pt x="34957" y="4882390"/>
                  <a:pt x="0" y="4847433"/>
                  <a:pt x="0" y="4804318"/>
                </a:cubicBezTo>
                <a:lnTo>
                  <a:pt x="831987" y="78072"/>
                </a:lnTo>
                <a:cubicBezTo>
                  <a:pt x="831987" y="34957"/>
                  <a:pt x="866945" y="0"/>
                  <a:pt x="910059" y="0"/>
                </a:cubicBezTo>
                <a:close/>
              </a:path>
            </a:pathLst>
          </a:custGeom>
          <a:gradFill>
            <a:gsLst>
              <a:gs pos="100000">
                <a:schemeClr val="bg1"/>
              </a:gs>
              <a:gs pos="5000">
                <a:srgbClr val="ECF0F4"/>
              </a:gs>
            </a:gsLst>
            <a:lin ang="5400000" scaled="1"/>
          </a:gradFill>
          <a:ln w="11652" cap="flat">
            <a:noFill/>
            <a:prstDash val="solid"/>
            <a:miter/>
          </a:ln>
        </p:spPr>
        <p:txBody>
          <a:bodyPr rtlCol="0" anchor="ctr"/>
          <a:lstStyle/>
          <a:p>
            <a:endParaRPr lang="de-DE"/>
          </a:p>
        </p:txBody>
      </p:sp>
      <p:sp>
        <p:nvSpPr>
          <p:cNvPr id="2" name="Titel 1">
            <a:extLst>
              <a:ext uri="{FF2B5EF4-FFF2-40B4-BE49-F238E27FC236}">
                <a16:creationId xmlns:a16="http://schemas.microsoft.com/office/drawing/2014/main" id="{0526DC72-FA1D-422D-8055-3374742D122B}"/>
              </a:ext>
            </a:extLst>
          </p:cNvPr>
          <p:cNvSpPr>
            <a:spLocks noGrp="1"/>
          </p:cNvSpPr>
          <p:nvPr>
            <p:ph type="title"/>
          </p:nvPr>
        </p:nvSpPr>
        <p:spPr>
          <a:xfrm>
            <a:off x="815952" y="733402"/>
            <a:ext cx="4931999" cy="767737"/>
          </a:xfrm>
        </p:spPr>
        <p:txBody>
          <a:bodyPr/>
          <a:lstStyle>
            <a:lvl1pPr>
              <a:lnSpc>
                <a:spcPct val="100000"/>
              </a:lnSpc>
              <a:defRPr/>
            </a:lvl1pPr>
          </a:lstStyle>
          <a:p>
            <a:r>
              <a:rPr lang="de-DE"/>
              <a:t>Mastertitelformat bearbeiten</a:t>
            </a:r>
          </a:p>
        </p:txBody>
      </p:sp>
      <p:sp>
        <p:nvSpPr>
          <p:cNvPr id="3" name="Foliennummernplatzhalter 2">
            <a:extLst>
              <a:ext uri="{FF2B5EF4-FFF2-40B4-BE49-F238E27FC236}">
                <a16:creationId xmlns:a16="http://schemas.microsoft.com/office/drawing/2014/main" id="{5B327254-466C-4606-8589-BCC72CBDADDF}"/>
              </a:ext>
            </a:extLst>
          </p:cNvPr>
          <p:cNvSpPr>
            <a:spLocks noGrp="1"/>
          </p:cNvSpPr>
          <p:nvPr>
            <p:ph type="sldNum" sz="quarter" idx="10"/>
          </p:nvPr>
        </p:nvSpPr>
        <p:spPr/>
        <p:txBody>
          <a:bodyPr/>
          <a:lstStyle/>
          <a:p>
            <a:fld id="{A04BEB4F-8CE1-4F18-986F-6CE0A0BE9470}" type="slidenum">
              <a:rPr lang="de-DE" smtClean="0"/>
              <a:t>‹#›</a:t>
            </a:fld>
            <a:endParaRPr lang="de-DE"/>
          </a:p>
        </p:txBody>
      </p:sp>
      <p:sp>
        <p:nvSpPr>
          <p:cNvPr id="5" name="Textplatzhalter 9">
            <a:extLst>
              <a:ext uri="{FF2B5EF4-FFF2-40B4-BE49-F238E27FC236}">
                <a16:creationId xmlns:a16="http://schemas.microsoft.com/office/drawing/2014/main" id="{6024922C-391C-46EA-9F1C-F5344AAB64C8}"/>
              </a:ext>
            </a:extLst>
          </p:cNvPr>
          <p:cNvSpPr>
            <a:spLocks noGrp="1"/>
          </p:cNvSpPr>
          <p:nvPr>
            <p:ph type="body" sz="quarter" idx="11"/>
          </p:nvPr>
        </p:nvSpPr>
        <p:spPr>
          <a:xfrm>
            <a:off x="815951" y="1979612"/>
            <a:ext cx="4932000" cy="4338638"/>
          </a:xfrm>
          <a:prstGeom prst="rect">
            <a:avLst/>
          </a:prstGeom>
        </p:spPr>
        <p:txBody>
          <a:bodyPr lIns="0" tIns="0" rIns="0" bIns="0">
            <a:normAutofit/>
          </a:bodyPr>
          <a:lstStyle>
            <a:lvl1pPr>
              <a:defRPr sz="1800"/>
            </a:lvl1pPr>
            <a:lvl2pPr>
              <a:defRPr sz="1800"/>
            </a:lvl2pPr>
            <a:lvl3pPr>
              <a:defRPr sz="1800"/>
            </a:lvl3pPr>
            <a:lvl4pPr>
              <a:defRPr sz="1800"/>
            </a:lvl4pPr>
            <a:lvl5pPr>
              <a:defRPr sz="18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2" name="Bildplatzhalter 11">
            <a:extLst>
              <a:ext uri="{FF2B5EF4-FFF2-40B4-BE49-F238E27FC236}">
                <a16:creationId xmlns:a16="http://schemas.microsoft.com/office/drawing/2014/main" id="{ADBECC62-C583-4D92-A4EB-968BC29D7750}"/>
              </a:ext>
            </a:extLst>
          </p:cNvPr>
          <p:cNvSpPr>
            <a:spLocks noGrp="1"/>
          </p:cNvSpPr>
          <p:nvPr>
            <p:ph type="pic" sz="quarter" idx="12" hasCustomPrompt="1"/>
          </p:nvPr>
        </p:nvSpPr>
        <p:spPr>
          <a:xfrm>
            <a:off x="6075352" y="0"/>
            <a:ext cx="6116649" cy="3983353"/>
          </a:xfrm>
          <a:custGeom>
            <a:avLst/>
            <a:gdLst>
              <a:gd name="connsiteX0" fmla="*/ 690114 w 6116649"/>
              <a:gd name="connsiteY0" fmla="*/ 0 h 3983353"/>
              <a:gd name="connsiteX1" fmla="*/ 1061419 w 6116649"/>
              <a:gd name="connsiteY1" fmla="*/ 0 h 3983353"/>
              <a:gd name="connsiteX2" fmla="*/ 3906848 w 6116649"/>
              <a:gd name="connsiteY2" fmla="*/ 0 h 3983353"/>
              <a:gd name="connsiteX3" fmla="*/ 6116649 w 6116649"/>
              <a:gd name="connsiteY3" fmla="*/ 0 h 3983353"/>
              <a:gd name="connsiteX4" fmla="*/ 6116649 w 6116649"/>
              <a:gd name="connsiteY4" fmla="*/ 3983353 h 3983353"/>
              <a:gd name="connsiteX5" fmla="*/ 63818 w 6116649"/>
              <a:gd name="connsiteY5" fmla="*/ 3983353 h 3983353"/>
              <a:gd name="connsiteX6" fmla="*/ 0 w 6116649"/>
              <a:gd name="connsiteY6" fmla="*/ 3919536 h 3983353"/>
              <a:gd name="connsiteX7" fmla="*/ 679421 w 6116649"/>
              <a:gd name="connsiteY7" fmla="*/ 59971 h 3983353"/>
              <a:gd name="connsiteX8" fmla="*/ 679045 w 6116649"/>
              <a:gd name="connsiteY8" fmla="*/ 59901 h 3983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116649" h="3983353">
                <a:moveTo>
                  <a:pt x="690114" y="0"/>
                </a:moveTo>
                <a:lnTo>
                  <a:pt x="1061419" y="0"/>
                </a:lnTo>
                <a:lnTo>
                  <a:pt x="3906848" y="0"/>
                </a:lnTo>
                <a:lnTo>
                  <a:pt x="6116649" y="0"/>
                </a:lnTo>
                <a:lnTo>
                  <a:pt x="6116649" y="3983353"/>
                </a:lnTo>
                <a:lnTo>
                  <a:pt x="63818" y="3983353"/>
                </a:lnTo>
                <a:cubicBezTo>
                  <a:pt x="28575" y="3983353"/>
                  <a:pt x="0" y="3954778"/>
                  <a:pt x="0" y="3919536"/>
                </a:cubicBezTo>
                <a:lnTo>
                  <a:pt x="679421" y="59971"/>
                </a:lnTo>
                <a:lnTo>
                  <a:pt x="679045" y="59901"/>
                </a:lnTo>
                <a:close/>
              </a:path>
            </a:pathLst>
          </a:custGeom>
          <a:effectLst>
            <a:outerShdw blurRad="190500" dist="127000" dir="2700000" algn="tl" rotWithShape="0">
              <a:prstClr val="black">
                <a:alpha val="10000"/>
              </a:prstClr>
            </a:outerShdw>
          </a:effectLst>
        </p:spPr>
        <p:txBody>
          <a:bodyPr wrap="square">
            <a:noAutofit/>
          </a:bodyPr>
          <a:lstStyle>
            <a:lvl3pPr marL="990600" marR="0" indent="-285750" algn="l" defTabSz="1644650" rtl="0" eaLnBrk="0" fontAlgn="base" latinLnBrk="0" hangingPunct="0">
              <a:lnSpc>
                <a:spcPct val="130000"/>
              </a:lnSpc>
              <a:spcBef>
                <a:spcPct val="0"/>
              </a:spcBef>
              <a:spcAft>
                <a:spcPts val="1200"/>
              </a:spcAft>
              <a:buClr>
                <a:srgbClr val="004C99"/>
              </a:buClr>
              <a:buSzPct val="120000"/>
              <a:defRPr/>
            </a:lvl3pPr>
          </a:lstStyle>
          <a:p>
            <a:pPr marL="990600" marR="0" lvl="2" indent="-285750" algn="l" defTabSz="1644650" rtl="0" eaLnBrk="0" fontAlgn="base" latinLnBrk="0" hangingPunct="0">
              <a:lnSpc>
                <a:spcPct val="130000"/>
              </a:lnSpc>
              <a:spcBef>
                <a:spcPct val="0"/>
              </a:spcBef>
              <a:spcAft>
                <a:spcPts val="1200"/>
              </a:spcAft>
              <a:buClr>
                <a:srgbClr val="004C99"/>
              </a:buClr>
              <a:buSzPct val="120000"/>
              <a:defRPr/>
            </a:pPr>
            <a:r>
              <a:rPr lang="de-DE"/>
              <a:t>Please insert image</a:t>
            </a:r>
          </a:p>
        </p:txBody>
      </p:sp>
    </p:spTree>
    <p:extLst>
      <p:ext uri="{BB962C8B-B14F-4D97-AF65-F5344CB8AC3E}">
        <p14:creationId xmlns:p14="http://schemas.microsoft.com/office/powerpoint/2010/main" val="2510831463"/>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8" dur="1000" decel="10000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0-#ppt_w/2"/>
                                          </p:val>
                                        </p:tav>
                                        <p:tav tm="100000">
                                          <p:val>
                                            <p:strVal val="#ppt_x"/>
                                          </p:val>
                                        </p:tav>
                                      </p:tavLst>
                                    </p:anim>
                                    <p:anim calcmode="lin" valueType="num">
                                      <p:cBhvr additive="base">
                                        <p:cTn id="8" dur="1000" fill="hold"/>
                                        <p:tgtEl>
                                          <p:spTgt spid="2"/>
                                        </p:tgtEl>
                                        <p:attrNameLst>
                                          <p:attrName>ppt_y</p:attrName>
                                        </p:attrNameLst>
                                      </p:cBhvr>
                                      <p:tavLst>
                                        <p:tav tm="0">
                                          <p:val>
                                            <p:strVal val="#ppt_y"/>
                                          </p:val>
                                        </p:tav>
                                        <p:tav tm="100000">
                                          <p:val>
                                            <p:strVal val="#ppt_y"/>
                                          </p:val>
                                        </p:tav>
                                      </p:tavLst>
                                    </p:anim>
                                  </p:childTnLst>
                                </p:cTn>
                              </p:par>
                              <p:par>
                                <p:cTn id="9" presetID="2" presetClass="entr" presetSubtype="8" dur="1000" decel="100000" fill="hold" grpId="0" nodeType="withEffect">
                                  <p:stCondLst>
                                    <p:cond delay="25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1000" fill="hold"/>
                                        <p:tgtEl>
                                          <p:spTgt spid="5"/>
                                        </p:tgtEl>
                                        <p:attrNameLst>
                                          <p:attrName>ppt_x</p:attrName>
                                        </p:attrNameLst>
                                      </p:cBhvr>
                                      <p:tavLst>
                                        <p:tav tm="0">
                                          <p:val>
                                            <p:strVal val="0-#ppt_w/2"/>
                                          </p:val>
                                        </p:tav>
                                        <p:tav tm="100000">
                                          <p:val>
                                            <p:strVal val="#ppt_x"/>
                                          </p:val>
                                        </p:tav>
                                      </p:tavLst>
                                    </p:anim>
                                    <p:anim calcmode="lin" valueType="num">
                                      <p:cBhvr additive="base">
                                        <p:cTn id="12" dur="1000" fill="hold"/>
                                        <p:tgtEl>
                                          <p:spTgt spid="5"/>
                                        </p:tgtEl>
                                        <p:attrNameLst>
                                          <p:attrName>ppt_y</p:attrName>
                                        </p:attrNameLst>
                                      </p:cBhvr>
                                      <p:tavLst>
                                        <p:tav tm="0">
                                          <p:val>
                                            <p:strVal val="#ppt_y"/>
                                          </p:val>
                                        </p:tav>
                                        <p:tav tm="100000">
                                          <p:val>
                                            <p:strVal val="#ppt_y"/>
                                          </p:val>
                                        </p:tav>
                                      </p:tavLst>
                                    </p:anim>
                                  </p:childTnLst>
                                </p:cTn>
                              </p:par>
                              <p:par>
                                <p:cTn id="13" presetID="2" presetClass="entr" presetSubtype="2" dur="1000" decel="100000" fill="hold" grpId="0" nodeType="withEffect">
                                  <p:stCondLst>
                                    <p:cond delay="500"/>
                                  </p:stCondLst>
                                  <p:childTnLst>
                                    <p:set>
                                      <p:cBhvr>
                                        <p:cTn id="14" dur="1" fill="hold">
                                          <p:stCondLst>
                                            <p:cond delay="0"/>
                                          </p:stCondLst>
                                        </p:cTn>
                                        <p:tgtEl>
                                          <p:spTgt spid="12"/>
                                        </p:tgtEl>
                                        <p:attrNameLst>
                                          <p:attrName>style.visibility</p:attrName>
                                        </p:attrNameLst>
                                      </p:cBhvr>
                                      <p:to>
                                        <p:strVal val="visible"/>
                                      </p:to>
                                    </p:set>
                                    <p:anim calcmode="lin" valueType="num">
                                      <p:cBhvr additive="base">
                                        <p:cTn id="15" dur="1000" fill="hold"/>
                                        <p:tgtEl>
                                          <p:spTgt spid="12"/>
                                        </p:tgtEl>
                                        <p:attrNameLst>
                                          <p:attrName>ppt_x</p:attrName>
                                        </p:attrNameLst>
                                      </p:cBhvr>
                                      <p:tavLst>
                                        <p:tav tm="0">
                                          <p:val>
                                            <p:strVal val="1+#ppt_w/2"/>
                                          </p:val>
                                        </p:tav>
                                        <p:tav tm="100000">
                                          <p:val>
                                            <p:strVal val="#ppt_x"/>
                                          </p:val>
                                        </p:tav>
                                      </p:tavLst>
                                    </p:anim>
                                    <p:anim calcmode="lin" valueType="num">
                                      <p:cBhvr additive="base">
                                        <p:cTn id="16" dur="100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2" presetClass="entr" presetSubtype="8" decel="100000" fill="hold" nodeType="withEffect">
                  <p:stCondLst>
                    <p:cond delay="250"/>
                  </p:stCondLst>
                  <p:childTnLst>
                    <p:set>
                      <p:cBhvr>
                        <p:cTn dur="1" fill="hold">
                          <p:stCondLst>
                            <p:cond delay="0"/>
                          </p:stCondLst>
                        </p:cTn>
                        <p:tgtEl>
                          <p:spTgt spid="5"/>
                        </p:tgtEl>
                        <p:attrNameLst>
                          <p:attrName>style.visibility</p:attrName>
                        </p:attrNameLst>
                      </p:cBhvr>
                      <p:to>
                        <p:strVal val="visible"/>
                      </p:to>
                    </p:set>
                    <p:anim calcmode="lin" valueType="num">
                      <p:cBhvr additive="base">
                        <p:cTn dur="1000" fill="hold"/>
                        <p:tgtEl>
                          <p:spTgt spid="5"/>
                        </p:tgtEl>
                        <p:attrNameLst>
                          <p:attrName>ppt_x</p:attrName>
                        </p:attrNameLst>
                      </p:cBhvr>
                      <p:tavLst>
                        <p:tav tm="0">
                          <p:val>
                            <p:strVal val="0-#ppt_w/2"/>
                          </p:val>
                        </p:tav>
                        <p:tav tm="100000">
                          <p:val>
                            <p:strVal val="#ppt_x"/>
                          </p:val>
                        </p:tav>
                      </p:tavLst>
                    </p:anim>
                    <p:anim calcmode="lin" valueType="num">
                      <p:cBhvr additive="base">
                        <p:cTn dur="1000" fill="hold"/>
                        <p:tgtEl>
                          <p:spTgt spid="5"/>
                        </p:tgtEl>
                        <p:attrNameLst>
                          <p:attrName>ppt_y</p:attrName>
                        </p:attrNameLst>
                      </p:cBhvr>
                      <p:tavLst>
                        <p:tav tm="0">
                          <p:val>
                            <p:strVal val="#ppt_y"/>
                          </p:val>
                        </p:tav>
                        <p:tav tm="100000">
                          <p:val>
                            <p:strVal val="#ppt_y"/>
                          </p:val>
                        </p:tav>
                      </p:tavLst>
                    </p:anim>
                  </p:childTnLst>
                </p:cTn>
              </p:par>
            </p:tnLst>
          </p:tmpl>
        </p:tmplLst>
      </p:bldP>
      <p:bldP spid="12" grpId="0"/>
    </p:bld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HEADING/TEXT/IMAGE 1 medium">
    <p:spTree>
      <p:nvGrpSpPr>
        <p:cNvPr id="1" name=""/>
        <p:cNvGrpSpPr/>
        <p:nvPr/>
      </p:nvGrpSpPr>
      <p:grpSpPr>
        <a:xfrm>
          <a:off x="0" y="0"/>
          <a:ext cx="0" cy="0"/>
          <a:chOff x="0" y="0"/>
          <a:chExt cx="0" cy="0"/>
        </a:xfrm>
      </p:grpSpPr>
      <p:sp>
        <p:nvSpPr>
          <p:cNvPr id="13" name="Freihandform: Form 12">
            <a:extLst>
              <a:ext uri="{FF2B5EF4-FFF2-40B4-BE49-F238E27FC236}">
                <a16:creationId xmlns:a16="http://schemas.microsoft.com/office/drawing/2014/main" id="{50EC640D-C73C-4FD9-AD9A-88EE410704F4}"/>
              </a:ext>
            </a:extLst>
          </p:cNvPr>
          <p:cNvSpPr/>
          <p:nvPr/>
        </p:nvSpPr>
        <p:spPr>
          <a:xfrm rot="10800000">
            <a:off x="0" y="1975611"/>
            <a:ext cx="9829800" cy="4882390"/>
          </a:xfrm>
          <a:custGeom>
            <a:avLst/>
            <a:gdLst>
              <a:gd name="connsiteX0" fmla="*/ 910059 w 9829800"/>
              <a:gd name="connsiteY0" fmla="*/ 0 h 4882390"/>
              <a:gd name="connsiteX1" fmla="*/ 3015085 w 9829800"/>
              <a:gd name="connsiteY1" fmla="*/ 0 h 4882390"/>
              <a:gd name="connsiteX2" fmla="*/ 7981950 w 9829800"/>
              <a:gd name="connsiteY2" fmla="*/ 0 h 4882390"/>
              <a:gd name="connsiteX3" fmla="*/ 9829800 w 9829800"/>
              <a:gd name="connsiteY3" fmla="*/ 0 h 4882390"/>
              <a:gd name="connsiteX4" fmla="*/ 9829800 w 9829800"/>
              <a:gd name="connsiteY4" fmla="*/ 4882390 h 4882390"/>
              <a:gd name="connsiteX5" fmla="*/ 7981950 w 9829800"/>
              <a:gd name="connsiteY5" fmla="*/ 4882390 h 4882390"/>
              <a:gd name="connsiteX6" fmla="*/ 2183098 w 9829800"/>
              <a:gd name="connsiteY6" fmla="*/ 4882390 h 4882390"/>
              <a:gd name="connsiteX7" fmla="*/ 78072 w 9829800"/>
              <a:gd name="connsiteY7" fmla="*/ 4882390 h 4882390"/>
              <a:gd name="connsiteX8" fmla="*/ 0 w 9829800"/>
              <a:gd name="connsiteY8" fmla="*/ 4804318 h 4882390"/>
              <a:gd name="connsiteX9" fmla="*/ 831987 w 9829800"/>
              <a:gd name="connsiteY9" fmla="*/ 78072 h 4882390"/>
              <a:gd name="connsiteX10" fmla="*/ 910059 w 9829800"/>
              <a:gd name="connsiteY10" fmla="*/ 0 h 4882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829800" h="4882390">
                <a:moveTo>
                  <a:pt x="910059" y="0"/>
                </a:moveTo>
                <a:lnTo>
                  <a:pt x="3015085" y="0"/>
                </a:lnTo>
                <a:lnTo>
                  <a:pt x="7981950" y="0"/>
                </a:lnTo>
                <a:lnTo>
                  <a:pt x="9829800" y="0"/>
                </a:lnTo>
                <a:lnTo>
                  <a:pt x="9829800" y="4882390"/>
                </a:lnTo>
                <a:lnTo>
                  <a:pt x="7981950" y="4882390"/>
                </a:lnTo>
                <a:lnTo>
                  <a:pt x="2183098" y="4882390"/>
                </a:lnTo>
                <a:lnTo>
                  <a:pt x="78072" y="4882390"/>
                </a:lnTo>
                <a:cubicBezTo>
                  <a:pt x="34957" y="4882390"/>
                  <a:pt x="0" y="4847433"/>
                  <a:pt x="0" y="4804318"/>
                </a:cubicBezTo>
                <a:lnTo>
                  <a:pt x="831987" y="78072"/>
                </a:lnTo>
                <a:cubicBezTo>
                  <a:pt x="831987" y="34957"/>
                  <a:pt x="866945" y="0"/>
                  <a:pt x="910059" y="0"/>
                </a:cubicBezTo>
                <a:close/>
              </a:path>
            </a:pathLst>
          </a:custGeom>
          <a:gradFill>
            <a:gsLst>
              <a:gs pos="100000">
                <a:schemeClr val="bg1"/>
              </a:gs>
              <a:gs pos="5000">
                <a:srgbClr val="ECF0F4"/>
              </a:gs>
            </a:gsLst>
            <a:lin ang="5400000" scaled="1"/>
          </a:gradFill>
          <a:ln w="11652" cap="flat">
            <a:noFill/>
            <a:prstDash val="solid"/>
            <a:miter/>
          </a:ln>
        </p:spPr>
        <p:txBody>
          <a:bodyPr rtlCol="0" anchor="ctr"/>
          <a:lstStyle/>
          <a:p>
            <a:endParaRPr lang="de-DE"/>
          </a:p>
        </p:txBody>
      </p:sp>
      <p:sp>
        <p:nvSpPr>
          <p:cNvPr id="2" name="Titel 1">
            <a:extLst>
              <a:ext uri="{FF2B5EF4-FFF2-40B4-BE49-F238E27FC236}">
                <a16:creationId xmlns:a16="http://schemas.microsoft.com/office/drawing/2014/main" id="{0526DC72-FA1D-422D-8055-3374742D122B}"/>
              </a:ext>
            </a:extLst>
          </p:cNvPr>
          <p:cNvSpPr>
            <a:spLocks noGrp="1"/>
          </p:cNvSpPr>
          <p:nvPr>
            <p:ph type="title"/>
          </p:nvPr>
        </p:nvSpPr>
        <p:spPr>
          <a:xfrm>
            <a:off x="815952" y="733402"/>
            <a:ext cx="4931999" cy="767737"/>
          </a:xfrm>
        </p:spPr>
        <p:txBody>
          <a:bodyPr/>
          <a:lstStyle>
            <a:lvl1pPr>
              <a:lnSpc>
                <a:spcPct val="100000"/>
              </a:lnSpc>
              <a:defRPr/>
            </a:lvl1pPr>
          </a:lstStyle>
          <a:p>
            <a:r>
              <a:rPr lang="de-DE"/>
              <a:t>Mastertitelformat bearbeiten</a:t>
            </a:r>
          </a:p>
        </p:txBody>
      </p:sp>
      <p:sp>
        <p:nvSpPr>
          <p:cNvPr id="3" name="Foliennummernplatzhalter 2">
            <a:extLst>
              <a:ext uri="{FF2B5EF4-FFF2-40B4-BE49-F238E27FC236}">
                <a16:creationId xmlns:a16="http://schemas.microsoft.com/office/drawing/2014/main" id="{5B327254-466C-4606-8589-BCC72CBDADDF}"/>
              </a:ext>
            </a:extLst>
          </p:cNvPr>
          <p:cNvSpPr>
            <a:spLocks noGrp="1"/>
          </p:cNvSpPr>
          <p:nvPr>
            <p:ph type="sldNum" sz="quarter" idx="10"/>
          </p:nvPr>
        </p:nvSpPr>
        <p:spPr/>
        <p:txBody>
          <a:bodyPr/>
          <a:lstStyle/>
          <a:p>
            <a:fld id="{A04BEB4F-8CE1-4F18-986F-6CE0A0BE9470}" type="slidenum">
              <a:rPr lang="de-DE" smtClean="0"/>
              <a:t>‹#›</a:t>
            </a:fld>
            <a:endParaRPr lang="de-DE"/>
          </a:p>
        </p:txBody>
      </p:sp>
      <p:sp>
        <p:nvSpPr>
          <p:cNvPr id="5" name="Textplatzhalter 9">
            <a:extLst>
              <a:ext uri="{FF2B5EF4-FFF2-40B4-BE49-F238E27FC236}">
                <a16:creationId xmlns:a16="http://schemas.microsoft.com/office/drawing/2014/main" id="{6024922C-391C-46EA-9F1C-F5344AAB64C8}"/>
              </a:ext>
            </a:extLst>
          </p:cNvPr>
          <p:cNvSpPr>
            <a:spLocks noGrp="1"/>
          </p:cNvSpPr>
          <p:nvPr>
            <p:ph type="body" sz="quarter" idx="11"/>
          </p:nvPr>
        </p:nvSpPr>
        <p:spPr>
          <a:xfrm>
            <a:off x="815951" y="1979612"/>
            <a:ext cx="4932000" cy="4338638"/>
          </a:xfrm>
          <a:prstGeom prst="rect">
            <a:avLst/>
          </a:prstGeom>
        </p:spPr>
        <p:txBody>
          <a:bodyPr lIns="0" tIns="0" rIns="0" bIns="0">
            <a:normAutofit/>
          </a:bodyPr>
          <a:lstStyle>
            <a:lvl1pPr>
              <a:defRPr sz="1800"/>
            </a:lvl1pPr>
            <a:lvl2pPr>
              <a:defRPr sz="1800"/>
            </a:lvl2pPr>
            <a:lvl3pPr>
              <a:defRPr sz="1800"/>
            </a:lvl3pPr>
            <a:lvl4pPr>
              <a:defRPr sz="1800"/>
            </a:lvl4pPr>
            <a:lvl5pPr>
              <a:defRPr sz="18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1" name="Bildplatzhalter 10">
            <a:extLst>
              <a:ext uri="{FF2B5EF4-FFF2-40B4-BE49-F238E27FC236}">
                <a16:creationId xmlns:a16="http://schemas.microsoft.com/office/drawing/2014/main" id="{4F220719-393E-4BC2-A03B-563818FB1A0F}"/>
              </a:ext>
            </a:extLst>
          </p:cNvPr>
          <p:cNvSpPr>
            <a:spLocks noGrp="1"/>
          </p:cNvSpPr>
          <p:nvPr>
            <p:ph type="pic" sz="quarter" idx="12" hasCustomPrompt="1"/>
          </p:nvPr>
        </p:nvSpPr>
        <p:spPr>
          <a:xfrm>
            <a:off x="6931694" y="0"/>
            <a:ext cx="5260306" cy="5799454"/>
          </a:xfrm>
          <a:custGeom>
            <a:avLst/>
            <a:gdLst>
              <a:gd name="connsiteX0" fmla="*/ 1000463 w 5260306"/>
              <a:gd name="connsiteY0" fmla="*/ 0 h 5799454"/>
              <a:gd name="connsiteX1" fmla="*/ 5260306 w 5260306"/>
              <a:gd name="connsiteY1" fmla="*/ 0 h 5799454"/>
              <a:gd name="connsiteX2" fmla="*/ 5260306 w 5260306"/>
              <a:gd name="connsiteY2" fmla="*/ 5799454 h 5799454"/>
              <a:gd name="connsiteX3" fmla="*/ 116158 w 5260306"/>
              <a:gd name="connsiteY3" fmla="*/ 5799454 h 5799454"/>
              <a:gd name="connsiteX4" fmla="*/ 0 w 5260306"/>
              <a:gd name="connsiteY4" fmla="*/ 5683298 h 57994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60306" h="5799454">
                <a:moveTo>
                  <a:pt x="1000463" y="0"/>
                </a:moveTo>
                <a:lnTo>
                  <a:pt x="5260306" y="0"/>
                </a:lnTo>
                <a:lnTo>
                  <a:pt x="5260306" y="5799454"/>
                </a:lnTo>
                <a:lnTo>
                  <a:pt x="116158" y="5799454"/>
                </a:lnTo>
                <a:cubicBezTo>
                  <a:pt x="52011" y="5799454"/>
                  <a:pt x="0" y="5747444"/>
                  <a:pt x="0" y="5683298"/>
                </a:cubicBezTo>
                <a:close/>
              </a:path>
            </a:pathLst>
          </a:custGeom>
          <a:effectLst>
            <a:outerShdw blurRad="190500" dist="127000" dir="2700000" algn="tl" rotWithShape="0">
              <a:prstClr val="black">
                <a:alpha val="10000"/>
              </a:prstClr>
            </a:outerShdw>
          </a:effectLst>
        </p:spPr>
        <p:txBody>
          <a:bodyPr wrap="square">
            <a:noAutofit/>
          </a:bodyPr>
          <a:lstStyle>
            <a:lvl3pPr marL="990600" marR="0" indent="-285750" algn="l" defTabSz="1644650" rtl="0" eaLnBrk="0" fontAlgn="base" latinLnBrk="0" hangingPunct="0">
              <a:lnSpc>
                <a:spcPct val="130000"/>
              </a:lnSpc>
              <a:spcBef>
                <a:spcPct val="0"/>
              </a:spcBef>
              <a:spcAft>
                <a:spcPts val="1200"/>
              </a:spcAft>
              <a:buClr>
                <a:srgbClr val="004C99"/>
              </a:buClr>
              <a:buSzPct val="120000"/>
              <a:defRPr/>
            </a:lvl3pPr>
          </a:lstStyle>
          <a:p>
            <a:pPr marL="1343025" marR="0" lvl="3" indent="-285750" algn="l" defTabSz="1644650" rtl="0" eaLnBrk="0" fontAlgn="base" latinLnBrk="0" hangingPunct="0">
              <a:lnSpc>
                <a:spcPct val="130000"/>
              </a:lnSpc>
              <a:spcBef>
                <a:spcPct val="0"/>
              </a:spcBef>
              <a:spcAft>
                <a:spcPts val="1200"/>
              </a:spcAft>
              <a:buClr>
                <a:srgbClr val="004C99"/>
              </a:buClr>
              <a:buSzPct val="120000"/>
              <a:defRPr/>
            </a:pPr>
            <a:r>
              <a:rPr lang="de-DE"/>
              <a:t>Please insert image</a:t>
            </a:r>
          </a:p>
        </p:txBody>
      </p:sp>
    </p:spTree>
    <p:extLst>
      <p:ext uri="{BB962C8B-B14F-4D97-AF65-F5344CB8AC3E}">
        <p14:creationId xmlns:p14="http://schemas.microsoft.com/office/powerpoint/2010/main" val="3208032199"/>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8" dur="1000" decel="10000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0-#ppt_w/2"/>
                                          </p:val>
                                        </p:tav>
                                        <p:tav tm="100000">
                                          <p:val>
                                            <p:strVal val="#ppt_x"/>
                                          </p:val>
                                        </p:tav>
                                      </p:tavLst>
                                    </p:anim>
                                    <p:anim calcmode="lin" valueType="num">
                                      <p:cBhvr additive="base">
                                        <p:cTn id="8" dur="1000" fill="hold"/>
                                        <p:tgtEl>
                                          <p:spTgt spid="2"/>
                                        </p:tgtEl>
                                        <p:attrNameLst>
                                          <p:attrName>ppt_y</p:attrName>
                                        </p:attrNameLst>
                                      </p:cBhvr>
                                      <p:tavLst>
                                        <p:tav tm="0">
                                          <p:val>
                                            <p:strVal val="#ppt_y"/>
                                          </p:val>
                                        </p:tav>
                                        <p:tav tm="100000">
                                          <p:val>
                                            <p:strVal val="#ppt_y"/>
                                          </p:val>
                                        </p:tav>
                                      </p:tavLst>
                                    </p:anim>
                                  </p:childTnLst>
                                </p:cTn>
                              </p:par>
                              <p:par>
                                <p:cTn id="9" presetID="2" presetClass="entr" presetSubtype="8" dur="1000" decel="100000" fill="hold" grpId="0" nodeType="withEffect">
                                  <p:stCondLst>
                                    <p:cond delay="25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1000" fill="hold"/>
                                        <p:tgtEl>
                                          <p:spTgt spid="5"/>
                                        </p:tgtEl>
                                        <p:attrNameLst>
                                          <p:attrName>ppt_x</p:attrName>
                                        </p:attrNameLst>
                                      </p:cBhvr>
                                      <p:tavLst>
                                        <p:tav tm="0">
                                          <p:val>
                                            <p:strVal val="0-#ppt_w/2"/>
                                          </p:val>
                                        </p:tav>
                                        <p:tav tm="100000">
                                          <p:val>
                                            <p:strVal val="#ppt_x"/>
                                          </p:val>
                                        </p:tav>
                                      </p:tavLst>
                                    </p:anim>
                                    <p:anim calcmode="lin" valueType="num">
                                      <p:cBhvr additive="base">
                                        <p:cTn id="12" dur="1000" fill="hold"/>
                                        <p:tgtEl>
                                          <p:spTgt spid="5"/>
                                        </p:tgtEl>
                                        <p:attrNameLst>
                                          <p:attrName>ppt_y</p:attrName>
                                        </p:attrNameLst>
                                      </p:cBhvr>
                                      <p:tavLst>
                                        <p:tav tm="0">
                                          <p:val>
                                            <p:strVal val="#ppt_y"/>
                                          </p:val>
                                        </p:tav>
                                        <p:tav tm="100000">
                                          <p:val>
                                            <p:strVal val="#ppt_y"/>
                                          </p:val>
                                        </p:tav>
                                      </p:tavLst>
                                    </p:anim>
                                  </p:childTnLst>
                                </p:cTn>
                              </p:par>
                              <p:par>
                                <p:cTn id="13" presetID="2" presetClass="entr" presetSubtype="2" dur="1000" decel="100000" fill="hold" grpId="0" nodeType="withEffect">
                                  <p:stCondLst>
                                    <p:cond delay="500"/>
                                  </p:stCondLst>
                                  <p:childTnLst>
                                    <p:set>
                                      <p:cBhvr>
                                        <p:cTn id="14" dur="1" fill="hold">
                                          <p:stCondLst>
                                            <p:cond delay="0"/>
                                          </p:stCondLst>
                                        </p:cTn>
                                        <p:tgtEl>
                                          <p:spTgt spid="11"/>
                                        </p:tgtEl>
                                        <p:attrNameLst>
                                          <p:attrName>style.visibility</p:attrName>
                                        </p:attrNameLst>
                                      </p:cBhvr>
                                      <p:to>
                                        <p:strVal val="visible"/>
                                      </p:to>
                                    </p:set>
                                    <p:anim calcmode="lin" valueType="num">
                                      <p:cBhvr additive="base">
                                        <p:cTn id="15" dur="1000" fill="hold"/>
                                        <p:tgtEl>
                                          <p:spTgt spid="11"/>
                                        </p:tgtEl>
                                        <p:attrNameLst>
                                          <p:attrName>ppt_x</p:attrName>
                                        </p:attrNameLst>
                                      </p:cBhvr>
                                      <p:tavLst>
                                        <p:tav tm="0">
                                          <p:val>
                                            <p:strVal val="1+#ppt_w/2"/>
                                          </p:val>
                                        </p:tav>
                                        <p:tav tm="100000">
                                          <p:val>
                                            <p:strVal val="#ppt_x"/>
                                          </p:val>
                                        </p:tav>
                                      </p:tavLst>
                                    </p:anim>
                                    <p:anim calcmode="lin" valueType="num">
                                      <p:cBhvr additive="base">
                                        <p:cTn id="16" dur="10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2" presetClass="entr" presetSubtype="8" decel="100000" fill="hold" nodeType="withEffect">
                  <p:stCondLst>
                    <p:cond delay="250"/>
                  </p:stCondLst>
                  <p:childTnLst>
                    <p:set>
                      <p:cBhvr>
                        <p:cTn dur="1" fill="hold">
                          <p:stCondLst>
                            <p:cond delay="0"/>
                          </p:stCondLst>
                        </p:cTn>
                        <p:tgtEl>
                          <p:spTgt spid="5"/>
                        </p:tgtEl>
                        <p:attrNameLst>
                          <p:attrName>style.visibility</p:attrName>
                        </p:attrNameLst>
                      </p:cBhvr>
                      <p:to>
                        <p:strVal val="visible"/>
                      </p:to>
                    </p:set>
                    <p:anim calcmode="lin" valueType="num">
                      <p:cBhvr additive="base">
                        <p:cTn dur="1000" fill="hold"/>
                        <p:tgtEl>
                          <p:spTgt spid="5"/>
                        </p:tgtEl>
                        <p:attrNameLst>
                          <p:attrName>ppt_x</p:attrName>
                        </p:attrNameLst>
                      </p:cBhvr>
                      <p:tavLst>
                        <p:tav tm="0">
                          <p:val>
                            <p:strVal val="0-#ppt_w/2"/>
                          </p:val>
                        </p:tav>
                        <p:tav tm="100000">
                          <p:val>
                            <p:strVal val="#ppt_x"/>
                          </p:val>
                        </p:tav>
                      </p:tavLst>
                    </p:anim>
                    <p:anim calcmode="lin" valueType="num">
                      <p:cBhvr additive="base">
                        <p:cTn dur="1000" fill="hold"/>
                        <p:tgtEl>
                          <p:spTgt spid="5"/>
                        </p:tgtEl>
                        <p:attrNameLst>
                          <p:attrName>ppt_y</p:attrName>
                        </p:attrNameLst>
                      </p:cBhvr>
                      <p:tavLst>
                        <p:tav tm="0">
                          <p:val>
                            <p:strVal val="#ppt_y"/>
                          </p:val>
                        </p:tav>
                        <p:tav tm="100000">
                          <p:val>
                            <p:strVal val="#ppt_y"/>
                          </p:val>
                        </p:tav>
                      </p:tavLst>
                    </p:anim>
                  </p:childTnLst>
                </p:cTn>
              </p:par>
            </p:tnLst>
          </p:tmpl>
        </p:tmplLst>
      </p:bldP>
      <p:bldP spid="11" grpId="0"/>
    </p:bld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HEADING/TEXT/IMAGE 1 big">
    <p:spTree>
      <p:nvGrpSpPr>
        <p:cNvPr id="1" name=""/>
        <p:cNvGrpSpPr/>
        <p:nvPr/>
      </p:nvGrpSpPr>
      <p:grpSpPr>
        <a:xfrm>
          <a:off x="0" y="0"/>
          <a:ext cx="0" cy="0"/>
          <a:chOff x="0" y="0"/>
          <a:chExt cx="0" cy="0"/>
        </a:xfrm>
      </p:grpSpPr>
      <p:sp>
        <p:nvSpPr>
          <p:cNvPr id="13" name="Freihandform: Form 12">
            <a:extLst>
              <a:ext uri="{FF2B5EF4-FFF2-40B4-BE49-F238E27FC236}">
                <a16:creationId xmlns:a16="http://schemas.microsoft.com/office/drawing/2014/main" id="{50EC640D-C73C-4FD9-AD9A-88EE410704F4}"/>
              </a:ext>
            </a:extLst>
          </p:cNvPr>
          <p:cNvSpPr/>
          <p:nvPr/>
        </p:nvSpPr>
        <p:spPr>
          <a:xfrm rot="10800000">
            <a:off x="0" y="1975611"/>
            <a:ext cx="9829800" cy="4882390"/>
          </a:xfrm>
          <a:custGeom>
            <a:avLst/>
            <a:gdLst>
              <a:gd name="connsiteX0" fmla="*/ 910059 w 9829800"/>
              <a:gd name="connsiteY0" fmla="*/ 0 h 4882390"/>
              <a:gd name="connsiteX1" fmla="*/ 3015085 w 9829800"/>
              <a:gd name="connsiteY1" fmla="*/ 0 h 4882390"/>
              <a:gd name="connsiteX2" fmla="*/ 7981950 w 9829800"/>
              <a:gd name="connsiteY2" fmla="*/ 0 h 4882390"/>
              <a:gd name="connsiteX3" fmla="*/ 9829800 w 9829800"/>
              <a:gd name="connsiteY3" fmla="*/ 0 h 4882390"/>
              <a:gd name="connsiteX4" fmla="*/ 9829800 w 9829800"/>
              <a:gd name="connsiteY4" fmla="*/ 4882390 h 4882390"/>
              <a:gd name="connsiteX5" fmla="*/ 7981950 w 9829800"/>
              <a:gd name="connsiteY5" fmla="*/ 4882390 h 4882390"/>
              <a:gd name="connsiteX6" fmla="*/ 2183098 w 9829800"/>
              <a:gd name="connsiteY6" fmla="*/ 4882390 h 4882390"/>
              <a:gd name="connsiteX7" fmla="*/ 78072 w 9829800"/>
              <a:gd name="connsiteY7" fmla="*/ 4882390 h 4882390"/>
              <a:gd name="connsiteX8" fmla="*/ 0 w 9829800"/>
              <a:gd name="connsiteY8" fmla="*/ 4804318 h 4882390"/>
              <a:gd name="connsiteX9" fmla="*/ 831987 w 9829800"/>
              <a:gd name="connsiteY9" fmla="*/ 78072 h 4882390"/>
              <a:gd name="connsiteX10" fmla="*/ 910059 w 9829800"/>
              <a:gd name="connsiteY10" fmla="*/ 0 h 4882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829800" h="4882390">
                <a:moveTo>
                  <a:pt x="910059" y="0"/>
                </a:moveTo>
                <a:lnTo>
                  <a:pt x="3015085" y="0"/>
                </a:lnTo>
                <a:lnTo>
                  <a:pt x="7981950" y="0"/>
                </a:lnTo>
                <a:lnTo>
                  <a:pt x="9829800" y="0"/>
                </a:lnTo>
                <a:lnTo>
                  <a:pt x="9829800" y="4882390"/>
                </a:lnTo>
                <a:lnTo>
                  <a:pt x="7981950" y="4882390"/>
                </a:lnTo>
                <a:lnTo>
                  <a:pt x="2183098" y="4882390"/>
                </a:lnTo>
                <a:lnTo>
                  <a:pt x="78072" y="4882390"/>
                </a:lnTo>
                <a:cubicBezTo>
                  <a:pt x="34957" y="4882390"/>
                  <a:pt x="0" y="4847433"/>
                  <a:pt x="0" y="4804318"/>
                </a:cubicBezTo>
                <a:lnTo>
                  <a:pt x="831987" y="78072"/>
                </a:lnTo>
                <a:cubicBezTo>
                  <a:pt x="831987" y="34957"/>
                  <a:pt x="866945" y="0"/>
                  <a:pt x="910059" y="0"/>
                </a:cubicBezTo>
                <a:close/>
              </a:path>
            </a:pathLst>
          </a:custGeom>
          <a:gradFill>
            <a:gsLst>
              <a:gs pos="100000">
                <a:schemeClr val="bg1"/>
              </a:gs>
              <a:gs pos="5000">
                <a:srgbClr val="ECF0F4"/>
              </a:gs>
            </a:gsLst>
            <a:lin ang="5400000" scaled="1"/>
          </a:gradFill>
          <a:ln w="11652" cap="flat">
            <a:noFill/>
            <a:prstDash val="solid"/>
            <a:miter/>
          </a:ln>
        </p:spPr>
        <p:txBody>
          <a:bodyPr rtlCol="0" anchor="ctr"/>
          <a:lstStyle/>
          <a:p>
            <a:endParaRPr lang="de-DE"/>
          </a:p>
        </p:txBody>
      </p:sp>
      <p:sp>
        <p:nvSpPr>
          <p:cNvPr id="2" name="Titel 1">
            <a:extLst>
              <a:ext uri="{FF2B5EF4-FFF2-40B4-BE49-F238E27FC236}">
                <a16:creationId xmlns:a16="http://schemas.microsoft.com/office/drawing/2014/main" id="{0526DC72-FA1D-422D-8055-3374742D122B}"/>
              </a:ext>
            </a:extLst>
          </p:cNvPr>
          <p:cNvSpPr>
            <a:spLocks noGrp="1"/>
          </p:cNvSpPr>
          <p:nvPr>
            <p:ph type="title"/>
          </p:nvPr>
        </p:nvSpPr>
        <p:spPr>
          <a:xfrm>
            <a:off x="815952" y="733402"/>
            <a:ext cx="4931999" cy="767737"/>
          </a:xfrm>
        </p:spPr>
        <p:txBody>
          <a:bodyPr/>
          <a:lstStyle>
            <a:lvl1pPr>
              <a:lnSpc>
                <a:spcPct val="100000"/>
              </a:lnSpc>
              <a:defRPr/>
            </a:lvl1pPr>
          </a:lstStyle>
          <a:p>
            <a:r>
              <a:rPr lang="de-DE"/>
              <a:t>Mastertitelformat bearbeiten</a:t>
            </a:r>
          </a:p>
        </p:txBody>
      </p:sp>
      <p:sp>
        <p:nvSpPr>
          <p:cNvPr id="3" name="Foliennummernplatzhalter 2">
            <a:extLst>
              <a:ext uri="{FF2B5EF4-FFF2-40B4-BE49-F238E27FC236}">
                <a16:creationId xmlns:a16="http://schemas.microsoft.com/office/drawing/2014/main" id="{5B327254-466C-4606-8589-BCC72CBDADDF}"/>
              </a:ext>
            </a:extLst>
          </p:cNvPr>
          <p:cNvSpPr>
            <a:spLocks noGrp="1"/>
          </p:cNvSpPr>
          <p:nvPr>
            <p:ph type="sldNum" sz="quarter" idx="10"/>
          </p:nvPr>
        </p:nvSpPr>
        <p:spPr/>
        <p:txBody>
          <a:bodyPr/>
          <a:lstStyle/>
          <a:p>
            <a:fld id="{A04BEB4F-8CE1-4F18-986F-6CE0A0BE9470}" type="slidenum">
              <a:rPr lang="de-DE" smtClean="0"/>
              <a:t>‹#›</a:t>
            </a:fld>
            <a:endParaRPr lang="de-DE"/>
          </a:p>
        </p:txBody>
      </p:sp>
      <p:sp>
        <p:nvSpPr>
          <p:cNvPr id="5" name="Textplatzhalter 9">
            <a:extLst>
              <a:ext uri="{FF2B5EF4-FFF2-40B4-BE49-F238E27FC236}">
                <a16:creationId xmlns:a16="http://schemas.microsoft.com/office/drawing/2014/main" id="{6024922C-391C-46EA-9F1C-F5344AAB64C8}"/>
              </a:ext>
            </a:extLst>
          </p:cNvPr>
          <p:cNvSpPr>
            <a:spLocks noGrp="1"/>
          </p:cNvSpPr>
          <p:nvPr>
            <p:ph type="body" sz="quarter" idx="11"/>
          </p:nvPr>
        </p:nvSpPr>
        <p:spPr>
          <a:xfrm>
            <a:off x="815951" y="1979612"/>
            <a:ext cx="4121829" cy="4338638"/>
          </a:xfrm>
          <a:prstGeom prst="rect">
            <a:avLst/>
          </a:prstGeom>
        </p:spPr>
        <p:txBody>
          <a:bodyPr lIns="0" tIns="0" rIns="0" bIns="0">
            <a:normAutofit/>
          </a:bodyPr>
          <a:lstStyle>
            <a:lvl1pPr>
              <a:defRPr sz="1800"/>
            </a:lvl1pPr>
            <a:lvl2pPr>
              <a:defRPr sz="1800"/>
            </a:lvl2pPr>
            <a:lvl3pPr>
              <a:defRPr sz="1800"/>
            </a:lvl3pPr>
            <a:lvl4pPr>
              <a:defRPr sz="1800"/>
            </a:lvl4pPr>
            <a:lvl5pPr>
              <a:defRPr sz="18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4" name="Bildplatzhalter 13">
            <a:extLst>
              <a:ext uri="{FF2B5EF4-FFF2-40B4-BE49-F238E27FC236}">
                <a16:creationId xmlns:a16="http://schemas.microsoft.com/office/drawing/2014/main" id="{768568C2-669C-415D-AE6A-54F4461315C2}"/>
              </a:ext>
            </a:extLst>
          </p:cNvPr>
          <p:cNvSpPr>
            <a:spLocks noGrp="1"/>
          </p:cNvSpPr>
          <p:nvPr>
            <p:ph type="pic" sz="quarter" idx="12" hasCustomPrompt="1"/>
          </p:nvPr>
        </p:nvSpPr>
        <p:spPr>
          <a:xfrm>
            <a:off x="4974436" y="0"/>
            <a:ext cx="7217564" cy="6858000"/>
          </a:xfrm>
          <a:custGeom>
            <a:avLst/>
            <a:gdLst>
              <a:gd name="connsiteX0" fmla="*/ 1207252 w 7217564"/>
              <a:gd name="connsiteY0" fmla="*/ 0 h 6858000"/>
              <a:gd name="connsiteX1" fmla="*/ 7217564 w 7217564"/>
              <a:gd name="connsiteY1" fmla="*/ 0 h 6858000"/>
              <a:gd name="connsiteX2" fmla="*/ 7217564 w 7217564"/>
              <a:gd name="connsiteY2" fmla="*/ 6858000 h 6858000"/>
              <a:gd name="connsiteX3" fmla="*/ 0 w 7217564"/>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217564" h="6858000">
                <a:moveTo>
                  <a:pt x="1207252" y="0"/>
                </a:moveTo>
                <a:lnTo>
                  <a:pt x="7217564" y="0"/>
                </a:lnTo>
                <a:lnTo>
                  <a:pt x="7217564" y="6858000"/>
                </a:lnTo>
                <a:lnTo>
                  <a:pt x="0" y="6858000"/>
                </a:lnTo>
                <a:close/>
              </a:path>
            </a:pathLst>
          </a:custGeom>
          <a:effectLst>
            <a:outerShdw blurRad="190500" dist="127000" dir="2700000" algn="tl" rotWithShape="0">
              <a:prstClr val="black">
                <a:alpha val="10000"/>
              </a:prstClr>
            </a:outerShdw>
          </a:effectLst>
        </p:spPr>
        <p:txBody>
          <a:bodyPr wrap="square">
            <a:noAutofit/>
          </a:bodyPr>
          <a:lstStyle>
            <a:lvl3pPr marL="990600" marR="0" indent="-285750" algn="l" defTabSz="1644650" rtl="0" eaLnBrk="0" fontAlgn="base" latinLnBrk="0" hangingPunct="0">
              <a:lnSpc>
                <a:spcPct val="130000"/>
              </a:lnSpc>
              <a:spcBef>
                <a:spcPct val="0"/>
              </a:spcBef>
              <a:spcAft>
                <a:spcPts val="1200"/>
              </a:spcAft>
              <a:buClr>
                <a:srgbClr val="004C99"/>
              </a:buClr>
              <a:buSzPct val="120000"/>
              <a:defRPr/>
            </a:lvl3pPr>
          </a:lstStyle>
          <a:p>
            <a:pPr marL="1704975" marR="0" lvl="4" indent="-285750" algn="l" defTabSz="1644650" rtl="0" eaLnBrk="0" fontAlgn="base" latinLnBrk="0" hangingPunct="0">
              <a:lnSpc>
                <a:spcPct val="130000"/>
              </a:lnSpc>
              <a:spcBef>
                <a:spcPct val="0"/>
              </a:spcBef>
              <a:spcAft>
                <a:spcPts val="1200"/>
              </a:spcAft>
              <a:buClr>
                <a:srgbClr val="004C99"/>
              </a:buClr>
              <a:buSzPct val="120000"/>
              <a:defRPr/>
            </a:pPr>
            <a:r>
              <a:rPr lang="de-DE"/>
              <a:t>Please insert image</a:t>
            </a:r>
          </a:p>
        </p:txBody>
      </p:sp>
    </p:spTree>
    <p:extLst>
      <p:ext uri="{BB962C8B-B14F-4D97-AF65-F5344CB8AC3E}">
        <p14:creationId xmlns:p14="http://schemas.microsoft.com/office/powerpoint/2010/main" val="1623530570"/>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8" dur="1000" decel="10000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0-#ppt_w/2"/>
                                          </p:val>
                                        </p:tav>
                                        <p:tav tm="100000">
                                          <p:val>
                                            <p:strVal val="#ppt_x"/>
                                          </p:val>
                                        </p:tav>
                                      </p:tavLst>
                                    </p:anim>
                                    <p:anim calcmode="lin" valueType="num">
                                      <p:cBhvr additive="base">
                                        <p:cTn id="8" dur="1000" fill="hold"/>
                                        <p:tgtEl>
                                          <p:spTgt spid="2"/>
                                        </p:tgtEl>
                                        <p:attrNameLst>
                                          <p:attrName>ppt_y</p:attrName>
                                        </p:attrNameLst>
                                      </p:cBhvr>
                                      <p:tavLst>
                                        <p:tav tm="0">
                                          <p:val>
                                            <p:strVal val="#ppt_y"/>
                                          </p:val>
                                        </p:tav>
                                        <p:tav tm="100000">
                                          <p:val>
                                            <p:strVal val="#ppt_y"/>
                                          </p:val>
                                        </p:tav>
                                      </p:tavLst>
                                    </p:anim>
                                  </p:childTnLst>
                                </p:cTn>
                              </p:par>
                              <p:par>
                                <p:cTn id="9" presetID="2" presetClass="entr" presetSubtype="8" dur="1000" decel="100000" fill="hold" grpId="0" nodeType="withEffect">
                                  <p:stCondLst>
                                    <p:cond delay="25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1000" fill="hold"/>
                                        <p:tgtEl>
                                          <p:spTgt spid="5"/>
                                        </p:tgtEl>
                                        <p:attrNameLst>
                                          <p:attrName>ppt_x</p:attrName>
                                        </p:attrNameLst>
                                      </p:cBhvr>
                                      <p:tavLst>
                                        <p:tav tm="0">
                                          <p:val>
                                            <p:strVal val="0-#ppt_w/2"/>
                                          </p:val>
                                        </p:tav>
                                        <p:tav tm="100000">
                                          <p:val>
                                            <p:strVal val="#ppt_x"/>
                                          </p:val>
                                        </p:tav>
                                      </p:tavLst>
                                    </p:anim>
                                    <p:anim calcmode="lin" valueType="num">
                                      <p:cBhvr additive="base">
                                        <p:cTn id="12" dur="1000" fill="hold"/>
                                        <p:tgtEl>
                                          <p:spTgt spid="5"/>
                                        </p:tgtEl>
                                        <p:attrNameLst>
                                          <p:attrName>ppt_y</p:attrName>
                                        </p:attrNameLst>
                                      </p:cBhvr>
                                      <p:tavLst>
                                        <p:tav tm="0">
                                          <p:val>
                                            <p:strVal val="#ppt_y"/>
                                          </p:val>
                                        </p:tav>
                                        <p:tav tm="100000">
                                          <p:val>
                                            <p:strVal val="#ppt_y"/>
                                          </p:val>
                                        </p:tav>
                                      </p:tavLst>
                                    </p:anim>
                                  </p:childTnLst>
                                </p:cTn>
                              </p:par>
                              <p:par>
                                <p:cTn id="13" presetID="2" presetClass="entr" presetSubtype="2" dur="1000" decel="100000" fill="hold" grpId="0" nodeType="withEffect">
                                  <p:stCondLst>
                                    <p:cond delay="500"/>
                                  </p:stCondLst>
                                  <p:childTnLst>
                                    <p:set>
                                      <p:cBhvr>
                                        <p:cTn id="14" dur="1" fill="hold">
                                          <p:stCondLst>
                                            <p:cond delay="0"/>
                                          </p:stCondLst>
                                        </p:cTn>
                                        <p:tgtEl>
                                          <p:spTgt spid="14"/>
                                        </p:tgtEl>
                                        <p:attrNameLst>
                                          <p:attrName>style.visibility</p:attrName>
                                        </p:attrNameLst>
                                      </p:cBhvr>
                                      <p:to>
                                        <p:strVal val="visible"/>
                                      </p:to>
                                    </p:set>
                                    <p:anim calcmode="lin" valueType="num">
                                      <p:cBhvr additive="base">
                                        <p:cTn id="15" dur="1000" fill="hold"/>
                                        <p:tgtEl>
                                          <p:spTgt spid="14"/>
                                        </p:tgtEl>
                                        <p:attrNameLst>
                                          <p:attrName>ppt_x</p:attrName>
                                        </p:attrNameLst>
                                      </p:cBhvr>
                                      <p:tavLst>
                                        <p:tav tm="0">
                                          <p:val>
                                            <p:strVal val="1+#ppt_w/2"/>
                                          </p:val>
                                        </p:tav>
                                        <p:tav tm="100000">
                                          <p:val>
                                            <p:strVal val="#ppt_x"/>
                                          </p:val>
                                        </p:tav>
                                      </p:tavLst>
                                    </p:anim>
                                    <p:anim calcmode="lin" valueType="num">
                                      <p:cBhvr additive="base">
                                        <p:cTn id="16" dur="1000" fill="hold"/>
                                        <p:tgtEl>
                                          <p:spTgt spid="1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2" presetClass="entr" presetSubtype="8" decel="100000" fill="hold" nodeType="withEffect">
                  <p:stCondLst>
                    <p:cond delay="250"/>
                  </p:stCondLst>
                  <p:childTnLst>
                    <p:set>
                      <p:cBhvr>
                        <p:cTn dur="1" fill="hold">
                          <p:stCondLst>
                            <p:cond delay="0"/>
                          </p:stCondLst>
                        </p:cTn>
                        <p:tgtEl>
                          <p:spTgt spid="5"/>
                        </p:tgtEl>
                        <p:attrNameLst>
                          <p:attrName>style.visibility</p:attrName>
                        </p:attrNameLst>
                      </p:cBhvr>
                      <p:to>
                        <p:strVal val="visible"/>
                      </p:to>
                    </p:set>
                    <p:anim calcmode="lin" valueType="num">
                      <p:cBhvr additive="base">
                        <p:cTn dur="1000" fill="hold"/>
                        <p:tgtEl>
                          <p:spTgt spid="5"/>
                        </p:tgtEl>
                        <p:attrNameLst>
                          <p:attrName>ppt_x</p:attrName>
                        </p:attrNameLst>
                      </p:cBhvr>
                      <p:tavLst>
                        <p:tav tm="0">
                          <p:val>
                            <p:strVal val="0-#ppt_w/2"/>
                          </p:val>
                        </p:tav>
                        <p:tav tm="100000">
                          <p:val>
                            <p:strVal val="#ppt_x"/>
                          </p:val>
                        </p:tav>
                      </p:tavLst>
                    </p:anim>
                    <p:anim calcmode="lin" valueType="num">
                      <p:cBhvr additive="base">
                        <p:cTn dur="1000" fill="hold"/>
                        <p:tgtEl>
                          <p:spTgt spid="5"/>
                        </p:tgtEl>
                        <p:attrNameLst>
                          <p:attrName>ppt_y</p:attrName>
                        </p:attrNameLst>
                      </p:cBhvr>
                      <p:tavLst>
                        <p:tav tm="0">
                          <p:val>
                            <p:strVal val="#ppt_y"/>
                          </p:val>
                        </p:tav>
                        <p:tav tm="100000">
                          <p:val>
                            <p:strVal val="#ppt_y"/>
                          </p:val>
                        </p:tav>
                      </p:tavLst>
                    </p:anim>
                  </p:childTnLst>
                </p:cTn>
              </p:par>
            </p:tnLst>
          </p:tmpl>
        </p:tmplLst>
      </p:bldP>
      <p:bldP spid="14" grpId="0"/>
    </p:bld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HEADING/TEXT/IMAGE 2 small">
    <p:spTree>
      <p:nvGrpSpPr>
        <p:cNvPr id="1" name=""/>
        <p:cNvGrpSpPr/>
        <p:nvPr/>
      </p:nvGrpSpPr>
      <p:grpSpPr>
        <a:xfrm>
          <a:off x="0" y="0"/>
          <a:ext cx="0" cy="0"/>
          <a:chOff x="0" y="0"/>
          <a:chExt cx="0" cy="0"/>
        </a:xfrm>
      </p:grpSpPr>
      <p:sp>
        <p:nvSpPr>
          <p:cNvPr id="13" name="Freihandform: Form 12">
            <a:extLst>
              <a:ext uri="{FF2B5EF4-FFF2-40B4-BE49-F238E27FC236}">
                <a16:creationId xmlns:a16="http://schemas.microsoft.com/office/drawing/2014/main" id="{50EC640D-C73C-4FD9-AD9A-88EE410704F4}"/>
              </a:ext>
            </a:extLst>
          </p:cNvPr>
          <p:cNvSpPr/>
          <p:nvPr/>
        </p:nvSpPr>
        <p:spPr>
          <a:xfrm rot="10800000">
            <a:off x="0" y="1975611"/>
            <a:ext cx="9829800" cy="4882390"/>
          </a:xfrm>
          <a:custGeom>
            <a:avLst/>
            <a:gdLst>
              <a:gd name="connsiteX0" fmla="*/ 910059 w 9829800"/>
              <a:gd name="connsiteY0" fmla="*/ 0 h 4882390"/>
              <a:gd name="connsiteX1" fmla="*/ 3015085 w 9829800"/>
              <a:gd name="connsiteY1" fmla="*/ 0 h 4882390"/>
              <a:gd name="connsiteX2" fmla="*/ 7981950 w 9829800"/>
              <a:gd name="connsiteY2" fmla="*/ 0 h 4882390"/>
              <a:gd name="connsiteX3" fmla="*/ 9829800 w 9829800"/>
              <a:gd name="connsiteY3" fmla="*/ 0 h 4882390"/>
              <a:gd name="connsiteX4" fmla="*/ 9829800 w 9829800"/>
              <a:gd name="connsiteY4" fmla="*/ 4882390 h 4882390"/>
              <a:gd name="connsiteX5" fmla="*/ 7981950 w 9829800"/>
              <a:gd name="connsiteY5" fmla="*/ 4882390 h 4882390"/>
              <a:gd name="connsiteX6" fmla="*/ 2183098 w 9829800"/>
              <a:gd name="connsiteY6" fmla="*/ 4882390 h 4882390"/>
              <a:gd name="connsiteX7" fmla="*/ 78072 w 9829800"/>
              <a:gd name="connsiteY7" fmla="*/ 4882390 h 4882390"/>
              <a:gd name="connsiteX8" fmla="*/ 0 w 9829800"/>
              <a:gd name="connsiteY8" fmla="*/ 4804318 h 4882390"/>
              <a:gd name="connsiteX9" fmla="*/ 831987 w 9829800"/>
              <a:gd name="connsiteY9" fmla="*/ 78072 h 4882390"/>
              <a:gd name="connsiteX10" fmla="*/ 910059 w 9829800"/>
              <a:gd name="connsiteY10" fmla="*/ 0 h 4882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829800" h="4882390">
                <a:moveTo>
                  <a:pt x="910059" y="0"/>
                </a:moveTo>
                <a:lnTo>
                  <a:pt x="3015085" y="0"/>
                </a:lnTo>
                <a:lnTo>
                  <a:pt x="7981950" y="0"/>
                </a:lnTo>
                <a:lnTo>
                  <a:pt x="9829800" y="0"/>
                </a:lnTo>
                <a:lnTo>
                  <a:pt x="9829800" y="4882390"/>
                </a:lnTo>
                <a:lnTo>
                  <a:pt x="7981950" y="4882390"/>
                </a:lnTo>
                <a:lnTo>
                  <a:pt x="2183098" y="4882390"/>
                </a:lnTo>
                <a:lnTo>
                  <a:pt x="78072" y="4882390"/>
                </a:lnTo>
                <a:cubicBezTo>
                  <a:pt x="34957" y="4882390"/>
                  <a:pt x="0" y="4847433"/>
                  <a:pt x="0" y="4804318"/>
                </a:cubicBezTo>
                <a:lnTo>
                  <a:pt x="831987" y="78072"/>
                </a:lnTo>
                <a:cubicBezTo>
                  <a:pt x="831987" y="34957"/>
                  <a:pt x="866945" y="0"/>
                  <a:pt x="910059" y="0"/>
                </a:cubicBezTo>
                <a:close/>
              </a:path>
            </a:pathLst>
          </a:custGeom>
          <a:gradFill>
            <a:gsLst>
              <a:gs pos="100000">
                <a:schemeClr val="bg1"/>
              </a:gs>
              <a:gs pos="5000">
                <a:srgbClr val="ECF0F4"/>
              </a:gs>
            </a:gsLst>
            <a:lin ang="5400000" scaled="1"/>
          </a:gradFill>
          <a:ln w="11652" cap="flat">
            <a:noFill/>
            <a:prstDash val="solid"/>
            <a:miter/>
          </a:ln>
        </p:spPr>
        <p:txBody>
          <a:bodyPr rtlCol="0" anchor="ctr"/>
          <a:lstStyle/>
          <a:p>
            <a:endParaRPr lang="de-DE"/>
          </a:p>
        </p:txBody>
      </p:sp>
      <p:sp>
        <p:nvSpPr>
          <p:cNvPr id="2" name="Titel 1">
            <a:extLst>
              <a:ext uri="{FF2B5EF4-FFF2-40B4-BE49-F238E27FC236}">
                <a16:creationId xmlns:a16="http://schemas.microsoft.com/office/drawing/2014/main" id="{0526DC72-FA1D-422D-8055-3374742D122B}"/>
              </a:ext>
            </a:extLst>
          </p:cNvPr>
          <p:cNvSpPr>
            <a:spLocks noGrp="1"/>
          </p:cNvSpPr>
          <p:nvPr>
            <p:ph type="title"/>
          </p:nvPr>
        </p:nvSpPr>
        <p:spPr>
          <a:xfrm>
            <a:off x="815952" y="733402"/>
            <a:ext cx="4931999" cy="767737"/>
          </a:xfrm>
        </p:spPr>
        <p:txBody>
          <a:bodyPr/>
          <a:lstStyle>
            <a:lvl1pPr>
              <a:lnSpc>
                <a:spcPct val="100000"/>
              </a:lnSpc>
              <a:defRPr/>
            </a:lvl1pPr>
          </a:lstStyle>
          <a:p>
            <a:r>
              <a:rPr lang="de-DE"/>
              <a:t>Mastertitelformat bearbeiten</a:t>
            </a:r>
          </a:p>
        </p:txBody>
      </p:sp>
      <p:sp>
        <p:nvSpPr>
          <p:cNvPr id="3" name="Foliennummernplatzhalter 2">
            <a:extLst>
              <a:ext uri="{FF2B5EF4-FFF2-40B4-BE49-F238E27FC236}">
                <a16:creationId xmlns:a16="http://schemas.microsoft.com/office/drawing/2014/main" id="{5B327254-466C-4606-8589-BCC72CBDADDF}"/>
              </a:ext>
            </a:extLst>
          </p:cNvPr>
          <p:cNvSpPr>
            <a:spLocks noGrp="1"/>
          </p:cNvSpPr>
          <p:nvPr>
            <p:ph type="sldNum" sz="quarter" idx="10"/>
          </p:nvPr>
        </p:nvSpPr>
        <p:spPr/>
        <p:txBody>
          <a:bodyPr/>
          <a:lstStyle/>
          <a:p>
            <a:fld id="{A04BEB4F-8CE1-4F18-986F-6CE0A0BE9470}" type="slidenum">
              <a:rPr lang="de-DE" smtClean="0"/>
              <a:t>‹#›</a:t>
            </a:fld>
            <a:endParaRPr lang="de-DE"/>
          </a:p>
        </p:txBody>
      </p:sp>
      <p:sp>
        <p:nvSpPr>
          <p:cNvPr id="5" name="Textplatzhalter 9">
            <a:extLst>
              <a:ext uri="{FF2B5EF4-FFF2-40B4-BE49-F238E27FC236}">
                <a16:creationId xmlns:a16="http://schemas.microsoft.com/office/drawing/2014/main" id="{6024922C-391C-46EA-9F1C-F5344AAB64C8}"/>
              </a:ext>
            </a:extLst>
          </p:cNvPr>
          <p:cNvSpPr>
            <a:spLocks noGrp="1"/>
          </p:cNvSpPr>
          <p:nvPr>
            <p:ph type="body" sz="quarter" idx="11"/>
          </p:nvPr>
        </p:nvSpPr>
        <p:spPr>
          <a:xfrm>
            <a:off x="815951" y="1979612"/>
            <a:ext cx="4932000" cy="4338638"/>
          </a:xfrm>
          <a:prstGeom prst="rect">
            <a:avLst/>
          </a:prstGeom>
        </p:spPr>
        <p:txBody>
          <a:bodyPr lIns="0" tIns="0" rIns="0" bIns="0">
            <a:normAutofit/>
          </a:bodyPr>
          <a:lstStyle>
            <a:lvl1pPr>
              <a:defRPr sz="1800"/>
            </a:lvl1pPr>
            <a:lvl2pPr>
              <a:defRPr sz="1800"/>
            </a:lvl2pPr>
            <a:lvl3pPr>
              <a:defRPr sz="1800"/>
            </a:lvl3pPr>
            <a:lvl4pPr>
              <a:defRPr sz="1800"/>
            </a:lvl4pPr>
            <a:lvl5pPr>
              <a:defRPr sz="18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9" name="Bildplatzhalter 18">
            <a:extLst>
              <a:ext uri="{FF2B5EF4-FFF2-40B4-BE49-F238E27FC236}">
                <a16:creationId xmlns:a16="http://schemas.microsoft.com/office/drawing/2014/main" id="{77258955-00DA-42C8-B30E-18F06F9412BA}"/>
              </a:ext>
            </a:extLst>
          </p:cNvPr>
          <p:cNvSpPr>
            <a:spLocks noGrp="1"/>
          </p:cNvSpPr>
          <p:nvPr>
            <p:ph type="pic" sz="quarter" idx="13" hasCustomPrompt="1"/>
          </p:nvPr>
        </p:nvSpPr>
        <p:spPr>
          <a:xfrm>
            <a:off x="6931694" y="3028384"/>
            <a:ext cx="5260306" cy="2794472"/>
          </a:xfrm>
          <a:custGeom>
            <a:avLst/>
            <a:gdLst>
              <a:gd name="connsiteX0" fmla="*/ 541046 w 5260306"/>
              <a:gd name="connsiteY0" fmla="*/ 0 h 2794472"/>
              <a:gd name="connsiteX1" fmla="*/ 5260306 w 5260306"/>
              <a:gd name="connsiteY1" fmla="*/ 0 h 2794472"/>
              <a:gd name="connsiteX2" fmla="*/ 5260306 w 5260306"/>
              <a:gd name="connsiteY2" fmla="*/ 2794472 h 2794472"/>
              <a:gd name="connsiteX3" fmla="*/ 93428 w 5260306"/>
              <a:gd name="connsiteY3" fmla="*/ 2794472 h 2794472"/>
              <a:gd name="connsiteX4" fmla="*/ 0 w 5260306"/>
              <a:gd name="connsiteY4" fmla="*/ 2701044 h 2794472"/>
              <a:gd name="connsiteX5" fmla="*/ 464351 w 5260306"/>
              <a:gd name="connsiteY5" fmla="*/ 65539 h 2794472"/>
              <a:gd name="connsiteX6" fmla="*/ 541046 w 5260306"/>
              <a:gd name="connsiteY6" fmla="*/ 0 h 2794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60306" h="2794472">
                <a:moveTo>
                  <a:pt x="541046" y="0"/>
                </a:moveTo>
                <a:lnTo>
                  <a:pt x="5260306" y="0"/>
                </a:lnTo>
                <a:lnTo>
                  <a:pt x="5260306" y="2794472"/>
                </a:lnTo>
                <a:lnTo>
                  <a:pt x="93428" y="2794472"/>
                </a:lnTo>
                <a:cubicBezTo>
                  <a:pt x="41833" y="2794472"/>
                  <a:pt x="0" y="2752639"/>
                  <a:pt x="0" y="2701044"/>
                </a:cubicBezTo>
                <a:lnTo>
                  <a:pt x="464351" y="65539"/>
                </a:lnTo>
                <a:cubicBezTo>
                  <a:pt x="469929" y="27889"/>
                  <a:pt x="503395" y="0"/>
                  <a:pt x="541046" y="0"/>
                </a:cubicBezTo>
                <a:close/>
              </a:path>
            </a:pathLst>
          </a:custGeom>
        </p:spPr>
        <p:txBody>
          <a:bodyPr wrap="square">
            <a:noAutofit/>
          </a:bodyPr>
          <a:lstStyle>
            <a:lvl3pPr marL="990600" marR="0" indent="-285750" algn="l" defTabSz="1644650" rtl="0" eaLnBrk="0" fontAlgn="base" latinLnBrk="0" hangingPunct="0">
              <a:lnSpc>
                <a:spcPct val="130000"/>
              </a:lnSpc>
              <a:spcBef>
                <a:spcPct val="0"/>
              </a:spcBef>
              <a:spcAft>
                <a:spcPts val="1200"/>
              </a:spcAft>
              <a:buClr>
                <a:srgbClr val="004C99"/>
              </a:buClr>
              <a:buSzPct val="120000"/>
              <a:defRPr/>
            </a:lvl3pPr>
          </a:lstStyle>
          <a:p>
            <a:pPr marL="990600" marR="0" lvl="2" indent="-285750" algn="l" defTabSz="1644650" rtl="0" eaLnBrk="0" fontAlgn="base" latinLnBrk="0" hangingPunct="0">
              <a:lnSpc>
                <a:spcPct val="130000"/>
              </a:lnSpc>
              <a:spcBef>
                <a:spcPct val="0"/>
              </a:spcBef>
              <a:spcAft>
                <a:spcPts val="1200"/>
              </a:spcAft>
              <a:buClr>
                <a:srgbClr val="004C99"/>
              </a:buClr>
              <a:buSzPct val="120000"/>
              <a:defRPr/>
            </a:pPr>
            <a:r>
              <a:rPr lang="de-DE"/>
              <a:t>Please insert image</a:t>
            </a:r>
          </a:p>
        </p:txBody>
      </p:sp>
      <p:sp>
        <p:nvSpPr>
          <p:cNvPr id="20" name="Bildplatzhalter 19">
            <a:extLst>
              <a:ext uri="{FF2B5EF4-FFF2-40B4-BE49-F238E27FC236}">
                <a16:creationId xmlns:a16="http://schemas.microsoft.com/office/drawing/2014/main" id="{77C1DD81-6416-4666-94E0-96C26901803C}"/>
              </a:ext>
            </a:extLst>
          </p:cNvPr>
          <p:cNvSpPr>
            <a:spLocks noGrp="1"/>
          </p:cNvSpPr>
          <p:nvPr>
            <p:ph type="pic" sz="quarter" idx="14" hasCustomPrompt="1"/>
          </p:nvPr>
        </p:nvSpPr>
        <p:spPr>
          <a:xfrm>
            <a:off x="7467388" y="-19877"/>
            <a:ext cx="4724613" cy="2795867"/>
          </a:xfrm>
          <a:custGeom>
            <a:avLst/>
            <a:gdLst>
              <a:gd name="connsiteX0" fmla="*/ 553370 w 4724613"/>
              <a:gd name="connsiteY0" fmla="*/ 0 h 2795867"/>
              <a:gd name="connsiteX1" fmla="*/ 4724613 w 4724613"/>
              <a:gd name="connsiteY1" fmla="*/ 0 h 2795867"/>
              <a:gd name="connsiteX2" fmla="*/ 4724613 w 4724613"/>
              <a:gd name="connsiteY2" fmla="*/ 2795867 h 2795867"/>
              <a:gd name="connsiteX3" fmla="*/ 79258 w 4724613"/>
              <a:gd name="connsiteY3" fmla="*/ 2795867 h 2795867"/>
              <a:gd name="connsiteX4" fmla="*/ 1169 w 4724613"/>
              <a:gd name="connsiteY4" fmla="*/ 2702439 h 2795867"/>
              <a:gd name="connsiteX5" fmla="*/ 459942 w 4724613"/>
              <a:gd name="connsiteY5" fmla="*/ 93428 h 2795867"/>
              <a:gd name="connsiteX6" fmla="*/ 553370 w 4724613"/>
              <a:gd name="connsiteY6" fmla="*/ 0 h 2795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24613" h="2795867">
                <a:moveTo>
                  <a:pt x="553370" y="0"/>
                </a:moveTo>
                <a:lnTo>
                  <a:pt x="4724613" y="0"/>
                </a:lnTo>
                <a:lnTo>
                  <a:pt x="4724613" y="2795867"/>
                </a:lnTo>
                <a:lnTo>
                  <a:pt x="79258" y="2795867"/>
                </a:lnTo>
                <a:cubicBezTo>
                  <a:pt x="30452" y="2795867"/>
                  <a:pt x="-7198" y="2751245"/>
                  <a:pt x="1169" y="2702439"/>
                </a:cubicBezTo>
                <a:lnTo>
                  <a:pt x="459942" y="93428"/>
                </a:lnTo>
                <a:cubicBezTo>
                  <a:pt x="459942" y="41833"/>
                  <a:pt x="501775" y="0"/>
                  <a:pt x="553370" y="0"/>
                </a:cubicBezTo>
                <a:close/>
              </a:path>
            </a:pathLst>
          </a:custGeom>
        </p:spPr>
        <p:txBody>
          <a:bodyPr wrap="square">
            <a:noAutofit/>
          </a:bodyPr>
          <a:lstStyle>
            <a:lvl1pPr marL="0" marR="0" indent="0" algn="l" defTabSz="1644650" rtl="0" eaLnBrk="0" fontAlgn="base" latinLnBrk="0" hangingPunct="0">
              <a:lnSpc>
                <a:spcPct val="130000"/>
              </a:lnSpc>
              <a:spcBef>
                <a:spcPct val="0"/>
              </a:spcBef>
              <a:spcAft>
                <a:spcPts val="1200"/>
              </a:spcAft>
              <a:buClr>
                <a:srgbClr val="004C99"/>
              </a:buClr>
              <a:buSzPct val="120000"/>
              <a:buFontTx/>
              <a:buNone/>
              <a:defRPr/>
            </a:lvl1pPr>
          </a:lstStyle>
          <a:p>
            <a:pPr marL="896938" marR="0" lvl="1" indent="-266700" algn="l" defTabSz="1644650" rtl="0" eaLnBrk="0" fontAlgn="base" latinLnBrk="0" hangingPunct="0">
              <a:lnSpc>
                <a:spcPct val="130000"/>
              </a:lnSpc>
              <a:spcBef>
                <a:spcPct val="0"/>
              </a:spcBef>
              <a:spcAft>
                <a:spcPts val="1200"/>
              </a:spcAft>
              <a:buClr>
                <a:srgbClr val="004C99"/>
              </a:buClr>
              <a:buSzPct val="120000"/>
              <a:buFontTx/>
              <a:buBlip>
                <a:blip r:embed="rId2"/>
              </a:buBlip>
              <a:defRPr/>
            </a:pPr>
            <a:r>
              <a:rPr lang="de-DE"/>
              <a:t>Please insert image</a:t>
            </a:r>
          </a:p>
          <a:p>
            <a:endParaRPr lang="de-DE"/>
          </a:p>
        </p:txBody>
      </p:sp>
    </p:spTree>
    <p:extLst>
      <p:ext uri="{BB962C8B-B14F-4D97-AF65-F5344CB8AC3E}">
        <p14:creationId xmlns:p14="http://schemas.microsoft.com/office/powerpoint/2010/main" val="3681620388"/>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8" dur="1000" decel="10000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0-#ppt_w/2"/>
                                          </p:val>
                                        </p:tav>
                                        <p:tav tm="100000">
                                          <p:val>
                                            <p:strVal val="#ppt_x"/>
                                          </p:val>
                                        </p:tav>
                                      </p:tavLst>
                                    </p:anim>
                                    <p:anim calcmode="lin" valueType="num">
                                      <p:cBhvr additive="base">
                                        <p:cTn id="8" dur="1000" fill="hold"/>
                                        <p:tgtEl>
                                          <p:spTgt spid="2"/>
                                        </p:tgtEl>
                                        <p:attrNameLst>
                                          <p:attrName>ppt_y</p:attrName>
                                        </p:attrNameLst>
                                      </p:cBhvr>
                                      <p:tavLst>
                                        <p:tav tm="0">
                                          <p:val>
                                            <p:strVal val="#ppt_y"/>
                                          </p:val>
                                        </p:tav>
                                        <p:tav tm="100000">
                                          <p:val>
                                            <p:strVal val="#ppt_y"/>
                                          </p:val>
                                        </p:tav>
                                      </p:tavLst>
                                    </p:anim>
                                  </p:childTnLst>
                                </p:cTn>
                              </p:par>
                              <p:par>
                                <p:cTn id="9" presetID="2" presetClass="entr" presetSubtype="8" dur="1000" decel="100000" fill="hold" grpId="0" nodeType="withEffect">
                                  <p:stCondLst>
                                    <p:cond delay="25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1000" fill="hold"/>
                                        <p:tgtEl>
                                          <p:spTgt spid="5"/>
                                        </p:tgtEl>
                                        <p:attrNameLst>
                                          <p:attrName>ppt_x</p:attrName>
                                        </p:attrNameLst>
                                      </p:cBhvr>
                                      <p:tavLst>
                                        <p:tav tm="0">
                                          <p:val>
                                            <p:strVal val="0-#ppt_w/2"/>
                                          </p:val>
                                        </p:tav>
                                        <p:tav tm="100000">
                                          <p:val>
                                            <p:strVal val="#ppt_x"/>
                                          </p:val>
                                        </p:tav>
                                      </p:tavLst>
                                    </p:anim>
                                    <p:anim calcmode="lin" valueType="num">
                                      <p:cBhvr additive="base">
                                        <p:cTn id="12" dur="1000" fill="hold"/>
                                        <p:tgtEl>
                                          <p:spTgt spid="5"/>
                                        </p:tgtEl>
                                        <p:attrNameLst>
                                          <p:attrName>ppt_y</p:attrName>
                                        </p:attrNameLst>
                                      </p:cBhvr>
                                      <p:tavLst>
                                        <p:tav tm="0">
                                          <p:val>
                                            <p:strVal val="#ppt_y"/>
                                          </p:val>
                                        </p:tav>
                                        <p:tav tm="100000">
                                          <p:val>
                                            <p:strVal val="#ppt_y"/>
                                          </p:val>
                                        </p:tav>
                                      </p:tavLst>
                                    </p:anim>
                                  </p:childTnLst>
                                </p:cTn>
                              </p:par>
                              <p:par>
                                <p:cTn id="13" presetID="2" presetClass="entr" presetSubtype="2" dur="1000" decel="100000" fill="hold" grpId="0" nodeType="withEffect">
                                  <p:stCondLst>
                                    <p:cond delay="500"/>
                                  </p:stCondLst>
                                  <p:childTnLst>
                                    <p:set>
                                      <p:cBhvr>
                                        <p:cTn id="14" dur="1" fill="hold">
                                          <p:stCondLst>
                                            <p:cond delay="0"/>
                                          </p:stCondLst>
                                        </p:cTn>
                                        <p:tgtEl>
                                          <p:spTgt spid="20"/>
                                        </p:tgtEl>
                                        <p:attrNameLst>
                                          <p:attrName>style.visibility</p:attrName>
                                        </p:attrNameLst>
                                      </p:cBhvr>
                                      <p:to>
                                        <p:strVal val="visible"/>
                                      </p:to>
                                    </p:set>
                                    <p:anim calcmode="lin" valueType="num">
                                      <p:cBhvr additive="base">
                                        <p:cTn id="15" dur="1000" fill="hold"/>
                                        <p:tgtEl>
                                          <p:spTgt spid="20"/>
                                        </p:tgtEl>
                                        <p:attrNameLst>
                                          <p:attrName>ppt_x</p:attrName>
                                        </p:attrNameLst>
                                      </p:cBhvr>
                                      <p:tavLst>
                                        <p:tav tm="0">
                                          <p:val>
                                            <p:strVal val="1+#ppt_w/2"/>
                                          </p:val>
                                        </p:tav>
                                        <p:tav tm="100000">
                                          <p:val>
                                            <p:strVal val="#ppt_x"/>
                                          </p:val>
                                        </p:tav>
                                      </p:tavLst>
                                    </p:anim>
                                    <p:anim calcmode="lin" valueType="num">
                                      <p:cBhvr additive="base">
                                        <p:cTn id="16" dur="1000" fill="hold"/>
                                        <p:tgtEl>
                                          <p:spTgt spid="20"/>
                                        </p:tgtEl>
                                        <p:attrNameLst>
                                          <p:attrName>ppt_y</p:attrName>
                                        </p:attrNameLst>
                                      </p:cBhvr>
                                      <p:tavLst>
                                        <p:tav tm="0">
                                          <p:val>
                                            <p:strVal val="#ppt_y"/>
                                          </p:val>
                                        </p:tav>
                                        <p:tav tm="100000">
                                          <p:val>
                                            <p:strVal val="#ppt_y"/>
                                          </p:val>
                                        </p:tav>
                                      </p:tavLst>
                                    </p:anim>
                                  </p:childTnLst>
                                </p:cTn>
                              </p:par>
                              <p:par>
                                <p:cTn id="17" presetID="2" presetClass="entr" presetSubtype="2" dur="1000" decel="100000" fill="hold" grpId="0" nodeType="withEffect">
                                  <p:stCondLst>
                                    <p:cond delay="750"/>
                                  </p:stCondLst>
                                  <p:childTnLst>
                                    <p:set>
                                      <p:cBhvr>
                                        <p:cTn id="18" dur="1" fill="hold">
                                          <p:stCondLst>
                                            <p:cond delay="0"/>
                                          </p:stCondLst>
                                        </p:cTn>
                                        <p:tgtEl>
                                          <p:spTgt spid="19"/>
                                        </p:tgtEl>
                                        <p:attrNameLst>
                                          <p:attrName>style.visibility</p:attrName>
                                        </p:attrNameLst>
                                      </p:cBhvr>
                                      <p:to>
                                        <p:strVal val="visible"/>
                                      </p:to>
                                    </p:set>
                                    <p:anim calcmode="lin" valueType="num">
                                      <p:cBhvr additive="base">
                                        <p:cTn id="19" dur="1000" fill="hold"/>
                                        <p:tgtEl>
                                          <p:spTgt spid="19"/>
                                        </p:tgtEl>
                                        <p:attrNameLst>
                                          <p:attrName>ppt_x</p:attrName>
                                        </p:attrNameLst>
                                      </p:cBhvr>
                                      <p:tavLst>
                                        <p:tav tm="0">
                                          <p:val>
                                            <p:strVal val="1+#ppt_w/2"/>
                                          </p:val>
                                        </p:tav>
                                        <p:tav tm="100000">
                                          <p:val>
                                            <p:strVal val="#ppt_x"/>
                                          </p:val>
                                        </p:tav>
                                      </p:tavLst>
                                    </p:anim>
                                    <p:anim calcmode="lin" valueType="num">
                                      <p:cBhvr additive="base">
                                        <p:cTn id="20" dur="1000" fill="hold"/>
                                        <p:tgtEl>
                                          <p:spTgt spid="1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2" presetClass="entr" presetSubtype="8" decel="100000" fill="hold" nodeType="withEffect">
                  <p:stCondLst>
                    <p:cond delay="250"/>
                  </p:stCondLst>
                  <p:childTnLst>
                    <p:set>
                      <p:cBhvr>
                        <p:cTn dur="1" fill="hold">
                          <p:stCondLst>
                            <p:cond delay="0"/>
                          </p:stCondLst>
                        </p:cTn>
                        <p:tgtEl>
                          <p:spTgt spid="5"/>
                        </p:tgtEl>
                        <p:attrNameLst>
                          <p:attrName>style.visibility</p:attrName>
                        </p:attrNameLst>
                      </p:cBhvr>
                      <p:to>
                        <p:strVal val="visible"/>
                      </p:to>
                    </p:set>
                    <p:anim calcmode="lin" valueType="num">
                      <p:cBhvr additive="base">
                        <p:cTn dur="1000" fill="hold"/>
                        <p:tgtEl>
                          <p:spTgt spid="5"/>
                        </p:tgtEl>
                        <p:attrNameLst>
                          <p:attrName>ppt_x</p:attrName>
                        </p:attrNameLst>
                      </p:cBhvr>
                      <p:tavLst>
                        <p:tav tm="0">
                          <p:val>
                            <p:strVal val="0-#ppt_w/2"/>
                          </p:val>
                        </p:tav>
                        <p:tav tm="100000">
                          <p:val>
                            <p:strVal val="#ppt_x"/>
                          </p:val>
                        </p:tav>
                      </p:tavLst>
                    </p:anim>
                    <p:anim calcmode="lin" valueType="num">
                      <p:cBhvr additive="base">
                        <p:cTn dur="1000" fill="hold"/>
                        <p:tgtEl>
                          <p:spTgt spid="5"/>
                        </p:tgtEl>
                        <p:attrNameLst>
                          <p:attrName>ppt_y</p:attrName>
                        </p:attrNameLst>
                      </p:cBhvr>
                      <p:tavLst>
                        <p:tav tm="0">
                          <p:val>
                            <p:strVal val="#ppt_y"/>
                          </p:val>
                        </p:tav>
                        <p:tav tm="100000">
                          <p:val>
                            <p:strVal val="#ppt_y"/>
                          </p:val>
                        </p:tav>
                      </p:tavLst>
                    </p:anim>
                  </p:childTnLst>
                </p:cTn>
              </p:par>
            </p:tnLst>
          </p:tmpl>
        </p:tmplLst>
      </p:bldP>
      <p:bldP spid="19" grpId="0"/>
      <p:bldP spid="20" grpId="0"/>
    </p:bld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HEADING/TEXT/IMAGE 1 big 1 small">
    <p:spTree>
      <p:nvGrpSpPr>
        <p:cNvPr id="1" name=""/>
        <p:cNvGrpSpPr/>
        <p:nvPr/>
      </p:nvGrpSpPr>
      <p:grpSpPr>
        <a:xfrm>
          <a:off x="0" y="0"/>
          <a:ext cx="0" cy="0"/>
          <a:chOff x="0" y="0"/>
          <a:chExt cx="0" cy="0"/>
        </a:xfrm>
      </p:grpSpPr>
      <p:sp>
        <p:nvSpPr>
          <p:cNvPr id="13" name="Freihandform: Form 12">
            <a:extLst>
              <a:ext uri="{FF2B5EF4-FFF2-40B4-BE49-F238E27FC236}">
                <a16:creationId xmlns:a16="http://schemas.microsoft.com/office/drawing/2014/main" id="{50EC640D-C73C-4FD9-AD9A-88EE410704F4}"/>
              </a:ext>
            </a:extLst>
          </p:cNvPr>
          <p:cNvSpPr/>
          <p:nvPr/>
        </p:nvSpPr>
        <p:spPr>
          <a:xfrm rot="10800000">
            <a:off x="0" y="1975611"/>
            <a:ext cx="9829800" cy="4882390"/>
          </a:xfrm>
          <a:custGeom>
            <a:avLst/>
            <a:gdLst>
              <a:gd name="connsiteX0" fmla="*/ 910059 w 9829800"/>
              <a:gd name="connsiteY0" fmla="*/ 0 h 4882390"/>
              <a:gd name="connsiteX1" fmla="*/ 3015085 w 9829800"/>
              <a:gd name="connsiteY1" fmla="*/ 0 h 4882390"/>
              <a:gd name="connsiteX2" fmla="*/ 7981950 w 9829800"/>
              <a:gd name="connsiteY2" fmla="*/ 0 h 4882390"/>
              <a:gd name="connsiteX3" fmla="*/ 9829800 w 9829800"/>
              <a:gd name="connsiteY3" fmla="*/ 0 h 4882390"/>
              <a:gd name="connsiteX4" fmla="*/ 9829800 w 9829800"/>
              <a:gd name="connsiteY4" fmla="*/ 4882390 h 4882390"/>
              <a:gd name="connsiteX5" fmla="*/ 7981950 w 9829800"/>
              <a:gd name="connsiteY5" fmla="*/ 4882390 h 4882390"/>
              <a:gd name="connsiteX6" fmla="*/ 2183098 w 9829800"/>
              <a:gd name="connsiteY6" fmla="*/ 4882390 h 4882390"/>
              <a:gd name="connsiteX7" fmla="*/ 78072 w 9829800"/>
              <a:gd name="connsiteY7" fmla="*/ 4882390 h 4882390"/>
              <a:gd name="connsiteX8" fmla="*/ 0 w 9829800"/>
              <a:gd name="connsiteY8" fmla="*/ 4804318 h 4882390"/>
              <a:gd name="connsiteX9" fmla="*/ 831987 w 9829800"/>
              <a:gd name="connsiteY9" fmla="*/ 78072 h 4882390"/>
              <a:gd name="connsiteX10" fmla="*/ 910059 w 9829800"/>
              <a:gd name="connsiteY10" fmla="*/ 0 h 4882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829800" h="4882390">
                <a:moveTo>
                  <a:pt x="910059" y="0"/>
                </a:moveTo>
                <a:lnTo>
                  <a:pt x="3015085" y="0"/>
                </a:lnTo>
                <a:lnTo>
                  <a:pt x="7981950" y="0"/>
                </a:lnTo>
                <a:lnTo>
                  <a:pt x="9829800" y="0"/>
                </a:lnTo>
                <a:lnTo>
                  <a:pt x="9829800" y="4882390"/>
                </a:lnTo>
                <a:lnTo>
                  <a:pt x="7981950" y="4882390"/>
                </a:lnTo>
                <a:lnTo>
                  <a:pt x="2183098" y="4882390"/>
                </a:lnTo>
                <a:lnTo>
                  <a:pt x="78072" y="4882390"/>
                </a:lnTo>
                <a:cubicBezTo>
                  <a:pt x="34957" y="4882390"/>
                  <a:pt x="0" y="4847433"/>
                  <a:pt x="0" y="4804318"/>
                </a:cubicBezTo>
                <a:lnTo>
                  <a:pt x="831987" y="78072"/>
                </a:lnTo>
                <a:cubicBezTo>
                  <a:pt x="831987" y="34957"/>
                  <a:pt x="866945" y="0"/>
                  <a:pt x="910059" y="0"/>
                </a:cubicBezTo>
                <a:close/>
              </a:path>
            </a:pathLst>
          </a:custGeom>
          <a:gradFill>
            <a:gsLst>
              <a:gs pos="100000">
                <a:schemeClr val="bg1"/>
              </a:gs>
              <a:gs pos="5000">
                <a:srgbClr val="ECF0F4"/>
              </a:gs>
            </a:gsLst>
            <a:lin ang="5400000" scaled="1"/>
          </a:gradFill>
          <a:ln w="11652" cap="flat">
            <a:noFill/>
            <a:prstDash val="solid"/>
            <a:miter/>
          </a:ln>
        </p:spPr>
        <p:txBody>
          <a:bodyPr rtlCol="0" anchor="ctr"/>
          <a:lstStyle/>
          <a:p>
            <a:endParaRPr lang="de-DE"/>
          </a:p>
        </p:txBody>
      </p:sp>
      <p:sp>
        <p:nvSpPr>
          <p:cNvPr id="2" name="Titel 1">
            <a:extLst>
              <a:ext uri="{FF2B5EF4-FFF2-40B4-BE49-F238E27FC236}">
                <a16:creationId xmlns:a16="http://schemas.microsoft.com/office/drawing/2014/main" id="{0526DC72-FA1D-422D-8055-3374742D122B}"/>
              </a:ext>
            </a:extLst>
          </p:cNvPr>
          <p:cNvSpPr>
            <a:spLocks noGrp="1"/>
          </p:cNvSpPr>
          <p:nvPr>
            <p:ph type="title"/>
          </p:nvPr>
        </p:nvSpPr>
        <p:spPr>
          <a:xfrm>
            <a:off x="815952" y="733402"/>
            <a:ext cx="4931999" cy="767737"/>
          </a:xfrm>
        </p:spPr>
        <p:txBody>
          <a:bodyPr/>
          <a:lstStyle>
            <a:lvl1pPr>
              <a:lnSpc>
                <a:spcPct val="100000"/>
              </a:lnSpc>
              <a:defRPr/>
            </a:lvl1pPr>
          </a:lstStyle>
          <a:p>
            <a:r>
              <a:rPr lang="de-DE"/>
              <a:t>Mastertitelformat bearbeiten</a:t>
            </a:r>
          </a:p>
        </p:txBody>
      </p:sp>
      <p:sp>
        <p:nvSpPr>
          <p:cNvPr id="3" name="Foliennummernplatzhalter 2">
            <a:extLst>
              <a:ext uri="{FF2B5EF4-FFF2-40B4-BE49-F238E27FC236}">
                <a16:creationId xmlns:a16="http://schemas.microsoft.com/office/drawing/2014/main" id="{5B327254-466C-4606-8589-BCC72CBDADDF}"/>
              </a:ext>
            </a:extLst>
          </p:cNvPr>
          <p:cNvSpPr>
            <a:spLocks noGrp="1"/>
          </p:cNvSpPr>
          <p:nvPr>
            <p:ph type="sldNum" sz="quarter" idx="10"/>
          </p:nvPr>
        </p:nvSpPr>
        <p:spPr/>
        <p:txBody>
          <a:bodyPr/>
          <a:lstStyle/>
          <a:p>
            <a:fld id="{A04BEB4F-8CE1-4F18-986F-6CE0A0BE9470}" type="slidenum">
              <a:rPr lang="de-DE" smtClean="0"/>
              <a:t>‹#›</a:t>
            </a:fld>
            <a:endParaRPr lang="de-DE"/>
          </a:p>
        </p:txBody>
      </p:sp>
      <p:sp>
        <p:nvSpPr>
          <p:cNvPr id="5" name="Textplatzhalter 9">
            <a:extLst>
              <a:ext uri="{FF2B5EF4-FFF2-40B4-BE49-F238E27FC236}">
                <a16:creationId xmlns:a16="http://schemas.microsoft.com/office/drawing/2014/main" id="{6024922C-391C-46EA-9F1C-F5344AAB64C8}"/>
              </a:ext>
            </a:extLst>
          </p:cNvPr>
          <p:cNvSpPr>
            <a:spLocks noGrp="1"/>
          </p:cNvSpPr>
          <p:nvPr>
            <p:ph type="body" sz="quarter" idx="11"/>
          </p:nvPr>
        </p:nvSpPr>
        <p:spPr>
          <a:xfrm>
            <a:off x="815951" y="1979612"/>
            <a:ext cx="4932000" cy="4338638"/>
          </a:xfrm>
          <a:prstGeom prst="rect">
            <a:avLst/>
          </a:prstGeom>
        </p:spPr>
        <p:txBody>
          <a:bodyPr lIns="0" tIns="0" rIns="0" bIns="0">
            <a:normAutofit/>
          </a:bodyPr>
          <a:lstStyle>
            <a:lvl1pPr>
              <a:defRPr sz="1800"/>
            </a:lvl1pPr>
            <a:lvl2pPr>
              <a:defRPr sz="1800"/>
            </a:lvl2pPr>
            <a:lvl3pPr>
              <a:defRPr sz="1800"/>
            </a:lvl3pPr>
            <a:lvl4pPr>
              <a:defRPr sz="1800"/>
            </a:lvl4pPr>
            <a:lvl5pPr>
              <a:defRPr sz="18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9" name="Bildplatzhalter 18">
            <a:extLst>
              <a:ext uri="{FF2B5EF4-FFF2-40B4-BE49-F238E27FC236}">
                <a16:creationId xmlns:a16="http://schemas.microsoft.com/office/drawing/2014/main" id="{77258955-00DA-42C8-B30E-18F06F9412BA}"/>
              </a:ext>
            </a:extLst>
          </p:cNvPr>
          <p:cNvSpPr>
            <a:spLocks noGrp="1"/>
          </p:cNvSpPr>
          <p:nvPr>
            <p:ph type="pic" sz="quarter" idx="13" hasCustomPrompt="1"/>
          </p:nvPr>
        </p:nvSpPr>
        <p:spPr>
          <a:xfrm>
            <a:off x="6829425" y="4008632"/>
            <a:ext cx="5362575" cy="2848802"/>
          </a:xfrm>
          <a:custGeom>
            <a:avLst/>
            <a:gdLst>
              <a:gd name="connsiteX0" fmla="*/ 541046 w 5260306"/>
              <a:gd name="connsiteY0" fmla="*/ 0 h 2794472"/>
              <a:gd name="connsiteX1" fmla="*/ 5260306 w 5260306"/>
              <a:gd name="connsiteY1" fmla="*/ 0 h 2794472"/>
              <a:gd name="connsiteX2" fmla="*/ 5260306 w 5260306"/>
              <a:gd name="connsiteY2" fmla="*/ 2794472 h 2794472"/>
              <a:gd name="connsiteX3" fmla="*/ 93428 w 5260306"/>
              <a:gd name="connsiteY3" fmla="*/ 2794472 h 2794472"/>
              <a:gd name="connsiteX4" fmla="*/ 0 w 5260306"/>
              <a:gd name="connsiteY4" fmla="*/ 2701044 h 2794472"/>
              <a:gd name="connsiteX5" fmla="*/ 464351 w 5260306"/>
              <a:gd name="connsiteY5" fmla="*/ 65539 h 2794472"/>
              <a:gd name="connsiteX6" fmla="*/ 541046 w 5260306"/>
              <a:gd name="connsiteY6" fmla="*/ 0 h 2794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60306" h="2794472">
                <a:moveTo>
                  <a:pt x="541046" y="0"/>
                </a:moveTo>
                <a:lnTo>
                  <a:pt x="5260306" y="0"/>
                </a:lnTo>
                <a:lnTo>
                  <a:pt x="5260306" y="2794472"/>
                </a:lnTo>
                <a:lnTo>
                  <a:pt x="93428" y="2794472"/>
                </a:lnTo>
                <a:cubicBezTo>
                  <a:pt x="41833" y="2794472"/>
                  <a:pt x="0" y="2752639"/>
                  <a:pt x="0" y="2701044"/>
                </a:cubicBezTo>
                <a:lnTo>
                  <a:pt x="464351" y="65539"/>
                </a:lnTo>
                <a:cubicBezTo>
                  <a:pt x="469929" y="27889"/>
                  <a:pt x="503395" y="0"/>
                  <a:pt x="541046" y="0"/>
                </a:cubicBezTo>
                <a:close/>
              </a:path>
            </a:pathLst>
          </a:custGeom>
        </p:spPr>
        <p:txBody>
          <a:bodyPr wrap="square">
            <a:noAutofit/>
          </a:bodyPr>
          <a:lstStyle>
            <a:lvl1pPr marL="0" marR="0" indent="0" algn="l" defTabSz="1644650" rtl="0" eaLnBrk="0" fontAlgn="base" latinLnBrk="0" hangingPunct="0">
              <a:lnSpc>
                <a:spcPct val="130000"/>
              </a:lnSpc>
              <a:spcBef>
                <a:spcPct val="0"/>
              </a:spcBef>
              <a:spcAft>
                <a:spcPts val="1200"/>
              </a:spcAft>
              <a:buClr>
                <a:srgbClr val="004C99"/>
              </a:buClr>
              <a:buSzPct val="120000"/>
              <a:buFontTx/>
              <a:buNone/>
              <a:defRPr/>
            </a:lvl1pPr>
          </a:lstStyle>
          <a:p>
            <a:pPr marL="896938" marR="0" lvl="1" indent="-266700" algn="l" defTabSz="1644650" rtl="0" eaLnBrk="0" fontAlgn="base" latinLnBrk="0" hangingPunct="0">
              <a:lnSpc>
                <a:spcPct val="130000"/>
              </a:lnSpc>
              <a:spcBef>
                <a:spcPct val="0"/>
              </a:spcBef>
              <a:spcAft>
                <a:spcPts val="1200"/>
              </a:spcAft>
              <a:buClr>
                <a:srgbClr val="004C99"/>
              </a:buClr>
              <a:buSzPct val="120000"/>
              <a:buFontTx/>
              <a:buBlip>
                <a:blip r:embed="rId2"/>
              </a:buBlip>
              <a:defRPr/>
            </a:pPr>
            <a:r>
              <a:rPr lang="de-DE"/>
              <a:t>Please insert image</a:t>
            </a:r>
          </a:p>
          <a:p>
            <a:endParaRPr lang="de-DE"/>
          </a:p>
        </p:txBody>
      </p:sp>
      <p:sp>
        <p:nvSpPr>
          <p:cNvPr id="20" name="Bildplatzhalter 19">
            <a:extLst>
              <a:ext uri="{FF2B5EF4-FFF2-40B4-BE49-F238E27FC236}">
                <a16:creationId xmlns:a16="http://schemas.microsoft.com/office/drawing/2014/main" id="{77C1DD81-6416-4666-94E0-96C26901803C}"/>
              </a:ext>
            </a:extLst>
          </p:cNvPr>
          <p:cNvSpPr>
            <a:spLocks noGrp="1"/>
          </p:cNvSpPr>
          <p:nvPr>
            <p:ph type="pic" sz="quarter" idx="14" hasCustomPrompt="1"/>
          </p:nvPr>
        </p:nvSpPr>
        <p:spPr>
          <a:xfrm>
            <a:off x="6025883" y="-19877"/>
            <a:ext cx="6166119" cy="3648902"/>
          </a:xfrm>
          <a:custGeom>
            <a:avLst/>
            <a:gdLst>
              <a:gd name="connsiteX0" fmla="*/ 553370 w 4724613"/>
              <a:gd name="connsiteY0" fmla="*/ 0 h 2795867"/>
              <a:gd name="connsiteX1" fmla="*/ 4724613 w 4724613"/>
              <a:gd name="connsiteY1" fmla="*/ 0 h 2795867"/>
              <a:gd name="connsiteX2" fmla="*/ 4724613 w 4724613"/>
              <a:gd name="connsiteY2" fmla="*/ 2795867 h 2795867"/>
              <a:gd name="connsiteX3" fmla="*/ 79258 w 4724613"/>
              <a:gd name="connsiteY3" fmla="*/ 2795867 h 2795867"/>
              <a:gd name="connsiteX4" fmla="*/ 1169 w 4724613"/>
              <a:gd name="connsiteY4" fmla="*/ 2702439 h 2795867"/>
              <a:gd name="connsiteX5" fmla="*/ 459942 w 4724613"/>
              <a:gd name="connsiteY5" fmla="*/ 93428 h 2795867"/>
              <a:gd name="connsiteX6" fmla="*/ 553370 w 4724613"/>
              <a:gd name="connsiteY6" fmla="*/ 0 h 2795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24613" h="2795867">
                <a:moveTo>
                  <a:pt x="553370" y="0"/>
                </a:moveTo>
                <a:lnTo>
                  <a:pt x="4724613" y="0"/>
                </a:lnTo>
                <a:lnTo>
                  <a:pt x="4724613" y="2795867"/>
                </a:lnTo>
                <a:lnTo>
                  <a:pt x="79258" y="2795867"/>
                </a:lnTo>
                <a:cubicBezTo>
                  <a:pt x="30452" y="2795867"/>
                  <a:pt x="-7198" y="2751245"/>
                  <a:pt x="1169" y="2702439"/>
                </a:cubicBezTo>
                <a:lnTo>
                  <a:pt x="459942" y="93428"/>
                </a:lnTo>
                <a:cubicBezTo>
                  <a:pt x="459942" y="41833"/>
                  <a:pt x="501775" y="0"/>
                  <a:pt x="553370" y="0"/>
                </a:cubicBezTo>
                <a:close/>
              </a:path>
            </a:pathLst>
          </a:custGeom>
        </p:spPr>
        <p:txBody>
          <a:bodyPr wrap="square">
            <a:noAutofit/>
          </a:bodyPr>
          <a:lstStyle>
            <a:lvl1pPr marL="285750" marR="0" indent="-285750" algn="l" defTabSz="1644650" rtl="0" eaLnBrk="0" fontAlgn="base" latinLnBrk="0" hangingPunct="0">
              <a:lnSpc>
                <a:spcPct val="130000"/>
              </a:lnSpc>
              <a:spcBef>
                <a:spcPct val="0"/>
              </a:spcBef>
              <a:spcAft>
                <a:spcPts val="1200"/>
              </a:spcAft>
              <a:buClr>
                <a:srgbClr val="004C99"/>
              </a:buClr>
              <a:buSzPct val="120000"/>
              <a:defRPr/>
            </a:lvl1pPr>
          </a:lstStyle>
          <a:p>
            <a:pPr marL="990600" marR="0" lvl="2" indent="-285750" algn="l" defTabSz="1644650" rtl="0" eaLnBrk="0" fontAlgn="base" latinLnBrk="0" hangingPunct="0">
              <a:lnSpc>
                <a:spcPct val="130000"/>
              </a:lnSpc>
              <a:spcBef>
                <a:spcPct val="0"/>
              </a:spcBef>
              <a:spcAft>
                <a:spcPts val="1200"/>
              </a:spcAft>
              <a:buClr>
                <a:srgbClr val="004C99"/>
              </a:buClr>
              <a:buSzPct val="120000"/>
              <a:defRPr/>
            </a:pPr>
            <a:r>
              <a:rPr lang="de-DE"/>
              <a:t>Please insert image</a:t>
            </a:r>
          </a:p>
        </p:txBody>
      </p:sp>
    </p:spTree>
    <p:extLst>
      <p:ext uri="{BB962C8B-B14F-4D97-AF65-F5344CB8AC3E}">
        <p14:creationId xmlns:p14="http://schemas.microsoft.com/office/powerpoint/2010/main" val="1025715693"/>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8" dur="1000" decel="10000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0-#ppt_w/2"/>
                                          </p:val>
                                        </p:tav>
                                        <p:tav tm="100000">
                                          <p:val>
                                            <p:strVal val="#ppt_x"/>
                                          </p:val>
                                        </p:tav>
                                      </p:tavLst>
                                    </p:anim>
                                    <p:anim calcmode="lin" valueType="num">
                                      <p:cBhvr additive="base">
                                        <p:cTn id="8" dur="1000" fill="hold"/>
                                        <p:tgtEl>
                                          <p:spTgt spid="2"/>
                                        </p:tgtEl>
                                        <p:attrNameLst>
                                          <p:attrName>ppt_y</p:attrName>
                                        </p:attrNameLst>
                                      </p:cBhvr>
                                      <p:tavLst>
                                        <p:tav tm="0">
                                          <p:val>
                                            <p:strVal val="#ppt_y"/>
                                          </p:val>
                                        </p:tav>
                                        <p:tav tm="100000">
                                          <p:val>
                                            <p:strVal val="#ppt_y"/>
                                          </p:val>
                                        </p:tav>
                                      </p:tavLst>
                                    </p:anim>
                                  </p:childTnLst>
                                </p:cTn>
                              </p:par>
                              <p:par>
                                <p:cTn id="9" presetID="2" presetClass="entr" presetSubtype="8" dur="1000" decel="100000" fill="hold" grpId="0" nodeType="withEffect">
                                  <p:stCondLst>
                                    <p:cond delay="25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1000" fill="hold"/>
                                        <p:tgtEl>
                                          <p:spTgt spid="5"/>
                                        </p:tgtEl>
                                        <p:attrNameLst>
                                          <p:attrName>ppt_x</p:attrName>
                                        </p:attrNameLst>
                                      </p:cBhvr>
                                      <p:tavLst>
                                        <p:tav tm="0">
                                          <p:val>
                                            <p:strVal val="0-#ppt_w/2"/>
                                          </p:val>
                                        </p:tav>
                                        <p:tav tm="100000">
                                          <p:val>
                                            <p:strVal val="#ppt_x"/>
                                          </p:val>
                                        </p:tav>
                                      </p:tavLst>
                                    </p:anim>
                                    <p:anim calcmode="lin" valueType="num">
                                      <p:cBhvr additive="base">
                                        <p:cTn id="12" dur="1000" fill="hold"/>
                                        <p:tgtEl>
                                          <p:spTgt spid="5"/>
                                        </p:tgtEl>
                                        <p:attrNameLst>
                                          <p:attrName>ppt_y</p:attrName>
                                        </p:attrNameLst>
                                      </p:cBhvr>
                                      <p:tavLst>
                                        <p:tav tm="0">
                                          <p:val>
                                            <p:strVal val="#ppt_y"/>
                                          </p:val>
                                        </p:tav>
                                        <p:tav tm="100000">
                                          <p:val>
                                            <p:strVal val="#ppt_y"/>
                                          </p:val>
                                        </p:tav>
                                      </p:tavLst>
                                    </p:anim>
                                  </p:childTnLst>
                                </p:cTn>
                              </p:par>
                              <p:par>
                                <p:cTn id="13" presetID="2" presetClass="entr" presetSubtype="2" dur="1000" decel="100000" fill="hold" grpId="0" nodeType="withEffect">
                                  <p:stCondLst>
                                    <p:cond delay="500"/>
                                  </p:stCondLst>
                                  <p:childTnLst>
                                    <p:set>
                                      <p:cBhvr>
                                        <p:cTn id="14" dur="1" fill="hold">
                                          <p:stCondLst>
                                            <p:cond delay="0"/>
                                          </p:stCondLst>
                                        </p:cTn>
                                        <p:tgtEl>
                                          <p:spTgt spid="20"/>
                                        </p:tgtEl>
                                        <p:attrNameLst>
                                          <p:attrName>style.visibility</p:attrName>
                                        </p:attrNameLst>
                                      </p:cBhvr>
                                      <p:to>
                                        <p:strVal val="visible"/>
                                      </p:to>
                                    </p:set>
                                    <p:anim calcmode="lin" valueType="num">
                                      <p:cBhvr additive="base">
                                        <p:cTn id="15" dur="1000" fill="hold"/>
                                        <p:tgtEl>
                                          <p:spTgt spid="20"/>
                                        </p:tgtEl>
                                        <p:attrNameLst>
                                          <p:attrName>ppt_x</p:attrName>
                                        </p:attrNameLst>
                                      </p:cBhvr>
                                      <p:tavLst>
                                        <p:tav tm="0">
                                          <p:val>
                                            <p:strVal val="1+#ppt_w/2"/>
                                          </p:val>
                                        </p:tav>
                                        <p:tav tm="100000">
                                          <p:val>
                                            <p:strVal val="#ppt_x"/>
                                          </p:val>
                                        </p:tav>
                                      </p:tavLst>
                                    </p:anim>
                                    <p:anim calcmode="lin" valueType="num">
                                      <p:cBhvr additive="base">
                                        <p:cTn id="16" dur="1000" fill="hold"/>
                                        <p:tgtEl>
                                          <p:spTgt spid="20"/>
                                        </p:tgtEl>
                                        <p:attrNameLst>
                                          <p:attrName>ppt_y</p:attrName>
                                        </p:attrNameLst>
                                      </p:cBhvr>
                                      <p:tavLst>
                                        <p:tav tm="0">
                                          <p:val>
                                            <p:strVal val="#ppt_y"/>
                                          </p:val>
                                        </p:tav>
                                        <p:tav tm="100000">
                                          <p:val>
                                            <p:strVal val="#ppt_y"/>
                                          </p:val>
                                        </p:tav>
                                      </p:tavLst>
                                    </p:anim>
                                  </p:childTnLst>
                                </p:cTn>
                              </p:par>
                              <p:par>
                                <p:cTn id="17" presetID="2" presetClass="entr" presetSubtype="2" dur="1000" decel="100000" fill="hold" grpId="0" nodeType="withEffect">
                                  <p:stCondLst>
                                    <p:cond delay="750"/>
                                  </p:stCondLst>
                                  <p:childTnLst>
                                    <p:set>
                                      <p:cBhvr>
                                        <p:cTn id="18" dur="1" fill="hold">
                                          <p:stCondLst>
                                            <p:cond delay="0"/>
                                          </p:stCondLst>
                                        </p:cTn>
                                        <p:tgtEl>
                                          <p:spTgt spid="19"/>
                                        </p:tgtEl>
                                        <p:attrNameLst>
                                          <p:attrName>style.visibility</p:attrName>
                                        </p:attrNameLst>
                                      </p:cBhvr>
                                      <p:to>
                                        <p:strVal val="visible"/>
                                      </p:to>
                                    </p:set>
                                    <p:anim calcmode="lin" valueType="num">
                                      <p:cBhvr additive="base">
                                        <p:cTn id="19" dur="1000" fill="hold"/>
                                        <p:tgtEl>
                                          <p:spTgt spid="19"/>
                                        </p:tgtEl>
                                        <p:attrNameLst>
                                          <p:attrName>ppt_x</p:attrName>
                                        </p:attrNameLst>
                                      </p:cBhvr>
                                      <p:tavLst>
                                        <p:tav tm="0">
                                          <p:val>
                                            <p:strVal val="1+#ppt_w/2"/>
                                          </p:val>
                                        </p:tav>
                                        <p:tav tm="100000">
                                          <p:val>
                                            <p:strVal val="#ppt_x"/>
                                          </p:val>
                                        </p:tav>
                                      </p:tavLst>
                                    </p:anim>
                                    <p:anim calcmode="lin" valueType="num">
                                      <p:cBhvr additive="base">
                                        <p:cTn id="20" dur="1000" fill="hold"/>
                                        <p:tgtEl>
                                          <p:spTgt spid="1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2" presetClass="entr" presetSubtype="8" decel="100000" fill="hold" nodeType="withEffect">
                  <p:stCondLst>
                    <p:cond delay="250"/>
                  </p:stCondLst>
                  <p:childTnLst>
                    <p:set>
                      <p:cBhvr>
                        <p:cTn dur="1" fill="hold">
                          <p:stCondLst>
                            <p:cond delay="0"/>
                          </p:stCondLst>
                        </p:cTn>
                        <p:tgtEl>
                          <p:spTgt spid="5"/>
                        </p:tgtEl>
                        <p:attrNameLst>
                          <p:attrName>style.visibility</p:attrName>
                        </p:attrNameLst>
                      </p:cBhvr>
                      <p:to>
                        <p:strVal val="visible"/>
                      </p:to>
                    </p:set>
                    <p:anim calcmode="lin" valueType="num">
                      <p:cBhvr additive="base">
                        <p:cTn dur="1000" fill="hold"/>
                        <p:tgtEl>
                          <p:spTgt spid="5"/>
                        </p:tgtEl>
                        <p:attrNameLst>
                          <p:attrName>ppt_x</p:attrName>
                        </p:attrNameLst>
                      </p:cBhvr>
                      <p:tavLst>
                        <p:tav tm="0">
                          <p:val>
                            <p:strVal val="0-#ppt_w/2"/>
                          </p:val>
                        </p:tav>
                        <p:tav tm="100000">
                          <p:val>
                            <p:strVal val="#ppt_x"/>
                          </p:val>
                        </p:tav>
                      </p:tavLst>
                    </p:anim>
                    <p:anim calcmode="lin" valueType="num">
                      <p:cBhvr additive="base">
                        <p:cTn dur="1000" fill="hold"/>
                        <p:tgtEl>
                          <p:spTgt spid="5"/>
                        </p:tgtEl>
                        <p:attrNameLst>
                          <p:attrName>ppt_y</p:attrName>
                        </p:attrNameLst>
                      </p:cBhvr>
                      <p:tavLst>
                        <p:tav tm="0">
                          <p:val>
                            <p:strVal val="#ppt_y"/>
                          </p:val>
                        </p:tav>
                        <p:tav tm="100000">
                          <p:val>
                            <p:strVal val="#ppt_y"/>
                          </p:val>
                        </p:tav>
                      </p:tavLst>
                    </p:anim>
                  </p:childTnLst>
                </p:cTn>
              </p:par>
            </p:tnLst>
          </p:tmpl>
        </p:tmplLst>
      </p:bldP>
      <p:bldP spid="19" grpId="0"/>
      <p:bldP spid="20" grpId="0"/>
    </p:bld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ING/TEXT/IMAGE 1 big 1 small">
    <p:spTree>
      <p:nvGrpSpPr>
        <p:cNvPr id="1" name=""/>
        <p:cNvGrpSpPr/>
        <p:nvPr/>
      </p:nvGrpSpPr>
      <p:grpSpPr>
        <a:xfrm>
          <a:off x="0" y="0"/>
          <a:ext cx="0" cy="0"/>
          <a:chOff x="0" y="0"/>
          <a:chExt cx="0" cy="0"/>
        </a:xfrm>
      </p:grpSpPr>
      <p:sp>
        <p:nvSpPr>
          <p:cNvPr id="13" name="Freihandform: Form 12">
            <a:extLst>
              <a:ext uri="{FF2B5EF4-FFF2-40B4-BE49-F238E27FC236}">
                <a16:creationId xmlns:a16="http://schemas.microsoft.com/office/drawing/2014/main" id="{50EC640D-C73C-4FD9-AD9A-88EE410704F4}"/>
              </a:ext>
            </a:extLst>
          </p:cNvPr>
          <p:cNvSpPr/>
          <p:nvPr/>
        </p:nvSpPr>
        <p:spPr>
          <a:xfrm rot="10800000">
            <a:off x="0" y="1975611"/>
            <a:ext cx="9829800" cy="4882390"/>
          </a:xfrm>
          <a:custGeom>
            <a:avLst/>
            <a:gdLst>
              <a:gd name="connsiteX0" fmla="*/ 910059 w 9829800"/>
              <a:gd name="connsiteY0" fmla="*/ 0 h 4882390"/>
              <a:gd name="connsiteX1" fmla="*/ 3015085 w 9829800"/>
              <a:gd name="connsiteY1" fmla="*/ 0 h 4882390"/>
              <a:gd name="connsiteX2" fmla="*/ 7981950 w 9829800"/>
              <a:gd name="connsiteY2" fmla="*/ 0 h 4882390"/>
              <a:gd name="connsiteX3" fmla="*/ 9829800 w 9829800"/>
              <a:gd name="connsiteY3" fmla="*/ 0 h 4882390"/>
              <a:gd name="connsiteX4" fmla="*/ 9829800 w 9829800"/>
              <a:gd name="connsiteY4" fmla="*/ 4882390 h 4882390"/>
              <a:gd name="connsiteX5" fmla="*/ 7981950 w 9829800"/>
              <a:gd name="connsiteY5" fmla="*/ 4882390 h 4882390"/>
              <a:gd name="connsiteX6" fmla="*/ 2183098 w 9829800"/>
              <a:gd name="connsiteY6" fmla="*/ 4882390 h 4882390"/>
              <a:gd name="connsiteX7" fmla="*/ 78072 w 9829800"/>
              <a:gd name="connsiteY7" fmla="*/ 4882390 h 4882390"/>
              <a:gd name="connsiteX8" fmla="*/ 0 w 9829800"/>
              <a:gd name="connsiteY8" fmla="*/ 4804318 h 4882390"/>
              <a:gd name="connsiteX9" fmla="*/ 831987 w 9829800"/>
              <a:gd name="connsiteY9" fmla="*/ 78072 h 4882390"/>
              <a:gd name="connsiteX10" fmla="*/ 910059 w 9829800"/>
              <a:gd name="connsiteY10" fmla="*/ 0 h 4882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829800" h="4882390">
                <a:moveTo>
                  <a:pt x="910059" y="0"/>
                </a:moveTo>
                <a:lnTo>
                  <a:pt x="3015085" y="0"/>
                </a:lnTo>
                <a:lnTo>
                  <a:pt x="7981950" y="0"/>
                </a:lnTo>
                <a:lnTo>
                  <a:pt x="9829800" y="0"/>
                </a:lnTo>
                <a:lnTo>
                  <a:pt x="9829800" y="4882390"/>
                </a:lnTo>
                <a:lnTo>
                  <a:pt x="7981950" y="4882390"/>
                </a:lnTo>
                <a:lnTo>
                  <a:pt x="2183098" y="4882390"/>
                </a:lnTo>
                <a:lnTo>
                  <a:pt x="78072" y="4882390"/>
                </a:lnTo>
                <a:cubicBezTo>
                  <a:pt x="34957" y="4882390"/>
                  <a:pt x="0" y="4847433"/>
                  <a:pt x="0" y="4804318"/>
                </a:cubicBezTo>
                <a:lnTo>
                  <a:pt x="831987" y="78072"/>
                </a:lnTo>
                <a:cubicBezTo>
                  <a:pt x="831987" y="34957"/>
                  <a:pt x="866945" y="0"/>
                  <a:pt x="910059" y="0"/>
                </a:cubicBezTo>
                <a:close/>
              </a:path>
            </a:pathLst>
          </a:custGeom>
          <a:gradFill>
            <a:gsLst>
              <a:gs pos="100000">
                <a:schemeClr val="bg1"/>
              </a:gs>
              <a:gs pos="5000">
                <a:srgbClr val="ECF0F4"/>
              </a:gs>
            </a:gsLst>
            <a:lin ang="5400000" scaled="1"/>
          </a:gradFill>
          <a:ln w="11652" cap="flat">
            <a:noFill/>
            <a:prstDash val="solid"/>
            <a:miter/>
          </a:ln>
        </p:spPr>
        <p:txBody>
          <a:bodyPr rtlCol="0" anchor="ctr"/>
          <a:lstStyle/>
          <a:p>
            <a:endParaRPr lang="de-DE"/>
          </a:p>
        </p:txBody>
      </p:sp>
      <p:sp>
        <p:nvSpPr>
          <p:cNvPr id="2" name="Titel 1">
            <a:extLst>
              <a:ext uri="{FF2B5EF4-FFF2-40B4-BE49-F238E27FC236}">
                <a16:creationId xmlns:a16="http://schemas.microsoft.com/office/drawing/2014/main" id="{0526DC72-FA1D-422D-8055-3374742D122B}"/>
              </a:ext>
            </a:extLst>
          </p:cNvPr>
          <p:cNvSpPr>
            <a:spLocks noGrp="1"/>
          </p:cNvSpPr>
          <p:nvPr>
            <p:ph type="title"/>
          </p:nvPr>
        </p:nvSpPr>
        <p:spPr>
          <a:xfrm>
            <a:off x="815952" y="733402"/>
            <a:ext cx="4931999" cy="767737"/>
          </a:xfrm>
        </p:spPr>
        <p:txBody>
          <a:bodyPr/>
          <a:lstStyle>
            <a:lvl1pPr>
              <a:lnSpc>
                <a:spcPct val="100000"/>
              </a:lnSpc>
              <a:defRPr/>
            </a:lvl1pPr>
          </a:lstStyle>
          <a:p>
            <a:r>
              <a:rPr lang="de-DE"/>
              <a:t>Mastertitelformat bearbeiten</a:t>
            </a:r>
          </a:p>
        </p:txBody>
      </p:sp>
      <p:sp>
        <p:nvSpPr>
          <p:cNvPr id="3" name="Foliennummernplatzhalter 2">
            <a:extLst>
              <a:ext uri="{FF2B5EF4-FFF2-40B4-BE49-F238E27FC236}">
                <a16:creationId xmlns:a16="http://schemas.microsoft.com/office/drawing/2014/main" id="{5B327254-466C-4606-8589-BCC72CBDADDF}"/>
              </a:ext>
            </a:extLst>
          </p:cNvPr>
          <p:cNvSpPr>
            <a:spLocks noGrp="1"/>
          </p:cNvSpPr>
          <p:nvPr>
            <p:ph type="sldNum" sz="quarter" idx="10"/>
          </p:nvPr>
        </p:nvSpPr>
        <p:spPr/>
        <p:txBody>
          <a:bodyPr/>
          <a:lstStyle/>
          <a:p>
            <a:fld id="{A04BEB4F-8CE1-4F18-986F-6CE0A0BE9470}" type="slidenum">
              <a:rPr lang="de-DE" smtClean="0"/>
              <a:t>‹#›</a:t>
            </a:fld>
            <a:endParaRPr lang="de-DE"/>
          </a:p>
        </p:txBody>
      </p:sp>
      <p:sp>
        <p:nvSpPr>
          <p:cNvPr id="5" name="Textplatzhalter 9">
            <a:extLst>
              <a:ext uri="{FF2B5EF4-FFF2-40B4-BE49-F238E27FC236}">
                <a16:creationId xmlns:a16="http://schemas.microsoft.com/office/drawing/2014/main" id="{6024922C-391C-46EA-9F1C-F5344AAB64C8}"/>
              </a:ext>
            </a:extLst>
          </p:cNvPr>
          <p:cNvSpPr>
            <a:spLocks noGrp="1"/>
          </p:cNvSpPr>
          <p:nvPr>
            <p:ph type="body" sz="quarter" idx="11"/>
          </p:nvPr>
        </p:nvSpPr>
        <p:spPr>
          <a:xfrm>
            <a:off x="815951" y="1979612"/>
            <a:ext cx="4932000" cy="4338638"/>
          </a:xfrm>
          <a:prstGeom prst="rect">
            <a:avLst/>
          </a:prstGeom>
        </p:spPr>
        <p:txBody>
          <a:bodyPr lIns="0" tIns="0" rIns="0" bIns="0">
            <a:normAutofit/>
          </a:bodyPr>
          <a:lstStyle>
            <a:lvl1pPr>
              <a:defRPr sz="1800"/>
            </a:lvl1pPr>
            <a:lvl2pPr>
              <a:defRPr sz="1800"/>
            </a:lvl2pPr>
            <a:lvl3pPr>
              <a:defRPr sz="1800"/>
            </a:lvl3pPr>
            <a:lvl4pPr>
              <a:defRPr sz="1800"/>
            </a:lvl4pPr>
            <a:lvl5pPr>
              <a:defRPr sz="18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9" name="Bildplatzhalter 18">
            <a:extLst>
              <a:ext uri="{FF2B5EF4-FFF2-40B4-BE49-F238E27FC236}">
                <a16:creationId xmlns:a16="http://schemas.microsoft.com/office/drawing/2014/main" id="{77258955-00DA-42C8-B30E-18F06F9412BA}"/>
              </a:ext>
            </a:extLst>
          </p:cNvPr>
          <p:cNvSpPr>
            <a:spLocks noGrp="1"/>
          </p:cNvSpPr>
          <p:nvPr>
            <p:ph type="pic" sz="quarter" idx="13" hasCustomPrompt="1"/>
          </p:nvPr>
        </p:nvSpPr>
        <p:spPr>
          <a:xfrm>
            <a:off x="6829425" y="4008632"/>
            <a:ext cx="5362575" cy="2848802"/>
          </a:xfrm>
          <a:custGeom>
            <a:avLst/>
            <a:gdLst>
              <a:gd name="connsiteX0" fmla="*/ 541046 w 5260306"/>
              <a:gd name="connsiteY0" fmla="*/ 0 h 2794472"/>
              <a:gd name="connsiteX1" fmla="*/ 5260306 w 5260306"/>
              <a:gd name="connsiteY1" fmla="*/ 0 h 2794472"/>
              <a:gd name="connsiteX2" fmla="*/ 5260306 w 5260306"/>
              <a:gd name="connsiteY2" fmla="*/ 2794472 h 2794472"/>
              <a:gd name="connsiteX3" fmla="*/ 93428 w 5260306"/>
              <a:gd name="connsiteY3" fmla="*/ 2794472 h 2794472"/>
              <a:gd name="connsiteX4" fmla="*/ 0 w 5260306"/>
              <a:gd name="connsiteY4" fmla="*/ 2701044 h 2794472"/>
              <a:gd name="connsiteX5" fmla="*/ 464351 w 5260306"/>
              <a:gd name="connsiteY5" fmla="*/ 65539 h 2794472"/>
              <a:gd name="connsiteX6" fmla="*/ 541046 w 5260306"/>
              <a:gd name="connsiteY6" fmla="*/ 0 h 2794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60306" h="2794472">
                <a:moveTo>
                  <a:pt x="541046" y="0"/>
                </a:moveTo>
                <a:lnTo>
                  <a:pt x="5260306" y="0"/>
                </a:lnTo>
                <a:lnTo>
                  <a:pt x="5260306" y="2794472"/>
                </a:lnTo>
                <a:lnTo>
                  <a:pt x="93428" y="2794472"/>
                </a:lnTo>
                <a:cubicBezTo>
                  <a:pt x="41833" y="2794472"/>
                  <a:pt x="0" y="2752639"/>
                  <a:pt x="0" y="2701044"/>
                </a:cubicBezTo>
                <a:lnTo>
                  <a:pt x="464351" y="65539"/>
                </a:lnTo>
                <a:cubicBezTo>
                  <a:pt x="469929" y="27889"/>
                  <a:pt x="503395" y="0"/>
                  <a:pt x="541046" y="0"/>
                </a:cubicBezTo>
                <a:close/>
              </a:path>
            </a:pathLst>
          </a:custGeom>
        </p:spPr>
        <p:txBody>
          <a:bodyPr wrap="square">
            <a:noAutofit/>
          </a:bodyPr>
          <a:lstStyle>
            <a:lvl1pPr marL="0" marR="0" indent="0" algn="l" defTabSz="1644650" rtl="0" eaLnBrk="0" fontAlgn="base" latinLnBrk="0" hangingPunct="0">
              <a:lnSpc>
                <a:spcPct val="130000"/>
              </a:lnSpc>
              <a:spcBef>
                <a:spcPct val="0"/>
              </a:spcBef>
              <a:spcAft>
                <a:spcPts val="1200"/>
              </a:spcAft>
              <a:buClr>
                <a:srgbClr val="004C99"/>
              </a:buClr>
              <a:buSzPct val="120000"/>
              <a:buFontTx/>
              <a:buNone/>
              <a:defRPr/>
            </a:lvl1pPr>
          </a:lstStyle>
          <a:p>
            <a:pPr marL="896938" marR="0" lvl="1" indent="-266700" algn="l" defTabSz="1644650" rtl="0" eaLnBrk="0" fontAlgn="base" latinLnBrk="0" hangingPunct="0">
              <a:lnSpc>
                <a:spcPct val="130000"/>
              </a:lnSpc>
              <a:spcBef>
                <a:spcPct val="0"/>
              </a:spcBef>
              <a:spcAft>
                <a:spcPts val="1200"/>
              </a:spcAft>
              <a:buClr>
                <a:srgbClr val="004C99"/>
              </a:buClr>
              <a:buSzPct val="120000"/>
              <a:buFontTx/>
              <a:buBlip>
                <a:blip r:embed="rId2"/>
              </a:buBlip>
              <a:defRPr/>
            </a:pPr>
            <a:r>
              <a:rPr lang="de-DE"/>
              <a:t>Please insert image</a:t>
            </a:r>
          </a:p>
          <a:p>
            <a:endParaRPr lang="de-DE"/>
          </a:p>
        </p:txBody>
      </p:sp>
      <p:sp>
        <p:nvSpPr>
          <p:cNvPr id="20" name="Bildplatzhalter 19">
            <a:extLst>
              <a:ext uri="{FF2B5EF4-FFF2-40B4-BE49-F238E27FC236}">
                <a16:creationId xmlns:a16="http://schemas.microsoft.com/office/drawing/2014/main" id="{77C1DD81-6416-4666-94E0-96C26901803C}"/>
              </a:ext>
            </a:extLst>
          </p:cNvPr>
          <p:cNvSpPr>
            <a:spLocks noGrp="1"/>
          </p:cNvSpPr>
          <p:nvPr>
            <p:ph type="pic" sz="quarter" idx="14" hasCustomPrompt="1"/>
          </p:nvPr>
        </p:nvSpPr>
        <p:spPr>
          <a:xfrm>
            <a:off x="6025883" y="-19877"/>
            <a:ext cx="6166119" cy="3648902"/>
          </a:xfrm>
          <a:custGeom>
            <a:avLst/>
            <a:gdLst>
              <a:gd name="connsiteX0" fmla="*/ 553370 w 4724613"/>
              <a:gd name="connsiteY0" fmla="*/ 0 h 2795867"/>
              <a:gd name="connsiteX1" fmla="*/ 4724613 w 4724613"/>
              <a:gd name="connsiteY1" fmla="*/ 0 h 2795867"/>
              <a:gd name="connsiteX2" fmla="*/ 4724613 w 4724613"/>
              <a:gd name="connsiteY2" fmla="*/ 2795867 h 2795867"/>
              <a:gd name="connsiteX3" fmla="*/ 79258 w 4724613"/>
              <a:gd name="connsiteY3" fmla="*/ 2795867 h 2795867"/>
              <a:gd name="connsiteX4" fmla="*/ 1169 w 4724613"/>
              <a:gd name="connsiteY4" fmla="*/ 2702439 h 2795867"/>
              <a:gd name="connsiteX5" fmla="*/ 459942 w 4724613"/>
              <a:gd name="connsiteY5" fmla="*/ 93428 h 2795867"/>
              <a:gd name="connsiteX6" fmla="*/ 553370 w 4724613"/>
              <a:gd name="connsiteY6" fmla="*/ 0 h 2795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24613" h="2795867">
                <a:moveTo>
                  <a:pt x="553370" y="0"/>
                </a:moveTo>
                <a:lnTo>
                  <a:pt x="4724613" y="0"/>
                </a:lnTo>
                <a:lnTo>
                  <a:pt x="4724613" y="2795867"/>
                </a:lnTo>
                <a:lnTo>
                  <a:pt x="79258" y="2795867"/>
                </a:lnTo>
                <a:cubicBezTo>
                  <a:pt x="30452" y="2795867"/>
                  <a:pt x="-7198" y="2751245"/>
                  <a:pt x="1169" y="2702439"/>
                </a:cubicBezTo>
                <a:lnTo>
                  <a:pt x="459942" y="93428"/>
                </a:lnTo>
                <a:cubicBezTo>
                  <a:pt x="459942" y="41833"/>
                  <a:pt x="501775" y="0"/>
                  <a:pt x="553370" y="0"/>
                </a:cubicBezTo>
                <a:close/>
              </a:path>
            </a:pathLst>
          </a:custGeom>
        </p:spPr>
        <p:txBody>
          <a:bodyPr wrap="square">
            <a:noAutofit/>
          </a:bodyPr>
          <a:lstStyle>
            <a:lvl1pPr marL="285750" marR="0" indent="-285750" algn="l" defTabSz="1644650" rtl="0" eaLnBrk="0" fontAlgn="base" latinLnBrk="0" hangingPunct="0">
              <a:lnSpc>
                <a:spcPct val="130000"/>
              </a:lnSpc>
              <a:spcBef>
                <a:spcPct val="0"/>
              </a:spcBef>
              <a:spcAft>
                <a:spcPts val="1200"/>
              </a:spcAft>
              <a:buClr>
                <a:srgbClr val="004C99"/>
              </a:buClr>
              <a:buSzPct val="120000"/>
              <a:defRPr/>
            </a:lvl1pPr>
          </a:lstStyle>
          <a:p>
            <a:pPr marL="990600" marR="0" lvl="2" indent="-285750" algn="l" defTabSz="1644650" rtl="0" eaLnBrk="0" fontAlgn="base" latinLnBrk="0" hangingPunct="0">
              <a:lnSpc>
                <a:spcPct val="130000"/>
              </a:lnSpc>
              <a:spcBef>
                <a:spcPct val="0"/>
              </a:spcBef>
              <a:spcAft>
                <a:spcPts val="1200"/>
              </a:spcAft>
              <a:buClr>
                <a:srgbClr val="004C99"/>
              </a:buClr>
              <a:buSzPct val="120000"/>
              <a:defRPr/>
            </a:pPr>
            <a:r>
              <a:rPr lang="de-DE"/>
              <a:t>Please insert image</a:t>
            </a:r>
          </a:p>
        </p:txBody>
      </p:sp>
    </p:spTree>
    <p:extLst>
      <p:ext uri="{BB962C8B-B14F-4D97-AF65-F5344CB8AC3E}">
        <p14:creationId xmlns:p14="http://schemas.microsoft.com/office/powerpoint/2010/main" val="4269074289"/>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8" dur="1000" decel="10000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0-#ppt_w/2"/>
                                          </p:val>
                                        </p:tav>
                                        <p:tav tm="100000">
                                          <p:val>
                                            <p:strVal val="#ppt_x"/>
                                          </p:val>
                                        </p:tav>
                                      </p:tavLst>
                                    </p:anim>
                                    <p:anim calcmode="lin" valueType="num">
                                      <p:cBhvr additive="base">
                                        <p:cTn id="8" dur="1000" fill="hold"/>
                                        <p:tgtEl>
                                          <p:spTgt spid="2"/>
                                        </p:tgtEl>
                                        <p:attrNameLst>
                                          <p:attrName>ppt_y</p:attrName>
                                        </p:attrNameLst>
                                      </p:cBhvr>
                                      <p:tavLst>
                                        <p:tav tm="0">
                                          <p:val>
                                            <p:strVal val="#ppt_y"/>
                                          </p:val>
                                        </p:tav>
                                        <p:tav tm="100000">
                                          <p:val>
                                            <p:strVal val="#ppt_y"/>
                                          </p:val>
                                        </p:tav>
                                      </p:tavLst>
                                    </p:anim>
                                  </p:childTnLst>
                                </p:cTn>
                              </p:par>
                              <p:par>
                                <p:cTn id="9" presetID="2" presetClass="entr" presetSubtype="8" dur="1000" decel="100000" fill="hold" grpId="0" nodeType="withEffect">
                                  <p:stCondLst>
                                    <p:cond delay="25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1000" fill="hold"/>
                                        <p:tgtEl>
                                          <p:spTgt spid="5"/>
                                        </p:tgtEl>
                                        <p:attrNameLst>
                                          <p:attrName>ppt_x</p:attrName>
                                        </p:attrNameLst>
                                      </p:cBhvr>
                                      <p:tavLst>
                                        <p:tav tm="0">
                                          <p:val>
                                            <p:strVal val="0-#ppt_w/2"/>
                                          </p:val>
                                        </p:tav>
                                        <p:tav tm="100000">
                                          <p:val>
                                            <p:strVal val="#ppt_x"/>
                                          </p:val>
                                        </p:tav>
                                      </p:tavLst>
                                    </p:anim>
                                    <p:anim calcmode="lin" valueType="num">
                                      <p:cBhvr additive="base">
                                        <p:cTn id="12" dur="1000" fill="hold"/>
                                        <p:tgtEl>
                                          <p:spTgt spid="5"/>
                                        </p:tgtEl>
                                        <p:attrNameLst>
                                          <p:attrName>ppt_y</p:attrName>
                                        </p:attrNameLst>
                                      </p:cBhvr>
                                      <p:tavLst>
                                        <p:tav tm="0">
                                          <p:val>
                                            <p:strVal val="#ppt_y"/>
                                          </p:val>
                                        </p:tav>
                                        <p:tav tm="100000">
                                          <p:val>
                                            <p:strVal val="#ppt_y"/>
                                          </p:val>
                                        </p:tav>
                                      </p:tavLst>
                                    </p:anim>
                                  </p:childTnLst>
                                </p:cTn>
                              </p:par>
                              <p:par>
                                <p:cTn id="13" presetID="2" presetClass="entr" presetSubtype="2" dur="1000" decel="100000" fill="hold" grpId="0" nodeType="withEffect">
                                  <p:stCondLst>
                                    <p:cond delay="500"/>
                                  </p:stCondLst>
                                  <p:childTnLst>
                                    <p:set>
                                      <p:cBhvr>
                                        <p:cTn id="14" dur="1" fill="hold">
                                          <p:stCondLst>
                                            <p:cond delay="0"/>
                                          </p:stCondLst>
                                        </p:cTn>
                                        <p:tgtEl>
                                          <p:spTgt spid="20"/>
                                        </p:tgtEl>
                                        <p:attrNameLst>
                                          <p:attrName>style.visibility</p:attrName>
                                        </p:attrNameLst>
                                      </p:cBhvr>
                                      <p:to>
                                        <p:strVal val="visible"/>
                                      </p:to>
                                    </p:set>
                                    <p:anim calcmode="lin" valueType="num">
                                      <p:cBhvr additive="base">
                                        <p:cTn id="15" dur="1000" fill="hold"/>
                                        <p:tgtEl>
                                          <p:spTgt spid="20"/>
                                        </p:tgtEl>
                                        <p:attrNameLst>
                                          <p:attrName>ppt_x</p:attrName>
                                        </p:attrNameLst>
                                      </p:cBhvr>
                                      <p:tavLst>
                                        <p:tav tm="0">
                                          <p:val>
                                            <p:strVal val="1+#ppt_w/2"/>
                                          </p:val>
                                        </p:tav>
                                        <p:tav tm="100000">
                                          <p:val>
                                            <p:strVal val="#ppt_x"/>
                                          </p:val>
                                        </p:tav>
                                      </p:tavLst>
                                    </p:anim>
                                    <p:anim calcmode="lin" valueType="num">
                                      <p:cBhvr additive="base">
                                        <p:cTn id="16" dur="1000" fill="hold"/>
                                        <p:tgtEl>
                                          <p:spTgt spid="20"/>
                                        </p:tgtEl>
                                        <p:attrNameLst>
                                          <p:attrName>ppt_y</p:attrName>
                                        </p:attrNameLst>
                                      </p:cBhvr>
                                      <p:tavLst>
                                        <p:tav tm="0">
                                          <p:val>
                                            <p:strVal val="#ppt_y"/>
                                          </p:val>
                                        </p:tav>
                                        <p:tav tm="100000">
                                          <p:val>
                                            <p:strVal val="#ppt_y"/>
                                          </p:val>
                                        </p:tav>
                                      </p:tavLst>
                                    </p:anim>
                                  </p:childTnLst>
                                </p:cTn>
                              </p:par>
                              <p:par>
                                <p:cTn id="17" presetID="2" presetClass="entr" presetSubtype="2" dur="1000" decel="100000" fill="hold" grpId="0" nodeType="withEffect">
                                  <p:stCondLst>
                                    <p:cond delay="750"/>
                                  </p:stCondLst>
                                  <p:childTnLst>
                                    <p:set>
                                      <p:cBhvr>
                                        <p:cTn id="18" dur="1" fill="hold">
                                          <p:stCondLst>
                                            <p:cond delay="0"/>
                                          </p:stCondLst>
                                        </p:cTn>
                                        <p:tgtEl>
                                          <p:spTgt spid="19"/>
                                        </p:tgtEl>
                                        <p:attrNameLst>
                                          <p:attrName>style.visibility</p:attrName>
                                        </p:attrNameLst>
                                      </p:cBhvr>
                                      <p:to>
                                        <p:strVal val="visible"/>
                                      </p:to>
                                    </p:set>
                                    <p:anim calcmode="lin" valueType="num">
                                      <p:cBhvr additive="base">
                                        <p:cTn id="19" dur="1000" fill="hold"/>
                                        <p:tgtEl>
                                          <p:spTgt spid="19"/>
                                        </p:tgtEl>
                                        <p:attrNameLst>
                                          <p:attrName>ppt_x</p:attrName>
                                        </p:attrNameLst>
                                      </p:cBhvr>
                                      <p:tavLst>
                                        <p:tav tm="0">
                                          <p:val>
                                            <p:strVal val="1+#ppt_w/2"/>
                                          </p:val>
                                        </p:tav>
                                        <p:tav tm="100000">
                                          <p:val>
                                            <p:strVal val="#ppt_x"/>
                                          </p:val>
                                        </p:tav>
                                      </p:tavLst>
                                    </p:anim>
                                    <p:anim calcmode="lin" valueType="num">
                                      <p:cBhvr additive="base">
                                        <p:cTn id="20" dur="1000" fill="hold"/>
                                        <p:tgtEl>
                                          <p:spTgt spid="1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2" presetClass="entr" presetSubtype="8" decel="100000" fill="hold" nodeType="withEffect">
                  <p:stCondLst>
                    <p:cond delay="250"/>
                  </p:stCondLst>
                  <p:childTnLst>
                    <p:set>
                      <p:cBhvr>
                        <p:cTn dur="1" fill="hold">
                          <p:stCondLst>
                            <p:cond delay="0"/>
                          </p:stCondLst>
                        </p:cTn>
                        <p:tgtEl>
                          <p:spTgt spid="5"/>
                        </p:tgtEl>
                        <p:attrNameLst>
                          <p:attrName>style.visibility</p:attrName>
                        </p:attrNameLst>
                      </p:cBhvr>
                      <p:to>
                        <p:strVal val="visible"/>
                      </p:to>
                    </p:set>
                    <p:anim calcmode="lin" valueType="num">
                      <p:cBhvr additive="base">
                        <p:cTn dur="1000" fill="hold"/>
                        <p:tgtEl>
                          <p:spTgt spid="5"/>
                        </p:tgtEl>
                        <p:attrNameLst>
                          <p:attrName>ppt_x</p:attrName>
                        </p:attrNameLst>
                      </p:cBhvr>
                      <p:tavLst>
                        <p:tav tm="0">
                          <p:val>
                            <p:strVal val="0-#ppt_w/2"/>
                          </p:val>
                        </p:tav>
                        <p:tav tm="100000">
                          <p:val>
                            <p:strVal val="#ppt_x"/>
                          </p:val>
                        </p:tav>
                      </p:tavLst>
                    </p:anim>
                    <p:anim calcmode="lin" valueType="num">
                      <p:cBhvr additive="base">
                        <p:cTn dur="1000" fill="hold"/>
                        <p:tgtEl>
                          <p:spTgt spid="5"/>
                        </p:tgtEl>
                        <p:attrNameLst>
                          <p:attrName>ppt_y</p:attrName>
                        </p:attrNameLst>
                      </p:cBhvr>
                      <p:tavLst>
                        <p:tav tm="0">
                          <p:val>
                            <p:strVal val="#ppt_y"/>
                          </p:val>
                        </p:tav>
                        <p:tav tm="100000">
                          <p:val>
                            <p:strVal val="#ppt_y"/>
                          </p:val>
                        </p:tav>
                      </p:tavLst>
                    </p:anim>
                  </p:childTnLst>
                </p:cTn>
              </p:par>
            </p:tnLst>
          </p:tmpl>
        </p:tmplLst>
      </p:bldP>
      <p:bldP spid="19" grpId="0"/>
      <p:bldP spid="20" grpId="0"/>
    </p:bld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HEADING/TEXT/IMAGE 1 below">
    <p:spTree>
      <p:nvGrpSpPr>
        <p:cNvPr id="1" name=""/>
        <p:cNvGrpSpPr/>
        <p:nvPr/>
      </p:nvGrpSpPr>
      <p:grpSpPr>
        <a:xfrm>
          <a:off x="0" y="0"/>
          <a:ext cx="0" cy="0"/>
          <a:chOff x="0" y="0"/>
          <a:chExt cx="0" cy="0"/>
        </a:xfrm>
      </p:grpSpPr>
      <p:sp>
        <p:nvSpPr>
          <p:cNvPr id="12" name="Freihandform: Form 11">
            <a:extLst>
              <a:ext uri="{FF2B5EF4-FFF2-40B4-BE49-F238E27FC236}">
                <a16:creationId xmlns:a16="http://schemas.microsoft.com/office/drawing/2014/main" id="{BC6B8E40-6DD9-454D-B6D5-4533D14E1817}"/>
              </a:ext>
            </a:extLst>
          </p:cNvPr>
          <p:cNvSpPr/>
          <p:nvPr userDrawn="1"/>
        </p:nvSpPr>
        <p:spPr>
          <a:xfrm>
            <a:off x="2362200" y="1975611"/>
            <a:ext cx="9829800" cy="4882390"/>
          </a:xfrm>
          <a:custGeom>
            <a:avLst/>
            <a:gdLst>
              <a:gd name="connsiteX0" fmla="*/ 910059 w 9829800"/>
              <a:gd name="connsiteY0" fmla="*/ 0 h 4882390"/>
              <a:gd name="connsiteX1" fmla="*/ 3015085 w 9829800"/>
              <a:gd name="connsiteY1" fmla="*/ 0 h 4882390"/>
              <a:gd name="connsiteX2" fmla="*/ 7981950 w 9829800"/>
              <a:gd name="connsiteY2" fmla="*/ 0 h 4882390"/>
              <a:gd name="connsiteX3" fmla="*/ 9829800 w 9829800"/>
              <a:gd name="connsiteY3" fmla="*/ 0 h 4882390"/>
              <a:gd name="connsiteX4" fmla="*/ 9829800 w 9829800"/>
              <a:gd name="connsiteY4" fmla="*/ 4882390 h 4882390"/>
              <a:gd name="connsiteX5" fmla="*/ 7981950 w 9829800"/>
              <a:gd name="connsiteY5" fmla="*/ 4882390 h 4882390"/>
              <a:gd name="connsiteX6" fmla="*/ 2183098 w 9829800"/>
              <a:gd name="connsiteY6" fmla="*/ 4882390 h 4882390"/>
              <a:gd name="connsiteX7" fmla="*/ 78072 w 9829800"/>
              <a:gd name="connsiteY7" fmla="*/ 4882390 h 4882390"/>
              <a:gd name="connsiteX8" fmla="*/ 0 w 9829800"/>
              <a:gd name="connsiteY8" fmla="*/ 4804318 h 4882390"/>
              <a:gd name="connsiteX9" fmla="*/ 831987 w 9829800"/>
              <a:gd name="connsiteY9" fmla="*/ 78072 h 4882390"/>
              <a:gd name="connsiteX10" fmla="*/ 910059 w 9829800"/>
              <a:gd name="connsiteY10" fmla="*/ 0 h 4882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829800" h="4882390">
                <a:moveTo>
                  <a:pt x="910059" y="0"/>
                </a:moveTo>
                <a:lnTo>
                  <a:pt x="3015085" y="0"/>
                </a:lnTo>
                <a:lnTo>
                  <a:pt x="7981950" y="0"/>
                </a:lnTo>
                <a:lnTo>
                  <a:pt x="9829800" y="0"/>
                </a:lnTo>
                <a:lnTo>
                  <a:pt x="9829800" y="4882390"/>
                </a:lnTo>
                <a:lnTo>
                  <a:pt x="7981950" y="4882390"/>
                </a:lnTo>
                <a:lnTo>
                  <a:pt x="2183098" y="4882390"/>
                </a:lnTo>
                <a:lnTo>
                  <a:pt x="78072" y="4882390"/>
                </a:lnTo>
                <a:cubicBezTo>
                  <a:pt x="34957" y="4882390"/>
                  <a:pt x="0" y="4847433"/>
                  <a:pt x="0" y="4804318"/>
                </a:cubicBezTo>
                <a:lnTo>
                  <a:pt x="831987" y="78072"/>
                </a:lnTo>
                <a:cubicBezTo>
                  <a:pt x="831987" y="34957"/>
                  <a:pt x="866945" y="0"/>
                  <a:pt x="910059" y="0"/>
                </a:cubicBezTo>
                <a:close/>
              </a:path>
            </a:pathLst>
          </a:custGeom>
          <a:gradFill>
            <a:gsLst>
              <a:gs pos="0">
                <a:schemeClr val="bg1"/>
              </a:gs>
              <a:gs pos="95000">
                <a:srgbClr val="ECF0F4"/>
              </a:gs>
            </a:gsLst>
            <a:lin ang="5400000" scaled="1"/>
          </a:gradFill>
          <a:ln w="11652" cap="flat">
            <a:noFill/>
            <a:prstDash val="solid"/>
            <a:miter/>
          </a:ln>
        </p:spPr>
        <p:txBody>
          <a:bodyPr rtlCol="0" anchor="ctr"/>
          <a:lstStyle/>
          <a:p>
            <a:endParaRPr lang="de-DE"/>
          </a:p>
        </p:txBody>
      </p:sp>
      <p:sp>
        <p:nvSpPr>
          <p:cNvPr id="2" name="Titel 1">
            <a:extLst>
              <a:ext uri="{FF2B5EF4-FFF2-40B4-BE49-F238E27FC236}">
                <a16:creationId xmlns:a16="http://schemas.microsoft.com/office/drawing/2014/main" id="{0526DC72-FA1D-422D-8055-3374742D122B}"/>
              </a:ext>
            </a:extLst>
          </p:cNvPr>
          <p:cNvSpPr>
            <a:spLocks noGrp="1"/>
          </p:cNvSpPr>
          <p:nvPr>
            <p:ph type="title"/>
          </p:nvPr>
        </p:nvSpPr>
        <p:spPr/>
        <p:txBody>
          <a:bodyPr/>
          <a:lstStyle>
            <a:lvl1pPr>
              <a:lnSpc>
                <a:spcPct val="100000"/>
              </a:lnSpc>
              <a:defRPr/>
            </a:lvl1pPr>
          </a:lstStyle>
          <a:p>
            <a:r>
              <a:rPr lang="de-DE"/>
              <a:t>Mastertitelformat bearbeiten</a:t>
            </a:r>
          </a:p>
        </p:txBody>
      </p:sp>
      <p:sp>
        <p:nvSpPr>
          <p:cNvPr id="3" name="Foliennummernplatzhalter 2">
            <a:extLst>
              <a:ext uri="{FF2B5EF4-FFF2-40B4-BE49-F238E27FC236}">
                <a16:creationId xmlns:a16="http://schemas.microsoft.com/office/drawing/2014/main" id="{5B327254-466C-4606-8589-BCC72CBDADDF}"/>
              </a:ext>
            </a:extLst>
          </p:cNvPr>
          <p:cNvSpPr>
            <a:spLocks noGrp="1"/>
          </p:cNvSpPr>
          <p:nvPr>
            <p:ph type="sldNum" sz="quarter" idx="10"/>
          </p:nvPr>
        </p:nvSpPr>
        <p:spPr/>
        <p:txBody>
          <a:bodyPr/>
          <a:lstStyle/>
          <a:p>
            <a:fld id="{A04BEB4F-8CE1-4F18-986F-6CE0A0BE9470}" type="slidenum">
              <a:rPr lang="de-DE" smtClean="0"/>
              <a:t>‹#›</a:t>
            </a:fld>
            <a:endParaRPr lang="de-DE"/>
          </a:p>
        </p:txBody>
      </p:sp>
      <p:sp>
        <p:nvSpPr>
          <p:cNvPr id="5" name="Textplatzhalter 9">
            <a:extLst>
              <a:ext uri="{FF2B5EF4-FFF2-40B4-BE49-F238E27FC236}">
                <a16:creationId xmlns:a16="http://schemas.microsoft.com/office/drawing/2014/main" id="{6024922C-391C-46EA-9F1C-F5344AAB64C8}"/>
              </a:ext>
            </a:extLst>
          </p:cNvPr>
          <p:cNvSpPr>
            <a:spLocks noGrp="1"/>
          </p:cNvSpPr>
          <p:nvPr>
            <p:ph type="body" sz="quarter" idx="11"/>
          </p:nvPr>
        </p:nvSpPr>
        <p:spPr>
          <a:xfrm>
            <a:off x="815951" y="1979612"/>
            <a:ext cx="10560096" cy="1440000"/>
          </a:xfrm>
          <a:prstGeom prst="rect">
            <a:avLst/>
          </a:prstGeom>
        </p:spPr>
        <p:txBody>
          <a:bodyPr lIns="0" tIns="0" rIns="0" bIns="0">
            <a:normAutofit/>
          </a:bodyPr>
          <a:lstStyle>
            <a:lvl1pPr>
              <a:defRPr sz="1800"/>
            </a:lvl1pPr>
            <a:lvl2pPr>
              <a:defRPr sz="1800"/>
            </a:lvl2pPr>
            <a:lvl3pPr>
              <a:defRPr sz="1800"/>
            </a:lvl3pPr>
            <a:lvl4pPr>
              <a:defRPr sz="1800"/>
            </a:lvl4pPr>
            <a:lvl5pPr>
              <a:defRPr sz="18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5" name="Bildplatzhalter 14">
            <a:extLst>
              <a:ext uri="{FF2B5EF4-FFF2-40B4-BE49-F238E27FC236}">
                <a16:creationId xmlns:a16="http://schemas.microsoft.com/office/drawing/2014/main" id="{35D9FA2A-499B-4596-BC4B-A7387A801021}"/>
              </a:ext>
            </a:extLst>
          </p:cNvPr>
          <p:cNvSpPr>
            <a:spLocks noGrp="1"/>
          </p:cNvSpPr>
          <p:nvPr>
            <p:ph type="pic" sz="quarter" idx="12" hasCustomPrompt="1"/>
          </p:nvPr>
        </p:nvSpPr>
        <p:spPr>
          <a:xfrm>
            <a:off x="-2" y="3779612"/>
            <a:ext cx="9815514" cy="3078387"/>
          </a:xfrm>
          <a:custGeom>
            <a:avLst/>
            <a:gdLst>
              <a:gd name="connsiteX0" fmla="*/ 0 w 9815514"/>
              <a:gd name="connsiteY0" fmla="*/ 0 h 3078387"/>
              <a:gd name="connsiteX1" fmla="*/ 9706713 w 9815514"/>
              <a:gd name="connsiteY1" fmla="*/ 0 h 3078387"/>
              <a:gd name="connsiteX2" fmla="*/ 9815514 w 9815514"/>
              <a:gd name="connsiteY2" fmla="*/ 113675 h 3078387"/>
              <a:gd name="connsiteX3" fmla="*/ 9315995 w 9815514"/>
              <a:gd name="connsiteY3" fmla="*/ 3078387 h 3078387"/>
              <a:gd name="connsiteX4" fmla="*/ 0 w 9815514"/>
              <a:gd name="connsiteY4" fmla="*/ 3078387 h 3078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15514" h="3078387">
                <a:moveTo>
                  <a:pt x="0" y="0"/>
                </a:moveTo>
                <a:lnTo>
                  <a:pt x="9706713" y="0"/>
                </a:lnTo>
                <a:cubicBezTo>
                  <a:pt x="9766797" y="0"/>
                  <a:pt x="9815514" y="50899"/>
                  <a:pt x="9815514" y="113675"/>
                </a:cubicBezTo>
                <a:lnTo>
                  <a:pt x="9315995" y="3078387"/>
                </a:lnTo>
                <a:lnTo>
                  <a:pt x="0" y="3078387"/>
                </a:lnTo>
                <a:close/>
              </a:path>
            </a:pathLst>
          </a:custGeom>
          <a:noFill/>
          <a:effectLst>
            <a:outerShdw blurRad="190500" dist="127000" dir="2700000" algn="tl" rotWithShape="0">
              <a:prstClr val="black">
                <a:alpha val="10000"/>
              </a:prstClr>
            </a:outerShdw>
          </a:effectLst>
        </p:spPr>
        <p:txBody>
          <a:bodyPr wrap="square">
            <a:noAutofit/>
          </a:bodyPr>
          <a:lstStyle>
            <a:lvl1pPr marL="0" marR="0" indent="0" algn="l" defTabSz="1644650" rtl="0" eaLnBrk="0" fontAlgn="base" latinLnBrk="0" hangingPunct="0">
              <a:lnSpc>
                <a:spcPct val="130000"/>
              </a:lnSpc>
              <a:spcBef>
                <a:spcPct val="0"/>
              </a:spcBef>
              <a:spcAft>
                <a:spcPts val="1200"/>
              </a:spcAft>
              <a:buClr>
                <a:srgbClr val="004C99"/>
              </a:buClr>
              <a:buSzPct val="120000"/>
              <a:buFontTx/>
              <a:buNone/>
              <a:defRPr/>
            </a:lvl1pPr>
          </a:lstStyle>
          <a:p>
            <a:pPr marL="266700" marR="0" lvl="0" indent="-266700" algn="l" defTabSz="1644650" rtl="0" eaLnBrk="0" fontAlgn="base" latinLnBrk="0" hangingPunct="0">
              <a:lnSpc>
                <a:spcPct val="130000"/>
              </a:lnSpc>
              <a:spcBef>
                <a:spcPct val="0"/>
              </a:spcBef>
              <a:spcAft>
                <a:spcPts val="1200"/>
              </a:spcAft>
              <a:buClr>
                <a:srgbClr val="004C99"/>
              </a:buClr>
              <a:buSzPct val="120000"/>
              <a:buFontTx/>
              <a:buBlip>
                <a:blip r:embed="rId2"/>
              </a:buBlip>
              <a:defRPr/>
            </a:pPr>
            <a:r>
              <a:rPr lang="de-DE"/>
              <a:t>Please insert image</a:t>
            </a:r>
          </a:p>
          <a:p>
            <a:endParaRPr lang="de-DE"/>
          </a:p>
        </p:txBody>
      </p:sp>
    </p:spTree>
    <p:extLst>
      <p:ext uri="{BB962C8B-B14F-4D97-AF65-F5344CB8AC3E}">
        <p14:creationId xmlns:p14="http://schemas.microsoft.com/office/powerpoint/2010/main" val="4185962425"/>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8" dur="1000" decel="10000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0-#ppt_w/2"/>
                                          </p:val>
                                        </p:tav>
                                        <p:tav tm="100000">
                                          <p:val>
                                            <p:strVal val="#ppt_x"/>
                                          </p:val>
                                        </p:tav>
                                      </p:tavLst>
                                    </p:anim>
                                    <p:anim calcmode="lin" valueType="num">
                                      <p:cBhvr additive="base">
                                        <p:cTn id="8" dur="1000" fill="hold"/>
                                        <p:tgtEl>
                                          <p:spTgt spid="2"/>
                                        </p:tgtEl>
                                        <p:attrNameLst>
                                          <p:attrName>ppt_y</p:attrName>
                                        </p:attrNameLst>
                                      </p:cBhvr>
                                      <p:tavLst>
                                        <p:tav tm="0">
                                          <p:val>
                                            <p:strVal val="#ppt_y"/>
                                          </p:val>
                                        </p:tav>
                                        <p:tav tm="100000">
                                          <p:val>
                                            <p:strVal val="#ppt_y"/>
                                          </p:val>
                                        </p:tav>
                                      </p:tavLst>
                                    </p:anim>
                                  </p:childTnLst>
                                </p:cTn>
                              </p:par>
                              <p:par>
                                <p:cTn id="9" presetID="2" presetClass="entr" presetSubtype="8" dur="1000" decel="100000" fill="hold" grpId="0" nodeType="withEffect">
                                  <p:stCondLst>
                                    <p:cond delay="25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1000" fill="hold"/>
                                        <p:tgtEl>
                                          <p:spTgt spid="5"/>
                                        </p:tgtEl>
                                        <p:attrNameLst>
                                          <p:attrName>ppt_x</p:attrName>
                                        </p:attrNameLst>
                                      </p:cBhvr>
                                      <p:tavLst>
                                        <p:tav tm="0">
                                          <p:val>
                                            <p:strVal val="0-#ppt_w/2"/>
                                          </p:val>
                                        </p:tav>
                                        <p:tav tm="100000">
                                          <p:val>
                                            <p:strVal val="#ppt_x"/>
                                          </p:val>
                                        </p:tav>
                                      </p:tavLst>
                                    </p:anim>
                                    <p:anim calcmode="lin" valueType="num">
                                      <p:cBhvr additive="base">
                                        <p:cTn id="12" dur="1000" fill="hold"/>
                                        <p:tgtEl>
                                          <p:spTgt spid="5"/>
                                        </p:tgtEl>
                                        <p:attrNameLst>
                                          <p:attrName>ppt_y</p:attrName>
                                        </p:attrNameLst>
                                      </p:cBhvr>
                                      <p:tavLst>
                                        <p:tav tm="0">
                                          <p:val>
                                            <p:strVal val="#ppt_y"/>
                                          </p:val>
                                        </p:tav>
                                        <p:tav tm="100000">
                                          <p:val>
                                            <p:strVal val="#ppt_y"/>
                                          </p:val>
                                        </p:tav>
                                      </p:tavLst>
                                    </p:anim>
                                  </p:childTnLst>
                                </p:cTn>
                              </p:par>
                              <p:par>
                                <p:cTn id="13" presetID="2" presetClass="entr" presetSubtype="8" dur="1000" decel="100000" fill="hold" grpId="0" nodeType="withEffect">
                                  <p:stCondLst>
                                    <p:cond delay="500"/>
                                  </p:stCondLst>
                                  <p:childTnLst>
                                    <p:set>
                                      <p:cBhvr>
                                        <p:cTn id="14" dur="1" fill="hold">
                                          <p:stCondLst>
                                            <p:cond delay="0"/>
                                          </p:stCondLst>
                                        </p:cTn>
                                        <p:tgtEl>
                                          <p:spTgt spid="15"/>
                                        </p:tgtEl>
                                        <p:attrNameLst>
                                          <p:attrName>style.visibility</p:attrName>
                                        </p:attrNameLst>
                                      </p:cBhvr>
                                      <p:to>
                                        <p:strVal val="visible"/>
                                      </p:to>
                                    </p:set>
                                    <p:anim calcmode="lin" valueType="num">
                                      <p:cBhvr additive="base">
                                        <p:cTn id="15" dur="1000" fill="hold"/>
                                        <p:tgtEl>
                                          <p:spTgt spid="15"/>
                                        </p:tgtEl>
                                        <p:attrNameLst>
                                          <p:attrName>ppt_x</p:attrName>
                                        </p:attrNameLst>
                                      </p:cBhvr>
                                      <p:tavLst>
                                        <p:tav tm="0">
                                          <p:val>
                                            <p:strVal val="0-#ppt_w/2"/>
                                          </p:val>
                                        </p:tav>
                                        <p:tav tm="100000">
                                          <p:val>
                                            <p:strVal val="#ppt_x"/>
                                          </p:val>
                                        </p:tav>
                                      </p:tavLst>
                                    </p:anim>
                                    <p:anim calcmode="lin" valueType="num">
                                      <p:cBhvr additive="base">
                                        <p:cTn id="16" dur="1000" fill="hold"/>
                                        <p:tgtEl>
                                          <p:spTgt spid="1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2" presetClass="entr" presetSubtype="8" decel="100000" fill="hold" nodeType="withEffect">
                  <p:stCondLst>
                    <p:cond delay="250"/>
                  </p:stCondLst>
                  <p:childTnLst>
                    <p:set>
                      <p:cBhvr>
                        <p:cTn dur="1" fill="hold">
                          <p:stCondLst>
                            <p:cond delay="0"/>
                          </p:stCondLst>
                        </p:cTn>
                        <p:tgtEl>
                          <p:spTgt spid="5"/>
                        </p:tgtEl>
                        <p:attrNameLst>
                          <p:attrName>style.visibility</p:attrName>
                        </p:attrNameLst>
                      </p:cBhvr>
                      <p:to>
                        <p:strVal val="visible"/>
                      </p:to>
                    </p:set>
                    <p:anim calcmode="lin" valueType="num">
                      <p:cBhvr additive="base">
                        <p:cTn dur="1000" fill="hold"/>
                        <p:tgtEl>
                          <p:spTgt spid="5"/>
                        </p:tgtEl>
                        <p:attrNameLst>
                          <p:attrName>ppt_x</p:attrName>
                        </p:attrNameLst>
                      </p:cBhvr>
                      <p:tavLst>
                        <p:tav tm="0">
                          <p:val>
                            <p:strVal val="0-#ppt_w/2"/>
                          </p:val>
                        </p:tav>
                        <p:tav tm="100000">
                          <p:val>
                            <p:strVal val="#ppt_x"/>
                          </p:val>
                        </p:tav>
                      </p:tavLst>
                    </p:anim>
                    <p:anim calcmode="lin" valueType="num">
                      <p:cBhvr additive="base">
                        <p:cTn dur="1000" fill="hold"/>
                        <p:tgtEl>
                          <p:spTgt spid="5"/>
                        </p:tgtEl>
                        <p:attrNameLst>
                          <p:attrName>ppt_y</p:attrName>
                        </p:attrNameLst>
                      </p:cBhvr>
                      <p:tavLst>
                        <p:tav tm="0">
                          <p:val>
                            <p:strVal val="#ppt_y"/>
                          </p:val>
                        </p:tav>
                        <p:tav tm="100000">
                          <p:val>
                            <p:strVal val="#ppt_y"/>
                          </p:val>
                        </p:tav>
                      </p:tavLst>
                    </p:anim>
                  </p:childTnLst>
                </p:cTn>
              </p:par>
            </p:tnLst>
          </p:tmpl>
        </p:tmplLst>
      </p:bldP>
      <p:bldP spid="15" grpId="0"/>
    </p:bld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ONTENT ">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526DC72-FA1D-422D-8055-3374742D122B}"/>
              </a:ext>
            </a:extLst>
          </p:cNvPr>
          <p:cNvSpPr>
            <a:spLocks noGrp="1"/>
          </p:cNvSpPr>
          <p:nvPr>
            <p:ph type="title"/>
          </p:nvPr>
        </p:nvSpPr>
        <p:spPr/>
        <p:txBody>
          <a:bodyPr/>
          <a:lstStyle>
            <a:lvl1pPr>
              <a:lnSpc>
                <a:spcPct val="100000"/>
              </a:lnSpc>
              <a:defRPr/>
            </a:lvl1pPr>
          </a:lstStyle>
          <a:p>
            <a:r>
              <a:rPr lang="de-DE"/>
              <a:t>Mastertitelformat bearbeiten</a:t>
            </a:r>
          </a:p>
        </p:txBody>
      </p:sp>
      <p:sp>
        <p:nvSpPr>
          <p:cNvPr id="3" name="Foliennummernplatzhalter 2">
            <a:extLst>
              <a:ext uri="{FF2B5EF4-FFF2-40B4-BE49-F238E27FC236}">
                <a16:creationId xmlns:a16="http://schemas.microsoft.com/office/drawing/2014/main" id="{5B327254-466C-4606-8589-BCC72CBDADDF}"/>
              </a:ext>
            </a:extLst>
          </p:cNvPr>
          <p:cNvSpPr>
            <a:spLocks noGrp="1"/>
          </p:cNvSpPr>
          <p:nvPr>
            <p:ph type="sldNum" sz="quarter" idx="10"/>
          </p:nvPr>
        </p:nvSpPr>
        <p:spPr/>
        <p:txBody>
          <a:bodyPr/>
          <a:lstStyle/>
          <a:p>
            <a:fld id="{A04BEB4F-8CE1-4F18-986F-6CE0A0BE9470}" type="slidenum">
              <a:rPr lang="de-DE" smtClean="0"/>
              <a:t>‹#›</a:t>
            </a:fld>
            <a:endParaRPr lang="de-DE"/>
          </a:p>
        </p:txBody>
      </p:sp>
      <p:sp>
        <p:nvSpPr>
          <p:cNvPr id="6" name="Inhaltsplatzhalter 5">
            <a:extLst>
              <a:ext uri="{FF2B5EF4-FFF2-40B4-BE49-F238E27FC236}">
                <a16:creationId xmlns:a16="http://schemas.microsoft.com/office/drawing/2014/main" id="{2D621650-8C9C-4343-8E11-492A5CE05422}"/>
              </a:ext>
            </a:extLst>
          </p:cNvPr>
          <p:cNvSpPr>
            <a:spLocks noGrp="1"/>
          </p:cNvSpPr>
          <p:nvPr>
            <p:ph sz="quarter" idx="12"/>
          </p:nvPr>
        </p:nvSpPr>
        <p:spPr>
          <a:xfrm>
            <a:off x="815951" y="1975612"/>
            <a:ext cx="10560096" cy="434664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4194051260"/>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8" dur="1000" decel="10000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0-#ppt_w/2"/>
                                          </p:val>
                                        </p:tav>
                                        <p:tav tm="100000">
                                          <p:val>
                                            <p:strVal val="#ppt_x"/>
                                          </p:val>
                                        </p:tav>
                                      </p:tavLst>
                                    </p:anim>
                                    <p:anim calcmode="lin" valueType="num">
                                      <p:cBhvr additive="base">
                                        <p:cTn id="8" dur="1000" fill="hold"/>
                                        <p:tgtEl>
                                          <p:spTgt spid="2"/>
                                        </p:tgtEl>
                                        <p:attrNameLst>
                                          <p:attrName>ppt_y</p:attrName>
                                        </p:attrNameLst>
                                      </p:cBhvr>
                                      <p:tavLst>
                                        <p:tav tm="0">
                                          <p:val>
                                            <p:strVal val="#ppt_y"/>
                                          </p:val>
                                        </p:tav>
                                        <p:tav tm="100000">
                                          <p:val>
                                            <p:strVal val="#ppt_y"/>
                                          </p:val>
                                        </p:tav>
                                      </p:tavLst>
                                    </p:anim>
                                  </p:childTnLst>
                                </p:cTn>
                              </p:par>
                              <p:par>
                                <p:cTn id="9" presetID="2" presetClass="entr" presetSubtype="8" dur="1000" decel="100000" fill="hold" grpId="0" nodeType="withEffect">
                                  <p:stCondLst>
                                    <p:cond delay="250"/>
                                  </p:stCondLst>
                                  <p:childTnLst>
                                    <p:set>
                                      <p:cBhvr>
                                        <p:cTn id="10" dur="1" fill="hold">
                                          <p:stCondLst>
                                            <p:cond delay="0"/>
                                          </p:stCondLst>
                                        </p:cTn>
                                        <p:tgtEl>
                                          <p:spTgt spid="6"/>
                                        </p:tgtEl>
                                        <p:attrNameLst>
                                          <p:attrName>style.visibility</p:attrName>
                                        </p:attrNameLst>
                                      </p:cBhvr>
                                      <p:to>
                                        <p:strVal val="visible"/>
                                      </p:to>
                                    </p:set>
                                    <p:anim calcmode="lin" valueType="num">
                                      <p:cBhvr additive="base">
                                        <p:cTn id="11" dur="1000" fill="hold"/>
                                        <p:tgtEl>
                                          <p:spTgt spid="6"/>
                                        </p:tgtEl>
                                        <p:attrNameLst>
                                          <p:attrName>ppt_x</p:attrName>
                                        </p:attrNameLst>
                                      </p:cBhvr>
                                      <p:tavLst>
                                        <p:tav tm="0">
                                          <p:val>
                                            <p:strVal val="0-#ppt_w/2"/>
                                          </p:val>
                                        </p:tav>
                                        <p:tav tm="100000">
                                          <p:val>
                                            <p:strVal val="#ppt_x"/>
                                          </p:val>
                                        </p:tav>
                                      </p:tavLst>
                                    </p:anim>
                                    <p:anim calcmode="lin" valueType="num">
                                      <p:cBhvr additive="base">
                                        <p:cTn id="12" dur="10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6" grpId="0">
        <p:tmplLst>
          <p:tmpl>
            <p:tnLst>
              <p:par>
                <p:cTn presetID="2" presetClass="entr" presetSubtype="8" decel="100000" fill="hold" nodeType="withEffect">
                  <p:stCondLst>
                    <p:cond delay="250"/>
                  </p:stCondLst>
                  <p:childTnLst>
                    <p:set>
                      <p:cBhvr>
                        <p:cTn dur="1" fill="hold">
                          <p:stCondLst>
                            <p:cond delay="0"/>
                          </p:stCondLst>
                        </p:cTn>
                        <p:tgtEl>
                          <p:spTgt spid="6"/>
                        </p:tgtEl>
                        <p:attrNameLst>
                          <p:attrName>style.visibility</p:attrName>
                        </p:attrNameLst>
                      </p:cBhvr>
                      <p:to>
                        <p:strVal val="visible"/>
                      </p:to>
                    </p:set>
                    <p:anim calcmode="lin" valueType="num">
                      <p:cBhvr additive="base">
                        <p:cTn dur="1000" fill="hold"/>
                        <p:tgtEl>
                          <p:spTgt spid="6"/>
                        </p:tgtEl>
                        <p:attrNameLst>
                          <p:attrName>ppt_x</p:attrName>
                        </p:attrNameLst>
                      </p:cBhvr>
                      <p:tavLst>
                        <p:tav tm="0">
                          <p:val>
                            <p:strVal val="0-#ppt_w/2"/>
                          </p:val>
                        </p:tav>
                        <p:tav tm="100000">
                          <p:val>
                            <p:strVal val="#ppt_x"/>
                          </p:val>
                        </p:tav>
                      </p:tavLst>
                    </p:anim>
                    <p:anim calcmode="lin" valueType="num">
                      <p:cBhvr additive="base">
                        <p:cTn dur="1000" fill="hold"/>
                        <p:tgtEl>
                          <p:spTgt spid="6"/>
                        </p:tgtEl>
                        <p:attrNameLst>
                          <p:attrName>ppt_y</p:attrName>
                        </p:attrNameLst>
                      </p:cBhvr>
                      <p:tavLst>
                        <p:tav tm="0">
                          <p:val>
                            <p:strVal val="#ppt_y"/>
                          </p:val>
                        </p:tav>
                        <p:tav tm="100000">
                          <p:val>
                            <p:strVal val="#ppt_y"/>
                          </p:val>
                        </p:tav>
                      </p:tavLst>
                    </p:anim>
                  </p:childTnLst>
                </p:cTn>
              </p:par>
            </p:tnLst>
          </p:tmpl>
        </p:tmplLst>
      </p:bldP>
    </p:bld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267" name="Freihandform: Form 266">
            <a:extLst>
              <a:ext uri="{FF2B5EF4-FFF2-40B4-BE49-F238E27FC236}">
                <a16:creationId xmlns:a16="http://schemas.microsoft.com/office/drawing/2014/main" id="{919B2CD8-82FF-4BB7-9DCC-E8D32E59F274}"/>
              </a:ext>
            </a:extLst>
          </p:cNvPr>
          <p:cNvSpPr/>
          <p:nvPr userDrawn="1"/>
        </p:nvSpPr>
        <p:spPr>
          <a:xfrm>
            <a:off x="11841261" y="4050916"/>
            <a:ext cx="347243" cy="376374"/>
          </a:xfrm>
          <a:custGeom>
            <a:avLst/>
            <a:gdLst>
              <a:gd name="connsiteX0" fmla="*/ 158473 w 347243"/>
              <a:gd name="connsiteY0" fmla="*/ 376375 h 376374"/>
              <a:gd name="connsiteX1" fmla="*/ 0 w 347243"/>
              <a:gd name="connsiteY1" fmla="*/ 376375 h 376374"/>
              <a:gd name="connsiteX2" fmla="*/ 185274 w 347243"/>
              <a:gd name="connsiteY2" fmla="*/ 189935 h 376374"/>
              <a:gd name="connsiteX3" fmla="*/ 0 w 347243"/>
              <a:gd name="connsiteY3" fmla="*/ 0 h 376374"/>
              <a:gd name="connsiteX4" fmla="*/ 161969 w 347243"/>
              <a:gd name="connsiteY4" fmla="*/ 0 h 376374"/>
              <a:gd name="connsiteX5" fmla="*/ 347244 w 347243"/>
              <a:gd name="connsiteY5" fmla="*/ 185274 h 376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7243" h="376374">
                <a:moveTo>
                  <a:pt x="158473" y="376375"/>
                </a:moveTo>
                <a:lnTo>
                  <a:pt x="0" y="376375"/>
                </a:lnTo>
                <a:lnTo>
                  <a:pt x="185274" y="189935"/>
                </a:lnTo>
                <a:lnTo>
                  <a:pt x="0" y="0"/>
                </a:lnTo>
                <a:lnTo>
                  <a:pt x="161969" y="0"/>
                </a:lnTo>
                <a:lnTo>
                  <a:pt x="347244" y="185274"/>
                </a:lnTo>
                <a:close/>
              </a:path>
            </a:pathLst>
          </a:custGeom>
          <a:solidFill>
            <a:srgbClr val="EEF2F5"/>
          </a:solidFill>
          <a:ln w="11643" cap="flat">
            <a:noFill/>
            <a:prstDash val="solid"/>
            <a:miter/>
          </a:ln>
        </p:spPr>
        <p:txBody>
          <a:bodyPr rtlCol="0" anchor="ctr"/>
          <a:lstStyle/>
          <a:p>
            <a:endParaRPr lang="de-DE"/>
          </a:p>
        </p:txBody>
      </p:sp>
      <p:sp>
        <p:nvSpPr>
          <p:cNvPr id="268" name="Freihandform: Form 267">
            <a:extLst>
              <a:ext uri="{FF2B5EF4-FFF2-40B4-BE49-F238E27FC236}">
                <a16:creationId xmlns:a16="http://schemas.microsoft.com/office/drawing/2014/main" id="{98A7D4AE-9DAA-4684-913D-90B430C810F7}"/>
              </a:ext>
            </a:extLst>
          </p:cNvPr>
          <p:cNvSpPr/>
          <p:nvPr userDrawn="1"/>
        </p:nvSpPr>
        <p:spPr>
          <a:xfrm>
            <a:off x="11841261" y="4405152"/>
            <a:ext cx="347243" cy="377540"/>
          </a:xfrm>
          <a:custGeom>
            <a:avLst/>
            <a:gdLst>
              <a:gd name="connsiteX0" fmla="*/ 158473 w 347243"/>
              <a:gd name="connsiteY0" fmla="*/ 377540 h 377540"/>
              <a:gd name="connsiteX1" fmla="*/ 0 w 347243"/>
              <a:gd name="connsiteY1" fmla="*/ 377540 h 377540"/>
              <a:gd name="connsiteX2" fmla="*/ 185274 w 347243"/>
              <a:gd name="connsiteY2" fmla="*/ 189935 h 377540"/>
              <a:gd name="connsiteX3" fmla="*/ 0 w 347243"/>
              <a:gd name="connsiteY3" fmla="*/ 0 h 377540"/>
              <a:gd name="connsiteX4" fmla="*/ 161969 w 347243"/>
              <a:gd name="connsiteY4" fmla="*/ 0 h 377540"/>
              <a:gd name="connsiteX5" fmla="*/ 347244 w 347243"/>
              <a:gd name="connsiteY5" fmla="*/ 185274 h 377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7243" h="377540">
                <a:moveTo>
                  <a:pt x="158473" y="377540"/>
                </a:moveTo>
                <a:lnTo>
                  <a:pt x="0" y="377540"/>
                </a:lnTo>
                <a:lnTo>
                  <a:pt x="185274" y="189935"/>
                </a:lnTo>
                <a:lnTo>
                  <a:pt x="0" y="0"/>
                </a:lnTo>
                <a:lnTo>
                  <a:pt x="161969" y="0"/>
                </a:lnTo>
                <a:lnTo>
                  <a:pt x="347244" y="185274"/>
                </a:lnTo>
                <a:close/>
              </a:path>
            </a:pathLst>
          </a:custGeom>
          <a:solidFill>
            <a:srgbClr val="EEF2F5"/>
          </a:solidFill>
          <a:ln w="11643" cap="flat">
            <a:noFill/>
            <a:prstDash val="solid"/>
            <a:miter/>
          </a:ln>
        </p:spPr>
        <p:txBody>
          <a:bodyPr rtlCol="0" anchor="ctr"/>
          <a:lstStyle/>
          <a:p>
            <a:endParaRPr lang="de-DE"/>
          </a:p>
        </p:txBody>
      </p:sp>
      <p:sp>
        <p:nvSpPr>
          <p:cNvPr id="269" name="Freihandform: Form 268">
            <a:extLst>
              <a:ext uri="{FF2B5EF4-FFF2-40B4-BE49-F238E27FC236}">
                <a16:creationId xmlns:a16="http://schemas.microsoft.com/office/drawing/2014/main" id="{65205431-CA52-4417-B021-25FD0C1E33F9}"/>
              </a:ext>
            </a:extLst>
          </p:cNvPr>
          <p:cNvSpPr/>
          <p:nvPr userDrawn="1"/>
        </p:nvSpPr>
        <p:spPr>
          <a:xfrm>
            <a:off x="11494017" y="3704837"/>
            <a:ext cx="330930" cy="358896"/>
          </a:xfrm>
          <a:custGeom>
            <a:avLst/>
            <a:gdLst>
              <a:gd name="connsiteX0" fmla="*/ 151482 w 330930"/>
              <a:gd name="connsiteY0" fmla="*/ 358896 h 358896"/>
              <a:gd name="connsiteX1" fmla="*/ 0 w 330930"/>
              <a:gd name="connsiteY1" fmla="*/ 358896 h 358896"/>
              <a:gd name="connsiteX2" fmla="*/ 177118 w 330930"/>
              <a:gd name="connsiteY2" fmla="*/ 180613 h 358896"/>
              <a:gd name="connsiteX3" fmla="*/ 0 w 330930"/>
              <a:gd name="connsiteY3" fmla="*/ 0 h 358896"/>
              <a:gd name="connsiteX4" fmla="*/ 154979 w 330930"/>
              <a:gd name="connsiteY4" fmla="*/ 0 h 358896"/>
              <a:gd name="connsiteX5" fmla="*/ 330931 w 330930"/>
              <a:gd name="connsiteY5" fmla="*/ 175953 h 358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930" h="358896">
                <a:moveTo>
                  <a:pt x="151482" y="358896"/>
                </a:moveTo>
                <a:lnTo>
                  <a:pt x="0" y="358896"/>
                </a:lnTo>
                <a:lnTo>
                  <a:pt x="177118" y="180613"/>
                </a:lnTo>
                <a:lnTo>
                  <a:pt x="0" y="0"/>
                </a:lnTo>
                <a:lnTo>
                  <a:pt x="154979" y="0"/>
                </a:lnTo>
                <a:lnTo>
                  <a:pt x="330931" y="175953"/>
                </a:lnTo>
                <a:close/>
              </a:path>
            </a:pathLst>
          </a:custGeom>
          <a:solidFill>
            <a:srgbClr val="EEF2F5"/>
          </a:solidFill>
          <a:ln w="11643" cap="flat">
            <a:noFill/>
            <a:prstDash val="solid"/>
            <a:miter/>
          </a:ln>
        </p:spPr>
        <p:txBody>
          <a:bodyPr rtlCol="0" anchor="ctr"/>
          <a:lstStyle/>
          <a:p>
            <a:endParaRPr lang="de-DE"/>
          </a:p>
        </p:txBody>
      </p:sp>
      <p:sp>
        <p:nvSpPr>
          <p:cNvPr id="270" name="Freihandform: Form 269">
            <a:extLst>
              <a:ext uri="{FF2B5EF4-FFF2-40B4-BE49-F238E27FC236}">
                <a16:creationId xmlns:a16="http://schemas.microsoft.com/office/drawing/2014/main" id="{54C328D2-472D-4AAA-B765-01BBCF86507D}"/>
              </a:ext>
            </a:extLst>
          </p:cNvPr>
          <p:cNvSpPr/>
          <p:nvPr userDrawn="1"/>
        </p:nvSpPr>
        <p:spPr>
          <a:xfrm>
            <a:off x="11494017" y="4059073"/>
            <a:ext cx="330930" cy="360061"/>
          </a:xfrm>
          <a:custGeom>
            <a:avLst/>
            <a:gdLst>
              <a:gd name="connsiteX0" fmla="*/ 151482 w 330930"/>
              <a:gd name="connsiteY0" fmla="*/ 360062 h 360061"/>
              <a:gd name="connsiteX1" fmla="*/ 0 w 330930"/>
              <a:gd name="connsiteY1" fmla="*/ 360062 h 360061"/>
              <a:gd name="connsiteX2" fmla="*/ 177118 w 330930"/>
              <a:gd name="connsiteY2" fmla="*/ 181779 h 360061"/>
              <a:gd name="connsiteX3" fmla="*/ 0 w 330930"/>
              <a:gd name="connsiteY3" fmla="*/ 0 h 360061"/>
              <a:gd name="connsiteX4" fmla="*/ 154979 w 330930"/>
              <a:gd name="connsiteY4" fmla="*/ 0 h 360061"/>
              <a:gd name="connsiteX5" fmla="*/ 330931 w 330930"/>
              <a:gd name="connsiteY5" fmla="*/ 177118 h 360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930" h="360061">
                <a:moveTo>
                  <a:pt x="151482" y="360062"/>
                </a:moveTo>
                <a:lnTo>
                  <a:pt x="0" y="360062"/>
                </a:lnTo>
                <a:lnTo>
                  <a:pt x="177118" y="181779"/>
                </a:lnTo>
                <a:lnTo>
                  <a:pt x="0" y="0"/>
                </a:lnTo>
                <a:lnTo>
                  <a:pt x="154979" y="0"/>
                </a:lnTo>
                <a:lnTo>
                  <a:pt x="330931" y="177118"/>
                </a:lnTo>
                <a:close/>
              </a:path>
            </a:pathLst>
          </a:custGeom>
          <a:solidFill>
            <a:srgbClr val="EEF2F5"/>
          </a:solidFill>
          <a:ln w="11643" cap="flat">
            <a:noFill/>
            <a:prstDash val="solid"/>
            <a:miter/>
          </a:ln>
        </p:spPr>
        <p:txBody>
          <a:bodyPr rtlCol="0" anchor="ctr"/>
          <a:lstStyle/>
          <a:p>
            <a:endParaRPr lang="de-DE"/>
          </a:p>
        </p:txBody>
      </p:sp>
      <p:sp>
        <p:nvSpPr>
          <p:cNvPr id="271" name="Freihandform: Form 270">
            <a:extLst>
              <a:ext uri="{FF2B5EF4-FFF2-40B4-BE49-F238E27FC236}">
                <a16:creationId xmlns:a16="http://schemas.microsoft.com/office/drawing/2014/main" id="{58A1ADF4-67BB-4B4F-97A2-C8981295C28E}"/>
              </a:ext>
            </a:extLst>
          </p:cNvPr>
          <p:cNvSpPr/>
          <p:nvPr userDrawn="1"/>
        </p:nvSpPr>
        <p:spPr>
          <a:xfrm>
            <a:off x="11494017" y="4414474"/>
            <a:ext cx="330930" cy="358896"/>
          </a:xfrm>
          <a:custGeom>
            <a:avLst/>
            <a:gdLst>
              <a:gd name="connsiteX0" fmla="*/ 151482 w 330930"/>
              <a:gd name="connsiteY0" fmla="*/ 358896 h 358896"/>
              <a:gd name="connsiteX1" fmla="*/ 0 w 330930"/>
              <a:gd name="connsiteY1" fmla="*/ 358896 h 358896"/>
              <a:gd name="connsiteX2" fmla="*/ 177118 w 330930"/>
              <a:gd name="connsiteY2" fmla="*/ 180613 h 358896"/>
              <a:gd name="connsiteX3" fmla="*/ 0 w 330930"/>
              <a:gd name="connsiteY3" fmla="*/ 0 h 358896"/>
              <a:gd name="connsiteX4" fmla="*/ 154979 w 330930"/>
              <a:gd name="connsiteY4" fmla="*/ 0 h 358896"/>
              <a:gd name="connsiteX5" fmla="*/ 330931 w 330930"/>
              <a:gd name="connsiteY5" fmla="*/ 175952 h 358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930" h="358896">
                <a:moveTo>
                  <a:pt x="151482" y="358896"/>
                </a:moveTo>
                <a:lnTo>
                  <a:pt x="0" y="358896"/>
                </a:lnTo>
                <a:lnTo>
                  <a:pt x="177118" y="180613"/>
                </a:lnTo>
                <a:lnTo>
                  <a:pt x="0" y="0"/>
                </a:lnTo>
                <a:lnTo>
                  <a:pt x="154979" y="0"/>
                </a:lnTo>
                <a:lnTo>
                  <a:pt x="330931" y="175952"/>
                </a:lnTo>
                <a:close/>
              </a:path>
            </a:pathLst>
          </a:custGeom>
          <a:solidFill>
            <a:srgbClr val="EEF2F5"/>
          </a:solidFill>
          <a:ln w="11643" cap="flat">
            <a:noFill/>
            <a:prstDash val="solid"/>
            <a:miter/>
          </a:ln>
        </p:spPr>
        <p:txBody>
          <a:bodyPr rtlCol="0" anchor="ctr"/>
          <a:lstStyle/>
          <a:p>
            <a:endParaRPr lang="de-DE"/>
          </a:p>
        </p:txBody>
      </p:sp>
      <p:sp>
        <p:nvSpPr>
          <p:cNvPr id="272" name="Freihandform: Form 271">
            <a:extLst>
              <a:ext uri="{FF2B5EF4-FFF2-40B4-BE49-F238E27FC236}">
                <a16:creationId xmlns:a16="http://schemas.microsoft.com/office/drawing/2014/main" id="{03415443-3F41-49F3-B60C-1201D9A263D5}"/>
              </a:ext>
            </a:extLst>
          </p:cNvPr>
          <p:cNvSpPr/>
          <p:nvPr userDrawn="1"/>
        </p:nvSpPr>
        <p:spPr>
          <a:xfrm>
            <a:off x="11494017" y="4768709"/>
            <a:ext cx="330930" cy="360061"/>
          </a:xfrm>
          <a:custGeom>
            <a:avLst/>
            <a:gdLst>
              <a:gd name="connsiteX0" fmla="*/ 151482 w 330930"/>
              <a:gd name="connsiteY0" fmla="*/ 360062 h 360061"/>
              <a:gd name="connsiteX1" fmla="*/ 0 w 330930"/>
              <a:gd name="connsiteY1" fmla="*/ 360062 h 360061"/>
              <a:gd name="connsiteX2" fmla="*/ 177118 w 330930"/>
              <a:gd name="connsiteY2" fmla="*/ 181779 h 360061"/>
              <a:gd name="connsiteX3" fmla="*/ 0 w 330930"/>
              <a:gd name="connsiteY3" fmla="*/ 0 h 360061"/>
              <a:gd name="connsiteX4" fmla="*/ 154979 w 330930"/>
              <a:gd name="connsiteY4" fmla="*/ 0 h 360061"/>
              <a:gd name="connsiteX5" fmla="*/ 330931 w 330930"/>
              <a:gd name="connsiteY5" fmla="*/ 177118 h 360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930" h="360061">
                <a:moveTo>
                  <a:pt x="151482" y="360062"/>
                </a:moveTo>
                <a:lnTo>
                  <a:pt x="0" y="360062"/>
                </a:lnTo>
                <a:lnTo>
                  <a:pt x="177118" y="181779"/>
                </a:lnTo>
                <a:lnTo>
                  <a:pt x="0" y="0"/>
                </a:lnTo>
                <a:lnTo>
                  <a:pt x="154979" y="0"/>
                </a:lnTo>
                <a:lnTo>
                  <a:pt x="330931" y="177118"/>
                </a:lnTo>
                <a:close/>
              </a:path>
            </a:pathLst>
          </a:custGeom>
          <a:solidFill>
            <a:srgbClr val="EEF2F5"/>
          </a:solidFill>
          <a:ln w="11643" cap="flat">
            <a:noFill/>
            <a:prstDash val="solid"/>
            <a:miter/>
          </a:ln>
        </p:spPr>
        <p:txBody>
          <a:bodyPr rtlCol="0" anchor="ctr"/>
          <a:lstStyle/>
          <a:p>
            <a:endParaRPr lang="de-DE"/>
          </a:p>
        </p:txBody>
      </p:sp>
      <p:sp>
        <p:nvSpPr>
          <p:cNvPr id="273" name="Freihandform: Form 272">
            <a:extLst>
              <a:ext uri="{FF2B5EF4-FFF2-40B4-BE49-F238E27FC236}">
                <a16:creationId xmlns:a16="http://schemas.microsoft.com/office/drawing/2014/main" id="{B563676F-D202-4871-9820-0E475258CF51}"/>
              </a:ext>
            </a:extLst>
          </p:cNvPr>
          <p:cNvSpPr/>
          <p:nvPr userDrawn="1"/>
        </p:nvSpPr>
        <p:spPr>
          <a:xfrm>
            <a:off x="11147939" y="3358759"/>
            <a:ext cx="314616" cy="341417"/>
          </a:xfrm>
          <a:custGeom>
            <a:avLst/>
            <a:gdLst>
              <a:gd name="connsiteX0" fmla="*/ 143325 w 314616"/>
              <a:gd name="connsiteY0" fmla="*/ 341418 h 341417"/>
              <a:gd name="connsiteX1" fmla="*/ 0 w 314616"/>
              <a:gd name="connsiteY1" fmla="*/ 341418 h 341417"/>
              <a:gd name="connsiteX2" fmla="*/ 167795 w 314616"/>
              <a:gd name="connsiteY2" fmla="*/ 172457 h 341417"/>
              <a:gd name="connsiteX3" fmla="*/ 0 w 314616"/>
              <a:gd name="connsiteY3" fmla="*/ 0 h 341417"/>
              <a:gd name="connsiteX4" fmla="*/ 146821 w 314616"/>
              <a:gd name="connsiteY4" fmla="*/ 0 h 341417"/>
              <a:gd name="connsiteX5" fmla="*/ 314617 w 314616"/>
              <a:gd name="connsiteY5" fmla="*/ 167796 h 341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4616" h="341417">
                <a:moveTo>
                  <a:pt x="143325" y="341418"/>
                </a:moveTo>
                <a:lnTo>
                  <a:pt x="0" y="341418"/>
                </a:lnTo>
                <a:lnTo>
                  <a:pt x="167795" y="172457"/>
                </a:lnTo>
                <a:lnTo>
                  <a:pt x="0" y="0"/>
                </a:lnTo>
                <a:lnTo>
                  <a:pt x="146821" y="0"/>
                </a:lnTo>
                <a:lnTo>
                  <a:pt x="314617" y="167796"/>
                </a:lnTo>
                <a:close/>
              </a:path>
            </a:pathLst>
          </a:custGeom>
          <a:solidFill>
            <a:srgbClr val="EEF2F5"/>
          </a:solidFill>
          <a:ln w="11643" cap="flat">
            <a:noFill/>
            <a:prstDash val="solid"/>
            <a:miter/>
          </a:ln>
        </p:spPr>
        <p:txBody>
          <a:bodyPr rtlCol="0" anchor="ctr"/>
          <a:lstStyle/>
          <a:p>
            <a:endParaRPr lang="de-DE"/>
          </a:p>
        </p:txBody>
      </p:sp>
      <p:sp>
        <p:nvSpPr>
          <p:cNvPr id="274" name="Freihandform: Form 273">
            <a:extLst>
              <a:ext uri="{FF2B5EF4-FFF2-40B4-BE49-F238E27FC236}">
                <a16:creationId xmlns:a16="http://schemas.microsoft.com/office/drawing/2014/main" id="{5D770B4B-8FDA-4BEE-9FFB-F30316599C4D}"/>
              </a:ext>
            </a:extLst>
          </p:cNvPr>
          <p:cNvSpPr/>
          <p:nvPr userDrawn="1"/>
        </p:nvSpPr>
        <p:spPr>
          <a:xfrm>
            <a:off x="11147939" y="3714159"/>
            <a:ext cx="314616" cy="340252"/>
          </a:xfrm>
          <a:custGeom>
            <a:avLst/>
            <a:gdLst>
              <a:gd name="connsiteX0" fmla="*/ 143325 w 314616"/>
              <a:gd name="connsiteY0" fmla="*/ 340252 h 340252"/>
              <a:gd name="connsiteX1" fmla="*/ 0 w 314616"/>
              <a:gd name="connsiteY1" fmla="*/ 340252 h 340252"/>
              <a:gd name="connsiteX2" fmla="*/ 167795 w 314616"/>
              <a:gd name="connsiteY2" fmla="*/ 171291 h 340252"/>
              <a:gd name="connsiteX3" fmla="*/ 0 w 314616"/>
              <a:gd name="connsiteY3" fmla="*/ 0 h 340252"/>
              <a:gd name="connsiteX4" fmla="*/ 146821 w 314616"/>
              <a:gd name="connsiteY4" fmla="*/ 0 h 340252"/>
              <a:gd name="connsiteX5" fmla="*/ 314617 w 314616"/>
              <a:gd name="connsiteY5" fmla="*/ 166631 h 340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4616" h="340252">
                <a:moveTo>
                  <a:pt x="143325" y="340252"/>
                </a:moveTo>
                <a:lnTo>
                  <a:pt x="0" y="340252"/>
                </a:lnTo>
                <a:lnTo>
                  <a:pt x="167795" y="171291"/>
                </a:lnTo>
                <a:lnTo>
                  <a:pt x="0" y="0"/>
                </a:lnTo>
                <a:lnTo>
                  <a:pt x="146821" y="0"/>
                </a:lnTo>
                <a:lnTo>
                  <a:pt x="314617" y="166631"/>
                </a:lnTo>
                <a:close/>
              </a:path>
            </a:pathLst>
          </a:custGeom>
          <a:solidFill>
            <a:srgbClr val="EEF2F5"/>
          </a:solidFill>
          <a:ln w="11643" cap="flat">
            <a:noFill/>
            <a:prstDash val="solid"/>
            <a:miter/>
          </a:ln>
        </p:spPr>
        <p:txBody>
          <a:bodyPr rtlCol="0" anchor="ctr"/>
          <a:lstStyle/>
          <a:p>
            <a:endParaRPr lang="de-DE"/>
          </a:p>
        </p:txBody>
      </p:sp>
      <p:sp>
        <p:nvSpPr>
          <p:cNvPr id="275" name="Freihandform: Form 274">
            <a:extLst>
              <a:ext uri="{FF2B5EF4-FFF2-40B4-BE49-F238E27FC236}">
                <a16:creationId xmlns:a16="http://schemas.microsoft.com/office/drawing/2014/main" id="{81054F7A-CDD6-4293-8A5B-F202CD55CF17}"/>
              </a:ext>
            </a:extLst>
          </p:cNvPr>
          <p:cNvSpPr/>
          <p:nvPr userDrawn="1"/>
        </p:nvSpPr>
        <p:spPr>
          <a:xfrm>
            <a:off x="11147939" y="4068395"/>
            <a:ext cx="314616" cy="341417"/>
          </a:xfrm>
          <a:custGeom>
            <a:avLst/>
            <a:gdLst>
              <a:gd name="connsiteX0" fmla="*/ 143325 w 314616"/>
              <a:gd name="connsiteY0" fmla="*/ 341418 h 341417"/>
              <a:gd name="connsiteX1" fmla="*/ 0 w 314616"/>
              <a:gd name="connsiteY1" fmla="*/ 341418 h 341417"/>
              <a:gd name="connsiteX2" fmla="*/ 167795 w 314616"/>
              <a:gd name="connsiteY2" fmla="*/ 172457 h 341417"/>
              <a:gd name="connsiteX3" fmla="*/ 0 w 314616"/>
              <a:gd name="connsiteY3" fmla="*/ 0 h 341417"/>
              <a:gd name="connsiteX4" fmla="*/ 146821 w 314616"/>
              <a:gd name="connsiteY4" fmla="*/ 0 h 341417"/>
              <a:gd name="connsiteX5" fmla="*/ 314617 w 314616"/>
              <a:gd name="connsiteY5" fmla="*/ 167796 h 341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4616" h="341417">
                <a:moveTo>
                  <a:pt x="143325" y="341418"/>
                </a:moveTo>
                <a:lnTo>
                  <a:pt x="0" y="341418"/>
                </a:lnTo>
                <a:lnTo>
                  <a:pt x="167795" y="172457"/>
                </a:lnTo>
                <a:lnTo>
                  <a:pt x="0" y="0"/>
                </a:lnTo>
                <a:lnTo>
                  <a:pt x="146821" y="0"/>
                </a:lnTo>
                <a:lnTo>
                  <a:pt x="314617" y="167796"/>
                </a:lnTo>
                <a:close/>
              </a:path>
            </a:pathLst>
          </a:custGeom>
          <a:solidFill>
            <a:srgbClr val="EEF2F5"/>
          </a:solidFill>
          <a:ln w="11643" cap="flat">
            <a:noFill/>
            <a:prstDash val="solid"/>
            <a:miter/>
          </a:ln>
        </p:spPr>
        <p:txBody>
          <a:bodyPr rtlCol="0" anchor="ctr"/>
          <a:lstStyle/>
          <a:p>
            <a:endParaRPr lang="de-DE"/>
          </a:p>
        </p:txBody>
      </p:sp>
      <p:sp>
        <p:nvSpPr>
          <p:cNvPr id="276" name="Freihandform: Form 275">
            <a:extLst>
              <a:ext uri="{FF2B5EF4-FFF2-40B4-BE49-F238E27FC236}">
                <a16:creationId xmlns:a16="http://schemas.microsoft.com/office/drawing/2014/main" id="{AC7F4FB6-F7E9-413D-A12F-625B3C9B48F7}"/>
              </a:ext>
            </a:extLst>
          </p:cNvPr>
          <p:cNvSpPr/>
          <p:nvPr userDrawn="1"/>
        </p:nvSpPr>
        <p:spPr>
          <a:xfrm>
            <a:off x="11147939" y="4423796"/>
            <a:ext cx="314616" cy="340252"/>
          </a:xfrm>
          <a:custGeom>
            <a:avLst/>
            <a:gdLst>
              <a:gd name="connsiteX0" fmla="*/ 143325 w 314616"/>
              <a:gd name="connsiteY0" fmla="*/ 340252 h 340252"/>
              <a:gd name="connsiteX1" fmla="*/ 0 w 314616"/>
              <a:gd name="connsiteY1" fmla="*/ 340252 h 340252"/>
              <a:gd name="connsiteX2" fmla="*/ 167795 w 314616"/>
              <a:gd name="connsiteY2" fmla="*/ 171291 h 340252"/>
              <a:gd name="connsiteX3" fmla="*/ 0 w 314616"/>
              <a:gd name="connsiteY3" fmla="*/ 0 h 340252"/>
              <a:gd name="connsiteX4" fmla="*/ 146821 w 314616"/>
              <a:gd name="connsiteY4" fmla="*/ 0 h 340252"/>
              <a:gd name="connsiteX5" fmla="*/ 314617 w 314616"/>
              <a:gd name="connsiteY5" fmla="*/ 167796 h 340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4616" h="340252">
                <a:moveTo>
                  <a:pt x="143325" y="340252"/>
                </a:moveTo>
                <a:lnTo>
                  <a:pt x="0" y="340252"/>
                </a:lnTo>
                <a:lnTo>
                  <a:pt x="167795" y="171291"/>
                </a:lnTo>
                <a:lnTo>
                  <a:pt x="0" y="0"/>
                </a:lnTo>
                <a:lnTo>
                  <a:pt x="146821" y="0"/>
                </a:lnTo>
                <a:lnTo>
                  <a:pt x="314617" y="167796"/>
                </a:lnTo>
                <a:close/>
              </a:path>
            </a:pathLst>
          </a:custGeom>
          <a:solidFill>
            <a:srgbClr val="EEF2F5"/>
          </a:solidFill>
          <a:ln w="11643" cap="flat">
            <a:noFill/>
            <a:prstDash val="solid"/>
            <a:miter/>
          </a:ln>
        </p:spPr>
        <p:txBody>
          <a:bodyPr rtlCol="0" anchor="ctr"/>
          <a:lstStyle/>
          <a:p>
            <a:endParaRPr lang="de-DE"/>
          </a:p>
        </p:txBody>
      </p:sp>
      <p:sp>
        <p:nvSpPr>
          <p:cNvPr id="277" name="Freihandform: Form 276">
            <a:extLst>
              <a:ext uri="{FF2B5EF4-FFF2-40B4-BE49-F238E27FC236}">
                <a16:creationId xmlns:a16="http://schemas.microsoft.com/office/drawing/2014/main" id="{E0FCE453-708E-4F94-ABB2-11D8FE79AB20}"/>
              </a:ext>
            </a:extLst>
          </p:cNvPr>
          <p:cNvSpPr/>
          <p:nvPr userDrawn="1"/>
        </p:nvSpPr>
        <p:spPr>
          <a:xfrm>
            <a:off x="11147939" y="4778031"/>
            <a:ext cx="314616" cy="341417"/>
          </a:xfrm>
          <a:custGeom>
            <a:avLst/>
            <a:gdLst>
              <a:gd name="connsiteX0" fmla="*/ 143325 w 314616"/>
              <a:gd name="connsiteY0" fmla="*/ 341418 h 341417"/>
              <a:gd name="connsiteX1" fmla="*/ 0 w 314616"/>
              <a:gd name="connsiteY1" fmla="*/ 341418 h 341417"/>
              <a:gd name="connsiteX2" fmla="*/ 167795 w 314616"/>
              <a:gd name="connsiteY2" fmla="*/ 172457 h 341417"/>
              <a:gd name="connsiteX3" fmla="*/ 0 w 314616"/>
              <a:gd name="connsiteY3" fmla="*/ 0 h 341417"/>
              <a:gd name="connsiteX4" fmla="*/ 146821 w 314616"/>
              <a:gd name="connsiteY4" fmla="*/ 0 h 341417"/>
              <a:gd name="connsiteX5" fmla="*/ 314617 w 314616"/>
              <a:gd name="connsiteY5" fmla="*/ 167796 h 341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4616" h="341417">
                <a:moveTo>
                  <a:pt x="143325" y="341418"/>
                </a:moveTo>
                <a:lnTo>
                  <a:pt x="0" y="341418"/>
                </a:lnTo>
                <a:lnTo>
                  <a:pt x="167795" y="172457"/>
                </a:lnTo>
                <a:lnTo>
                  <a:pt x="0" y="0"/>
                </a:lnTo>
                <a:lnTo>
                  <a:pt x="146821" y="0"/>
                </a:lnTo>
                <a:lnTo>
                  <a:pt x="314617" y="167796"/>
                </a:lnTo>
                <a:close/>
              </a:path>
            </a:pathLst>
          </a:custGeom>
          <a:solidFill>
            <a:srgbClr val="EEF2F5"/>
          </a:solidFill>
          <a:ln w="11643" cap="flat">
            <a:noFill/>
            <a:prstDash val="solid"/>
            <a:miter/>
          </a:ln>
        </p:spPr>
        <p:txBody>
          <a:bodyPr rtlCol="0" anchor="ctr"/>
          <a:lstStyle/>
          <a:p>
            <a:endParaRPr lang="de-DE"/>
          </a:p>
        </p:txBody>
      </p:sp>
      <p:sp>
        <p:nvSpPr>
          <p:cNvPr id="278" name="Freihandform: Form 277">
            <a:extLst>
              <a:ext uri="{FF2B5EF4-FFF2-40B4-BE49-F238E27FC236}">
                <a16:creationId xmlns:a16="http://schemas.microsoft.com/office/drawing/2014/main" id="{1688DC58-ADCC-47C8-9C44-0BF9CDA63828}"/>
              </a:ext>
            </a:extLst>
          </p:cNvPr>
          <p:cNvSpPr/>
          <p:nvPr userDrawn="1"/>
        </p:nvSpPr>
        <p:spPr>
          <a:xfrm>
            <a:off x="11147939" y="5133432"/>
            <a:ext cx="314616" cy="341417"/>
          </a:xfrm>
          <a:custGeom>
            <a:avLst/>
            <a:gdLst>
              <a:gd name="connsiteX0" fmla="*/ 143325 w 314616"/>
              <a:gd name="connsiteY0" fmla="*/ 341418 h 341417"/>
              <a:gd name="connsiteX1" fmla="*/ 0 w 314616"/>
              <a:gd name="connsiteY1" fmla="*/ 341418 h 341417"/>
              <a:gd name="connsiteX2" fmla="*/ 167795 w 314616"/>
              <a:gd name="connsiteY2" fmla="*/ 171292 h 341417"/>
              <a:gd name="connsiteX3" fmla="*/ 0 w 314616"/>
              <a:gd name="connsiteY3" fmla="*/ 0 h 341417"/>
              <a:gd name="connsiteX4" fmla="*/ 146821 w 314616"/>
              <a:gd name="connsiteY4" fmla="*/ 0 h 341417"/>
              <a:gd name="connsiteX5" fmla="*/ 314617 w 314616"/>
              <a:gd name="connsiteY5" fmla="*/ 167796 h 341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4616" h="341417">
                <a:moveTo>
                  <a:pt x="143325" y="341418"/>
                </a:moveTo>
                <a:lnTo>
                  <a:pt x="0" y="341418"/>
                </a:lnTo>
                <a:lnTo>
                  <a:pt x="167795" y="171292"/>
                </a:lnTo>
                <a:lnTo>
                  <a:pt x="0" y="0"/>
                </a:lnTo>
                <a:lnTo>
                  <a:pt x="146821" y="0"/>
                </a:lnTo>
                <a:lnTo>
                  <a:pt x="314617" y="167796"/>
                </a:lnTo>
                <a:close/>
              </a:path>
            </a:pathLst>
          </a:custGeom>
          <a:solidFill>
            <a:srgbClr val="EEF2F5"/>
          </a:solidFill>
          <a:ln w="11643" cap="flat">
            <a:noFill/>
            <a:prstDash val="solid"/>
            <a:miter/>
          </a:ln>
        </p:spPr>
        <p:txBody>
          <a:bodyPr rtlCol="0" anchor="ctr"/>
          <a:lstStyle/>
          <a:p>
            <a:endParaRPr lang="de-DE"/>
          </a:p>
        </p:txBody>
      </p:sp>
      <p:sp>
        <p:nvSpPr>
          <p:cNvPr id="279" name="Freihandform: Form 278">
            <a:extLst>
              <a:ext uri="{FF2B5EF4-FFF2-40B4-BE49-F238E27FC236}">
                <a16:creationId xmlns:a16="http://schemas.microsoft.com/office/drawing/2014/main" id="{4BBABDFE-BB76-4C3E-8755-4E50356E6B42}"/>
              </a:ext>
            </a:extLst>
          </p:cNvPr>
          <p:cNvSpPr/>
          <p:nvPr userDrawn="1"/>
        </p:nvSpPr>
        <p:spPr>
          <a:xfrm>
            <a:off x="10801860" y="3012680"/>
            <a:ext cx="297138" cy="323938"/>
          </a:xfrm>
          <a:custGeom>
            <a:avLst/>
            <a:gdLst>
              <a:gd name="connsiteX0" fmla="*/ 135168 w 297138"/>
              <a:gd name="connsiteY0" fmla="*/ 323939 h 323938"/>
              <a:gd name="connsiteX1" fmla="*/ 0 w 297138"/>
              <a:gd name="connsiteY1" fmla="*/ 323939 h 323938"/>
              <a:gd name="connsiteX2" fmla="*/ 158473 w 297138"/>
              <a:gd name="connsiteY2" fmla="*/ 163135 h 323938"/>
              <a:gd name="connsiteX3" fmla="*/ 0 w 297138"/>
              <a:gd name="connsiteY3" fmla="*/ 0 h 323938"/>
              <a:gd name="connsiteX4" fmla="*/ 138664 w 297138"/>
              <a:gd name="connsiteY4" fmla="*/ 0 h 323938"/>
              <a:gd name="connsiteX5" fmla="*/ 297138 w 297138"/>
              <a:gd name="connsiteY5" fmla="*/ 159639 h 323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3938">
                <a:moveTo>
                  <a:pt x="135168" y="323939"/>
                </a:moveTo>
                <a:lnTo>
                  <a:pt x="0" y="323939"/>
                </a:lnTo>
                <a:lnTo>
                  <a:pt x="158473" y="163135"/>
                </a:lnTo>
                <a:lnTo>
                  <a:pt x="0" y="0"/>
                </a:lnTo>
                <a:lnTo>
                  <a:pt x="138664" y="0"/>
                </a:lnTo>
                <a:lnTo>
                  <a:pt x="297138" y="159639"/>
                </a:lnTo>
                <a:close/>
              </a:path>
            </a:pathLst>
          </a:custGeom>
          <a:solidFill>
            <a:srgbClr val="EEF2F5"/>
          </a:solidFill>
          <a:ln w="11643" cap="flat">
            <a:noFill/>
            <a:prstDash val="solid"/>
            <a:miter/>
          </a:ln>
        </p:spPr>
        <p:txBody>
          <a:bodyPr rtlCol="0" anchor="ctr"/>
          <a:lstStyle/>
          <a:p>
            <a:endParaRPr lang="de-DE"/>
          </a:p>
        </p:txBody>
      </p:sp>
      <p:sp>
        <p:nvSpPr>
          <p:cNvPr id="280" name="Freihandform: Form 279">
            <a:extLst>
              <a:ext uri="{FF2B5EF4-FFF2-40B4-BE49-F238E27FC236}">
                <a16:creationId xmlns:a16="http://schemas.microsoft.com/office/drawing/2014/main" id="{98875BAD-35D6-4908-B226-48D549F12C09}"/>
              </a:ext>
            </a:extLst>
          </p:cNvPr>
          <p:cNvSpPr/>
          <p:nvPr userDrawn="1"/>
        </p:nvSpPr>
        <p:spPr>
          <a:xfrm>
            <a:off x="10801860" y="3368081"/>
            <a:ext cx="297138" cy="322773"/>
          </a:xfrm>
          <a:custGeom>
            <a:avLst/>
            <a:gdLst>
              <a:gd name="connsiteX0" fmla="*/ 135168 w 297138"/>
              <a:gd name="connsiteY0" fmla="*/ 322774 h 322773"/>
              <a:gd name="connsiteX1" fmla="*/ 0 w 297138"/>
              <a:gd name="connsiteY1" fmla="*/ 322774 h 322773"/>
              <a:gd name="connsiteX2" fmla="*/ 158473 w 297138"/>
              <a:gd name="connsiteY2" fmla="*/ 163135 h 322773"/>
              <a:gd name="connsiteX3" fmla="*/ 0 w 297138"/>
              <a:gd name="connsiteY3" fmla="*/ 0 h 322773"/>
              <a:gd name="connsiteX4" fmla="*/ 138664 w 297138"/>
              <a:gd name="connsiteY4" fmla="*/ 0 h 322773"/>
              <a:gd name="connsiteX5" fmla="*/ 297138 w 297138"/>
              <a:gd name="connsiteY5" fmla="*/ 158474 h 322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2773">
                <a:moveTo>
                  <a:pt x="135168" y="322774"/>
                </a:moveTo>
                <a:lnTo>
                  <a:pt x="0" y="322774"/>
                </a:lnTo>
                <a:lnTo>
                  <a:pt x="158473" y="163135"/>
                </a:lnTo>
                <a:lnTo>
                  <a:pt x="0" y="0"/>
                </a:lnTo>
                <a:lnTo>
                  <a:pt x="138664" y="0"/>
                </a:lnTo>
                <a:lnTo>
                  <a:pt x="297138" y="158474"/>
                </a:lnTo>
                <a:close/>
              </a:path>
            </a:pathLst>
          </a:custGeom>
          <a:solidFill>
            <a:srgbClr val="EEF2F5"/>
          </a:solidFill>
          <a:ln w="11643" cap="flat">
            <a:noFill/>
            <a:prstDash val="solid"/>
            <a:miter/>
          </a:ln>
        </p:spPr>
        <p:txBody>
          <a:bodyPr rtlCol="0" anchor="ctr"/>
          <a:lstStyle/>
          <a:p>
            <a:endParaRPr lang="de-DE"/>
          </a:p>
        </p:txBody>
      </p:sp>
      <p:sp>
        <p:nvSpPr>
          <p:cNvPr id="281" name="Freihandform: Form 280">
            <a:extLst>
              <a:ext uri="{FF2B5EF4-FFF2-40B4-BE49-F238E27FC236}">
                <a16:creationId xmlns:a16="http://schemas.microsoft.com/office/drawing/2014/main" id="{A3786D8D-2CF9-4026-A5B0-E8C239DB08E8}"/>
              </a:ext>
            </a:extLst>
          </p:cNvPr>
          <p:cNvSpPr/>
          <p:nvPr userDrawn="1"/>
        </p:nvSpPr>
        <p:spPr>
          <a:xfrm>
            <a:off x="10801860" y="3722316"/>
            <a:ext cx="297138" cy="323938"/>
          </a:xfrm>
          <a:custGeom>
            <a:avLst/>
            <a:gdLst>
              <a:gd name="connsiteX0" fmla="*/ 135168 w 297138"/>
              <a:gd name="connsiteY0" fmla="*/ 323939 h 323938"/>
              <a:gd name="connsiteX1" fmla="*/ 0 w 297138"/>
              <a:gd name="connsiteY1" fmla="*/ 323939 h 323938"/>
              <a:gd name="connsiteX2" fmla="*/ 158473 w 297138"/>
              <a:gd name="connsiteY2" fmla="*/ 163135 h 323938"/>
              <a:gd name="connsiteX3" fmla="*/ 0 w 297138"/>
              <a:gd name="connsiteY3" fmla="*/ 0 h 323938"/>
              <a:gd name="connsiteX4" fmla="*/ 138664 w 297138"/>
              <a:gd name="connsiteY4" fmla="*/ 0 h 323938"/>
              <a:gd name="connsiteX5" fmla="*/ 297138 w 297138"/>
              <a:gd name="connsiteY5" fmla="*/ 159639 h 323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3938">
                <a:moveTo>
                  <a:pt x="135168" y="323939"/>
                </a:moveTo>
                <a:lnTo>
                  <a:pt x="0" y="323939"/>
                </a:lnTo>
                <a:lnTo>
                  <a:pt x="158473" y="163135"/>
                </a:lnTo>
                <a:lnTo>
                  <a:pt x="0" y="0"/>
                </a:lnTo>
                <a:lnTo>
                  <a:pt x="138664" y="0"/>
                </a:lnTo>
                <a:lnTo>
                  <a:pt x="297138" y="159639"/>
                </a:lnTo>
                <a:close/>
              </a:path>
            </a:pathLst>
          </a:custGeom>
          <a:solidFill>
            <a:srgbClr val="EEF2F5"/>
          </a:solidFill>
          <a:ln w="11643" cap="flat">
            <a:noFill/>
            <a:prstDash val="solid"/>
            <a:miter/>
          </a:ln>
        </p:spPr>
        <p:txBody>
          <a:bodyPr rtlCol="0" anchor="ctr"/>
          <a:lstStyle/>
          <a:p>
            <a:endParaRPr lang="de-DE"/>
          </a:p>
        </p:txBody>
      </p:sp>
      <p:sp>
        <p:nvSpPr>
          <p:cNvPr id="282" name="Freihandform: Form 281">
            <a:extLst>
              <a:ext uri="{FF2B5EF4-FFF2-40B4-BE49-F238E27FC236}">
                <a16:creationId xmlns:a16="http://schemas.microsoft.com/office/drawing/2014/main" id="{AEC1ECE3-8272-4B6A-A4AD-2D7BCC4A4396}"/>
              </a:ext>
            </a:extLst>
          </p:cNvPr>
          <p:cNvSpPr/>
          <p:nvPr userDrawn="1"/>
        </p:nvSpPr>
        <p:spPr>
          <a:xfrm>
            <a:off x="10801860" y="4077717"/>
            <a:ext cx="297138" cy="322773"/>
          </a:xfrm>
          <a:custGeom>
            <a:avLst/>
            <a:gdLst>
              <a:gd name="connsiteX0" fmla="*/ 135168 w 297138"/>
              <a:gd name="connsiteY0" fmla="*/ 322774 h 322773"/>
              <a:gd name="connsiteX1" fmla="*/ 0 w 297138"/>
              <a:gd name="connsiteY1" fmla="*/ 322774 h 322773"/>
              <a:gd name="connsiteX2" fmla="*/ 158473 w 297138"/>
              <a:gd name="connsiteY2" fmla="*/ 163135 h 322773"/>
              <a:gd name="connsiteX3" fmla="*/ 0 w 297138"/>
              <a:gd name="connsiteY3" fmla="*/ 0 h 322773"/>
              <a:gd name="connsiteX4" fmla="*/ 138664 w 297138"/>
              <a:gd name="connsiteY4" fmla="*/ 0 h 322773"/>
              <a:gd name="connsiteX5" fmla="*/ 297138 w 297138"/>
              <a:gd name="connsiteY5" fmla="*/ 158474 h 322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2773">
                <a:moveTo>
                  <a:pt x="135168" y="322774"/>
                </a:moveTo>
                <a:lnTo>
                  <a:pt x="0" y="322774"/>
                </a:lnTo>
                <a:lnTo>
                  <a:pt x="158473" y="163135"/>
                </a:lnTo>
                <a:lnTo>
                  <a:pt x="0" y="0"/>
                </a:lnTo>
                <a:lnTo>
                  <a:pt x="138664" y="0"/>
                </a:lnTo>
                <a:lnTo>
                  <a:pt x="297138" y="158474"/>
                </a:lnTo>
                <a:close/>
              </a:path>
            </a:pathLst>
          </a:custGeom>
          <a:solidFill>
            <a:srgbClr val="EEF2F5"/>
          </a:solidFill>
          <a:ln w="11643" cap="flat">
            <a:noFill/>
            <a:prstDash val="solid"/>
            <a:miter/>
          </a:ln>
        </p:spPr>
        <p:txBody>
          <a:bodyPr rtlCol="0" anchor="ctr"/>
          <a:lstStyle/>
          <a:p>
            <a:endParaRPr lang="de-DE"/>
          </a:p>
        </p:txBody>
      </p:sp>
      <p:sp>
        <p:nvSpPr>
          <p:cNvPr id="283" name="Freihandform: Form 282">
            <a:extLst>
              <a:ext uri="{FF2B5EF4-FFF2-40B4-BE49-F238E27FC236}">
                <a16:creationId xmlns:a16="http://schemas.microsoft.com/office/drawing/2014/main" id="{AE0C999C-538B-4F36-A290-CBF6573F3D46}"/>
              </a:ext>
            </a:extLst>
          </p:cNvPr>
          <p:cNvSpPr/>
          <p:nvPr userDrawn="1"/>
        </p:nvSpPr>
        <p:spPr>
          <a:xfrm>
            <a:off x="10801860" y="4431952"/>
            <a:ext cx="297138" cy="323938"/>
          </a:xfrm>
          <a:custGeom>
            <a:avLst/>
            <a:gdLst>
              <a:gd name="connsiteX0" fmla="*/ 135168 w 297138"/>
              <a:gd name="connsiteY0" fmla="*/ 323939 h 323938"/>
              <a:gd name="connsiteX1" fmla="*/ 0 w 297138"/>
              <a:gd name="connsiteY1" fmla="*/ 323939 h 323938"/>
              <a:gd name="connsiteX2" fmla="*/ 158473 w 297138"/>
              <a:gd name="connsiteY2" fmla="*/ 163135 h 323938"/>
              <a:gd name="connsiteX3" fmla="*/ 0 w 297138"/>
              <a:gd name="connsiteY3" fmla="*/ 0 h 323938"/>
              <a:gd name="connsiteX4" fmla="*/ 138664 w 297138"/>
              <a:gd name="connsiteY4" fmla="*/ 0 h 323938"/>
              <a:gd name="connsiteX5" fmla="*/ 297138 w 297138"/>
              <a:gd name="connsiteY5" fmla="*/ 159639 h 323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3938">
                <a:moveTo>
                  <a:pt x="135168" y="323939"/>
                </a:moveTo>
                <a:lnTo>
                  <a:pt x="0" y="323939"/>
                </a:lnTo>
                <a:lnTo>
                  <a:pt x="158473" y="163135"/>
                </a:lnTo>
                <a:lnTo>
                  <a:pt x="0" y="0"/>
                </a:lnTo>
                <a:lnTo>
                  <a:pt x="138664" y="0"/>
                </a:lnTo>
                <a:lnTo>
                  <a:pt x="297138" y="159639"/>
                </a:lnTo>
                <a:close/>
              </a:path>
            </a:pathLst>
          </a:custGeom>
          <a:solidFill>
            <a:srgbClr val="EEF2F5"/>
          </a:solidFill>
          <a:ln w="11643" cap="flat">
            <a:noFill/>
            <a:prstDash val="solid"/>
            <a:miter/>
          </a:ln>
        </p:spPr>
        <p:txBody>
          <a:bodyPr rtlCol="0" anchor="ctr"/>
          <a:lstStyle/>
          <a:p>
            <a:endParaRPr lang="de-DE"/>
          </a:p>
        </p:txBody>
      </p:sp>
      <p:sp>
        <p:nvSpPr>
          <p:cNvPr id="284" name="Freihandform: Form 283">
            <a:extLst>
              <a:ext uri="{FF2B5EF4-FFF2-40B4-BE49-F238E27FC236}">
                <a16:creationId xmlns:a16="http://schemas.microsoft.com/office/drawing/2014/main" id="{9674E7D6-971D-46D3-B314-1208718A631D}"/>
              </a:ext>
            </a:extLst>
          </p:cNvPr>
          <p:cNvSpPr/>
          <p:nvPr userDrawn="1"/>
        </p:nvSpPr>
        <p:spPr>
          <a:xfrm>
            <a:off x="10801860" y="4787353"/>
            <a:ext cx="297138" cy="322773"/>
          </a:xfrm>
          <a:custGeom>
            <a:avLst/>
            <a:gdLst>
              <a:gd name="connsiteX0" fmla="*/ 135168 w 297138"/>
              <a:gd name="connsiteY0" fmla="*/ 322774 h 322773"/>
              <a:gd name="connsiteX1" fmla="*/ 0 w 297138"/>
              <a:gd name="connsiteY1" fmla="*/ 322774 h 322773"/>
              <a:gd name="connsiteX2" fmla="*/ 158473 w 297138"/>
              <a:gd name="connsiteY2" fmla="*/ 163135 h 322773"/>
              <a:gd name="connsiteX3" fmla="*/ 0 w 297138"/>
              <a:gd name="connsiteY3" fmla="*/ 0 h 322773"/>
              <a:gd name="connsiteX4" fmla="*/ 138664 w 297138"/>
              <a:gd name="connsiteY4" fmla="*/ 0 h 322773"/>
              <a:gd name="connsiteX5" fmla="*/ 297138 w 297138"/>
              <a:gd name="connsiteY5" fmla="*/ 158474 h 322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2773">
                <a:moveTo>
                  <a:pt x="135168" y="322774"/>
                </a:moveTo>
                <a:lnTo>
                  <a:pt x="0" y="322774"/>
                </a:lnTo>
                <a:lnTo>
                  <a:pt x="158473" y="163135"/>
                </a:lnTo>
                <a:lnTo>
                  <a:pt x="0" y="0"/>
                </a:lnTo>
                <a:lnTo>
                  <a:pt x="138664" y="0"/>
                </a:lnTo>
                <a:lnTo>
                  <a:pt x="297138" y="158474"/>
                </a:lnTo>
                <a:close/>
              </a:path>
            </a:pathLst>
          </a:custGeom>
          <a:solidFill>
            <a:srgbClr val="EEF2F5"/>
          </a:solidFill>
          <a:ln w="11643" cap="flat">
            <a:noFill/>
            <a:prstDash val="solid"/>
            <a:miter/>
          </a:ln>
        </p:spPr>
        <p:txBody>
          <a:bodyPr rtlCol="0" anchor="ctr"/>
          <a:lstStyle/>
          <a:p>
            <a:endParaRPr lang="de-DE"/>
          </a:p>
        </p:txBody>
      </p:sp>
      <p:sp>
        <p:nvSpPr>
          <p:cNvPr id="285" name="Freihandform: Form 284">
            <a:extLst>
              <a:ext uri="{FF2B5EF4-FFF2-40B4-BE49-F238E27FC236}">
                <a16:creationId xmlns:a16="http://schemas.microsoft.com/office/drawing/2014/main" id="{C0A29B2A-FB03-4D46-B29E-FADF405DF664}"/>
              </a:ext>
            </a:extLst>
          </p:cNvPr>
          <p:cNvSpPr/>
          <p:nvPr userDrawn="1"/>
        </p:nvSpPr>
        <p:spPr>
          <a:xfrm>
            <a:off x="10801860" y="5141588"/>
            <a:ext cx="297138" cy="323938"/>
          </a:xfrm>
          <a:custGeom>
            <a:avLst/>
            <a:gdLst>
              <a:gd name="connsiteX0" fmla="*/ 135168 w 297138"/>
              <a:gd name="connsiteY0" fmla="*/ 323939 h 323938"/>
              <a:gd name="connsiteX1" fmla="*/ 0 w 297138"/>
              <a:gd name="connsiteY1" fmla="*/ 323939 h 323938"/>
              <a:gd name="connsiteX2" fmla="*/ 158473 w 297138"/>
              <a:gd name="connsiteY2" fmla="*/ 163135 h 323938"/>
              <a:gd name="connsiteX3" fmla="*/ 0 w 297138"/>
              <a:gd name="connsiteY3" fmla="*/ 0 h 323938"/>
              <a:gd name="connsiteX4" fmla="*/ 138664 w 297138"/>
              <a:gd name="connsiteY4" fmla="*/ 0 h 323938"/>
              <a:gd name="connsiteX5" fmla="*/ 297138 w 297138"/>
              <a:gd name="connsiteY5" fmla="*/ 159639 h 323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3938">
                <a:moveTo>
                  <a:pt x="135168" y="323939"/>
                </a:moveTo>
                <a:lnTo>
                  <a:pt x="0" y="323939"/>
                </a:lnTo>
                <a:lnTo>
                  <a:pt x="158473" y="163135"/>
                </a:lnTo>
                <a:lnTo>
                  <a:pt x="0" y="0"/>
                </a:lnTo>
                <a:lnTo>
                  <a:pt x="138664" y="0"/>
                </a:lnTo>
                <a:lnTo>
                  <a:pt x="297138" y="159639"/>
                </a:lnTo>
                <a:close/>
              </a:path>
            </a:pathLst>
          </a:custGeom>
          <a:solidFill>
            <a:srgbClr val="EEF2F5"/>
          </a:solidFill>
          <a:ln w="11643" cap="flat">
            <a:noFill/>
            <a:prstDash val="solid"/>
            <a:miter/>
          </a:ln>
        </p:spPr>
        <p:txBody>
          <a:bodyPr rtlCol="0" anchor="ctr"/>
          <a:lstStyle/>
          <a:p>
            <a:endParaRPr lang="de-DE"/>
          </a:p>
        </p:txBody>
      </p:sp>
      <p:sp>
        <p:nvSpPr>
          <p:cNvPr id="286" name="Freihandform: Form 285">
            <a:extLst>
              <a:ext uri="{FF2B5EF4-FFF2-40B4-BE49-F238E27FC236}">
                <a16:creationId xmlns:a16="http://schemas.microsoft.com/office/drawing/2014/main" id="{76B80CB3-70F6-43A2-8457-55ED0DB8131D}"/>
              </a:ext>
            </a:extLst>
          </p:cNvPr>
          <p:cNvSpPr/>
          <p:nvPr userDrawn="1"/>
        </p:nvSpPr>
        <p:spPr>
          <a:xfrm>
            <a:off x="10801860" y="5496989"/>
            <a:ext cx="297138" cy="322773"/>
          </a:xfrm>
          <a:custGeom>
            <a:avLst/>
            <a:gdLst>
              <a:gd name="connsiteX0" fmla="*/ 135168 w 297138"/>
              <a:gd name="connsiteY0" fmla="*/ 322773 h 322773"/>
              <a:gd name="connsiteX1" fmla="*/ 0 w 297138"/>
              <a:gd name="connsiteY1" fmla="*/ 322773 h 322773"/>
              <a:gd name="connsiteX2" fmla="*/ 158473 w 297138"/>
              <a:gd name="connsiteY2" fmla="*/ 163135 h 322773"/>
              <a:gd name="connsiteX3" fmla="*/ 0 w 297138"/>
              <a:gd name="connsiteY3" fmla="*/ 0 h 322773"/>
              <a:gd name="connsiteX4" fmla="*/ 138664 w 297138"/>
              <a:gd name="connsiteY4" fmla="*/ 0 h 322773"/>
              <a:gd name="connsiteX5" fmla="*/ 297138 w 297138"/>
              <a:gd name="connsiteY5" fmla="*/ 158473 h 322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138" h="322773">
                <a:moveTo>
                  <a:pt x="135168" y="322773"/>
                </a:moveTo>
                <a:lnTo>
                  <a:pt x="0" y="322773"/>
                </a:lnTo>
                <a:lnTo>
                  <a:pt x="158473" y="163135"/>
                </a:lnTo>
                <a:lnTo>
                  <a:pt x="0" y="0"/>
                </a:lnTo>
                <a:lnTo>
                  <a:pt x="138664" y="0"/>
                </a:lnTo>
                <a:lnTo>
                  <a:pt x="297138" y="158473"/>
                </a:lnTo>
                <a:close/>
              </a:path>
            </a:pathLst>
          </a:custGeom>
          <a:solidFill>
            <a:srgbClr val="EEF2F5"/>
          </a:solidFill>
          <a:ln w="11643" cap="flat">
            <a:noFill/>
            <a:prstDash val="solid"/>
            <a:miter/>
          </a:ln>
        </p:spPr>
        <p:txBody>
          <a:bodyPr rtlCol="0" anchor="ctr"/>
          <a:lstStyle/>
          <a:p>
            <a:endParaRPr lang="de-DE"/>
          </a:p>
        </p:txBody>
      </p:sp>
      <p:sp>
        <p:nvSpPr>
          <p:cNvPr id="287" name="Freihandform: Form 286">
            <a:extLst>
              <a:ext uri="{FF2B5EF4-FFF2-40B4-BE49-F238E27FC236}">
                <a16:creationId xmlns:a16="http://schemas.microsoft.com/office/drawing/2014/main" id="{51E8753E-88FE-4F15-A45C-78FC0A40E063}"/>
              </a:ext>
            </a:extLst>
          </p:cNvPr>
          <p:cNvSpPr/>
          <p:nvPr userDrawn="1"/>
        </p:nvSpPr>
        <p:spPr>
          <a:xfrm>
            <a:off x="10454616" y="2667767"/>
            <a:ext cx="280824" cy="304129"/>
          </a:xfrm>
          <a:custGeom>
            <a:avLst/>
            <a:gdLst>
              <a:gd name="connsiteX0" fmla="*/ 129343 w 280824"/>
              <a:gd name="connsiteY0" fmla="*/ 304130 h 304129"/>
              <a:gd name="connsiteX1" fmla="*/ 0 w 280824"/>
              <a:gd name="connsiteY1" fmla="*/ 304130 h 304129"/>
              <a:gd name="connsiteX2" fmla="*/ 150317 w 280824"/>
              <a:gd name="connsiteY2" fmla="*/ 153813 h 304129"/>
              <a:gd name="connsiteX3" fmla="*/ 0 w 280824"/>
              <a:gd name="connsiteY3" fmla="*/ 0 h 304129"/>
              <a:gd name="connsiteX4" fmla="*/ 131673 w 280824"/>
              <a:gd name="connsiteY4" fmla="*/ 0 h 304129"/>
              <a:gd name="connsiteX5" fmla="*/ 280825 w 280824"/>
              <a:gd name="connsiteY5" fmla="*/ 149152 h 304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4129">
                <a:moveTo>
                  <a:pt x="129343" y="304130"/>
                </a:moveTo>
                <a:lnTo>
                  <a:pt x="0" y="304130"/>
                </a:lnTo>
                <a:lnTo>
                  <a:pt x="150317" y="153813"/>
                </a:lnTo>
                <a:lnTo>
                  <a:pt x="0" y="0"/>
                </a:lnTo>
                <a:lnTo>
                  <a:pt x="131673" y="0"/>
                </a:lnTo>
                <a:lnTo>
                  <a:pt x="280825" y="149152"/>
                </a:lnTo>
                <a:close/>
              </a:path>
            </a:pathLst>
          </a:custGeom>
          <a:solidFill>
            <a:srgbClr val="EEF2F5"/>
          </a:solidFill>
          <a:ln w="11643" cap="flat">
            <a:noFill/>
            <a:prstDash val="solid"/>
            <a:miter/>
          </a:ln>
        </p:spPr>
        <p:txBody>
          <a:bodyPr rtlCol="0" anchor="ctr"/>
          <a:lstStyle/>
          <a:p>
            <a:endParaRPr lang="de-DE"/>
          </a:p>
        </p:txBody>
      </p:sp>
      <p:sp>
        <p:nvSpPr>
          <p:cNvPr id="288" name="Freihandform: Form 287">
            <a:extLst>
              <a:ext uri="{FF2B5EF4-FFF2-40B4-BE49-F238E27FC236}">
                <a16:creationId xmlns:a16="http://schemas.microsoft.com/office/drawing/2014/main" id="{DDA6218D-1A23-4223-8FA4-6C66FF0014BF}"/>
              </a:ext>
            </a:extLst>
          </p:cNvPr>
          <p:cNvSpPr/>
          <p:nvPr userDrawn="1"/>
        </p:nvSpPr>
        <p:spPr>
          <a:xfrm>
            <a:off x="10454616" y="3022002"/>
            <a:ext cx="280824" cy="305294"/>
          </a:xfrm>
          <a:custGeom>
            <a:avLst/>
            <a:gdLst>
              <a:gd name="connsiteX0" fmla="*/ 129343 w 280824"/>
              <a:gd name="connsiteY0" fmla="*/ 305295 h 305294"/>
              <a:gd name="connsiteX1" fmla="*/ 0 w 280824"/>
              <a:gd name="connsiteY1" fmla="*/ 305295 h 305294"/>
              <a:gd name="connsiteX2" fmla="*/ 150317 w 280824"/>
              <a:gd name="connsiteY2" fmla="*/ 153813 h 305294"/>
              <a:gd name="connsiteX3" fmla="*/ 0 w 280824"/>
              <a:gd name="connsiteY3" fmla="*/ 0 h 305294"/>
              <a:gd name="connsiteX4" fmla="*/ 131673 w 280824"/>
              <a:gd name="connsiteY4" fmla="*/ 0 h 305294"/>
              <a:gd name="connsiteX5" fmla="*/ 280825 w 280824"/>
              <a:gd name="connsiteY5" fmla="*/ 150317 h 305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5294">
                <a:moveTo>
                  <a:pt x="129343" y="305295"/>
                </a:moveTo>
                <a:lnTo>
                  <a:pt x="0" y="305295"/>
                </a:lnTo>
                <a:lnTo>
                  <a:pt x="150317" y="153813"/>
                </a:lnTo>
                <a:lnTo>
                  <a:pt x="0" y="0"/>
                </a:lnTo>
                <a:lnTo>
                  <a:pt x="131673" y="0"/>
                </a:lnTo>
                <a:lnTo>
                  <a:pt x="280825" y="150317"/>
                </a:lnTo>
                <a:close/>
              </a:path>
            </a:pathLst>
          </a:custGeom>
          <a:solidFill>
            <a:srgbClr val="EEF2F5"/>
          </a:solidFill>
          <a:ln w="11643" cap="flat">
            <a:noFill/>
            <a:prstDash val="solid"/>
            <a:miter/>
          </a:ln>
        </p:spPr>
        <p:txBody>
          <a:bodyPr rtlCol="0" anchor="ctr"/>
          <a:lstStyle/>
          <a:p>
            <a:endParaRPr lang="de-DE"/>
          </a:p>
        </p:txBody>
      </p:sp>
      <p:sp>
        <p:nvSpPr>
          <p:cNvPr id="289" name="Freihandform: Form 288">
            <a:extLst>
              <a:ext uri="{FF2B5EF4-FFF2-40B4-BE49-F238E27FC236}">
                <a16:creationId xmlns:a16="http://schemas.microsoft.com/office/drawing/2014/main" id="{CA02237A-C045-4677-A7CD-4AE467EBE9F6}"/>
              </a:ext>
            </a:extLst>
          </p:cNvPr>
          <p:cNvSpPr/>
          <p:nvPr userDrawn="1"/>
        </p:nvSpPr>
        <p:spPr>
          <a:xfrm>
            <a:off x="10454616" y="3377403"/>
            <a:ext cx="280824" cy="304129"/>
          </a:xfrm>
          <a:custGeom>
            <a:avLst/>
            <a:gdLst>
              <a:gd name="connsiteX0" fmla="*/ 129343 w 280824"/>
              <a:gd name="connsiteY0" fmla="*/ 304130 h 304129"/>
              <a:gd name="connsiteX1" fmla="*/ 0 w 280824"/>
              <a:gd name="connsiteY1" fmla="*/ 304130 h 304129"/>
              <a:gd name="connsiteX2" fmla="*/ 150317 w 280824"/>
              <a:gd name="connsiteY2" fmla="*/ 153813 h 304129"/>
              <a:gd name="connsiteX3" fmla="*/ 0 w 280824"/>
              <a:gd name="connsiteY3" fmla="*/ 0 h 304129"/>
              <a:gd name="connsiteX4" fmla="*/ 131673 w 280824"/>
              <a:gd name="connsiteY4" fmla="*/ 0 h 304129"/>
              <a:gd name="connsiteX5" fmla="*/ 280825 w 280824"/>
              <a:gd name="connsiteY5" fmla="*/ 149152 h 304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4129">
                <a:moveTo>
                  <a:pt x="129343" y="304130"/>
                </a:moveTo>
                <a:lnTo>
                  <a:pt x="0" y="304130"/>
                </a:lnTo>
                <a:lnTo>
                  <a:pt x="150317" y="153813"/>
                </a:lnTo>
                <a:lnTo>
                  <a:pt x="0" y="0"/>
                </a:lnTo>
                <a:lnTo>
                  <a:pt x="131673" y="0"/>
                </a:lnTo>
                <a:lnTo>
                  <a:pt x="280825" y="149152"/>
                </a:lnTo>
                <a:close/>
              </a:path>
            </a:pathLst>
          </a:custGeom>
          <a:solidFill>
            <a:srgbClr val="EEF2F5"/>
          </a:solidFill>
          <a:ln w="11643" cap="flat">
            <a:noFill/>
            <a:prstDash val="solid"/>
            <a:miter/>
          </a:ln>
        </p:spPr>
        <p:txBody>
          <a:bodyPr rtlCol="0" anchor="ctr"/>
          <a:lstStyle/>
          <a:p>
            <a:endParaRPr lang="de-DE"/>
          </a:p>
        </p:txBody>
      </p:sp>
      <p:sp>
        <p:nvSpPr>
          <p:cNvPr id="290" name="Freihandform: Form 289">
            <a:extLst>
              <a:ext uri="{FF2B5EF4-FFF2-40B4-BE49-F238E27FC236}">
                <a16:creationId xmlns:a16="http://schemas.microsoft.com/office/drawing/2014/main" id="{48D1FA81-8ADF-4419-B180-C2A93B810128}"/>
              </a:ext>
            </a:extLst>
          </p:cNvPr>
          <p:cNvSpPr/>
          <p:nvPr userDrawn="1"/>
        </p:nvSpPr>
        <p:spPr>
          <a:xfrm>
            <a:off x="10454616" y="3731638"/>
            <a:ext cx="280824" cy="305294"/>
          </a:xfrm>
          <a:custGeom>
            <a:avLst/>
            <a:gdLst>
              <a:gd name="connsiteX0" fmla="*/ 129343 w 280824"/>
              <a:gd name="connsiteY0" fmla="*/ 305295 h 305294"/>
              <a:gd name="connsiteX1" fmla="*/ 0 w 280824"/>
              <a:gd name="connsiteY1" fmla="*/ 305295 h 305294"/>
              <a:gd name="connsiteX2" fmla="*/ 150317 w 280824"/>
              <a:gd name="connsiteY2" fmla="*/ 153813 h 305294"/>
              <a:gd name="connsiteX3" fmla="*/ 0 w 280824"/>
              <a:gd name="connsiteY3" fmla="*/ 0 h 305294"/>
              <a:gd name="connsiteX4" fmla="*/ 131673 w 280824"/>
              <a:gd name="connsiteY4" fmla="*/ 0 h 305294"/>
              <a:gd name="connsiteX5" fmla="*/ 280825 w 280824"/>
              <a:gd name="connsiteY5" fmla="*/ 150317 h 305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5294">
                <a:moveTo>
                  <a:pt x="129343" y="305295"/>
                </a:moveTo>
                <a:lnTo>
                  <a:pt x="0" y="305295"/>
                </a:lnTo>
                <a:lnTo>
                  <a:pt x="150317" y="153813"/>
                </a:lnTo>
                <a:lnTo>
                  <a:pt x="0" y="0"/>
                </a:lnTo>
                <a:lnTo>
                  <a:pt x="131673" y="0"/>
                </a:lnTo>
                <a:lnTo>
                  <a:pt x="280825" y="150317"/>
                </a:lnTo>
                <a:close/>
              </a:path>
            </a:pathLst>
          </a:custGeom>
          <a:solidFill>
            <a:srgbClr val="EEF2F5"/>
          </a:solidFill>
          <a:ln w="11643" cap="flat">
            <a:noFill/>
            <a:prstDash val="solid"/>
            <a:miter/>
          </a:ln>
        </p:spPr>
        <p:txBody>
          <a:bodyPr rtlCol="0" anchor="ctr"/>
          <a:lstStyle/>
          <a:p>
            <a:endParaRPr lang="de-DE"/>
          </a:p>
        </p:txBody>
      </p:sp>
      <p:sp>
        <p:nvSpPr>
          <p:cNvPr id="291" name="Freihandform: Form 290">
            <a:extLst>
              <a:ext uri="{FF2B5EF4-FFF2-40B4-BE49-F238E27FC236}">
                <a16:creationId xmlns:a16="http://schemas.microsoft.com/office/drawing/2014/main" id="{2227A2BB-D536-4940-8682-81393A39BE65}"/>
              </a:ext>
            </a:extLst>
          </p:cNvPr>
          <p:cNvSpPr/>
          <p:nvPr userDrawn="1"/>
        </p:nvSpPr>
        <p:spPr>
          <a:xfrm>
            <a:off x="10454616" y="4087039"/>
            <a:ext cx="280824" cy="304129"/>
          </a:xfrm>
          <a:custGeom>
            <a:avLst/>
            <a:gdLst>
              <a:gd name="connsiteX0" fmla="*/ 129343 w 280824"/>
              <a:gd name="connsiteY0" fmla="*/ 304130 h 304129"/>
              <a:gd name="connsiteX1" fmla="*/ 0 w 280824"/>
              <a:gd name="connsiteY1" fmla="*/ 304130 h 304129"/>
              <a:gd name="connsiteX2" fmla="*/ 150317 w 280824"/>
              <a:gd name="connsiteY2" fmla="*/ 153813 h 304129"/>
              <a:gd name="connsiteX3" fmla="*/ 0 w 280824"/>
              <a:gd name="connsiteY3" fmla="*/ 0 h 304129"/>
              <a:gd name="connsiteX4" fmla="*/ 131673 w 280824"/>
              <a:gd name="connsiteY4" fmla="*/ 0 h 304129"/>
              <a:gd name="connsiteX5" fmla="*/ 280825 w 280824"/>
              <a:gd name="connsiteY5" fmla="*/ 149152 h 304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4129">
                <a:moveTo>
                  <a:pt x="129343" y="304130"/>
                </a:moveTo>
                <a:lnTo>
                  <a:pt x="0" y="304130"/>
                </a:lnTo>
                <a:lnTo>
                  <a:pt x="150317" y="153813"/>
                </a:lnTo>
                <a:lnTo>
                  <a:pt x="0" y="0"/>
                </a:lnTo>
                <a:lnTo>
                  <a:pt x="131673" y="0"/>
                </a:lnTo>
                <a:lnTo>
                  <a:pt x="280825" y="149152"/>
                </a:lnTo>
                <a:close/>
              </a:path>
            </a:pathLst>
          </a:custGeom>
          <a:solidFill>
            <a:srgbClr val="EEF2F5"/>
          </a:solidFill>
          <a:ln w="11643" cap="flat">
            <a:noFill/>
            <a:prstDash val="solid"/>
            <a:miter/>
          </a:ln>
        </p:spPr>
        <p:txBody>
          <a:bodyPr rtlCol="0" anchor="ctr"/>
          <a:lstStyle/>
          <a:p>
            <a:endParaRPr lang="de-DE"/>
          </a:p>
        </p:txBody>
      </p:sp>
      <p:sp>
        <p:nvSpPr>
          <p:cNvPr id="292" name="Freihandform: Form 291">
            <a:extLst>
              <a:ext uri="{FF2B5EF4-FFF2-40B4-BE49-F238E27FC236}">
                <a16:creationId xmlns:a16="http://schemas.microsoft.com/office/drawing/2014/main" id="{7E206ED0-5D6B-4CC8-968C-782E0C2238F3}"/>
              </a:ext>
            </a:extLst>
          </p:cNvPr>
          <p:cNvSpPr/>
          <p:nvPr userDrawn="1"/>
        </p:nvSpPr>
        <p:spPr>
          <a:xfrm>
            <a:off x="10454616" y="4441274"/>
            <a:ext cx="280824" cy="305294"/>
          </a:xfrm>
          <a:custGeom>
            <a:avLst/>
            <a:gdLst>
              <a:gd name="connsiteX0" fmla="*/ 129343 w 280824"/>
              <a:gd name="connsiteY0" fmla="*/ 305295 h 305294"/>
              <a:gd name="connsiteX1" fmla="*/ 0 w 280824"/>
              <a:gd name="connsiteY1" fmla="*/ 305295 h 305294"/>
              <a:gd name="connsiteX2" fmla="*/ 150317 w 280824"/>
              <a:gd name="connsiteY2" fmla="*/ 153813 h 305294"/>
              <a:gd name="connsiteX3" fmla="*/ 0 w 280824"/>
              <a:gd name="connsiteY3" fmla="*/ 0 h 305294"/>
              <a:gd name="connsiteX4" fmla="*/ 131673 w 280824"/>
              <a:gd name="connsiteY4" fmla="*/ 0 h 305294"/>
              <a:gd name="connsiteX5" fmla="*/ 280825 w 280824"/>
              <a:gd name="connsiteY5" fmla="*/ 150317 h 305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5294">
                <a:moveTo>
                  <a:pt x="129343" y="305295"/>
                </a:moveTo>
                <a:lnTo>
                  <a:pt x="0" y="305295"/>
                </a:lnTo>
                <a:lnTo>
                  <a:pt x="150317" y="153813"/>
                </a:lnTo>
                <a:lnTo>
                  <a:pt x="0" y="0"/>
                </a:lnTo>
                <a:lnTo>
                  <a:pt x="131673" y="0"/>
                </a:lnTo>
                <a:lnTo>
                  <a:pt x="280825" y="150317"/>
                </a:lnTo>
                <a:close/>
              </a:path>
            </a:pathLst>
          </a:custGeom>
          <a:solidFill>
            <a:srgbClr val="EEF2F5"/>
          </a:solidFill>
          <a:ln w="11643" cap="flat">
            <a:noFill/>
            <a:prstDash val="solid"/>
            <a:miter/>
          </a:ln>
        </p:spPr>
        <p:txBody>
          <a:bodyPr rtlCol="0" anchor="ctr"/>
          <a:lstStyle/>
          <a:p>
            <a:endParaRPr lang="de-DE"/>
          </a:p>
        </p:txBody>
      </p:sp>
      <p:sp>
        <p:nvSpPr>
          <p:cNvPr id="293" name="Freihandform: Form 292">
            <a:extLst>
              <a:ext uri="{FF2B5EF4-FFF2-40B4-BE49-F238E27FC236}">
                <a16:creationId xmlns:a16="http://schemas.microsoft.com/office/drawing/2014/main" id="{F9570349-C376-4459-9BE6-66E1EB720F97}"/>
              </a:ext>
            </a:extLst>
          </p:cNvPr>
          <p:cNvSpPr/>
          <p:nvPr userDrawn="1"/>
        </p:nvSpPr>
        <p:spPr>
          <a:xfrm>
            <a:off x="10454616" y="4796675"/>
            <a:ext cx="280824" cy="304129"/>
          </a:xfrm>
          <a:custGeom>
            <a:avLst/>
            <a:gdLst>
              <a:gd name="connsiteX0" fmla="*/ 129343 w 280824"/>
              <a:gd name="connsiteY0" fmla="*/ 304130 h 304129"/>
              <a:gd name="connsiteX1" fmla="*/ 0 w 280824"/>
              <a:gd name="connsiteY1" fmla="*/ 304130 h 304129"/>
              <a:gd name="connsiteX2" fmla="*/ 150317 w 280824"/>
              <a:gd name="connsiteY2" fmla="*/ 153813 h 304129"/>
              <a:gd name="connsiteX3" fmla="*/ 0 w 280824"/>
              <a:gd name="connsiteY3" fmla="*/ 0 h 304129"/>
              <a:gd name="connsiteX4" fmla="*/ 131673 w 280824"/>
              <a:gd name="connsiteY4" fmla="*/ 0 h 304129"/>
              <a:gd name="connsiteX5" fmla="*/ 280825 w 280824"/>
              <a:gd name="connsiteY5" fmla="*/ 149152 h 304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4129">
                <a:moveTo>
                  <a:pt x="129343" y="304130"/>
                </a:moveTo>
                <a:lnTo>
                  <a:pt x="0" y="304130"/>
                </a:lnTo>
                <a:lnTo>
                  <a:pt x="150317" y="153813"/>
                </a:lnTo>
                <a:lnTo>
                  <a:pt x="0" y="0"/>
                </a:lnTo>
                <a:lnTo>
                  <a:pt x="131673" y="0"/>
                </a:lnTo>
                <a:lnTo>
                  <a:pt x="280825" y="149152"/>
                </a:lnTo>
                <a:close/>
              </a:path>
            </a:pathLst>
          </a:custGeom>
          <a:solidFill>
            <a:srgbClr val="EEF2F5"/>
          </a:solidFill>
          <a:ln w="11643" cap="flat">
            <a:noFill/>
            <a:prstDash val="solid"/>
            <a:miter/>
          </a:ln>
        </p:spPr>
        <p:txBody>
          <a:bodyPr rtlCol="0" anchor="ctr"/>
          <a:lstStyle/>
          <a:p>
            <a:endParaRPr lang="de-DE"/>
          </a:p>
        </p:txBody>
      </p:sp>
      <p:sp>
        <p:nvSpPr>
          <p:cNvPr id="294" name="Freihandform: Form 293">
            <a:extLst>
              <a:ext uri="{FF2B5EF4-FFF2-40B4-BE49-F238E27FC236}">
                <a16:creationId xmlns:a16="http://schemas.microsoft.com/office/drawing/2014/main" id="{CE3FF337-B168-4B08-BAF8-FBBA6DDEF4B3}"/>
              </a:ext>
            </a:extLst>
          </p:cNvPr>
          <p:cNvSpPr/>
          <p:nvPr userDrawn="1"/>
        </p:nvSpPr>
        <p:spPr>
          <a:xfrm>
            <a:off x="10454616" y="5150910"/>
            <a:ext cx="280824" cy="305295"/>
          </a:xfrm>
          <a:custGeom>
            <a:avLst/>
            <a:gdLst>
              <a:gd name="connsiteX0" fmla="*/ 129343 w 280824"/>
              <a:gd name="connsiteY0" fmla="*/ 305295 h 305295"/>
              <a:gd name="connsiteX1" fmla="*/ 0 w 280824"/>
              <a:gd name="connsiteY1" fmla="*/ 305295 h 305295"/>
              <a:gd name="connsiteX2" fmla="*/ 150317 w 280824"/>
              <a:gd name="connsiteY2" fmla="*/ 153813 h 305295"/>
              <a:gd name="connsiteX3" fmla="*/ 0 w 280824"/>
              <a:gd name="connsiteY3" fmla="*/ 0 h 305295"/>
              <a:gd name="connsiteX4" fmla="*/ 131673 w 280824"/>
              <a:gd name="connsiteY4" fmla="*/ 0 h 305295"/>
              <a:gd name="connsiteX5" fmla="*/ 280825 w 280824"/>
              <a:gd name="connsiteY5" fmla="*/ 150317 h 305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5295">
                <a:moveTo>
                  <a:pt x="129343" y="305295"/>
                </a:moveTo>
                <a:lnTo>
                  <a:pt x="0" y="305295"/>
                </a:lnTo>
                <a:lnTo>
                  <a:pt x="150317" y="153813"/>
                </a:lnTo>
                <a:lnTo>
                  <a:pt x="0" y="0"/>
                </a:lnTo>
                <a:lnTo>
                  <a:pt x="131673" y="0"/>
                </a:lnTo>
                <a:lnTo>
                  <a:pt x="280825" y="150317"/>
                </a:lnTo>
                <a:close/>
              </a:path>
            </a:pathLst>
          </a:custGeom>
          <a:solidFill>
            <a:srgbClr val="EEF2F5"/>
          </a:solidFill>
          <a:ln w="11643" cap="flat">
            <a:noFill/>
            <a:prstDash val="solid"/>
            <a:miter/>
          </a:ln>
        </p:spPr>
        <p:txBody>
          <a:bodyPr rtlCol="0" anchor="ctr"/>
          <a:lstStyle/>
          <a:p>
            <a:endParaRPr lang="de-DE"/>
          </a:p>
        </p:txBody>
      </p:sp>
      <p:sp>
        <p:nvSpPr>
          <p:cNvPr id="295" name="Freihandform: Form 294">
            <a:extLst>
              <a:ext uri="{FF2B5EF4-FFF2-40B4-BE49-F238E27FC236}">
                <a16:creationId xmlns:a16="http://schemas.microsoft.com/office/drawing/2014/main" id="{C15D20DE-AD5C-488E-85D6-7F573CD6FEAE}"/>
              </a:ext>
            </a:extLst>
          </p:cNvPr>
          <p:cNvSpPr/>
          <p:nvPr userDrawn="1"/>
        </p:nvSpPr>
        <p:spPr>
          <a:xfrm>
            <a:off x="10454616" y="5506311"/>
            <a:ext cx="280824" cy="305295"/>
          </a:xfrm>
          <a:custGeom>
            <a:avLst/>
            <a:gdLst>
              <a:gd name="connsiteX0" fmla="*/ 129343 w 280824"/>
              <a:gd name="connsiteY0" fmla="*/ 305295 h 305295"/>
              <a:gd name="connsiteX1" fmla="*/ 0 w 280824"/>
              <a:gd name="connsiteY1" fmla="*/ 305295 h 305295"/>
              <a:gd name="connsiteX2" fmla="*/ 150317 w 280824"/>
              <a:gd name="connsiteY2" fmla="*/ 153813 h 305295"/>
              <a:gd name="connsiteX3" fmla="*/ 0 w 280824"/>
              <a:gd name="connsiteY3" fmla="*/ 0 h 305295"/>
              <a:gd name="connsiteX4" fmla="*/ 131673 w 280824"/>
              <a:gd name="connsiteY4" fmla="*/ 0 h 305295"/>
              <a:gd name="connsiteX5" fmla="*/ 280825 w 280824"/>
              <a:gd name="connsiteY5" fmla="*/ 149152 h 305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5295">
                <a:moveTo>
                  <a:pt x="129343" y="305295"/>
                </a:moveTo>
                <a:lnTo>
                  <a:pt x="0" y="305295"/>
                </a:lnTo>
                <a:lnTo>
                  <a:pt x="150317" y="153813"/>
                </a:lnTo>
                <a:lnTo>
                  <a:pt x="0" y="0"/>
                </a:lnTo>
                <a:lnTo>
                  <a:pt x="131673" y="0"/>
                </a:lnTo>
                <a:lnTo>
                  <a:pt x="280825" y="149152"/>
                </a:lnTo>
                <a:close/>
              </a:path>
            </a:pathLst>
          </a:custGeom>
          <a:solidFill>
            <a:srgbClr val="EEF2F5"/>
          </a:solidFill>
          <a:ln w="11643" cap="flat">
            <a:noFill/>
            <a:prstDash val="solid"/>
            <a:miter/>
          </a:ln>
        </p:spPr>
        <p:txBody>
          <a:bodyPr rtlCol="0" anchor="ctr"/>
          <a:lstStyle/>
          <a:p>
            <a:endParaRPr lang="de-DE"/>
          </a:p>
        </p:txBody>
      </p:sp>
      <p:sp>
        <p:nvSpPr>
          <p:cNvPr id="296" name="Freihandform: Form 295">
            <a:extLst>
              <a:ext uri="{FF2B5EF4-FFF2-40B4-BE49-F238E27FC236}">
                <a16:creationId xmlns:a16="http://schemas.microsoft.com/office/drawing/2014/main" id="{485159D9-1543-48AC-BE82-E6BC0D080E69}"/>
              </a:ext>
            </a:extLst>
          </p:cNvPr>
          <p:cNvSpPr/>
          <p:nvPr userDrawn="1"/>
        </p:nvSpPr>
        <p:spPr>
          <a:xfrm>
            <a:off x="10454616" y="5860546"/>
            <a:ext cx="280824" cy="305295"/>
          </a:xfrm>
          <a:custGeom>
            <a:avLst/>
            <a:gdLst>
              <a:gd name="connsiteX0" fmla="*/ 129343 w 280824"/>
              <a:gd name="connsiteY0" fmla="*/ 305295 h 305295"/>
              <a:gd name="connsiteX1" fmla="*/ 0 w 280824"/>
              <a:gd name="connsiteY1" fmla="*/ 305295 h 305295"/>
              <a:gd name="connsiteX2" fmla="*/ 150317 w 280824"/>
              <a:gd name="connsiteY2" fmla="*/ 153813 h 305295"/>
              <a:gd name="connsiteX3" fmla="*/ 0 w 280824"/>
              <a:gd name="connsiteY3" fmla="*/ 0 h 305295"/>
              <a:gd name="connsiteX4" fmla="*/ 131673 w 280824"/>
              <a:gd name="connsiteY4" fmla="*/ 0 h 305295"/>
              <a:gd name="connsiteX5" fmla="*/ 280825 w 280824"/>
              <a:gd name="connsiteY5" fmla="*/ 150317 h 305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4" h="305295">
                <a:moveTo>
                  <a:pt x="129343" y="305295"/>
                </a:moveTo>
                <a:lnTo>
                  <a:pt x="0" y="305295"/>
                </a:lnTo>
                <a:lnTo>
                  <a:pt x="150317" y="153813"/>
                </a:lnTo>
                <a:lnTo>
                  <a:pt x="0" y="0"/>
                </a:lnTo>
                <a:lnTo>
                  <a:pt x="131673" y="0"/>
                </a:lnTo>
                <a:lnTo>
                  <a:pt x="280825" y="150317"/>
                </a:lnTo>
                <a:close/>
              </a:path>
            </a:pathLst>
          </a:custGeom>
          <a:solidFill>
            <a:srgbClr val="EEF2F5"/>
          </a:solidFill>
          <a:ln w="11643" cap="flat">
            <a:noFill/>
            <a:prstDash val="solid"/>
            <a:miter/>
          </a:ln>
        </p:spPr>
        <p:txBody>
          <a:bodyPr rtlCol="0" anchor="ctr"/>
          <a:lstStyle/>
          <a:p>
            <a:endParaRPr lang="de-DE"/>
          </a:p>
        </p:txBody>
      </p:sp>
      <p:sp>
        <p:nvSpPr>
          <p:cNvPr id="297" name="Freihandform: Form 296">
            <a:extLst>
              <a:ext uri="{FF2B5EF4-FFF2-40B4-BE49-F238E27FC236}">
                <a16:creationId xmlns:a16="http://schemas.microsoft.com/office/drawing/2014/main" id="{36EBE8A7-57A4-4F1C-8091-CAEE9CB87988}"/>
              </a:ext>
            </a:extLst>
          </p:cNvPr>
          <p:cNvSpPr/>
          <p:nvPr userDrawn="1"/>
        </p:nvSpPr>
        <p:spPr>
          <a:xfrm>
            <a:off x="10108537" y="2321688"/>
            <a:ext cx="264511" cy="286650"/>
          </a:xfrm>
          <a:custGeom>
            <a:avLst/>
            <a:gdLst>
              <a:gd name="connsiteX0" fmla="*/ 121186 w 264511"/>
              <a:gd name="connsiteY0" fmla="*/ 286651 h 286650"/>
              <a:gd name="connsiteX1" fmla="*/ 0 w 264511"/>
              <a:gd name="connsiteY1" fmla="*/ 286651 h 286650"/>
              <a:gd name="connsiteX2" fmla="*/ 140995 w 264511"/>
              <a:gd name="connsiteY2" fmla="*/ 144491 h 286650"/>
              <a:gd name="connsiteX3" fmla="*/ 0 w 264511"/>
              <a:gd name="connsiteY3" fmla="*/ 0 h 286650"/>
              <a:gd name="connsiteX4" fmla="*/ 123516 w 264511"/>
              <a:gd name="connsiteY4" fmla="*/ 0 h 286650"/>
              <a:gd name="connsiteX5" fmla="*/ 264511 w 264511"/>
              <a:gd name="connsiteY5" fmla="*/ 140995 h 28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0">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298" name="Freihandform: Form 297">
            <a:extLst>
              <a:ext uri="{FF2B5EF4-FFF2-40B4-BE49-F238E27FC236}">
                <a16:creationId xmlns:a16="http://schemas.microsoft.com/office/drawing/2014/main" id="{12914A54-FA8E-4B49-A2DE-518D9ADF7310}"/>
              </a:ext>
            </a:extLst>
          </p:cNvPr>
          <p:cNvSpPr/>
          <p:nvPr userDrawn="1"/>
        </p:nvSpPr>
        <p:spPr>
          <a:xfrm>
            <a:off x="10108537" y="2675924"/>
            <a:ext cx="264511" cy="286650"/>
          </a:xfrm>
          <a:custGeom>
            <a:avLst/>
            <a:gdLst>
              <a:gd name="connsiteX0" fmla="*/ 121186 w 264511"/>
              <a:gd name="connsiteY0" fmla="*/ 286651 h 286650"/>
              <a:gd name="connsiteX1" fmla="*/ 0 w 264511"/>
              <a:gd name="connsiteY1" fmla="*/ 286651 h 286650"/>
              <a:gd name="connsiteX2" fmla="*/ 140995 w 264511"/>
              <a:gd name="connsiteY2" fmla="*/ 144491 h 286650"/>
              <a:gd name="connsiteX3" fmla="*/ 0 w 264511"/>
              <a:gd name="connsiteY3" fmla="*/ 0 h 286650"/>
              <a:gd name="connsiteX4" fmla="*/ 123516 w 264511"/>
              <a:gd name="connsiteY4" fmla="*/ 0 h 286650"/>
              <a:gd name="connsiteX5" fmla="*/ 264511 w 264511"/>
              <a:gd name="connsiteY5" fmla="*/ 140995 h 28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0">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299" name="Freihandform: Form 298">
            <a:extLst>
              <a:ext uri="{FF2B5EF4-FFF2-40B4-BE49-F238E27FC236}">
                <a16:creationId xmlns:a16="http://schemas.microsoft.com/office/drawing/2014/main" id="{97E9631F-C090-4F92-B4E6-D6A88933B227}"/>
              </a:ext>
            </a:extLst>
          </p:cNvPr>
          <p:cNvSpPr/>
          <p:nvPr userDrawn="1"/>
        </p:nvSpPr>
        <p:spPr>
          <a:xfrm>
            <a:off x="10108537" y="3031324"/>
            <a:ext cx="264511" cy="286650"/>
          </a:xfrm>
          <a:custGeom>
            <a:avLst/>
            <a:gdLst>
              <a:gd name="connsiteX0" fmla="*/ 121186 w 264511"/>
              <a:gd name="connsiteY0" fmla="*/ 286651 h 286650"/>
              <a:gd name="connsiteX1" fmla="*/ 0 w 264511"/>
              <a:gd name="connsiteY1" fmla="*/ 286651 h 286650"/>
              <a:gd name="connsiteX2" fmla="*/ 140995 w 264511"/>
              <a:gd name="connsiteY2" fmla="*/ 144491 h 286650"/>
              <a:gd name="connsiteX3" fmla="*/ 0 w 264511"/>
              <a:gd name="connsiteY3" fmla="*/ 0 h 286650"/>
              <a:gd name="connsiteX4" fmla="*/ 123516 w 264511"/>
              <a:gd name="connsiteY4" fmla="*/ 0 h 286650"/>
              <a:gd name="connsiteX5" fmla="*/ 264511 w 264511"/>
              <a:gd name="connsiteY5" fmla="*/ 140995 h 28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0">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300" name="Freihandform: Form 299">
            <a:extLst>
              <a:ext uri="{FF2B5EF4-FFF2-40B4-BE49-F238E27FC236}">
                <a16:creationId xmlns:a16="http://schemas.microsoft.com/office/drawing/2014/main" id="{D1807030-A146-49E6-AB2C-56E585B0AEE6}"/>
              </a:ext>
            </a:extLst>
          </p:cNvPr>
          <p:cNvSpPr/>
          <p:nvPr userDrawn="1"/>
        </p:nvSpPr>
        <p:spPr>
          <a:xfrm>
            <a:off x="10108537" y="3385560"/>
            <a:ext cx="264511" cy="287816"/>
          </a:xfrm>
          <a:custGeom>
            <a:avLst/>
            <a:gdLst>
              <a:gd name="connsiteX0" fmla="*/ 121186 w 264511"/>
              <a:gd name="connsiteY0" fmla="*/ 287816 h 287816"/>
              <a:gd name="connsiteX1" fmla="*/ 0 w 264511"/>
              <a:gd name="connsiteY1" fmla="*/ 287816 h 287816"/>
              <a:gd name="connsiteX2" fmla="*/ 140995 w 264511"/>
              <a:gd name="connsiteY2" fmla="*/ 145656 h 287816"/>
              <a:gd name="connsiteX3" fmla="*/ 0 w 264511"/>
              <a:gd name="connsiteY3" fmla="*/ 0 h 287816"/>
              <a:gd name="connsiteX4" fmla="*/ 123516 w 264511"/>
              <a:gd name="connsiteY4" fmla="*/ 0 h 287816"/>
              <a:gd name="connsiteX5" fmla="*/ 264511 w 264511"/>
              <a:gd name="connsiteY5" fmla="*/ 140995 h 287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7816">
                <a:moveTo>
                  <a:pt x="121186" y="287816"/>
                </a:moveTo>
                <a:lnTo>
                  <a:pt x="0" y="287816"/>
                </a:lnTo>
                <a:lnTo>
                  <a:pt x="140995" y="145656"/>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301" name="Freihandform: Form 300">
            <a:extLst>
              <a:ext uri="{FF2B5EF4-FFF2-40B4-BE49-F238E27FC236}">
                <a16:creationId xmlns:a16="http://schemas.microsoft.com/office/drawing/2014/main" id="{CCFC5FBA-0587-4C1B-8639-CB3CC05103F5}"/>
              </a:ext>
            </a:extLst>
          </p:cNvPr>
          <p:cNvSpPr/>
          <p:nvPr userDrawn="1"/>
        </p:nvSpPr>
        <p:spPr>
          <a:xfrm>
            <a:off x="10108537" y="3740960"/>
            <a:ext cx="264511" cy="286651"/>
          </a:xfrm>
          <a:custGeom>
            <a:avLst/>
            <a:gdLst>
              <a:gd name="connsiteX0" fmla="*/ 121186 w 264511"/>
              <a:gd name="connsiteY0" fmla="*/ 286651 h 286651"/>
              <a:gd name="connsiteX1" fmla="*/ 0 w 264511"/>
              <a:gd name="connsiteY1" fmla="*/ 286651 h 286651"/>
              <a:gd name="connsiteX2" fmla="*/ 140995 w 264511"/>
              <a:gd name="connsiteY2" fmla="*/ 144491 h 286651"/>
              <a:gd name="connsiteX3" fmla="*/ 0 w 264511"/>
              <a:gd name="connsiteY3" fmla="*/ 0 h 286651"/>
              <a:gd name="connsiteX4" fmla="*/ 123516 w 264511"/>
              <a:gd name="connsiteY4" fmla="*/ 0 h 286651"/>
              <a:gd name="connsiteX5" fmla="*/ 264511 w 264511"/>
              <a:gd name="connsiteY5" fmla="*/ 140995 h 286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1">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302" name="Freihandform: Form 301">
            <a:extLst>
              <a:ext uri="{FF2B5EF4-FFF2-40B4-BE49-F238E27FC236}">
                <a16:creationId xmlns:a16="http://schemas.microsoft.com/office/drawing/2014/main" id="{393FFB20-CDB2-4370-BF23-8869FAE8F232}"/>
              </a:ext>
            </a:extLst>
          </p:cNvPr>
          <p:cNvSpPr/>
          <p:nvPr userDrawn="1"/>
        </p:nvSpPr>
        <p:spPr>
          <a:xfrm>
            <a:off x="10108537" y="4095195"/>
            <a:ext cx="264511" cy="287816"/>
          </a:xfrm>
          <a:custGeom>
            <a:avLst/>
            <a:gdLst>
              <a:gd name="connsiteX0" fmla="*/ 121186 w 264511"/>
              <a:gd name="connsiteY0" fmla="*/ 287816 h 287816"/>
              <a:gd name="connsiteX1" fmla="*/ 0 w 264511"/>
              <a:gd name="connsiteY1" fmla="*/ 287816 h 287816"/>
              <a:gd name="connsiteX2" fmla="*/ 140995 w 264511"/>
              <a:gd name="connsiteY2" fmla="*/ 145656 h 287816"/>
              <a:gd name="connsiteX3" fmla="*/ 0 w 264511"/>
              <a:gd name="connsiteY3" fmla="*/ 0 h 287816"/>
              <a:gd name="connsiteX4" fmla="*/ 123516 w 264511"/>
              <a:gd name="connsiteY4" fmla="*/ 0 h 287816"/>
              <a:gd name="connsiteX5" fmla="*/ 264511 w 264511"/>
              <a:gd name="connsiteY5" fmla="*/ 140995 h 287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7816">
                <a:moveTo>
                  <a:pt x="121186" y="287816"/>
                </a:moveTo>
                <a:lnTo>
                  <a:pt x="0" y="287816"/>
                </a:lnTo>
                <a:lnTo>
                  <a:pt x="140995" y="145656"/>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303" name="Freihandform: Form 302">
            <a:extLst>
              <a:ext uri="{FF2B5EF4-FFF2-40B4-BE49-F238E27FC236}">
                <a16:creationId xmlns:a16="http://schemas.microsoft.com/office/drawing/2014/main" id="{9A02CBB0-C3FE-4C5B-8752-F2E84565BB37}"/>
              </a:ext>
            </a:extLst>
          </p:cNvPr>
          <p:cNvSpPr/>
          <p:nvPr userDrawn="1"/>
        </p:nvSpPr>
        <p:spPr>
          <a:xfrm>
            <a:off x="10108537" y="4450596"/>
            <a:ext cx="264511" cy="286651"/>
          </a:xfrm>
          <a:custGeom>
            <a:avLst/>
            <a:gdLst>
              <a:gd name="connsiteX0" fmla="*/ 121186 w 264511"/>
              <a:gd name="connsiteY0" fmla="*/ 286651 h 286651"/>
              <a:gd name="connsiteX1" fmla="*/ 0 w 264511"/>
              <a:gd name="connsiteY1" fmla="*/ 286651 h 286651"/>
              <a:gd name="connsiteX2" fmla="*/ 140995 w 264511"/>
              <a:gd name="connsiteY2" fmla="*/ 144491 h 286651"/>
              <a:gd name="connsiteX3" fmla="*/ 0 w 264511"/>
              <a:gd name="connsiteY3" fmla="*/ 0 h 286651"/>
              <a:gd name="connsiteX4" fmla="*/ 123516 w 264511"/>
              <a:gd name="connsiteY4" fmla="*/ 0 h 286651"/>
              <a:gd name="connsiteX5" fmla="*/ 264511 w 264511"/>
              <a:gd name="connsiteY5" fmla="*/ 140995 h 286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1">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304" name="Freihandform: Form 303">
            <a:extLst>
              <a:ext uri="{FF2B5EF4-FFF2-40B4-BE49-F238E27FC236}">
                <a16:creationId xmlns:a16="http://schemas.microsoft.com/office/drawing/2014/main" id="{1C43B92A-432B-470A-ABA2-5D306B91CF22}"/>
              </a:ext>
            </a:extLst>
          </p:cNvPr>
          <p:cNvSpPr/>
          <p:nvPr userDrawn="1"/>
        </p:nvSpPr>
        <p:spPr>
          <a:xfrm>
            <a:off x="10108537" y="4805997"/>
            <a:ext cx="264511" cy="286651"/>
          </a:xfrm>
          <a:custGeom>
            <a:avLst/>
            <a:gdLst>
              <a:gd name="connsiteX0" fmla="*/ 121186 w 264511"/>
              <a:gd name="connsiteY0" fmla="*/ 286651 h 286651"/>
              <a:gd name="connsiteX1" fmla="*/ 0 w 264511"/>
              <a:gd name="connsiteY1" fmla="*/ 286651 h 286651"/>
              <a:gd name="connsiteX2" fmla="*/ 140995 w 264511"/>
              <a:gd name="connsiteY2" fmla="*/ 144491 h 286651"/>
              <a:gd name="connsiteX3" fmla="*/ 0 w 264511"/>
              <a:gd name="connsiteY3" fmla="*/ 0 h 286651"/>
              <a:gd name="connsiteX4" fmla="*/ 123516 w 264511"/>
              <a:gd name="connsiteY4" fmla="*/ 0 h 286651"/>
              <a:gd name="connsiteX5" fmla="*/ 264511 w 264511"/>
              <a:gd name="connsiteY5" fmla="*/ 139830 h 286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1">
                <a:moveTo>
                  <a:pt x="121186" y="286651"/>
                </a:moveTo>
                <a:lnTo>
                  <a:pt x="0" y="286651"/>
                </a:lnTo>
                <a:lnTo>
                  <a:pt x="140995" y="144491"/>
                </a:lnTo>
                <a:lnTo>
                  <a:pt x="0" y="0"/>
                </a:lnTo>
                <a:lnTo>
                  <a:pt x="123516" y="0"/>
                </a:lnTo>
                <a:lnTo>
                  <a:pt x="264511" y="139830"/>
                </a:lnTo>
                <a:close/>
              </a:path>
            </a:pathLst>
          </a:custGeom>
          <a:solidFill>
            <a:srgbClr val="EEF2F5"/>
          </a:solidFill>
          <a:ln w="11643" cap="flat">
            <a:noFill/>
            <a:prstDash val="solid"/>
            <a:miter/>
          </a:ln>
        </p:spPr>
        <p:txBody>
          <a:bodyPr rtlCol="0" anchor="ctr"/>
          <a:lstStyle/>
          <a:p>
            <a:endParaRPr lang="de-DE"/>
          </a:p>
        </p:txBody>
      </p:sp>
      <p:sp>
        <p:nvSpPr>
          <p:cNvPr id="305" name="Freihandform: Form 304">
            <a:extLst>
              <a:ext uri="{FF2B5EF4-FFF2-40B4-BE49-F238E27FC236}">
                <a16:creationId xmlns:a16="http://schemas.microsoft.com/office/drawing/2014/main" id="{CF1224C7-9BEE-46A0-BB68-D697A73A4963}"/>
              </a:ext>
            </a:extLst>
          </p:cNvPr>
          <p:cNvSpPr/>
          <p:nvPr userDrawn="1"/>
        </p:nvSpPr>
        <p:spPr>
          <a:xfrm>
            <a:off x="10108537" y="5160232"/>
            <a:ext cx="264511" cy="286651"/>
          </a:xfrm>
          <a:custGeom>
            <a:avLst/>
            <a:gdLst>
              <a:gd name="connsiteX0" fmla="*/ 121186 w 264511"/>
              <a:gd name="connsiteY0" fmla="*/ 286651 h 286651"/>
              <a:gd name="connsiteX1" fmla="*/ 0 w 264511"/>
              <a:gd name="connsiteY1" fmla="*/ 286651 h 286651"/>
              <a:gd name="connsiteX2" fmla="*/ 140995 w 264511"/>
              <a:gd name="connsiteY2" fmla="*/ 144491 h 286651"/>
              <a:gd name="connsiteX3" fmla="*/ 0 w 264511"/>
              <a:gd name="connsiteY3" fmla="*/ 0 h 286651"/>
              <a:gd name="connsiteX4" fmla="*/ 123516 w 264511"/>
              <a:gd name="connsiteY4" fmla="*/ 0 h 286651"/>
              <a:gd name="connsiteX5" fmla="*/ 264511 w 264511"/>
              <a:gd name="connsiteY5" fmla="*/ 140995 h 286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1">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306" name="Freihandform: Form 305">
            <a:extLst>
              <a:ext uri="{FF2B5EF4-FFF2-40B4-BE49-F238E27FC236}">
                <a16:creationId xmlns:a16="http://schemas.microsoft.com/office/drawing/2014/main" id="{ADBF69A7-DE39-4CA9-B0E6-95F65333D170}"/>
              </a:ext>
            </a:extLst>
          </p:cNvPr>
          <p:cNvSpPr/>
          <p:nvPr userDrawn="1"/>
        </p:nvSpPr>
        <p:spPr>
          <a:xfrm>
            <a:off x="10108537" y="5515633"/>
            <a:ext cx="264511" cy="286651"/>
          </a:xfrm>
          <a:custGeom>
            <a:avLst/>
            <a:gdLst>
              <a:gd name="connsiteX0" fmla="*/ 121186 w 264511"/>
              <a:gd name="connsiteY0" fmla="*/ 286651 h 286651"/>
              <a:gd name="connsiteX1" fmla="*/ 0 w 264511"/>
              <a:gd name="connsiteY1" fmla="*/ 286651 h 286651"/>
              <a:gd name="connsiteX2" fmla="*/ 140995 w 264511"/>
              <a:gd name="connsiteY2" fmla="*/ 144491 h 286651"/>
              <a:gd name="connsiteX3" fmla="*/ 0 w 264511"/>
              <a:gd name="connsiteY3" fmla="*/ 0 h 286651"/>
              <a:gd name="connsiteX4" fmla="*/ 123516 w 264511"/>
              <a:gd name="connsiteY4" fmla="*/ 0 h 286651"/>
              <a:gd name="connsiteX5" fmla="*/ 264511 w 264511"/>
              <a:gd name="connsiteY5" fmla="*/ 140995 h 286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1">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307" name="Freihandform: Form 306">
            <a:extLst>
              <a:ext uri="{FF2B5EF4-FFF2-40B4-BE49-F238E27FC236}">
                <a16:creationId xmlns:a16="http://schemas.microsoft.com/office/drawing/2014/main" id="{7D9BE8A4-E861-44BD-82FB-0C83AE43E3F5}"/>
              </a:ext>
            </a:extLst>
          </p:cNvPr>
          <p:cNvSpPr/>
          <p:nvPr userDrawn="1"/>
        </p:nvSpPr>
        <p:spPr>
          <a:xfrm>
            <a:off x="10108537" y="5869868"/>
            <a:ext cx="264511" cy="286650"/>
          </a:xfrm>
          <a:custGeom>
            <a:avLst/>
            <a:gdLst>
              <a:gd name="connsiteX0" fmla="*/ 121186 w 264511"/>
              <a:gd name="connsiteY0" fmla="*/ 286651 h 286650"/>
              <a:gd name="connsiteX1" fmla="*/ 0 w 264511"/>
              <a:gd name="connsiteY1" fmla="*/ 286651 h 286650"/>
              <a:gd name="connsiteX2" fmla="*/ 140995 w 264511"/>
              <a:gd name="connsiteY2" fmla="*/ 144491 h 286650"/>
              <a:gd name="connsiteX3" fmla="*/ 0 w 264511"/>
              <a:gd name="connsiteY3" fmla="*/ 0 h 286650"/>
              <a:gd name="connsiteX4" fmla="*/ 123516 w 264511"/>
              <a:gd name="connsiteY4" fmla="*/ 0 h 286650"/>
              <a:gd name="connsiteX5" fmla="*/ 264511 w 264511"/>
              <a:gd name="connsiteY5" fmla="*/ 140995 h 28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0">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308" name="Freihandform: Form 307">
            <a:extLst>
              <a:ext uri="{FF2B5EF4-FFF2-40B4-BE49-F238E27FC236}">
                <a16:creationId xmlns:a16="http://schemas.microsoft.com/office/drawing/2014/main" id="{5F752DD3-B30C-4D0A-944E-3ED3945D0A70}"/>
              </a:ext>
            </a:extLst>
          </p:cNvPr>
          <p:cNvSpPr/>
          <p:nvPr userDrawn="1"/>
        </p:nvSpPr>
        <p:spPr>
          <a:xfrm>
            <a:off x="10108537" y="6225269"/>
            <a:ext cx="264511" cy="286650"/>
          </a:xfrm>
          <a:custGeom>
            <a:avLst/>
            <a:gdLst>
              <a:gd name="connsiteX0" fmla="*/ 121186 w 264511"/>
              <a:gd name="connsiteY0" fmla="*/ 286651 h 286650"/>
              <a:gd name="connsiteX1" fmla="*/ 0 w 264511"/>
              <a:gd name="connsiteY1" fmla="*/ 286651 h 286650"/>
              <a:gd name="connsiteX2" fmla="*/ 140995 w 264511"/>
              <a:gd name="connsiteY2" fmla="*/ 144491 h 286650"/>
              <a:gd name="connsiteX3" fmla="*/ 0 w 264511"/>
              <a:gd name="connsiteY3" fmla="*/ 0 h 286650"/>
              <a:gd name="connsiteX4" fmla="*/ 123516 w 264511"/>
              <a:gd name="connsiteY4" fmla="*/ 0 h 286650"/>
              <a:gd name="connsiteX5" fmla="*/ 264511 w 264511"/>
              <a:gd name="connsiteY5" fmla="*/ 140995 h 28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511" h="286650">
                <a:moveTo>
                  <a:pt x="121186" y="286651"/>
                </a:moveTo>
                <a:lnTo>
                  <a:pt x="0" y="286651"/>
                </a:lnTo>
                <a:lnTo>
                  <a:pt x="140995" y="144491"/>
                </a:lnTo>
                <a:lnTo>
                  <a:pt x="0" y="0"/>
                </a:lnTo>
                <a:lnTo>
                  <a:pt x="123516" y="0"/>
                </a:lnTo>
                <a:lnTo>
                  <a:pt x="264511" y="140995"/>
                </a:lnTo>
                <a:close/>
              </a:path>
            </a:pathLst>
          </a:custGeom>
          <a:solidFill>
            <a:srgbClr val="EEF2F5"/>
          </a:solidFill>
          <a:ln w="11643" cap="flat">
            <a:noFill/>
            <a:prstDash val="solid"/>
            <a:miter/>
          </a:ln>
        </p:spPr>
        <p:txBody>
          <a:bodyPr rtlCol="0" anchor="ctr"/>
          <a:lstStyle/>
          <a:p>
            <a:endParaRPr lang="de-DE"/>
          </a:p>
        </p:txBody>
      </p:sp>
      <p:sp>
        <p:nvSpPr>
          <p:cNvPr id="309" name="Freihandform: Form 308">
            <a:extLst>
              <a:ext uri="{FF2B5EF4-FFF2-40B4-BE49-F238E27FC236}">
                <a16:creationId xmlns:a16="http://schemas.microsoft.com/office/drawing/2014/main" id="{B2C8C5D0-33C1-4654-B293-E6B9182B14E5}"/>
              </a:ext>
            </a:extLst>
          </p:cNvPr>
          <p:cNvSpPr/>
          <p:nvPr userDrawn="1"/>
        </p:nvSpPr>
        <p:spPr>
          <a:xfrm>
            <a:off x="4909201" y="2101456"/>
            <a:ext cx="16313" cy="17478"/>
          </a:xfrm>
          <a:custGeom>
            <a:avLst/>
            <a:gdLst>
              <a:gd name="connsiteX0" fmla="*/ 8157 w 16313"/>
              <a:gd name="connsiteY0" fmla="*/ 17479 h 17478"/>
              <a:gd name="connsiteX1" fmla="*/ 0 w 16313"/>
              <a:gd name="connsiteY1" fmla="*/ 17479 h 17478"/>
              <a:gd name="connsiteX2" fmla="*/ 9322 w 16313"/>
              <a:gd name="connsiteY2" fmla="*/ 8157 h 17478"/>
              <a:gd name="connsiteX3" fmla="*/ 0 w 16313"/>
              <a:gd name="connsiteY3" fmla="*/ 0 h 17478"/>
              <a:gd name="connsiteX4" fmla="*/ 8157 w 16313"/>
              <a:gd name="connsiteY4" fmla="*/ 0 h 17478"/>
              <a:gd name="connsiteX5" fmla="*/ 16313 w 16313"/>
              <a:gd name="connsiteY5" fmla="*/ 8157 h 17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13" h="17478">
                <a:moveTo>
                  <a:pt x="8157" y="17479"/>
                </a:moveTo>
                <a:lnTo>
                  <a:pt x="0" y="17479"/>
                </a:lnTo>
                <a:lnTo>
                  <a:pt x="9322" y="8157"/>
                </a:lnTo>
                <a:lnTo>
                  <a:pt x="0" y="0"/>
                </a:lnTo>
                <a:lnTo>
                  <a:pt x="8157" y="0"/>
                </a:lnTo>
                <a:lnTo>
                  <a:pt x="16313" y="8157"/>
                </a:lnTo>
                <a:close/>
              </a:path>
            </a:pathLst>
          </a:custGeom>
          <a:solidFill>
            <a:srgbClr val="EEF2F5"/>
          </a:solidFill>
          <a:ln w="11643" cap="flat">
            <a:noFill/>
            <a:prstDash val="solid"/>
            <a:miter/>
          </a:ln>
        </p:spPr>
        <p:txBody>
          <a:bodyPr rtlCol="0" anchor="ctr"/>
          <a:lstStyle/>
          <a:p>
            <a:endParaRPr lang="de-DE"/>
          </a:p>
        </p:txBody>
      </p:sp>
      <p:sp>
        <p:nvSpPr>
          <p:cNvPr id="310" name="Freihandform: Form 309">
            <a:extLst>
              <a:ext uri="{FF2B5EF4-FFF2-40B4-BE49-F238E27FC236}">
                <a16:creationId xmlns:a16="http://schemas.microsoft.com/office/drawing/2014/main" id="{329A36A9-5A2C-4AC1-96F3-AFA20EF6DDEB}"/>
              </a:ext>
            </a:extLst>
          </p:cNvPr>
          <p:cNvSpPr/>
          <p:nvPr userDrawn="1"/>
        </p:nvSpPr>
        <p:spPr>
          <a:xfrm>
            <a:off x="4909201" y="2455692"/>
            <a:ext cx="16313" cy="18643"/>
          </a:xfrm>
          <a:custGeom>
            <a:avLst/>
            <a:gdLst>
              <a:gd name="connsiteX0" fmla="*/ 8157 w 16313"/>
              <a:gd name="connsiteY0" fmla="*/ 18644 h 18643"/>
              <a:gd name="connsiteX1" fmla="*/ 0 w 16313"/>
              <a:gd name="connsiteY1" fmla="*/ 18644 h 18643"/>
              <a:gd name="connsiteX2" fmla="*/ 9322 w 16313"/>
              <a:gd name="connsiteY2" fmla="*/ 9322 h 18643"/>
              <a:gd name="connsiteX3" fmla="*/ 0 w 16313"/>
              <a:gd name="connsiteY3" fmla="*/ 0 h 18643"/>
              <a:gd name="connsiteX4" fmla="*/ 8157 w 16313"/>
              <a:gd name="connsiteY4" fmla="*/ 0 h 18643"/>
              <a:gd name="connsiteX5" fmla="*/ 16313 w 16313"/>
              <a:gd name="connsiteY5" fmla="*/ 9322 h 18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13" h="18643">
                <a:moveTo>
                  <a:pt x="8157" y="18644"/>
                </a:moveTo>
                <a:lnTo>
                  <a:pt x="0" y="18644"/>
                </a:lnTo>
                <a:lnTo>
                  <a:pt x="9322" y="9322"/>
                </a:lnTo>
                <a:lnTo>
                  <a:pt x="0" y="0"/>
                </a:lnTo>
                <a:lnTo>
                  <a:pt x="8157" y="0"/>
                </a:lnTo>
                <a:lnTo>
                  <a:pt x="16313" y="9322"/>
                </a:lnTo>
                <a:close/>
              </a:path>
            </a:pathLst>
          </a:custGeom>
          <a:solidFill>
            <a:srgbClr val="EEF2F5"/>
          </a:solidFill>
          <a:ln w="11643" cap="flat">
            <a:noFill/>
            <a:prstDash val="solid"/>
            <a:miter/>
          </a:ln>
        </p:spPr>
        <p:txBody>
          <a:bodyPr rtlCol="0" anchor="ctr"/>
          <a:lstStyle/>
          <a:p>
            <a:endParaRPr lang="de-DE"/>
          </a:p>
        </p:txBody>
      </p:sp>
      <p:sp>
        <p:nvSpPr>
          <p:cNvPr id="311" name="Freihandform: Form 310">
            <a:extLst>
              <a:ext uri="{FF2B5EF4-FFF2-40B4-BE49-F238E27FC236}">
                <a16:creationId xmlns:a16="http://schemas.microsoft.com/office/drawing/2014/main" id="{84957465-0B73-4E55-8E53-1C8F5B558178}"/>
              </a:ext>
            </a:extLst>
          </p:cNvPr>
          <p:cNvSpPr/>
          <p:nvPr userDrawn="1"/>
        </p:nvSpPr>
        <p:spPr>
          <a:xfrm>
            <a:off x="4909201" y="2811092"/>
            <a:ext cx="16313" cy="17478"/>
          </a:xfrm>
          <a:custGeom>
            <a:avLst/>
            <a:gdLst>
              <a:gd name="connsiteX0" fmla="*/ 8157 w 16313"/>
              <a:gd name="connsiteY0" fmla="*/ 17479 h 17478"/>
              <a:gd name="connsiteX1" fmla="*/ 0 w 16313"/>
              <a:gd name="connsiteY1" fmla="*/ 17479 h 17478"/>
              <a:gd name="connsiteX2" fmla="*/ 9322 w 16313"/>
              <a:gd name="connsiteY2" fmla="*/ 8157 h 17478"/>
              <a:gd name="connsiteX3" fmla="*/ 0 w 16313"/>
              <a:gd name="connsiteY3" fmla="*/ 0 h 17478"/>
              <a:gd name="connsiteX4" fmla="*/ 8157 w 16313"/>
              <a:gd name="connsiteY4" fmla="*/ 0 h 17478"/>
              <a:gd name="connsiteX5" fmla="*/ 16313 w 16313"/>
              <a:gd name="connsiteY5" fmla="*/ 8157 h 17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13" h="17478">
                <a:moveTo>
                  <a:pt x="8157" y="17479"/>
                </a:moveTo>
                <a:lnTo>
                  <a:pt x="0" y="17479"/>
                </a:lnTo>
                <a:lnTo>
                  <a:pt x="9322" y="8157"/>
                </a:lnTo>
                <a:lnTo>
                  <a:pt x="0" y="0"/>
                </a:lnTo>
                <a:lnTo>
                  <a:pt x="8157" y="0"/>
                </a:lnTo>
                <a:lnTo>
                  <a:pt x="16313" y="8157"/>
                </a:lnTo>
                <a:close/>
              </a:path>
            </a:pathLst>
          </a:custGeom>
          <a:solidFill>
            <a:srgbClr val="EEF2F5"/>
          </a:solidFill>
          <a:ln w="11643" cap="flat">
            <a:noFill/>
            <a:prstDash val="solid"/>
            <a:miter/>
          </a:ln>
        </p:spPr>
        <p:txBody>
          <a:bodyPr rtlCol="0" anchor="ctr"/>
          <a:lstStyle/>
          <a:p>
            <a:endParaRPr lang="de-DE"/>
          </a:p>
        </p:txBody>
      </p:sp>
      <p:sp>
        <p:nvSpPr>
          <p:cNvPr id="312" name="Freihandform: Form 311">
            <a:extLst>
              <a:ext uri="{FF2B5EF4-FFF2-40B4-BE49-F238E27FC236}">
                <a16:creationId xmlns:a16="http://schemas.microsoft.com/office/drawing/2014/main" id="{87FB61E4-1ACD-4B14-BC93-A9AC520FBB33}"/>
              </a:ext>
            </a:extLst>
          </p:cNvPr>
          <p:cNvSpPr/>
          <p:nvPr userDrawn="1"/>
        </p:nvSpPr>
        <p:spPr>
          <a:xfrm>
            <a:off x="4909201" y="6359273"/>
            <a:ext cx="16313" cy="18643"/>
          </a:xfrm>
          <a:custGeom>
            <a:avLst/>
            <a:gdLst>
              <a:gd name="connsiteX0" fmla="*/ 8157 w 16313"/>
              <a:gd name="connsiteY0" fmla="*/ 18644 h 18643"/>
              <a:gd name="connsiteX1" fmla="*/ 0 w 16313"/>
              <a:gd name="connsiteY1" fmla="*/ 18644 h 18643"/>
              <a:gd name="connsiteX2" fmla="*/ 9322 w 16313"/>
              <a:gd name="connsiteY2" fmla="*/ 9322 h 18643"/>
              <a:gd name="connsiteX3" fmla="*/ 0 w 16313"/>
              <a:gd name="connsiteY3" fmla="*/ 0 h 18643"/>
              <a:gd name="connsiteX4" fmla="*/ 8157 w 16313"/>
              <a:gd name="connsiteY4" fmla="*/ 0 h 18643"/>
              <a:gd name="connsiteX5" fmla="*/ 16313 w 16313"/>
              <a:gd name="connsiteY5" fmla="*/ 9322 h 18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13" h="18643">
                <a:moveTo>
                  <a:pt x="8157" y="18644"/>
                </a:moveTo>
                <a:lnTo>
                  <a:pt x="0" y="18644"/>
                </a:lnTo>
                <a:lnTo>
                  <a:pt x="9322" y="9322"/>
                </a:lnTo>
                <a:lnTo>
                  <a:pt x="0" y="0"/>
                </a:lnTo>
                <a:lnTo>
                  <a:pt x="8157" y="0"/>
                </a:lnTo>
                <a:lnTo>
                  <a:pt x="16313" y="9322"/>
                </a:lnTo>
                <a:close/>
              </a:path>
            </a:pathLst>
          </a:custGeom>
          <a:solidFill>
            <a:srgbClr val="EEF2F5"/>
          </a:solidFill>
          <a:ln w="11643" cap="flat">
            <a:noFill/>
            <a:prstDash val="solid"/>
            <a:miter/>
          </a:ln>
        </p:spPr>
        <p:txBody>
          <a:bodyPr rtlCol="0" anchor="ctr"/>
          <a:lstStyle/>
          <a:p>
            <a:endParaRPr lang="de-DE"/>
          </a:p>
        </p:txBody>
      </p:sp>
      <p:sp>
        <p:nvSpPr>
          <p:cNvPr id="313" name="Freihandform: Form 312">
            <a:extLst>
              <a:ext uri="{FF2B5EF4-FFF2-40B4-BE49-F238E27FC236}">
                <a16:creationId xmlns:a16="http://schemas.microsoft.com/office/drawing/2014/main" id="{FF52D444-9AC4-4068-BEAF-D99296A51975}"/>
              </a:ext>
            </a:extLst>
          </p:cNvPr>
          <p:cNvSpPr/>
          <p:nvPr userDrawn="1"/>
        </p:nvSpPr>
        <p:spPr>
          <a:xfrm>
            <a:off x="4909201" y="6714673"/>
            <a:ext cx="16313" cy="17478"/>
          </a:xfrm>
          <a:custGeom>
            <a:avLst/>
            <a:gdLst>
              <a:gd name="connsiteX0" fmla="*/ 8157 w 16313"/>
              <a:gd name="connsiteY0" fmla="*/ 17479 h 17478"/>
              <a:gd name="connsiteX1" fmla="*/ 0 w 16313"/>
              <a:gd name="connsiteY1" fmla="*/ 17479 h 17478"/>
              <a:gd name="connsiteX2" fmla="*/ 9322 w 16313"/>
              <a:gd name="connsiteY2" fmla="*/ 8157 h 17478"/>
              <a:gd name="connsiteX3" fmla="*/ 0 w 16313"/>
              <a:gd name="connsiteY3" fmla="*/ 0 h 17478"/>
              <a:gd name="connsiteX4" fmla="*/ 8157 w 16313"/>
              <a:gd name="connsiteY4" fmla="*/ 0 h 17478"/>
              <a:gd name="connsiteX5" fmla="*/ 16313 w 16313"/>
              <a:gd name="connsiteY5" fmla="*/ 8157 h 17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13" h="17478">
                <a:moveTo>
                  <a:pt x="8157" y="17479"/>
                </a:moveTo>
                <a:lnTo>
                  <a:pt x="0" y="17479"/>
                </a:lnTo>
                <a:lnTo>
                  <a:pt x="9322" y="8157"/>
                </a:lnTo>
                <a:lnTo>
                  <a:pt x="0" y="0"/>
                </a:lnTo>
                <a:lnTo>
                  <a:pt x="8157" y="0"/>
                </a:lnTo>
                <a:lnTo>
                  <a:pt x="16313" y="8157"/>
                </a:lnTo>
                <a:close/>
              </a:path>
            </a:pathLst>
          </a:custGeom>
          <a:solidFill>
            <a:srgbClr val="EEF2F5"/>
          </a:solidFill>
          <a:ln w="11643" cap="flat">
            <a:noFill/>
            <a:prstDash val="solid"/>
            <a:miter/>
          </a:ln>
        </p:spPr>
        <p:txBody>
          <a:bodyPr rtlCol="0" anchor="ctr"/>
          <a:lstStyle/>
          <a:p>
            <a:endParaRPr lang="de-DE"/>
          </a:p>
        </p:txBody>
      </p:sp>
      <p:sp>
        <p:nvSpPr>
          <p:cNvPr id="314" name="Freihandform: Form 313">
            <a:extLst>
              <a:ext uri="{FF2B5EF4-FFF2-40B4-BE49-F238E27FC236}">
                <a16:creationId xmlns:a16="http://schemas.microsoft.com/office/drawing/2014/main" id="{3F69FE79-2706-4C30-8966-0A2EC1910BF0}"/>
              </a:ext>
            </a:extLst>
          </p:cNvPr>
          <p:cNvSpPr/>
          <p:nvPr userDrawn="1"/>
        </p:nvSpPr>
        <p:spPr>
          <a:xfrm>
            <a:off x="5255279" y="2092134"/>
            <a:ext cx="33792" cy="36122"/>
          </a:xfrm>
          <a:custGeom>
            <a:avLst/>
            <a:gdLst>
              <a:gd name="connsiteX0" fmla="*/ 15148 w 33792"/>
              <a:gd name="connsiteY0" fmla="*/ 36123 h 36122"/>
              <a:gd name="connsiteX1" fmla="*/ 0 w 33792"/>
              <a:gd name="connsiteY1" fmla="*/ 36123 h 36122"/>
              <a:gd name="connsiteX2" fmla="*/ 18644 w 33792"/>
              <a:gd name="connsiteY2" fmla="*/ 17479 h 36122"/>
              <a:gd name="connsiteX3" fmla="*/ 0 w 33792"/>
              <a:gd name="connsiteY3" fmla="*/ 0 h 36122"/>
              <a:gd name="connsiteX4" fmla="*/ 16313 w 33792"/>
              <a:gd name="connsiteY4" fmla="*/ 0 h 36122"/>
              <a:gd name="connsiteX5" fmla="*/ 33792 w 33792"/>
              <a:gd name="connsiteY5" fmla="*/ 17479 h 3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92" h="36122">
                <a:moveTo>
                  <a:pt x="15148" y="36123"/>
                </a:moveTo>
                <a:lnTo>
                  <a:pt x="0" y="36123"/>
                </a:lnTo>
                <a:lnTo>
                  <a:pt x="18644" y="17479"/>
                </a:lnTo>
                <a:lnTo>
                  <a:pt x="0" y="0"/>
                </a:lnTo>
                <a:lnTo>
                  <a:pt x="16313" y="0"/>
                </a:lnTo>
                <a:lnTo>
                  <a:pt x="33792" y="17479"/>
                </a:lnTo>
                <a:close/>
              </a:path>
            </a:pathLst>
          </a:custGeom>
          <a:solidFill>
            <a:srgbClr val="EEF2F5"/>
          </a:solidFill>
          <a:ln w="11643" cap="flat">
            <a:noFill/>
            <a:prstDash val="solid"/>
            <a:miter/>
          </a:ln>
        </p:spPr>
        <p:txBody>
          <a:bodyPr rtlCol="0" anchor="ctr"/>
          <a:lstStyle/>
          <a:p>
            <a:endParaRPr lang="de-DE"/>
          </a:p>
        </p:txBody>
      </p:sp>
      <p:sp>
        <p:nvSpPr>
          <p:cNvPr id="315" name="Freihandform: Form 314">
            <a:extLst>
              <a:ext uri="{FF2B5EF4-FFF2-40B4-BE49-F238E27FC236}">
                <a16:creationId xmlns:a16="http://schemas.microsoft.com/office/drawing/2014/main" id="{F4B53603-3712-42FD-9602-D38612E562AF}"/>
              </a:ext>
            </a:extLst>
          </p:cNvPr>
          <p:cNvSpPr/>
          <p:nvPr userDrawn="1"/>
        </p:nvSpPr>
        <p:spPr>
          <a:xfrm>
            <a:off x="5255279" y="2446370"/>
            <a:ext cx="33792" cy="36122"/>
          </a:xfrm>
          <a:custGeom>
            <a:avLst/>
            <a:gdLst>
              <a:gd name="connsiteX0" fmla="*/ 15148 w 33792"/>
              <a:gd name="connsiteY0" fmla="*/ 36123 h 36122"/>
              <a:gd name="connsiteX1" fmla="*/ 0 w 33792"/>
              <a:gd name="connsiteY1" fmla="*/ 36123 h 36122"/>
              <a:gd name="connsiteX2" fmla="*/ 18644 w 33792"/>
              <a:gd name="connsiteY2" fmla="*/ 18644 h 36122"/>
              <a:gd name="connsiteX3" fmla="*/ 0 w 33792"/>
              <a:gd name="connsiteY3" fmla="*/ 0 h 36122"/>
              <a:gd name="connsiteX4" fmla="*/ 16313 w 33792"/>
              <a:gd name="connsiteY4" fmla="*/ 0 h 36122"/>
              <a:gd name="connsiteX5" fmla="*/ 33792 w 33792"/>
              <a:gd name="connsiteY5" fmla="*/ 18644 h 3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92" h="36122">
                <a:moveTo>
                  <a:pt x="15148" y="36123"/>
                </a:moveTo>
                <a:lnTo>
                  <a:pt x="0" y="36123"/>
                </a:lnTo>
                <a:lnTo>
                  <a:pt x="18644" y="18644"/>
                </a:lnTo>
                <a:lnTo>
                  <a:pt x="0" y="0"/>
                </a:lnTo>
                <a:lnTo>
                  <a:pt x="16313" y="0"/>
                </a:lnTo>
                <a:lnTo>
                  <a:pt x="33792" y="18644"/>
                </a:lnTo>
                <a:close/>
              </a:path>
            </a:pathLst>
          </a:custGeom>
          <a:solidFill>
            <a:srgbClr val="EEF2F5"/>
          </a:solidFill>
          <a:ln w="11643" cap="flat">
            <a:noFill/>
            <a:prstDash val="solid"/>
            <a:miter/>
          </a:ln>
        </p:spPr>
        <p:txBody>
          <a:bodyPr rtlCol="0" anchor="ctr"/>
          <a:lstStyle/>
          <a:p>
            <a:endParaRPr lang="de-DE"/>
          </a:p>
        </p:txBody>
      </p:sp>
      <p:sp>
        <p:nvSpPr>
          <p:cNvPr id="316" name="Freihandform: Form 315">
            <a:extLst>
              <a:ext uri="{FF2B5EF4-FFF2-40B4-BE49-F238E27FC236}">
                <a16:creationId xmlns:a16="http://schemas.microsoft.com/office/drawing/2014/main" id="{4E782172-F80C-4F0D-9EAC-FB60DC8E79B1}"/>
              </a:ext>
            </a:extLst>
          </p:cNvPr>
          <p:cNvSpPr/>
          <p:nvPr userDrawn="1"/>
        </p:nvSpPr>
        <p:spPr>
          <a:xfrm>
            <a:off x="5255279" y="2801770"/>
            <a:ext cx="33792" cy="36122"/>
          </a:xfrm>
          <a:custGeom>
            <a:avLst/>
            <a:gdLst>
              <a:gd name="connsiteX0" fmla="*/ 15148 w 33792"/>
              <a:gd name="connsiteY0" fmla="*/ 36123 h 36122"/>
              <a:gd name="connsiteX1" fmla="*/ 0 w 33792"/>
              <a:gd name="connsiteY1" fmla="*/ 36123 h 36122"/>
              <a:gd name="connsiteX2" fmla="*/ 18644 w 33792"/>
              <a:gd name="connsiteY2" fmla="*/ 17479 h 36122"/>
              <a:gd name="connsiteX3" fmla="*/ 0 w 33792"/>
              <a:gd name="connsiteY3" fmla="*/ 0 h 36122"/>
              <a:gd name="connsiteX4" fmla="*/ 16313 w 33792"/>
              <a:gd name="connsiteY4" fmla="*/ 0 h 36122"/>
              <a:gd name="connsiteX5" fmla="*/ 33792 w 33792"/>
              <a:gd name="connsiteY5" fmla="*/ 17479 h 3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92" h="36122">
                <a:moveTo>
                  <a:pt x="15148" y="36123"/>
                </a:moveTo>
                <a:lnTo>
                  <a:pt x="0" y="36123"/>
                </a:lnTo>
                <a:lnTo>
                  <a:pt x="18644" y="17479"/>
                </a:lnTo>
                <a:lnTo>
                  <a:pt x="0" y="0"/>
                </a:lnTo>
                <a:lnTo>
                  <a:pt x="16313" y="0"/>
                </a:lnTo>
                <a:lnTo>
                  <a:pt x="33792" y="17479"/>
                </a:lnTo>
                <a:close/>
              </a:path>
            </a:pathLst>
          </a:custGeom>
          <a:solidFill>
            <a:srgbClr val="EEF2F5"/>
          </a:solidFill>
          <a:ln w="11643" cap="flat">
            <a:noFill/>
            <a:prstDash val="solid"/>
            <a:miter/>
          </a:ln>
        </p:spPr>
        <p:txBody>
          <a:bodyPr rtlCol="0" anchor="ctr"/>
          <a:lstStyle/>
          <a:p>
            <a:endParaRPr lang="de-DE"/>
          </a:p>
        </p:txBody>
      </p:sp>
      <p:sp>
        <p:nvSpPr>
          <p:cNvPr id="317" name="Freihandform: Form 316">
            <a:extLst>
              <a:ext uri="{FF2B5EF4-FFF2-40B4-BE49-F238E27FC236}">
                <a16:creationId xmlns:a16="http://schemas.microsoft.com/office/drawing/2014/main" id="{5AC89AEE-3E21-479D-AFC6-890140A3CE25}"/>
              </a:ext>
            </a:extLst>
          </p:cNvPr>
          <p:cNvSpPr/>
          <p:nvPr userDrawn="1"/>
        </p:nvSpPr>
        <p:spPr>
          <a:xfrm>
            <a:off x="5255279" y="3156006"/>
            <a:ext cx="33792" cy="36122"/>
          </a:xfrm>
          <a:custGeom>
            <a:avLst/>
            <a:gdLst>
              <a:gd name="connsiteX0" fmla="*/ 15148 w 33792"/>
              <a:gd name="connsiteY0" fmla="*/ 36123 h 36122"/>
              <a:gd name="connsiteX1" fmla="*/ 0 w 33792"/>
              <a:gd name="connsiteY1" fmla="*/ 36123 h 36122"/>
              <a:gd name="connsiteX2" fmla="*/ 18644 w 33792"/>
              <a:gd name="connsiteY2" fmla="*/ 18644 h 36122"/>
              <a:gd name="connsiteX3" fmla="*/ 0 w 33792"/>
              <a:gd name="connsiteY3" fmla="*/ 0 h 36122"/>
              <a:gd name="connsiteX4" fmla="*/ 16313 w 33792"/>
              <a:gd name="connsiteY4" fmla="*/ 0 h 36122"/>
              <a:gd name="connsiteX5" fmla="*/ 33792 w 33792"/>
              <a:gd name="connsiteY5" fmla="*/ 18644 h 3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92" h="36122">
                <a:moveTo>
                  <a:pt x="15148" y="36123"/>
                </a:moveTo>
                <a:lnTo>
                  <a:pt x="0" y="36123"/>
                </a:lnTo>
                <a:lnTo>
                  <a:pt x="18644" y="18644"/>
                </a:lnTo>
                <a:lnTo>
                  <a:pt x="0" y="0"/>
                </a:lnTo>
                <a:lnTo>
                  <a:pt x="16313" y="0"/>
                </a:lnTo>
                <a:lnTo>
                  <a:pt x="33792" y="18644"/>
                </a:lnTo>
                <a:close/>
              </a:path>
            </a:pathLst>
          </a:custGeom>
          <a:solidFill>
            <a:srgbClr val="EEF2F5"/>
          </a:solidFill>
          <a:ln w="11643" cap="flat">
            <a:noFill/>
            <a:prstDash val="solid"/>
            <a:miter/>
          </a:ln>
        </p:spPr>
        <p:txBody>
          <a:bodyPr rtlCol="0" anchor="ctr"/>
          <a:lstStyle/>
          <a:p>
            <a:endParaRPr lang="de-DE"/>
          </a:p>
        </p:txBody>
      </p:sp>
      <p:sp>
        <p:nvSpPr>
          <p:cNvPr id="318" name="Freihandform: Form 317">
            <a:extLst>
              <a:ext uri="{FF2B5EF4-FFF2-40B4-BE49-F238E27FC236}">
                <a16:creationId xmlns:a16="http://schemas.microsoft.com/office/drawing/2014/main" id="{B49D284A-3754-4334-8ECC-958A57DEF1F2}"/>
              </a:ext>
            </a:extLst>
          </p:cNvPr>
          <p:cNvSpPr/>
          <p:nvPr userDrawn="1"/>
        </p:nvSpPr>
        <p:spPr>
          <a:xfrm>
            <a:off x="5255279" y="5995715"/>
            <a:ext cx="33792" cy="36122"/>
          </a:xfrm>
          <a:custGeom>
            <a:avLst/>
            <a:gdLst>
              <a:gd name="connsiteX0" fmla="*/ 15148 w 33792"/>
              <a:gd name="connsiteY0" fmla="*/ 36123 h 36122"/>
              <a:gd name="connsiteX1" fmla="*/ 0 w 33792"/>
              <a:gd name="connsiteY1" fmla="*/ 36123 h 36122"/>
              <a:gd name="connsiteX2" fmla="*/ 18644 w 33792"/>
              <a:gd name="connsiteY2" fmla="*/ 17479 h 36122"/>
              <a:gd name="connsiteX3" fmla="*/ 0 w 33792"/>
              <a:gd name="connsiteY3" fmla="*/ 0 h 36122"/>
              <a:gd name="connsiteX4" fmla="*/ 16313 w 33792"/>
              <a:gd name="connsiteY4" fmla="*/ 0 h 36122"/>
              <a:gd name="connsiteX5" fmla="*/ 33792 w 33792"/>
              <a:gd name="connsiteY5" fmla="*/ 17479 h 3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92" h="36122">
                <a:moveTo>
                  <a:pt x="15148" y="36123"/>
                </a:moveTo>
                <a:lnTo>
                  <a:pt x="0" y="36123"/>
                </a:lnTo>
                <a:lnTo>
                  <a:pt x="18644" y="17479"/>
                </a:lnTo>
                <a:lnTo>
                  <a:pt x="0" y="0"/>
                </a:lnTo>
                <a:lnTo>
                  <a:pt x="16313" y="0"/>
                </a:lnTo>
                <a:lnTo>
                  <a:pt x="33792" y="17479"/>
                </a:lnTo>
                <a:close/>
              </a:path>
            </a:pathLst>
          </a:custGeom>
          <a:solidFill>
            <a:srgbClr val="EEF2F5"/>
          </a:solidFill>
          <a:ln w="11643" cap="flat">
            <a:noFill/>
            <a:prstDash val="solid"/>
            <a:miter/>
          </a:ln>
        </p:spPr>
        <p:txBody>
          <a:bodyPr rtlCol="0" anchor="ctr"/>
          <a:lstStyle/>
          <a:p>
            <a:endParaRPr lang="de-DE"/>
          </a:p>
        </p:txBody>
      </p:sp>
      <p:sp>
        <p:nvSpPr>
          <p:cNvPr id="319" name="Freihandform: Form 318">
            <a:extLst>
              <a:ext uri="{FF2B5EF4-FFF2-40B4-BE49-F238E27FC236}">
                <a16:creationId xmlns:a16="http://schemas.microsoft.com/office/drawing/2014/main" id="{A69B0409-A733-4EE2-98C0-896F38B72165}"/>
              </a:ext>
            </a:extLst>
          </p:cNvPr>
          <p:cNvSpPr/>
          <p:nvPr userDrawn="1"/>
        </p:nvSpPr>
        <p:spPr>
          <a:xfrm>
            <a:off x="5255279" y="6349950"/>
            <a:ext cx="33792" cy="36122"/>
          </a:xfrm>
          <a:custGeom>
            <a:avLst/>
            <a:gdLst>
              <a:gd name="connsiteX0" fmla="*/ 15148 w 33792"/>
              <a:gd name="connsiteY0" fmla="*/ 36123 h 36122"/>
              <a:gd name="connsiteX1" fmla="*/ 0 w 33792"/>
              <a:gd name="connsiteY1" fmla="*/ 36123 h 36122"/>
              <a:gd name="connsiteX2" fmla="*/ 18644 w 33792"/>
              <a:gd name="connsiteY2" fmla="*/ 18644 h 36122"/>
              <a:gd name="connsiteX3" fmla="*/ 0 w 33792"/>
              <a:gd name="connsiteY3" fmla="*/ 0 h 36122"/>
              <a:gd name="connsiteX4" fmla="*/ 16313 w 33792"/>
              <a:gd name="connsiteY4" fmla="*/ 0 h 36122"/>
              <a:gd name="connsiteX5" fmla="*/ 33792 w 33792"/>
              <a:gd name="connsiteY5" fmla="*/ 17479 h 3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92" h="36122">
                <a:moveTo>
                  <a:pt x="15148" y="36123"/>
                </a:moveTo>
                <a:lnTo>
                  <a:pt x="0" y="36123"/>
                </a:lnTo>
                <a:lnTo>
                  <a:pt x="18644" y="18644"/>
                </a:lnTo>
                <a:lnTo>
                  <a:pt x="0" y="0"/>
                </a:lnTo>
                <a:lnTo>
                  <a:pt x="16313" y="0"/>
                </a:lnTo>
                <a:lnTo>
                  <a:pt x="33792" y="17479"/>
                </a:lnTo>
                <a:close/>
              </a:path>
            </a:pathLst>
          </a:custGeom>
          <a:solidFill>
            <a:srgbClr val="EEF2F5"/>
          </a:solidFill>
          <a:ln w="11643" cap="flat">
            <a:noFill/>
            <a:prstDash val="solid"/>
            <a:miter/>
          </a:ln>
        </p:spPr>
        <p:txBody>
          <a:bodyPr rtlCol="0" anchor="ctr"/>
          <a:lstStyle/>
          <a:p>
            <a:endParaRPr lang="de-DE"/>
          </a:p>
        </p:txBody>
      </p:sp>
      <p:sp>
        <p:nvSpPr>
          <p:cNvPr id="320" name="Freihandform: Form 319">
            <a:extLst>
              <a:ext uri="{FF2B5EF4-FFF2-40B4-BE49-F238E27FC236}">
                <a16:creationId xmlns:a16="http://schemas.microsoft.com/office/drawing/2014/main" id="{CF4A57C6-D03C-4435-9ADC-6B2A2369F87E}"/>
              </a:ext>
            </a:extLst>
          </p:cNvPr>
          <p:cNvSpPr/>
          <p:nvPr userDrawn="1"/>
        </p:nvSpPr>
        <p:spPr>
          <a:xfrm>
            <a:off x="5255279" y="6705351"/>
            <a:ext cx="33792" cy="36122"/>
          </a:xfrm>
          <a:custGeom>
            <a:avLst/>
            <a:gdLst>
              <a:gd name="connsiteX0" fmla="*/ 15148 w 33792"/>
              <a:gd name="connsiteY0" fmla="*/ 36123 h 36122"/>
              <a:gd name="connsiteX1" fmla="*/ 0 w 33792"/>
              <a:gd name="connsiteY1" fmla="*/ 36123 h 36122"/>
              <a:gd name="connsiteX2" fmla="*/ 18644 w 33792"/>
              <a:gd name="connsiteY2" fmla="*/ 17479 h 36122"/>
              <a:gd name="connsiteX3" fmla="*/ 0 w 33792"/>
              <a:gd name="connsiteY3" fmla="*/ 0 h 36122"/>
              <a:gd name="connsiteX4" fmla="*/ 16313 w 33792"/>
              <a:gd name="connsiteY4" fmla="*/ 0 h 36122"/>
              <a:gd name="connsiteX5" fmla="*/ 33792 w 33792"/>
              <a:gd name="connsiteY5" fmla="*/ 17479 h 3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92" h="36122">
                <a:moveTo>
                  <a:pt x="15148" y="36123"/>
                </a:moveTo>
                <a:lnTo>
                  <a:pt x="0" y="36123"/>
                </a:lnTo>
                <a:lnTo>
                  <a:pt x="18644" y="17479"/>
                </a:lnTo>
                <a:lnTo>
                  <a:pt x="0" y="0"/>
                </a:lnTo>
                <a:lnTo>
                  <a:pt x="16313" y="0"/>
                </a:lnTo>
                <a:lnTo>
                  <a:pt x="33792" y="17479"/>
                </a:lnTo>
                <a:close/>
              </a:path>
            </a:pathLst>
          </a:custGeom>
          <a:solidFill>
            <a:srgbClr val="EEF2F5"/>
          </a:solidFill>
          <a:ln w="11643" cap="flat">
            <a:noFill/>
            <a:prstDash val="solid"/>
            <a:miter/>
          </a:ln>
        </p:spPr>
        <p:txBody>
          <a:bodyPr rtlCol="0" anchor="ctr"/>
          <a:lstStyle/>
          <a:p>
            <a:endParaRPr lang="de-DE"/>
          </a:p>
        </p:txBody>
      </p:sp>
      <p:sp>
        <p:nvSpPr>
          <p:cNvPr id="321" name="Freihandform: Form 320">
            <a:extLst>
              <a:ext uri="{FF2B5EF4-FFF2-40B4-BE49-F238E27FC236}">
                <a16:creationId xmlns:a16="http://schemas.microsoft.com/office/drawing/2014/main" id="{1807184F-5BFC-46A4-B573-61D79451EAFB}"/>
              </a:ext>
            </a:extLst>
          </p:cNvPr>
          <p:cNvSpPr/>
          <p:nvPr userDrawn="1"/>
        </p:nvSpPr>
        <p:spPr>
          <a:xfrm>
            <a:off x="5602523" y="2082812"/>
            <a:ext cx="50105" cy="54766"/>
          </a:xfrm>
          <a:custGeom>
            <a:avLst/>
            <a:gdLst>
              <a:gd name="connsiteX0" fmla="*/ 22140 w 50105"/>
              <a:gd name="connsiteY0" fmla="*/ 54767 h 54766"/>
              <a:gd name="connsiteX1" fmla="*/ 0 w 50105"/>
              <a:gd name="connsiteY1" fmla="*/ 54767 h 54766"/>
              <a:gd name="connsiteX2" fmla="*/ 26801 w 50105"/>
              <a:gd name="connsiteY2" fmla="*/ 27966 h 54766"/>
              <a:gd name="connsiteX3" fmla="*/ 0 w 50105"/>
              <a:gd name="connsiteY3" fmla="*/ 0 h 54766"/>
              <a:gd name="connsiteX4" fmla="*/ 23305 w 50105"/>
              <a:gd name="connsiteY4" fmla="*/ 0 h 54766"/>
              <a:gd name="connsiteX5" fmla="*/ 50106 w 50105"/>
              <a:gd name="connsiteY5" fmla="*/ 26801 h 5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4765">
                <a:moveTo>
                  <a:pt x="22140" y="54767"/>
                </a:moveTo>
                <a:lnTo>
                  <a:pt x="0" y="54767"/>
                </a:lnTo>
                <a:lnTo>
                  <a:pt x="26801" y="27966"/>
                </a:lnTo>
                <a:lnTo>
                  <a:pt x="0" y="0"/>
                </a:lnTo>
                <a:lnTo>
                  <a:pt x="23305" y="0"/>
                </a:lnTo>
                <a:lnTo>
                  <a:pt x="50106" y="26801"/>
                </a:lnTo>
                <a:close/>
              </a:path>
            </a:pathLst>
          </a:custGeom>
          <a:solidFill>
            <a:srgbClr val="EEF2F5"/>
          </a:solidFill>
          <a:ln w="11643" cap="flat">
            <a:noFill/>
            <a:prstDash val="solid"/>
            <a:miter/>
          </a:ln>
        </p:spPr>
        <p:txBody>
          <a:bodyPr rtlCol="0" anchor="ctr"/>
          <a:lstStyle/>
          <a:p>
            <a:endParaRPr lang="de-DE"/>
          </a:p>
        </p:txBody>
      </p:sp>
      <p:sp>
        <p:nvSpPr>
          <p:cNvPr id="322" name="Freihandform: Form 321">
            <a:extLst>
              <a:ext uri="{FF2B5EF4-FFF2-40B4-BE49-F238E27FC236}">
                <a16:creationId xmlns:a16="http://schemas.microsoft.com/office/drawing/2014/main" id="{C0D0B83B-4824-46BE-8996-93D859654DAF}"/>
              </a:ext>
            </a:extLst>
          </p:cNvPr>
          <p:cNvSpPr/>
          <p:nvPr userDrawn="1"/>
        </p:nvSpPr>
        <p:spPr>
          <a:xfrm>
            <a:off x="5602523" y="2438213"/>
            <a:ext cx="50105" cy="53601"/>
          </a:xfrm>
          <a:custGeom>
            <a:avLst/>
            <a:gdLst>
              <a:gd name="connsiteX0" fmla="*/ 22140 w 50105"/>
              <a:gd name="connsiteY0" fmla="*/ 53601 h 53601"/>
              <a:gd name="connsiteX1" fmla="*/ 0 w 50105"/>
              <a:gd name="connsiteY1" fmla="*/ 53601 h 53601"/>
              <a:gd name="connsiteX2" fmla="*/ 26801 w 50105"/>
              <a:gd name="connsiteY2" fmla="*/ 26801 h 53601"/>
              <a:gd name="connsiteX3" fmla="*/ 0 w 50105"/>
              <a:gd name="connsiteY3" fmla="*/ 0 h 53601"/>
              <a:gd name="connsiteX4" fmla="*/ 23305 w 50105"/>
              <a:gd name="connsiteY4" fmla="*/ 0 h 53601"/>
              <a:gd name="connsiteX5" fmla="*/ 50106 w 50105"/>
              <a:gd name="connsiteY5" fmla="*/ 25635 h 53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3601">
                <a:moveTo>
                  <a:pt x="22140" y="53601"/>
                </a:moveTo>
                <a:lnTo>
                  <a:pt x="0" y="53601"/>
                </a:lnTo>
                <a:lnTo>
                  <a:pt x="26801" y="26801"/>
                </a:lnTo>
                <a:lnTo>
                  <a:pt x="0" y="0"/>
                </a:lnTo>
                <a:lnTo>
                  <a:pt x="23305" y="0"/>
                </a:lnTo>
                <a:lnTo>
                  <a:pt x="50106" y="25635"/>
                </a:lnTo>
                <a:close/>
              </a:path>
            </a:pathLst>
          </a:custGeom>
          <a:solidFill>
            <a:srgbClr val="EEF2F5"/>
          </a:solidFill>
          <a:ln w="11643" cap="flat">
            <a:noFill/>
            <a:prstDash val="solid"/>
            <a:miter/>
          </a:ln>
        </p:spPr>
        <p:txBody>
          <a:bodyPr rtlCol="0" anchor="ctr"/>
          <a:lstStyle/>
          <a:p>
            <a:endParaRPr lang="de-DE"/>
          </a:p>
        </p:txBody>
      </p:sp>
      <p:sp>
        <p:nvSpPr>
          <p:cNvPr id="323" name="Freihandform: Form 322">
            <a:extLst>
              <a:ext uri="{FF2B5EF4-FFF2-40B4-BE49-F238E27FC236}">
                <a16:creationId xmlns:a16="http://schemas.microsoft.com/office/drawing/2014/main" id="{12E80D0E-DA88-4D3B-A304-2437DDA9D26E}"/>
              </a:ext>
            </a:extLst>
          </p:cNvPr>
          <p:cNvSpPr/>
          <p:nvPr userDrawn="1"/>
        </p:nvSpPr>
        <p:spPr>
          <a:xfrm>
            <a:off x="5602523" y="2792448"/>
            <a:ext cx="50105" cy="54766"/>
          </a:xfrm>
          <a:custGeom>
            <a:avLst/>
            <a:gdLst>
              <a:gd name="connsiteX0" fmla="*/ 22140 w 50105"/>
              <a:gd name="connsiteY0" fmla="*/ 54767 h 54766"/>
              <a:gd name="connsiteX1" fmla="*/ 0 w 50105"/>
              <a:gd name="connsiteY1" fmla="*/ 54767 h 54766"/>
              <a:gd name="connsiteX2" fmla="*/ 26801 w 50105"/>
              <a:gd name="connsiteY2" fmla="*/ 27966 h 54766"/>
              <a:gd name="connsiteX3" fmla="*/ 0 w 50105"/>
              <a:gd name="connsiteY3" fmla="*/ 0 h 54766"/>
              <a:gd name="connsiteX4" fmla="*/ 23305 w 50105"/>
              <a:gd name="connsiteY4" fmla="*/ 0 h 54766"/>
              <a:gd name="connsiteX5" fmla="*/ 50106 w 50105"/>
              <a:gd name="connsiteY5" fmla="*/ 26801 h 5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4765">
                <a:moveTo>
                  <a:pt x="22140" y="54767"/>
                </a:moveTo>
                <a:lnTo>
                  <a:pt x="0" y="54767"/>
                </a:lnTo>
                <a:lnTo>
                  <a:pt x="26801" y="27966"/>
                </a:lnTo>
                <a:lnTo>
                  <a:pt x="0" y="0"/>
                </a:lnTo>
                <a:lnTo>
                  <a:pt x="23305" y="0"/>
                </a:lnTo>
                <a:lnTo>
                  <a:pt x="50106" y="26801"/>
                </a:lnTo>
                <a:close/>
              </a:path>
            </a:pathLst>
          </a:custGeom>
          <a:solidFill>
            <a:srgbClr val="EEF2F5"/>
          </a:solidFill>
          <a:ln w="11643" cap="flat">
            <a:noFill/>
            <a:prstDash val="solid"/>
            <a:miter/>
          </a:ln>
        </p:spPr>
        <p:txBody>
          <a:bodyPr rtlCol="0" anchor="ctr"/>
          <a:lstStyle/>
          <a:p>
            <a:endParaRPr lang="de-DE"/>
          </a:p>
        </p:txBody>
      </p:sp>
      <p:sp>
        <p:nvSpPr>
          <p:cNvPr id="324" name="Freihandform: Form 323">
            <a:extLst>
              <a:ext uri="{FF2B5EF4-FFF2-40B4-BE49-F238E27FC236}">
                <a16:creationId xmlns:a16="http://schemas.microsoft.com/office/drawing/2014/main" id="{75F4BC4C-9ADA-43B5-9F89-F834BAC4C3C6}"/>
              </a:ext>
            </a:extLst>
          </p:cNvPr>
          <p:cNvSpPr/>
          <p:nvPr userDrawn="1"/>
        </p:nvSpPr>
        <p:spPr>
          <a:xfrm>
            <a:off x="5602523" y="3147849"/>
            <a:ext cx="50105" cy="53601"/>
          </a:xfrm>
          <a:custGeom>
            <a:avLst/>
            <a:gdLst>
              <a:gd name="connsiteX0" fmla="*/ 22140 w 50105"/>
              <a:gd name="connsiteY0" fmla="*/ 53601 h 53601"/>
              <a:gd name="connsiteX1" fmla="*/ 0 w 50105"/>
              <a:gd name="connsiteY1" fmla="*/ 53601 h 53601"/>
              <a:gd name="connsiteX2" fmla="*/ 26801 w 50105"/>
              <a:gd name="connsiteY2" fmla="*/ 26801 h 53601"/>
              <a:gd name="connsiteX3" fmla="*/ 0 w 50105"/>
              <a:gd name="connsiteY3" fmla="*/ 0 h 53601"/>
              <a:gd name="connsiteX4" fmla="*/ 23305 w 50105"/>
              <a:gd name="connsiteY4" fmla="*/ 0 h 53601"/>
              <a:gd name="connsiteX5" fmla="*/ 50106 w 50105"/>
              <a:gd name="connsiteY5" fmla="*/ 26801 h 53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3601">
                <a:moveTo>
                  <a:pt x="22140" y="53601"/>
                </a:moveTo>
                <a:lnTo>
                  <a:pt x="0" y="53601"/>
                </a:lnTo>
                <a:lnTo>
                  <a:pt x="26801" y="26801"/>
                </a:lnTo>
                <a:lnTo>
                  <a:pt x="0" y="0"/>
                </a:lnTo>
                <a:lnTo>
                  <a:pt x="23305" y="0"/>
                </a:lnTo>
                <a:lnTo>
                  <a:pt x="50106" y="26801"/>
                </a:lnTo>
                <a:close/>
              </a:path>
            </a:pathLst>
          </a:custGeom>
          <a:solidFill>
            <a:srgbClr val="EEF2F5"/>
          </a:solidFill>
          <a:ln w="11643" cap="flat">
            <a:noFill/>
            <a:prstDash val="solid"/>
            <a:miter/>
          </a:ln>
        </p:spPr>
        <p:txBody>
          <a:bodyPr rtlCol="0" anchor="ctr"/>
          <a:lstStyle/>
          <a:p>
            <a:endParaRPr lang="de-DE"/>
          </a:p>
        </p:txBody>
      </p:sp>
      <p:sp>
        <p:nvSpPr>
          <p:cNvPr id="325" name="Freihandform: Form 324">
            <a:extLst>
              <a:ext uri="{FF2B5EF4-FFF2-40B4-BE49-F238E27FC236}">
                <a16:creationId xmlns:a16="http://schemas.microsoft.com/office/drawing/2014/main" id="{D89D440D-BCDF-43E7-B3AD-4B1C9D100423}"/>
              </a:ext>
            </a:extLst>
          </p:cNvPr>
          <p:cNvSpPr/>
          <p:nvPr userDrawn="1"/>
        </p:nvSpPr>
        <p:spPr>
          <a:xfrm>
            <a:off x="5602523" y="3502084"/>
            <a:ext cx="50105" cy="54766"/>
          </a:xfrm>
          <a:custGeom>
            <a:avLst/>
            <a:gdLst>
              <a:gd name="connsiteX0" fmla="*/ 22140 w 50105"/>
              <a:gd name="connsiteY0" fmla="*/ 54767 h 54766"/>
              <a:gd name="connsiteX1" fmla="*/ 0 w 50105"/>
              <a:gd name="connsiteY1" fmla="*/ 54767 h 54766"/>
              <a:gd name="connsiteX2" fmla="*/ 26801 w 50105"/>
              <a:gd name="connsiteY2" fmla="*/ 27966 h 54766"/>
              <a:gd name="connsiteX3" fmla="*/ 0 w 50105"/>
              <a:gd name="connsiteY3" fmla="*/ 0 h 54766"/>
              <a:gd name="connsiteX4" fmla="*/ 23305 w 50105"/>
              <a:gd name="connsiteY4" fmla="*/ 0 h 54766"/>
              <a:gd name="connsiteX5" fmla="*/ 50106 w 50105"/>
              <a:gd name="connsiteY5" fmla="*/ 26801 h 5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4765">
                <a:moveTo>
                  <a:pt x="22140" y="54767"/>
                </a:moveTo>
                <a:lnTo>
                  <a:pt x="0" y="54767"/>
                </a:lnTo>
                <a:lnTo>
                  <a:pt x="26801" y="27966"/>
                </a:lnTo>
                <a:lnTo>
                  <a:pt x="0" y="0"/>
                </a:lnTo>
                <a:lnTo>
                  <a:pt x="23305" y="0"/>
                </a:lnTo>
                <a:lnTo>
                  <a:pt x="50106" y="26801"/>
                </a:lnTo>
                <a:close/>
              </a:path>
            </a:pathLst>
          </a:custGeom>
          <a:solidFill>
            <a:srgbClr val="EEF2F5"/>
          </a:solidFill>
          <a:ln w="11643" cap="flat">
            <a:noFill/>
            <a:prstDash val="solid"/>
            <a:miter/>
          </a:ln>
        </p:spPr>
        <p:txBody>
          <a:bodyPr rtlCol="0" anchor="ctr"/>
          <a:lstStyle/>
          <a:p>
            <a:endParaRPr lang="de-DE"/>
          </a:p>
        </p:txBody>
      </p:sp>
      <p:sp>
        <p:nvSpPr>
          <p:cNvPr id="326" name="Freihandform: Form 325">
            <a:extLst>
              <a:ext uri="{FF2B5EF4-FFF2-40B4-BE49-F238E27FC236}">
                <a16:creationId xmlns:a16="http://schemas.microsoft.com/office/drawing/2014/main" id="{95E32A0E-3A5A-4B5B-A0A6-86D6905C4904}"/>
              </a:ext>
            </a:extLst>
          </p:cNvPr>
          <p:cNvSpPr/>
          <p:nvPr userDrawn="1"/>
        </p:nvSpPr>
        <p:spPr>
          <a:xfrm>
            <a:off x="5602523" y="5630993"/>
            <a:ext cx="50105" cy="54766"/>
          </a:xfrm>
          <a:custGeom>
            <a:avLst/>
            <a:gdLst>
              <a:gd name="connsiteX0" fmla="*/ 22140 w 50105"/>
              <a:gd name="connsiteY0" fmla="*/ 54766 h 54766"/>
              <a:gd name="connsiteX1" fmla="*/ 0 w 50105"/>
              <a:gd name="connsiteY1" fmla="*/ 54766 h 54766"/>
              <a:gd name="connsiteX2" fmla="*/ 26801 w 50105"/>
              <a:gd name="connsiteY2" fmla="*/ 27966 h 54766"/>
              <a:gd name="connsiteX3" fmla="*/ 0 w 50105"/>
              <a:gd name="connsiteY3" fmla="*/ 0 h 54766"/>
              <a:gd name="connsiteX4" fmla="*/ 23305 w 50105"/>
              <a:gd name="connsiteY4" fmla="*/ 0 h 54766"/>
              <a:gd name="connsiteX5" fmla="*/ 50106 w 50105"/>
              <a:gd name="connsiteY5" fmla="*/ 26801 h 5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4765">
                <a:moveTo>
                  <a:pt x="22140" y="54766"/>
                </a:moveTo>
                <a:lnTo>
                  <a:pt x="0" y="54766"/>
                </a:lnTo>
                <a:lnTo>
                  <a:pt x="26801" y="27966"/>
                </a:lnTo>
                <a:lnTo>
                  <a:pt x="0" y="0"/>
                </a:lnTo>
                <a:lnTo>
                  <a:pt x="23305" y="0"/>
                </a:lnTo>
                <a:lnTo>
                  <a:pt x="50106" y="26801"/>
                </a:lnTo>
                <a:close/>
              </a:path>
            </a:pathLst>
          </a:custGeom>
          <a:solidFill>
            <a:srgbClr val="EEF2F5"/>
          </a:solidFill>
          <a:ln w="11643" cap="flat">
            <a:noFill/>
            <a:prstDash val="solid"/>
            <a:miter/>
          </a:ln>
        </p:spPr>
        <p:txBody>
          <a:bodyPr rtlCol="0" anchor="ctr"/>
          <a:lstStyle/>
          <a:p>
            <a:endParaRPr lang="de-DE"/>
          </a:p>
        </p:txBody>
      </p:sp>
      <p:sp>
        <p:nvSpPr>
          <p:cNvPr id="327" name="Freihandform: Form 326">
            <a:extLst>
              <a:ext uri="{FF2B5EF4-FFF2-40B4-BE49-F238E27FC236}">
                <a16:creationId xmlns:a16="http://schemas.microsoft.com/office/drawing/2014/main" id="{85895A0B-5B7D-4040-8BB1-5C871FAB6EE7}"/>
              </a:ext>
            </a:extLst>
          </p:cNvPr>
          <p:cNvSpPr/>
          <p:nvPr userDrawn="1"/>
        </p:nvSpPr>
        <p:spPr>
          <a:xfrm>
            <a:off x="5602523" y="5986393"/>
            <a:ext cx="50105" cy="54766"/>
          </a:xfrm>
          <a:custGeom>
            <a:avLst/>
            <a:gdLst>
              <a:gd name="connsiteX0" fmla="*/ 22140 w 50105"/>
              <a:gd name="connsiteY0" fmla="*/ 54766 h 54766"/>
              <a:gd name="connsiteX1" fmla="*/ 0 w 50105"/>
              <a:gd name="connsiteY1" fmla="*/ 54766 h 54766"/>
              <a:gd name="connsiteX2" fmla="*/ 26801 w 50105"/>
              <a:gd name="connsiteY2" fmla="*/ 26801 h 54766"/>
              <a:gd name="connsiteX3" fmla="*/ 0 w 50105"/>
              <a:gd name="connsiteY3" fmla="*/ 0 h 54766"/>
              <a:gd name="connsiteX4" fmla="*/ 23305 w 50105"/>
              <a:gd name="connsiteY4" fmla="*/ 0 h 54766"/>
              <a:gd name="connsiteX5" fmla="*/ 50106 w 50105"/>
              <a:gd name="connsiteY5" fmla="*/ 26801 h 5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4765">
                <a:moveTo>
                  <a:pt x="22140" y="54766"/>
                </a:moveTo>
                <a:lnTo>
                  <a:pt x="0" y="54766"/>
                </a:lnTo>
                <a:lnTo>
                  <a:pt x="26801" y="26801"/>
                </a:lnTo>
                <a:lnTo>
                  <a:pt x="0" y="0"/>
                </a:lnTo>
                <a:lnTo>
                  <a:pt x="23305" y="0"/>
                </a:lnTo>
                <a:lnTo>
                  <a:pt x="50106" y="26801"/>
                </a:lnTo>
                <a:close/>
              </a:path>
            </a:pathLst>
          </a:custGeom>
          <a:solidFill>
            <a:srgbClr val="EEF2F5"/>
          </a:solidFill>
          <a:ln w="11643" cap="flat">
            <a:noFill/>
            <a:prstDash val="solid"/>
            <a:miter/>
          </a:ln>
        </p:spPr>
        <p:txBody>
          <a:bodyPr rtlCol="0" anchor="ctr"/>
          <a:lstStyle/>
          <a:p>
            <a:endParaRPr lang="de-DE"/>
          </a:p>
        </p:txBody>
      </p:sp>
      <p:sp>
        <p:nvSpPr>
          <p:cNvPr id="328" name="Freihandform: Form 327">
            <a:extLst>
              <a:ext uri="{FF2B5EF4-FFF2-40B4-BE49-F238E27FC236}">
                <a16:creationId xmlns:a16="http://schemas.microsoft.com/office/drawing/2014/main" id="{F82EB456-ACBE-4744-9452-8F06AAB03489}"/>
              </a:ext>
            </a:extLst>
          </p:cNvPr>
          <p:cNvSpPr/>
          <p:nvPr userDrawn="1"/>
        </p:nvSpPr>
        <p:spPr>
          <a:xfrm>
            <a:off x="5602523" y="6340628"/>
            <a:ext cx="50105" cy="54766"/>
          </a:xfrm>
          <a:custGeom>
            <a:avLst/>
            <a:gdLst>
              <a:gd name="connsiteX0" fmla="*/ 22140 w 50105"/>
              <a:gd name="connsiteY0" fmla="*/ 54766 h 54766"/>
              <a:gd name="connsiteX1" fmla="*/ 0 w 50105"/>
              <a:gd name="connsiteY1" fmla="*/ 54766 h 54766"/>
              <a:gd name="connsiteX2" fmla="*/ 26801 w 50105"/>
              <a:gd name="connsiteY2" fmla="*/ 27966 h 54766"/>
              <a:gd name="connsiteX3" fmla="*/ 0 w 50105"/>
              <a:gd name="connsiteY3" fmla="*/ 0 h 54766"/>
              <a:gd name="connsiteX4" fmla="*/ 23305 w 50105"/>
              <a:gd name="connsiteY4" fmla="*/ 0 h 54766"/>
              <a:gd name="connsiteX5" fmla="*/ 50106 w 50105"/>
              <a:gd name="connsiteY5" fmla="*/ 26801 h 5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4765">
                <a:moveTo>
                  <a:pt x="22140" y="54766"/>
                </a:moveTo>
                <a:lnTo>
                  <a:pt x="0" y="54766"/>
                </a:lnTo>
                <a:lnTo>
                  <a:pt x="26801" y="27966"/>
                </a:lnTo>
                <a:lnTo>
                  <a:pt x="0" y="0"/>
                </a:lnTo>
                <a:lnTo>
                  <a:pt x="23305" y="0"/>
                </a:lnTo>
                <a:lnTo>
                  <a:pt x="50106" y="26801"/>
                </a:lnTo>
                <a:close/>
              </a:path>
            </a:pathLst>
          </a:custGeom>
          <a:solidFill>
            <a:srgbClr val="EEF2F5"/>
          </a:solidFill>
          <a:ln w="11643" cap="flat">
            <a:noFill/>
            <a:prstDash val="solid"/>
            <a:miter/>
          </a:ln>
        </p:spPr>
        <p:txBody>
          <a:bodyPr rtlCol="0" anchor="ctr"/>
          <a:lstStyle/>
          <a:p>
            <a:endParaRPr lang="de-DE"/>
          </a:p>
        </p:txBody>
      </p:sp>
      <p:sp>
        <p:nvSpPr>
          <p:cNvPr id="329" name="Freihandform: Form 328">
            <a:extLst>
              <a:ext uri="{FF2B5EF4-FFF2-40B4-BE49-F238E27FC236}">
                <a16:creationId xmlns:a16="http://schemas.microsoft.com/office/drawing/2014/main" id="{4FED52AE-417D-492D-96F2-E2A5734595A3}"/>
              </a:ext>
            </a:extLst>
          </p:cNvPr>
          <p:cNvSpPr/>
          <p:nvPr userDrawn="1"/>
        </p:nvSpPr>
        <p:spPr>
          <a:xfrm>
            <a:off x="5602523" y="6696029"/>
            <a:ext cx="50105" cy="54766"/>
          </a:xfrm>
          <a:custGeom>
            <a:avLst/>
            <a:gdLst>
              <a:gd name="connsiteX0" fmla="*/ 22140 w 50105"/>
              <a:gd name="connsiteY0" fmla="*/ 54766 h 54766"/>
              <a:gd name="connsiteX1" fmla="*/ 0 w 50105"/>
              <a:gd name="connsiteY1" fmla="*/ 54766 h 54766"/>
              <a:gd name="connsiteX2" fmla="*/ 26801 w 50105"/>
              <a:gd name="connsiteY2" fmla="*/ 27966 h 54766"/>
              <a:gd name="connsiteX3" fmla="*/ 0 w 50105"/>
              <a:gd name="connsiteY3" fmla="*/ 0 h 54766"/>
              <a:gd name="connsiteX4" fmla="*/ 23305 w 50105"/>
              <a:gd name="connsiteY4" fmla="*/ 0 h 54766"/>
              <a:gd name="connsiteX5" fmla="*/ 50106 w 50105"/>
              <a:gd name="connsiteY5" fmla="*/ 26801 h 5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05" h="54765">
                <a:moveTo>
                  <a:pt x="22140" y="54766"/>
                </a:moveTo>
                <a:lnTo>
                  <a:pt x="0" y="54766"/>
                </a:lnTo>
                <a:lnTo>
                  <a:pt x="26801" y="27966"/>
                </a:lnTo>
                <a:lnTo>
                  <a:pt x="0" y="0"/>
                </a:lnTo>
                <a:lnTo>
                  <a:pt x="23305" y="0"/>
                </a:lnTo>
                <a:lnTo>
                  <a:pt x="50106" y="26801"/>
                </a:lnTo>
                <a:close/>
              </a:path>
            </a:pathLst>
          </a:custGeom>
          <a:solidFill>
            <a:srgbClr val="EEF2F5"/>
          </a:solidFill>
          <a:ln w="11643" cap="flat">
            <a:noFill/>
            <a:prstDash val="solid"/>
            <a:miter/>
          </a:ln>
        </p:spPr>
        <p:txBody>
          <a:bodyPr rtlCol="0" anchor="ctr"/>
          <a:lstStyle/>
          <a:p>
            <a:endParaRPr lang="de-DE"/>
          </a:p>
        </p:txBody>
      </p:sp>
      <p:sp>
        <p:nvSpPr>
          <p:cNvPr id="330" name="Freihandform: Form 329">
            <a:extLst>
              <a:ext uri="{FF2B5EF4-FFF2-40B4-BE49-F238E27FC236}">
                <a16:creationId xmlns:a16="http://schemas.microsoft.com/office/drawing/2014/main" id="{BA0E4B54-661A-44F6-9401-68AED3542315}"/>
              </a:ext>
            </a:extLst>
          </p:cNvPr>
          <p:cNvSpPr/>
          <p:nvPr userDrawn="1"/>
        </p:nvSpPr>
        <p:spPr>
          <a:xfrm>
            <a:off x="5948602" y="2073490"/>
            <a:ext cx="66419" cy="72245"/>
          </a:xfrm>
          <a:custGeom>
            <a:avLst/>
            <a:gdLst>
              <a:gd name="connsiteX0" fmla="*/ 30297 w 66419"/>
              <a:gd name="connsiteY0" fmla="*/ 72245 h 72245"/>
              <a:gd name="connsiteX1" fmla="*/ 0 w 66419"/>
              <a:gd name="connsiteY1" fmla="*/ 72245 h 72245"/>
              <a:gd name="connsiteX2" fmla="*/ 36123 w 66419"/>
              <a:gd name="connsiteY2" fmla="*/ 37288 h 72245"/>
              <a:gd name="connsiteX3" fmla="*/ 0 w 66419"/>
              <a:gd name="connsiteY3" fmla="*/ 0 h 72245"/>
              <a:gd name="connsiteX4" fmla="*/ 31462 w 66419"/>
              <a:gd name="connsiteY4" fmla="*/ 0 h 72245"/>
              <a:gd name="connsiteX5" fmla="*/ 66419 w 66419"/>
              <a:gd name="connsiteY5" fmla="*/ 36123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5"/>
                </a:moveTo>
                <a:lnTo>
                  <a:pt x="0" y="72245"/>
                </a:lnTo>
                <a:lnTo>
                  <a:pt x="36123" y="37288"/>
                </a:lnTo>
                <a:lnTo>
                  <a:pt x="0" y="0"/>
                </a:lnTo>
                <a:lnTo>
                  <a:pt x="31462" y="0"/>
                </a:lnTo>
                <a:lnTo>
                  <a:pt x="66419" y="36123"/>
                </a:lnTo>
                <a:close/>
              </a:path>
            </a:pathLst>
          </a:custGeom>
          <a:solidFill>
            <a:srgbClr val="EEF2F5"/>
          </a:solidFill>
          <a:ln w="11643" cap="flat">
            <a:noFill/>
            <a:prstDash val="solid"/>
            <a:miter/>
          </a:ln>
        </p:spPr>
        <p:txBody>
          <a:bodyPr rtlCol="0" anchor="ctr"/>
          <a:lstStyle/>
          <a:p>
            <a:endParaRPr lang="de-DE"/>
          </a:p>
        </p:txBody>
      </p:sp>
      <p:sp>
        <p:nvSpPr>
          <p:cNvPr id="331" name="Freihandform: Form 330">
            <a:extLst>
              <a:ext uri="{FF2B5EF4-FFF2-40B4-BE49-F238E27FC236}">
                <a16:creationId xmlns:a16="http://schemas.microsoft.com/office/drawing/2014/main" id="{AF09B959-FEBB-4D08-B203-97FE6AE60305}"/>
              </a:ext>
            </a:extLst>
          </p:cNvPr>
          <p:cNvSpPr/>
          <p:nvPr userDrawn="1"/>
        </p:nvSpPr>
        <p:spPr>
          <a:xfrm>
            <a:off x="5948602" y="2428891"/>
            <a:ext cx="66419" cy="72245"/>
          </a:xfrm>
          <a:custGeom>
            <a:avLst/>
            <a:gdLst>
              <a:gd name="connsiteX0" fmla="*/ 30297 w 66419"/>
              <a:gd name="connsiteY0" fmla="*/ 72245 h 72245"/>
              <a:gd name="connsiteX1" fmla="*/ 0 w 66419"/>
              <a:gd name="connsiteY1" fmla="*/ 72245 h 72245"/>
              <a:gd name="connsiteX2" fmla="*/ 36123 w 66419"/>
              <a:gd name="connsiteY2" fmla="*/ 36123 h 72245"/>
              <a:gd name="connsiteX3" fmla="*/ 0 w 66419"/>
              <a:gd name="connsiteY3" fmla="*/ 0 h 72245"/>
              <a:gd name="connsiteX4" fmla="*/ 31462 w 66419"/>
              <a:gd name="connsiteY4" fmla="*/ 0 h 72245"/>
              <a:gd name="connsiteX5" fmla="*/ 66419 w 66419"/>
              <a:gd name="connsiteY5" fmla="*/ 34957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5"/>
                </a:moveTo>
                <a:lnTo>
                  <a:pt x="0" y="72245"/>
                </a:lnTo>
                <a:lnTo>
                  <a:pt x="36123" y="36123"/>
                </a:lnTo>
                <a:lnTo>
                  <a:pt x="0" y="0"/>
                </a:lnTo>
                <a:lnTo>
                  <a:pt x="31462" y="0"/>
                </a:lnTo>
                <a:lnTo>
                  <a:pt x="66419" y="34957"/>
                </a:lnTo>
                <a:close/>
              </a:path>
            </a:pathLst>
          </a:custGeom>
          <a:solidFill>
            <a:srgbClr val="EEF2F5"/>
          </a:solidFill>
          <a:ln w="11643" cap="flat">
            <a:noFill/>
            <a:prstDash val="solid"/>
            <a:miter/>
          </a:ln>
        </p:spPr>
        <p:txBody>
          <a:bodyPr rtlCol="0" anchor="ctr"/>
          <a:lstStyle/>
          <a:p>
            <a:endParaRPr lang="de-DE"/>
          </a:p>
        </p:txBody>
      </p:sp>
      <p:sp>
        <p:nvSpPr>
          <p:cNvPr id="332" name="Freihandform: Form 331">
            <a:extLst>
              <a:ext uri="{FF2B5EF4-FFF2-40B4-BE49-F238E27FC236}">
                <a16:creationId xmlns:a16="http://schemas.microsoft.com/office/drawing/2014/main" id="{8BDF68B8-5B5A-4BE8-90ED-91D64FF78D61}"/>
              </a:ext>
            </a:extLst>
          </p:cNvPr>
          <p:cNvSpPr/>
          <p:nvPr userDrawn="1"/>
        </p:nvSpPr>
        <p:spPr>
          <a:xfrm>
            <a:off x="5948602" y="2783126"/>
            <a:ext cx="66419" cy="72245"/>
          </a:xfrm>
          <a:custGeom>
            <a:avLst/>
            <a:gdLst>
              <a:gd name="connsiteX0" fmla="*/ 30297 w 66419"/>
              <a:gd name="connsiteY0" fmla="*/ 72245 h 72245"/>
              <a:gd name="connsiteX1" fmla="*/ 0 w 66419"/>
              <a:gd name="connsiteY1" fmla="*/ 72245 h 72245"/>
              <a:gd name="connsiteX2" fmla="*/ 36123 w 66419"/>
              <a:gd name="connsiteY2" fmla="*/ 37288 h 72245"/>
              <a:gd name="connsiteX3" fmla="*/ 0 w 66419"/>
              <a:gd name="connsiteY3" fmla="*/ 0 h 72245"/>
              <a:gd name="connsiteX4" fmla="*/ 31462 w 66419"/>
              <a:gd name="connsiteY4" fmla="*/ 0 h 72245"/>
              <a:gd name="connsiteX5" fmla="*/ 66419 w 66419"/>
              <a:gd name="connsiteY5" fmla="*/ 36123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5"/>
                </a:moveTo>
                <a:lnTo>
                  <a:pt x="0" y="72245"/>
                </a:lnTo>
                <a:lnTo>
                  <a:pt x="36123" y="37288"/>
                </a:lnTo>
                <a:lnTo>
                  <a:pt x="0" y="0"/>
                </a:lnTo>
                <a:lnTo>
                  <a:pt x="31462" y="0"/>
                </a:lnTo>
                <a:lnTo>
                  <a:pt x="66419" y="36123"/>
                </a:lnTo>
                <a:close/>
              </a:path>
            </a:pathLst>
          </a:custGeom>
          <a:solidFill>
            <a:srgbClr val="EEF2F5"/>
          </a:solidFill>
          <a:ln w="11643" cap="flat">
            <a:noFill/>
            <a:prstDash val="solid"/>
            <a:miter/>
          </a:ln>
        </p:spPr>
        <p:txBody>
          <a:bodyPr rtlCol="0" anchor="ctr"/>
          <a:lstStyle/>
          <a:p>
            <a:endParaRPr lang="de-DE"/>
          </a:p>
        </p:txBody>
      </p:sp>
      <p:sp>
        <p:nvSpPr>
          <p:cNvPr id="333" name="Freihandform: Form 332">
            <a:extLst>
              <a:ext uri="{FF2B5EF4-FFF2-40B4-BE49-F238E27FC236}">
                <a16:creationId xmlns:a16="http://schemas.microsoft.com/office/drawing/2014/main" id="{EC037E08-87A0-4AFA-8BB8-AF8BC0B89644}"/>
              </a:ext>
            </a:extLst>
          </p:cNvPr>
          <p:cNvSpPr/>
          <p:nvPr userDrawn="1"/>
        </p:nvSpPr>
        <p:spPr>
          <a:xfrm>
            <a:off x="5948602" y="3138527"/>
            <a:ext cx="66419" cy="72245"/>
          </a:xfrm>
          <a:custGeom>
            <a:avLst/>
            <a:gdLst>
              <a:gd name="connsiteX0" fmla="*/ 30297 w 66419"/>
              <a:gd name="connsiteY0" fmla="*/ 72245 h 72245"/>
              <a:gd name="connsiteX1" fmla="*/ 0 w 66419"/>
              <a:gd name="connsiteY1" fmla="*/ 72245 h 72245"/>
              <a:gd name="connsiteX2" fmla="*/ 36123 w 66419"/>
              <a:gd name="connsiteY2" fmla="*/ 36123 h 72245"/>
              <a:gd name="connsiteX3" fmla="*/ 0 w 66419"/>
              <a:gd name="connsiteY3" fmla="*/ 0 h 72245"/>
              <a:gd name="connsiteX4" fmla="*/ 31462 w 66419"/>
              <a:gd name="connsiteY4" fmla="*/ 0 h 72245"/>
              <a:gd name="connsiteX5" fmla="*/ 66419 w 66419"/>
              <a:gd name="connsiteY5" fmla="*/ 34957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5"/>
                </a:moveTo>
                <a:lnTo>
                  <a:pt x="0" y="72245"/>
                </a:lnTo>
                <a:lnTo>
                  <a:pt x="36123" y="36123"/>
                </a:lnTo>
                <a:lnTo>
                  <a:pt x="0" y="0"/>
                </a:lnTo>
                <a:lnTo>
                  <a:pt x="31462" y="0"/>
                </a:lnTo>
                <a:lnTo>
                  <a:pt x="66419" y="34957"/>
                </a:lnTo>
                <a:close/>
              </a:path>
            </a:pathLst>
          </a:custGeom>
          <a:solidFill>
            <a:srgbClr val="EEF2F5"/>
          </a:solidFill>
          <a:ln w="11643" cap="flat">
            <a:noFill/>
            <a:prstDash val="solid"/>
            <a:miter/>
          </a:ln>
        </p:spPr>
        <p:txBody>
          <a:bodyPr rtlCol="0" anchor="ctr"/>
          <a:lstStyle/>
          <a:p>
            <a:endParaRPr lang="de-DE"/>
          </a:p>
        </p:txBody>
      </p:sp>
      <p:sp>
        <p:nvSpPr>
          <p:cNvPr id="334" name="Freihandform: Form 333">
            <a:extLst>
              <a:ext uri="{FF2B5EF4-FFF2-40B4-BE49-F238E27FC236}">
                <a16:creationId xmlns:a16="http://schemas.microsoft.com/office/drawing/2014/main" id="{296B3953-1098-4657-B23B-8935F1D2DAB8}"/>
              </a:ext>
            </a:extLst>
          </p:cNvPr>
          <p:cNvSpPr/>
          <p:nvPr userDrawn="1"/>
        </p:nvSpPr>
        <p:spPr>
          <a:xfrm>
            <a:off x="5948602" y="3492762"/>
            <a:ext cx="66419" cy="73410"/>
          </a:xfrm>
          <a:custGeom>
            <a:avLst/>
            <a:gdLst>
              <a:gd name="connsiteX0" fmla="*/ 30297 w 66419"/>
              <a:gd name="connsiteY0" fmla="*/ 73411 h 73410"/>
              <a:gd name="connsiteX1" fmla="*/ 0 w 66419"/>
              <a:gd name="connsiteY1" fmla="*/ 73411 h 73410"/>
              <a:gd name="connsiteX2" fmla="*/ 36123 w 66419"/>
              <a:gd name="connsiteY2" fmla="*/ 37288 h 73410"/>
              <a:gd name="connsiteX3" fmla="*/ 0 w 66419"/>
              <a:gd name="connsiteY3" fmla="*/ 0 h 73410"/>
              <a:gd name="connsiteX4" fmla="*/ 31462 w 66419"/>
              <a:gd name="connsiteY4" fmla="*/ 0 h 73410"/>
              <a:gd name="connsiteX5" fmla="*/ 66419 w 66419"/>
              <a:gd name="connsiteY5" fmla="*/ 36123 h 73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3410">
                <a:moveTo>
                  <a:pt x="30297" y="73411"/>
                </a:moveTo>
                <a:lnTo>
                  <a:pt x="0" y="73411"/>
                </a:lnTo>
                <a:lnTo>
                  <a:pt x="36123" y="37288"/>
                </a:lnTo>
                <a:lnTo>
                  <a:pt x="0" y="0"/>
                </a:lnTo>
                <a:lnTo>
                  <a:pt x="31462" y="0"/>
                </a:lnTo>
                <a:lnTo>
                  <a:pt x="66419" y="36123"/>
                </a:lnTo>
                <a:close/>
              </a:path>
            </a:pathLst>
          </a:custGeom>
          <a:solidFill>
            <a:srgbClr val="EEF2F5"/>
          </a:solidFill>
          <a:ln w="11643" cap="flat">
            <a:noFill/>
            <a:prstDash val="solid"/>
            <a:miter/>
          </a:ln>
        </p:spPr>
        <p:txBody>
          <a:bodyPr rtlCol="0" anchor="ctr"/>
          <a:lstStyle/>
          <a:p>
            <a:endParaRPr lang="de-DE"/>
          </a:p>
        </p:txBody>
      </p:sp>
      <p:sp>
        <p:nvSpPr>
          <p:cNvPr id="335" name="Freihandform: Form 334">
            <a:extLst>
              <a:ext uri="{FF2B5EF4-FFF2-40B4-BE49-F238E27FC236}">
                <a16:creationId xmlns:a16="http://schemas.microsoft.com/office/drawing/2014/main" id="{C606BDC9-DBDE-4ACF-8BF9-ACC957E4520D}"/>
              </a:ext>
            </a:extLst>
          </p:cNvPr>
          <p:cNvSpPr/>
          <p:nvPr userDrawn="1"/>
        </p:nvSpPr>
        <p:spPr>
          <a:xfrm>
            <a:off x="5948602" y="3848163"/>
            <a:ext cx="66419" cy="72245"/>
          </a:xfrm>
          <a:custGeom>
            <a:avLst/>
            <a:gdLst>
              <a:gd name="connsiteX0" fmla="*/ 30297 w 66419"/>
              <a:gd name="connsiteY0" fmla="*/ 72245 h 72245"/>
              <a:gd name="connsiteX1" fmla="*/ 0 w 66419"/>
              <a:gd name="connsiteY1" fmla="*/ 72245 h 72245"/>
              <a:gd name="connsiteX2" fmla="*/ 36123 w 66419"/>
              <a:gd name="connsiteY2" fmla="*/ 36123 h 72245"/>
              <a:gd name="connsiteX3" fmla="*/ 0 w 66419"/>
              <a:gd name="connsiteY3" fmla="*/ 0 h 72245"/>
              <a:gd name="connsiteX4" fmla="*/ 31462 w 66419"/>
              <a:gd name="connsiteY4" fmla="*/ 0 h 72245"/>
              <a:gd name="connsiteX5" fmla="*/ 66419 w 66419"/>
              <a:gd name="connsiteY5" fmla="*/ 34957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5"/>
                </a:moveTo>
                <a:lnTo>
                  <a:pt x="0" y="72245"/>
                </a:lnTo>
                <a:lnTo>
                  <a:pt x="36123" y="36123"/>
                </a:lnTo>
                <a:lnTo>
                  <a:pt x="0" y="0"/>
                </a:lnTo>
                <a:lnTo>
                  <a:pt x="31462" y="0"/>
                </a:lnTo>
                <a:lnTo>
                  <a:pt x="66419" y="34957"/>
                </a:lnTo>
                <a:close/>
              </a:path>
            </a:pathLst>
          </a:custGeom>
          <a:solidFill>
            <a:srgbClr val="EEF2F5"/>
          </a:solidFill>
          <a:ln w="11643" cap="flat">
            <a:noFill/>
            <a:prstDash val="solid"/>
            <a:miter/>
          </a:ln>
        </p:spPr>
        <p:txBody>
          <a:bodyPr rtlCol="0" anchor="ctr"/>
          <a:lstStyle/>
          <a:p>
            <a:endParaRPr lang="de-DE"/>
          </a:p>
        </p:txBody>
      </p:sp>
      <p:sp>
        <p:nvSpPr>
          <p:cNvPr id="336" name="Freihandform: Form 335">
            <a:extLst>
              <a:ext uri="{FF2B5EF4-FFF2-40B4-BE49-F238E27FC236}">
                <a16:creationId xmlns:a16="http://schemas.microsoft.com/office/drawing/2014/main" id="{57A6FA3E-F4B9-4859-84E1-85F5F21681EC}"/>
              </a:ext>
            </a:extLst>
          </p:cNvPr>
          <p:cNvSpPr/>
          <p:nvPr userDrawn="1"/>
        </p:nvSpPr>
        <p:spPr>
          <a:xfrm>
            <a:off x="5948602" y="5267435"/>
            <a:ext cx="66419" cy="72245"/>
          </a:xfrm>
          <a:custGeom>
            <a:avLst/>
            <a:gdLst>
              <a:gd name="connsiteX0" fmla="*/ 30297 w 66419"/>
              <a:gd name="connsiteY0" fmla="*/ 72246 h 72245"/>
              <a:gd name="connsiteX1" fmla="*/ 0 w 66419"/>
              <a:gd name="connsiteY1" fmla="*/ 72246 h 72245"/>
              <a:gd name="connsiteX2" fmla="*/ 36123 w 66419"/>
              <a:gd name="connsiteY2" fmla="*/ 36123 h 72245"/>
              <a:gd name="connsiteX3" fmla="*/ 0 w 66419"/>
              <a:gd name="connsiteY3" fmla="*/ 0 h 72245"/>
              <a:gd name="connsiteX4" fmla="*/ 31462 w 66419"/>
              <a:gd name="connsiteY4" fmla="*/ 0 h 72245"/>
              <a:gd name="connsiteX5" fmla="*/ 66419 w 66419"/>
              <a:gd name="connsiteY5" fmla="*/ 36123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6"/>
                </a:moveTo>
                <a:lnTo>
                  <a:pt x="0" y="72246"/>
                </a:lnTo>
                <a:lnTo>
                  <a:pt x="36123" y="36123"/>
                </a:lnTo>
                <a:lnTo>
                  <a:pt x="0" y="0"/>
                </a:lnTo>
                <a:lnTo>
                  <a:pt x="31462" y="0"/>
                </a:lnTo>
                <a:lnTo>
                  <a:pt x="66419" y="36123"/>
                </a:lnTo>
                <a:close/>
              </a:path>
            </a:pathLst>
          </a:custGeom>
          <a:solidFill>
            <a:srgbClr val="EEF2F5"/>
          </a:solidFill>
          <a:ln w="11643" cap="flat">
            <a:noFill/>
            <a:prstDash val="solid"/>
            <a:miter/>
          </a:ln>
        </p:spPr>
        <p:txBody>
          <a:bodyPr rtlCol="0" anchor="ctr"/>
          <a:lstStyle/>
          <a:p>
            <a:endParaRPr lang="de-DE"/>
          </a:p>
        </p:txBody>
      </p:sp>
      <p:sp>
        <p:nvSpPr>
          <p:cNvPr id="337" name="Freihandform: Form 336">
            <a:extLst>
              <a:ext uri="{FF2B5EF4-FFF2-40B4-BE49-F238E27FC236}">
                <a16:creationId xmlns:a16="http://schemas.microsoft.com/office/drawing/2014/main" id="{D4B1D857-1C19-4BB3-BEDF-7C0AF8F86DAA}"/>
              </a:ext>
            </a:extLst>
          </p:cNvPr>
          <p:cNvSpPr/>
          <p:nvPr userDrawn="1"/>
        </p:nvSpPr>
        <p:spPr>
          <a:xfrm>
            <a:off x="5948602" y="5622836"/>
            <a:ext cx="66419" cy="72245"/>
          </a:xfrm>
          <a:custGeom>
            <a:avLst/>
            <a:gdLst>
              <a:gd name="connsiteX0" fmla="*/ 30297 w 66419"/>
              <a:gd name="connsiteY0" fmla="*/ 72246 h 72245"/>
              <a:gd name="connsiteX1" fmla="*/ 0 w 66419"/>
              <a:gd name="connsiteY1" fmla="*/ 72246 h 72245"/>
              <a:gd name="connsiteX2" fmla="*/ 36123 w 66419"/>
              <a:gd name="connsiteY2" fmla="*/ 36123 h 72245"/>
              <a:gd name="connsiteX3" fmla="*/ 0 w 66419"/>
              <a:gd name="connsiteY3" fmla="*/ 0 h 72245"/>
              <a:gd name="connsiteX4" fmla="*/ 31462 w 66419"/>
              <a:gd name="connsiteY4" fmla="*/ 0 h 72245"/>
              <a:gd name="connsiteX5" fmla="*/ 66419 w 66419"/>
              <a:gd name="connsiteY5" fmla="*/ 34957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6"/>
                </a:moveTo>
                <a:lnTo>
                  <a:pt x="0" y="72246"/>
                </a:lnTo>
                <a:lnTo>
                  <a:pt x="36123" y="36123"/>
                </a:lnTo>
                <a:lnTo>
                  <a:pt x="0" y="0"/>
                </a:lnTo>
                <a:lnTo>
                  <a:pt x="31462" y="0"/>
                </a:lnTo>
                <a:lnTo>
                  <a:pt x="66419" y="34957"/>
                </a:lnTo>
                <a:close/>
              </a:path>
            </a:pathLst>
          </a:custGeom>
          <a:solidFill>
            <a:srgbClr val="EEF2F5"/>
          </a:solidFill>
          <a:ln w="11643" cap="flat">
            <a:noFill/>
            <a:prstDash val="solid"/>
            <a:miter/>
          </a:ln>
        </p:spPr>
        <p:txBody>
          <a:bodyPr rtlCol="0" anchor="ctr"/>
          <a:lstStyle/>
          <a:p>
            <a:endParaRPr lang="de-DE"/>
          </a:p>
        </p:txBody>
      </p:sp>
      <p:sp>
        <p:nvSpPr>
          <p:cNvPr id="338" name="Freihandform: Form 337">
            <a:extLst>
              <a:ext uri="{FF2B5EF4-FFF2-40B4-BE49-F238E27FC236}">
                <a16:creationId xmlns:a16="http://schemas.microsoft.com/office/drawing/2014/main" id="{4A0625DC-FF7E-46FA-85B3-D78075F3A91C}"/>
              </a:ext>
            </a:extLst>
          </p:cNvPr>
          <p:cNvSpPr/>
          <p:nvPr userDrawn="1"/>
        </p:nvSpPr>
        <p:spPr>
          <a:xfrm>
            <a:off x="5948602" y="5977071"/>
            <a:ext cx="66419" cy="72245"/>
          </a:xfrm>
          <a:custGeom>
            <a:avLst/>
            <a:gdLst>
              <a:gd name="connsiteX0" fmla="*/ 30297 w 66419"/>
              <a:gd name="connsiteY0" fmla="*/ 72246 h 72245"/>
              <a:gd name="connsiteX1" fmla="*/ 0 w 66419"/>
              <a:gd name="connsiteY1" fmla="*/ 72246 h 72245"/>
              <a:gd name="connsiteX2" fmla="*/ 36123 w 66419"/>
              <a:gd name="connsiteY2" fmla="*/ 36123 h 72245"/>
              <a:gd name="connsiteX3" fmla="*/ 0 w 66419"/>
              <a:gd name="connsiteY3" fmla="*/ 0 h 72245"/>
              <a:gd name="connsiteX4" fmla="*/ 31462 w 66419"/>
              <a:gd name="connsiteY4" fmla="*/ 0 h 72245"/>
              <a:gd name="connsiteX5" fmla="*/ 66419 w 66419"/>
              <a:gd name="connsiteY5" fmla="*/ 36123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6"/>
                </a:moveTo>
                <a:lnTo>
                  <a:pt x="0" y="72246"/>
                </a:lnTo>
                <a:lnTo>
                  <a:pt x="36123" y="36123"/>
                </a:lnTo>
                <a:lnTo>
                  <a:pt x="0" y="0"/>
                </a:lnTo>
                <a:lnTo>
                  <a:pt x="31462" y="0"/>
                </a:lnTo>
                <a:lnTo>
                  <a:pt x="66419" y="36123"/>
                </a:lnTo>
                <a:close/>
              </a:path>
            </a:pathLst>
          </a:custGeom>
          <a:solidFill>
            <a:srgbClr val="EEF2F5"/>
          </a:solidFill>
          <a:ln w="11643" cap="flat">
            <a:noFill/>
            <a:prstDash val="solid"/>
            <a:miter/>
          </a:ln>
        </p:spPr>
        <p:txBody>
          <a:bodyPr rtlCol="0" anchor="ctr"/>
          <a:lstStyle/>
          <a:p>
            <a:endParaRPr lang="de-DE"/>
          </a:p>
        </p:txBody>
      </p:sp>
      <p:sp>
        <p:nvSpPr>
          <p:cNvPr id="339" name="Freihandform: Form 338">
            <a:extLst>
              <a:ext uri="{FF2B5EF4-FFF2-40B4-BE49-F238E27FC236}">
                <a16:creationId xmlns:a16="http://schemas.microsoft.com/office/drawing/2014/main" id="{7BDD0DFC-6E9A-4DFD-896C-269B9F75D87D}"/>
              </a:ext>
            </a:extLst>
          </p:cNvPr>
          <p:cNvSpPr/>
          <p:nvPr userDrawn="1"/>
        </p:nvSpPr>
        <p:spPr>
          <a:xfrm>
            <a:off x="5948602" y="6332472"/>
            <a:ext cx="66419" cy="72245"/>
          </a:xfrm>
          <a:custGeom>
            <a:avLst/>
            <a:gdLst>
              <a:gd name="connsiteX0" fmla="*/ 30297 w 66419"/>
              <a:gd name="connsiteY0" fmla="*/ 72246 h 72245"/>
              <a:gd name="connsiteX1" fmla="*/ 0 w 66419"/>
              <a:gd name="connsiteY1" fmla="*/ 72246 h 72245"/>
              <a:gd name="connsiteX2" fmla="*/ 36123 w 66419"/>
              <a:gd name="connsiteY2" fmla="*/ 36123 h 72245"/>
              <a:gd name="connsiteX3" fmla="*/ 0 w 66419"/>
              <a:gd name="connsiteY3" fmla="*/ 0 h 72245"/>
              <a:gd name="connsiteX4" fmla="*/ 31462 w 66419"/>
              <a:gd name="connsiteY4" fmla="*/ 0 h 72245"/>
              <a:gd name="connsiteX5" fmla="*/ 66419 w 66419"/>
              <a:gd name="connsiteY5" fmla="*/ 34957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6"/>
                </a:moveTo>
                <a:lnTo>
                  <a:pt x="0" y="72246"/>
                </a:lnTo>
                <a:lnTo>
                  <a:pt x="36123" y="36123"/>
                </a:lnTo>
                <a:lnTo>
                  <a:pt x="0" y="0"/>
                </a:lnTo>
                <a:lnTo>
                  <a:pt x="31462" y="0"/>
                </a:lnTo>
                <a:lnTo>
                  <a:pt x="66419" y="34957"/>
                </a:lnTo>
                <a:close/>
              </a:path>
            </a:pathLst>
          </a:custGeom>
          <a:solidFill>
            <a:srgbClr val="EEF2F5"/>
          </a:solidFill>
          <a:ln w="11643" cap="flat">
            <a:noFill/>
            <a:prstDash val="solid"/>
            <a:miter/>
          </a:ln>
        </p:spPr>
        <p:txBody>
          <a:bodyPr rtlCol="0" anchor="ctr"/>
          <a:lstStyle/>
          <a:p>
            <a:endParaRPr lang="de-DE"/>
          </a:p>
        </p:txBody>
      </p:sp>
      <p:sp>
        <p:nvSpPr>
          <p:cNvPr id="340" name="Freihandform: Form 339">
            <a:extLst>
              <a:ext uri="{FF2B5EF4-FFF2-40B4-BE49-F238E27FC236}">
                <a16:creationId xmlns:a16="http://schemas.microsoft.com/office/drawing/2014/main" id="{CAC3908E-B3D7-4D15-B42A-11C8334C3FAE}"/>
              </a:ext>
            </a:extLst>
          </p:cNvPr>
          <p:cNvSpPr/>
          <p:nvPr userDrawn="1"/>
        </p:nvSpPr>
        <p:spPr>
          <a:xfrm>
            <a:off x="5948602" y="6686707"/>
            <a:ext cx="66419" cy="72245"/>
          </a:xfrm>
          <a:custGeom>
            <a:avLst/>
            <a:gdLst>
              <a:gd name="connsiteX0" fmla="*/ 30297 w 66419"/>
              <a:gd name="connsiteY0" fmla="*/ 72246 h 72245"/>
              <a:gd name="connsiteX1" fmla="*/ 0 w 66419"/>
              <a:gd name="connsiteY1" fmla="*/ 72246 h 72245"/>
              <a:gd name="connsiteX2" fmla="*/ 36123 w 66419"/>
              <a:gd name="connsiteY2" fmla="*/ 37288 h 72245"/>
              <a:gd name="connsiteX3" fmla="*/ 0 w 66419"/>
              <a:gd name="connsiteY3" fmla="*/ 0 h 72245"/>
              <a:gd name="connsiteX4" fmla="*/ 31462 w 66419"/>
              <a:gd name="connsiteY4" fmla="*/ 0 h 72245"/>
              <a:gd name="connsiteX5" fmla="*/ 66419 w 66419"/>
              <a:gd name="connsiteY5" fmla="*/ 36123 h 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19" h="72245">
                <a:moveTo>
                  <a:pt x="30297" y="72246"/>
                </a:moveTo>
                <a:lnTo>
                  <a:pt x="0" y="72246"/>
                </a:lnTo>
                <a:lnTo>
                  <a:pt x="36123" y="37288"/>
                </a:lnTo>
                <a:lnTo>
                  <a:pt x="0" y="0"/>
                </a:lnTo>
                <a:lnTo>
                  <a:pt x="31462" y="0"/>
                </a:lnTo>
                <a:lnTo>
                  <a:pt x="66419" y="36123"/>
                </a:lnTo>
                <a:close/>
              </a:path>
            </a:pathLst>
          </a:custGeom>
          <a:solidFill>
            <a:srgbClr val="EEF2F5"/>
          </a:solidFill>
          <a:ln w="11643" cap="flat">
            <a:noFill/>
            <a:prstDash val="solid"/>
            <a:miter/>
          </a:ln>
        </p:spPr>
        <p:txBody>
          <a:bodyPr rtlCol="0" anchor="ctr"/>
          <a:lstStyle/>
          <a:p>
            <a:endParaRPr lang="de-DE"/>
          </a:p>
        </p:txBody>
      </p:sp>
      <p:sp>
        <p:nvSpPr>
          <p:cNvPr id="341" name="Freihandform: Form 340">
            <a:extLst>
              <a:ext uri="{FF2B5EF4-FFF2-40B4-BE49-F238E27FC236}">
                <a16:creationId xmlns:a16="http://schemas.microsoft.com/office/drawing/2014/main" id="{A7FA91F1-E227-486C-9E3D-701B7ECBD358}"/>
              </a:ext>
            </a:extLst>
          </p:cNvPr>
          <p:cNvSpPr/>
          <p:nvPr userDrawn="1"/>
        </p:nvSpPr>
        <p:spPr>
          <a:xfrm>
            <a:off x="6294680" y="2064168"/>
            <a:ext cx="83897" cy="90889"/>
          </a:xfrm>
          <a:custGeom>
            <a:avLst/>
            <a:gdLst>
              <a:gd name="connsiteX0" fmla="*/ 38453 w 83897"/>
              <a:gd name="connsiteY0" fmla="*/ 90889 h 90889"/>
              <a:gd name="connsiteX1" fmla="*/ 0 w 83897"/>
              <a:gd name="connsiteY1" fmla="*/ 90889 h 90889"/>
              <a:gd name="connsiteX2" fmla="*/ 45445 w 83897"/>
              <a:gd name="connsiteY2" fmla="*/ 46610 h 90889"/>
              <a:gd name="connsiteX3" fmla="*/ 0 w 83897"/>
              <a:gd name="connsiteY3" fmla="*/ 0 h 90889"/>
              <a:gd name="connsiteX4" fmla="*/ 39618 w 83897"/>
              <a:gd name="connsiteY4" fmla="*/ 0 h 90889"/>
              <a:gd name="connsiteX5" fmla="*/ 83898 w 83897"/>
              <a:gd name="connsiteY5" fmla="*/ 45445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6610"/>
                </a:lnTo>
                <a:lnTo>
                  <a:pt x="0" y="0"/>
                </a:lnTo>
                <a:lnTo>
                  <a:pt x="39618" y="0"/>
                </a:lnTo>
                <a:lnTo>
                  <a:pt x="83898" y="45445"/>
                </a:lnTo>
                <a:close/>
              </a:path>
            </a:pathLst>
          </a:custGeom>
          <a:solidFill>
            <a:srgbClr val="EEF2F5"/>
          </a:solidFill>
          <a:ln w="11643" cap="flat">
            <a:noFill/>
            <a:prstDash val="solid"/>
            <a:miter/>
          </a:ln>
        </p:spPr>
        <p:txBody>
          <a:bodyPr rtlCol="0" anchor="ctr"/>
          <a:lstStyle/>
          <a:p>
            <a:endParaRPr lang="de-DE"/>
          </a:p>
        </p:txBody>
      </p:sp>
      <p:sp>
        <p:nvSpPr>
          <p:cNvPr id="342" name="Freihandform: Form 341">
            <a:extLst>
              <a:ext uri="{FF2B5EF4-FFF2-40B4-BE49-F238E27FC236}">
                <a16:creationId xmlns:a16="http://schemas.microsoft.com/office/drawing/2014/main" id="{84476B35-4E31-4636-A104-EFCF30564C85}"/>
              </a:ext>
            </a:extLst>
          </p:cNvPr>
          <p:cNvSpPr/>
          <p:nvPr userDrawn="1"/>
        </p:nvSpPr>
        <p:spPr>
          <a:xfrm>
            <a:off x="6294680" y="2419569"/>
            <a:ext cx="83897" cy="90889"/>
          </a:xfrm>
          <a:custGeom>
            <a:avLst/>
            <a:gdLst>
              <a:gd name="connsiteX0" fmla="*/ 38453 w 83897"/>
              <a:gd name="connsiteY0" fmla="*/ 90889 h 90889"/>
              <a:gd name="connsiteX1" fmla="*/ 0 w 83897"/>
              <a:gd name="connsiteY1" fmla="*/ 90889 h 90889"/>
              <a:gd name="connsiteX2" fmla="*/ 45445 w 83897"/>
              <a:gd name="connsiteY2" fmla="*/ 45445 h 90889"/>
              <a:gd name="connsiteX3" fmla="*/ 0 w 83897"/>
              <a:gd name="connsiteY3" fmla="*/ 0 h 90889"/>
              <a:gd name="connsiteX4" fmla="*/ 39618 w 83897"/>
              <a:gd name="connsiteY4" fmla="*/ 0 h 90889"/>
              <a:gd name="connsiteX5" fmla="*/ 83898 w 83897"/>
              <a:gd name="connsiteY5" fmla="*/ 44279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endParaRPr lang="de-DE"/>
          </a:p>
        </p:txBody>
      </p:sp>
      <p:sp>
        <p:nvSpPr>
          <p:cNvPr id="343" name="Freihandform: Form 342">
            <a:extLst>
              <a:ext uri="{FF2B5EF4-FFF2-40B4-BE49-F238E27FC236}">
                <a16:creationId xmlns:a16="http://schemas.microsoft.com/office/drawing/2014/main" id="{6E4C3BE2-5614-4053-AD7A-02597CC57C7F}"/>
              </a:ext>
            </a:extLst>
          </p:cNvPr>
          <p:cNvSpPr/>
          <p:nvPr userDrawn="1"/>
        </p:nvSpPr>
        <p:spPr>
          <a:xfrm>
            <a:off x="6294680" y="2773804"/>
            <a:ext cx="83897" cy="90889"/>
          </a:xfrm>
          <a:custGeom>
            <a:avLst/>
            <a:gdLst>
              <a:gd name="connsiteX0" fmla="*/ 38453 w 83897"/>
              <a:gd name="connsiteY0" fmla="*/ 90889 h 90889"/>
              <a:gd name="connsiteX1" fmla="*/ 0 w 83897"/>
              <a:gd name="connsiteY1" fmla="*/ 90889 h 90889"/>
              <a:gd name="connsiteX2" fmla="*/ 45445 w 83897"/>
              <a:gd name="connsiteY2" fmla="*/ 46610 h 90889"/>
              <a:gd name="connsiteX3" fmla="*/ 0 w 83897"/>
              <a:gd name="connsiteY3" fmla="*/ 0 h 90889"/>
              <a:gd name="connsiteX4" fmla="*/ 39618 w 83897"/>
              <a:gd name="connsiteY4" fmla="*/ 0 h 90889"/>
              <a:gd name="connsiteX5" fmla="*/ 83898 w 83897"/>
              <a:gd name="connsiteY5" fmla="*/ 45445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6610"/>
                </a:lnTo>
                <a:lnTo>
                  <a:pt x="0" y="0"/>
                </a:lnTo>
                <a:lnTo>
                  <a:pt x="39618" y="0"/>
                </a:lnTo>
                <a:lnTo>
                  <a:pt x="83898" y="45445"/>
                </a:lnTo>
                <a:close/>
              </a:path>
            </a:pathLst>
          </a:custGeom>
          <a:solidFill>
            <a:srgbClr val="EEF2F5"/>
          </a:solidFill>
          <a:ln w="11643" cap="flat">
            <a:noFill/>
            <a:prstDash val="solid"/>
            <a:miter/>
          </a:ln>
        </p:spPr>
        <p:txBody>
          <a:bodyPr rtlCol="0" anchor="ctr"/>
          <a:lstStyle/>
          <a:p>
            <a:endParaRPr lang="de-DE"/>
          </a:p>
        </p:txBody>
      </p:sp>
      <p:sp>
        <p:nvSpPr>
          <p:cNvPr id="344" name="Freihandform: Form 343">
            <a:extLst>
              <a:ext uri="{FF2B5EF4-FFF2-40B4-BE49-F238E27FC236}">
                <a16:creationId xmlns:a16="http://schemas.microsoft.com/office/drawing/2014/main" id="{6DD9ED1D-820B-4357-A470-36FDDF21B3EF}"/>
              </a:ext>
            </a:extLst>
          </p:cNvPr>
          <p:cNvSpPr/>
          <p:nvPr userDrawn="1"/>
        </p:nvSpPr>
        <p:spPr>
          <a:xfrm>
            <a:off x="6294680" y="3129205"/>
            <a:ext cx="83897" cy="90889"/>
          </a:xfrm>
          <a:custGeom>
            <a:avLst/>
            <a:gdLst>
              <a:gd name="connsiteX0" fmla="*/ 38453 w 83897"/>
              <a:gd name="connsiteY0" fmla="*/ 90889 h 90889"/>
              <a:gd name="connsiteX1" fmla="*/ 0 w 83897"/>
              <a:gd name="connsiteY1" fmla="*/ 90889 h 90889"/>
              <a:gd name="connsiteX2" fmla="*/ 45445 w 83897"/>
              <a:gd name="connsiteY2" fmla="*/ 45445 h 90889"/>
              <a:gd name="connsiteX3" fmla="*/ 0 w 83897"/>
              <a:gd name="connsiteY3" fmla="*/ 0 h 90889"/>
              <a:gd name="connsiteX4" fmla="*/ 39618 w 83897"/>
              <a:gd name="connsiteY4" fmla="*/ 0 h 90889"/>
              <a:gd name="connsiteX5" fmla="*/ 83898 w 83897"/>
              <a:gd name="connsiteY5" fmla="*/ 44279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endParaRPr lang="de-DE"/>
          </a:p>
        </p:txBody>
      </p:sp>
      <p:sp>
        <p:nvSpPr>
          <p:cNvPr id="345" name="Freihandform: Form 344">
            <a:extLst>
              <a:ext uri="{FF2B5EF4-FFF2-40B4-BE49-F238E27FC236}">
                <a16:creationId xmlns:a16="http://schemas.microsoft.com/office/drawing/2014/main" id="{AB5439D2-89C7-4CE8-94B8-29C5545E1F13}"/>
              </a:ext>
            </a:extLst>
          </p:cNvPr>
          <p:cNvSpPr/>
          <p:nvPr userDrawn="1"/>
        </p:nvSpPr>
        <p:spPr>
          <a:xfrm>
            <a:off x="6294680" y="3484606"/>
            <a:ext cx="83897" cy="89724"/>
          </a:xfrm>
          <a:custGeom>
            <a:avLst/>
            <a:gdLst>
              <a:gd name="connsiteX0" fmla="*/ 38453 w 83897"/>
              <a:gd name="connsiteY0" fmla="*/ 89724 h 89724"/>
              <a:gd name="connsiteX1" fmla="*/ 0 w 83897"/>
              <a:gd name="connsiteY1" fmla="*/ 89724 h 89724"/>
              <a:gd name="connsiteX2" fmla="*/ 45445 w 83897"/>
              <a:gd name="connsiteY2" fmla="*/ 45445 h 89724"/>
              <a:gd name="connsiteX3" fmla="*/ 0 w 83897"/>
              <a:gd name="connsiteY3" fmla="*/ 0 h 89724"/>
              <a:gd name="connsiteX4" fmla="*/ 39618 w 83897"/>
              <a:gd name="connsiteY4" fmla="*/ 0 h 89724"/>
              <a:gd name="connsiteX5" fmla="*/ 83898 w 83897"/>
              <a:gd name="connsiteY5" fmla="*/ 44279 h 89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89724">
                <a:moveTo>
                  <a:pt x="38453" y="89724"/>
                </a:moveTo>
                <a:lnTo>
                  <a:pt x="0" y="89724"/>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endParaRPr lang="de-DE"/>
          </a:p>
        </p:txBody>
      </p:sp>
      <p:sp>
        <p:nvSpPr>
          <p:cNvPr id="346" name="Freihandform: Form 345">
            <a:extLst>
              <a:ext uri="{FF2B5EF4-FFF2-40B4-BE49-F238E27FC236}">
                <a16:creationId xmlns:a16="http://schemas.microsoft.com/office/drawing/2014/main" id="{AF1E6C46-91F7-46BE-B34D-0F8FF181944E}"/>
              </a:ext>
            </a:extLst>
          </p:cNvPr>
          <p:cNvSpPr/>
          <p:nvPr userDrawn="1"/>
        </p:nvSpPr>
        <p:spPr>
          <a:xfrm>
            <a:off x="6294680" y="3838841"/>
            <a:ext cx="83897" cy="90889"/>
          </a:xfrm>
          <a:custGeom>
            <a:avLst/>
            <a:gdLst>
              <a:gd name="connsiteX0" fmla="*/ 38453 w 83897"/>
              <a:gd name="connsiteY0" fmla="*/ 90889 h 90889"/>
              <a:gd name="connsiteX1" fmla="*/ 0 w 83897"/>
              <a:gd name="connsiteY1" fmla="*/ 90889 h 90889"/>
              <a:gd name="connsiteX2" fmla="*/ 45445 w 83897"/>
              <a:gd name="connsiteY2" fmla="*/ 45445 h 90889"/>
              <a:gd name="connsiteX3" fmla="*/ 0 w 83897"/>
              <a:gd name="connsiteY3" fmla="*/ 0 h 90889"/>
              <a:gd name="connsiteX4" fmla="*/ 39618 w 83897"/>
              <a:gd name="connsiteY4" fmla="*/ 0 h 90889"/>
              <a:gd name="connsiteX5" fmla="*/ 83898 w 83897"/>
              <a:gd name="connsiteY5" fmla="*/ 44279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endParaRPr lang="de-DE"/>
          </a:p>
        </p:txBody>
      </p:sp>
      <p:sp>
        <p:nvSpPr>
          <p:cNvPr id="347" name="Freihandform: Form 346">
            <a:extLst>
              <a:ext uri="{FF2B5EF4-FFF2-40B4-BE49-F238E27FC236}">
                <a16:creationId xmlns:a16="http://schemas.microsoft.com/office/drawing/2014/main" id="{098A75FB-3BEC-4A6C-8897-8E57891AACC2}"/>
              </a:ext>
            </a:extLst>
          </p:cNvPr>
          <p:cNvSpPr/>
          <p:nvPr userDrawn="1"/>
        </p:nvSpPr>
        <p:spPr>
          <a:xfrm>
            <a:off x="6294680" y="4194242"/>
            <a:ext cx="83897" cy="89724"/>
          </a:xfrm>
          <a:custGeom>
            <a:avLst/>
            <a:gdLst>
              <a:gd name="connsiteX0" fmla="*/ 38453 w 83897"/>
              <a:gd name="connsiteY0" fmla="*/ 89724 h 89724"/>
              <a:gd name="connsiteX1" fmla="*/ 0 w 83897"/>
              <a:gd name="connsiteY1" fmla="*/ 89724 h 89724"/>
              <a:gd name="connsiteX2" fmla="*/ 45445 w 83897"/>
              <a:gd name="connsiteY2" fmla="*/ 45445 h 89724"/>
              <a:gd name="connsiteX3" fmla="*/ 0 w 83897"/>
              <a:gd name="connsiteY3" fmla="*/ 0 h 89724"/>
              <a:gd name="connsiteX4" fmla="*/ 39618 w 83897"/>
              <a:gd name="connsiteY4" fmla="*/ 0 h 89724"/>
              <a:gd name="connsiteX5" fmla="*/ 83898 w 83897"/>
              <a:gd name="connsiteY5" fmla="*/ 44279 h 89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89724">
                <a:moveTo>
                  <a:pt x="38453" y="89724"/>
                </a:moveTo>
                <a:lnTo>
                  <a:pt x="0" y="89724"/>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endParaRPr lang="de-DE"/>
          </a:p>
        </p:txBody>
      </p:sp>
      <p:sp>
        <p:nvSpPr>
          <p:cNvPr id="348" name="Freihandform: Form 347">
            <a:extLst>
              <a:ext uri="{FF2B5EF4-FFF2-40B4-BE49-F238E27FC236}">
                <a16:creationId xmlns:a16="http://schemas.microsoft.com/office/drawing/2014/main" id="{FB969AF5-A3F7-4A67-927C-8CDA08440EEA}"/>
              </a:ext>
            </a:extLst>
          </p:cNvPr>
          <p:cNvSpPr/>
          <p:nvPr userDrawn="1"/>
        </p:nvSpPr>
        <p:spPr>
          <a:xfrm>
            <a:off x="6294680" y="4903878"/>
            <a:ext cx="83897" cy="89724"/>
          </a:xfrm>
          <a:custGeom>
            <a:avLst/>
            <a:gdLst>
              <a:gd name="connsiteX0" fmla="*/ 38453 w 83897"/>
              <a:gd name="connsiteY0" fmla="*/ 89724 h 89724"/>
              <a:gd name="connsiteX1" fmla="*/ 0 w 83897"/>
              <a:gd name="connsiteY1" fmla="*/ 89724 h 89724"/>
              <a:gd name="connsiteX2" fmla="*/ 45445 w 83897"/>
              <a:gd name="connsiteY2" fmla="*/ 45445 h 89724"/>
              <a:gd name="connsiteX3" fmla="*/ 0 w 83897"/>
              <a:gd name="connsiteY3" fmla="*/ 0 h 89724"/>
              <a:gd name="connsiteX4" fmla="*/ 39618 w 83897"/>
              <a:gd name="connsiteY4" fmla="*/ 0 h 89724"/>
              <a:gd name="connsiteX5" fmla="*/ 83898 w 83897"/>
              <a:gd name="connsiteY5" fmla="*/ 44279 h 89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89724">
                <a:moveTo>
                  <a:pt x="38453" y="89724"/>
                </a:moveTo>
                <a:lnTo>
                  <a:pt x="0" y="89724"/>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endParaRPr lang="de-DE"/>
          </a:p>
        </p:txBody>
      </p:sp>
      <p:sp>
        <p:nvSpPr>
          <p:cNvPr id="349" name="Freihandform: Form 348">
            <a:extLst>
              <a:ext uri="{FF2B5EF4-FFF2-40B4-BE49-F238E27FC236}">
                <a16:creationId xmlns:a16="http://schemas.microsoft.com/office/drawing/2014/main" id="{2E6C2156-0A71-415E-B4B6-B6F43E9327C4}"/>
              </a:ext>
            </a:extLst>
          </p:cNvPr>
          <p:cNvSpPr/>
          <p:nvPr userDrawn="1"/>
        </p:nvSpPr>
        <p:spPr>
          <a:xfrm>
            <a:off x="6294680" y="5258113"/>
            <a:ext cx="83897" cy="90889"/>
          </a:xfrm>
          <a:custGeom>
            <a:avLst/>
            <a:gdLst>
              <a:gd name="connsiteX0" fmla="*/ 38453 w 83897"/>
              <a:gd name="connsiteY0" fmla="*/ 90889 h 90889"/>
              <a:gd name="connsiteX1" fmla="*/ 0 w 83897"/>
              <a:gd name="connsiteY1" fmla="*/ 90889 h 90889"/>
              <a:gd name="connsiteX2" fmla="*/ 45445 w 83897"/>
              <a:gd name="connsiteY2" fmla="*/ 45445 h 90889"/>
              <a:gd name="connsiteX3" fmla="*/ 0 w 83897"/>
              <a:gd name="connsiteY3" fmla="*/ 0 h 90889"/>
              <a:gd name="connsiteX4" fmla="*/ 39618 w 83897"/>
              <a:gd name="connsiteY4" fmla="*/ 0 h 90889"/>
              <a:gd name="connsiteX5" fmla="*/ 83898 w 83897"/>
              <a:gd name="connsiteY5" fmla="*/ 44279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endParaRPr lang="de-DE"/>
          </a:p>
        </p:txBody>
      </p:sp>
      <p:sp>
        <p:nvSpPr>
          <p:cNvPr id="350" name="Freihandform: Form 349">
            <a:extLst>
              <a:ext uri="{FF2B5EF4-FFF2-40B4-BE49-F238E27FC236}">
                <a16:creationId xmlns:a16="http://schemas.microsoft.com/office/drawing/2014/main" id="{ACCECFFB-F7F0-4072-9DC2-02D68E9052B1}"/>
              </a:ext>
            </a:extLst>
          </p:cNvPr>
          <p:cNvSpPr/>
          <p:nvPr userDrawn="1"/>
        </p:nvSpPr>
        <p:spPr>
          <a:xfrm>
            <a:off x="6294680" y="5613514"/>
            <a:ext cx="83897" cy="90889"/>
          </a:xfrm>
          <a:custGeom>
            <a:avLst/>
            <a:gdLst>
              <a:gd name="connsiteX0" fmla="*/ 38453 w 83897"/>
              <a:gd name="connsiteY0" fmla="*/ 90889 h 90889"/>
              <a:gd name="connsiteX1" fmla="*/ 0 w 83897"/>
              <a:gd name="connsiteY1" fmla="*/ 90889 h 90889"/>
              <a:gd name="connsiteX2" fmla="*/ 45445 w 83897"/>
              <a:gd name="connsiteY2" fmla="*/ 45445 h 90889"/>
              <a:gd name="connsiteX3" fmla="*/ 0 w 83897"/>
              <a:gd name="connsiteY3" fmla="*/ 0 h 90889"/>
              <a:gd name="connsiteX4" fmla="*/ 39618 w 83897"/>
              <a:gd name="connsiteY4" fmla="*/ 0 h 90889"/>
              <a:gd name="connsiteX5" fmla="*/ 83898 w 83897"/>
              <a:gd name="connsiteY5" fmla="*/ 44279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endParaRPr lang="de-DE"/>
          </a:p>
        </p:txBody>
      </p:sp>
      <p:sp>
        <p:nvSpPr>
          <p:cNvPr id="351" name="Freihandform: Form 350">
            <a:extLst>
              <a:ext uri="{FF2B5EF4-FFF2-40B4-BE49-F238E27FC236}">
                <a16:creationId xmlns:a16="http://schemas.microsoft.com/office/drawing/2014/main" id="{30860A54-535E-40E9-96AA-34D99A547843}"/>
              </a:ext>
            </a:extLst>
          </p:cNvPr>
          <p:cNvSpPr/>
          <p:nvPr userDrawn="1"/>
        </p:nvSpPr>
        <p:spPr>
          <a:xfrm>
            <a:off x="6294680" y="5967749"/>
            <a:ext cx="83897" cy="90889"/>
          </a:xfrm>
          <a:custGeom>
            <a:avLst/>
            <a:gdLst>
              <a:gd name="connsiteX0" fmla="*/ 38453 w 83897"/>
              <a:gd name="connsiteY0" fmla="*/ 90889 h 90889"/>
              <a:gd name="connsiteX1" fmla="*/ 0 w 83897"/>
              <a:gd name="connsiteY1" fmla="*/ 90889 h 90889"/>
              <a:gd name="connsiteX2" fmla="*/ 45445 w 83897"/>
              <a:gd name="connsiteY2" fmla="*/ 46610 h 90889"/>
              <a:gd name="connsiteX3" fmla="*/ 0 w 83897"/>
              <a:gd name="connsiteY3" fmla="*/ 0 h 90889"/>
              <a:gd name="connsiteX4" fmla="*/ 39618 w 83897"/>
              <a:gd name="connsiteY4" fmla="*/ 0 h 90889"/>
              <a:gd name="connsiteX5" fmla="*/ 83898 w 83897"/>
              <a:gd name="connsiteY5" fmla="*/ 45445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6610"/>
                </a:lnTo>
                <a:lnTo>
                  <a:pt x="0" y="0"/>
                </a:lnTo>
                <a:lnTo>
                  <a:pt x="39618" y="0"/>
                </a:lnTo>
                <a:lnTo>
                  <a:pt x="83898" y="45445"/>
                </a:lnTo>
                <a:close/>
              </a:path>
            </a:pathLst>
          </a:custGeom>
          <a:solidFill>
            <a:srgbClr val="EEF2F5"/>
          </a:solidFill>
          <a:ln w="11643" cap="flat">
            <a:noFill/>
            <a:prstDash val="solid"/>
            <a:miter/>
          </a:ln>
        </p:spPr>
        <p:txBody>
          <a:bodyPr rtlCol="0" anchor="ctr"/>
          <a:lstStyle/>
          <a:p>
            <a:endParaRPr lang="de-DE"/>
          </a:p>
        </p:txBody>
      </p:sp>
      <p:sp>
        <p:nvSpPr>
          <p:cNvPr id="352" name="Freihandform: Form 351">
            <a:extLst>
              <a:ext uri="{FF2B5EF4-FFF2-40B4-BE49-F238E27FC236}">
                <a16:creationId xmlns:a16="http://schemas.microsoft.com/office/drawing/2014/main" id="{74EA2C5C-043C-43FC-82F8-EBCDC51C4FFE}"/>
              </a:ext>
            </a:extLst>
          </p:cNvPr>
          <p:cNvSpPr/>
          <p:nvPr userDrawn="1"/>
        </p:nvSpPr>
        <p:spPr>
          <a:xfrm>
            <a:off x="6294680" y="6323150"/>
            <a:ext cx="83897" cy="90889"/>
          </a:xfrm>
          <a:custGeom>
            <a:avLst/>
            <a:gdLst>
              <a:gd name="connsiteX0" fmla="*/ 38453 w 83897"/>
              <a:gd name="connsiteY0" fmla="*/ 90889 h 90889"/>
              <a:gd name="connsiteX1" fmla="*/ 0 w 83897"/>
              <a:gd name="connsiteY1" fmla="*/ 90889 h 90889"/>
              <a:gd name="connsiteX2" fmla="*/ 45445 w 83897"/>
              <a:gd name="connsiteY2" fmla="*/ 45445 h 90889"/>
              <a:gd name="connsiteX3" fmla="*/ 0 w 83897"/>
              <a:gd name="connsiteY3" fmla="*/ 0 h 90889"/>
              <a:gd name="connsiteX4" fmla="*/ 39618 w 83897"/>
              <a:gd name="connsiteY4" fmla="*/ 0 h 90889"/>
              <a:gd name="connsiteX5" fmla="*/ 83898 w 83897"/>
              <a:gd name="connsiteY5" fmla="*/ 44279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5445"/>
                </a:lnTo>
                <a:lnTo>
                  <a:pt x="0" y="0"/>
                </a:lnTo>
                <a:lnTo>
                  <a:pt x="39618" y="0"/>
                </a:lnTo>
                <a:lnTo>
                  <a:pt x="83898" y="44279"/>
                </a:lnTo>
                <a:close/>
              </a:path>
            </a:pathLst>
          </a:custGeom>
          <a:solidFill>
            <a:srgbClr val="EEF2F5"/>
          </a:solidFill>
          <a:ln w="11643" cap="flat">
            <a:noFill/>
            <a:prstDash val="solid"/>
            <a:miter/>
          </a:ln>
        </p:spPr>
        <p:txBody>
          <a:bodyPr rtlCol="0" anchor="ctr"/>
          <a:lstStyle/>
          <a:p>
            <a:endParaRPr lang="de-DE"/>
          </a:p>
        </p:txBody>
      </p:sp>
      <p:sp>
        <p:nvSpPr>
          <p:cNvPr id="353" name="Freihandform: Form 352">
            <a:extLst>
              <a:ext uri="{FF2B5EF4-FFF2-40B4-BE49-F238E27FC236}">
                <a16:creationId xmlns:a16="http://schemas.microsoft.com/office/drawing/2014/main" id="{C8CACB49-436D-4574-8377-C753156738F1}"/>
              </a:ext>
            </a:extLst>
          </p:cNvPr>
          <p:cNvSpPr/>
          <p:nvPr userDrawn="1"/>
        </p:nvSpPr>
        <p:spPr>
          <a:xfrm>
            <a:off x="6294680" y="6677385"/>
            <a:ext cx="83897" cy="90889"/>
          </a:xfrm>
          <a:custGeom>
            <a:avLst/>
            <a:gdLst>
              <a:gd name="connsiteX0" fmla="*/ 38453 w 83897"/>
              <a:gd name="connsiteY0" fmla="*/ 90889 h 90889"/>
              <a:gd name="connsiteX1" fmla="*/ 0 w 83897"/>
              <a:gd name="connsiteY1" fmla="*/ 90889 h 90889"/>
              <a:gd name="connsiteX2" fmla="*/ 45445 w 83897"/>
              <a:gd name="connsiteY2" fmla="*/ 46610 h 90889"/>
              <a:gd name="connsiteX3" fmla="*/ 0 w 83897"/>
              <a:gd name="connsiteY3" fmla="*/ 0 h 90889"/>
              <a:gd name="connsiteX4" fmla="*/ 39618 w 83897"/>
              <a:gd name="connsiteY4" fmla="*/ 0 h 90889"/>
              <a:gd name="connsiteX5" fmla="*/ 83898 w 83897"/>
              <a:gd name="connsiteY5" fmla="*/ 45445 h 9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97" h="90889">
                <a:moveTo>
                  <a:pt x="38453" y="90889"/>
                </a:moveTo>
                <a:lnTo>
                  <a:pt x="0" y="90889"/>
                </a:lnTo>
                <a:lnTo>
                  <a:pt x="45445" y="46610"/>
                </a:lnTo>
                <a:lnTo>
                  <a:pt x="0" y="0"/>
                </a:lnTo>
                <a:lnTo>
                  <a:pt x="39618" y="0"/>
                </a:lnTo>
                <a:lnTo>
                  <a:pt x="83898" y="45445"/>
                </a:lnTo>
                <a:close/>
              </a:path>
            </a:pathLst>
          </a:custGeom>
          <a:solidFill>
            <a:srgbClr val="EEF2F5"/>
          </a:solidFill>
          <a:ln w="11643" cap="flat">
            <a:noFill/>
            <a:prstDash val="solid"/>
            <a:miter/>
          </a:ln>
        </p:spPr>
        <p:txBody>
          <a:bodyPr rtlCol="0" anchor="ctr"/>
          <a:lstStyle/>
          <a:p>
            <a:endParaRPr lang="de-DE"/>
          </a:p>
        </p:txBody>
      </p:sp>
      <p:sp>
        <p:nvSpPr>
          <p:cNvPr id="354" name="Freihandform: Form 353">
            <a:extLst>
              <a:ext uri="{FF2B5EF4-FFF2-40B4-BE49-F238E27FC236}">
                <a16:creationId xmlns:a16="http://schemas.microsoft.com/office/drawing/2014/main" id="{B29013A0-BCBB-40DB-8B64-C13F7A006ED1}"/>
              </a:ext>
            </a:extLst>
          </p:cNvPr>
          <p:cNvSpPr/>
          <p:nvPr userDrawn="1"/>
        </p:nvSpPr>
        <p:spPr>
          <a:xfrm>
            <a:off x="6641924" y="2056012"/>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3601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355" name="Freihandform: Form 354">
            <a:extLst>
              <a:ext uri="{FF2B5EF4-FFF2-40B4-BE49-F238E27FC236}">
                <a16:creationId xmlns:a16="http://schemas.microsoft.com/office/drawing/2014/main" id="{CFF769E7-83E6-4FFF-B7B6-43CAC363AE64}"/>
              </a:ext>
            </a:extLst>
          </p:cNvPr>
          <p:cNvSpPr/>
          <p:nvPr userDrawn="1"/>
        </p:nvSpPr>
        <p:spPr>
          <a:xfrm>
            <a:off x="6641924" y="2410247"/>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3601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356" name="Freihandform: Form 355">
            <a:extLst>
              <a:ext uri="{FF2B5EF4-FFF2-40B4-BE49-F238E27FC236}">
                <a16:creationId xmlns:a16="http://schemas.microsoft.com/office/drawing/2014/main" id="{B4DC8A4E-265A-423E-AB7E-52089C97E7ED}"/>
              </a:ext>
            </a:extLst>
          </p:cNvPr>
          <p:cNvSpPr/>
          <p:nvPr userDrawn="1"/>
        </p:nvSpPr>
        <p:spPr>
          <a:xfrm>
            <a:off x="6641924" y="2765648"/>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3601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357" name="Freihandform: Form 356">
            <a:extLst>
              <a:ext uri="{FF2B5EF4-FFF2-40B4-BE49-F238E27FC236}">
                <a16:creationId xmlns:a16="http://schemas.microsoft.com/office/drawing/2014/main" id="{8229E235-012D-4068-9887-186727B34CE4}"/>
              </a:ext>
            </a:extLst>
          </p:cNvPr>
          <p:cNvSpPr/>
          <p:nvPr userDrawn="1"/>
        </p:nvSpPr>
        <p:spPr>
          <a:xfrm>
            <a:off x="6641924" y="3119883"/>
            <a:ext cx="100211" cy="109533"/>
          </a:xfrm>
          <a:custGeom>
            <a:avLst/>
            <a:gdLst>
              <a:gd name="connsiteX0" fmla="*/ 45445 w 100211"/>
              <a:gd name="connsiteY0" fmla="*/ 109533 h 109533"/>
              <a:gd name="connsiteX1" fmla="*/ 0 w 100211"/>
              <a:gd name="connsiteY1" fmla="*/ 109533 h 109533"/>
              <a:gd name="connsiteX2" fmla="*/ 53601 w 100211"/>
              <a:gd name="connsiteY2" fmla="*/ 54767 h 109533"/>
              <a:gd name="connsiteX3" fmla="*/ 0 w 100211"/>
              <a:gd name="connsiteY3" fmla="*/ 0 h 109533"/>
              <a:gd name="connsiteX4" fmla="*/ 46610 w 100211"/>
              <a:gd name="connsiteY4" fmla="*/ 0 h 109533"/>
              <a:gd name="connsiteX5" fmla="*/ 100211 w 100211"/>
              <a:gd name="connsiteY5" fmla="*/ 53601 h 109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9533">
                <a:moveTo>
                  <a:pt x="45445" y="109533"/>
                </a:moveTo>
                <a:lnTo>
                  <a:pt x="0" y="109533"/>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358" name="Freihandform: Form 357">
            <a:extLst>
              <a:ext uri="{FF2B5EF4-FFF2-40B4-BE49-F238E27FC236}">
                <a16:creationId xmlns:a16="http://schemas.microsoft.com/office/drawing/2014/main" id="{984E28EA-AC69-4530-BB08-379D156F0B5F}"/>
              </a:ext>
            </a:extLst>
          </p:cNvPr>
          <p:cNvSpPr/>
          <p:nvPr userDrawn="1"/>
        </p:nvSpPr>
        <p:spPr>
          <a:xfrm>
            <a:off x="6641924" y="3475284"/>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3601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359" name="Freihandform: Form 358">
            <a:extLst>
              <a:ext uri="{FF2B5EF4-FFF2-40B4-BE49-F238E27FC236}">
                <a16:creationId xmlns:a16="http://schemas.microsoft.com/office/drawing/2014/main" id="{FEDFDF1D-F996-436D-95F7-5BE574FD9E43}"/>
              </a:ext>
            </a:extLst>
          </p:cNvPr>
          <p:cNvSpPr/>
          <p:nvPr userDrawn="1"/>
        </p:nvSpPr>
        <p:spPr>
          <a:xfrm>
            <a:off x="6641924" y="3829519"/>
            <a:ext cx="100211" cy="109533"/>
          </a:xfrm>
          <a:custGeom>
            <a:avLst/>
            <a:gdLst>
              <a:gd name="connsiteX0" fmla="*/ 45445 w 100211"/>
              <a:gd name="connsiteY0" fmla="*/ 109533 h 109533"/>
              <a:gd name="connsiteX1" fmla="*/ 0 w 100211"/>
              <a:gd name="connsiteY1" fmla="*/ 109533 h 109533"/>
              <a:gd name="connsiteX2" fmla="*/ 53601 w 100211"/>
              <a:gd name="connsiteY2" fmla="*/ 54767 h 109533"/>
              <a:gd name="connsiteX3" fmla="*/ 0 w 100211"/>
              <a:gd name="connsiteY3" fmla="*/ 0 h 109533"/>
              <a:gd name="connsiteX4" fmla="*/ 46610 w 100211"/>
              <a:gd name="connsiteY4" fmla="*/ 0 h 109533"/>
              <a:gd name="connsiteX5" fmla="*/ 100211 w 100211"/>
              <a:gd name="connsiteY5" fmla="*/ 53601 h 109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9533">
                <a:moveTo>
                  <a:pt x="45445" y="109533"/>
                </a:moveTo>
                <a:lnTo>
                  <a:pt x="0" y="109533"/>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360" name="Freihandform: Form 359">
            <a:extLst>
              <a:ext uri="{FF2B5EF4-FFF2-40B4-BE49-F238E27FC236}">
                <a16:creationId xmlns:a16="http://schemas.microsoft.com/office/drawing/2014/main" id="{8685CC1C-42AB-4B1F-A9DB-BA63AF39AC62}"/>
              </a:ext>
            </a:extLst>
          </p:cNvPr>
          <p:cNvSpPr/>
          <p:nvPr userDrawn="1"/>
        </p:nvSpPr>
        <p:spPr>
          <a:xfrm>
            <a:off x="6641924" y="4184920"/>
            <a:ext cx="100211" cy="108367"/>
          </a:xfrm>
          <a:custGeom>
            <a:avLst/>
            <a:gdLst>
              <a:gd name="connsiteX0" fmla="*/ 45445 w 100211"/>
              <a:gd name="connsiteY0" fmla="*/ 108368 h 108367"/>
              <a:gd name="connsiteX1" fmla="*/ 0 w 100211"/>
              <a:gd name="connsiteY1" fmla="*/ 108368 h 108367"/>
              <a:gd name="connsiteX2" fmla="*/ 53601 w 100211"/>
              <a:gd name="connsiteY2" fmla="*/ 54767 h 108367"/>
              <a:gd name="connsiteX3" fmla="*/ 0 w 100211"/>
              <a:gd name="connsiteY3" fmla="*/ 0 h 108367"/>
              <a:gd name="connsiteX4" fmla="*/ 46610 w 100211"/>
              <a:gd name="connsiteY4" fmla="*/ 0 h 108367"/>
              <a:gd name="connsiteX5" fmla="*/ 100211 w 100211"/>
              <a:gd name="connsiteY5" fmla="*/ 53601 h 108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7">
                <a:moveTo>
                  <a:pt x="45445" y="108368"/>
                </a:moveTo>
                <a:lnTo>
                  <a:pt x="0" y="108368"/>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361" name="Freihandform: Form 360">
            <a:extLst>
              <a:ext uri="{FF2B5EF4-FFF2-40B4-BE49-F238E27FC236}">
                <a16:creationId xmlns:a16="http://schemas.microsoft.com/office/drawing/2014/main" id="{48EE8789-AAA0-46DB-896E-70EAB25AAE92}"/>
              </a:ext>
            </a:extLst>
          </p:cNvPr>
          <p:cNvSpPr/>
          <p:nvPr userDrawn="1"/>
        </p:nvSpPr>
        <p:spPr>
          <a:xfrm>
            <a:off x="6641924" y="4539155"/>
            <a:ext cx="100211" cy="109533"/>
          </a:xfrm>
          <a:custGeom>
            <a:avLst/>
            <a:gdLst>
              <a:gd name="connsiteX0" fmla="*/ 45445 w 100211"/>
              <a:gd name="connsiteY0" fmla="*/ 109533 h 109533"/>
              <a:gd name="connsiteX1" fmla="*/ 0 w 100211"/>
              <a:gd name="connsiteY1" fmla="*/ 109533 h 109533"/>
              <a:gd name="connsiteX2" fmla="*/ 53601 w 100211"/>
              <a:gd name="connsiteY2" fmla="*/ 54767 h 109533"/>
              <a:gd name="connsiteX3" fmla="*/ 0 w 100211"/>
              <a:gd name="connsiteY3" fmla="*/ 0 h 109533"/>
              <a:gd name="connsiteX4" fmla="*/ 46610 w 100211"/>
              <a:gd name="connsiteY4" fmla="*/ 0 h 109533"/>
              <a:gd name="connsiteX5" fmla="*/ 100211 w 100211"/>
              <a:gd name="connsiteY5" fmla="*/ 53601 h 109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9533">
                <a:moveTo>
                  <a:pt x="45445" y="109533"/>
                </a:moveTo>
                <a:lnTo>
                  <a:pt x="0" y="109533"/>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362" name="Freihandform: Form 361">
            <a:extLst>
              <a:ext uri="{FF2B5EF4-FFF2-40B4-BE49-F238E27FC236}">
                <a16:creationId xmlns:a16="http://schemas.microsoft.com/office/drawing/2014/main" id="{102A4279-5E98-4085-A63D-1DC589536896}"/>
              </a:ext>
            </a:extLst>
          </p:cNvPr>
          <p:cNvSpPr/>
          <p:nvPr userDrawn="1"/>
        </p:nvSpPr>
        <p:spPr>
          <a:xfrm>
            <a:off x="6641924" y="4894556"/>
            <a:ext cx="100211" cy="108367"/>
          </a:xfrm>
          <a:custGeom>
            <a:avLst/>
            <a:gdLst>
              <a:gd name="connsiteX0" fmla="*/ 45445 w 100211"/>
              <a:gd name="connsiteY0" fmla="*/ 108368 h 108367"/>
              <a:gd name="connsiteX1" fmla="*/ 0 w 100211"/>
              <a:gd name="connsiteY1" fmla="*/ 108368 h 108367"/>
              <a:gd name="connsiteX2" fmla="*/ 53601 w 100211"/>
              <a:gd name="connsiteY2" fmla="*/ 54767 h 108367"/>
              <a:gd name="connsiteX3" fmla="*/ 0 w 100211"/>
              <a:gd name="connsiteY3" fmla="*/ 0 h 108367"/>
              <a:gd name="connsiteX4" fmla="*/ 46610 w 100211"/>
              <a:gd name="connsiteY4" fmla="*/ 0 h 108367"/>
              <a:gd name="connsiteX5" fmla="*/ 100211 w 100211"/>
              <a:gd name="connsiteY5" fmla="*/ 53601 h 108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7">
                <a:moveTo>
                  <a:pt x="45445" y="108368"/>
                </a:moveTo>
                <a:lnTo>
                  <a:pt x="0" y="108368"/>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363" name="Freihandform: Form 362">
            <a:extLst>
              <a:ext uri="{FF2B5EF4-FFF2-40B4-BE49-F238E27FC236}">
                <a16:creationId xmlns:a16="http://schemas.microsoft.com/office/drawing/2014/main" id="{F159DC3D-E9B7-40DC-80A5-80705CE3B859}"/>
              </a:ext>
            </a:extLst>
          </p:cNvPr>
          <p:cNvSpPr/>
          <p:nvPr userDrawn="1"/>
        </p:nvSpPr>
        <p:spPr>
          <a:xfrm>
            <a:off x="6641924" y="5249956"/>
            <a:ext cx="100211" cy="108367"/>
          </a:xfrm>
          <a:custGeom>
            <a:avLst/>
            <a:gdLst>
              <a:gd name="connsiteX0" fmla="*/ 45445 w 100211"/>
              <a:gd name="connsiteY0" fmla="*/ 108368 h 108367"/>
              <a:gd name="connsiteX1" fmla="*/ 0 w 100211"/>
              <a:gd name="connsiteY1" fmla="*/ 108368 h 108367"/>
              <a:gd name="connsiteX2" fmla="*/ 53601 w 100211"/>
              <a:gd name="connsiteY2" fmla="*/ 54767 h 108367"/>
              <a:gd name="connsiteX3" fmla="*/ 0 w 100211"/>
              <a:gd name="connsiteY3" fmla="*/ 0 h 108367"/>
              <a:gd name="connsiteX4" fmla="*/ 46610 w 100211"/>
              <a:gd name="connsiteY4" fmla="*/ 0 h 108367"/>
              <a:gd name="connsiteX5" fmla="*/ 100211 w 100211"/>
              <a:gd name="connsiteY5" fmla="*/ 52436 h 108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7">
                <a:moveTo>
                  <a:pt x="45445" y="108368"/>
                </a:moveTo>
                <a:lnTo>
                  <a:pt x="0" y="108368"/>
                </a:lnTo>
                <a:lnTo>
                  <a:pt x="53601" y="54767"/>
                </a:lnTo>
                <a:lnTo>
                  <a:pt x="0" y="0"/>
                </a:lnTo>
                <a:lnTo>
                  <a:pt x="46610" y="0"/>
                </a:lnTo>
                <a:lnTo>
                  <a:pt x="100211" y="52436"/>
                </a:lnTo>
                <a:close/>
              </a:path>
            </a:pathLst>
          </a:custGeom>
          <a:solidFill>
            <a:srgbClr val="EEF2F5"/>
          </a:solidFill>
          <a:ln w="11643" cap="flat">
            <a:noFill/>
            <a:prstDash val="solid"/>
            <a:miter/>
          </a:ln>
        </p:spPr>
        <p:txBody>
          <a:bodyPr rtlCol="0" anchor="ctr"/>
          <a:lstStyle/>
          <a:p>
            <a:endParaRPr lang="de-DE"/>
          </a:p>
        </p:txBody>
      </p:sp>
      <p:sp>
        <p:nvSpPr>
          <p:cNvPr id="364" name="Freihandform: Form 363">
            <a:extLst>
              <a:ext uri="{FF2B5EF4-FFF2-40B4-BE49-F238E27FC236}">
                <a16:creationId xmlns:a16="http://schemas.microsoft.com/office/drawing/2014/main" id="{72A08ED3-7BD7-47B4-8793-76366AD64EE4}"/>
              </a:ext>
            </a:extLst>
          </p:cNvPr>
          <p:cNvSpPr/>
          <p:nvPr userDrawn="1"/>
        </p:nvSpPr>
        <p:spPr>
          <a:xfrm>
            <a:off x="6641924" y="5604192"/>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3601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365" name="Freihandform: Form 364">
            <a:extLst>
              <a:ext uri="{FF2B5EF4-FFF2-40B4-BE49-F238E27FC236}">
                <a16:creationId xmlns:a16="http://schemas.microsoft.com/office/drawing/2014/main" id="{C895AAFE-E256-4007-9B16-BC9198849207}"/>
              </a:ext>
            </a:extLst>
          </p:cNvPr>
          <p:cNvSpPr/>
          <p:nvPr userDrawn="1"/>
        </p:nvSpPr>
        <p:spPr>
          <a:xfrm>
            <a:off x="6641924" y="5959592"/>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2436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2436"/>
                </a:lnTo>
                <a:close/>
              </a:path>
            </a:pathLst>
          </a:custGeom>
          <a:solidFill>
            <a:srgbClr val="EEF2F5"/>
          </a:solidFill>
          <a:ln w="11643" cap="flat">
            <a:noFill/>
            <a:prstDash val="solid"/>
            <a:miter/>
          </a:ln>
        </p:spPr>
        <p:txBody>
          <a:bodyPr rtlCol="0" anchor="ctr"/>
          <a:lstStyle/>
          <a:p>
            <a:endParaRPr lang="de-DE"/>
          </a:p>
        </p:txBody>
      </p:sp>
      <p:sp>
        <p:nvSpPr>
          <p:cNvPr id="366" name="Freihandform: Form 365">
            <a:extLst>
              <a:ext uri="{FF2B5EF4-FFF2-40B4-BE49-F238E27FC236}">
                <a16:creationId xmlns:a16="http://schemas.microsoft.com/office/drawing/2014/main" id="{6C173860-BF8F-4E2F-BCFC-7F292BAC3A01}"/>
              </a:ext>
            </a:extLst>
          </p:cNvPr>
          <p:cNvSpPr/>
          <p:nvPr userDrawn="1"/>
        </p:nvSpPr>
        <p:spPr>
          <a:xfrm>
            <a:off x="6641924" y="6313828"/>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3601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3601"/>
                </a:lnTo>
                <a:close/>
              </a:path>
            </a:pathLst>
          </a:custGeom>
          <a:solidFill>
            <a:srgbClr val="EEF2F5"/>
          </a:solidFill>
          <a:ln w="11643" cap="flat">
            <a:noFill/>
            <a:prstDash val="solid"/>
            <a:miter/>
          </a:ln>
        </p:spPr>
        <p:txBody>
          <a:bodyPr rtlCol="0" anchor="ctr"/>
          <a:lstStyle/>
          <a:p>
            <a:endParaRPr lang="de-DE"/>
          </a:p>
        </p:txBody>
      </p:sp>
      <p:sp>
        <p:nvSpPr>
          <p:cNvPr id="367" name="Freihandform: Form 366">
            <a:extLst>
              <a:ext uri="{FF2B5EF4-FFF2-40B4-BE49-F238E27FC236}">
                <a16:creationId xmlns:a16="http://schemas.microsoft.com/office/drawing/2014/main" id="{73853278-27BF-4E81-94D6-486931097CE6}"/>
              </a:ext>
            </a:extLst>
          </p:cNvPr>
          <p:cNvSpPr/>
          <p:nvPr userDrawn="1"/>
        </p:nvSpPr>
        <p:spPr>
          <a:xfrm>
            <a:off x="6641924" y="6669228"/>
            <a:ext cx="100211" cy="108368"/>
          </a:xfrm>
          <a:custGeom>
            <a:avLst/>
            <a:gdLst>
              <a:gd name="connsiteX0" fmla="*/ 45445 w 100211"/>
              <a:gd name="connsiteY0" fmla="*/ 108368 h 108368"/>
              <a:gd name="connsiteX1" fmla="*/ 0 w 100211"/>
              <a:gd name="connsiteY1" fmla="*/ 108368 h 108368"/>
              <a:gd name="connsiteX2" fmla="*/ 53601 w 100211"/>
              <a:gd name="connsiteY2" fmla="*/ 54767 h 108368"/>
              <a:gd name="connsiteX3" fmla="*/ 0 w 100211"/>
              <a:gd name="connsiteY3" fmla="*/ 0 h 108368"/>
              <a:gd name="connsiteX4" fmla="*/ 46610 w 100211"/>
              <a:gd name="connsiteY4" fmla="*/ 0 h 108368"/>
              <a:gd name="connsiteX5" fmla="*/ 100211 w 100211"/>
              <a:gd name="connsiteY5" fmla="*/ 52436 h 10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11" h="108368">
                <a:moveTo>
                  <a:pt x="45445" y="108368"/>
                </a:moveTo>
                <a:lnTo>
                  <a:pt x="0" y="108368"/>
                </a:lnTo>
                <a:lnTo>
                  <a:pt x="53601" y="54767"/>
                </a:lnTo>
                <a:lnTo>
                  <a:pt x="0" y="0"/>
                </a:lnTo>
                <a:lnTo>
                  <a:pt x="46610" y="0"/>
                </a:lnTo>
                <a:lnTo>
                  <a:pt x="100211" y="52436"/>
                </a:lnTo>
                <a:close/>
              </a:path>
            </a:pathLst>
          </a:custGeom>
          <a:solidFill>
            <a:srgbClr val="EEF2F5"/>
          </a:solidFill>
          <a:ln w="11643" cap="flat">
            <a:noFill/>
            <a:prstDash val="solid"/>
            <a:miter/>
          </a:ln>
        </p:spPr>
        <p:txBody>
          <a:bodyPr rtlCol="0" anchor="ctr"/>
          <a:lstStyle/>
          <a:p>
            <a:endParaRPr lang="de-DE"/>
          </a:p>
        </p:txBody>
      </p:sp>
      <p:sp>
        <p:nvSpPr>
          <p:cNvPr id="368" name="Freihandform: Form 367">
            <a:extLst>
              <a:ext uri="{FF2B5EF4-FFF2-40B4-BE49-F238E27FC236}">
                <a16:creationId xmlns:a16="http://schemas.microsoft.com/office/drawing/2014/main" id="{94E5B3F3-1943-4AAC-A8E5-78E273FC1825}"/>
              </a:ext>
            </a:extLst>
          </p:cNvPr>
          <p:cNvSpPr/>
          <p:nvPr userDrawn="1"/>
        </p:nvSpPr>
        <p:spPr>
          <a:xfrm>
            <a:off x="6988003" y="2046690"/>
            <a:ext cx="117690" cy="127012"/>
          </a:xfrm>
          <a:custGeom>
            <a:avLst/>
            <a:gdLst>
              <a:gd name="connsiteX0" fmla="*/ 53601 w 117690"/>
              <a:gd name="connsiteY0" fmla="*/ 127012 h 127012"/>
              <a:gd name="connsiteX1" fmla="*/ 0 w 117690"/>
              <a:gd name="connsiteY1" fmla="*/ 127012 h 127012"/>
              <a:gd name="connsiteX2" fmla="*/ 62924 w 117690"/>
              <a:gd name="connsiteY2" fmla="*/ 64089 h 127012"/>
              <a:gd name="connsiteX3" fmla="*/ 0 w 117690"/>
              <a:gd name="connsiteY3" fmla="*/ 0 h 127012"/>
              <a:gd name="connsiteX4" fmla="*/ 54767 w 117690"/>
              <a:gd name="connsiteY4" fmla="*/ 0 h 127012"/>
              <a:gd name="connsiteX5" fmla="*/ 117690 w 117690"/>
              <a:gd name="connsiteY5" fmla="*/ 61758 h 12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2">
                <a:moveTo>
                  <a:pt x="53601" y="127012"/>
                </a:moveTo>
                <a:lnTo>
                  <a:pt x="0" y="127012"/>
                </a:lnTo>
                <a:lnTo>
                  <a:pt x="62924" y="64089"/>
                </a:lnTo>
                <a:lnTo>
                  <a:pt x="0" y="0"/>
                </a:lnTo>
                <a:lnTo>
                  <a:pt x="54767" y="0"/>
                </a:lnTo>
                <a:lnTo>
                  <a:pt x="117690" y="61758"/>
                </a:lnTo>
                <a:close/>
              </a:path>
            </a:pathLst>
          </a:custGeom>
          <a:solidFill>
            <a:srgbClr val="EEF2F5"/>
          </a:solidFill>
          <a:ln w="11643" cap="flat">
            <a:noFill/>
            <a:prstDash val="solid"/>
            <a:miter/>
          </a:ln>
        </p:spPr>
        <p:txBody>
          <a:bodyPr rtlCol="0" anchor="ctr"/>
          <a:lstStyle/>
          <a:p>
            <a:endParaRPr lang="de-DE"/>
          </a:p>
        </p:txBody>
      </p:sp>
      <p:sp>
        <p:nvSpPr>
          <p:cNvPr id="369" name="Freihandform: Form 368">
            <a:extLst>
              <a:ext uri="{FF2B5EF4-FFF2-40B4-BE49-F238E27FC236}">
                <a16:creationId xmlns:a16="http://schemas.microsoft.com/office/drawing/2014/main" id="{EDD934F7-8866-497B-BDDF-333CE12CC342}"/>
              </a:ext>
            </a:extLst>
          </p:cNvPr>
          <p:cNvSpPr/>
          <p:nvPr userDrawn="1"/>
        </p:nvSpPr>
        <p:spPr>
          <a:xfrm>
            <a:off x="6988003" y="2400925"/>
            <a:ext cx="117690" cy="127012"/>
          </a:xfrm>
          <a:custGeom>
            <a:avLst/>
            <a:gdLst>
              <a:gd name="connsiteX0" fmla="*/ 53601 w 117690"/>
              <a:gd name="connsiteY0" fmla="*/ 127012 h 127012"/>
              <a:gd name="connsiteX1" fmla="*/ 0 w 117690"/>
              <a:gd name="connsiteY1" fmla="*/ 127012 h 127012"/>
              <a:gd name="connsiteX2" fmla="*/ 62924 w 117690"/>
              <a:gd name="connsiteY2" fmla="*/ 64089 h 127012"/>
              <a:gd name="connsiteX3" fmla="*/ 0 w 117690"/>
              <a:gd name="connsiteY3" fmla="*/ 0 h 127012"/>
              <a:gd name="connsiteX4" fmla="*/ 54767 w 117690"/>
              <a:gd name="connsiteY4" fmla="*/ 0 h 127012"/>
              <a:gd name="connsiteX5" fmla="*/ 117690 w 117690"/>
              <a:gd name="connsiteY5" fmla="*/ 62923 h 12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2">
                <a:moveTo>
                  <a:pt x="53601" y="127012"/>
                </a:moveTo>
                <a:lnTo>
                  <a:pt x="0" y="127012"/>
                </a:lnTo>
                <a:lnTo>
                  <a:pt x="62924" y="64089"/>
                </a:lnTo>
                <a:lnTo>
                  <a:pt x="0" y="0"/>
                </a:lnTo>
                <a:lnTo>
                  <a:pt x="54767" y="0"/>
                </a:lnTo>
                <a:lnTo>
                  <a:pt x="117690" y="62923"/>
                </a:lnTo>
                <a:close/>
              </a:path>
            </a:pathLst>
          </a:custGeom>
          <a:solidFill>
            <a:srgbClr val="EEF2F5"/>
          </a:solidFill>
          <a:ln w="11643" cap="flat">
            <a:noFill/>
            <a:prstDash val="solid"/>
            <a:miter/>
          </a:ln>
        </p:spPr>
        <p:txBody>
          <a:bodyPr rtlCol="0" anchor="ctr"/>
          <a:lstStyle/>
          <a:p>
            <a:endParaRPr lang="de-DE"/>
          </a:p>
        </p:txBody>
      </p:sp>
      <p:sp>
        <p:nvSpPr>
          <p:cNvPr id="370" name="Freihandform: Form 369">
            <a:extLst>
              <a:ext uri="{FF2B5EF4-FFF2-40B4-BE49-F238E27FC236}">
                <a16:creationId xmlns:a16="http://schemas.microsoft.com/office/drawing/2014/main" id="{56DAFA73-B8F0-4EB9-8D0E-120ABAAAC29F}"/>
              </a:ext>
            </a:extLst>
          </p:cNvPr>
          <p:cNvSpPr/>
          <p:nvPr userDrawn="1"/>
        </p:nvSpPr>
        <p:spPr>
          <a:xfrm>
            <a:off x="6988003" y="2756326"/>
            <a:ext cx="117690" cy="127012"/>
          </a:xfrm>
          <a:custGeom>
            <a:avLst/>
            <a:gdLst>
              <a:gd name="connsiteX0" fmla="*/ 53601 w 117690"/>
              <a:gd name="connsiteY0" fmla="*/ 127012 h 127012"/>
              <a:gd name="connsiteX1" fmla="*/ 0 w 117690"/>
              <a:gd name="connsiteY1" fmla="*/ 127012 h 127012"/>
              <a:gd name="connsiteX2" fmla="*/ 62924 w 117690"/>
              <a:gd name="connsiteY2" fmla="*/ 64089 h 127012"/>
              <a:gd name="connsiteX3" fmla="*/ 0 w 117690"/>
              <a:gd name="connsiteY3" fmla="*/ 0 h 127012"/>
              <a:gd name="connsiteX4" fmla="*/ 54767 w 117690"/>
              <a:gd name="connsiteY4" fmla="*/ 0 h 127012"/>
              <a:gd name="connsiteX5" fmla="*/ 117690 w 117690"/>
              <a:gd name="connsiteY5" fmla="*/ 61758 h 12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2">
                <a:moveTo>
                  <a:pt x="53601" y="127012"/>
                </a:moveTo>
                <a:lnTo>
                  <a:pt x="0" y="127012"/>
                </a:lnTo>
                <a:lnTo>
                  <a:pt x="62924" y="64089"/>
                </a:lnTo>
                <a:lnTo>
                  <a:pt x="0" y="0"/>
                </a:lnTo>
                <a:lnTo>
                  <a:pt x="54767" y="0"/>
                </a:lnTo>
                <a:lnTo>
                  <a:pt x="117690" y="61758"/>
                </a:lnTo>
                <a:close/>
              </a:path>
            </a:pathLst>
          </a:custGeom>
          <a:solidFill>
            <a:srgbClr val="EEF2F5"/>
          </a:solidFill>
          <a:ln w="11643" cap="flat">
            <a:noFill/>
            <a:prstDash val="solid"/>
            <a:miter/>
          </a:ln>
        </p:spPr>
        <p:txBody>
          <a:bodyPr rtlCol="0" anchor="ctr"/>
          <a:lstStyle/>
          <a:p>
            <a:endParaRPr lang="de-DE"/>
          </a:p>
        </p:txBody>
      </p:sp>
      <p:sp>
        <p:nvSpPr>
          <p:cNvPr id="371" name="Freihandform: Form 370">
            <a:extLst>
              <a:ext uri="{FF2B5EF4-FFF2-40B4-BE49-F238E27FC236}">
                <a16:creationId xmlns:a16="http://schemas.microsoft.com/office/drawing/2014/main" id="{240F5A60-B565-4874-BFA1-B6F0B7F354EE}"/>
              </a:ext>
            </a:extLst>
          </p:cNvPr>
          <p:cNvSpPr/>
          <p:nvPr userDrawn="1"/>
        </p:nvSpPr>
        <p:spPr>
          <a:xfrm>
            <a:off x="6988003" y="3111726"/>
            <a:ext cx="117690" cy="125846"/>
          </a:xfrm>
          <a:custGeom>
            <a:avLst/>
            <a:gdLst>
              <a:gd name="connsiteX0" fmla="*/ 53601 w 117690"/>
              <a:gd name="connsiteY0" fmla="*/ 125847 h 125846"/>
              <a:gd name="connsiteX1" fmla="*/ 0 w 117690"/>
              <a:gd name="connsiteY1" fmla="*/ 125847 h 125846"/>
              <a:gd name="connsiteX2" fmla="*/ 62924 w 117690"/>
              <a:gd name="connsiteY2" fmla="*/ 62923 h 125846"/>
              <a:gd name="connsiteX3" fmla="*/ 0 w 117690"/>
              <a:gd name="connsiteY3" fmla="*/ 0 h 125846"/>
              <a:gd name="connsiteX4" fmla="*/ 54767 w 117690"/>
              <a:gd name="connsiteY4" fmla="*/ 0 h 125846"/>
              <a:gd name="connsiteX5" fmla="*/ 117690 w 117690"/>
              <a:gd name="connsiteY5" fmla="*/ 61758 h 125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5846">
                <a:moveTo>
                  <a:pt x="53601" y="125847"/>
                </a:moveTo>
                <a:lnTo>
                  <a:pt x="0" y="125847"/>
                </a:lnTo>
                <a:lnTo>
                  <a:pt x="62924" y="62923"/>
                </a:lnTo>
                <a:lnTo>
                  <a:pt x="0" y="0"/>
                </a:lnTo>
                <a:lnTo>
                  <a:pt x="54767" y="0"/>
                </a:lnTo>
                <a:lnTo>
                  <a:pt x="117690" y="61758"/>
                </a:lnTo>
                <a:close/>
              </a:path>
            </a:pathLst>
          </a:custGeom>
          <a:solidFill>
            <a:srgbClr val="EEF2F5"/>
          </a:solidFill>
          <a:ln w="11643" cap="flat">
            <a:noFill/>
            <a:prstDash val="solid"/>
            <a:miter/>
          </a:ln>
        </p:spPr>
        <p:txBody>
          <a:bodyPr rtlCol="0" anchor="ctr"/>
          <a:lstStyle/>
          <a:p>
            <a:endParaRPr lang="de-DE"/>
          </a:p>
        </p:txBody>
      </p:sp>
      <p:sp>
        <p:nvSpPr>
          <p:cNvPr id="372" name="Freihandform: Form 371">
            <a:extLst>
              <a:ext uri="{FF2B5EF4-FFF2-40B4-BE49-F238E27FC236}">
                <a16:creationId xmlns:a16="http://schemas.microsoft.com/office/drawing/2014/main" id="{3C037353-0135-47CD-AF22-880B75EBAC3E}"/>
              </a:ext>
            </a:extLst>
          </p:cNvPr>
          <p:cNvSpPr/>
          <p:nvPr userDrawn="1"/>
        </p:nvSpPr>
        <p:spPr>
          <a:xfrm>
            <a:off x="6988003" y="3465962"/>
            <a:ext cx="117690" cy="127012"/>
          </a:xfrm>
          <a:custGeom>
            <a:avLst/>
            <a:gdLst>
              <a:gd name="connsiteX0" fmla="*/ 53601 w 117690"/>
              <a:gd name="connsiteY0" fmla="*/ 127012 h 127012"/>
              <a:gd name="connsiteX1" fmla="*/ 0 w 117690"/>
              <a:gd name="connsiteY1" fmla="*/ 127012 h 127012"/>
              <a:gd name="connsiteX2" fmla="*/ 62924 w 117690"/>
              <a:gd name="connsiteY2" fmla="*/ 64089 h 127012"/>
              <a:gd name="connsiteX3" fmla="*/ 0 w 117690"/>
              <a:gd name="connsiteY3" fmla="*/ 0 h 127012"/>
              <a:gd name="connsiteX4" fmla="*/ 54767 w 117690"/>
              <a:gd name="connsiteY4" fmla="*/ 0 h 127012"/>
              <a:gd name="connsiteX5" fmla="*/ 117690 w 117690"/>
              <a:gd name="connsiteY5" fmla="*/ 62923 h 12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2">
                <a:moveTo>
                  <a:pt x="53601" y="127012"/>
                </a:moveTo>
                <a:lnTo>
                  <a:pt x="0" y="127012"/>
                </a:lnTo>
                <a:lnTo>
                  <a:pt x="62924" y="64089"/>
                </a:lnTo>
                <a:lnTo>
                  <a:pt x="0" y="0"/>
                </a:lnTo>
                <a:lnTo>
                  <a:pt x="54767" y="0"/>
                </a:lnTo>
                <a:lnTo>
                  <a:pt x="117690" y="62923"/>
                </a:lnTo>
                <a:close/>
              </a:path>
            </a:pathLst>
          </a:custGeom>
          <a:solidFill>
            <a:srgbClr val="EEF2F5"/>
          </a:solidFill>
          <a:ln w="11643" cap="flat">
            <a:noFill/>
            <a:prstDash val="solid"/>
            <a:miter/>
          </a:ln>
        </p:spPr>
        <p:txBody>
          <a:bodyPr rtlCol="0" anchor="ctr"/>
          <a:lstStyle/>
          <a:p>
            <a:endParaRPr lang="de-DE"/>
          </a:p>
        </p:txBody>
      </p:sp>
      <p:sp>
        <p:nvSpPr>
          <p:cNvPr id="373" name="Freihandform: Form 372">
            <a:extLst>
              <a:ext uri="{FF2B5EF4-FFF2-40B4-BE49-F238E27FC236}">
                <a16:creationId xmlns:a16="http://schemas.microsoft.com/office/drawing/2014/main" id="{213D6103-FD9E-4D62-B7C4-1F08EA89236E}"/>
              </a:ext>
            </a:extLst>
          </p:cNvPr>
          <p:cNvSpPr/>
          <p:nvPr userDrawn="1"/>
        </p:nvSpPr>
        <p:spPr>
          <a:xfrm>
            <a:off x="6988003" y="3821362"/>
            <a:ext cx="117690" cy="125846"/>
          </a:xfrm>
          <a:custGeom>
            <a:avLst/>
            <a:gdLst>
              <a:gd name="connsiteX0" fmla="*/ 53601 w 117690"/>
              <a:gd name="connsiteY0" fmla="*/ 125847 h 125846"/>
              <a:gd name="connsiteX1" fmla="*/ 0 w 117690"/>
              <a:gd name="connsiteY1" fmla="*/ 125847 h 125846"/>
              <a:gd name="connsiteX2" fmla="*/ 62924 w 117690"/>
              <a:gd name="connsiteY2" fmla="*/ 62923 h 125846"/>
              <a:gd name="connsiteX3" fmla="*/ 0 w 117690"/>
              <a:gd name="connsiteY3" fmla="*/ 0 h 125846"/>
              <a:gd name="connsiteX4" fmla="*/ 54767 w 117690"/>
              <a:gd name="connsiteY4" fmla="*/ 0 h 125846"/>
              <a:gd name="connsiteX5" fmla="*/ 117690 w 117690"/>
              <a:gd name="connsiteY5" fmla="*/ 61758 h 125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5846">
                <a:moveTo>
                  <a:pt x="53601" y="125847"/>
                </a:moveTo>
                <a:lnTo>
                  <a:pt x="0" y="125847"/>
                </a:lnTo>
                <a:lnTo>
                  <a:pt x="62924" y="62923"/>
                </a:lnTo>
                <a:lnTo>
                  <a:pt x="0" y="0"/>
                </a:lnTo>
                <a:lnTo>
                  <a:pt x="54767" y="0"/>
                </a:lnTo>
                <a:lnTo>
                  <a:pt x="117690" y="61758"/>
                </a:lnTo>
                <a:close/>
              </a:path>
            </a:pathLst>
          </a:custGeom>
          <a:solidFill>
            <a:srgbClr val="EEF2F5"/>
          </a:solidFill>
          <a:ln w="11643" cap="flat">
            <a:noFill/>
            <a:prstDash val="solid"/>
            <a:miter/>
          </a:ln>
        </p:spPr>
        <p:txBody>
          <a:bodyPr rtlCol="0" anchor="ctr"/>
          <a:lstStyle/>
          <a:p>
            <a:endParaRPr lang="de-DE"/>
          </a:p>
        </p:txBody>
      </p:sp>
      <p:sp>
        <p:nvSpPr>
          <p:cNvPr id="374" name="Freihandform: Form 373">
            <a:extLst>
              <a:ext uri="{FF2B5EF4-FFF2-40B4-BE49-F238E27FC236}">
                <a16:creationId xmlns:a16="http://schemas.microsoft.com/office/drawing/2014/main" id="{BFE4BB97-0A78-4555-A56A-0CE8A922BBB4}"/>
              </a:ext>
            </a:extLst>
          </p:cNvPr>
          <p:cNvSpPr/>
          <p:nvPr userDrawn="1"/>
        </p:nvSpPr>
        <p:spPr>
          <a:xfrm>
            <a:off x="6988003" y="4175598"/>
            <a:ext cx="117690" cy="127011"/>
          </a:xfrm>
          <a:custGeom>
            <a:avLst/>
            <a:gdLst>
              <a:gd name="connsiteX0" fmla="*/ 53601 w 117690"/>
              <a:gd name="connsiteY0" fmla="*/ 127012 h 127011"/>
              <a:gd name="connsiteX1" fmla="*/ 0 w 117690"/>
              <a:gd name="connsiteY1" fmla="*/ 127012 h 127011"/>
              <a:gd name="connsiteX2" fmla="*/ 62924 w 117690"/>
              <a:gd name="connsiteY2" fmla="*/ 64089 h 127011"/>
              <a:gd name="connsiteX3" fmla="*/ 0 w 117690"/>
              <a:gd name="connsiteY3" fmla="*/ 0 h 127011"/>
              <a:gd name="connsiteX4" fmla="*/ 54767 w 117690"/>
              <a:gd name="connsiteY4" fmla="*/ 0 h 127011"/>
              <a:gd name="connsiteX5" fmla="*/ 117690 w 117690"/>
              <a:gd name="connsiteY5" fmla="*/ 62923 h 12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1">
                <a:moveTo>
                  <a:pt x="53601" y="127012"/>
                </a:moveTo>
                <a:lnTo>
                  <a:pt x="0" y="127012"/>
                </a:lnTo>
                <a:lnTo>
                  <a:pt x="62924" y="64089"/>
                </a:lnTo>
                <a:lnTo>
                  <a:pt x="0" y="0"/>
                </a:lnTo>
                <a:lnTo>
                  <a:pt x="54767" y="0"/>
                </a:lnTo>
                <a:lnTo>
                  <a:pt x="117690" y="62923"/>
                </a:lnTo>
                <a:close/>
              </a:path>
            </a:pathLst>
          </a:custGeom>
          <a:solidFill>
            <a:srgbClr val="EEF2F5"/>
          </a:solidFill>
          <a:ln w="11643" cap="flat">
            <a:noFill/>
            <a:prstDash val="solid"/>
            <a:miter/>
          </a:ln>
        </p:spPr>
        <p:txBody>
          <a:bodyPr rtlCol="0" anchor="ctr"/>
          <a:lstStyle/>
          <a:p>
            <a:endParaRPr lang="de-DE"/>
          </a:p>
        </p:txBody>
      </p:sp>
      <p:sp>
        <p:nvSpPr>
          <p:cNvPr id="375" name="Freihandform: Form 374">
            <a:extLst>
              <a:ext uri="{FF2B5EF4-FFF2-40B4-BE49-F238E27FC236}">
                <a16:creationId xmlns:a16="http://schemas.microsoft.com/office/drawing/2014/main" id="{A1B20E53-2B21-486E-9646-2EC1DD80CFC0}"/>
              </a:ext>
            </a:extLst>
          </p:cNvPr>
          <p:cNvSpPr/>
          <p:nvPr userDrawn="1"/>
        </p:nvSpPr>
        <p:spPr>
          <a:xfrm>
            <a:off x="6988003" y="4530998"/>
            <a:ext cx="117690" cy="125846"/>
          </a:xfrm>
          <a:custGeom>
            <a:avLst/>
            <a:gdLst>
              <a:gd name="connsiteX0" fmla="*/ 53601 w 117690"/>
              <a:gd name="connsiteY0" fmla="*/ 125847 h 125846"/>
              <a:gd name="connsiteX1" fmla="*/ 0 w 117690"/>
              <a:gd name="connsiteY1" fmla="*/ 125847 h 125846"/>
              <a:gd name="connsiteX2" fmla="*/ 62924 w 117690"/>
              <a:gd name="connsiteY2" fmla="*/ 64089 h 125846"/>
              <a:gd name="connsiteX3" fmla="*/ 0 w 117690"/>
              <a:gd name="connsiteY3" fmla="*/ 0 h 125846"/>
              <a:gd name="connsiteX4" fmla="*/ 54767 w 117690"/>
              <a:gd name="connsiteY4" fmla="*/ 0 h 125846"/>
              <a:gd name="connsiteX5" fmla="*/ 117690 w 117690"/>
              <a:gd name="connsiteY5" fmla="*/ 61758 h 125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5846">
                <a:moveTo>
                  <a:pt x="53601" y="125847"/>
                </a:moveTo>
                <a:lnTo>
                  <a:pt x="0" y="125847"/>
                </a:lnTo>
                <a:lnTo>
                  <a:pt x="62924" y="64089"/>
                </a:lnTo>
                <a:lnTo>
                  <a:pt x="0" y="0"/>
                </a:lnTo>
                <a:lnTo>
                  <a:pt x="54767" y="0"/>
                </a:lnTo>
                <a:lnTo>
                  <a:pt x="117690" y="61758"/>
                </a:lnTo>
                <a:close/>
              </a:path>
            </a:pathLst>
          </a:custGeom>
          <a:solidFill>
            <a:srgbClr val="EEF2F5"/>
          </a:solidFill>
          <a:ln w="11643" cap="flat">
            <a:noFill/>
            <a:prstDash val="solid"/>
            <a:miter/>
          </a:ln>
        </p:spPr>
        <p:txBody>
          <a:bodyPr rtlCol="0" anchor="ctr"/>
          <a:lstStyle/>
          <a:p>
            <a:endParaRPr lang="de-DE"/>
          </a:p>
        </p:txBody>
      </p:sp>
      <p:sp>
        <p:nvSpPr>
          <p:cNvPr id="376" name="Freihandform: Form 375">
            <a:extLst>
              <a:ext uri="{FF2B5EF4-FFF2-40B4-BE49-F238E27FC236}">
                <a16:creationId xmlns:a16="http://schemas.microsoft.com/office/drawing/2014/main" id="{4147BD00-94B9-4CCC-BFE6-30FC48042AA5}"/>
              </a:ext>
            </a:extLst>
          </p:cNvPr>
          <p:cNvSpPr/>
          <p:nvPr userDrawn="1"/>
        </p:nvSpPr>
        <p:spPr>
          <a:xfrm>
            <a:off x="6988003" y="4885234"/>
            <a:ext cx="117690" cy="127012"/>
          </a:xfrm>
          <a:custGeom>
            <a:avLst/>
            <a:gdLst>
              <a:gd name="connsiteX0" fmla="*/ 53601 w 117690"/>
              <a:gd name="connsiteY0" fmla="*/ 127012 h 127012"/>
              <a:gd name="connsiteX1" fmla="*/ 0 w 117690"/>
              <a:gd name="connsiteY1" fmla="*/ 127012 h 127012"/>
              <a:gd name="connsiteX2" fmla="*/ 62924 w 117690"/>
              <a:gd name="connsiteY2" fmla="*/ 64089 h 127012"/>
              <a:gd name="connsiteX3" fmla="*/ 0 w 117690"/>
              <a:gd name="connsiteY3" fmla="*/ 0 h 127012"/>
              <a:gd name="connsiteX4" fmla="*/ 54767 w 117690"/>
              <a:gd name="connsiteY4" fmla="*/ 0 h 127012"/>
              <a:gd name="connsiteX5" fmla="*/ 117690 w 117690"/>
              <a:gd name="connsiteY5" fmla="*/ 62923 h 12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2">
                <a:moveTo>
                  <a:pt x="53601" y="127012"/>
                </a:moveTo>
                <a:lnTo>
                  <a:pt x="0" y="127012"/>
                </a:lnTo>
                <a:lnTo>
                  <a:pt x="62924" y="64089"/>
                </a:lnTo>
                <a:lnTo>
                  <a:pt x="0" y="0"/>
                </a:lnTo>
                <a:lnTo>
                  <a:pt x="54767" y="0"/>
                </a:lnTo>
                <a:lnTo>
                  <a:pt x="117690" y="62923"/>
                </a:lnTo>
                <a:close/>
              </a:path>
            </a:pathLst>
          </a:custGeom>
          <a:solidFill>
            <a:srgbClr val="EEF2F5"/>
          </a:solidFill>
          <a:ln w="11643" cap="flat">
            <a:noFill/>
            <a:prstDash val="solid"/>
            <a:miter/>
          </a:ln>
        </p:spPr>
        <p:txBody>
          <a:bodyPr rtlCol="0" anchor="ctr"/>
          <a:lstStyle/>
          <a:p>
            <a:endParaRPr lang="de-DE"/>
          </a:p>
        </p:txBody>
      </p:sp>
      <p:sp>
        <p:nvSpPr>
          <p:cNvPr id="377" name="Freihandform: Form 376">
            <a:extLst>
              <a:ext uri="{FF2B5EF4-FFF2-40B4-BE49-F238E27FC236}">
                <a16:creationId xmlns:a16="http://schemas.microsoft.com/office/drawing/2014/main" id="{6FD55161-C60E-4123-94C6-998E3F0CBDAE}"/>
              </a:ext>
            </a:extLst>
          </p:cNvPr>
          <p:cNvSpPr/>
          <p:nvPr userDrawn="1"/>
        </p:nvSpPr>
        <p:spPr>
          <a:xfrm>
            <a:off x="6988003" y="5240634"/>
            <a:ext cx="117690" cy="127011"/>
          </a:xfrm>
          <a:custGeom>
            <a:avLst/>
            <a:gdLst>
              <a:gd name="connsiteX0" fmla="*/ 53601 w 117690"/>
              <a:gd name="connsiteY0" fmla="*/ 127012 h 127011"/>
              <a:gd name="connsiteX1" fmla="*/ 0 w 117690"/>
              <a:gd name="connsiteY1" fmla="*/ 127012 h 127011"/>
              <a:gd name="connsiteX2" fmla="*/ 62924 w 117690"/>
              <a:gd name="connsiteY2" fmla="*/ 64089 h 127011"/>
              <a:gd name="connsiteX3" fmla="*/ 0 w 117690"/>
              <a:gd name="connsiteY3" fmla="*/ 0 h 127011"/>
              <a:gd name="connsiteX4" fmla="*/ 54767 w 117690"/>
              <a:gd name="connsiteY4" fmla="*/ 0 h 127011"/>
              <a:gd name="connsiteX5" fmla="*/ 117690 w 117690"/>
              <a:gd name="connsiteY5" fmla="*/ 61758 h 12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1">
                <a:moveTo>
                  <a:pt x="53601" y="127012"/>
                </a:moveTo>
                <a:lnTo>
                  <a:pt x="0" y="127012"/>
                </a:lnTo>
                <a:lnTo>
                  <a:pt x="62924" y="64089"/>
                </a:lnTo>
                <a:lnTo>
                  <a:pt x="0" y="0"/>
                </a:lnTo>
                <a:lnTo>
                  <a:pt x="54767" y="0"/>
                </a:lnTo>
                <a:lnTo>
                  <a:pt x="117690" y="61758"/>
                </a:lnTo>
                <a:close/>
              </a:path>
            </a:pathLst>
          </a:custGeom>
          <a:solidFill>
            <a:srgbClr val="EEF2F5"/>
          </a:solidFill>
          <a:ln w="11643" cap="flat">
            <a:noFill/>
            <a:prstDash val="solid"/>
            <a:miter/>
          </a:ln>
        </p:spPr>
        <p:txBody>
          <a:bodyPr rtlCol="0" anchor="ctr"/>
          <a:lstStyle/>
          <a:p>
            <a:endParaRPr lang="de-DE"/>
          </a:p>
        </p:txBody>
      </p:sp>
      <p:sp>
        <p:nvSpPr>
          <p:cNvPr id="378" name="Freihandform: Form 377">
            <a:extLst>
              <a:ext uri="{FF2B5EF4-FFF2-40B4-BE49-F238E27FC236}">
                <a16:creationId xmlns:a16="http://schemas.microsoft.com/office/drawing/2014/main" id="{F3C8ECE6-A2EF-41DE-A87C-3FB86FCA1031}"/>
              </a:ext>
            </a:extLst>
          </p:cNvPr>
          <p:cNvSpPr/>
          <p:nvPr userDrawn="1"/>
        </p:nvSpPr>
        <p:spPr>
          <a:xfrm>
            <a:off x="6988003" y="5594870"/>
            <a:ext cx="117690" cy="127011"/>
          </a:xfrm>
          <a:custGeom>
            <a:avLst/>
            <a:gdLst>
              <a:gd name="connsiteX0" fmla="*/ 53601 w 117690"/>
              <a:gd name="connsiteY0" fmla="*/ 127012 h 127011"/>
              <a:gd name="connsiteX1" fmla="*/ 0 w 117690"/>
              <a:gd name="connsiteY1" fmla="*/ 127012 h 127011"/>
              <a:gd name="connsiteX2" fmla="*/ 62924 w 117690"/>
              <a:gd name="connsiteY2" fmla="*/ 64089 h 127011"/>
              <a:gd name="connsiteX3" fmla="*/ 0 w 117690"/>
              <a:gd name="connsiteY3" fmla="*/ 0 h 127011"/>
              <a:gd name="connsiteX4" fmla="*/ 54767 w 117690"/>
              <a:gd name="connsiteY4" fmla="*/ 0 h 127011"/>
              <a:gd name="connsiteX5" fmla="*/ 117690 w 117690"/>
              <a:gd name="connsiteY5" fmla="*/ 62923 h 12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1">
                <a:moveTo>
                  <a:pt x="53601" y="127012"/>
                </a:moveTo>
                <a:lnTo>
                  <a:pt x="0" y="127012"/>
                </a:lnTo>
                <a:lnTo>
                  <a:pt x="62924" y="64089"/>
                </a:lnTo>
                <a:lnTo>
                  <a:pt x="0" y="0"/>
                </a:lnTo>
                <a:lnTo>
                  <a:pt x="54767" y="0"/>
                </a:lnTo>
                <a:lnTo>
                  <a:pt x="117690" y="62923"/>
                </a:lnTo>
                <a:close/>
              </a:path>
            </a:pathLst>
          </a:custGeom>
          <a:solidFill>
            <a:srgbClr val="EEF2F5"/>
          </a:solidFill>
          <a:ln w="11643" cap="flat">
            <a:noFill/>
            <a:prstDash val="solid"/>
            <a:miter/>
          </a:ln>
        </p:spPr>
        <p:txBody>
          <a:bodyPr rtlCol="0" anchor="ctr"/>
          <a:lstStyle/>
          <a:p>
            <a:endParaRPr lang="de-DE"/>
          </a:p>
        </p:txBody>
      </p:sp>
      <p:sp>
        <p:nvSpPr>
          <p:cNvPr id="379" name="Freihandform: Form 378">
            <a:extLst>
              <a:ext uri="{FF2B5EF4-FFF2-40B4-BE49-F238E27FC236}">
                <a16:creationId xmlns:a16="http://schemas.microsoft.com/office/drawing/2014/main" id="{B757F792-E71A-486E-A79E-007A9729854D}"/>
              </a:ext>
            </a:extLst>
          </p:cNvPr>
          <p:cNvSpPr/>
          <p:nvPr userDrawn="1"/>
        </p:nvSpPr>
        <p:spPr>
          <a:xfrm>
            <a:off x="6988003" y="5950270"/>
            <a:ext cx="117690" cy="127011"/>
          </a:xfrm>
          <a:custGeom>
            <a:avLst/>
            <a:gdLst>
              <a:gd name="connsiteX0" fmla="*/ 53601 w 117690"/>
              <a:gd name="connsiteY0" fmla="*/ 127012 h 127011"/>
              <a:gd name="connsiteX1" fmla="*/ 0 w 117690"/>
              <a:gd name="connsiteY1" fmla="*/ 127012 h 127011"/>
              <a:gd name="connsiteX2" fmla="*/ 62924 w 117690"/>
              <a:gd name="connsiteY2" fmla="*/ 64089 h 127011"/>
              <a:gd name="connsiteX3" fmla="*/ 0 w 117690"/>
              <a:gd name="connsiteY3" fmla="*/ 0 h 127011"/>
              <a:gd name="connsiteX4" fmla="*/ 54767 w 117690"/>
              <a:gd name="connsiteY4" fmla="*/ 0 h 127011"/>
              <a:gd name="connsiteX5" fmla="*/ 117690 w 117690"/>
              <a:gd name="connsiteY5" fmla="*/ 61758 h 12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1">
                <a:moveTo>
                  <a:pt x="53601" y="127012"/>
                </a:moveTo>
                <a:lnTo>
                  <a:pt x="0" y="127012"/>
                </a:lnTo>
                <a:lnTo>
                  <a:pt x="62924" y="64089"/>
                </a:lnTo>
                <a:lnTo>
                  <a:pt x="0" y="0"/>
                </a:lnTo>
                <a:lnTo>
                  <a:pt x="54767" y="0"/>
                </a:lnTo>
                <a:lnTo>
                  <a:pt x="117690" y="61758"/>
                </a:lnTo>
                <a:close/>
              </a:path>
            </a:pathLst>
          </a:custGeom>
          <a:solidFill>
            <a:srgbClr val="EEF2F5"/>
          </a:solidFill>
          <a:ln w="11643" cap="flat">
            <a:noFill/>
            <a:prstDash val="solid"/>
            <a:miter/>
          </a:ln>
        </p:spPr>
        <p:txBody>
          <a:bodyPr rtlCol="0" anchor="ctr"/>
          <a:lstStyle/>
          <a:p>
            <a:endParaRPr lang="de-DE"/>
          </a:p>
        </p:txBody>
      </p:sp>
      <p:sp>
        <p:nvSpPr>
          <p:cNvPr id="380" name="Freihandform: Form 379">
            <a:extLst>
              <a:ext uri="{FF2B5EF4-FFF2-40B4-BE49-F238E27FC236}">
                <a16:creationId xmlns:a16="http://schemas.microsoft.com/office/drawing/2014/main" id="{15F4D627-864D-47BE-9457-2AFE1454DAE3}"/>
              </a:ext>
            </a:extLst>
          </p:cNvPr>
          <p:cNvSpPr/>
          <p:nvPr userDrawn="1"/>
        </p:nvSpPr>
        <p:spPr>
          <a:xfrm>
            <a:off x="6988003" y="6304506"/>
            <a:ext cx="117690" cy="127011"/>
          </a:xfrm>
          <a:custGeom>
            <a:avLst/>
            <a:gdLst>
              <a:gd name="connsiteX0" fmla="*/ 53601 w 117690"/>
              <a:gd name="connsiteY0" fmla="*/ 127012 h 127011"/>
              <a:gd name="connsiteX1" fmla="*/ 0 w 117690"/>
              <a:gd name="connsiteY1" fmla="*/ 127012 h 127011"/>
              <a:gd name="connsiteX2" fmla="*/ 62924 w 117690"/>
              <a:gd name="connsiteY2" fmla="*/ 64089 h 127011"/>
              <a:gd name="connsiteX3" fmla="*/ 0 w 117690"/>
              <a:gd name="connsiteY3" fmla="*/ 0 h 127011"/>
              <a:gd name="connsiteX4" fmla="*/ 54767 w 117690"/>
              <a:gd name="connsiteY4" fmla="*/ 0 h 127011"/>
              <a:gd name="connsiteX5" fmla="*/ 117690 w 117690"/>
              <a:gd name="connsiteY5" fmla="*/ 62923 h 12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1">
                <a:moveTo>
                  <a:pt x="53601" y="127012"/>
                </a:moveTo>
                <a:lnTo>
                  <a:pt x="0" y="127012"/>
                </a:lnTo>
                <a:lnTo>
                  <a:pt x="62924" y="64089"/>
                </a:lnTo>
                <a:lnTo>
                  <a:pt x="0" y="0"/>
                </a:lnTo>
                <a:lnTo>
                  <a:pt x="54767" y="0"/>
                </a:lnTo>
                <a:lnTo>
                  <a:pt x="117690" y="62923"/>
                </a:lnTo>
                <a:close/>
              </a:path>
            </a:pathLst>
          </a:custGeom>
          <a:solidFill>
            <a:srgbClr val="EEF2F5"/>
          </a:solidFill>
          <a:ln w="11643" cap="flat">
            <a:noFill/>
            <a:prstDash val="solid"/>
            <a:miter/>
          </a:ln>
        </p:spPr>
        <p:txBody>
          <a:bodyPr rtlCol="0" anchor="ctr"/>
          <a:lstStyle/>
          <a:p>
            <a:endParaRPr lang="de-DE"/>
          </a:p>
        </p:txBody>
      </p:sp>
      <p:sp>
        <p:nvSpPr>
          <p:cNvPr id="381" name="Freihandform: Form 380">
            <a:extLst>
              <a:ext uri="{FF2B5EF4-FFF2-40B4-BE49-F238E27FC236}">
                <a16:creationId xmlns:a16="http://schemas.microsoft.com/office/drawing/2014/main" id="{5B9A1A98-26A6-4C1D-928E-D24F433024ED}"/>
              </a:ext>
            </a:extLst>
          </p:cNvPr>
          <p:cNvSpPr/>
          <p:nvPr userDrawn="1"/>
        </p:nvSpPr>
        <p:spPr>
          <a:xfrm>
            <a:off x="6988003" y="6659906"/>
            <a:ext cx="117690" cy="127011"/>
          </a:xfrm>
          <a:custGeom>
            <a:avLst/>
            <a:gdLst>
              <a:gd name="connsiteX0" fmla="*/ 53601 w 117690"/>
              <a:gd name="connsiteY0" fmla="*/ 127012 h 127011"/>
              <a:gd name="connsiteX1" fmla="*/ 0 w 117690"/>
              <a:gd name="connsiteY1" fmla="*/ 127012 h 127011"/>
              <a:gd name="connsiteX2" fmla="*/ 62924 w 117690"/>
              <a:gd name="connsiteY2" fmla="*/ 64089 h 127011"/>
              <a:gd name="connsiteX3" fmla="*/ 0 w 117690"/>
              <a:gd name="connsiteY3" fmla="*/ 0 h 127011"/>
              <a:gd name="connsiteX4" fmla="*/ 54767 w 117690"/>
              <a:gd name="connsiteY4" fmla="*/ 0 h 127011"/>
              <a:gd name="connsiteX5" fmla="*/ 117690 w 117690"/>
              <a:gd name="connsiteY5" fmla="*/ 61758 h 12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690" h="127011">
                <a:moveTo>
                  <a:pt x="53601" y="127012"/>
                </a:moveTo>
                <a:lnTo>
                  <a:pt x="0" y="127012"/>
                </a:lnTo>
                <a:lnTo>
                  <a:pt x="62924" y="64089"/>
                </a:lnTo>
                <a:lnTo>
                  <a:pt x="0" y="0"/>
                </a:lnTo>
                <a:lnTo>
                  <a:pt x="54767" y="0"/>
                </a:lnTo>
                <a:lnTo>
                  <a:pt x="117690" y="61758"/>
                </a:lnTo>
                <a:close/>
              </a:path>
            </a:pathLst>
          </a:custGeom>
          <a:solidFill>
            <a:srgbClr val="EEF2F5"/>
          </a:solidFill>
          <a:ln w="11643" cap="flat">
            <a:noFill/>
            <a:prstDash val="solid"/>
            <a:miter/>
          </a:ln>
        </p:spPr>
        <p:txBody>
          <a:bodyPr rtlCol="0" anchor="ctr"/>
          <a:lstStyle/>
          <a:p>
            <a:endParaRPr lang="de-DE"/>
          </a:p>
        </p:txBody>
      </p:sp>
      <p:sp>
        <p:nvSpPr>
          <p:cNvPr id="382" name="Freihandform: Form 381">
            <a:extLst>
              <a:ext uri="{FF2B5EF4-FFF2-40B4-BE49-F238E27FC236}">
                <a16:creationId xmlns:a16="http://schemas.microsoft.com/office/drawing/2014/main" id="{82A4EEA7-5CFB-4E90-9AD2-D5ED8D09BC3C}"/>
              </a:ext>
            </a:extLst>
          </p:cNvPr>
          <p:cNvSpPr/>
          <p:nvPr userDrawn="1"/>
        </p:nvSpPr>
        <p:spPr>
          <a:xfrm>
            <a:off x="7335247" y="2038533"/>
            <a:ext cx="132838" cy="143325"/>
          </a:xfrm>
          <a:custGeom>
            <a:avLst/>
            <a:gdLst>
              <a:gd name="connsiteX0" fmla="*/ 60593 w 132838"/>
              <a:gd name="connsiteY0" fmla="*/ 143326 h 143325"/>
              <a:gd name="connsiteX1" fmla="*/ 0 w 132838"/>
              <a:gd name="connsiteY1" fmla="*/ 143326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6"/>
                </a:moveTo>
                <a:lnTo>
                  <a:pt x="0" y="143326"/>
                </a:lnTo>
                <a:lnTo>
                  <a:pt x="71080" y="72245"/>
                </a:lnTo>
                <a:lnTo>
                  <a:pt x="0" y="0"/>
                </a:lnTo>
                <a:lnTo>
                  <a:pt x="61758" y="0"/>
                </a:lnTo>
                <a:lnTo>
                  <a:pt x="132838" y="69915"/>
                </a:lnTo>
                <a:close/>
              </a:path>
            </a:pathLst>
          </a:custGeom>
          <a:solidFill>
            <a:srgbClr val="EEF2F5"/>
          </a:solidFill>
          <a:ln w="11643" cap="flat">
            <a:noFill/>
            <a:prstDash val="solid"/>
            <a:miter/>
          </a:ln>
        </p:spPr>
        <p:txBody>
          <a:bodyPr rtlCol="0" anchor="ctr"/>
          <a:lstStyle/>
          <a:p>
            <a:endParaRPr lang="de-DE"/>
          </a:p>
        </p:txBody>
      </p:sp>
      <p:sp>
        <p:nvSpPr>
          <p:cNvPr id="383" name="Freihandform: Form 382">
            <a:extLst>
              <a:ext uri="{FF2B5EF4-FFF2-40B4-BE49-F238E27FC236}">
                <a16:creationId xmlns:a16="http://schemas.microsoft.com/office/drawing/2014/main" id="{6C9D3BF2-6E80-41A7-A83F-18F86CB24C49}"/>
              </a:ext>
            </a:extLst>
          </p:cNvPr>
          <p:cNvSpPr/>
          <p:nvPr userDrawn="1"/>
        </p:nvSpPr>
        <p:spPr>
          <a:xfrm>
            <a:off x="7335247" y="2392768"/>
            <a:ext cx="132838" cy="143325"/>
          </a:xfrm>
          <a:custGeom>
            <a:avLst/>
            <a:gdLst>
              <a:gd name="connsiteX0" fmla="*/ 60593 w 132838"/>
              <a:gd name="connsiteY0" fmla="*/ 143325 h 143325"/>
              <a:gd name="connsiteX1" fmla="*/ 0 w 132838"/>
              <a:gd name="connsiteY1" fmla="*/ 143325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71080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5"/>
                </a:moveTo>
                <a:lnTo>
                  <a:pt x="0" y="143325"/>
                </a:lnTo>
                <a:lnTo>
                  <a:pt x="71080" y="72245"/>
                </a:lnTo>
                <a:lnTo>
                  <a:pt x="0" y="0"/>
                </a:lnTo>
                <a:lnTo>
                  <a:pt x="61758" y="0"/>
                </a:lnTo>
                <a:lnTo>
                  <a:pt x="132838" y="71080"/>
                </a:lnTo>
                <a:close/>
              </a:path>
            </a:pathLst>
          </a:custGeom>
          <a:solidFill>
            <a:srgbClr val="EEF2F5"/>
          </a:solidFill>
          <a:ln w="11643" cap="flat">
            <a:noFill/>
            <a:prstDash val="solid"/>
            <a:miter/>
          </a:ln>
        </p:spPr>
        <p:txBody>
          <a:bodyPr rtlCol="0" anchor="ctr"/>
          <a:lstStyle/>
          <a:p>
            <a:endParaRPr lang="de-DE"/>
          </a:p>
        </p:txBody>
      </p:sp>
      <p:sp>
        <p:nvSpPr>
          <p:cNvPr id="384" name="Freihandform: Form 383">
            <a:extLst>
              <a:ext uri="{FF2B5EF4-FFF2-40B4-BE49-F238E27FC236}">
                <a16:creationId xmlns:a16="http://schemas.microsoft.com/office/drawing/2014/main" id="{DBA45F13-8F61-4402-AA92-16AA0BF673F4}"/>
              </a:ext>
            </a:extLst>
          </p:cNvPr>
          <p:cNvSpPr/>
          <p:nvPr userDrawn="1"/>
        </p:nvSpPr>
        <p:spPr>
          <a:xfrm>
            <a:off x="7335247" y="2748169"/>
            <a:ext cx="132838" cy="143325"/>
          </a:xfrm>
          <a:custGeom>
            <a:avLst/>
            <a:gdLst>
              <a:gd name="connsiteX0" fmla="*/ 60593 w 132838"/>
              <a:gd name="connsiteY0" fmla="*/ 143325 h 143325"/>
              <a:gd name="connsiteX1" fmla="*/ 0 w 132838"/>
              <a:gd name="connsiteY1" fmla="*/ 143325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5"/>
                </a:moveTo>
                <a:lnTo>
                  <a:pt x="0" y="143325"/>
                </a:lnTo>
                <a:lnTo>
                  <a:pt x="71080" y="72245"/>
                </a:lnTo>
                <a:lnTo>
                  <a:pt x="0" y="0"/>
                </a:lnTo>
                <a:lnTo>
                  <a:pt x="61758" y="0"/>
                </a:lnTo>
                <a:lnTo>
                  <a:pt x="132838" y="69915"/>
                </a:lnTo>
                <a:close/>
              </a:path>
            </a:pathLst>
          </a:custGeom>
          <a:solidFill>
            <a:srgbClr val="EEF2F5"/>
          </a:solidFill>
          <a:ln w="11643" cap="flat">
            <a:noFill/>
            <a:prstDash val="solid"/>
            <a:miter/>
          </a:ln>
        </p:spPr>
        <p:txBody>
          <a:bodyPr rtlCol="0" anchor="ctr"/>
          <a:lstStyle/>
          <a:p>
            <a:endParaRPr lang="de-DE"/>
          </a:p>
        </p:txBody>
      </p:sp>
      <p:sp>
        <p:nvSpPr>
          <p:cNvPr id="385" name="Freihandform: Form 384">
            <a:extLst>
              <a:ext uri="{FF2B5EF4-FFF2-40B4-BE49-F238E27FC236}">
                <a16:creationId xmlns:a16="http://schemas.microsoft.com/office/drawing/2014/main" id="{C75C3C28-90BF-4A16-BD17-5BEF223EA73E}"/>
              </a:ext>
            </a:extLst>
          </p:cNvPr>
          <p:cNvSpPr/>
          <p:nvPr userDrawn="1"/>
        </p:nvSpPr>
        <p:spPr>
          <a:xfrm>
            <a:off x="7335247" y="3102404"/>
            <a:ext cx="132838" cy="143325"/>
          </a:xfrm>
          <a:custGeom>
            <a:avLst/>
            <a:gdLst>
              <a:gd name="connsiteX0" fmla="*/ 60593 w 132838"/>
              <a:gd name="connsiteY0" fmla="*/ 143326 h 143325"/>
              <a:gd name="connsiteX1" fmla="*/ 0 w 132838"/>
              <a:gd name="connsiteY1" fmla="*/ 143326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71080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6"/>
                </a:moveTo>
                <a:lnTo>
                  <a:pt x="0" y="143326"/>
                </a:lnTo>
                <a:lnTo>
                  <a:pt x="71080" y="72245"/>
                </a:lnTo>
                <a:lnTo>
                  <a:pt x="0" y="0"/>
                </a:lnTo>
                <a:lnTo>
                  <a:pt x="61758" y="0"/>
                </a:lnTo>
                <a:lnTo>
                  <a:pt x="132838" y="71080"/>
                </a:lnTo>
                <a:close/>
              </a:path>
            </a:pathLst>
          </a:custGeom>
          <a:solidFill>
            <a:srgbClr val="EEF2F5"/>
          </a:solidFill>
          <a:ln w="11643" cap="flat">
            <a:noFill/>
            <a:prstDash val="solid"/>
            <a:miter/>
          </a:ln>
        </p:spPr>
        <p:txBody>
          <a:bodyPr rtlCol="0" anchor="ctr"/>
          <a:lstStyle/>
          <a:p>
            <a:endParaRPr lang="de-DE"/>
          </a:p>
        </p:txBody>
      </p:sp>
      <p:sp>
        <p:nvSpPr>
          <p:cNvPr id="386" name="Freihandform: Form 385">
            <a:extLst>
              <a:ext uri="{FF2B5EF4-FFF2-40B4-BE49-F238E27FC236}">
                <a16:creationId xmlns:a16="http://schemas.microsoft.com/office/drawing/2014/main" id="{1170380C-68A1-44F1-B1A8-DF05F90C065C}"/>
              </a:ext>
            </a:extLst>
          </p:cNvPr>
          <p:cNvSpPr/>
          <p:nvPr userDrawn="1"/>
        </p:nvSpPr>
        <p:spPr>
          <a:xfrm>
            <a:off x="7335247" y="3457805"/>
            <a:ext cx="132838" cy="143325"/>
          </a:xfrm>
          <a:custGeom>
            <a:avLst/>
            <a:gdLst>
              <a:gd name="connsiteX0" fmla="*/ 60593 w 132838"/>
              <a:gd name="connsiteY0" fmla="*/ 143326 h 143325"/>
              <a:gd name="connsiteX1" fmla="*/ 0 w 132838"/>
              <a:gd name="connsiteY1" fmla="*/ 143326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6"/>
                </a:moveTo>
                <a:lnTo>
                  <a:pt x="0" y="143326"/>
                </a:lnTo>
                <a:lnTo>
                  <a:pt x="71080" y="72245"/>
                </a:lnTo>
                <a:lnTo>
                  <a:pt x="0" y="0"/>
                </a:lnTo>
                <a:lnTo>
                  <a:pt x="61758" y="0"/>
                </a:lnTo>
                <a:lnTo>
                  <a:pt x="132838" y="69915"/>
                </a:lnTo>
                <a:close/>
              </a:path>
            </a:pathLst>
          </a:custGeom>
          <a:solidFill>
            <a:srgbClr val="EEF2F5"/>
          </a:solidFill>
          <a:ln w="11643" cap="flat">
            <a:noFill/>
            <a:prstDash val="solid"/>
            <a:miter/>
          </a:ln>
        </p:spPr>
        <p:txBody>
          <a:bodyPr rtlCol="0" anchor="ctr"/>
          <a:lstStyle/>
          <a:p>
            <a:endParaRPr lang="de-DE"/>
          </a:p>
        </p:txBody>
      </p:sp>
      <p:sp>
        <p:nvSpPr>
          <p:cNvPr id="387" name="Freihandform: Form 386">
            <a:extLst>
              <a:ext uri="{FF2B5EF4-FFF2-40B4-BE49-F238E27FC236}">
                <a16:creationId xmlns:a16="http://schemas.microsoft.com/office/drawing/2014/main" id="{553EF259-97B4-4E0D-B27F-A6E4D2E18BEB}"/>
              </a:ext>
            </a:extLst>
          </p:cNvPr>
          <p:cNvSpPr/>
          <p:nvPr userDrawn="1"/>
        </p:nvSpPr>
        <p:spPr>
          <a:xfrm>
            <a:off x="7335247" y="3812040"/>
            <a:ext cx="132838" cy="144490"/>
          </a:xfrm>
          <a:custGeom>
            <a:avLst/>
            <a:gdLst>
              <a:gd name="connsiteX0" fmla="*/ 60593 w 132838"/>
              <a:gd name="connsiteY0" fmla="*/ 144491 h 144490"/>
              <a:gd name="connsiteX1" fmla="*/ 0 w 132838"/>
              <a:gd name="connsiteY1" fmla="*/ 144491 h 144490"/>
              <a:gd name="connsiteX2" fmla="*/ 71080 w 132838"/>
              <a:gd name="connsiteY2" fmla="*/ 73410 h 144490"/>
              <a:gd name="connsiteX3" fmla="*/ 0 w 132838"/>
              <a:gd name="connsiteY3" fmla="*/ 0 h 144490"/>
              <a:gd name="connsiteX4" fmla="*/ 61758 w 132838"/>
              <a:gd name="connsiteY4" fmla="*/ 0 h 144490"/>
              <a:gd name="connsiteX5" fmla="*/ 132838 w 132838"/>
              <a:gd name="connsiteY5" fmla="*/ 71080 h 144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4490">
                <a:moveTo>
                  <a:pt x="60593" y="144491"/>
                </a:moveTo>
                <a:lnTo>
                  <a:pt x="0" y="144491"/>
                </a:lnTo>
                <a:lnTo>
                  <a:pt x="71080" y="73410"/>
                </a:lnTo>
                <a:lnTo>
                  <a:pt x="0" y="0"/>
                </a:lnTo>
                <a:lnTo>
                  <a:pt x="61758" y="0"/>
                </a:lnTo>
                <a:lnTo>
                  <a:pt x="132838" y="71080"/>
                </a:lnTo>
                <a:close/>
              </a:path>
            </a:pathLst>
          </a:custGeom>
          <a:solidFill>
            <a:srgbClr val="EEF2F5"/>
          </a:solidFill>
          <a:ln w="11643" cap="flat">
            <a:noFill/>
            <a:prstDash val="solid"/>
            <a:miter/>
          </a:ln>
        </p:spPr>
        <p:txBody>
          <a:bodyPr rtlCol="0" anchor="ctr"/>
          <a:lstStyle/>
          <a:p>
            <a:endParaRPr lang="de-DE"/>
          </a:p>
        </p:txBody>
      </p:sp>
      <p:sp>
        <p:nvSpPr>
          <p:cNvPr id="388" name="Freihandform: Form 387">
            <a:extLst>
              <a:ext uri="{FF2B5EF4-FFF2-40B4-BE49-F238E27FC236}">
                <a16:creationId xmlns:a16="http://schemas.microsoft.com/office/drawing/2014/main" id="{EB5F5B5A-9CB5-47D1-91FC-556189A9F9A6}"/>
              </a:ext>
            </a:extLst>
          </p:cNvPr>
          <p:cNvSpPr/>
          <p:nvPr userDrawn="1"/>
        </p:nvSpPr>
        <p:spPr>
          <a:xfrm>
            <a:off x="7335247" y="4167441"/>
            <a:ext cx="132838" cy="143325"/>
          </a:xfrm>
          <a:custGeom>
            <a:avLst/>
            <a:gdLst>
              <a:gd name="connsiteX0" fmla="*/ 60593 w 132838"/>
              <a:gd name="connsiteY0" fmla="*/ 143325 h 143325"/>
              <a:gd name="connsiteX1" fmla="*/ 0 w 132838"/>
              <a:gd name="connsiteY1" fmla="*/ 143325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5"/>
                </a:moveTo>
                <a:lnTo>
                  <a:pt x="0" y="143325"/>
                </a:lnTo>
                <a:lnTo>
                  <a:pt x="71080" y="72245"/>
                </a:lnTo>
                <a:lnTo>
                  <a:pt x="0" y="0"/>
                </a:lnTo>
                <a:lnTo>
                  <a:pt x="61758" y="0"/>
                </a:lnTo>
                <a:lnTo>
                  <a:pt x="132838" y="69915"/>
                </a:lnTo>
                <a:close/>
              </a:path>
            </a:pathLst>
          </a:custGeom>
          <a:solidFill>
            <a:srgbClr val="EEF2F5"/>
          </a:solidFill>
          <a:ln w="11643" cap="flat">
            <a:noFill/>
            <a:prstDash val="solid"/>
            <a:miter/>
          </a:ln>
        </p:spPr>
        <p:txBody>
          <a:bodyPr rtlCol="0" anchor="ctr"/>
          <a:lstStyle/>
          <a:p>
            <a:endParaRPr lang="de-DE"/>
          </a:p>
        </p:txBody>
      </p:sp>
      <p:sp>
        <p:nvSpPr>
          <p:cNvPr id="389" name="Freihandform: Form 388">
            <a:extLst>
              <a:ext uri="{FF2B5EF4-FFF2-40B4-BE49-F238E27FC236}">
                <a16:creationId xmlns:a16="http://schemas.microsoft.com/office/drawing/2014/main" id="{01DDC0E0-D1C4-4A00-B92F-DF0D19F49DE5}"/>
              </a:ext>
            </a:extLst>
          </p:cNvPr>
          <p:cNvSpPr/>
          <p:nvPr userDrawn="1"/>
        </p:nvSpPr>
        <p:spPr>
          <a:xfrm>
            <a:off x="7335247" y="4522842"/>
            <a:ext cx="132838" cy="143325"/>
          </a:xfrm>
          <a:custGeom>
            <a:avLst/>
            <a:gdLst>
              <a:gd name="connsiteX0" fmla="*/ 60593 w 132838"/>
              <a:gd name="connsiteY0" fmla="*/ 143325 h 143325"/>
              <a:gd name="connsiteX1" fmla="*/ 0 w 132838"/>
              <a:gd name="connsiteY1" fmla="*/ 143325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5"/>
                </a:moveTo>
                <a:lnTo>
                  <a:pt x="0" y="143325"/>
                </a:lnTo>
                <a:lnTo>
                  <a:pt x="71080" y="72245"/>
                </a:lnTo>
                <a:lnTo>
                  <a:pt x="0" y="0"/>
                </a:lnTo>
                <a:lnTo>
                  <a:pt x="61758" y="0"/>
                </a:lnTo>
                <a:lnTo>
                  <a:pt x="132838" y="69915"/>
                </a:lnTo>
                <a:close/>
              </a:path>
            </a:pathLst>
          </a:custGeom>
          <a:solidFill>
            <a:srgbClr val="EEF2F5"/>
          </a:solidFill>
          <a:ln w="11643" cap="flat">
            <a:noFill/>
            <a:prstDash val="solid"/>
            <a:miter/>
          </a:ln>
        </p:spPr>
        <p:txBody>
          <a:bodyPr rtlCol="0" anchor="ctr"/>
          <a:lstStyle/>
          <a:p>
            <a:endParaRPr lang="de-DE"/>
          </a:p>
        </p:txBody>
      </p:sp>
      <p:sp>
        <p:nvSpPr>
          <p:cNvPr id="390" name="Freihandform: Form 389">
            <a:extLst>
              <a:ext uri="{FF2B5EF4-FFF2-40B4-BE49-F238E27FC236}">
                <a16:creationId xmlns:a16="http://schemas.microsoft.com/office/drawing/2014/main" id="{F05542B7-5A13-43F4-A6B6-3D91FBE8F247}"/>
              </a:ext>
            </a:extLst>
          </p:cNvPr>
          <p:cNvSpPr/>
          <p:nvPr userDrawn="1"/>
        </p:nvSpPr>
        <p:spPr>
          <a:xfrm>
            <a:off x="7335247" y="4877077"/>
            <a:ext cx="132838" cy="143325"/>
          </a:xfrm>
          <a:custGeom>
            <a:avLst/>
            <a:gdLst>
              <a:gd name="connsiteX0" fmla="*/ 60593 w 132838"/>
              <a:gd name="connsiteY0" fmla="*/ 143325 h 143325"/>
              <a:gd name="connsiteX1" fmla="*/ 0 w 132838"/>
              <a:gd name="connsiteY1" fmla="*/ 143325 h 143325"/>
              <a:gd name="connsiteX2" fmla="*/ 71080 w 132838"/>
              <a:gd name="connsiteY2" fmla="*/ 72245 h 143325"/>
              <a:gd name="connsiteX3" fmla="*/ 0 w 132838"/>
              <a:gd name="connsiteY3" fmla="*/ 0 h 143325"/>
              <a:gd name="connsiteX4" fmla="*/ 61758 w 132838"/>
              <a:gd name="connsiteY4" fmla="*/ 0 h 143325"/>
              <a:gd name="connsiteX5" fmla="*/ 132838 w 132838"/>
              <a:gd name="connsiteY5" fmla="*/ 71080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5"/>
                </a:moveTo>
                <a:lnTo>
                  <a:pt x="0" y="143325"/>
                </a:lnTo>
                <a:lnTo>
                  <a:pt x="71080" y="72245"/>
                </a:lnTo>
                <a:lnTo>
                  <a:pt x="0" y="0"/>
                </a:lnTo>
                <a:lnTo>
                  <a:pt x="61758" y="0"/>
                </a:lnTo>
                <a:lnTo>
                  <a:pt x="132838" y="71080"/>
                </a:lnTo>
                <a:close/>
              </a:path>
            </a:pathLst>
          </a:custGeom>
          <a:solidFill>
            <a:srgbClr val="EEF2F5"/>
          </a:solidFill>
          <a:ln w="11643" cap="flat">
            <a:noFill/>
            <a:prstDash val="solid"/>
            <a:miter/>
          </a:ln>
        </p:spPr>
        <p:txBody>
          <a:bodyPr rtlCol="0" anchor="ctr"/>
          <a:lstStyle/>
          <a:p>
            <a:endParaRPr lang="de-DE"/>
          </a:p>
        </p:txBody>
      </p:sp>
      <p:sp>
        <p:nvSpPr>
          <p:cNvPr id="391" name="Freihandform: Form 390">
            <a:extLst>
              <a:ext uri="{FF2B5EF4-FFF2-40B4-BE49-F238E27FC236}">
                <a16:creationId xmlns:a16="http://schemas.microsoft.com/office/drawing/2014/main" id="{4A5DEDF6-969D-405A-A7AC-2CF3502C1348}"/>
              </a:ext>
            </a:extLst>
          </p:cNvPr>
          <p:cNvSpPr/>
          <p:nvPr userDrawn="1"/>
        </p:nvSpPr>
        <p:spPr>
          <a:xfrm>
            <a:off x="7335247" y="5232478"/>
            <a:ext cx="132838" cy="143325"/>
          </a:xfrm>
          <a:custGeom>
            <a:avLst/>
            <a:gdLst>
              <a:gd name="connsiteX0" fmla="*/ 60593 w 132838"/>
              <a:gd name="connsiteY0" fmla="*/ 143325 h 143325"/>
              <a:gd name="connsiteX1" fmla="*/ 0 w 132838"/>
              <a:gd name="connsiteY1" fmla="*/ 143325 h 143325"/>
              <a:gd name="connsiteX2" fmla="*/ 71080 w 132838"/>
              <a:gd name="connsiteY2" fmla="*/ 72246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5"/>
                </a:moveTo>
                <a:lnTo>
                  <a:pt x="0" y="143325"/>
                </a:lnTo>
                <a:lnTo>
                  <a:pt x="71080" y="72246"/>
                </a:lnTo>
                <a:lnTo>
                  <a:pt x="0" y="0"/>
                </a:lnTo>
                <a:lnTo>
                  <a:pt x="61758" y="0"/>
                </a:lnTo>
                <a:lnTo>
                  <a:pt x="132838" y="69915"/>
                </a:lnTo>
                <a:close/>
              </a:path>
            </a:pathLst>
          </a:custGeom>
          <a:solidFill>
            <a:srgbClr val="EEF2F5"/>
          </a:solidFill>
          <a:ln w="11643" cap="flat">
            <a:noFill/>
            <a:prstDash val="solid"/>
            <a:miter/>
          </a:ln>
        </p:spPr>
        <p:txBody>
          <a:bodyPr rtlCol="0" anchor="ctr"/>
          <a:lstStyle/>
          <a:p>
            <a:endParaRPr lang="de-DE"/>
          </a:p>
        </p:txBody>
      </p:sp>
      <p:sp>
        <p:nvSpPr>
          <p:cNvPr id="392" name="Freihandform: Form 391">
            <a:extLst>
              <a:ext uri="{FF2B5EF4-FFF2-40B4-BE49-F238E27FC236}">
                <a16:creationId xmlns:a16="http://schemas.microsoft.com/office/drawing/2014/main" id="{992F37D0-9AF3-405A-84A6-76CAAC63FCC5}"/>
              </a:ext>
            </a:extLst>
          </p:cNvPr>
          <p:cNvSpPr/>
          <p:nvPr userDrawn="1"/>
        </p:nvSpPr>
        <p:spPr>
          <a:xfrm>
            <a:off x="7335247" y="5586713"/>
            <a:ext cx="132838" cy="143325"/>
          </a:xfrm>
          <a:custGeom>
            <a:avLst/>
            <a:gdLst>
              <a:gd name="connsiteX0" fmla="*/ 60593 w 132838"/>
              <a:gd name="connsiteY0" fmla="*/ 143326 h 143325"/>
              <a:gd name="connsiteX1" fmla="*/ 0 w 132838"/>
              <a:gd name="connsiteY1" fmla="*/ 143326 h 143325"/>
              <a:gd name="connsiteX2" fmla="*/ 71080 w 132838"/>
              <a:gd name="connsiteY2" fmla="*/ 72246 h 143325"/>
              <a:gd name="connsiteX3" fmla="*/ 0 w 132838"/>
              <a:gd name="connsiteY3" fmla="*/ 0 h 143325"/>
              <a:gd name="connsiteX4" fmla="*/ 61758 w 132838"/>
              <a:gd name="connsiteY4" fmla="*/ 0 h 143325"/>
              <a:gd name="connsiteX5" fmla="*/ 132838 w 132838"/>
              <a:gd name="connsiteY5" fmla="*/ 71080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6"/>
                </a:moveTo>
                <a:lnTo>
                  <a:pt x="0" y="143326"/>
                </a:lnTo>
                <a:lnTo>
                  <a:pt x="71080" y="72246"/>
                </a:lnTo>
                <a:lnTo>
                  <a:pt x="0" y="0"/>
                </a:lnTo>
                <a:lnTo>
                  <a:pt x="61758" y="0"/>
                </a:lnTo>
                <a:lnTo>
                  <a:pt x="132838" y="71080"/>
                </a:lnTo>
                <a:close/>
              </a:path>
            </a:pathLst>
          </a:custGeom>
          <a:solidFill>
            <a:srgbClr val="EEF2F5"/>
          </a:solidFill>
          <a:ln w="11643" cap="flat">
            <a:noFill/>
            <a:prstDash val="solid"/>
            <a:miter/>
          </a:ln>
        </p:spPr>
        <p:txBody>
          <a:bodyPr rtlCol="0" anchor="ctr"/>
          <a:lstStyle/>
          <a:p>
            <a:endParaRPr lang="de-DE"/>
          </a:p>
        </p:txBody>
      </p:sp>
      <p:sp>
        <p:nvSpPr>
          <p:cNvPr id="393" name="Freihandform: Form 392">
            <a:extLst>
              <a:ext uri="{FF2B5EF4-FFF2-40B4-BE49-F238E27FC236}">
                <a16:creationId xmlns:a16="http://schemas.microsoft.com/office/drawing/2014/main" id="{A123B81C-0D5B-44AC-9677-41B2CE41672D}"/>
              </a:ext>
            </a:extLst>
          </p:cNvPr>
          <p:cNvSpPr/>
          <p:nvPr userDrawn="1"/>
        </p:nvSpPr>
        <p:spPr>
          <a:xfrm>
            <a:off x="7335247" y="5942114"/>
            <a:ext cx="132838" cy="143325"/>
          </a:xfrm>
          <a:custGeom>
            <a:avLst/>
            <a:gdLst>
              <a:gd name="connsiteX0" fmla="*/ 60593 w 132838"/>
              <a:gd name="connsiteY0" fmla="*/ 143326 h 143325"/>
              <a:gd name="connsiteX1" fmla="*/ 0 w 132838"/>
              <a:gd name="connsiteY1" fmla="*/ 143326 h 143325"/>
              <a:gd name="connsiteX2" fmla="*/ 71080 w 132838"/>
              <a:gd name="connsiteY2" fmla="*/ 72246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6"/>
                </a:moveTo>
                <a:lnTo>
                  <a:pt x="0" y="143326"/>
                </a:lnTo>
                <a:lnTo>
                  <a:pt x="71080" y="72246"/>
                </a:lnTo>
                <a:lnTo>
                  <a:pt x="0" y="0"/>
                </a:lnTo>
                <a:lnTo>
                  <a:pt x="61758" y="0"/>
                </a:lnTo>
                <a:lnTo>
                  <a:pt x="132838" y="69915"/>
                </a:lnTo>
                <a:close/>
              </a:path>
            </a:pathLst>
          </a:custGeom>
          <a:solidFill>
            <a:srgbClr val="EEF2F5"/>
          </a:solidFill>
          <a:ln w="11643" cap="flat">
            <a:noFill/>
            <a:prstDash val="solid"/>
            <a:miter/>
          </a:ln>
        </p:spPr>
        <p:txBody>
          <a:bodyPr rtlCol="0" anchor="ctr"/>
          <a:lstStyle/>
          <a:p>
            <a:endParaRPr lang="de-DE"/>
          </a:p>
        </p:txBody>
      </p:sp>
      <p:sp>
        <p:nvSpPr>
          <p:cNvPr id="394" name="Freihandform: Form 393">
            <a:extLst>
              <a:ext uri="{FF2B5EF4-FFF2-40B4-BE49-F238E27FC236}">
                <a16:creationId xmlns:a16="http://schemas.microsoft.com/office/drawing/2014/main" id="{10F8A7E4-CB0C-4156-A180-E4F1A603A10E}"/>
              </a:ext>
            </a:extLst>
          </p:cNvPr>
          <p:cNvSpPr/>
          <p:nvPr userDrawn="1"/>
        </p:nvSpPr>
        <p:spPr>
          <a:xfrm>
            <a:off x="7335247" y="6296349"/>
            <a:ext cx="132838" cy="143325"/>
          </a:xfrm>
          <a:custGeom>
            <a:avLst/>
            <a:gdLst>
              <a:gd name="connsiteX0" fmla="*/ 60593 w 132838"/>
              <a:gd name="connsiteY0" fmla="*/ 143326 h 143325"/>
              <a:gd name="connsiteX1" fmla="*/ 0 w 132838"/>
              <a:gd name="connsiteY1" fmla="*/ 143326 h 143325"/>
              <a:gd name="connsiteX2" fmla="*/ 71080 w 132838"/>
              <a:gd name="connsiteY2" fmla="*/ 72246 h 143325"/>
              <a:gd name="connsiteX3" fmla="*/ 0 w 132838"/>
              <a:gd name="connsiteY3" fmla="*/ 0 h 143325"/>
              <a:gd name="connsiteX4" fmla="*/ 61758 w 132838"/>
              <a:gd name="connsiteY4" fmla="*/ 0 h 143325"/>
              <a:gd name="connsiteX5" fmla="*/ 132838 w 132838"/>
              <a:gd name="connsiteY5" fmla="*/ 71080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6"/>
                </a:moveTo>
                <a:lnTo>
                  <a:pt x="0" y="143326"/>
                </a:lnTo>
                <a:lnTo>
                  <a:pt x="71080" y="72246"/>
                </a:lnTo>
                <a:lnTo>
                  <a:pt x="0" y="0"/>
                </a:lnTo>
                <a:lnTo>
                  <a:pt x="61758" y="0"/>
                </a:lnTo>
                <a:lnTo>
                  <a:pt x="132838" y="71080"/>
                </a:lnTo>
                <a:close/>
              </a:path>
            </a:pathLst>
          </a:custGeom>
          <a:solidFill>
            <a:srgbClr val="EEF2F5"/>
          </a:solidFill>
          <a:ln w="11643" cap="flat">
            <a:noFill/>
            <a:prstDash val="solid"/>
            <a:miter/>
          </a:ln>
        </p:spPr>
        <p:txBody>
          <a:bodyPr rtlCol="0" anchor="ctr"/>
          <a:lstStyle/>
          <a:p>
            <a:endParaRPr lang="de-DE"/>
          </a:p>
        </p:txBody>
      </p:sp>
      <p:sp>
        <p:nvSpPr>
          <p:cNvPr id="395" name="Freihandform: Form 394">
            <a:extLst>
              <a:ext uri="{FF2B5EF4-FFF2-40B4-BE49-F238E27FC236}">
                <a16:creationId xmlns:a16="http://schemas.microsoft.com/office/drawing/2014/main" id="{2595AD4F-3613-411F-AF5E-490AA23115BA}"/>
              </a:ext>
            </a:extLst>
          </p:cNvPr>
          <p:cNvSpPr/>
          <p:nvPr userDrawn="1"/>
        </p:nvSpPr>
        <p:spPr>
          <a:xfrm>
            <a:off x="7335247" y="6651749"/>
            <a:ext cx="132838" cy="143325"/>
          </a:xfrm>
          <a:custGeom>
            <a:avLst/>
            <a:gdLst>
              <a:gd name="connsiteX0" fmla="*/ 60593 w 132838"/>
              <a:gd name="connsiteY0" fmla="*/ 143326 h 143325"/>
              <a:gd name="connsiteX1" fmla="*/ 0 w 132838"/>
              <a:gd name="connsiteY1" fmla="*/ 143326 h 143325"/>
              <a:gd name="connsiteX2" fmla="*/ 71080 w 132838"/>
              <a:gd name="connsiteY2" fmla="*/ 72246 h 143325"/>
              <a:gd name="connsiteX3" fmla="*/ 0 w 132838"/>
              <a:gd name="connsiteY3" fmla="*/ 0 h 143325"/>
              <a:gd name="connsiteX4" fmla="*/ 61758 w 132838"/>
              <a:gd name="connsiteY4" fmla="*/ 0 h 143325"/>
              <a:gd name="connsiteX5" fmla="*/ 132838 w 132838"/>
              <a:gd name="connsiteY5" fmla="*/ 69915 h 1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38" h="143325">
                <a:moveTo>
                  <a:pt x="60593" y="143326"/>
                </a:moveTo>
                <a:lnTo>
                  <a:pt x="0" y="143326"/>
                </a:lnTo>
                <a:lnTo>
                  <a:pt x="71080" y="72246"/>
                </a:lnTo>
                <a:lnTo>
                  <a:pt x="0" y="0"/>
                </a:lnTo>
                <a:lnTo>
                  <a:pt x="61758" y="0"/>
                </a:lnTo>
                <a:lnTo>
                  <a:pt x="132838" y="69915"/>
                </a:lnTo>
                <a:close/>
              </a:path>
            </a:pathLst>
          </a:custGeom>
          <a:solidFill>
            <a:srgbClr val="EEF2F5"/>
          </a:solidFill>
          <a:ln w="11643" cap="flat">
            <a:noFill/>
            <a:prstDash val="solid"/>
            <a:miter/>
          </a:ln>
        </p:spPr>
        <p:txBody>
          <a:bodyPr rtlCol="0" anchor="ctr"/>
          <a:lstStyle/>
          <a:p>
            <a:endParaRPr lang="de-DE"/>
          </a:p>
        </p:txBody>
      </p:sp>
      <p:sp>
        <p:nvSpPr>
          <p:cNvPr id="396" name="Freihandform: Form 395">
            <a:extLst>
              <a:ext uri="{FF2B5EF4-FFF2-40B4-BE49-F238E27FC236}">
                <a16:creationId xmlns:a16="http://schemas.microsoft.com/office/drawing/2014/main" id="{9EBD3A98-044D-4031-AC35-3BF914F7302F}"/>
              </a:ext>
            </a:extLst>
          </p:cNvPr>
          <p:cNvSpPr/>
          <p:nvPr userDrawn="1"/>
        </p:nvSpPr>
        <p:spPr>
          <a:xfrm>
            <a:off x="7682491" y="2029211"/>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397" name="Freihandform: Form 396">
            <a:extLst>
              <a:ext uri="{FF2B5EF4-FFF2-40B4-BE49-F238E27FC236}">
                <a16:creationId xmlns:a16="http://schemas.microsoft.com/office/drawing/2014/main" id="{43C53F6D-4828-4940-97F4-B626CD126756}"/>
              </a:ext>
            </a:extLst>
          </p:cNvPr>
          <p:cNvSpPr/>
          <p:nvPr userDrawn="1"/>
        </p:nvSpPr>
        <p:spPr>
          <a:xfrm>
            <a:off x="7682491" y="2384612"/>
            <a:ext cx="147986" cy="160804"/>
          </a:xfrm>
          <a:custGeom>
            <a:avLst/>
            <a:gdLst>
              <a:gd name="connsiteX0" fmla="*/ 67584 w 147986"/>
              <a:gd name="connsiteY0" fmla="*/ 160804 h 160804"/>
              <a:gd name="connsiteX1" fmla="*/ 0 w 147986"/>
              <a:gd name="connsiteY1" fmla="*/ 160804 h 160804"/>
              <a:gd name="connsiteX2" fmla="*/ 79237 w 147986"/>
              <a:gd name="connsiteY2" fmla="*/ 80402 h 160804"/>
              <a:gd name="connsiteX3" fmla="*/ 0 w 147986"/>
              <a:gd name="connsiteY3" fmla="*/ 0 h 160804"/>
              <a:gd name="connsiteX4" fmla="*/ 68750 w 147986"/>
              <a:gd name="connsiteY4" fmla="*/ 0 h 160804"/>
              <a:gd name="connsiteX5" fmla="*/ 147986 w 147986"/>
              <a:gd name="connsiteY5" fmla="*/ 79237 h 160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0804">
                <a:moveTo>
                  <a:pt x="67584" y="160804"/>
                </a:moveTo>
                <a:lnTo>
                  <a:pt x="0" y="160804"/>
                </a:lnTo>
                <a:lnTo>
                  <a:pt x="79237" y="80402"/>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398" name="Freihandform: Form 397">
            <a:extLst>
              <a:ext uri="{FF2B5EF4-FFF2-40B4-BE49-F238E27FC236}">
                <a16:creationId xmlns:a16="http://schemas.microsoft.com/office/drawing/2014/main" id="{120E8F27-6892-406B-90DB-A43FCDE80878}"/>
              </a:ext>
            </a:extLst>
          </p:cNvPr>
          <p:cNvSpPr/>
          <p:nvPr userDrawn="1"/>
        </p:nvSpPr>
        <p:spPr>
          <a:xfrm>
            <a:off x="7682491" y="2738847"/>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399" name="Freihandform: Form 398">
            <a:extLst>
              <a:ext uri="{FF2B5EF4-FFF2-40B4-BE49-F238E27FC236}">
                <a16:creationId xmlns:a16="http://schemas.microsoft.com/office/drawing/2014/main" id="{5C717E3E-F6BC-42B4-A350-C1DEE9C442C9}"/>
              </a:ext>
            </a:extLst>
          </p:cNvPr>
          <p:cNvSpPr/>
          <p:nvPr userDrawn="1"/>
        </p:nvSpPr>
        <p:spPr>
          <a:xfrm>
            <a:off x="7682491" y="3094248"/>
            <a:ext cx="147986" cy="160804"/>
          </a:xfrm>
          <a:custGeom>
            <a:avLst/>
            <a:gdLst>
              <a:gd name="connsiteX0" fmla="*/ 67584 w 147986"/>
              <a:gd name="connsiteY0" fmla="*/ 160804 h 160804"/>
              <a:gd name="connsiteX1" fmla="*/ 0 w 147986"/>
              <a:gd name="connsiteY1" fmla="*/ 160804 h 160804"/>
              <a:gd name="connsiteX2" fmla="*/ 79237 w 147986"/>
              <a:gd name="connsiteY2" fmla="*/ 81567 h 160804"/>
              <a:gd name="connsiteX3" fmla="*/ 0 w 147986"/>
              <a:gd name="connsiteY3" fmla="*/ 0 h 160804"/>
              <a:gd name="connsiteX4" fmla="*/ 68750 w 147986"/>
              <a:gd name="connsiteY4" fmla="*/ 0 h 160804"/>
              <a:gd name="connsiteX5" fmla="*/ 147986 w 147986"/>
              <a:gd name="connsiteY5" fmla="*/ 79237 h 160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0804">
                <a:moveTo>
                  <a:pt x="67584" y="160804"/>
                </a:moveTo>
                <a:lnTo>
                  <a:pt x="0" y="160804"/>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400" name="Freihandform: Form 399">
            <a:extLst>
              <a:ext uri="{FF2B5EF4-FFF2-40B4-BE49-F238E27FC236}">
                <a16:creationId xmlns:a16="http://schemas.microsoft.com/office/drawing/2014/main" id="{4F410CDD-2620-4397-B84B-BC98C66C7973}"/>
              </a:ext>
            </a:extLst>
          </p:cNvPr>
          <p:cNvSpPr/>
          <p:nvPr userDrawn="1"/>
        </p:nvSpPr>
        <p:spPr>
          <a:xfrm>
            <a:off x="7682491" y="3448483"/>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401" name="Freihandform: Form 400">
            <a:extLst>
              <a:ext uri="{FF2B5EF4-FFF2-40B4-BE49-F238E27FC236}">
                <a16:creationId xmlns:a16="http://schemas.microsoft.com/office/drawing/2014/main" id="{02172315-7916-4D70-BD29-FC5BB87983F8}"/>
              </a:ext>
            </a:extLst>
          </p:cNvPr>
          <p:cNvSpPr/>
          <p:nvPr userDrawn="1"/>
        </p:nvSpPr>
        <p:spPr>
          <a:xfrm>
            <a:off x="7682491" y="3803883"/>
            <a:ext cx="147986" cy="160804"/>
          </a:xfrm>
          <a:custGeom>
            <a:avLst/>
            <a:gdLst>
              <a:gd name="connsiteX0" fmla="*/ 67584 w 147986"/>
              <a:gd name="connsiteY0" fmla="*/ 160804 h 160804"/>
              <a:gd name="connsiteX1" fmla="*/ 0 w 147986"/>
              <a:gd name="connsiteY1" fmla="*/ 160804 h 160804"/>
              <a:gd name="connsiteX2" fmla="*/ 79237 w 147986"/>
              <a:gd name="connsiteY2" fmla="*/ 81567 h 160804"/>
              <a:gd name="connsiteX3" fmla="*/ 0 w 147986"/>
              <a:gd name="connsiteY3" fmla="*/ 0 h 160804"/>
              <a:gd name="connsiteX4" fmla="*/ 68750 w 147986"/>
              <a:gd name="connsiteY4" fmla="*/ 0 h 160804"/>
              <a:gd name="connsiteX5" fmla="*/ 147986 w 147986"/>
              <a:gd name="connsiteY5" fmla="*/ 79237 h 160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0804">
                <a:moveTo>
                  <a:pt x="67584" y="160804"/>
                </a:moveTo>
                <a:lnTo>
                  <a:pt x="0" y="160804"/>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402" name="Freihandform: Form 401">
            <a:extLst>
              <a:ext uri="{FF2B5EF4-FFF2-40B4-BE49-F238E27FC236}">
                <a16:creationId xmlns:a16="http://schemas.microsoft.com/office/drawing/2014/main" id="{675200BF-627C-42A4-9F53-4A172D52E39B}"/>
              </a:ext>
            </a:extLst>
          </p:cNvPr>
          <p:cNvSpPr/>
          <p:nvPr userDrawn="1"/>
        </p:nvSpPr>
        <p:spPr>
          <a:xfrm>
            <a:off x="7682491" y="4158119"/>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403" name="Freihandform: Form 402">
            <a:extLst>
              <a:ext uri="{FF2B5EF4-FFF2-40B4-BE49-F238E27FC236}">
                <a16:creationId xmlns:a16="http://schemas.microsoft.com/office/drawing/2014/main" id="{CAF5CE73-97E8-49F4-906D-4FDA8880D376}"/>
              </a:ext>
            </a:extLst>
          </p:cNvPr>
          <p:cNvSpPr/>
          <p:nvPr userDrawn="1"/>
        </p:nvSpPr>
        <p:spPr>
          <a:xfrm>
            <a:off x="7682491" y="4513520"/>
            <a:ext cx="147986" cy="160804"/>
          </a:xfrm>
          <a:custGeom>
            <a:avLst/>
            <a:gdLst>
              <a:gd name="connsiteX0" fmla="*/ 67584 w 147986"/>
              <a:gd name="connsiteY0" fmla="*/ 160804 h 160804"/>
              <a:gd name="connsiteX1" fmla="*/ 0 w 147986"/>
              <a:gd name="connsiteY1" fmla="*/ 160804 h 160804"/>
              <a:gd name="connsiteX2" fmla="*/ 79237 w 147986"/>
              <a:gd name="connsiteY2" fmla="*/ 81567 h 160804"/>
              <a:gd name="connsiteX3" fmla="*/ 0 w 147986"/>
              <a:gd name="connsiteY3" fmla="*/ 0 h 160804"/>
              <a:gd name="connsiteX4" fmla="*/ 68750 w 147986"/>
              <a:gd name="connsiteY4" fmla="*/ 0 h 160804"/>
              <a:gd name="connsiteX5" fmla="*/ 147986 w 147986"/>
              <a:gd name="connsiteY5" fmla="*/ 79237 h 160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0804">
                <a:moveTo>
                  <a:pt x="67584" y="160804"/>
                </a:moveTo>
                <a:lnTo>
                  <a:pt x="0" y="160804"/>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404" name="Freihandform: Form 403">
            <a:extLst>
              <a:ext uri="{FF2B5EF4-FFF2-40B4-BE49-F238E27FC236}">
                <a16:creationId xmlns:a16="http://schemas.microsoft.com/office/drawing/2014/main" id="{218DF139-4DC1-4BCB-9F4E-581AFD9F6331}"/>
              </a:ext>
            </a:extLst>
          </p:cNvPr>
          <p:cNvSpPr/>
          <p:nvPr userDrawn="1"/>
        </p:nvSpPr>
        <p:spPr>
          <a:xfrm>
            <a:off x="7682491" y="4867755"/>
            <a:ext cx="147986" cy="161969"/>
          </a:xfrm>
          <a:custGeom>
            <a:avLst/>
            <a:gdLst>
              <a:gd name="connsiteX0" fmla="*/ 67584 w 147986"/>
              <a:gd name="connsiteY0" fmla="*/ 161970 h 161969"/>
              <a:gd name="connsiteX1" fmla="*/ 0 w 147986"/>
              <a:gd name="connsiteY1" fmla="*/ 161970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70"/>
                </a:moveTo>
                <a:lnTo>
                  <a:pt x="0" y="161970"/>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405" name="Freihandform: Form 404">
            <a:extLst>
              <a:ext uri="{FF2B5EF4-FFF2-40B4-BE49-F238E27FC236}">
                <a16:creationId xmlns:a16="http://schemas.microsoft.com/office/drawing/2014/main" id="{0A37C202-DA7A-49FE-8C7A-70FAA46867C6}"/>
              </a:ext>
            </a:extLst>
          </p:cNvPr>
          <p:cNvSpPr/>
          <p:nvPr userDrawn="1"/>
        </p:nvSpPr>
        <p:spPr>
          <a:xfrm>
            <a:off x="7682491" y="5223156"/>
            <a:ext cx="147986" cy="160804"/>
          </a:xfrm>
          <a:custGeom>
            <a:avLst/>
            <a:gdLst>
              <a:gd name="connsiteX0" fmla="*/ 67584 w 147986"/>
              <a:gd name="connsiteY0" fmla="*/ 160804 h 160804"/>
              <a:gd name="connsiteX1" fmla="*/ 0 w 147986"/>
              <a:gd name="connsiteY1" fmla="*/ 160804 h 160804"/>
              <a:gd name="connsiteX2" fmla="*/ 79237 w 147986"/>
              <a:gd name="connsiteY2" fmla="*/ 81567 h 160804"/>
              <a:gd name="connsiteX3" fmla="*/ 0 w 147986"/>
              <a:gd name="connsiteY3" fmla="*/ 0 h 160804"/>
              <a:gd name="connsiteX4" fmla="*/ 68750 w 147986"/>
              <a:gd name="connsiteY4" fmla="*/ 0 h 160804"/>
              <a:gd name="connsiteX5" fmla="*/ 147986 w 147986"/>
              <a:gd name="connsiteY5" fmla="*/ 79237 h 160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0804">
                <a:moveTo>
                  <a:pt x="67584" y="160804"/>
                </a:moveTo>
                <a:lnTo>
                  <a:pt x="0" y="160804"/>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406" name="Freihandform: Form 405">
            <a:extLst>
              <a:ext uri="{FF2B5EF4-FFF2-40B4-BE49-F238E27FC236}">
                <a16:creationId xmlns:a16="http://schemas.microsoft.com/office/drawing/2014/main" id="{9C4CC063-F063-49A1-A191-445FCAA404F3}"/>
              </a:ext>
            </a:extLst>
          </p:cNvPr>
          <p:cNvSpPr/>
          <p:nvPr userDrawn="1"/>
        </p:nvSpPr>
        <p:spPr>
          <a:xfrm>
            <a:off x="7682491" y="5577391"/>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407" name="Freihandform: Form 406">
            <a:extLst>
              <a:ext uri="{FF2B5EF4-FFF2-40B4-BE49-F238E27FC236}">
                <a16:creationId xmlns:a16="http://schemas.microsoft.com/office/drawing/2014/main" id="{E4A5A0CA-718E-4526-8905-36FE802C3C3C}"/>
              </a:ext>
            </a:extLst>
          </p:cNvPr>
          <p:cNvSpPr/>
          <p:nvPr userDrawn="1"/>
        </p:nvSpPr>
        <p:spPr>
          <a:xfrm>
            <a:off x="7682491" y="5932792"/>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408" name="Freihandform: Form 407">
            <a:extLst>
              <a:ext uri="{FF2B5EF4-FFF2-40B4-BE49-F238E27FC236}">
                <a16:creationId xmlns:a16="http://schemas.microsoft.com/office/drawing/2014/main" id="{F21B4889-030D-4F50-9502-7C167A1D25E3}"/>
              </a:ext>
            </a:extLst>
          </p:cNvPr>
          <p:cNvSpPr/>
          <p:nvPr userDrawn="1"/>
        </p:nvSpPr>
        <p:spPr>
          <a:xfrm>
            <a:off x="7682491" y="6287027"/>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80402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80402"/>
                </a:lnTo>
                <a:close/>
              </a:path>
            </a:pathLst>
          </a:custGeom>
          <a:solidFill>
            <a:srgbClr val="EEF2F5"/>
          </a:solidFill>
          <a:ln w="11643" cap="flat">
            <a:noFill/>
            <a:prstDash val="solid"/>
            <a:miter/>
          </a:ln>
        </p:spPr>
        <p:txBody>
          <a:bodyPr rtlCol="0" anchor="ctr"/>
          <a:lstStyle/>
          <a:p>
            <a:endParaRPr lang="de-DE"/>
          </a:p>
        </p:txBody>
      </p:sp>
      <p:sp>
        <p:nvSpPr>
          <p:cNvPr id="409" name="Freihandform: Form 408">
            <a:extLst>
              <a:ext uri="{FF2B5EF4-FFF2-40B4-BE49-F238E27FC236}">
                <a16:creationId xmlns:a16="http://schemas.microsoft.com/office/drawing/2014/main" id="{F20E497A-F5DB-4F96-B341-3DF47EDCD66D}"/>
              </a:ext>
            </a:extLst>
          </p:cNvPr>
          <p:cNvSpPr/>
          <p:nvPr userDrawn="1"/>
        </p:nvSpPr>
        <p:spPr>
          <a:xfrm>
            <a:off x="7682491" y="6642428"/>
            <a:ext cx="147986" cy="161969"/>
          </a:xfrm>
          <a:custGeom>
            <a:avLst/>
            <a:gdLst>
              <a:gd name="connsiteX0" fmla="*/ 67584 w 147986"/>
              <a:gd name="connsiteY0" fmla="*/ 161969 h 161969"/>
              <a:gd name="connsiteX1" fmla="*/ 0 w 147986"/>
              <a:gd name="connsiteY1" fmla="*/ 161969 h 161969"/>
              <a:gd name="connsiteX2" fmla="*/ 79237 w 147986"/>
              <a:gd name="connsiteY2" fmla="*/ 81567 h 161969"/>
              <a:gd name="connsiteX3" fmla="*/ 0 w 147986"/>
              <a:gd name="connsiteY3" fmla="*/ 0 h 161969"/>
              <a:gd name="connsiteX4" fmla="*/ 68750 w 147986"/>
              <a:gd name="connsiteY4" fmla="*/ 0 h 161969"/>
              <a:gd name="connsiteX5" fmla="*/ 147986 w 147986"/>
              <a:gd name="connsiteY5" fmla="*/ 79237 h 16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86" h="161969">
                <a:moveTo>
                  <a:pt x="67584" y="161969"/>
                </a:moveTo>
                <a:lnTo>
                  <a:pt x="0" y="161969"/>
                </a:lnTo>
                <a:lnTo>
                  <a:pt x="79237" y="81567"/>
                </a:lnTo>
                <a:lnTo>
                  <a:pt x="0" y="0"/>
                </a:lnTo>
                <a:lnTo>
                  <a:pt x="68750" y="0"/>
                </a:lnTo>
                <a:lnTo>
                  <a:pt x="147986" y="79237"/>
                </a:lnTo>
                <a:close/>
              </a:path>
            </a:pathLst>
          </a:custGeom>
          <a:solidFill>
            <a:srgbClr val="EEF2F5"/>
          </a:solidFill>
          <a:ln w="11643" cap="flat">
            <a:noFill/>
            <a:prstDash val="solid"/>
            <a:miter/>
          </a:ln>
        </p:spPr>
        <p:txBody>
          <a:bodyPr rtlCol="0" anchor="ctr"/>
          <a:lstStyle/>
          <a:p>
            <a:endParaRPr lang="de-DE"/>
          </a:p>
        </p:txBody>
      </p:sp>
      <p:sp>
        <p:nvSpPr>
          <p:cNvPr id="410" name="Freihandform: Form 409">
            <a:extLst>
              <a:ext uri="{FF2B5EF4-FFF2-40B4-BE49-F238E27FC236}">
                <a16:creationId xmlns:a16="http://schemas.microsoft.com/office/drawing/2014/main" id="{20D583A8-A99E-46DB-A41A-3E08431963F8}"/>
              </a:ext>
            </a:extLst>
          </p:cNvPr>
          <p:cNvSpPr/>
          <p:nvPr userDrawn="1"/>
        </p:nvSpPr>
        <p:spPr>
          <a:xfrm>
            <a:off x="8028570" y="2019889"/>
            <a:ext cx="165465" cy="179448"/>
          </a:xfrm>
          <a:custGeom>
            <a:avLst/>
            <a:gdLst>
              <a:gd name="connsiteX0" fmla="*/ 75741 w 165465"/>
              <a:gd name="connsiteY0" fmla="*/ 179448 h 179448"/>
              <a:gd name="connsiteX1" fmla="*/ 0 w 165465"/>
              <a:gd name="connsiteY1" fmla="*/ 179448 h 179448"/>
              <a:gd name="connsiteX2" fmla="*/ 88559 w 165465"/>
              <a:gd name="connsiteY2" fmla="*/ 90889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411" name="Freihandform: Form 410">
            <a:extLst>
              <a:ext uri="{FF2B5EF4-FFF2-40B4-BE49-F238E27FC236}">
                <a16:creationId xmlns:a16="http://schemas.microsoft.com/office/drawing/2014/main" id="{09B60DC3-4079-4CF1-9FA2-3667E3169BE5}"/>
              </a:ext>
            </a:extLst>
          </p:cNvPr>
          <p:cNvSpPr/>
          <p:nvPr userDrawn="1"/>
        </p:nvSpPr>
        <p:spPr>
          <a:xfrm>
            <a:off x="8028570" y="2375290"/>
            <a:ext cx="165465" cy="179448"/>
          </a:xfrm>
          <a:custGeom>
            <a:avLst/>
            <a:gdLst>
              <a:gd name="connsiteX0" fmla="*/ 75741 w 165465"/>
              <a:gd name="connsiteY0" fmla="*/ 179448 h 179448"/>
              <a:gd name="connsiteX1" fmla="*/ 0 w 165465"/>
              <a:gd name="connsiteY1" fmla="*/ 179448 h 179448"/>
              <a:gd name="connsiteX2" fmla="*/ 88559 w 165465"/>
              <a:gd name="connsiteY2" fmla="*/ 90889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412" name="Freihandform: Form 411">
            <a:extLst>
              <a:ext uri="{FF2B5EF4-FFF2-40B4-BE49-F238E27FC236}">
                <a16:creationId xmlns:a16="http://schemas.microsoft.com/office/drawing/2014/main" id="{A28ECBD0-0C03-43BC-B913-C56FBFD468AD}"/>
              </a:ext>
            </a:extLst>
          </p:cNvPr>
          <p:cNvSpPr/>
          <p:nvPr userDrawn="1"/>
        </p:nvSpPr>
        <p:spPr>
          <a:xfrm>
            <a:off x="8028570" y="2729525"/>
            <a:ext cx="165465" cy="179448"/>
          </a:xfrm>
          <a:custGeom>
            <a:avLst/>
            <a:gdLst>
              <a:gd name="connsiteX0" fmla="*/ 75741 w 165465"/>
              <a:gd name="connsiteY0" fmla="*/ 179448 h 179448"/>
              <a:gd name="connsiteX1" fmla="*/ 0 w 165465"/>
              <a:gd name="connsiteY1" fmla="*/ 179448 h 179448"/>
              <a:gd name="connsiteX2" fmla="*/ 88559 w 165465"/>
              <a:gd name="connsiteY2" fmla="*/ 90889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413" name="Freihandform: Form 412">
            <a:extLst>
              <a:ext uri="{FF2B5EF4-FFF2-40B4-BE49-F238E27FC236}">
                <a16:creationId xmlns:a16="http://schemas.microsoft.com/office/drawing/2014/main" id="{81865AF8-BEB5-4A5A-A20B-57F13A2AC867}"/>
              </a:ext>
            </a:extLst>
          </p:cNvPr>
          <p:cNvSpPr/>
          <p:nvPr userDrawn="1"/>
        </p:nvSpPr>
        <p:spPr>
          <a:xfrm>
            <a:off x="8028570" y="3084926"/>
            <a:ext cx="165465" cy="179448"/>
          </a:xfrm>
          <a:custGeom>
            <a:avLst/>
            <a:gdLst>
              <a:gd name="connsiteX0" fmla="*/ 75741 w 165465"/>
              <a:gd name="connsiteY0" fmla="*/ 179448 h 179448"/>
              <a:gd name="connsiteX1" fmla="*/ 0 w 165465"/>
              <a:gd name="connsiteY1" fmla="*/ 179448 h 179448"/>
              <a:gd name="connsiteX2" fmla="*/ 88559 w 165465"/>
              <a:gd name="connsiteY2" fmla="*/ 90889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414" name="Freihandform: Form 413">
            <a:extLst>
              <a:ext uri="{FF2B5EF4-FFF2-40B4-BE49-F238E27FC236}">
                <a16:creationId xmlns:a16="http://schemas.microsoft.com/office/drawing/2014/main" id="{A77752D8-E05F-4500-BE69-EE4B76C596D4}"/>
              </a:ext>
            </a:extLst>
          </p:cNvPr>
          <p:cNvSpPr/>
          <p:nvPr userDrawn="1"/>
        </p:nvSpPr>
        <p:spPr>
          <a:xfrm>
            <a:off x="8028570" y="3439161"/>
            <a:ext cx="165465" cy="180613"/>
          </a:xfrm>
          <a:custGeom>
            <a:avLst/>
            <a:gdLst>
              <a:gd name="connsiteX0" fmla="*/ 75741 w 165465"/>
              <a:gd name="connsiteY0" fmla="*/ 180614 h 180613"/>
              <a:gd name="connsiteX1" fmla="*/ 0 w 165465"/>
              <a:gd name="connsiteY1" fmla="*/ 180614 h 180613"/>
              <a:gd name="connsiteX2" fmla="*/ 88559 w 165465"/>
              <a:gd name="connsiteY2" fmla="*/ 90889 h 180613"/>
              <a:gd name="connsiteX3" fmla="*/ 0 w 165465"/>
              <a:gd name="connsiteY3" fmla="*/ 0 h 180613"/>
              <a:gd name="connsiteX4" fmla="*/ 76906 w 165465"/>
              <a:gd name="connsiteY4" fmla="*/ 0 h 180613"/>
              <a:gd name="connsiteX5" fmla="*/ 165465 w 165465"/>
              <a:gd name="connsiteY5" fmla="*/ 88559 h 180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80613">
                <a:moveTo>
                  <a:pt x="75741" y="180614"/>
                </a:moveTo>
                <a:lnTo>
                  <a:pt x="0" y="180614"/>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415" name="Freihandform: Form 414">
            <a:extLst>
              <a:ext uri="{FF2B5EF4-FFF2-40B4-BE49-F238E27FC236}">
                <a16:creationId xmlns:a16="http://schemas.microsoft.com/office/drawing/2014/main" id="{5946384E-284D-4976-A3EC-765399D6C96E}"/>
              </a:ext>
            </a:extLst>
          </p:cNvPr>
          <p:cNvSpPr/>
          <p:nvPr userDrawn="1"/>
        </p:nvSpPr>
        <p:spPr>
          <a:xfrm>
            <a:off x="8028570" y="3794562"/>
            <a:ext cx="165465" cy="179448"/>
          </a:xfrm>
          <a:custGeom>
            <a:avLst/>
            <a:gdLst>
              <a:gd name="connsiteX0" fmla="*/ 75741 w 165465"/>
              <a:gd name="connsiteY0" fmla="*/ 179448 h 179448"/>
              <a:gd name="connsiteX1" fmla="*/ 0 w 165465"/>
              <a:gd name="connsiteY1" fmla="*/ 179448 h 179448"/>
              <a:gd name="connsiteX2" fmla="*/ 88559 w 165465"/>
              <a:gd name="connsiteY2" fmla="*/ 90889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416" name="Freihandform: Form 415">
            <a:extLst>
              <a:ext uri="{FF2B5EF4-FFF2-40B4-BE49-F238E27FC236}">
                <a16:creationId xmlns:a16="http://schemas.microsoft.com/office/drawing/2014/main" id="{90800565-457C-44CA-B5C7-654275474468}"/>
              </a:ext>
            </a:extLst>
          </p:cNvPr>
          <p:cNvSpPr/>
          <p:nvPr userDrawn="1"/>
        </p:nvSpPr>
        <p:spPr>
          <a:xfrm>
            <a:off x="8028570" y="4148797"/>
            <a:ext cx="165465" cy="180613"/>
          </a:xfrm>
          <a:custGeom>
            <a:avLst/>
            <a:gdLst>
              <a:gd name="connsiteX0" fmla="*/ 75741 w 165465"/>
              <a:gd name="connsiteY0" fmla="*/ 180613 h 180613"/>
              <a:gd name="connsiteX1" fmla="*/ 0 w 165465"/>
              <a:gd name="connsiteY1" fmla="*/ 180613 h 180613"/>
              <a:gd name="connsiteX2" fmla="*/ 88559 w 165465"/>
              <a:gd name="connsiteY2" fmla="*/ 90889 h 180613"/>
              <a:gd name="connsiteX3" fmla="*/ 0 w 165465"/>
              <a:gd name="connsiteY3" fmla="*/ 0 h 180613"/>
              <a:gd name="connsiteX4" fmla="*/ 76906 w 165465"/>
              <a:gd name="connsiteY4" fmla="*/ 0 h 180613"/>
              <a:gd name="connsiteX5" fmla="*/ 165465 w 165465"/>
              <a:gd name="connsiteY5" fmla="*/ 88559 h 180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80613">
                <a:moveTo>
                  <a:pt x="75741" y="180613"/>
                </a:moveTo>
                <a:lnTo>
                  <a:pt x="0" y="180613"/>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417" name="Freihandform: Form 416">
            <a:extLst>
              <a:ext uri="{FF2B5EF4-FFF2-40B4-BE49-F238E27FC236}">
                <a16:creationId xmlns:a16="http://schemas.microsoft.com/office/drawing/2014/main" id="{F42B60A2-B724-49DF-B9C1-DF590E07CED7}"/>
              </a:ext>
            </a:extLst>
          </p:cNvPr>
          <p:cNvSpPr/>
          <p:nvPr userDrawn="1"/>
        </p:nvSpPr>
        <p:spPr>
          <a:xfrm>
            <a:off x="8028570" y="4504198"/>
            <a:ext cx="165465" cy="179448"/>
          </a:xfrm>
          <a:custGeom>
            <a:avLst/>
            <a:gdLst>
              <a:gd name="connsiteX0" fmla="*/ 75741 w 165465"/>
              <a:gd name="connsiteY0" fmla="*/ 179448 h 179448"/>
              <a:gd name="connsiteX1" fmla="*/ 0 w 165465"/>
              <a:gd name="connsiteY1" fmla="*/ 179448 h 179448"/>
              <a:gd name="connsiteX2" fmla="*/ 88559 w 165465"/>
              <a:gd name="connsiteY2" fmla="*/ 90889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418" name="Freihandform: Form 417">
            <a:extLst>
              <a:ext uri="{FF2B5EF4-FFF2-40B4-BE49-F238E27FC236}">
                <a16:creationId xmlns:a16="http://schemas.microsoft.com/office/drawing/2014/main" id="{918786C3-E0C0-40D3-AEEC-2B0928087F67}"/>
              </a:ext>
            </a:extLst>
          </p:cNvPr>
          <p:cNvSpPr/>
          <p:nvPr userDrawn="1"/>
        </p:nvSpPr>
        <p:spPr>
          <a:xfrm>
            <a:off x="8028570" y="4859598"/>
            <a:ext cx="165465" cy="179448"/>
          </a:xfrm>
          <a:custGeom>
            <a:avLst/>
            <a:gdLst>
              <a:gd name="connsiteX0" fmla="*/ 75741 w 165465"/>
              <a:gd name="connsiteY0" fmla="*/ 179448 h 179448"/>
              <a:gd name="connsiteX1" fmla="*/ 0 w 165465"/>
              <a:gd name="connsiteY1" fmla="*/ 179448 h 179448"/>
              <a:gd name="connsiteX2" fmla="*/ 88559 w 165465"/>
              <a:gd name="connsiteY2" fmla="*/ 89724 h 179448"/>
              <a:gd name="connsiteX3" fmla="*/ 0 w 165465"/>
              <a:gd name="connsiteY3" fmla="*/ 0 h 179448"/>
              <a:gd name="connsiteX4" fmla="*/ 76906 w 165465"/>
              <a:gd name="connsiteY4" fmla="*/ 0 h 179448"/>
              <a:gd name="connsiteX5" fmla="*/ 165465 w 165465"/>
              <a:gd name="connsiteY5" fmla="*/ 87394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89724"/>
                </a:lnTo>
                <a:lnTo>
                  <a:pt x="0" y="0"/>
                </a:lnTo>
                <a:lnTo>
                  <a:pt x="76906" y="0"/>
                </a:lnTo>
                <a:lnTo>
                  <a:pt x="165465" y="87394"/>
                </a:lnTo>
                <a:close/>
              </a:path>
            </a:pathLst>
          </a:custGeom>
          <a:solidFill>
            <a:srgbClr val="EEF2F5"/>
          </a:solidFill>
          <a:ln w="11643" cap="flat">
            <a:noFill/>
            <a:prstDash val="solid"/>
            <a:miter/>
          </a:ln>
        </p:spPr>
        <p:txBody>
          <a:bodyPr rtlCol="0" anchor="ctr"/>
          <a:lstStyle/>
          <a:p>
            <a:endParaRPr lang="de-DE"/>
          </a:p>
        </p:txBody>
      </p:sp>
      <p:sp>
        <p:nvSpPr>
          <p:cNvPr id="419" name="Freihandform: Form 418">
            <a:extLst>
              <a:ext uri="{FF2B5EF4-FFF2-40B4-BE49-F238E27FC236}">
                <a16:creationId xmlns:a16="http://schemas.microsoft.com/office/drawing/2014/main" id="{5A95C5AF-A7DE-46D9-BD81-B38E5EE66F36}"/>
              </a:ext>
            </a:extLst>
          </p:cNvPr>
          <p:cNvSpPr/>
          <p:nvPr userDrawn="1"/>
        </p:nvSpPr>
        <p:spPr>
          <a:xfrm>
            <a:off x="8028570" y="5213834"/>
            <a:ext cx="165465" cy="179448"/>
          </a:xfrm>
          <a:custGeom>
            <a:avLst/>
            <a:gdLst>
              <a:gd name="connsiteX0" fmla="*/ 75741 w 165465"/>
              <a:gd name="connsiteY0" fmla="*/ 179448 h 179448"/>
              <a:gd name="connsiteX1" fmla="*/ 0 w 165465"/>
              <a:gd name="connsiteY1" fmla="*/ 179448 h 179448"/>
              <a:gd name="connsiteX2" fmla="*/ 88559 w 165465"/>
              <a:gd name="connsiteY2" fmla="*/ 90890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90"/>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420" name="Freihandform: Form 419">
            <a:extLst>
              <a:ext uri="{FF2B5EF4-FFF2-40B4-BE49-F238E27FC236}">
                <a16:creationId xmlns:a16="http://schemas.microsoft.com/office/drawing/2014/main" id="{E84E62F6-ABA2-4007-8DEC-26ABA65D4FD4}"/>
              </a:ext>
            </a:extLst>
          </p:cNvPr>
          <p:cNvSpPr/>
          <p:nvPr userDrawn="1"/>
        </p:nvSpPr>
        <p:spPr>
          <a:xfrm>
            <a:off x="8028570" y="5569234"/>
            <a:ext cx="165465" cy="179448"/>
          </a:xfrm>
          <a:custGeom>
            <a:avLst/>
            <a:gdLst>
              <a:gd name="connsiteX0" fmla="*/ 75741 w 165465"/>
              <a:gd name="connsiteY0" fmla="*/ 179448 h 179448"/>
              <a:gd name="connsiteX1" fmla="*/ 0 w 165465"/>
              <a:gd name="connsiteY1" fmla="*/ 179448 h 179448"/>
              <a:gd name="connsiteX2" fmla="*/ 88559 w 165465"/>
              <a:gd name="connsiteY2" fmla="*/ 89724 h 179448"/>
              <a:gd name="connsiteX3" fmla="*/ 0 w 165465"/>
              <a:gd name="connsiteY3" fmla="*/ 0 h 179448"/>
              <a:gd name="connsiteX4" fmla="*/ 76906 w 165465"/>
              <a:gd name="connsiteY4" fmla="*/ 0 h 179448"/>
              <a:gd name="connsiteX5" fmla="*/ 165465 w 165465"/>
              <a:gd name="connsiteY5" fmla="*/ 87394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89724"/>
                </a:lnTo>
                <a:lnTo>
                  <a:pt x="0" y="0"/>
                </a:lnTo>
                <a:lnTo>
                  <a:pt x="76906" y="0"/>
                </a:lnTo>
                <a:lnTo>
                  <a:pt x="165465" y="87394"/>
                </a:lnTo>
                <a:close/>
              </a:path>
            </a:pathLst>
          </a:custGeom>
          <a:solidFill>
            <a:srgbClr val="EEF2F5"/>
          </a:solidFill>
          <a:ln w="11643" cap="flat">
            <a:noFill/>
            <a:prstDash val="solid"/>
            <a:miter/>
          </a:ln>
        </p:spPr>
        <p:txBody>
          <a:bodyPr rtlCol="0" anchor="ctr"/>
          <a:lstStyle/>
          <a:p>
            <a:endParaRPr lang="de-DE"/>
          </a:p>
        </p:txBody>
      </p:sp>
      <p:sp>
        <p:nvSpPr>
          <p:cNvPr id="421" name="Freihandform: Form 420">
            <a:extLst>
              <a:ext uri="{FF2B5EF4-FFF2-40B4-BE49-F238E27FC236}">
                <a16:creationId xmlns:a16="http://schemas.microsoft.com/office/drawing/2014/main" id="{BA0B5D5D-DD77-4EAC-9B17-FCAA6E650A70}"/>
              </a:ext>
            </a:extLst>
          </p:cNvPr>
          <p:cNvSpPr/>
          <p:nvPr userDrawn="1"/>
        </p:nvSpPr>
        <p:spPr>
          <a:xfrm>
            <a:off x="8028570" y="5923469"/>
            <a:ext cx="165465" cy="179448"/>
          </a:xfrm>
          <a:custGeom>
            <a:avLst/>
            <a:gdLst>
              <a:gd name="connsiteX0" fmla="*/ 75741 w 165465"/>
              <a:gd name="connsiteY0" fmla="*/ 179448 h 179448"/>
              <a:gd name="connsiteX1" fmla="*/ 0 w 165465"/>
              <a:gd name="connsiteY1" fmla="*/ 179448 h 179448"/>
              <a:gd name="connsiteX2" fmla="*/ 88559 w 165465"/>
              <a:gd name="connsiteY2" fmla="*/ 90890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90"/>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422" name="Freihandform: Form 421">
            <a:extLst>
              <a:ext uri="{FF2B5EF4-FFF2-40B4-BE49-F238E27FC236}">
                <a16:creationId xmlns:a16="http://schemas.microsoft.com/office/drawing/2014/main" id="{5ED5F732-E2A1-428A-B725-5499FA571055}"/>
              </a:ext>
            </a:extLst>
          </p:cNvPr>
          <p:cNvSpPr/>
          <p:nvPr userDrawn="1"/>
        </p:nvSpPr>
        <p:spPr>
          <a:xfrm>
            <a:off x="8028570" y="6278870"/>
            <a:ext cx="165465" cy="179448"/>
          </a:xfrm>
          <a:custGeom>
            <a:avLst/>
            <a:gdLst>
              <a:gd name="connsiteX0" fmla="*/ 75741 w 165465"/>
              <a:gd name="connsiteY0" fmla="*/ 179448 h 179448"/>
              <a:gd name="connsiteX1" fmla="*/ 0 w 165465"/>
              <a:gd name="connsiteY1" fmla="*/ 179448 h 179448"/>
              <a:gd name="connsiteX2" fmla="*/ 88559 w 165465"/>
              <a:gd name="connsiteY2" fmla="*/ 89724 h 179448"/>
              <a:gd name="connsiteX3" fmla="*/ 0 w 165465"/>
              <a:gd name="connsiteY3" fmla="*/ 0 h 179448"/>
              <a:gd name="connsiteX4" fmla="*/ 76906 w 165465"/>
              <a:gd name="connsiteY4" fmla="*/ 0 h 179448"/>
              <a:gd name="connsiteX5" fmla="*/ 165465 w 165465"/>
              <a:gd name="connsiteY5" fmla="*/ 87394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89724"/>
                </a:lnTo>
                <a:lnTo>
                  <a:pt x="0" y="0"/>
                </a:lnTo>
                <a:lnTo>
                  <a:pt x="76906" y="0"/>
                </a:lnTo>
                <a:lnTo>
                  <a:pt x="165465" y="87394"/>
                </a:lnTo>
                <a:close/>
              </a:path>
            </a:pathLst>
          </a:custGeom>
          <a:solidFill>
            <a:srgbClr val="EEF2F5"/>
          </a:solidFill>
          <a:ln w="11643" cap="flat">
            <a:noFill/>
            <a:prstDash val="solid"/>
            <a:miter/>
          </a:ln>
        </p:spPr>
        <p:txBody>
          <a:bodyPr rtlCol="0" anchor="ctr"/>
          <a:lstStyle/>
          <a:p>
            <a:endParaRPr lang="de-DE"/>
          </a:p>
        </p:txBody>
      </p:sp>
      <p:sp>
        <p:nvSpPr>
          <p:cNvPr id="423" name="Freihandform: Form 422">
            <a:extLst>
              <a:ext uri="{FF2B5EF4-FFF2-40B4-BE49-F238E27FC236}">
                <a16:creationId xmlns:a16="http://schemas.microsoft.com/office/drawing/2014/main" id="{7CB387CA-4891-4983-8E5A-E36398952292}"/>
              </a:ext>
            </a:extLst>
          </p:cNvPr>
          <p:cNvSpPr/>
          <p:nvPr userDrawn="1"/>
        </p:nvSpPr>
        <p:spPr>
          <a:xfrm>
            <a:off x="8028570" y="6633106"/>
            <a:ext cx="165465" cy="179448"/>
          </a:xfrm>
          <a:custGeom>
            <a:avLst/>
            <a:gdLst>
              <a:gd name="connsiteX0" fmla="*/ 75741 w 165465"/>
              <a:gd name="connsiteY0" fmla="*/ 179448 h 179448"/>
              <a:gd name="connsiteX1" fmla="*/ 0 w 165465"/>
              <a:gd name="connsiteY1" fmla="*/ 179448 h 179448"/>
              <a:gd name="connsiteX2" fmla="*/ 88559 w 165465"/>
              <a:gd name="connsiteY2" fmla="*/ 90889 h 179448"/>
              <a:gd name="connsiteX3" fmla="*/ 0 w 165465"/>
              <a:gd name="connsiteY3" fmla="*/ 0 h 179448"/>
              <a:gd name="connsiteX4" fmla="*/ 76906 w 165465"/>
              <a:gd name="connsiteY4" fmla="*/ 0 h 179448"/>
              <a:gd name="connsiteX5" fmla="*/ 165465 w 165465"/>
              <a:gd name="connsiteY5" fmla="*/ 88559 h 17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465" h="179448">
                <a:moveTo>
                  <a:pt x="75741" y="179448"/>
                </a:moveTo>
                <a:lnTo>
                  <a:pt x="0" y="179448"/>
                </a:lnTo>
                <a:lnTo>
                  <a:pt x="88559" y="90889"/>
                </a:lnTo>
                <a:lnTo>
                  <a:pt x="0" y="0"/>
                </a:lnTo>
                <a:lnTo>
                  <a:pt x="76906" y="0"/>
                </a:lnTo>
                <a:lnTo>
                  <a:pt x="165465" y="88559"/>
                </a:lnTo>
                <a:close/>
              </a:path>
            </a:pathLst>
          </a:custGeom>
          <a:solidFill>
            <a:srgbClr val="EEF2F5"/>
          </a:solidFill>
          <a:ln w="11643" cap="flat">
            <a:noFill/>
            <a:prstDash val="solid"/>
            <a:miter/>
          </a:ln>
        </p:spPr>
        <p:txBody>
          <a:bodyPr rtlCol="0" anchor="ctr"/>
          <a:lstStyle/>
          <a:p>
            <a:endParaRPr lang="de-DE"/>
          </a:p>
        </p:txBody>
      </p:sp>
      <p:sp>
        <p:nvSpPr>
          <p:cNvPr id="424" name="Freihandform: Form 423">
            <a:extLst>
              <a:ext uri="{FF2B5EF4-FFF2-40B4-BE49-F238E27FC236}">
                <a16:creationId xmlns:a16="http://schemas.microsoft.com/office/drawing/2014/main" id="{12CEA374-A1E4-4EDF-A88E-97BA00CE075E}"/>
              </a:ext>
            </a:extLst>
          </p:cNvPr>
          <p:cNvSpPr/>
          <p:nvPr userDrawn="1"/>
        </p:nvSpPr>
        <p:spPr>
          <a:xfrm>
            <a:off x="8375813" y="2011732"/>
            <a:ext cx="180613" cy="196926"/>
          </a:xfrm>
          <a:custGeom>
            <a:avLst/>
            <a:gdLst>
              <a:gd name="connsiteX0" fmla="*/ 82733 w 180613"/>
              <a:gd name="connsiteY0" fmla="*/ 196927 h 196926"/>
              <a:gd name="connsiteX1" fmla="*/ 0 w 180613"/>
              <a:gd name="connsiteY1" fmla="*/ 196927 h 196926"/>
              <a:gd name="connsiteX2" fmla="*/ 96715 w 180613"/>
              <a:gd name="connsiteY2" fmla="*/ 99046 h 196926"/>
              <a:gd name="connsiteX3" fmla="*/ 0 w 180613"/>
              <a:gd name="connsiteY3" fmla="*/ 0 h 196926"/>
              <a:gd name="connsiteX4" fmla="*/ 83898 w 180613"/>
              <a:gd name="connsiteY4" fmla="*/ 0 h 196926"/>
              <a:gd name="connsiteX5" fmla="*/ 180613 w 180613"/>
              <a:gd name="connsiteY5" fmla="*/ 96716 h 196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6926">
                <a:moveTo>
                  <a:pt x="82733" y="196927"/>
                </a:moveTo>
                <a:lnTo>
                  <a:pt x="0" y="196927"/>
                </a:lnTo>
                <a:lnTo>
                  <a:pt x="96715" y="99046"/>
                </a:lnTo>
                <a:lnTo>
                  <a:pt x="0" y="0"/>
                </a:lnTo>
                <a:lnTo>
                  <a:pt x="83898" y="0"/>
                </a:lnTo>
                <a:lnTo>
                  <a:pt x="180613" y="96716"/>
                </a:lnTo>
                <a:close/>
              </a:path>
            </a:pathLst>
          </a:custGeom>
          <a:solidFill>
            <a:srgbClr val="EEF2F5"/>
          </a:solidFill>
          <a:ln w="11643" cap="flat">
            <a:noFill/>
            <a:prstDash val="solid"/>
            <a:miter/>
          </a:ln>
        </p:spPr>
        <p:txBody>
          <a:bodyPr rtlCol="0" anchor="ctr"/>
          <a:lstStyle/>
          <a:p>
            <a:endParaRPr lang="de-DE"/>
          </a:p>
        </p:txBody>
      </p:sp>
      <p:sp>
        <p:nvSpPr>
          <p:cNvPr id="425" name="Freihandform: Form 424">
            <a:extLst>
              <a:ext uri="{FF2B5EF4-FFF2-40B4-BE49-F238E27FC236}">
                <a16:creationId xmlns:a16="http://schemas.microsoft.com/office/drawing/2014/main" id="{56C3244B-93A0-4C8E-AF15-1B7B4B778A1C}"/>
              </a:ext>
            </a:extLst>
          </p:cNvPr>
          <p:cNvSpPr/>
          <p:nvPr userDrawn="1"/>
        </p:nvSpPr>
        <p:spPr>
          <a:xfrm>
            <a:off x="8375813" y="2367133"/>
            <a:ext cx="180613" cy="195761"/>
          </a:xfrm>
          <a:custGeom>
            <a:avLst/>
            <a:gdLst>
              <a:gd name="connsiteX0" fmla="*/ 82733 w 180613"/>
              <a:gd name="connsiteY0" fmla="*/ 195762 h 195761"/>
              <a:gd name="connsiteX1" fmla="*/ 0 w 180613"/>
              <a:gd name="connsiteY1" fmla="*/ 195762 h 195761"/>
              <a:gd name="connsiteX2" fmla="*/ 96715 w 180613"/>
              <a:gd name="connsiteY2" fmla="*/ 99046 h 195761"/>
              <a:gd name="connsiteX3" fmla="*/ 0 w 180613"/>
              <a:gd name="connsiteY3" fmla="*/ 0 h 195761"/>
              <a:gd name="connsiteX4" fmla="*/ 83898 w 180613"/>
              <a:gd name="connsiteY4" fmla="*/ 0 h 195761"/>
              <a:gd name="connsiteX5" fmla="*/ 180613 w 180613"/>
              <a:gd name="connsiteY5" fmla="*/ 95550 h 19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5761">
                <a:moveTo>
                  <a:pt x="82733" y="195762"/>
                </a:moveTo>
                <a:lnTo>
                  <a:pt x="0" y="195762"/>
                </a:lnTo>
                <a:lnTo>
                  <a:pt x="96715" y="99046"/>
                </a:lnTo>
                <a:lnTo>
                  <a:pt x="0" y="0"/>
                </a:lnTo>
                <a:lnTo>
                  <a:pt x="83898" y="0"/>
                </a:lnTo>
                <a:lnTo>
                  <a:pt x="180613" y="95550"/>
                </a:lnTo>
                <a:close/>
              </a:path>
            </a:pathLst>
          </a:custGeom>
          <a:solidFill>
            <a:srgbClr val="EEF2F5"/>
          </a:solidFill>
          <a:ln w="11643" cap="flat">
            <a:noFill/>
            <a:prstDash val="solid"/>
            <a:miter/>
          </a:ln>
        </p:spPr>
        <p:txBody>
          <a:bodyPr rtlCol="0" anchor="ctr"/>
          <a:lstStyle/>
          <a:p>
            <a:endParaRPr lang="de-DE"/>
          </a:p>
        </p:txBody>
      </p:sp>
      <p:sp>
        <p:nvSpPr>
          <p:cNvPr id="426" name="Freihandform: Form 425">
            <a:extLst>
              <a:ext uri="{FF2B5EF4-FFF2-40B4-BE49-F238E27FC236}">
                <a16:creationId xmlns:a16="http://schemas.microsoft.com/office/drawing/2014/main" id="{5EF2422E-3B65-405D-A92A-FC38539348AE}"/>
              </a:ext>
            </a:extLst>
          </p:cNvPr>
          <p:cNvSpPr/>
          <p:nvPr userDrawn="1"/>
        </p:nvSpPr>
        <p:spPr>
          <a:xfrm>
            <a:off x="8375813" y="2721368"/>
            <a:ext cx="180613" cy="196926"/>
          </a:xfrm>
          <a:custGeom>
            <a:avLst/>
            <a:gdLst>
              <a:gd name="connsiteX0" fmla="*/ 82733 w 180613"/>
              <a:gd name="connsiteY0" fmla="*/ 196927 h 196926"/>
              <a:gd name="connsiteX1" fmla="*/ 0 w 180613"/>
              <a:gd name="connsiteY1" fmla="*/ 196927 h 196926"/>
              <a:gd name="connsiteX2" fmla="*/ 96715 w 180613"/>
              <a:gd name="connsiteY2" fmla="*/ 99046 h 196926"/>
              <a:gd name="connsiteX3" fmla="*/ 0 w 180613"/>
              <a:gd name="connsiteY3" fmla="*/ 0 h 196926"/>
              <a:gd name="connsiteX4" fmla="*/ 83898 w 180613"/>
              <a:gd name="connsiteY4" fmla="*/ 0 h 196926"/>
              <a:gd name="connsiteX5" fmla="*/ 180613 w 180613"/>
              <a:gd name="connsiteY5" fmla="*/ 96716 h 196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6926">
                <a:moveTo>
                  <a:pt x="82733" y="196927"/>
                </a:moveTo>
                <a:lnTo>
                  <a:pt x="0" y="196927"/>
                </a:lnTo>
                <a:lnTo>
                  <a:pt x="96715" y="99046"/>
                </a:lnTo>
                <a:lnTo>
                  <a:pt x="0" y="0"/>
                </a:lnTo>
                <a:lnTo>
                  <a:pt x="83898" y="0"/>
                </a:lnTo>
                <a:lnTo>
                  <a:pt x="180613" y="96716"/>
                </a:lnTo>
                <a:close/>
              </a:path>
            </a:pathLst>
          </a:custGeom>
          <a:solidFill>
            <a:srgbClr val="EEF2F5"/>
          </a:solidFill>
          <a:ln w="11643" cap="flat">
            <a:noFill/>
            <a:prstDash val="solid"/>
            <a:miter/>
          </a:ln>
        </p:spPr>
        <p:txBody>
          <a:bodyPr rtlCol="0" anchor="ctr"/>
          <a:lstStyle/>
          <a:p>
            <a:endParaRPr lang="de-DE"/>
          </a:p>
        </p:txBody>
      </p:sp>
      <p:sp>
        <p:nvSpPr>
          <p:cNvPr id="427" name="Freihandform: Form 426">
            <a:extLst>
              <a:ext uri="{FF2B5EF4-FFF2-40B4-BE49-F238E27FC236}">
                <a16:creationId xmlns:a16="http://schemas.microsoft.com/office/drawing/2014/main" id="{7C3432CB-7D40-43FB-A958-E3C261C7469F}"/>
              </a:ext>
            </a:extLst>
          </p:cNvPr>
          <p:cNvSpPr/>
          <p:nvPr userDrawn="1"/>
        </p:nvSpPr>
        <p:spPr>
          <a:xfrm>
            <a:off x="8375813" y="3076769"/>
            <a:ext cx="180613" cy="195761"/>
          </a:xfrm>
          <a:custGeom>
            <a:avLst/>
            <a:gdLst>
              <a:gd name="connsiteX0" fmla="*/ 82733 w 180613"/>
              <a:gd name="connsiteY0" fmla="*/ 195762 h 195761"/>
              <a:gd name="connsiteX1" fmla="*/ 0 w 180613"/>
              <a:gd name="connsiteY1" fmla="*/ 195762 h 195761"/>
              <a:gd name="connsiteX2" fmla="*/ 96715 w 180613"/>
              <a:gd name="connsiteY2" fmla="*/ 99046 h 195761"/>
              <a:gd name="connsiteX3" fmla="*/ 0 w 180613"/>
              <a:gd name="connsiteY3" fmla="*/ 0 h 195761"/>
              <a:gd name="connsiteX4" fmla="*/ 83898 w 180613"/>
              <a:gd name="connsiteY4" fmla="*/ 0 h 195761"/>
              <a:gd name="connsiteX5" fmla="*/ 180613 w 180613"/>
              <a:gd name="connsiteY5" fmla="*/ 95550 h 19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5761">
                <a:moveTo>
                  <a:pt x="82733" y="195762"/>
                </a:moveTo>
                <a:lnTo>
                  <a:pt x="0" y="195762"/>
                </a:lnTo>
                <a:lnTo>
                  <a:pt x="96715" y="99046"/>
                </a:lnTo>
                <a:lnTo>
                  <a:pt x="0" y="0"/>
                </a:lnTo>
                <a:lnTo>
                  <a:pt x="83898" y="0"/>
                </a:lnTo>
                <a:lnTo>
                  <a:pt x="180613" y="95550"/>
                </a:lnTo>
                <a:close/>
              </a:path>
            </a:pathLst>
          </a:custGeom>
          <a:solidFill>
            <a:srgbClr val="EEF2F5"/>
          </a:solidFill>
          <a:ln w="11643" cap="flat">
            <a:noFill/>
            <a:prstDash val="solid"/>
            <a:miter/>
          </a:ln>
        </p:spPr>
        <p:txBody>
          <a:bodyPr rtlCol="0" anchor="ctr"/>
          <a:lstStyle/>
          <a:p>
            <a:endParaRPr lang="de-DE"/>
          </a:p>
        </p:txBody>
      </p:sp>
      <p:sp>
        <p:nvSpPr>
          <p:cNvPr id="428" name="Freihandform: Form 427">
            <a:extLst>
              <a:ext uri="{FF2B5EF4-FFF2-40B4-BE49-F238E27FC236}">
                <a16:creationId xmlns:a16="http://schemas.microsoft.com/office/drawing/2014/main" id="{95CDAEC0-EF92-40D9-B669-FB01CC74ECF7}"/>
              </a:ext>
            </a:extLst>
          </p:cNvPr>
          <p:cNvSpPr/>
          <p:nvPr userDrawn="1"/>
        </p:nvSpPr>
        <p:spPr>
          <a:xfrm>
            <a:off x="8375813" y="3431004"/>
            <a:ext cx="180613" cy="196926"/>
          </a:xfrm>
          <a:custGeom>
            <a:avLst/>
            <a:gdLst>
              <a:gd name="connsiteX0" fmla="*/ 82733 w 180613"/>
              <a:gd name="connsiteY0" fmla="*/ 196927 h 196926"/>
              <a:gd name="connsiteX1" fmla="*/ 0 w 180613"/>
              <a:gd name="connsiteY1" fmla="*/ 196927 h 196926"/>
              <a:gd name="connsiteX2" fmla="*/ 96715 w 180613"/>
              <a:gd name="connsiteY2" fmla="*/ 99046 h 196926"/>
              <a:gd name="connsiteX3" fmla="*/ 0 w 180613"/>
              <a:gd name="connsiteY3" fmla="*/ 0 h 196926"/>
              <a:gd name="connsiteX4" fmla="*/ 83898 w 180613"/>
              <a:gd name="connsiteY4" fmla="*/ 0 h 196926"/>
              <a:gd name="connsiteX5" fmla="*/ 180613 w 180613"/>
              <a:gd name="connsiteY5" fmla="*/ 96716 h 196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6926">
                <a:moveTo>
                  <a:pt x="82733" y="196927"/>
                </a:moveTo>
                <a:lnTo>
                  <a:pt x="0" y="196927"/>
                </a:lnTo>
                <a:lnTo>
                  <a:pt x="96715" y="99046"/>
                </a:lnTo>
                <a:lnTo>
                  <a:pt x="0" y="0"/>
                </a:lnTo>
                <a:lnTo>
                  <a:pt x="83898" y="0"/>
                </a:lnTo>
                <a:lnTo>
                  <a:pt x="180613" y="96716"/>
                </a:lnTo>
                <a:close/>
              </a:path>
            </a:pathLst>
          </a:custGeom>
          <a:solidFill>
            <a:srgbClr val="EEF2F5"/>
          </a:solidFill>
          <a:ln w="11643" cap="flat">
            <a:noFill/>
            <a:prstDash val="solid"/>
            <a:miter/>
          </a:ln>
        </p:spPr>
        <p:txBody>
          <a:bodyPr rtlCol="0" anchor="ctr"/>
          <a:lstStyle/>
          <a:p>
            <a:endParaRPr lang="de-DE"/>
          </a:p>
        </p:txBody>
      </p:sp>
      <p:sp>
        <p:nvSpPr>
          <p:cNvPr id="429" name="Freihandform: Form 428">
            <a:extLst>
              <a:ext uri="{FF2B5EF4-FFF2-40B4-BE49-F238E27FC236}">
                <a16:creationId xmlns:a16="http://schemas.microsoft.com/office/drawing/2014/main" id="{B918A736-A720-49F8-86AD-DB321FB14B75}"/>
              </a:ext>
            </a:extLst>
          </p:cNvPr>
          <p:cNvSpPr/>
          <p:nvPr userDrawn="1"/>
        </p:nvSpPr>
        <p:spPr>
          <a:xfrm>
            <a:off x="8375813" y="3786405"/>
            <a:ext cx="180613" cy="195761"/>
          </a:xfrm>
          <a:custGeom>
            <a:avLst/>
            <a:gdLst>
              <a:gd name="connsiteX0" fmla="*/ 82733 w 180613"/>
              <a:gd name="connsiteY0" fmla="*/ 195762 h 195761"/>
              <a:gd name="connsiteX1" fmla="*/ 0 w 180613"/>
              <a:gd name="connsiteY1" fmla="*/ 195762 h 195761"/>
              <a:gd name="connsiteX2" fmla="*/ 96715 w 180613"/>
              <a:gd name="connsiteY2" fmla="*/ 99046 h 195761"/>
              <a:gd name="connsiteX3" fmla="*/ 0 w 180613"/>
              <a:gd name="connsiteY3" fmla="*/ 0 h 195761"/>
              <a:gd name="connsiteX4" fmla="*/ 83898 w 180613"/>
              <a:gd name="connsiteY4" fmla="*/ 0 h 195761"/>
              <a:gd name="connsiteX5" fmla="*/ 180613 w 180613"/>
              <a:gd name="connsiteY5" fmla="*/ 96716 h 19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5761">
                <a:moveTo>
                  <a:pt x="82733" y="195762"/>
                </a:moveTo>
                <a:lnTo>
                  <a:pt x="0" y="195762"/>
                </a:lnTo>
                <a:lnTo>
                  <a:pt x="96715" y="99046"/>
                </a:lnTo>
                <a:lnTo>
                  <a:pt x="0" y="0"/>
                </a:lnTo>
                <a:lnTo>
                  <a:pt x="83898" y="0"/>
                </a:lnTo>
                <a:lnTo>
                  <a:pt x="180613" y="96716"/>
                </a:lnTo>
                <a:close/>
              </a:path>
            </a:pathLst>
          </a:custGeom>
          <a:solidFill>
            <a:srgbClr val="EEF2F5"/>
          </a:solidFill>
          <a:ln w="11643" cap="flat">
            <a:noFill/>
            <a:prstDash val="solid"/>
            <a:miter/>
          </a:ln>
        </p:spPr>
        <p:txBody>
          <a:bodyPr rtlCol="0" anchor="ctr"/>
          <a:lstStyle/>
          <a:p>
            <a:endParaRPr lang="de-DE"/>
          </a:p>
        </p:txBody>
      </p:sp>
      <p:sp>
        <p:nvSpPr>
          <p:cNvPr id="430" name="Freihandform: Form 429">
            <a:extLst>
              <a:ext uri="{FF2B5EF4-FFF2-40B4-BE49-F238E27FC236}">
                <a16:creationId xmlns:a16="http://schemas.microsoft.com/office/drawing/2014/main" id="{CC0A0D46-E810-4C74-8A3D-EF4F2E9D55A7}"/>
              </a:ext>
            </a:extLst>
          </p:cNvPr>
          <p:cNvSpPr/>
          <p:nvPr userDrawn="1"/>
        </p:nvSpPr>
        <p:spPr>
          <a:xfrm>
            <a:off x="8375813" y="4140640"/>
            <a:ext cx="180613" cy="196926"/>
          </a:xfrm>
          <a:custGeom>
            <a:avLst/>
            <a:gdLst>
              <a:gd name="connsiteX0" fmla="*/ 82733 w 180613"/>
              <a:gd name="connsiteY0" fmla="*/ 196927 h 196926"/>
              <a:gd name="connsiteX1" fmla="*/ 0 w 180613"/>
              <a:gd name="connsiteY1" fmla="*/ 196927 h 196926"/>
              <a:gd name="connsiteX2" fmla="*/ 96715 w 180613"/>
              <a:gd name="connsiteY2" fmla="*/ 99046 h 196926"/>
              <a:gd name="connsiteX3" fmla="*/ 0 w 180613"/>
              <a:gd name="connsiteY3" fmla="*/ 0 h 196926"/>
              <a:gd name="connsiteX4" fmla="*/ 83898 w 180613"/>
              <a:gd name="connsiteY4" fmla="*/ 0 h 196926"/>
              <a:gd name="connsiteX5" fmla="*/ 180613 w 180613"/>
              <a:gd name="connsiteY5" fmla="*/ 96716 h 196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6926">
                <a:moveTo>
                  <a:pt x="82733" y="196927"/>
                </a:moveTo>
                <a:lnTo>
                  <a:pt x="0" y="196927"/>
                </a:lnTo>
                <a:lnTo>
                  <a:pt x="96715" y="99046"/>
                </a:lnTo>
                <a:lnTo>
                  <a:pt x="0" y="0"/>
                </a:lnTo>
                <a:lnTo>
                  <a:pt x="83898" y="0"/>
                </a:lnTo>
                <a:lnTo>
                  <a:pt x="180613" y="96716"/>
                </a:lnTo>
                <a:close/>
              </a:path>
            </a:pathLst>
          </a:custGeom>
          <a:solidFill>
            <a:srgbClr val="EEF2F5"/>
          </a:solidFill>
          <a:ln w="11643" cap="flat">
            <a:noFill/>
            <a:prstDash val="solid"/>
            <a:miter/>
          </a:ln>
        </p:spPr>
        <p:txBody>
          <a:bodyPr rtlCol="0" anchor="ctr"/>
          <a:lstStyle/>
          <a:p>
            <a:endParaRPr lang="de-DE"/>
          </a:p>
        </p:txBody>
      </p:sp>
      <p:sp>
        <p:nvSpPr>
          <p:cNvPr id="431" name="Freihandform: Form 430">
            <a:extLst>
              <a:ext uri="{FF2B5EF4-FFF2-40B4-BE49-F238E27FC236}">
                <a16:creationId xmlns:a16="http://schemas.microsoft.com/office/drawing/2014/main" id="{34C0EB52-123E-44D9-9EC9-7D7BEF0ABD80}"/>
              </a:ext>
            </a:extLst>
          </p:cNvPr>
          <p:cNvSpPr/>
          <p:nvPr userDrawn="1"/>
        </p:nvSpPr>
        <p:spPr>
          <a:xfrm>
            <a:off x="8375813" y="4496041"/>
            <a:ext cx="180613" cy="195761"/>
          </a:xfrm>
          <a:custGeom>
            <a:avLst/>
            <a:gdLst>
              <a:gd name="connsiteX0" fmla="*/ 82733 w 180613"/>
              <a:gd name="connsiteY0" fmla="*/ 195762 h 195761"/>
              <a:gd name="connsiteX1" fmla="*/ 0 w 180613"/>
              <a:gd name="connsiteY1" fmla="*/ 195762 h 195761"/>
              <a:gd name="connsiteX2" fmla="*/ 96715 w 180613"/>
              <a:gd name="connsiteY2" fmla="*/ 99046 h 195761"/>
              <a:gd name="connsiteX3" fmla="*/ 0 w 180613"/>
              <a:gd name="connsiteY3" fmla="*/ 0 h 195761"/>
              <a:gd name="connsiteX4" fmla="*/ 83898 w 180613"/>
              <a:gd name="connsiteY4" fmla="*/ 0 h 195761"/>
              <a:gd name="connsiteX5" fmla="*/ 180613 w 180613"/>
              <a:gd name="connsiteY5" fmla="*/ 96716 h 19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5761">
                <a:moveTo>
                  <a:pt x="82733" y="195762"/>
                </a:moveTo>
                <a:lnTo>
                  <a:pt x="0" y="195762"/>
                </a:lnTo>
                <a:lnTo>
                  <a:pt x="96715" y="99046"/>
                </a:lnTo>
                <a:lnTo>
                  <a:pt x="0" y="0"/>
                </a:lnTo>
                <a:lnTo>
                  <a:pt x="83898" y="0"/>
                </a:lnTo>
                <a:lnTo>
                  <a:pt x="180613" y="96716"/>
                </a:lnTo>
                <a:close/>
              </a:path>
            </a:pathLst>
          </a:custGeom>
          <a:solidFill>
            <a:srgbClr val="EEF2F5"/>
          </a:solidFill>
          <a:ln w="11643" cap="flat">
            <a:noFill/>
            <a:prstDash val="solid"/>
            <a:miter/>
          </a:ln>
        </p:spPr>
        <p:txBody>
          <a:bodyPr rtlCol="0" anchor="ctr"/>
          <a:lstStyle/>
          <a:p>
            <a:endParaRPr lang="de-DE"/>
          </a:p>
        </p:txBody>
      </p:sp>
      <p:sp>
        <p:nvSpPr>
          <p:cNvPr id="432" name="Freihandform: Form 431">
            <a:extLst>
              <a:ext uri="{FF2B5EF4-FFF2-40B4-BE49-F238E27FC236}">
                <a16:creationId xmlns:a16="http://schemas.microsoft.com/office/drawing/2014/main" id="{5219E8F1-626A-4690-864E-3909F2395641}"/>
              </a:ext>
            </a:extLst>
          </p:cNvPr>
          <p:cNvSpPr/>
          <p:nvPr userDrawn="1"/>
        </p:nvSpPr>
        <p:spPr>
          <a:xfrm>
            <a:off x="8375813" y="4850276"/>
            <a:ext cx="180613" cy="196927"/>
          </a:xfrm>
          <a:custGeom>
            <a:avLst/>
            <a:gdLst>
              <a:gd name="connsiteX0" fmla="*/ 82733 w 180613"/>
              <a:gd name="connsiteY0" fmla="*/ 196927 h 196927"/>
              <a:gd name="connsiteX1" fmla="*/ 0 w 180613"/>
              <a:gd name="connsiteY1" fmla="*/ 196927 h 196927"/>
              <a:gd name="connsiteX2" fmla="*/ 96715 w 180613"/>
              <a:gd name="connsiteY2" fmla="*/ 99046 h 196927"/>
              <a:gd name="connsiteX3" fmla="*/ 0 w 180613"/>
              <a:gd name="connsiteY3" fmla="*/ 0 h 196927"/>
              <a:gd name="connsiteX4" fmla="*/ 83898 w 180613"/>
              <a:gd name="connsiteY4" fmla="*/ 0 h 196927"/>
              <a:gd name="connsiteX5" fmla="*/ 180613 w 180613"/>
              <a:gd name="connsiteY5" fmla="*/ 96716 h 196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6927">
                <a:moveTo>
                  <a:pt x="82733" y="196927"/>
                </a:moveTo>
                <a:lnTo>
                  <a:pt x="0" y="196927"/>
                </a:lnTo>
                <a:lnTo>
                  <a:pt x="96715" y="99046"/>
                </a:lnTo>
                <a:lnTo>
                  <a:pt x="0" y="0"/>
                </a:lnTo>
                <a:lnTo>
                  <a:pt x="83898" y="0"/>
                </a:lnTo>
                <a:lnTo>
                  <a:pt x="180613" y="96716"/>
                </a:lnTo>
                <a:close/>
              </a:path>
            </a:pathLst>
          </a:custGeom>
          <a:solidFill>
            <a:srgbClr val="EEF2F5"/>
          </a:solidFill>
          <a:ln w="11643" cap="flat">
            <a:noFill/>
            <a:prstDash val="solid"/>
            <a:miter/>
          </a:ln>
        </p:spPr>
        <p:txBody>
          <a:bodyPr rtlCol="0" anchor="ctr"/>
          <a:lstStyle/>
          <a:p>
            <a:endParaRPr lang="de-DE"/>
          </a:p>
        </p:txBody>
      </p:sp>
      <p:sp>
        <p:nvSpPr>
          <p:cNvPr id="433" name="Freihandform: Form 432">
            <a:extLst>
              <a:ext uri="{FF2B5EF4-FFF2-40B4-BE49-F238E27FC236}">
                <a16:creationId xmlns:a16="http://schemas.microsoft.com/office/drawing/2014/main" id="{D51309D8-1401-412C-AF26-DDF972F4A03F}"/>
              </a:ext>
            </a:extLst>
          </p:cNvPr>
          <p:cNvSpPr/>
          <p:nvPr userDrawn="1"/>
        </p:nvSpPr>
        <p:spPr>
          <a:xfrm>
            <a:off x="8375813" y="5205677"/>
            <a:ext cx="180613" cy="195761"/>
          </a:xfrm>
          <a:custGeom>
            <a:avLst/>
            <a:gdLst>
              <a:gd name="connsiteX0" fmla="*/ 82733 w 180613"/>
              <a:gd name="connsiteY0" fmla="*/ 195762 h 195761"/>
              <a:gd name="connsiteX1" fmla="*/ 0 w 180613"/>
              <a:gd name="connsiteY1" fmla="*/ 195762 h 195761"/>
              <a:gd name="connsiteX2" fmla="*/ 96715 w 180613"/>
              <a:gd name="connsiteY2" fmla="*/ 99046 h 195761"/>
              <a:gd name="connsiteX3" fmla="*/ 0 w 180613"/>
              <a:gd name="connsiteY3" fmla="*/ 0 h 195761"/>
              <a:gd name="connsiteX4" fmla="*/ 83898 w 180613"/>
              <a:gd name="connsiteY4" fmla="*/ 0 h 195761"/>
              <a:gd name="connsiteX5" fmla="*/ 180613 w 180613"/>
              <a:gd name="connsiteY5" fmla="*/ 96715 h 19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5761">
                <a:moveTo>
                  <a:pt x="82733" y="195762"/>
                </a:moveTo>
                <a:lnTo>
                  <a:pt x="0" y="195762"/>
                </a:lnTo>
                <a:lnTo>
                  <a:pt x="96715" y="99046"/>
                </a:lnTo>
                <a:lnTo>
                  <a:pt x="0" y="0"/>
                </a:lnTo>
                <a:lnTo>
                  <a:pt x="83898" y="0"/>
                </a:lnTo>
                <a:lnTo>
                  <a:pt x="180613" y="96715"/>
                </a:lnTo>
                <a:close/>
              </a:path>
            </a:pathLst>
          </a:custGeom>
          <a:solidFill>
            <a:srgbClr val="EEF2F5"/>
          </a:solidFill>
          <a:ln w="11643" cap="flat">
            <a:noFill/>
            <a:prstDash val="solid"/>
            <a:miter/>
          </a:ln>
        </p:spPr>
        <p:txBody>
          <a:bodyPr rtlCol="0" anchor="ctr"/>
          <a:lstStyle/>
          <a:p>
            <a:endParaRPr lang="de-DE"/>
          </a:p>
        </p:txBody>
      </p:sp>
      <p:sp>
        <p:nvSpPr>
          <p:cNvPr id="434" name="Freihandform: Form 433">
            <a:extLst>
              <a:ext uri="{FF2B5EF4-FFF2-40B4-BE49-F238E27FC236}">
                <a16:creationId xmlns:a16="http://schemas.microsoft.com/office/drawing/2014/main" id="{18C115C5-2AC9-4E5E-BDA3-03481CD7237E}"/>
              </a:ext>
            </a:extLst>
          </p:cNvPr>
          <p:cNvSpPr/>
          <p:nvPr userDrawn="1"/>
        </p:nvSpPr>
        <p:spPr>
          <a:xfrm>
            <a:off x="8375813" y="5559912"/>
            <a:ext cx="180613" cy="196926"/>
          </a:xfrm>
          <a:custGeom>
            <a:avLst/>
            <a:gdLst>
              <a:gd name="connsiteX0" fmla="*/ 82733 w 180613"/>
              <a:gd name="connsiteY0" fmla="*/ 196927 h 196926"/>
              <a:gd name="connsiteX1" fmla="*/ 0 w 180613"/>
              <a:gd name="connsiteY1" fmla="*/ 196927 h 196926"/>
              <a:gd name="connsiteX2" fmla="*/ 96715 w 180613"/>
              <a:gd name="connsiteY2" fmla="*/ 99046 h 196926"/>
              <a:gd name="connsiteX3" fmla="*/ 0 w 180613"/>
              <a:gd name="connsiteY3" fmla="*/ 0 h 196926"/>
              <a:gd name="connsiteX4" fmla="*/ 83898 w 180613"/>
              <a:gd name="connsiteY4" fmla="*/ 0 h 196926"/>
              <a:gd name="connsiteX5" fmla="*/ 180613 w 180613"/>
              <a:gd name="connsiteY5" fmla="*/ 96715 h 196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6926">
                <a:moveTo>
                  <a:pt x="82733" y="196927"/>
                </a:moveTo>
                <a:lnTo>
                  <a:pt x="0" y="196927"/>
                </a:lnTo>
                <a:lnTo>
                  <a:pt x="96715" y="99046"/>
                </a:lnTo>
                <a:lnTo>
                  <a:pt x="0" y="0"/>
                </a:lnTo>
                <a:lnTo>
                  <a:pt x="83898" y="0"/>
                </a:lnTo>
                <a:lnTo>
                  <a:pt x="180613" y="96715"/>
                </a:lnTo>
                <a:close/>
              </a:path>
            </a:pathLst>
          </a:custGeom>
          <a:solidFill>
            <a:srgbClr val="EEF2F5"/>
          </a:solidFill>
          <a:ln w="11643" cap="flat">
            <a:noFill/>
            <a:prstDash val="solid"/>
            <a:miter/>
          </a:ln>
        </p:spPr>
        <p:txBody>
          <a:bodyPr rtlCol="0" anchor="ctr"/>
          <a:lstStyle/>
          <a:p>
            <a:endParaRPr lang="de-DE"/>
          </a:p>
        </p:txBody>
      </p:sp>
      <p:sp>
        <p:nvSpPr>
          <p:cNvPr id="435" name="Freihandform: Form 434">
            <a:extLst>
              <a:ext uri="{FF2B5EF4-FFF2-40B4-BE49-F238E27FC236}">
                <a16:creationId xmlns:a16="http://schemas.microsoft.com/office/drawing/2014/main" id="{6AF44250-C7AA-4392-96AF-9FBE14A0A151}"/>
              </a:ext>
            </a:extLst>
          </p:cNvPr>
          <p:cNvSpPr/>
          <p:nvPr userDrawn="1"/>
        </p:nvSpPr>
        <p:spPr>
          <a:xfrm>
            <a:off x="8375813" y="5915313"/>
            <a:ext cx="180613" cy="195761"/>
          </a:xfrm>
          <a:custGeom>
            <a:avLst/>
            <a:gdLst>
              <a:gd name="connsiteX0" fmla="*/ 82733 w 180613"/>
              <a:gd name="connsiteY0" fmla="*/ 195762 h 195761"/>
              <a:gd name="connsiteX1" fmla="*/ 0 w 180613"/>
              <a:gd name="connsiteY1" fmla="*/ 195762 h 195761"/>
              <a:gd name="connsiteX2" fmla="*/ 96715 w 180613"/>
              <a:gd name="connsiteY2" fmla="*/ 99046 h 195761"/>
              <a:gd name="connsiteX3" fmla="*/ 0 w 180613"/>
              <a:gd name="connsiteY3" fmla="*/ 0 h 195761"/>
              <a:gd name="connsiteX4" fmla="*/ 83898 w 180613"/>
              <a:gd name="connsiteY4" fmla="*/ 0 h 195761"/>
              <a:gd name="connsiteX5" fmla="*/ 180613 w 180613"/>
              <a:gd name="connsiteY5" fmla="*/ 96715 h 19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5761">
                <a:moveTo>
                  <a:pt x="82733" y="195762"/>
                </a:moveTo>
                <a:lnTo>
                  <a:pt x="0" y="195762"/>
                </a:lnTo>
                <a:lnTo>
                  <a:pt x="96715" y="99046"/>
                </a:lnTo>
                <a:lnTo>
                  <a:pt x="0" y="0"/>
                </a:lnTo>
                <a:lnTo>
                  <a:pt x="83898" y="0"/>
                </a:lnTo>
                <a:lnTo>
                  <a:pt x="180613" y="96715"/>
                </a:lnTo>
                <a:close/>
              </a:path>
            </a:pathLst>
          </a:custGeom>
          <a:solidFill>
            <a:srgbClr val="EEF2F5"/>
          </a:solidFill>
          <a:ln w="11643" cap="flat">
            <a:noFill/>
            <a:prstDash val="solid"/>
            <a:miter/>
          </a:ln>
        </p:spPr>
        <p:txBody>
          <a:bodyPr rtlCol="0" anchor="ctr"/>
          <a:lstStyle/>
          <a:p>
            <a:endParaRPr lang="de-DE"/>
          </a:p>
        </p:txBody>
      </p:sp>
      <p:sp>
        <p:nvSpPr>
          <p:cNvPr id="436" name="Freihandform: Form 435">
            <a:extLst>
              <a:ext uri="{FF2B5EF4-FFF2-40B4-BE49-F238E27FC236}">
                <a16:creationId xmlns:a16="http://schemas.microsoft.com/office/drawing/2014/main" id="{FC7422D5-7BFD-49F1-8CF8-41977E51E586}"/>
              </a:ext>
            </a:extLst>
          </p:cNvPr>
          <p:cNvSpPr/>
          <p:nvPr userDrawn="1"/>
        </p:nvSpPr>
        <p:spPr>
          <a:xfrm>
            <a:off x="8375813" y="6270714"/>
            <a:ext cx="180613" cy="195761"/>
          </a:xfrm>
          <a:custGeom>
            <a:avLst/>
            <a:gdLst>
              <a:gd name="connsiteX0" fmla="*/ 82733 w 180613"/>
              <a:gd name="connsiteY0" fmla="*/ 195762 h 195761"/>
              <a:gd name="connsiteX1" fmla="*/ 0 w 180613"/>
              <a:gd name="connsiteY1" fmla="*/ 195762 h 195761"/>
              <a:gd name="connsiteX2" fmla="*/ 96715 w 180613"/>
              <a:gd name="connsiteY2" fmla="*/ 97881 h 195761"/>
              <a:gd name="connsiteX3" fmla="*/ 0 w 180613"/>
              <a:gd name="connsiteY3" fmla="*/ 0 h 195761"/>
              <a:gd name="connsiteX4" fmla="*/ 83898 w 180613"/>
              <a:gd name="connsiteY4" fmla="*/ 0 h 195761"/>
              <a:gd name="connsiteX5" fmla="*/ 180613 w 180613"/>
              <a:gd name="connsiteY5" fmla="*/ 95550 h 19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5761">
                <a:moveTo>
                  <a:pt x="82733" y="195762"/>
                </a:moveTo>
                <a:lnTo>
                  <a:pt x="0" y="195762"/>
                </a:lnTo>
                <a:lnTo>
                  <a:pt x="96715" y="97881"/>
                </a:lnTo>
                <a:lnTo>
                  <a:pt x="0" y="0"/>
                </a:lnTo>
                <a:lnTo>
                  <a:pt x="83898" y="0"/>
                </a:lnTo>
                <a:lnTo>
                  <a:pt x="180613" y="95550"/>
                </a:lnTo>
                <a:close/>
              </a:path>
            </a:pathLst>
          </a:custGeom>
          <a:solidFill>
            <a:srgbClr val="EEF2F5"/>
          </a:solidFill>
          <a:ln w="11643" cap="flat">
            <a:noFill/>
            <a:prstDash val="solid"/>
            <a:miter/>
          </a:ln>
        </p:spPr>
        <p:txBody>
          <a:bodyPr rtlCol="0" anchor="ctr"/>
          <a:lstStyle/>
          <a:p>
            <a:endParaRPr lang="de-DE"/>
          </a:p>
        </p:txBody>
      </p:sp>
      <p:sp>
        <p:nvSpPr>
          <p:cNvPr id="437" name="Freihandform: Form 436">
            <a:extLst>
              <a:ext uri="{FF2B5EF4-FFF2-40B4-BE49-F238E27FC236}">
                <a16:creationId xmlns:a16="http://schemas.microsoft.com/office/drawing/2014/main" id="{E943456F-C9D7-440F-BAE7-3340B9DC6330}"/>
              </a:ext>
            </a:extLst>
          </p:cNvPr>
          <p:cNvSpPr/>
          <p:nvPr userDrawn="1"/>
        </p:nvSpPr>
        <p:spPr>
          <a:xfrm>
            <a:off x="8375813" y="6624949"/>
            <a:ext cx="180613" cy="196926"/>
          </a:xfrm>
          <a:custGeom>
            <a:avLst/>
            <a:gdLst>
              <a:gd name="connsiteX0" fmla="*/ 82733 w 180613"/>
              <a:gd name="connsiteY0" fmla="*/ 196927 h 196926"/>
              <a:gd name="connsiteX1" fmla="*/ 0 w 180613"/>
              <a:gd name="connsiteY1" fmla="*/ 196927 h 196926"/>
              <a:gd name="connsiteX2" fmla="*/ 96715 w 180613"/>
              <a:gd name="connsiteY2" fmla="*/ 99046 h 196926"/>
              <a:gd name="connsiteX3" fmla="*/ 0 w 180613"/>
              <a:gd name="connsiteY3" fmla="*/ 0 h 196926"/>
              <a:gd name="connsiteX4" fmla="*/ 83898 w 180613"/>
              <a:gd name="connsiteY4" fmla="*/ 0 h 196926"/>
              <a:gd name="connsiteX5" fmla="*/ 180613 w 180613"/>
              <a:gd name="connsiteY5" fmla="*/ 96715 h 196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13" h="196926">
                <a:moveTo>
                  <a:pt x="82733" y="196927"/>
                </a:moveTo>
                <a:lnTo>
                  <a:pt x="0" y="196927"/>
                </a:lnTo>
                <a:lnTo>
                  <a:pt x="96715" y="99046"/>
                </a:lnTo>
                <a:lnTo>
                  <a:pt x="0" y="0"/>
                </a:lnTo>
                <a:lnTo>
                  <a:pt x="83898" y="0"/>
                </a:lnTo>
                <a:lnTo>
                  <a:pt x="180613" y="96715"/>
                </a:lnTo>
                <a:close/>
              </a:path>
            </a:pathLst>
          </a:custGeom>
          <a:solidFill>
            <a:srgbClr val="EEF2F5"/>
          </a:solidFill>
          <a:ln w="11643" cap="flat">
            <a:noFill/>
            <a:prstDash val="solid"/>
            <a:miter/>
          </a:ln>
        </p:spPr>
        <p:txBody>
          <a:bodyPr rtlCol="0" anchor="ctr"/>
          <a:lstStyle/>
          <a:p>
            <a:endParaRPr lang="de-DE"/>
          </a:p>
        </p:txBody>
      </p:sp>
      <p:sp>
        <p:nvSpPr>
          <p:cNvPr id="438" name="Freihandform: Form 437">
            <a:extLst>
              <a:ext uri="{FF2B5EF4-FFF2-40B4-BE49-F238E27FC236}">
                <a16:creationId xmlns:a16="http://schemas.microsoft.com/office/drawing/2014/main" id="{51CAB98F-4CBB-4D06-A263-949D791C9F0B}"/>
              </a:ext>
            </a:extLst>
          </p:cNvPr>
          <p:cNvSpPr/>
          <p:nvPr userDrawn="1"/>
        </p:nvSpPr>
        <p:spPr>
          <a:xfrm>
            <a:off x="8721892" y="2002410"/>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6038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6038"/>
                </a:lnTo>
                <a:close/>
              </a:path>
            </a:pathLst>
          </a:custGeom>
          <a:solidFill>
            <a:srgbClr val="EEF2F5"/>
          </a:solidFill>
          <a:ln w="11643" cap="flat">
            <a:noFill/>
            <a:prstDash val="solid"/>
            <a:miter/>
          </a:ln>
        </p:spPr>
        <p:txBody>
          <a:bodyPr rtlCol="0" anchor="ctr"/>
          <a:lstStyle/>
          <a:p>
            <a:endParaRPr lang="de-DE"/>
          </a:p>
        </p:txBody>
      </p:sp>
      <p:sp>
        <p:nvSpPr>
          <p:cNvPr id="439" name="Freihandform: Form 438">
            <a:extLst>
              <a:ext uri="{FF2B5EF4-FFF2-40B4-BE49-F238E27FC236}">
                <a16:creationId xmlns:a16="http://schemas.microsoft.com/office/drawing/2014/main" id="{62F4C308-3870-47E2-8215-AAF8FAAB7155}"/>
              </a:ext>
            </a:extLst>
          </p:cNvPr>
          <p:cNvSpPr/>
          <p:nvPr userDrawn="1"/>
        </p:nvSpPr>
        <p:spPr>
          <a:xfrm>
            <a:off x="8721892" y="2357811"/>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4872"/>
                </a:lnTo>
                <a:close/>
              </a:path>
            </a:pathLst>
          </a:custGeom>
          <a:solidFill>
            <a:srgbClr val="EEF2F5"/>
          </a:solidFill>
          <a:ln w="11643" cap="flat">
            <a:noFill/>
            <a:prstDash val="solid"/>
            <a:miter/>
          </a:ln>
        </p:spPr>
        <p:txBody>
          <a:bodyPr rtlCol="0" anchor="ctr"/>
          <a:lstStyle/>
          <a:p>
            <a:endParaRPr lang="de-DE"/>
          </a:p>
        </p:txBody>
      </p:sp>
      <p:sp>
        <p:nvSpPr>
          <p:cNvPr id="440" name="Freihandform: Form 439">
            <a:extLst>
              <a:ext uri="{FF2B5EF4-FFF2-40B4-BE49-F238E27FC236}">
                <a16:creationId xmlns:a16="http://schemas.microsoft.com/office/drawing/2014/main" id="{D7322EBB-EAEE-4A42-9AD7-53B76C52A248}"/>
              </a:ext>
            </a:extLst>
          </p:cNvPr>
          <p:cNvSpPr/>
          <p:nvPr userDrawn="1"/>
        </p:nvSpPr>
        <p:spPr>
          <a:xfrm>
            <a:off x="8721892" y="2712046"/>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6038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6038"/>
                </a:lnTo>
                <a:close/>
              </a:path>
            </a:pathLst>
          </a:custGeom>
          <a:solidFill>
            <a:srgbClr val="EEF2F5"/>
          </a:solidFill>
          <a:ln w="11643" cap="flat">
            <a:noFill/>
            <a:prstDash val="solid"/>
            <a:miter/>
          </a:ln>
        </p:spPr>
        <p:txBody>
          <a:bodyPr rtlCol="0" anchor="ctr"/>
          <a:lstStyle/>
          <a:p>
            <a:endParaRPr lang="de-DE"/>
          </a:p>
        </p:txBody>
      </p:sp>
      <p:sp>
        <p:nvSpPr>
          <p:cNvPr id="441" name="Freihandform: Form 440">
            <a:extLst>
              <a:ext uri="{FF2B5EF4-FFF2-40B4-BE49-F238E27FC236}">
                <a16:creationId xmlns:a16="http://schemas.microsoft.com/office/drawing/2014/main" id="{2F1B8135-9A4E-476E-8711-64C2C031A7D4}"/>
              </a:ext>
            </a:extLst>
          </p:cNvPr>
          <p:cNvSpPr/>
          <p:nvPr userDrawn="1"/>
        </p:nvSpPr>
        <p:spPr>
          <a:xfrm>
            <a:off x="8721892" y="3067447"/>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4872"/>
                </a:lnTo>
                <a:close/>
              </a:path>
            </a:pathLst>
          </a:custGeom>
          <a:solidFill>
            <a:srgbClr val="EEF2F5"/>
          </a:solidFill>
          <a:ln w="11643" cap="flat">
            <a:noFill/>
            <a:prstDash val="solid"/>
            <a:miter/>
          </a:ln>
        </p:spPr>
        <p:txBody>
          <a:bodyPr rtlCol="0" anchor="ctr"/>
          <a:lstStyle/>
          <a:p>
            <a:endParaRPr lang="de-DE"/>
          </a:p>
        </p:txBody>
      </p:sp>
      <p:sp>
        <p:nvSpPr>
          <p:cNvPr id="442" name="Freihandform: Form 441">
            <a:extLst>
              <a:ext uri="{FF2B5EF4-FFF2-40B4-BE49-F238E27FC236}">
                <a16:creationId xmlns:a16="http://schemas.microsoft.com/office/drawing/2014/main" id="{6FC17601-18E6-4BF7-A8D1-2826F0BE14DB}"/>
              </a:ext>
            </a:extLst>
          </p:cNvPr>
          <p:cNvSpPr/>
          <p:nvPr userDrawn="1"/>
        </p:nvSpPr>
        <p:spPr>
          <a:xfrm>
            <a:off x="8721892" y="3421682"/>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6038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6038"/>
                </a:lnTo>
                <a:close/>
              </a:path>
            </a:pathLst>
          </a:custGeom>
          <a:solidFill>
            <a:srgbClr val="EEF2F5"/>
          </a:solidFill>
          <a:ln w="11643" cap="flat">
            <a:noFill/>
            <a:prstDash val="solid"/>
            <a:miter/>
          </a:ln>
        </p:spPr>
        <p:txBody>
          <a:bodyPr rtlCol="0" anchor="ctr"/>
          <a:lstStyle/>
          <a:p>
            <a:endParaRPr lang="de-DE"/>
          </a:p>
        </p:txBody>
      </p:sp>
      <p:sp>
        <p:nvSpPr>
          <p:cNvPr id="443" name="Freihandform: Form 442">
            <a:extLst>
              <a:ext uri="{FF2B5EF4-FFF2-40B4-BE49-F238E27FC236}">
                <a16:creationId xmlns:a16="http://schemas.microsoft.com/office/drawing/2014/main" id="{14285465-FDDA-4690-A394-8C87D559E31D}"/>
              </a:ext>
            </a:extLst>
          </p:cNvPr>
          <p:cNvSpPr/>
          <p:nvPr userDrawn="1"/>
        </p:nvSpPr>
        <p:spPr>
          <a:xfrm>
            <a:off x="8721892" y="3777083"/>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4872"/>
                </a:lnTo>
                <a:close/>
              </a:path>
            </a:pathLst>
          </a:custGeom>
          <a:solidFill>
            <a:srgbClr val="EEF2F5"/>
          </a:solidFill>
          <a:ln w="11643" cap="flat">
            <a:noFill/>
            <a:prstDash val="solid"/>
            <a:miter/>
          </a:ln>
        </p:spPr>
        <p:txBody>
          <a:bodyPr rtlCol="0" anchor="ctr"/>
          <a:lstStyle/>
          <a:p>
            <a:endParaRPr lang="de-DE"/>
          </a:p>
        </p:txBody>
      </p:sp>
      <p:sp>
        <p:nvSpPr>
          <p:cNvPr id="444" name="Freihandform: Form 443">
            <a:extLst>
              <a:ext uri="{FF2B5EF4-FFF2-40B4-BE49-F238E27FC236}">
                <a16:creationId xmlns:a16="http://schemas.microsoft.com/office/drawing/2014/main" id="{EF5CE05F-09D9-4E8A-A64E-CC6C5BB6F1A5}"/>
              </a:ext>
            </a:extLst>
          </p:cNvPr>
          <p:cNvSpPr/>
          <p:nvPr userDrawn="1"/>
        </p:nvSpPr>
        <p:spPr>
          <a:xfrm>
            <a:off x="8721892" y="4132484"/>
            <a:ext cx="198092" cy="214405"/>
          </a:xfrm>
          <a:custGeom>
            <a:avLst/>
            <a:gdLst>
              <a:gd name="connsiteX0" fmla="*/ 90889 w 198092"/>
              <a:gd name="connsiteY0" fmla="*/ 214406 h 214405"/>
              <a:gd name="connsiteX1" fmla="*/ 0 w 198092"/>
              <a:gd name="connsiteY1" fmla="*/ 214406 h 214405"/>
              <a:gd name="connsiteX2" fmla="*/ 106037 w 198092"/>
              <a:gd name="connsiteY2" fmla="*/ 107203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7203"/>
                </a:lnTo>
                <a:lnTo>
                  <a:pt x="0" y="0"/>
                </a:lnTo>
                <a:lnTo>
                  <a:pt x="92055" y="0"/>
                </a:lnTo>
                <a:lnTo>
                  <a:pt x="198092" y="104872"/>
                </a:lnTo>
                <a:close/>
              </a:path>
            </a:pathLst>
          </a:custGeom>
          <a:solidFill>
            <a:srgbClr val="EEF2F5"/>
          </a:solidFill>
          <a:ln w="11643" cap="flat">
            <a:noFill/>
            <a:prstDash val="solid"/>
            <a:miter/>
          </a:ln>
        </p:spPr>
        <p:txBody>
          <a:bodyPr rtlCol="0" anchor="ctr"/>
          <a:lstStyle/>
          <a:p>
            <a:endParaRPr lang="de-DE"/>
          </a:p>
        </p:txBody>
      </p:sp>
      <p:sp>
        <p:nvSpPr>
          <p:cNvPr id="445" name="Freihandform: Form 444">
            <a:extLst>
              <a:ext uri="{FF2B5EF4-FFF2-40B4-BE49-F238E27FC236}">
                <a16:creationId xmlns:a16="http://schemas.microsoft.com/office/drawing/2014/main" id="{252B6EA4-1D20-403F-A67B-8BCEBA7181EA}"/>
              </a:ext>
            </a:extLst>
          </p:cNvPr>
          <p:cNvSpPr/>
          <p:nvPr userDrawn="1"/>
        </p:nvSpPr>
        <p:spPr>
          <a:xfrm>
            <a:off x="8721892" y="4486719"/>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4872"/>
                </a:lnTo>
                <a:close/>
              </a:path>
            </a:pathLst>
          </a:custGeom>
          <a:solidFill>
            <a:srgbClr val="EEF2F5"/>
          </a:solidFill>
          <a:ln w="11643" cap="flat">
            <a:noFill/>
            <a:prstDash val="solid"/>
            <a:miter/>
          </a:ln>
        </p:spPr>
        <p:txBody>
          <a:bodyPr rtlCol="0" anchor="ctr"/>
          <a:lstStyle/>
          <a:p>
            <a:endParaRPr lang="de-DE"/>
          </a:p>
        </p:txBody>
      </p:sp>
      <p:sp>
        <p:nvSpPr>
          <p:cNvPr id="446" name="Freihandform: Form 445">
            <a:extLst>
              <a:ext uri="{FF2B5EF4-FFF2-40B4-BE49-F238E27FC236}">
                <a16:creationId xmlns:a16="http://schemas.microsoft.com/office/drawing/2014/main" id="{B34E7EF8-659D-41D0-A7E6-F80D2A72E4F5}"/>
              </a:ext>
            </a:extLst>
          </p:cNvPr>
          <p:cNvSpPr/>
          <p:nvPr userDrawn="1"/>
        </p:nvSpPr>
        <p:spPr>
          <a:xfrm>
            <a:off x="8721892" y="4842120"/>
            <a:ext cx="198092" cy="214405"/>
          </a:xfrm>
          <a:custGeom>
            <a:avLst/>
            <a:gdLst>
              <a:gd name="connsiteX0" fmla="*/ 90889 w 198092"/>
              <a:gd name="connsiteY0" fmla="*/ 214406 h 214405"/>
              <a:gd name="connsiteX1" fmla="*/ 0 w 198092"/>
              <a:gd name="connsiteY1" fmla="*/ 214406 h 214405"/>
              <a:gd name="connsiteX2" fmla="*/ 106037 w 198092"/>
              <a:gd name="connsiteY2" fmla="*/ 107203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7203"/>
                </a:lnTo>
                <a:lnTo>
                  <a:pt x="0" y="0"/>
                </a:lnTo>
                <a:lnTo>
                  <a:pt x="92055" y="0"/>
                </a:lnTo>
                <a:lnTo>
                  <a:pt x="198092" y="104872"/>
                </a:lnTo>
                <a:close/>
              </a:path>
            </a:pathLst>
          </a:custGeom>
          <a:solidFill>
            <a:srgbClr val="EEF2F5"/>
          </a:solidFill>
          <a:ln w="11643" cap="flat">
            <a:noFill/>
            <a:prstDash val="solid"/>
            <a:miter/>
          </a:ln>
        </p:spPr>
        <p:txBody>
          <a:bodyPr rtlCol="0" anchor="ctr"/>
          <a:lstStyle/>
          <a:p>
            <a:endParaRPr lang="de-DE"/>
          </a:p>
        </p:txBody>
      </p:sp>
      <p:sp>
        <p:nvSpPr>
          <p:cNvPr id="447" name="Freihandform: Form 446">
            <a:extLst>
              <a:ext uri="{FF2B5EF4-FFF2-40B4-BE49-F238E27FC236}">
                <a16:creationId xmlns:a16="http://schemas.microsoft.com/office/drawing/2014/main" id="{0755A084-00C6-4064-9BC1-07F7BB9E8B25}"/>
              </a:ext>
            </a:extLst>
          </p:cNvPr>
          <p:cNvSpPr/>
          <p:nvPr userDrawn="1"/>
        </p:nvSpPr>
        <p:spPr>
          <a:xfrm>
            <a:off x="8721892" y="5196355"/>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6038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6038"/>
                </a:lnTo>
                <a:close/>
              </a:path>
            </a:pathLst>
          </a:custGeom>
          <a:solidFill>
            <a:srgbClr val="EEF2F5"/>
          </a:solidFill>
          <a:ln w="11643" cap="flat">
            <a:noFill/>
            <a:prstDash val="solid"/>
            <a:miter/>
          </a:ln>
        </p:spPr>
        <p:txBody>
          <a:bodyPr rtlCol="0" anchor="ctr"/>
          <a:lstStyle/>
          <a:p>
            <a:endParaRPr lang="de-DE"/>
          </a:p>
        </p:txBody>
      </p:sp>
      <p:sp>
        <p:nvSpPr>
          <p:cNvPr id="448" name="Freihandform: Form 447">
            <a:extLst>
              <a:ext uri="{FF2B5EF4-FFF2-40B4-BE49-F238E27FC236}">
                <a16:creationId xmlns:a16="http://schemas.microsoft.com/office/drawing/2014/main" id="{EC6887F2-DD05-4AFE-B004-C0A73966DD5E}"/>
              </a:ext>
            </a:extLst>
          </p:cNvPr>
          <p:cNvSpPr/>
          <p:nvPr userDrawn="1"/>
        </p:nvSpPr>
        <p:spPr>
          <a:xfrm>
            <a:off x="8721892" y="5551755"/>
            <a:ext cx="198092" cy="214405"/>
          </a:xfrm>
          <a:custGeom>
            <a:avLst/>
            <a:gdLst>
              <a:gd name="connsiteX0" fmla="*/ 90889 w 198092"/>
              <a:gd name="connsiteY0" fmla="*/ 214406 h 214405"/>
              <a:gd name="connsiteX1" fmla="*/ 0 w 198092"/>
              <a:gd name="connsiteY1" fmla="*/ 214406 h 214405"/>
              <a:gd name="connsiteX2" fmla="*/ 106037 w 198092"/>
              <a:gd name="connsiteY2" fmla="*/ 107203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7203"/>
                </a:lnTo>
                <a:lnTo>
                  <a:pt x="0" y="0"/>
                </a:lnTo>
                <a:lnTo>
                  <a:pt x="92055" y="0"/>
                </a:lnTo>
                <a:lnTo>
                  <a:pt x="198092" y="104872"/>
                </a:lnTo>
                <a:close/>
              </a:path>
            </a:pathLst>
          </a:custGeom>
          <a:solidFill>
            <a:srgbClr val="EEF2F5"/>
          </a:solidFill>
          <a:ln w="11643" cap="flat">
            <a:noFill/>
            <a:prstDash val="solid"/>
            <a:miter/>
          </a:ln>
        </p:spPr>
        <p:txBody>
          <a:bodyPr rtlCol="0" anchor="ctr"/>
          <a:lstStyle/>
          <a:p>
            <a:endParaRPr lang="de-DE"/>
          </a:p>
        </p:txBody>
      </p:sp>
      <p:sp>
        <p:nvSpPr>
          <p:cNvPr id="449" name="Freihandform: Form 448">
            <a:extLst>
              <a:ext uri="{FF2B5EF4-FFF2-40B4-BE49-F238E27FC236}">
                <a16:creationId xmlns:a16="http://schemas.microsoft.com/office/drawing/2014/main" id="{A49E266A-420E-492F-9080-574F846C1DBD}"/>
              </a:ext>
            </a:extLst>
          </p:cNvPr>
          <p:cNvSpPr/>
          <p:nvPr userDrawn="1"/>
        </p:nvSpPr>
        <p:spPr>
          <a:xfrm>
            <a:off x="8721892" y="5905991"/>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6038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6038"/>
                </a:lnTo>
                <a:close/>
              </a:path>
            </a:pathLst>
          </a:custGeom>
          <a:solidFill>
            <a:srgbClr val="EEF2F5"/>
          </a:solidFill>
          <a:ln w="11643" cap="flat">
            <a:noFill/>
            <a:prstDash val="solid"/>
            <a:miter/>
          </a:ln>
        </p:spPr>
        <p:txBody>
          <a:bodyPr rtlCol="0" anchor="ctr"/>
          <a:lstStyle/>
          <a:p>
            <a:endParaRPr lang="de-DE"/>
          </a:p>
        </p:txBody>
      </p:sp>
      <p:sp>
        <p:nvSpPr>
          <p:cNvPr id="450" name="Freihandform: Form 449">
            <a:extLst>
              <a:ext uri="{FF2B5EF4-FFF2-40B4-BE49-F238E27FC236}">
                <a16:creationId xmlns:a16="http://schemas.microsoft.com/office/drawing/2014/main" id="{AEC0C683-94C7-4C89-B770-8C0D416A44C7}"/>
              </a:ext>
            </a:extLst>
          </p:cNvPr>
          <p:cNvSpPr/>
          <p:nvPr userDrawn="1"/>
        </p:nvSpPr>
        <p:spPr>
          <a:xfrm>
            <a:off x="8721892" y="6261391"/>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4872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4872"/>
                </a:lnTo>
                <a:close/>
              </a:path>
            </a:pathLst>
          </a:custGeom>
          <a:solidFill>
            <a:srgbClr val="EEF2F5"/>
          </a:solidFill>
          <a:ln w="11643" cap="flat">
            <a:noFill/>
            <a:prstDash val="solid"/>
            <a:miter/>
          </a:ln>
        </p:spPr>
        <p:txBody>
          <a:bodyPr rtlCol="0" anchor="ctr"/>
          <a:lstStyle/>
          <a:p>
            <a:endParaRPr lang="de-DE"/>
          </a:p>
        </p:txBody>
      </p:sp>
      <p:sp>
        <p:nvSpPr>
          <p:cNvPr id="451" name="Freihandform: Form 450">
            <a:extLst>
              <a:ext uri="{FF2B5EF4-FFF2-40B4-BE49-F238E27FC236}">
                <a16:creationId xmlns:a16="http://schemas.microsoft.com/office/drawing/2014/main" id="{3270C365-CF3A-47A7-889C-ADD47E29F3FB}"/>
              </a:ext>
            </a:extLst>
          </p:cNvPr>
          <p:cNvSpPr/>
          <p:nvPr userDrawn="1"/>
        </p:nvSpPr>
        <p:spPr>
          <a:xfrm>
            <a:off x="8721892" y="6615627"/>
            <a:ext cx="198092" cy="214405"/>
          </a:xfrm>
          <a:custGeom>
            <a:avLst/>
            <a:gdLst>
              <a:gd name="connsiteX0" fmla="*/ 90889 w 198092"/>
              <a:gd name="connsiteY0" fmla="*/ 214406 h 214405"/>
              <a:gd name="connsiteX1" fmla="*/ 0 w 198092"/>
              <a:gd name="connsiteY1" fmla="*/ 214406 h 214405"/>
              <a:gd name="connsiteX2" fmla="*/ 106037 w 198092"/>
              <a:gd name="connsiteY2" fmla="*/ 108368 h 214405"/>
              <a:gd name="connsiteX3" fmla="*/ 0 w 198092"/>
              <a:gd name="connsiteY3" fmla="*/ 0 h 214405"/>
              <a:gd name="connsiteX4" fmla="*/ 92055 w 198092"/>
              <a:gd name="connsiteY4" fmla="*/ 0 h 214405"/>
              <a:gd name="connsiteX5" fmla="*/ 198092 w 198092"/>
              <a:gd name="connsiteY5" fmla="*/ 106037 h 21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92" h="214405">
                <a:moveTo>
                  <a:pt x="90889" y="214406"/>
                </a:moveTo>
                <a:lnTo>
                  <a:pt x="0" y="214406"/>
                </a:lnTo>
                <a:lnTo>
                  <a:pt x="106037" y="108368"/>
                </a:lnTo>
                <a:lnTo>
                  <a:pt x="0" y="0"/>
                </a:lnTo>
                <a:lnTo>
                  <a:pt x="92055" y="0"/>
                </a:lnTo>
                <a:lnTo>
                  <a:pt x="198092" y="106037"/>
                </a:lnTo>
                <a:close/>
              </a:path>
            </a:pathLst>
          </a:custGeom>
          <a:solidFill>
            <a:srgbClr val="EEF2F5"/>
          </a:solidFill>
          <a:ln w="11643" cap="flat">
            <a:noFill/>
            <a:prstDash val="solid"/>
            <a:miter/>
          </a:ln>
        </p:spPr>
        <p:txBody>
          <a:bodyPr rtlCol="0" anchor="ctr"/>
          <a:lstStyle/>
          <a:p>
            <a:endParaRPr lang="de-DE"/>
          </a:p>
        </p:txBody>
      </p:sp>
      <p:sp>
        <p:nvSpPr>
          <p:cNvPr id="452" name="Freihandform: Form 451">
            <a:extLst>
              <a:ext uri="{FF2B5EF4-FFF2-40B4-BE49-F238E27FC236}">
                <a16:creationId xmlns:a16="http://schemas.microsoft.com/office/drawing/2014/main" id="{26027323-4EC1-4CE3-A800-FC54F6FA3CC5}"/>
              </a:ext>
            </a:extLst>
          </p:cNvPr>
          <p:cNvSpPr/>
          <p:nvPr userDrawn="1"/>
        </p:nvSpPr>
        <p:spPr>
          <a:xfrm>
            <a:off x="9069136" y="1994253"/>
            <a:ext cx="214405" cy="231884"/>
          </a:xfrm>
          <a:custGeom>
            <a:avLst/>
            <a:gdLst>
              <a:gd name="connsiteX0" fmla="*/ 97881 w 214405"/>
              <a:gd name="connsiteY0" fmla="*/ 231884 h 231884"/>
              <a:gd name="connsiteX1" fmla="*/ 0 w 214405"/>
              <a:gd name="connsiteY1" fmla="*/ 231884 h 231884"/>
              <a:gd name="connsiteX2" fmla="*/ 114194 w 214405"/>
              <a:gd name="connsiteY2" fmla="*/ 116525 h 231884"/>
              <a:gd name="connsiteX3" fmla="*/ 0 w 214405"/>
              <a:gd name="connsiteY3" fmla="*/ 0 h 231884"/>
              <a:gd name="connsiteX4" fmla="*/ 100211 w 214405"/>
              <a:gd name="connsiteY4" fmla="*/ 0 h 231884"/>
              <a:gd name="connsiteX5" fmla="*/ 214406 w 214405"/>
              <a:gd name="connsiteY5" fmla="*/ 114194 h 23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1884">
                <a:moveTo>
                  <a:pt x="97881" y="231884"/>
                </a:moveTo>
                <a:lnTo>
                  <a:pt x="0" y="231884"/>
                </a:lnTo>
                <a:lnTo>
                  <a:pt x="114194" y="116525"/>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453" name="Freihandform: Form 452">
            <a:extLst>
              <a:ext uri="{FF2B5EF4-FFF2-40B4-BE49-F238E27FC236}">
                <a16:creationId xmlns:a16="http://schemas.microsoft.com/office/drawing/2014/main" id="{FEAF7BFB-37DF-46E2-B375-619668E31A63}"/>
              </a:ext>
            </a:extLst>
          </p:cNvPr>
          <p:cNvSpPr/>
          <p:nvPr userDrawn="1"/>
        </p:nvSpPr>
        <p:spPr>
          <a:xfrm>
            <a:off x="9069136" y="2348489"/>
            <a:ext cx="214405" cy="233049"/>
          </a:xfrm>
          <a:custGeom>
            <a:avLst/>
            <a:gdLst>
              <a:gd name="connsiteX0" fmla="*/ 97881 w 214405"/>
              <a:gd name="connsiteY0" fmla="*/ 233050 h 233049"/>
              <a:gd name="connsiteX1" fmla="*/ 0 w 214405"/>
              <a:gd name="connsiteY1" fmla="*/ 233050 h 233049"/>
              <a:gd name="connsiteX2" fmla="*/ 114194 w 214405"/>
              <a:gd name="connsiteY2" fmla="*/ 117690 h 233049"/>
              <a:gd name="connsiteX3" fmla="*/ 0 w 214405"/>
              <a:gd name="connsiteY3" fmla="*/ 0 h 233049"/>
              <a:gd name="connsiteX4" fmla="*/ 100211 w 214405"/>
              <a:gd name="connsiteY4" fmla="*/ 0 h 233049"/>
              <a:gd name="connsiteX5" fmla="*/ 214406 w 214405"/>
              <a:gd name="connsiteY5" fmla="*/ 114194 h 23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3048">
                <a:moveTo>
                  <a:pt x="97881" y="233050"/>
                </a:moveTo>
                <a:lnTo>
                  <a:pt x="0" y="233050"/>
                </a:lnTo>
                <a:lnTo>
                  <a:pt x="114194" y="117690"/>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454" name="Freihandform: Form 453">
            <a:extLst>
              <a:ext uri="{FF2B5EF4-FFF2-40B4-BE49-F238E27FC236}">
                <a16:creationId xmlns:a16="http://schemas.microsoft.com/office/drawing/2014/main" id="{FD5C6D0C-1BC8-4A1C-B6D3-6B1F2F12554E}"/>
              </a:ext>
            </a:extLst>
          </p:cNvPr>
          <p:cNvSpPr/>
          <p:nvPr userDrawn="1"/>
        </p:nvSpPr>
        <p:spPr>
          <a:xfrm>
            <a:off x="9069136" y="2703889"/>
            <a:ext cx="214405" cy="231884"/>
          </a:xfrm>
          <a:custGeom>
            <a:avLst/>
            <a:gdLst>
              <a:gd name="connsiteX0" fmla="*/ 97881 w 214405"/>
              <a:gd name="connsiteY0" fmla="*/ 231884 h 231884"/>
              <a:gd name="connsiteX1" fmla="*/ 0 w 214405"/>
              <a:gd name="connsiteY1" fmla="*/ 231884 h 231884"/>
              <a:gd name="connsiteX2" fmla="*/ 114194 w 214405"/>
              <a:gd name="connsiteY2" fmla="*/ 116525 h 231884"/>
              <a:gd name="connsiteX3" fmla="*/ 0 w 214405"/>
              <a:gd name="connsiteY3" fmla="*/ 0 h 231884"/>
              <a:gd name="connsiteX4" fmla="*/ 100211 w 214405"/>
              <a:gd name="connsiteY4" fmla="*/ 0 h 231884"/>
              <a:gd name="connsiteX5" fmla="*/ 214406 w 214405"/>
              <a:gd name="connsiteY5" fmla="*/ 114194 h 23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1884">
                <a:moveTo>
                  <a:pt x="97881" y="231884"/>
                </a:moveTo>
                <a:lnTo>
                  <a:pt x="0" y="231884"/>
                </a:lnTo>
                <a:lnTo>
                  <a:pt x="114194" y="116525"/>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455" name="Freihandform: Form 454">
            <a:extLst>
              <a:ext uri="{FF2B5EF4-FFF2-40B4-BE49-F238E27FC236}">
                <a16:creationId xmlns:a16="http://schemas.microsoft.com/office/drawing/2014/main" id="{A78779BD-37D4-49F3-88CC-B8EBBFCA2551}"/>
              </a:ext>
            </a:extLst>
          </p:cNvPr>
          <p:cNvSpPr/>
          <p:nvPr userDrawn="1"/>
        </p:nvSpPr>
        <p:spPr>
          <a:xfrm>
            <a:off x="9069136" y="3058125"/>
            <a:ext cx="214405" cy="233049"/>
          </a:xfrm>
          <a:custGeom>
            <a:avLst/>
            <a:gdLst>
              <a:gd name="connsiteX0" fmla="*/ 97881 w 214405"/>
              <a:gd name="connsiteY0" fmla="*/ 233050 h 233049"/>
              <a:gd name="connsiteX1" fmla="*/ 0 w 214405"/>
              <a:gd name="connsiteY1" fmla="*/ 233050 h 233049"/>
              <a:gd name="connsiteX2" fmla="*/ 114194 w 214405"/>
              <a:gd name="connsiteY2" fmla="*/ 117690 h 233049"/>
              <a:gd name="connsiteX3" fmla="*/ 0 w 214405"/>
              <a:gd name="connsiteY3" fmla="*/ 0 h 233049"/>
              <a:gd name="connsiteX4" fmla="*/ 100211 w 214405"/>
              <a:gd name="connsiteY4" fmla="*/ 0 h 233049"/>
              <a:gd name="connsiteX5" fmla="*/ 214406 w 214405"/>
              <a:gd name="connsiteY5" fmla="*/ 114194 h 23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3048">
                <a:moveTo>
                  <a:pt x="97881" y="233050"/>
                </a:moveTo>
                <a:lnTo>
                  <a:pt x="0" y="233050"/>
                </a:lnTo>
                <a:lnTo>
                  <a:pt x="114194" y="117690"/>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456" name="Freihandform: Form 455">
            <a:extLst>
              <a:ext uri="{FF2B5EF4-FFF2-40B4-BE49-F238E27FC236}">
                <a16:creationId xmlns:a16="http://schemas.microsoft.com/office/drawing/2014/main" id="{ADF13FA3-CD5F-4BCC-8A70-81E183EC3EB7}"/>
              </a:ext>
            </a:extLst>
          </p:cNvPr>
          <p:cNvSpPr/>
          <p:nvPr userDrawn="1"/>
        </p:nvSpPr>
        <p:spPr>
          <a:xfrm>
            <a:off x="9069136" y="3413526"/>
            <a:ext cx="214405" cy="231884"/>
          </a:xfrm>
          <a:custGeom>
            <a:avLst/>
            <a:gdLst>
              <a:gd name="connsiteX0" fmla="*/ 97881 w 214405"/>
              <a:gd name="connsiteY0" fmla="*/ 231884 h 231884"/>
              <a:gd name="connsiteX1" fmla="*/ 0 w 214405"/>
              <a:gd name="connsiteY1" fmla="*/ 231884 h 231884"/>
              <a:gd name="connsiteX2" fmla="*/ 114194 w 214405"/>
              <a:gd name="connsiteY2" fmla="*/ 116525 h 231884"/>
              <a:gd name="connsiteX3" fmla="*/ 0 w 214405"/>
              <a:gd name="connsiteY3" fmla="*/ 0 h 231884"/>
              <a:gd name="connsiteX4" fmla="*/ 100211 w 214405"/>
              <a:gd name="connsiteY4" fmla="*/ 0 h 231884"/>
              <a:gd name="connsiteX5" fmla="*/ 214406 w 214405"/>
              <a:gd name="connsiteY5" fmla="*/ 114194 h 23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1884">
                <a:moveTo>
                  <a:pt x="97881" y="231884"/>
                </a:moveTo>
                <a:lnTo>
                  <a:pt x="0" y="231884"/>
                </a:lnTo>
                <a:lnTo>
                  <a:pt x="114194" y="116525"/>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457" name="Freihandform: Form 456">
            <a:extLst>
              <a:ext uri="{FF2B5EF4-FFF2-40B4-BE49-F238E27FC236}">
                <a16:creationId xmlns:a16="http://schemas.microsoft.com/office/drawing/2014/main" id="{C201908D-C044-4D76-8D1A-438321DC7D12}"/>
              </a:ext>
            </a:extLst>
          </p:cNvPr>
          <p:cNvSpPr/>
          <p:nvPr userDrawn="1"/>
        </p:nvSpPr>
        <p:spPr>
          <a:xfrm>
            <a:off x="9069136" y="3767761"/>
            <a:ext cx="214405" cy="233049"/>
          </a:xfrm>
          <a:custGeom>
            <a:avLst/>
            <a:gdLst>
              <a:gd name="connsiteX0" fmla="*/ 97881 w 214405"/>
              <a:gd name="connsiteY0" fmla="*/ 233050 h 233049"/>
              <a:gd name="connsiteX1" fmla="*/ 0 w 214405"/>
              <a:gd name="connsiteY1" fmla="*/ 233050 h 233049"/>
              <a:gd name="connsiteX2" fmla="*/ 114194 w 214405"/>
              <a:gd name="connsiteY2" fmla="*/ 117690 h 233049"/>
              <a:gd name="connsiteX3" fmla="*/ 0 w 214405"/>
              <a:gd name="connsiteY3" fmla="*/ 0 h 233049"/>
              <a:gd name="connsiteX4" fmla="*/ 100211 w 214405"/>
              <a:gd name="connsiteY4" fmla="*/ 0 h 233049"/>
              <a:gd name="connsiteX5" fmla="*/ 214406 w 214405"/>
              <a:gd name="connsiteY5" fmla="*/ 114194 h 23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3048">
                <a:moveTo>
                  <a:pt x="97881" y="233050"/>
                </a:moveTo>
                <a:lnTo>
                  <a:pt x="0" y="233050"/>
                </a:lnTo>
                <a:lnTo>
                  <a:pt x="114194" y="117690"/>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458" name="Freihandform: Form 457">
            <a:extLst>
              <a:ext uri="{FF2B5EF4-FFF2-40B4-BE49-F238E27FC236}">
                <a16:creationId xmlns:a16="http://schemas.microsoft.com/office/drawing/2014/main" id="{D66CA348-96DF-49E0-9A09-19D76A480531}"/>
              </a:ext>
            </a:extLst>
          </p:cNvPr>
          <p:cNvSpPr/>
          <p:nvPr userDrawn="1"/>
        </p:nvSpPr>
        <p:spPr>
          <a:xfrm>
            <a:off x="9069136" y="4123162"/>
            <a:ext cx="214405" cy="231884"/>
          </a:xfrm>
          <a:custGeom>
            <a:avLst/>
            <a:gdLst>
              <a:gd name="connsiteX0" fmla="*/ 97881 w 214405"/>
              <a:gd name="connsiteY0" fmla="*/ 231884 h 231884"/>
              <a:gd name="connsiteX1" fmla="*/ 0 w 214405"/>
              <a:gd name="connsiteY1" fmla="*/ 231884 h 231884"/>
              <a:gd name="connsiteX2" fmla="*/ 114194 w 214405"/>
              <a:gd name="connsiteY2" fmla="*/ 116525 h 231884"/>
              <a:gd name="connsiteX3" fmla="*/ 0 w 214405"/>
              <a:gd name="connsiteY3" fmla="*/ 0 h 231884"/>
              <a:gd name="connsiteX4" fmla="*/ 100211 w 214405"/>
              <a:gd name="connsiteY4" fmla="*/ 0 h 231884"/>
              <a:gd name="connsiteX5" fmla="*/ 214406 w 214405"/>
              <a:gd name="connsiteY5" fmla="*/ 114194 h 23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1884">
                <a:moveTo>
                  <a:pt x="97881" y="231884"/>
                </a:moveTo>
                <a:lnTo>
                  <a:pt x="0" y="231884"/>
                </a:lnTo>
                <a:lnTo>
                  <a:pt x="114194" y="116525"/>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459" name="Freihandform: Form 458">
            <a:extLst>
              <a:ext uri="{FF2B5EF4-FFF2-40B4-BE49-F238E27FC236}">
                <a16:creationId xmlns:a16="http://schemas.microsoft.com/office/drawing/2014/main" id="{73DB73DF-6673-48E9-B28E-8EC17635427D}"/>
              </a:ext>
            </a:extLst>
          </p:cNvPr>
          <p:cNvSpPr/>
          <p:nvPr userDrawn="1"/>
        </p:nvSpPr>
        <p:spPr>
          <a:xfrm>
            <a:off x="9069136" y="4477397"/>
            <a:ext cx="214405" cy="233049"/>
          </a:xfrm>
          <a:custGeom>
            <a:avLst/>
            <a:gdLst>
              <a:gd name="connsiteX0" fmla="*/ 97881 w 214405"/>
              <a:gd name="connsiteY0" fmla="*/ 233050 h 233049"/>
              <a:gd name="connsiteX1" fmla="*/ 0 w 214405"/>
              <a:gd name="connsiteY1" fmla="*/ 233050 h 233049"/>
              <a:gd name="connsiteX2" fmla="*/ 114194 w 214405"/>
              <a:gd name="connsiteY2" fmla="*/ 117690 h 233049"/>
              <a:gd name="connsiteX3" fmla="*/ 0 w 214405"/>
              <a:gd name="connsiteY3" fmla="*/ 0 h 233049"/>
              <a:gd name="connsiteX4" fmla="*/ 100211 w 214405"/>
              <a:gd name="connsiteY4" fmla="*/ 0 h 233049"/>
              <a:gd name="connsiteX5" fmla="*/ 214406 w 214405"/>
              <a:gd name="connsiteY5" fmla="*/ 114194 h 23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3048">
                <a:moveTo>
                  <a:pt x="97881" y="233050"/>
                </a:moveTo>
                <a:lnTo>
                  <a:pt x="0" y="233050"/>
                </a:lnTo>
                <a:lnTo>
                  <a:pt x="114194" y="117690"/>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460" name="Freihandform: Form 459">
            <a:extLst>
              <a:ext uri="{FF2B5EF4-FFF2-40B4-BE49-F238E27FC236}">
                <a16:creationId xmlns:a16="http://schemas.microsoft.com/office/drawing/2014/main" id="{2AC000E1-63D7-4436-A71E-7F6A5657A1C6}"/>
              </a:ext>
            </a:extLst>
          </p:cNvPr>
          <p:cNvSpPr/>
          <p:nvPr userDrawn="1"/>
        </p:nvSpPr>
        <p:spPr>
          <a:xfrm>
            <a:off x="9069136" y="4832797"/>
            <a:ext cx="214405" cy="231884"/>
          </a:xfrm>
          <a:custGeom>
            <a:avLst/>
            <a:gdLst>
              <a:gd name="connsiteX0" fmla="*/ 97881 w 214405"/>
              <a:gd name="connsiteY0" fmla="*/ 231884 h 231884"/>
              <a:gd name="connsiteX1" fmla="*/ 0 w 214405"/>
              <a:gd name="connsiteY1" fmla="*/ 231884 h 231884"/>
              <a:gd name="connsiteX2" fmla="*/ 114194 w 214405"/>
              <a:gd name="connsiteY2" fmla="*/ 116525 h 231884"/>
              <a:gd name="connsiteX3" fmla="*/ 0 w 214405"/>
              <a:gd name="connsiteY3" fmla="*/ 0 h 231884"/>
              <a:gd name="connsiteX4" fmla="*/ 100211 w 214405"/>
              <a:gd name="connsiteY4" fmla="*/ 0 h 231884"/>
              <a:gd name="connsiteX5" fmla="*/ 214406 w 214405"/>
              <a:gd name="connsiteY5" fmla="*/ 114194 h 23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1884">
                <a:moveTo>
                  <a:pt x="97881" y="231884"/>
                </a:moveTo>
                <a:lnTo>
                  <a:pt x="0" y="231884"/>
                </a:lnTo>
                <a:lnTo>
                  <a:pt x="114194" y="116525"/>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461" name="Freihandform: Form 460">
            <a:extLst>
              <a:ext uri="{FF2B5EF4-FFF2-40B4-BE49-F238E27FC236}">
                <a16:creationId xmlns:a16="http://schemas.microsoft.com/office/drawing/2014/main" id="{D1CABC6A-77D1-495C-8BC3-9779693109C5}"/>
              </a:ext>
            </a:extLst>
          </p:cNvPr>
          <p:cNvSpPr/>
          <p:nvPr userDrawn="1"/>
        </p:nvSpPr>
        <p:spPr>
          <a:xfrm>
            <a:off x="9069136" y="5187033"/>
            <a:ext cx="214405" cy="233049"/>
          </a:xfrm>
          <a:custGeom>
            <a:avLst/>
            <a:gdLst>
              <a:gd name="connsiteX0" fmla="*/ 97881 w 214405"/>
              <a:gd name="connsiteY0" fmla="*/ 233050 h 233049"/>
              <a:gd name="connsiteX1" fmla="*/ 0 w 214405"/>
              <a:gd name="connsiteY1" fmla="*/ 233050 h 233049"/>
              <a:gd name="connsiteX2" fmla="*/ 114194 w 214405"/>
              <a:gd name="connsiteY2" fmla="*/ 117690 h 233049"/>
              <a:gd name="connsiteX3" fmla="*/ 0 w 214405"/>
              <a:gd name="connsiteY3" fmla="*/ 0 h 233049"/>
              <a:gd name="connsiteX4" fmla="*/ 100211 w 214405"/>
              <a:gd name="connsiteY4" fmla="*/ 0 h 233049"/>
              <a:gd name="connsiteX5" fmla="*/ 214406 w 214405"/>
              <a:gd name="connsiteY5" fmla="*/ 114194 h 23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3048">
                <a:moveTo>
                  <a:pt x="97881" y="233050"/>
                </a:moveTo>
                <a:lnTo>
                  <a:pt x="0" y="233050"/>
                </a:lnTo>
                <a:lnTo>
                  <a:pt x="114194" y="117690"/>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462" name="Freihandform: Form 461">
            <a:extLst>
              <a:ext uri="{FF2B5EF4-FFF2-40B4-BE49-F238E27FC236}">
                <a16:creationId xmlns:a16="http://schemas.microsoft.com/office/drawing/2014/main" id="{7EAB2106-7444-47F6-AF61-2FC7C13BD6CC}"/>
              </a:ext>
            </a:extLst>
          </p:cNvPr>
          <p:cNvSpPr/>
          <p:nvPr userDrawn="1"/>
        </p:nvSpPr>
        <p:spPr>
          <a:xfrm>
            <a:off x="9069136" y="5542434"/>
            <a:ext cx="214405" cy="231884"/>
          </a:xfrm>
          <a:custGeom>
            <a:avLst/>
            <a:gdLst>
              <a:gd name="connsiteX0" fmla="*/ 97881 w 214405"/>
              <a:gd name="connsiteY0" fmla="*/ 231884 h 231884"/>
              <a:gd name="connsiteX1" fmla="*/ 0 w 214405"/>
              <a:gd name="connsiteY1" fmla="*/ 231884 h 231884"/>
              <a:gd name="connsiteX2" fmla="*/ 114194 w 214405"/>
              <a:gd name="connsiteY2" fmla="*/ 117690 h 231884"/>
              <a:gd name="connsiteX3" fmla="*/ 0 w 214405"/>
              <a:gd name="connsiteY3" fmla="*/ 0 h 231884"/>
              <a:gd name="connsiteX4" fmla="*/ 100211 w 214405"/>
              <a:gd name="connsiteY4" fmla="*/ 0 h 231884"/>
              <a:gd name="connsiteX5" fmla="*/ 214406 w 214405"/>
              <a:gd name="connsiteY5" fmla="*/ 114194 h 23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1884">
                <a:moveTo>
                  <a:pt x="97881" y="231884"/>
                </a:moveTo>
                <a:lnTo>
                  <a:pt x="0" y="231884"/>
                </a:lnTo>
                <a:lnTo>
                  <a:pt x="114194" y="117690"/>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463" name="Freihandform: Form 462">
            <a:extLst>
              <a:ext uri="{FF2B5EF4-FFF2-40B4-BE49-F238E27FC236}">
                <a16:creationId xmlns:a16="http://schemas.microsoft.com/office/drawing/2014/main" id="{3AB53398-93E1-4699-9310-0395816CB2E8}"/>
              </a:ext>
            </a:extLst>
          </p:cNvPr>
          <p:cNvSpPr/>
          <p:nvPr userDrawn="1"/>
        </p:nvSpPr>
        <p:spPr>
          <a:xfrm>
            <a:off x="9069136" y="5896669"/>
            <a:ext cx="214405" cy="233049"/>
          </a:xfrm>
          <a:custGeom>
            <a:avLst/>
            <a:gdLst>
              <a:gd name="connsiteX0" fmla="*/ 97881 w 214405"/>
              <a:gd name="connsiteY0" fmla="*/ 233050 h 233049"/>
              <a:gd name="connsiteX1" fmla="*/ 0 w 214405"/>
              <a:gd name="connsiteY1" fmla="*/ 233050 h 233049"/>
              <a:gd name="connsiteX2" fmla="*/ 114194 w 214405"/>
              <a:gd name="connsiteY2" fmla="*/ 117690 h 233049"/>
              <a:gd name="connsiteX3" fmla="*/ 0 w 214405"/>
              <a:gd name="connsiteY3" fmla="*/ 0 h 233049"/>
              <a:gd name="connsiteX4" fmla="*/ 100211 w 214405"/>
              <a:gd name="connsiteY4" fmla="*/ 0 h 233049"/>
              <a:gd name="connsiteX5" fmla="*/ 214406 w 214405"/>
              <a:gd name="connsiteY5" fmla="*/ 114194 h 23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3048">
                <a:moveTo>
                  <a:pt x="97881" y="233050"/>
                </a:moveTo>
                <a:lnTo>
                  <a:pt x="0" y="233050"/>
                </a:lnTo>
                <a:lnTo>
                  <a:pt x="114194" y="117690"/>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464" name="Freihandform: Form 463">
            <a:extLst>
              <a:ext uri="{FF2B5EF4-FFF2-40B4-BE49-F238E27FC236}">
                <a16:creationId xmlns:a16="http://schemas.microsoft.com/office/drawing/2014/main" id="{4CCB3846-2B55-4B55-BF75-8867C7C59B82}"/>
              </a:ext>
            </a:extLst>
          </p:cNvPr>
          <p:cNvSpPr/>
          <p:nvPr userDrawn="1"/>
        </p:nvSpPr>
        <p:spPr>
          <a:xfrm>
            <a:off x="9069136" y="6252070"/>
            <a:ext cx="214405" cy="233049"/>
          </a:xfrm>
          <a:custGeom>
            <a:avLst/>
            <a:gdLst>
              <a:gd name="connsiteX0" fmla="*/ 97881 w 214405"/>
              <a:gd name="connsiteY0" fmla="*/ 233050 h 233049"/>
              <a:gd name="connsiteX1" fmla="*/ 0 w 214405"/>
              <a:gd name="connsiteY1" fmla="*/ 233050 h 233049"/>
              <a:gd name="connsiteX2" fmla="*/ 114194 w 214405"/>
              <a:gd name="connsiteY2" fmla="*/ 117690 h 233049"/>
              <a:gd name="connsiteX3" fmla="*/ 0 w 214405"/>
              <a:gd name="connsiteY3" fmla="*/ 0 h 233049"/>
              <a:gd name="connsiteX4" fmla="*/ 100211 w 214405"/>
              <a:gd name="connsiteY4" fmla="*/ 0 h 233049"/>
              <a:gd name="connsiteX5" fmla="*/ 214406 w 214405"/>
              <a:gd name="connsiteY5" fmla="*/ 114194 h 23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3048">
                <a:moveTo>
                  <a:pt x="97881" y="233050"/>
                </a:moveTo>
                <a:lnTo>
                  <a:pt x="0" y="233050"/>
                </a:lnTo>
                <a:lnTo>
                  <a:pt x="114194" y="117690"/>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465" name="Freihandform: Form 464">
            <a:extLst>
              <a:ext uri="{FF2B5EF4-FFF2-40B4-BE49-F238E27FC236}">
                <a16:creationId xmlns:a16="http://schemas.microsoft.com/office/drawing/2014/main" id="{40A79061-F4B0-42D9-9BD3-FD4BCED5445B}"/>
              </a:ext>
            </a:extLst>
          </p:cNvPr>
          <p:cNvSpPr/>
          <p:nvPr userDrawn="1"/>
        </p:nvSpPr>
        <p:spPr>
          <a:xfrm>
            <a:off x="9069136" y="6607470"/>
            <a:ext cx="214405" cy="231884"/>
          </a:xfrm>
          <a:custGeom>
            <a:avLst/>
            <a:gdLst>
              <a:gd name="connsiteX0" fmla="*/ 97881 w 214405"/>
              <a:gd name="connsiteY0" fmla="*/ 231884 h 231884"/>
              <a:gd name="connsiteX1" fmla="*/ 0 w 214405"/>
              <a:gd name="connsiteY1" fmla="*/ 231884 h 231884"/>
              <a:gd name="connsiteX2" fmla="*/ 114194 w 214405"/>
              <a:gd name="connsiteY2" fmla="*/ 116525 h 231884"/>
              <a:gd name="connsiteX3" fmla="*/ 0 w 214405"/>
              <a:gd name="connsiteY3" fmla="*/ 0 h 231884"/>
              <a:gd name="connsiteX4" fmla="*/ 100211 w 214405"/>
              <a:gd name="connsiteY4" fmla="*/ 0 h 231884"/>
              <a:gd name="connsiteX5" fmla="*/ 214406 w 214405"/>
              <a:gd name="connsiteY5" fmla="*/ 114194 h 23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05" h="231884">
                <a:moveTo>
                  <a:pt x="97881" y="231884"/>
                </a:moveTo>
                <a:lnTo>
                  <a:pt x="0" y="231884"/>
                </a:lnTo>
                <a:lnTo>
                  <a:pt x="114194" y="116525"/>
                </a:lnTo>
                <a:lnTo>
                  <a:pt x="0" y="0"/>
                </a:lnTo>
                <a:lnTo>
                  <a:pt x="100211" y="0"/>
                </a:lnTo>
                <a:lnTo>
                  <a:pt x="214406" y="114194"/>
                </a:lnTo>
                <a:close/>
              </a:path>
            </a:pathLst>
          </a:custGeom>
          <a:solidFill>
            <a:srgbClr val="EEF2F5"/>
          </a:solidFill>
          <a:ln w="11643" cap="flat">
            <a:noFill/>
            <a:prstDash val="solid"/>
            <a:miter/>
          </a:ln>
        </p:spPr>
        <p:txBody>
          <a:bodyPr rtlCol="0" anchor="ctr"/>
          <a:lstStyle/>
          <a:p>
            <a:endParaRPr lang="de-DE"/>
          </a:p>
        </p:txBody>
      </p:sp>
      <p:sp>
        <p:nvSpPr>
          <p:cNvPr id="466" name="Freihandform: Form 465">
            <a:extLst>
              <a:ext uri="{FF2B5EF4-FFF2-40B4-BE49-F238E27FC236}">
                <a16:creationId xmlns:a16="http://schemas.microsoft.com/office/drawing/2014/main" id="{943EE673-B8FD-4F26-8BD5-4324C5F8C0F6}"/>
              </a:ext>
            </a:extLst>
          </p:cNvPr>
          <p:cNvSpPr/>
          <p:nvPr userDrawn="1"/>
        </p:nvSpPr>
        <p:spPr>
          <a:xfrm>
            <a:off x="9415215" y="1984931"/>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2351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5847"/>
                </a:lnTo>
                <a:lnTo>
                  <a:pt x="0" y="0"/>
                </a:lnTo>
                <a:lnTo>
                  <a:pt x="108368" y="0"/>
                </a:lnTo>
                <a:lnTo>
                  <a:pt x="230719" y="122351"/>
                </a:lnTo>
                <a:close/>
              </a:path>
            </a:pathLst>
          </a:custGeom>
          <a:solidFill>
            <a:srgbClr val="EEF2F5"/>
          </a:solidFill>
          <a:ln w="11643" cap="flat">
            <a:noFill/>
            <a:prstDash val="solid"/>
            <a:miter/>
          </a:ln>
        </p:spPr>
        <p:txBody>
          <a:bodyPr rtlCol="0" anchor="ctr"/>
          <a:lstStyle/>
          <a:p>
            <a:endParaRPr lang="de-DE"/>
          </a:p>
        </p:txBody>
      </p:sp>
      <p:sp>
        <p:nvSpPr>
          <p:cNvPr id="467" name="Freihandform: Form 466">
            <a:extLst>
              <a:ext uri="{FF2B5EF4-FFF2-40B4-BE49-F238E27FC236}">
                <a16:creationId xmlns:a16="http://schemas.microsoft.com/office/drawing/2014/main" id="{87A53D99-9883-4DF3-8F12-7929E8D22C53}"/>
              </a:ext>
            </a:extLst>
          </p:cNvPr>
          <p:cNvSpPr/>
          <p:nvPr userDrawn="1"/>
        </p:nvSpPr>
        <p:spPr>
          <a:xfrm>
            <a:off x="9415215" y="2339167"/>
            <a:ext cx="230718" cy="250528"/>
          </a:xfrm>
          <a:custGeom>
            <a:avLst/>
            <a:gdLst>
              <a:gd name="connsiteX0" fmla="*/ 106037 w 230718"/>
              <a:gd name="connsiteY0" fmla="*/ 250528 h 250528"/>
              <a:gd name="connsiteX1" fmla="*/ 0 w 230718"/>
              <a:gd name="connsiteY1" fmla="*/ 250528 h 250528"/>
              <a:gd name="connsiteX2" fmla="*/ 123516 w 230718"/>
              <a:gd name="connsiteY2" fmla="*/ 127012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7012"/>
                </a:lnTo>
                <a:lnTo>
                  <a:pt x="0" y="0"/>
                </a:lnTo>
                <a:lnTo>
                  <a:pt x="108368" y="0"/>
                </a:lnTo>
                <a:lnTo>
                  <a:pt x="230719" y="123516"/>
                </a:lnTo>
                <a:close/>
              </a:path>
            </a:pathLst>
          </a:custGeom>
          <a:solidFill>
            <a:srgbClr val="EEF2F5"/>
          </a:solidFill>
          <a:ln w="11643" cap="flat">
            <a:noFill/>
            <a:prstDash val="solid"/>
            <a:miter/>
          </a:ln>
        </p:spPr>
        <p:txBody>
          <a:bodyPr rtlCol="0" anchor="ctr"/>
          <a:lstStyle/>
          <a:p>
            <a:endParaRPr lang="de-DE"/>
          </a:p>
        </p:txBody>
      </p:sp>
      <p:sp>
        <p:nvSpPr>
          <p:cNvPr id="468" name="Freihandform: Form 467">
            <a:extLst>
              <a:ext uri="{FF2B5EF4-FFF2-40B4-BE49-F238E27FC236}">
                <a16:creationId xmlns:a16="http://schemas.microsoft.com/office/drawing/2014/main" id="{63252D08-D82D-4E5D-B69D-3C692A2048C4}"/>
              </a:ext>
            </a:extLst>
          </p:cNvPr>
          <p:cNvSpPr/>
          <p:nvPr userDrawn="1"/>
        </p:nvSpPr>
        <p:spPr>
          <a:xfrm>
            <a:off x="9415215" y="2694568"/>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5847"/>
                </a:lnTo>
                <a:lnTo>
                  <a:pt x="0" y="0"/>
                </a:lnTo>
                <a:lnTo>
                  <a:pt x="108368" y="0"/>
                </a:lnTo>
                <a:lnTo>
                  <a:pt x="230719" y="123516"/>
                </a:lnTo>
                <a:close/>
              </a:path>
            </a:pathLst>
          </a:custGeom>
          <a:solidFill>
            <a:srgbClr val="EEF2F5"/>
          </a:solidFill>
          <a:ln w="11643" cap="flat">
            <a:noFill/>
            <a:prstDash val="solid"/>
            <a:miter/>
          </a:ln>
        </p:spPr>
        <p:txBody>
          <a:bodyPr rtlCol="0" anchor="ctr"/>
          <a:lstStyle/>
          <a:p>
            <a:endParaRPr lang="de-DE"/>
          </a:p>
        </p:txBody>
      </p:sp>
      <p:sp>
        <p:nvSpPr>
          <p:cNvPr id="469" name="Freihandform: Form 468">
            <a:extLst>
              <a:ext uri="{FF2B5EF4-FFF2-40B4-BE49-F238E27FC236}">
                <a16:creationId xmlns:a16="http://schemas.microsoft.com/office/drawing/2014/main" id="{2D96FD4E-6BD4-4E95-B758-5237E3AF6CAC}"/>
              </a:ext>
            </a:extLst>
          </p:cNvPr>
          <p:cNvSpPr/>
          <p:nvPr userDrawn="1"/>
        </p:nvSpPr>
        <p:spPr>
          <a:xfrm>
            <a:off x="9415215" y="3048803"/>
            <a:ext cx="230718" cy="250528"/>
          </a:xfrm>
          <a:custGeom>
            <a:avLst/>
            <a:gdLst>
              <a:gd name="connsiteX0" fmla="*/ 106037 w 230718"/>
              <a:gd name="connsiteY0" fmla="*/ 250528 h 250528"/>
              <a:gd name="connsiteX1" fmla="*/ 0 w 230718"/>
              <a:gd name="connsiteY1" fmla="*/ 250528 h 250528"/>
              <a:gd name="connsiteX2" fmla="*/ 123516 w 230718"/>
              <a:gd name="connsiteY2" fmla="*/ 127012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7012"/>
                </a:lnTo>
                <a:lnTo>
                  <a:pt x="0" y="0"/>
                </a:lnTo>
                <a:lnTo>
                  <a:pt x="108368" y="0"/>
                </a:lnTo>
                <a:lnTo>
                  <a:pt x="230719" y="123516"/>
                </a:lnTo>
                <a:close/>
              </a:path>
            </a:pathLst>
          </a:custGeom>
          <a:solidFill>
            <a:srgbClr val="EEF2F5"/>
          </a:solidFill>
          <a:ln w="11643" cap="flat">
            <a:noFill/>
            <a:prstDash val="solid"/>
            <a:miter/>
          </a:ln>
        </p:spPr>
        <p:txBody>
          <a:bodyPr rtlCol="0" anchor="ctr"/>
          <a:lstStyle/>
          <a:p>
            <a:endParaRPr lang="de-DE"/>
          </a:p>
        </p:txBody>
      </p:sp>
      <p:sp>
        <p:nvSpPr>
          <p:cNvPr id="470" name="Freihandform: Form 469">
            <a:extLst>
              <a:ext uri="{FF2B5EF4-FFF2-40B4-BE49-F238E27FC236}">
                <a16:creationId xmlns:a16="http://schemas.microsoft.com/office/drawing/2014/main" id="{E226C185-80E2-4945-B19A-87F6D324436B}"/>
              </a:ext>
            </a:extLst>
          </p:cNvPr>
          <p:cNvSpPr/>
          <p:nvPr userDrawn="1"/>
        </p:nvSpPr>
        <p:spPr>
          <a:xfrm>
            <a:off x="9415215" y="3404203"/>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5847"/>
                </a:lnTo>
                <a:lnTo>
                  <a:pt x="0" y="0"/>
                </a:lnTo>
                <a:lnTo>
                  <a:pt x="108368" y="0"/>
                </a:lnTo>
                <a:lnTo>
                  <a:pt x="230719" y="123516"/>
                </a:lnTo>
                <a:close/>
              </a:path>
            </a:pathLst>
          </a:custGeom>
          <a:solidFill>
            <a:srgbClr val="EEF2F5"/>
          </a:solidFill>
          <a:ln w="11643" cap="flat">
            <a:noFill/>
            <a:prstDash val="solid"/>
            <a:miter/>
          </a:ln>
        </p:spPr>
        <p:txBody>
          <a:bodyPr rtlCol="0" anchor="ctr"/>
          <a:lstStyle/>
          <a:p>
            <a:endParaRPr lang="de-DE"/>
          </a:p>
        </p:txBody>
      </p:sp>
      <p:sp>
        <p:nvSpPr>
          <p:cNvPr id="471" name="Freihandform: Form 470">
            <a:extLst>
              <a:ext uri="{FF2B5EF4-FFF2-40B4-BE49-F238E27FC236}">
                <a16:creationId xmlns:a16="http://schemas.microsoft.com/office/drawing/2014/main" id="{8216F4B4-E4AF-4EE5-A82E-249143E44EB1}"/>
              </a:ext>
            </a:extLst>
          </p:cNvPr>
          <p:cNvSpPr/>
          <p:nvPr userDrawn="1"/>
        </p:nvSpPr>
        <p:spPr>
          <a:xfrm>
            <a:off x="9415215" y="3758439"/>
            <a:ext cx="230718" cy="251693"/>
          </a:xfrm>
          <a:custGeom>
            <a:avLst/>
            <a:gdLst>
              <a:gd name="connsiteX0" fmla="*/ 106037 w 230718"/>
              <a:gd name="connsiteY0" fmla="*/ 251694 h 251693"/>
              <a:gd name="connsiteX1" fmla="*/ 0 w 230718"/>
              <a:gd name="connsiteY1" fmla="*/ 251694 h 251693"/>
              <a:gd name="connsiteX2" fmla="*/ 123516 w 230718"/>
              <a:gd name="connsiteY2" fmla="*/ 127012 h 251693"/>
              <a:gd name="connsiteX3" fmla="*/ 0 w 230718"/>
              <a:gd name="connsiteY3" fmla="*/ 0 h 251693"/>
              <a:gd name="connsiteX4" fmla="*/ 108368 w 230718"/>
              <a:gd name="connsiteY4" fmla="*/ 0 h 251693"/>
              <a:gd name="connsiteX5" fmla="*/ 230719 w 230718"/>
              <a:gd name="connsiteY5" fmla="*/ 123516 h 251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1693">
                <a:moveTo>
                  <a:pt x="106037" y="251694"/>
                </a:moveTo>
                <a:lnTo>
                  <a:pt x="0" y="251694"/>
                </a:lnTo>
                <a:lnTo>
                  <a:pt x="123516" y="127012"/>
                </a:lnTo>
                <a:lnTo>
                  <a:pt x="0" y="0"/>
                </a:lnTo>
                <a:lnTo>
                  <a:pt x="108368" y="0"/>
                </a:lnTo>
                <a:lnTo>
                  <a:pt x="230719" y="123516"/>
                </a:lnTo>
                <a:close/>
              </a:path>
            </a:pathLst>
          </a:custGeom>
          <a:solidFill>
            <a:srgbClr val="EEF2F5"/>
          </a:solidFill>
          <a:ln w="11643" cap="flat">
            <a:noFill/>
            <a:prstDash val="solid"/>
            <a:miter/>
          </a:ln>
        </p:spPr>
        <p:txBody>
          <a:bodyPr rtlCol="0" anchor="ctr"/>
          <a:lstStyle/>
          <a:p>
            <a:endParaRPr lang="de-DE"/>
          </a:p>
        </p:txBody>
      </p:sp>
      <p:sp>
        <p:nvSpPr>
          <p:cNvPr id="472" name="Freihandform: Form 471">
            <a:extLst>
              <a:ext uri="{FF2B5EF4-FFF2-40B4-BE49-F238E27FC236}">
                <a16:creationId xmlns:a16="http://schemas.microsoft.com/office/drawing/2014/main" id="{C3611650-5A39-417A-8E28-06A016589A86}"/>
              </a:ext>
            </a:extLst>
          </p:cNvPr>
          <p:cNvSpPr/>
          <p:nvPr userDrawn="1"/>
        </p:nvSpPr>
        <p:spPr>
          <a:xfrm>
            <a:off x="9415215" y="4113840"/>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5847"/>
                </a:lnTo>
                <a:lnTo>
                  <a:pt x="0" y="0"/>
                </a:lnTo>
                <a:lnTo>
                  <a:pt x="108368" y="0"/>
                </a:lnTo>
                <a:lnTo>
                  <a:pt x="230719" y="123516"/>
                </a:lnTo>
                <a:close/>
              </a:path>
            </a:pathLst>
          </a:custGeom>
          <a:solidFill>
            <a:srgbClr val="EEF2F5"/>
          </a:solidFill>
          <a:ln w="11643" cap="flat">
            <a:noFill/>
            <a:prstDash val="solid"/>
            <a:miter/>
          </a:ln>
        </p:spPr>
        <p:txBody>
          <a:bodyPr rtlCol="0" anchor="ctr"/>
          <a:lstStyle/>
          <a:p>
            <a:endParaRPr lang="de-DE"/>
          </a:p>
        </p:txBody>
      </p:sp>
      <p:sp>
        <p:nvSpPr>
          <p:cNvPr id="473" name="Freihandform: Form 472">
            <a:extLst>
              <a:ext uri="{FF2B5EF4-FFF2-40B4-BE49-F238E27FC236}">
                <a16:creationId xmlns:a16="http://schemas.microsoft.com/office/drawing/2014/main" id="{A4834F6A-C40A-4A2D-BB8B-EF97775C175E}"/>
              </a:ext>
            </a:extLst>
          </p:cNvPr>
          <p:cNvSpPr/>
          <p:nvPr userDrawn="1"/>
        </p:nvSpPr>
        <p:spPr>
          <a:xfrm>
            <a:off x="9415215" y="4469240"/>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2351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5847"/>
                </a:lnTo>
                <a:lnTo>
                  <a:pt x="0" y="0"/>
                </a:lnTo>
                <a:lnTo>
                  <a:pt x="108368" y="0"/>
                </a:lnTo>
                <a:lnTo>
                  <a:pt x="230719" y="122351"/>
                </a:lnTo>
                <a:close/>
              </a:path>
            </a:pathLst>
          </a:custGeom>
          <a:solidFill>
            <a:srgbClr val="EEF2F5"/>
          </a:solidFill>
          <a:ln w="11643" cap="flat">
            <a:noFill/>
            <a:prstDash val="solid"/>
            <a:miter/>
          </a:ln>
        </p:spPr>
        <p:txBody>
          <a:bodyPr rtlCol="0" anchor="ctr"/>
          <a:lstStyle/>
          <a:p>
            <a:endParaRPr lang="de-DE"/>
          </a:p>
        </p:txBody>
      </p:sp>
      <p:sp>
        <p:nvSpPr>
          <p:cNvPr id="474" name="Freihandform: Form 473">
            <a:extLst>
              <a:ext uri="{FF2B5EF4-FFF2-40B4-BE49-F238E27FC236}">
                <a16:creationId xmlns:a16="http://schemas.microsoft.com/office/drawing/2014/main" id="{BD3150AE-B016-44F0-AD8A-CC24BB0B8DCC}"/>
              </a:ext>
            </a:extLst>
          </p:cNvPr>
          <p:cNvSpPr/>
          <p:nvPr userDrawn="1"/>
        </p:nvSpPr>
        <p:spPr>
          <a:xfrm>
            <a:off x="9415215" y="4823475"/>
            <a:ext cx="230718" cy="250528"/>
          </a:xfrm>
          <a:custGeom>
            <a:avLst/>
            <a:gdLst>
              <a:gd name="connsiteX0" fmla="*/ 106037 w 230718"/>
              <a:gd name="connsiteY0" fmla="*/ 250528 h 250528"/>
              <a:gd name="connsiteX1" fmla="*/ 0 w 230718"/>
              <a:gd name="connsiteY1" fmla="*/ 250528 h 250528"/>
              <a:gd name="connsiteX2" fmla="*/ 123516 w 230718"/>
              <a:gd name="connsiteY2" fmla="*/ 127012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7012"/>
                </a:lnTo>
                <a:lnTo>
                  <a:pt x="0" y="0"/>
                </a:lnTo>
                <a:lnTo>
                  <a:pt x="108368" y="0"/>
                </a:lnTo>
                <a:lnTo>
                  <a:pt x="230719" y="123516"/>
                </a:lnTo>
                <a:close/>
              </a:path>
            </a:pathLst>
          </a:custGeom>
          <a:solidFill>
            <a:srgbClr val="EEF2F5"/>
          </a:solidFill>
          <a:ln w="11643" cap="flat">
            <a:noFill/>
            <a:prstDash val="solid"/>
            <a:miter/>
          </a:ln>
        </p:spPr>
        <p:txBody>
          <a:bodyPr rtlCol="0" anchor="ctr"/>
          <a:lstStyle/>
          <a:p>
            <a:endParaRPr lang="de-DE"/>
          </a:p>
        </p:txBody>
      </p:sp>
      <p:sp>
        <p:nvSpPr>
          <p:cNvPr id="475" name="Freihandform: Form 474">
            <a:extLst>
              <a:ext uri="{FF2B5EF4-FFF2-40B4-BE49-F238E27FC236}">
                <a16:creationId xmlns:a16="http://schemas.microsoft.com/office/drawing/2014/main" id="{8F46F2FC-CCE2-4282-AA26-153D1EA218A1}"/>
              </a:ext>
            </a:extLst>
          </p:cNvPr>
          <p:cNvSpPr/>
          <p:nvPr userDrawn="1"/>
        </p:nvSpPr>
        <p:spPr>
          <a:xfrm>
            <a:off x="9415215" y="5178876"/>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2351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5847"/>
                </a:lnTo>
                <a:lnTo>
                  <a:pt x="0" y="0"/>
                </a:lnTo>
                <a:lnTo>
                  <a:pt x="108368" y="0"/>
                </a:lnTo>
                <a:lnTo>
                  <a:pt x="230719" y="122351"/>
                </a:lnTo>
                <a:close/>
              </a:path>
            </a:pathLst>
          </a:custGeom>
          <a:solidFill>
            <a:srgbClr val="EEF2F5"/>
          </a:solidFill>
          <a:ln w="11643" cap="flat">
            <a:noFill/>
            <a:prstDash val="solid"/>
            <a:miter/>
          </a:ln>
        </p:spPr>
        <p:txBody>
          <a:bodyPr rtlCol="0" anchor="ctr"/>
          <a:lstStyle/>
          <a:p>
            <a:endParaRPr lang="de-DE"/>
          </a:p>
        </p:txBody>
      </p:sp>
      <p:sp>
        <p:nvSpPr>
          <p:cNvPr id="476" name="Freihandform: Form 475">
            <a:extLst>
              <a:ext uri="{FF2B5EF4-FFF2-40B4-BE49-F238E27FC236}">
                <a16:creationId xmlns:a16="http://schemas.microsoft.com/office/drawing/2014/main" id="{A29055BD-1B52-4B46-A495-DD92BB1DBC0E}"/>
              </a:ext>
            </a:extLst>
          </p:cNvPr>
          <p:cNvSpPr/>
          <p:nvPr userDrawn="1"/>
        </p:nvSpPr>
        <p:spPr>
          <a:xfrm>
            <a:off x="9415215" y="5533111"/>
            <a:ext cx="230718" cy="250528"/>
          </a:xfrm>
          <a:custGeom>
            <a:avLst/>
            <a:gdLst>
              <a:gd name="connsiteX0" fmla="*/ 106037 w 230718"/>
              <a:gd name="connsiteY0" fmla="*/ 250528 h 250528"/>
              <a:gd name="connsiteX1" fmla="*/ 0 w 230718"/>
              <a:gd name="connsiteY1" fmla="*/ 250528 h 250528"/>
              <a:gd name="connsiteX2" fmla="*/ 123516 w 230718"/>
              <a:gd name="connsiteY2" fmla="*/ 127012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7012"/>
                </a:lnTo>
                <a:lnTo>
                  <a:pt x="0" y="0"/>
                </a:lnTo>
                <a:lnTo>
                  <a:pt x="108368" y="0"/>
                </a:lnTo>
                <a:lnTo>
                  <a:pt x="230719" y="123516"/>
                </a:lnTo>
                <a:close/>
              </a:path>
            </a:pathLst>
          </a:custGeom>
          <a:solidFill>
            <a:srgbClr val="EEF2F5"/>
          </a:solidFill>
          <a:ln w="11643" cap="flat">
            <a:noFill/>
            <a:prstDash val="solid"/>
            <a:miter/>
          </a:ln>
        </p:spPr>
        <p:txBody>
          <a:bodyPr rtlCol="0" anchor="ctr"/>
          <a:lstStyle/>
          <a:p>
            <a:endParaRPr lang="de-DE"/>
          </a:p>
        </p:txBody>
      </p:sp>
      <p:sp>
        <p:nvSpPr>
          <p:cNvPr id="477" name="Freihandform: Form 476">
            <a:extLst>
              <a:ext uri="{FF2B5EF4-FFF2-40B4-BE49-F238E27FC236}">
                <a16:creationId xmlns:a16="http://schemas.microsoft.com/office/drawing/2014/main" id="{D44339B8-50B8-4AC9-8B2C-02D44C591DF6}"/>
              </a:ext>
            </a:extLst>
          </p:cNvPr>
          <p:cNvSpPr/>
          <p:nvPr userDrawn="1"/>
        </p:nvSpPr>
        <p:spPr>
          <a:xfrm>
            <a:off x="9415215" y="5888512"/>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2351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5847"/>
                </a:lnTo>
                <a:lnTo>
                  <a:pt x="0" y="0"/>
                </a:lnTo>
                <a:lnTo>
                  <a:pt x="108368" y="0"/>
                </a:lnTo>
                <a:lnTo>
                  <a:pt x="230719" y="122351"/>
                </a:lnTo>
                <a:close/>
              </a:path>
            </a:pathLst>
          </a:custGeom>
          <a:solidFill>
            <a:srgbClr val="EEF2F5"/>
          </a:solidFill>
          <a:ln w="11643" cap="flat">
            <a:noFill/>
            <a:prstDash val="solid"/>
            <a:miter/>
          </a:ln>
        </p:spPr>
        <p:txBody>
          <a:bodyPr rtlCol="0" anchor="ctr"/>
          <a:lstStyle/>
          <a:p>
            <a:endParaRPr lang="de-DE"/>
          </a:p>
        </p:txBody>
      </p:sp>
      <p:sp>
        <p:nvSpPr>
          <p:cNvPr id="478" name="Freihandform: Form 477">
            <a:extLst>
              <a:ext uri="{FF2B5EF4-FFF2-40B4-BE49-F238E27FC236}">
                <a16:creationId xmlns:a16="http://schemas.microsoft.com/office/drawing/2014/main" id="{66AF7D49-3A28-449B-B645-34567CF2F4E2}"/>
              </a:ext>
            </a:extLst>
          </p:cNvPr>
          <p:cNvSpPr/>
          <p:nvPr userDrawn="1"/>
        </p:nvSpPr>
        <p:spPr>
          <a:xfrm>
            <a:off x="9415215" y="6242748"/>
            <a:ext cx="230718" cy="250528"/>
          </a:xfrm>
          <a:custGeom>
            <a:avLst/>
            <a:gdLst>
              <a:gd name="connsiteX0" fmla="*/ 106037 w 230718"/>
              <a:gd name="connsiteY0" fmla="*/ 250528 h 250528"/>
              <a:gd name="connsiteX1" fmla="*/ 0 w 230718"/>
              <a:gd name="connsiteY1" fmla="*/ 250528 h 250528"/>
              <a:gd name="connsiteX2" fmla="*/ 123516 w 230718"/>
              <a:gd name="connsiteY2" fmla="*/ 127012 h 250528"/>
              <a:gd name="connsiteX3" fmla="*/ 0 w 230718"/>
              <a:gd name="connsiteY3" fmla="*/ 0 h 250528"/>
              <a:gd name="connsiteX4" fmla="*/ 108368 w 230718"/>
              <a:gd name="connsiteY4" fmla="*/ 0 h 250528"/>
              <a:gd name="connsiteX5" fmla="*/ 230719 w 230718"/>
              <a:gd name="connsiteY5" fmla="*/ 123516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7012"/>
                </a:lnTo>
                <a:lnTo>
                  <a:pt x="0" y="0"/>
                </a:lnTo>
                <a:lnTo>
                  <a:pt x="108368" y="0"/>
                </a:lnTo>
                <a:lnTo>
                  <a:pt x="230719" y="123516"/>
                </a:lnTo>
                <a:close/>
              </a:path>
            </a:pathLst>
          </a:custGeom>
          <a:solidFill>
            <a:srgbClr val="EEF2F5"/>
          </a:solidFill>
          <a:ln w="11643" cap="flat">
            <a:noFill/>
            <a:prstDash val="solid"/>
            <a:miter/>
          </a:ln>
        </p:spPr>
        <p:txBody>
          <a:bodyPr rtlCol="0" anchor="ctr"/>
          <a:lstStyle/>
          <a:p>
            <a:endParaRPr lang="de-DE"/>
          </a:p>
        </p:txBody>
      </p:sp>
      <p:sp>
        <p:nvSpPr>
          <p:cNvPr id="479" name="Freihandform: Form 478">
            <a:extLst>
              <a:ext uri="{FF2B5EF4-FFF2-40B4-BE49-F238E27FC236}">
                <a16:creationId xmlns:a16="http://schemas.microsoft.com/office/drawing/2014/main" id="{F2247E83-ADCA-4D56-80E1-AFB3483E8B0F}"/>
              </a:ext>
            </a:extLst>
          </p:cNvPr>
          <p:cNvSpPr/>
          <p:nvPr userDrawn="1"/>
        </p:nvSpPr>
        <p:spPr>
          <a:xfrm>
            <a:off x="9415215" y="6598148"/>
            <a:ext cx="230718" cy="250528"/>
          </a:xfrm>
          <a:custGeom>
            <a:avLst/>
            <a:gdLst>
              <a:gd name="connsiteX0" fmla="*/ 106037 w 230718"/>
              <a:gd name="connsiteY0" fmla="*/ 250528 h 250528"/>
              <a:gd name="connsiteX1" fmla="*/ 0 w 230718"/>
              <a:gd name="connsiteY1" fmla="*/ 250528 h 250528"/>
              <a:gd name="connsiteX2" fmla="*/ 123516 w 230718"/>
              <a:gd name="connsiteY2" fmla="*/ 125847 h 250528"/>
              <a:gd name="connsiteX3" fmla="*/ 0 w 230718"/>
              <a:gd name="connsiteY3" fmla="*/ 0 h 250528"/>
              <a:gd name="connsiteX4" fmla="*/ 108368 w 230718"/>
              <a:gd name="connsiteY4" fmla="*/ 0 h 250528"/>
              <a:gd name="connsiteX5" fmla="*/ 230719 w 230718"/>
              <a:gd name="connsiteY5" fmla="*/ 122351 h 25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18" h="250527">
                <a:moveTo>
                  <a:pt x="106037" y="250528"/>
                </a:moveTo>
                <a:lnTo>
                  <a:pt x="0" y="250528"/>
                </a:lnTo>
                <a:lnTo>
                  <a:pt x="123516" y="125847"/>
                </a:lnTo>
                <a:lnTo>
                  <a:pt x="0" y="0"/>
                </a:lnTo>
                <a:lnTo>
                  <a:pt x="108368" y="0"/>
                </a:lnTo>
                <a:lnTo>
                  <a:pt x="230719" y="122351"/>
                </a:lnTo>
                <a:close/>
              </a:path>
            </a:pathLst>
          </a:custGeom>
          <a:solidFill>
            <a:srgbClr val="EEF2F5"/>
          </a:solidFill>
          <a:ln w="11643" cap="flat">
            <a:noFill/>
            <a:prstDash val="solid"/>
            <a:miter/>
          </a:ln>
        </p:spPr>
        <p:txBody>
          <a:bodyPr rtlCol="0" anchor="ctr"/>
          <a:lstStyle/>
          <a:p>
            <a:endParaRPr lang="de-DE"/>
          </a:p>
        </p:txBody>
      </p:sp>
      <p:sp>
        <p:nvSpPr>
          <p:cNvPr id="480" name="Freihandform: Form 479">
            <a:extLst>
              <a:ext uri="{FF2B5EF4-FFF2-40B4-BE49-F238E27FC236}">
                <a16:creationId xmlns:a16="http://schemas.microsoft.com/office/drawing/2014/main" id="{2A4D62B8-F7F3-4271-9A21-481EA11F2C07}"/>
              </a:ext>
            </a:extLst>
          </p:cNvPr>
          <p:cNvSpPr/>
          <p:nvPr userDrawn="1"/>
        </p:nvSpPr>
        <p:spPr>
          <a:xfrm>
            <a:off x="9761293" y="1975610"/>
            <a:ext cx="248198" cy="269172"/>
          </a:xfrm>
          <a:custGeom>
            <a:avLst/>
            <a:gdLst>
              <a:gd name="connsiteX0" fmla="*/ 114195 w 248198"/>
              <a:gd name="connsiteY0" fmla="*/ 269172 h 269172"/>
              <a:gd name="connsiteX1" fmla="*/ 0 w 248198"/>
              <a:gd name="connsiteY1" fmla="*/ 269172 h 269172"/>
              <a:gd name="connsiteX2" fmla="*/ 132838 w 248198"/>
              <a:gd name="connsiteY2" fmla="*/ 135169 h 269172"/>
              <a:gd name="connsiteX3" fmla="*/ 0 w 248198"/>
              <a:gd name="connsiteY3" fmla="*/ 0 h 269172"/>
              <a:gd name="connsiteX4" fmla="*/ 116525 w 248198"/>
              <a:gd name="connsiteY4" fmla="*/ 0 h 269172"/>
              <a:gd name="connsiteX5" fmla="*/ 248198 w 248198"/>
              <a:gd name="connsiteY5" fmla="*/ 131673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endParaRPr lang="de-DE"/>
          </a:p>
        </p:txBody>
      </p:sp>
      <p:sp>
        <p:nvSpPr>
          <p:cNvPr id="481" name="Freihandform: Form 480">
            <a:extLst>
              <a:ext uri="{FF2B5EF4-FFF2-40B4-BE49-F238E27FC236}">
                <a16:creationId xmlns:a16="http://schemas.microsoft.com/office/drawing/2014/main" id="{4DF1C417-D96B-403C-8543-89A9B26955F5}"/>
              </a:ext>
            </a:extLst>
          </p:cNvPr>
          <p:cNvSpPr/>
          <p:nvPr userDrawn="1"/>
        </p:nvSpPr>
        <p:spPr>
          <a:xfrm>
            <a:off x="9761293" y="2331010"/>
            <a:ext cx="248198" cy="268007"/>
          </a:xfrm>
          <a:custGeom>
            <a:avLst/>
            <a:gdLst>
              <a:gd name="connsiteX0" fmla="*/ 114195 w 248198"/>
              <a:gd name="connsiteY0" fmla="*/ 268007 h 268007"/>
              <a:gd name="connsiteX1" fmla="*/ 0 w 248198"/>
              <a:gd name="connsiteY1" fmla="*/ 268007 h 268007"/>
              <a:gd name="connsiteX2" fmla="*/ 132838 w 248198"/>
              <a:gd name="connsiteY2" fmla="*/ 135169 h 268007"/>
              <a:gd name="connsiteX3" fmla="*/ 0 w 248198"/>
              <a:gd name="connsiteY3" fmla="*/ 0 h 268007"/>
              <a:gd name="connsiteX4" fmla="*/ 116525 w 248198"/>
              <a:gd name="connsiteY4" fmla="*/ 0 h 268007"/>
              <a:gd name="connsiteX5" fmla="*/ 248198 w 248198"/>
              <a:gd name="connsiteY5" fmla="*/ 131673 h 268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8007">
                <a:moveTo>
                  <a:pt x="114195" y="268007"/>
                </a:moveTo>
                <a:lnTo>
                  <a:pt x="0" y="268007"/>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endParaRPr lang="de-DE"/>
          </a:p>
        </p:txBody>
      </p:sp>
      <p:sp>
        <p:nvSpPr>
          <p:cNvPr id="482" name="Freihandform: Form 481">
            <a:extLst>
              <a:ext uri="{FF2B5EF4-FFF2-40B4-BE49-F238E27FC236}">
                <a16:creationId xmlns:a16="http://schemas.microsoft.com/office/drawing/2014/main" id="{88DE78C6-B3E8-4EA0-AC89-A5BAEF371677}"/>
              </a:ext>
            </a:extLst>
          </p:cNvPr>
          <p:cNvSpPr/>
          <p:nvPr userDrawn="1"/>
        </p:nvSpPr>
        <p:spPr>
          <a:xfrm>
            <a:off x="9761293" y="2685246"/>
            <a:ext cx="248198" cy="269172"/>
          </a:xfrm>
          <a:custGeom>
            <a:avLst/>
            <a:gdLst>
              <a:gd name="connsiteX0" fmla="*/ 114195 w 248198"/>
              <a:gd name="connsiteY0" fmla="*/ 269172 h 269172"/>
              <a:gd name="connsiteX1" fmla="*/ 0 w 248198"/>
              <a:gd name="connsiteY1" fmla="*/ 269172 h 269172"/>
              <a:gd name="connsiteX2" fmla="*/ 132838 w 248198"/>
              <a:gd name="connsiteY2" fmla="*/ 135169 h 269172"/>
              <a:gd name="connsiteX3" fmla="*/ 0 w 248198"/>
              <a:gd name="connsiteY3" fmla="*/ 0 h 269172"/>
              <a:gd name="connsiteX4" fmla="*/ 116525 w 248198"/>
              <a:gd name="connsiteY4" fmla="*/ 0 h 269172"/>
              <a:gd name="connsiteX5" fmla="*/ 248198 w 248198"/>
              <a:gd name="connsiteY5" fmla="*/ 131673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endParaRPr lang="de-DE"/>
          </a:p>
        </p:txBody>
      </p:sp>
      <p:sp>
        <p:nvSpPr>
          <p:cNvPr id="483" name="Freihandform: Form 482">
            <a:extLst>
              <a:ext uri="{FF2B5EF4-FFF2-40B4-BE49-F238E27FC236}">
                <a16:creationId xmlns:a16="http://schemas.microsoft.com/office/drawing/2014/main" id="{7E5B19BA-DB7F-4287-886F-9833AAC59D5F}"/>
              </a:ext>
            </a:extLst>
          </p:cNvPr>
          <p:cNvSpPr/>
          <p:nvPr userDrawn="1"/>
        </p:nvSpPr>
        <p:spPr>
          <a:xfrm>
            <a:off x="9761293" y="3040646"/>
            <a:ext cx="248198" cy="268007"/>
          </a:xfrm>
          <a:custGeom>
            <a:avLst/>
            <a:gdLst>
              <a:gd name="connsiteX0" fmla="*/ 114195 w 248198"/>
              <a:gd name="connsiteY0" fmla="*/ 268007 h 268007"/>
              <a:gd name="connsiteX1" fmla="*/ 0 w 248198"/>
              <a:gd name="connsiteY1" fmla="*/ 268007 h 268007"/>
              <a:gd name="connsiteX2" fmla="*/ 132838 w 248198"/>
              <a:gd name="connsiteY2" fmla="*/ 135169 h 268007"/>
              <a:gd name="connsiteX3" fmla="*/ 0 w 248198"/>
              <a:gd name="connsiteY3" fmla="*/ 0 h 268007"/>
              <a:gd name="connsiteX4" fmla="*/ 116525 w 248198"/>
              <a:gd name="connsiteY4" fmla="*/ 0 h 268007"/>
              <a:gd name="connsiteX5" fmla="*/ 248198 w 248198"/>
              <a:gd name="connsiteY5" fmla="*/ 131673 h 268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8007">
                <a:moveTo>
                  <a:pt x="114195" y="268007"/>
                </a:moveTo>
                <a:lnTo>
                  <a:pt x="0" y="268007"/>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endParaRPr lang="de-DE"/>
          </a:p>
        </p:txBody>
      </p:sp>
      <p:sp>
        <p:nvSpPr>
          <p:cNvPr id="484" name="Freihandform: Form 483">
            <a:extLst>
              <a:ext uri="{FF2B5EF4-FFF2-40B4-BE49-F238E27FC236}">
                <a16:creationId xmlns:a16="http://schemas.microsoft.com/office/drawing/2014/main" id="{292EFE73-2F46-4190-B4FC-3E703117A105}"/>
              </a:ext>
            </a:extLst>
          </p:cNvPr>
          <p:cNvSpPr/>
          <p:nvPr userDrawn="1"/>
        </p:nvSpPr>
        <p:spPr>
          <a:xfrm>
            <a:off x="9761293" y="3394882"/>
            <a:ext cx="248198" cy="269172"/>
          </a:xfrm>
          <a:custGeom>
            <a:avLst/>
            <a:gdLst>
              <a:gd name="connsiteX0" fmla="*/ 114195 w 248198"/>
              <a:gd name="connsiteY0" fmla="*/ 269172 h 269172"/>
              <a:gd name="connsiteX1" fmla="*/ 0 w 248198"/>
              <a:gd name="connsiteY1" fmla="*/ 269172 h 269172"/>
              <a:gd name="connsiteX2" fmla="*/ 132838 w 248198"/>
              <a:gd name="connsiteY2" fmla="*/ 135169 h 269172"/>
              <a:gd name="connsiteX3" fmla="*/ 0 w 248198"/>
              <a:gd name="connsiteY3" fmla="*/ 0 h 269172"/>
              <a:gd name="connsiteX4" fmla="*/ 116525 w 248198"/>
              <a:gd name="connsiteY4" fmla="*/ 0 h 269172"/>
              <a:gd name="connsiteX5" fmla="*/ 248198 w 248198"/>
              <a:gd name="connsiteY5" fmla="*/ 131673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endParaRPr lang="de-DE"/>
          </a:p>
        </p:txBody>
      </p:sp>
      <p:sp>
        <p:nvSpPr>
          <p:cNvPr id="485" name="Freihandform: Form 484">
            <a:extLst>
              <a:ext uri="{FF2B5EF4-FFF2-40B4-BE49-F238E27FC236}">
                <a16:creationId xmlns:a16="http://schemas.microsoft.com/office/drawing/2014/main" id="{8200EA12-ED68-4A99-80A6-A22CF802AF1C}"/>
              </a:ext>
            </a:extLst>
          </p:cNvPr>
          <p:cNvSpPr/>
          <p:nvPr userDrawn="1"/>
        </p:nvSpPr>
        <p:spPr>
          <a:xfrm>
            <a:off x="9761293" y="3750282"/>
            <a:ext cx="248198" cy="268007"/>
          </a:xfrm>
          <a:custGeom>
            <a:avLst/>
            <a:gdLst>
              <a:gd name="connsiteX0" fmla="*/ 114195 w 248198"/>
              <a:gd name="connsiteY0" fmla="*/ 268007 h 268007"/>
              <a:gd name="connsiteX1" fmla="*/ 0 w 248198"/>
              <a:gd name="connsiteY1" fmla="*/ 268007 h 268007"/>
              <a:gd name="connsiteX2" fmla="*/ 132838 w 248198"/>
              <a:gd name="connsiteY2" fmla="*/ 135169 h 268007"/>
              <a:gd name="connsiteX3" fmla="*/ 0 w 248198"/>
              <a:gd name="connsiteY3" fmla="*/ 0 h 268007"/>
              <a:gd name="connsiteX4" fmla="*/ 116525 w 248198"/>
              <a:gd name="connsiteY4" fmla="*/ 0 h 268007"/>
              <a:gd name="connsiteX5" fmla="*/ 248198 w 248198"/>
              <a:gd name="connsiteY5" fmla="*/ 131673 h 268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8007">
                <a:moveTo>
                  <a:pt x="114195" y="268007"/>
                </a:moveTo>
                <a:lnTo>
                  <a:pt x="0" y="268007"/>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endParaRPr lang="de-DE"/>
          </a:p>
        </p:txBody>
      </p:sp>
      <p:sp>
        <p:nvSpPr>
          <p:cNvPr id="486" name="Freihandform: Form 485">
            <a:extLst>
              <a:ext uri="{FF2B5EF4-FFF2-40B4-BE49-F238E27FC236}">
                <a16:creationId xmlns:a16="http://schemas.microsoft.com/office/drawing/2014/main" id="{F786CFD9-D7C8-441E-B62F-0EB92655CAFC}"/>
              </a:ext>
            </a:extLst>
          </p:cNvPr>
          <p:cNvSpPr/>
          <p:nvPr userDrawn="1"/>
        </p:nvSpPr>
        <p:spPr>
          <a:xfrm>
            <a:off x="9761293" y="4104518"/>
            <a:ext cx="248198" cy="269172"/>
          </a:xfrm>
          <a:custGeom>
            <a:avLst/>
            <a:gdLst>
              <a:gd name="connsiteX0" fmla="*/ 114195 w 248198"/>
              <a:gd name="connsiteY0" fmla="*/ 269172 h 269172"/>
              <a:gd name="connsiteX1" fmla="*/ 0 w 248198"/>
              <a:gd name="connsiteY1" fmla="*/ 269172 h 269172"/>
              <a:gd name="connsiteX2" fmla="*/ 132838 w 248198"/>
              <a:gd name="connsiteY2" fmla="*/ 136334 h 269172"/>
              <a:gd name="connsiteX3" fmla="*/ 0 w 248198"/>
              <a:gd name="connsiteY3" fmla="*/ 0 h 269172"/>
              <a:gd name="connsiteX4" fmla="*/ 116525 w 248198"/>
              <a:gd name="connsiteY4" fmla="*/ 0 h 269172"/>
              <a:gd name="connsiteX5" fmla="*/ 248198 w 248198"/>
              <a:gd name="connsiteY5" fmla="*/ 132838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6334"/>
                </a:lnTo>
                <a:lnTo>
                  <a:pt x="0" y="0"/>
                </a:lnTo>
                <a:lnTo>
                  <a:pt x="116525" y="0"/>
                </a:lnTo>
                <a:lnTo>
                  <a:pt x="248198" y="132838"/>
                </a:lnTo>
                <a:close/>
              </a:path>
            </a:pathLst>
          </a:custGeom>
          <a:solidFill>
            <a:srgbClr val="EEF2F5"/>
          </a:solidFill>
          <a:ln w="11643" cap="flat">
            <a:noFill/>
            <a:prstDash val="solid"/>
            <a:miter/>
          </a:ln>
        </p:spPr>
        <p:txBody>
          <a:bodyPr rtlCol="0" anchor="ctr"/>
          <a:lstStyle/>
          <a:p>
            <a:endParaRPr lang="de-DE"/>
          </a:p>
        </p:txBody>
      </p:sp>
      <p:sp>
        <p:nvSpPr>
          <p:cNvPr id="487" name="Freihandform: Form 486">
            <a:extLst>
              <a:ext uri="{FF2B5EF4-FFF2-40B4-BE49-F238E27FC236}">
                <a16:creationId xmlns:a16="http://schemas.microsoft.com/office/drawing/2014/main" id="{01FD0002-F436-4142-A628-D55068EAF9A4}"/>
              </a:ext>
            </a:extLst>
          </p:cNvPr>
          <p:cNvSpPr/>
          <p:nvPr userDrawn="1"/>
        </p:nvSpPr>
        <p:spPr>
          <a:xfrm>
            <a:off x="9761293" y="4459918"/>
            <a:ext cx="248198" cy="268007"/>
          </a:xfrm>
          <a:custGeom>
            <a:avLst/>
            <a:gdLst>
              <a:gd name="connsiteX0" fmla="*/ 114195 w 248198"/>
              <a:gd name="connsiteY0" fmla="*/ 268007 h 268007"/>
              <a:gd name="connsiteX1" fmla="*/ 0 w 248198"/>
              <a:gd name="connsiteY1" fmla="*/ 268007 h 268007"/>
              <a:gd name="connsiteX2" fmla="*/ 132838 w 248198"/>
              <a:gd name="connsiteY2" fmla="*/ 135169 h 268007"/>
              <a:gd name="connsiteX3" fmla="*/ 0 w 248198"/>
              <a:gd name="connsiteY3" fmla="*/ 0 h 268007"/>
              <a:gd name="connsiteX4" fmla="*/ 116525 w 248198"/>
              <a:gd name="connsiteY4" fmla="*/ 0 h 268007"/>
              <a:gd name="connsiteX5" fmla="*/ 248198 w 248198"/>
              <a:gd name="connsiteY5" fmla="*/ 131673 h 268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8007">
                <a:moveTo>
                  <a:pt x="114195" y="268007"/>
                </a:moveTo>
                <a:lnTo>
                  <a:pt x="0" y="268007"/>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endParaRPr lang="de-DE"/>
          </a:p>
        </p:txBody>
      </p:sp>
      <p:sp>
        <p:nvSpPr>
          <p:cNvPr id="488" name="Freihandform: Form 487">
            <a:extLst>
              <a:ext uri="{FF2B5EF4-FFF2-40B4-BE49-F238E27FC236}">
                <a16:creationId xmlns:a16="http://schemas.microsoft.com/office/drawing/2014/main" id="{06660CCF-FEE4-4A5F-8E5C-895C66A8B07F}"/>
              </a:ext>
            </a:extLst>
          </p:cNvPr>
          <p:cNvSpPr/>
          <p:nvPr userDrawn="1"/>
        </p:nvSpPr>
        <p:spPr>
          <a:xfrm>
            <a:off x="9761293" y="4814154"/>
            <a:ext cx="248198" cy="269172"/>
          </a:xfrm>
          <a:custGeom>
            <a:avLst/>
            <a:gdLst>
              <a:gd name="connsiteX0" fmla="*/ 114195 w 248198"/>
              <a:gd name="connsiteY0" fmla="*/ 269172 h 269172"/>
              <a:gd name="connsiteX1" fmla="*/ 0 w 248198"/>
              <a:gd name="connsiteY1" fmla="*/ 269172 h 269172"/>
              <a:gd name="connsiteX2" fmla="*/ 132838 w 248198"/>
              <a:gd name="connsiteY2" fmla="*/ 136334 h 269172"/>
              <a:gd name="connsiteX3" fmla="*/ 0 w 248198"/>
              <a:gd name="connsiteY3" fmla="*/ 0 h 269172"/>
              <a:gd name="connsiteX4" fmla="*/ 116525 w 248198"/>
              <a:gd name="connsiteY4" fmla="*/ 0 h 269172"/>
              <a:gd name="connsiteX5" fmla="*/ 248198 w 248198"/>
              <a:gd name="connsiteY5" fmla="*/ 132838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6334"/>
                </a:lnTo>
                <a:lnTo>
                  <a:pt x="0" y="0"/>
                </a:lnTo>
                <a:lnTo>
                  <a:pt x="116525" y="0"/>
                </a:lnTo>
                <a:lnTo>
                  <a:pt x="248198" y="132838"/>
                </a:lnTo>
                <a:close/>
              </a:path>
            </a:pathLst>
          </a:custGeom>
          <a:solidFill>
            <a:srgbClr val="EEF2F5"/>
          </a:solidFill>
          <a:ln w="11643" cap="flat">
            <a:noFill/>
            <a:prstDash val="solid"/>
            <a:miter/>
          </a:ln>
        </p:spPr>
        <p:txBody>
          <a:bodyPr rtlCol="0" anchor="ctr"/>
          <a:lstStyle/>
          <a:p>
            <a:endParaRPr lang="de-DE"/>
          </a:p>
        </p:txBody>
      </p:sp>
      <p:sp>
        <p:nvSpPr>
          <p:cNvPr id="489" name="Freihandform: Form 488">
            <a:extLst>
              <a:ext uri="{FF2B5EF4-FFF2-40B4-BE49-F238E27FC236}">
                <a16:creationId xmlns:a16="http://schemas.microsoft.com/office/drawing/2014/main" id="{6E41AC2D-718A-468C-AC62-C1169CCB8D98}"/>
              </a:ext>
            </a:extLst>
          </p:cNvPr>
          <p:cNvSpPr/>
          <p:nvPr userDrawn="1"/>
        </p:nvSpPr>
        <p:spPr>
          <a:xfrm>
            <a:off x="9761293" y="5169554"/>
            <a:ext cx="248198" cy="268007"/>
          </a:xfrm>
          <a:custGeom>
            <a:avLst/>
            <a:gdLst>
              <a:gd name="connsiteX0" fmla="*/ 114195 w 248198"/>
              <a:gd name="connsiteY0" fmla="*/ 268007 h 268007"/>
              <a:gd name="connsiteX1" fmla="*/ 0 w 248198"/>
              <a:gd name="connsiteY1" fmla="*/ 268007 h 268007"/>
              <a:gd name="connsiteX2" fmla="*/ 132838 w 248198"/>
              <a:gd name="connsiteY2" fmla="*/ 135169 h 268007"/>
              <a:gd name="connsiteX3" fmla="*/ 0 w 248198"/>
              <a:gd name="connsiteY3" fmla="*/ 0 h 268007"/>
              <a:gd name="connsiteX4" fmla="*/ 116525 w 248198"/>
              <a:gd name="connsiteY4" fmla="*/ 0 h 268007"/>
              <a:gd name="connsiteX5" fmla="*/ 248198 w 248198"/>
              <a:gd name="connsiteY5" fmla="*/ 131673 h 268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8007">
                <a:moveTo>
                  <a:pt x="114195" y="268007"/>
                </a:moveTo>
                <a:lnTo>
                  <a:pt x="0" y="268007"/>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endParaRPr lang="de-DE"/>
          </a:p>
        </p:txBody>
      </p:sp>
      <p:sp>
        <p:nvSpPr>
          <p:cNvPr id="490" name="Freihandform: Form 489">
            <a:extLst>
              <a:ext uri="{FF2B5EF4-FFF2-40B4-BE49-F238E27FC236}">
                <a16:creationId xmlns:a16="http://schemas.microsoft.com/office/drawing/2014/main" id="{4BE823B6-3CF5-4C0A-8FBC-8BF3D89E62E6}"/>
              </a:ext>
            </a:extLst>
          </p:cNvPr>
          <p:cNvSpPr/>
          <p:nvPr userDrawn="1"/>
        </p:nvSpPr>
        <p:spPr>
          <a:xfrm>
            <a:off x="9761293" y="5523790"/>
            <a:ext cx="248198" cy="269172"/>
          </a:xfrm>
          <a:custGeom>
            <a:avLst/>
            <a:gdLst>
              <a:gd name="connsiteX0" fmla="*/ 114195 w 248198"/>
              <a:gd name="connsiteY0" fmla="*/ 269172 h 269172"/>
              <a:gd name="connsiteX1" fmla="*/ 0 w 248198"/>
              <a:gd name="connsiteY1" fmla="*/ 269172 h 269172"/>
              <a:gd name="connsiteX2" fmla="*/ 132838 w 248198"/>
              <a:gd name="connsiteY2" fmla="*/ 136334 h 269172"/>
              <a:gd name="connsiteX3" fmla="*/ 0 w 248198"/>
              <a:gd name="connsiteY3" fmla="*/ 0 h 269172"/>
              <a:gd name="connsiteX4" fmla="*/ 116525 w 248198"/>
              <a:gd name="connsiteY4" fmla="*/ 0 h 269172"/>
              <a:gd name="connsiteX5" fmla="*/ 248198 w 248198"/>
              <a:gd name="connsiteY5" fmla="*/ 132838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6334"/>
                </a:lnTo>
                <a:lnTo>
                  <a:pt x="0" y="0"/>
                </a:lnTo>
                <a:lnTo>
                  <a:pt x="116525" y="0"/>
                </a:lnTo>
                <a:lnTo>
                  <a:pt x="248198" y="132838"/>
                </a:lnTo>
                <a:close/>
              </a:path>
            </a:pathLst>
          </a:custGeom>
          <a:solidFill>
            <a:srgbClr val="EEF2F5"/>
          </a:solidFill>
          <a:ln w="11643" cap="flat">
            <a:noFill/>
            <a:prstDash val="solid"/>
            <a:miter/>
          </a:ln>
        </p:spPr>
        <p:txBody>
          <a:bodyPr rtlCol="0" anchor="ctr"/>
          <a:lstStyle/>
          <a:p>
            <a:endParaRPr lang="de-DE"/>
          </a:p>
        </p:txBody>
      </p:sp>
      <p:sp>
        <p:nvSpPr>
          <p:cNvPr id="491" name="Freihandform: Form 490">
            <a:extLst>
              <a:ext uri="{FF2B5EF4-FFF2-40B4-BE49-F238E27FC236}">
                <a16:creationId xmlns:a16="http://schemas.microsoft.com/office/drawing/2014/main" id="{B0586C0A-D3A9-43C8-BC22-E34DC9A911FC}"/>
              </a:ext>
            </a:extLst>
          </p:cNvPr>
          <p:cNvSpPr/>
          <p:nvPr userDrawn="1"/>
        </p:nvSpPr>
        <p:spPr>
          <a:xfrm>
            <a:off x="9761293" y="5879190"/>
            <a:ext cx="248198" cy="269172"/>
          </a:xfrm>
          <a:custGeom>
            <a:avLst/>
            <a:gdLst>
              <a:gd name="connsiteX0" fmla="*/ 114195 w 248198"/>
              <a:gd name="connsiteY0" fmla="*/ 269172 h 269172"/>
              <a:gd name="connsiteX1" fmla="*/ 0 w 248198"/>
              <a:gd name="connsiteY1" fmla="*/ 269172 h 269172"/>
              <a:gd name="connsiteX2" fmla="*/ 132838 w 248198"/>
              <a:gd name="connsiteY2" fmla="*/ 135169 h 269172"/>
              <a:gd name="connsiteX3" fmla="*/ 0 w 248198"/>
              <a:gd name="connsiteY3" fmla="*/ 0 h 269172"/>
              <a:gd name="connsiteX4" fmla="*/ 116525 w 248198"/>
              <a:gd name="connsiteY4" fmla="*/ 0 h 269172"/>
              <a:gd name="connsiteX5" fmla="*/ 248198 w 248198"/>
              <a:gd name="connsiteY5" fmla="*/ 131673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endParaRPr lang="de-DE"/>
          </a:p>
        </p:txBody>
      </p:sp>
      <p:sp>
        <p:nvSpPr>
          <p:cNvPr id="492" name="Freihandform: Form 491">
            <a:extLst>
              <a:ext uri="{FF2B5EF4-FFF2-40B4-BE49-F238E27FC236}">
                <a16:creationId xmlns:a16="http://schemas.microsoft.com/office/drawing/2014/main" id="{BAA83463-E746-448C-AEF2-15F032667EAD}"/>
              </a:ext>
            </a:extLst>
          </p:cNvPr>
          <p:cNvSpPr/>
          <p:nvPr userDrawn="1"/>
        </p:nvSpPr>
        <p:spPr>
          <a:xfrm>
            <a:off x="9761293" y="6233426"/>
            <a:ext cx="248198" cy="269172"/>
          </a:xfrm>
          <a:custGeom>
            <a:avLst/>
            <a:gdLst>
              <a:gd name="connsiteX0" fmla="*/ 114195 w 248198"/>
              <a:gd name="connsiteY0" fmla="*/ 269172 h 269172"/>
              <a:gd name="connsiteX1" fmla="*/ 0 w 248198"/>
              <a:gd name="connsiteY1" fmla="*/ 269172 h 269172"/>
              <a:gd name="connsiteX2" fmla="*/ 132838 w 248198"/>
              <a:gd name="connsiteY2" fmla="*/ 136334 h 269172"/>
              <a:gd name="connsiteX3" fmla="*/ 0 w 248198"/>
              <a:gd name="connsiteY3" fmla="*/ 0 h 269172"/>
              <a:gd name="connsiteX4" fmla="*/ 116525 w 248198"/>
              <a:gd name="connsiteY4" fmla="*/ 0 h 269172"/>
              <a:gd name="connsiteX5" fmla="*/ 248198 w 248198"/>
              <a:gd name="connsiteY5" fmla="*/ 132838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6334"/>
                </a:lnTo>
                <a:lnTo>
                  <a:pt x="0" y="0"/>
                </a:lnTo>
                <a:lnTo>
                  <a:pt x="116525" y="0"/>
                </a:lnTo>
                <a:lnTo>
                  <a:pt x="248198" y="132838"/>
                </a:lnTo>
                <a:close/>
              </a:path>
            </a:pathLst>
          </a:custGeom>
          <a:solidFill>
            <a:srgbClr val="EEF2F5"/>
          </a:solidFill>
          <a:ln w="11643" cap="flat">
            <a:noFill/>
            <a:prstDash val="solid"/>
            <a:miter/>
          </a:ln>
        </p:spPr>
        <p:txBody>
          <a:bodyPr rtlCol="0" anchor="ctr"/>
          <a:lstStyle/>
          <a:p>
            <a:endParaRPr lang="de-DE"/>
          </a:p>
        </p:txBody>
      </p:sp>
      <p:sp>
        <p:nvSpPr>
          <p:cNvPr id="493" name="Freihandform: Form 492">
            <a:extLst>
              <a:ext uri="{FF2B5EF4-FFF2-40B4-BE49-F238E27FC236}">
                <a16:creationId xmlns:a16="http://schemas.microsoft.com/office/drawing/2014/main" id="{630922BC-26BD-42F2-898F-FEDC66EF3731}"/>
              </a:ext>
            </a:extLst>
          </p:cNvPr>
          <p:cNvSpPr/>
          <p:nvPr userDrawn="1"/>
        </p:nvSpPr>
        <p:spPr>
          <a:xfrm>
            <a:off x="9761293" y="6588826"/>
            <a:ext cx="248198" cy="269172"/>
          </a:xfrm>
          <a:custGeom>
            <a:avLst/>
            <a:gdLst>
              <a:gd name="connsiteX0" fmla="*/ 114195 w 248198"/>
              <a:gd name="connsiteY0" fmla="*/ 269172 h 269172"/>
              <a:gd name="connsiteX1" fmla="*/ 0 w 248198"/>
              <a:gd name="connsiteY1" fmla="*/ 269172 h 269172"/>
              <a:gd name="connsiteX2" fmla="*/ 132838 w 248198"/>
              <a:gd name="connsiteY2" fmla="*/ 135169 h 269172"/>
              <a:gd name="connsiteX3" fmla="*/ 0 w 248198"/>
              <a:gd name="connsiteY3" fmla="*/ 0 h 269172"/>
              <a:gd name="connsiteX4" fmla="*/ 116525 w 248198"/>
              <a:gd name="connsiteY4" fmla="*/ 0 h 269172"/>
              <a:gd name="connsiteX5" fmla="*/ 248198 w 248198"/>
              <a:gd name="connsiteY5" fmla="*/ 131673 h 26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98" h="269172">
                <a:moveTo>
                  <a:pt x="114195" y="269172"/>
                </a:moveTo>
                <a:lnTo>
                  <a:pt x="0" y="269172"/>
                </a:lnTo>
                <a:lnTo>
                  <a:pt x="132838" y="135169"/>
                </a:lnTo>
                <a:lnTo>
                  <a:pt x="0" y="0"/>
                </a:lnTo>
                <a:lnTo>
                  <a:pt x="116525" y="0"/>
                </a:lnTo>
                <a:lnTo>
                  <a:pt x="248198" y="131673"/>
                </a:lnTo>
                <a:close/>
              </a:path>
            </a:pathLst>
          </a:custGeom>
          <a:solidFill>
            <a:srgbClr val="EEF2F5"/>
          </a:solidFill>
          <a:ln w="11643" cap="flat">
            <a:noFill/>
            <a:prstDash val="solid"/>
            <a:miter/>
          </a:ln>
        </p:spPr>
        <p:txBody>
          <a:bodyPr rtlCol="0" anchor="ctr"/>
          <a:lstStyle/>
          <a:p>
            <a:endParaRPr lang="de-DE"/>
          </a:p>
        </p:txBody>
      </p:sp>
      <p:grpSp>
        <p:nvGrpSpPr>
          <p:cNvPr id="39" name="Gruppieren 38">
            <a:extLst>
              <a:ext uri="{FF2B5EF4-FFF2-40B4-BE49-F238E27FC236}">
                <a16:creationId xmlns:a16="http://schemas.microsoft.com/office/drawing/2014/main" id="{AA666764-7F63-4EE2-87ED-D1E80C7F6AA1}"/>
              </a:ext>
            </a:extLst>
          </p:cNvPr>
          <p:cNvGrpSpPr/>
          <p:nvPr userDrawn="1"/>
        </p:nvGrpSpPr>
        <p:grpSpPr>
          <a:xfrm>
            <a:off x="4814318" y="4632993"/>
            <a:ext cx="421976" cy="421976"/>
            <a:chOff x="4991839" y="5657214"/>
            <a:chExt cx="203835" cy="203835"/>
          </a:xfrm>
        </p:grpSpPr>
        <p:sp>
          <p:nvSpPr>
            <p:cNvPr id="38" name="Grafik 3">
              <a:extLst>
                <a:ext uri="{FF2B5EF4-FFF2-40B4-BE49-F238E27FC236}">
                  <a16:creationId xmlns:a16="http://schemas.microsoft.com/office/drawing/2014/main" id="{3ACBFD09-2BCE-47C1-82F9-F67E69F50CD5}"/>
                </a:ext>
              </a:extLst>
            </p:cNvPr>
            <p:cNvSpPr/>
            <p:nvPr/>
          </p:nvSpPr>
          <p:spPr>
            <a:xfrm>
              <a:off x="4991839" y="5657214"/>
              <a:ext cx="203835" cy="203835"/>
            </a:xfrm>
            <a:custGeom>
              <a:avLst/>
              <a:gdLst>
                <a:gd name="connsiteX0" fmla="*/ 203835 w 203835"/>
                <a:gd name="connsiteY0" fmla="*/ 101918 h 203835"/>
                <a:gd name="connsiteX1" fmla="*/ 101918 w 203835"/>
                <a:gd name="connsiteY1" fmla="*/ 203835 h 203835"/>
                <a:gd name="connsiteX2" fmla="*/ 0 w 203835"/>
                <a:gd name="connsiteY2" fmla="*/ 101918 h 203835"/>
                <a:gd name="connsiteX3" fmla="*/ 101918 w 203835"/>
                <a:gd name="connsiteY3" fmla="*/ 0 h 203835"/>
                <a:gd name="connsiteX4" fmla="*/ 203835 w 203835"/>
                <a:gd name="connsiteY4" fmla="*/ 101918 h 2038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3835" h="203835">
                  <a:moveTo>
                    <a:pt x="203835" y="101918"/>
                  </a:moveTo>
                  <a:cubicBezTo>
                    <a:pt x="203835" y="158205"/>
                    <a:pt x="158205" y="203835"/>
                    <a:pt x="101918" y="203835"/>
                  </a:cubicBezTo>
                  <a:cubicBezTo>
                    <a:pt x="45630" y="203835"/>
                    <a:pt x="0" y="158205"/>
                    <a:pt x="0" y="101918"/>
                  </a:cubicBezTo>
                  <a:cubicBezTo>
                    <a:pt x="0" y="45630"/>
                    <a:pt x="45630" y="0"/>
                    <a:pt x="101918" y="0"/>
                  </a:cubicBezTo>
                  <a:cubicBezTo>
                    <a:pt x="158205" y="0"/>
                    <a:pt x="203835" y="45630"/>
                    <a:pt x="203835" y="101918"/>
                  </a:cubicBezTo>
                  <a:close/>
                </a:path>
              </a:pathLst>
            </a:custGeom>
            <a:solidFill>
              <a:srgbClr val="ECF0F4"/>
            </a:solidFill>
            <a:ln w="9525" cap="flat">
              <a:noFill/>
              <a:prstDash val="solid"/>
              <a:miter/>
            </a:ln>
          </p:spPr>
          <p:txBody>
            <a:bodyPr rtlCol="0" anchor="ctr"/>
            <a:lstStyle/>
            <a:p>
              <a:endParaRPr lang="de-DE"/>
            </a:p>
          </p:txBody>
        </p:sp>
        <p:sp>
          <p:nvSpPr>
            <p:cNvPr id="37" name="Grafik 30">
              <a:extLst>
                <a:ext uri="{FF2B5EF4-FFF2-40B4-BE49-F238E27FC236}">
                  <a16:creationId xmlns:a16="http://schemas.microsoft.com/office/drawing/2014/main" id="{0F7F147F-AAE3-4BE1-B657-9037D1087DC9}"/>
                </a:ext>
              </a:extLst>
            </p:cNvPr>
            <p:cNvSpPr/>
            <p:nvPr/>
          </p:nvSpPr>
          <p:spPr>
            <a:xfrm>
              <a:off x="5039940" y="5721508"/>
              <a:ext cx="107632" cy="75247"/>
            </a:xfrm>
            <a:custGeom>
              <a:avLst/>
              <a:gdLst>
                <a:gd name="connsiteX0" fmla="*/ 98108 w 107632"/>
                <a:gd name="connsiteY0" fmla="*/ 0 h 75247"/>
                <a:gd name="connsiteX1" fmla="*/ 9525 w 107632"/>
                <a:gd name="connsiteY1" fmla="*/ 0 h 75247"/>
                <a:gd name="connsiteX2" fmla="*/ 0 w 107632"/>
                <a:gd name="connsiteY2" fmla="*/ 9525 h 75247"/>
                <a:gd name="connsiteX3" fmla="*/ 0 w 107632"/>
                <a:gd name="connsiteY3" fmla="*/ 65723 h 75247"/>
                <a:gd name="connsiteX4" fmla="*/ 9525 w 107632"/>
                <a:gd name="connsiteY4" fmla="*/ 75248 h 75247"/>
                <a:gd name="connsiteX5" fmla="*/ 98108 w 107632"/>
                <a:gd name="connsiteY5" fmla="*/ 75248 h 75247"/>
                <a:gd name="connsiteX6" fmla="*/ 107633 w 107632"/>
                <a:gd name="connsiteY6" fmla="*/ 65723 h 75247"/>
                <a:gd name="connsiteX7" fmla="*/ 107633 w 107632"/>
                <a:gd name="connsiteY7" fmla="*/ 9525 h 75247"/>
                <a:gd name="connsiteX8" fmla="*/ 98108 w 107632"/>
                <a:gd name="connsiteY8" fmla="*/ 0 h 75247"/>
                <a:gd name="connsiteX9" fmla="*/ 96203 w 107632"/>
                <a:gd name="connsiteY9" fmla="*/ 6668 h 75247"/>
                <a:gd name="connsiteX10" fmla="*/ 60008 w 107632"/>
                <a:gd name="connsiteY10" fmla="*/ 41910 h 75247"/>
                <a:gd name="connsiteX11" fmla="*/ 53340 w 107632"/>
                <a:gd name="connsiteY11" fmla="*/ 44768 h 75247"/>
                <a:gd name="connsiteX12" fmla="*/ 46673 w 107632"/>
                <a:gd name="connsiteY12" fmla="*/ 41910 h 75247"/>
                <a:gd name="connsiteX13" fmla="*/ 10478 w 107632"/>
                <a:gd name="connsiteY13" fmla="*/ 6668 h 75247"/>
                <a:gd name="connsiteX14" fmla="*/ 96203 w 107632"/>
                <a:gd name="connsiteY14" fmla="*/ 6668 h 75247"/>
                <a:gd name="connsiteX15" fmla="*/ 6668 w 107632"/>
                <a:gd name="connsiteY15" fmla="*/ 64770 h 75247"/>
                <a:gd name="connsiteX16" fmla="*/ 6668 w 107632"/>
                <a:gd name="connsiteY16" fmla="*/ 10478 h 75247"/>
                <a:gd name="connsiteX17" fmla="*/ 33338 w 107632"/>
                <a:gd name="connsiteY17" fmla="*/ 38100 h 75247"/>
                <a:gd name="connsiteX18" fmla="*/ 6668 w 107632"/>
                <a:gd name="connsiteY18" fmla="*/ 64770 h 75247"/>
                <a:gd name="connsiteX19" fmla="*/ 10478 w 107632"/>
                <a:gd name="connsiteY19" fmla="*/ 68580 h 75247"/>
                <a:gd name="connsiteX20" fmla="*/ 38100 w 107632"/>
                <a:gd name="connsiteY20" fmla="*/ 41910 h 75247"/>
                <a:gd name="connsiteX21" fmla="*/ 42863 w 107632"/>
                <a:gd name="connsiteY21" fmla="*/ 46673 h 75247"/>
                <a:gd name="connsiteX22" fmla="*/ 54293 w 107632"/>
                <a:gd name="connsiteY22" fmla="*/ 51435 h 75247"/>
                <a:gd name="connsiteX23" fmla="*/ 65723 w 107632"/>
                <a:gd name="connsiteY23" fmla="*/ 46673 h 75247"/>
                <a:gd name="connsiteX24" fmla="*/ 70485 w 107632"/>
                <a:gd name="connsiteY24" fmla="*/ 41910 h 75247"/>
                <a:gd name="connsiteX25" fmla="*/ 97155 w 107632"/>
                <a:gd name="connsiteY25" fmla="*/ 68580 h 75247"/>
                <a:gd name="connsiteX26" fmla="*/ 10478 w 107632"/>
                <a:gd name="connsiteY26" fmla="*/ 68580 h 75247"/>
                <a:gd name="connsiteX27" fmla="*/ 100965 w 107632"/>
                <a:gd name="connsiteY27" fmla="*/ 64770 h 75247"/>
                <a:gd name="connsiteX28" fmla="*/ 73343 w 107632"/>
                <a:gd name="connsiteY28" fmla="*/ 38100 h 75247"/>
                <a:gd name="connsiteX29" fmla="*/ 100013 w 107632"/>
                <a:gd name="connsiteY29" fmla="*/ 11430 h 75247"/>
                <a:gd name="connsiteX30" fmla="*/ 100013 w 107632"/>
                <a:gd name="connsiteY30" fmla="*/ 64770 h 75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07632" h="75247">
                  <a:moveTo>
                    <a:pt x="98108" y="0"/>
                  </a:moveTo>
                  <a:lnTo>
                    <a:pt x="9525" y="0"/>
                  </a:lnTo>
                  <a:cubicBezTo>
                    <a:pt x="3810" y="0"/>
                    <a:pt x="0" y="3810"/>
                    <a:pt x="0" y="9525"/>
                  </a:cubicBezTo>
                  <a:lnTo>
                    <a:pt x="0" y="65723"/>
                  </a:lnTo>
                  <a:cubicBezTo>
                    <a:pt x="0" y="70485"/>
                    <a:pt x="3810" y="75248"/>
                    <a:pt x="9525" y="75248"/>
                  </a:cubicBezTo>
                  <a:lnTo>
                    <a:pt x="98108" y="75248"/>
                  </a:lnTo>
                  <a:cubicBezTo>
                    <a:pt x="102870" y="75248"/>
                    <a:pt x="107633" y="71438"/>
                    <a:pt x="107633" y="65723"/>
                  </a:cubicBezTo>
                  <a:lnTo>
                    <a:pt x="107633" y="9525"/>
                  </a:lnTo>
                  <a:cubicBezTo>
                    <a:pt x="106680" y="3810"/>
                    <a:pt x="102870" y="0"/>
                    <a:pt x="98108" y="0"/>
                  </a:cubicBezTo>
                  <a:close/>
                  <a:moveTo>
                    <a:pt x="96203" y="6668"/>
                  </a:moveTo>
                  <a:cubicBezTo>
                    <a:pt x="94298" y="8573"/>
                    <a:pt x="60960" y="40958"/>
                    <a:pt x="60008" y="41910"/>
                  </a:cubicBezTo>
                  <a:cubicBezTo>
                    <a:pt x="58103" y="43815"/>
                    <a:pt x="56198" y="44768"/>
                    <a:pt x="53340" y="44768"/>
                  </a:cubicBezTo>
                  <a:cubicBezTo>
                    <a:pt x="50483" y="44768"/>
                    <a:pt x="48578" y="43815"/>
                    <a:pt x="46673" y="41910"/>
                  </a:cubicBezTo>
                  <a:cubicBezTo>
                    <a:pt x="45720" y="41910"/>
                    <a:pt x="13335" y="8573"/>
                    <a:pt x="10478" y="6668"/>
                  </a:cubicBezTo>
                  <a:lnTo>
                    <a:pt x="96203" y="6668"/>
                  </a:lnTo>
                  <a:close/>
                  <a:moveTo>
                    <a:pt x="6668" y="64770"/>
                  </a:moveTo>
                  <a:lnTo>
                    <a:pt x="6668" y="10478"/>
                  </a:lnTo>
                  <a:lnTo>
                    <a:pt x="33338" y="38100"/>
                  </a:lnTo>
                  <a:lnTo>
                    <a:pt x="6668" y="64770"/>
                  </a:lnTo>
                  <a:close/>
                  <a:moveTo>
                    <a:pt x="10478" y="68580"/>
                  </a:moveTo>
                  <a:lnTo>
                    <a:pt x="38100" y="41910"/>
                  </a:lnTo>
                  <a:lnTo>
                    <a:pt x="42863" y="46673"/>
                  </a:lnTo>
                  <a:cubicBezTo>
                    <a:pt x="45720" y="49530"/>
                    <a:pt x="49530" y="51435"/>
                    <a:pt x="54293" y="51435"/>
                  </a:cubicBezTo>
                  <a:cubicBezTo>
                    <a:pt x="58103" y="51435"/>
                    <a:pt x="62865" y="49530"/>
                    <a:pt x="65723" y="46673"/>
                  </a:cubicBezTo>
                  <a:lnTo>
                    <a:pt x="70485" y="41910"/>
                  </a:lnTo>
                  <a:lnTo>
                    <a:pt x="97155" y="68580"/>
                  </a:lnTo>
                  <a:lnTo>
                    <a:pt x="10478" y="68580"/>
                  </a:lnTo>
                  <a:close/>
                  <a:moveTo>
                    <a:pt x="100965" y="64770"/>
                  </a:moveTo>
                  <a:lnTo>
                    <a:pt x="73343" y="38100"/>
                  </a:lnTo>
                  <a:lnTo>
                    <a:pt x="100013" y="11430"/>
                  </a:lnTo>
                  <a:lnTo>
                    <a:pt x="100013" y="64770"/>
                  </a:lnTo>
                  <a:close/>
                </a:path>
              </a:pathLst>
            </a:custGeom>
            <a:solidFill>
              <a:srgbClr val="3A5C7D"/>
            </a:solidFill>
            <a:ln w="9525" cap="flat">
              <a:noFill/>
              <a:prstDash val="solid"/>
              <a:miter/>
            </a:ln>
          </p:spPr>
          <p:txBody>
            <a:bodyPr rtlCol="0" anchor="ctr"/>
            <a:lstStyle/>
            <a:p>
              <a:endParaRPr lang="de-DE"/>
            </a:p>
          </p:txBody>
        </p:sp>
      </p:grpSp>
      <p:grpSp>
        <p:nvGrpSpPr>
          <p:cNvPr id="36" name="Gruppieren 35">
            <a:extLst>
              <a:ext uri="{FF2B5EF4-FFF2-40B4-BE49-F238E27FC236}">
                <a16:creationId xmlns:a16="http://schemas.microsoft.com/office/drawing/2014/main" id="{66A2E61D-F083-418F-919D-66394DC26082}"/>
              </a:ext>
            </a:extLst>
          </p:cNvPr>
          <p:cNvGrpSpPr/>
          <p:nvPr userDrawn="1"/>
        </p:nvGrpSpPr>
        <p:grpSpPr>
          <a:xfrm>
            <a:off x="4812959" y="4085094"/>
            <a:ext cx="424694" cy="424694"/>
            <a:chOff x="4702667" y="5218499"/>
            <a:chExt cx="203835" cy="203835"/>
          </a:xfrm>
        </p:grpSpPr>
        <p:sp>
          <p:nvSpPr>
            <p:cNvPr id="34" name="Grafik 31">
              <a:extLst>
                <a:ext uri="{FF2B5EF4-FFF2-40B4-BE49-F238E27FC236}">
                  <a16:creationId xmlns:a16="http://schemas.microsoft.com/office/drawing/2014/main" id="{E92F21DB-71AC-49E2-A5A9-E6D54A01D532}"/>
                </a:ext>
              </a:extLst>
            </p:cNvPr>
            <p:cNvSpPr/>
            <p:nvPr/>
          </p:nvSpPr>
          <p:spPr>
            <a:xfrm>
              <a:off x="4702667" y="5218499"/>
              <a:ext cx="203835" cy="203835"/>
            </a:xfrm>
            <a:custGeom>
              <a:avLst/>
              <a:gdLst>
                <a:gd name="connsiteX0" fmla="*/ 203835 w 203835"/>
                <a:gd name="connsiteY0" fmla="*/ 101918 h 203835"/>
                <a:gd name="connsiteX1" fmla="*/ 101918 w 203835"/>
                <a:gd name="connsiteY1" fmla="*/ 203835 h 203835"/>
                <a:gd name="connsiteX2" fmla="*/ 0 w 203835"/>
                <a:gd name="connsiteY2" fmla="*/ 101918 h 203835"/>
                <a:gd name="connsiteX3" fmla="*/ 101918 w 203835"/>
                <a:gd name="connsiteY3" fmla="*/ 0 h 203835"/>
                <a:gd name="connsiteX4" fmla="*/ 203835 w 203835"/>
                <a:gd name="connsiteY4" fmla="*/ 101918 h 2038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3835" h="203835">
                  <a:moveTo>
                    <a:pt x="203835" y="101918"/>
                  </a:moveTo>
                  <a:cubicBezTo>
                    <a:pt x="203835" y="158205"/>
                    <a:pt x="158205" y="203835"/>
                    <a:pt x="101918" y="203835"/>
                  </a:cubicBezTo>
                  <a:cubicBezTo>
                    <a:pt x="45630" y="203835"/>
                    <a:pt x="0" y="158205"/>
                    <a:pt x="0" y="101918"/>
                  </a:cubicBezTo>
                  <a:cubicBezTo>
                    <a:pt x="0" y="45630"/>
                    <a:pt x="45630" y="0"/>
                    <a:pt x="101918" y="0"/>
                  </a:cubicBezTo>
                  <a:cubicBezTo>
                    <a:pt x="158205" y="0"/>
                    <a:pt x="203835" y="45630"/>
                    <a:pt x="203835" y="101918"/>
                  </a:cubicBezTo>
                  <a:close/>
                </a:path>
              </a:pathLst>
            </a:custGeom>
            <a:solidFill>
              <a:srgbClr val="ECF0F4"/>
            </a:solidFill>
            <a:ln w="9525" cap="flat">
              <a:noFill/>
              <a:prstDash val="solid"/>
              <a:miter/>
            </a:ln>
          </p:spPr>
          <p:txBody>
            <a:bodyPr rtlCol="0" anchor="ctr"/>
            <a:lstStyle/>
            <a:p>
              <a:endParaRPr lang="de-DE"/>
            </a:p>
          </p:txBody>
        </p:sp>
        <p:sp>
          <p:nvSpPr>
            <p:cNvPr id="33" name="Grafik 29">
              <a:extLst>
                <a:ext uri="{FF2B5EF4-FFF2-40B4-BE49-F238E27FC236}">
                  <a16:creationId xmlns:a16="http://schemas.microsoft.com/office/drawing/2014/main" id="{C5CDD651-6752-43FB-B542-3447DAD562C2}"/>
                </a:ext>
              </a:extLst>
            </p:cNvPr>
            <p:cNvSpPr/>
            <p:nvPr/>
          </p:nvSpPr>
          <p:spPr>
            <a:xfrm>
              <a:off x="4749870" y="5265171"/>
              <a:ext cx="109428" cy="110490"/>
            </a:xfrm>
            <a:custGeom>
              <a:avLst/>
              <a:gdLst>
                <a:gd name="connsiteX0" fmla="*/ 105728 w 109428"/>
                <a:gd name="connsiteY0" fmla="*/ 80010 h 110490"/>
                <a:gd name="connsiteX1" fmla="*/ 92393 w 109428"/>
                <a:gd name="connsiteY1" fmla="*/ 65723 h 110490"/>
                <a:gd name="connsiteX2" fmla="*/ 83820 w 109428"/>
                <a:gd name="connsiteY2" fmla="*/ 62865 h 110490"/>
                <a:gd name="connsiteX3" fmla="*/ 76200 w 109428"/>
                <a:gd name="connsiteY3" fmla="*/ 65723 h 110490"/>
                <a:gd name="connsiteX4" fmla="*/ 67628 w 109428"/>
                <a:gd name="connsiteY4" fmla="*/ 74295 h 110490"/>
                <a:gd name="connsiteX5" fmla="*/ 65723 w 109428"/>
                <a:gd name="connsiteY5" fmla="*/ 73343 h 110490"/>
                <a:gd name="connsiteX6" fmla="*/ 62865 w 109428"/>
                <a:gd name="connsiteY6" fmla="*/ 72390 h 110490"/>
                <a:gd name="connsiteX7" fmla="*/ 42863 w 109428"/>
                <a:gd name="connsiteY7" fmla="*/ 53340 h 110490"/>
                <a:gd name="connsiteX8" fmla="*/ 35243 w 109428"/>
                <a:gd name="connsiteY8" fmla="*/ 41910 h 110490"/>
                <a:gd name="connsiteX9" fmla="*/ 41910 w 109428"/>
                <a:gd name="connsiteY9" fmla="*/ 36195 h 110490"/>
                <a:gd name="connsiteX10" fmla="*/ 43815 w 109428"/>
                <a:gd name="connsiteY10" fmla="*/ 34290 h 110490"/>
                <a:gd name="connsiteX11" fmla="*/ 47625 w 109428"/>
                <a:gd name="connsiteY11" fmla="*/ 25718 h 110490"/>
                <a:gd name="connsiteX12" fmla="*/ 43815 w 109428"/>
                <a:gd name="connsiteY12" fmla="*/ 17145 h 110490"/>
                <a:gd name="connsiteX13" fmla="*/ 37148 w 109428"/>
                <a:gd name="connsiteY13" fmla="*/ 10478 h 110490"/>
                <a:gd name="connsiteX14" fmla="*/ 34290 w 109428"/>
                <a:gd name="connsiteY14" fmla="*/ 8573 h 110490"/>
                <a:gd name="connsiteX15" fmla="*/ 29528 w 109428"/>
                <a:gd name="connsiteY15" fmla="*/ 3810 h 110490"/>
                <a:gd name="connsiteX16" fmla="*/ 21908 w 109428"/>
                <a:gd name="connsiteY16" fmla="*/ 0 h 110490"/>
                <a:gd name="connsiteX17" fmla="*/ 14288 w 109428"/>
                <a:gd name="connsiteY17" fmla="*/ 3810 h 110490"/>
                <a:gd name="connsiteX18" fmla="*/ 5715 w 109428"/>
                <a:gd name="connsiteY18" fmla="*/ 12383 h 110490"/>
                <a:gd name="connsiteX19" fmla="*/ 0 w 109428"/>
                <a:gd name="connsiteY19" fmla="*/ 22860 h 110490"/>
                <a:gd name="connsiteX20" fmla="*/ 2858 w 109428"/>
                <a:gd name="connsiteY20" fmla="*/ 41910 h 110490"/>
                <a:gd name="connsiteX21" fmla="*/ 21908 w 109428"/>
                <a:gd name="connsiteY21" fmla="*/ 73343 h 110490"/>
                <a:gd name="connsiteX22" fmla="*/ 60960 w 109428"/>
                <a:gd name="connsiteY22" fmla="*/ 103823 h 110490"/>
                <a:gd name="connsiteX23" fmla="*/ 82868 w 109428"/>
                <a:gd name="connsiteY23" fmla="*/ 110490 h 110490"/>
                <a:gd name="connsiteX24" fmla="*/ 84773 w 109428"/>
                <a:gd name="connsiteY24" fmla="*/ 110490 h 110490"/>
                <a:gd name="connsiteX25" fmla="*/ 99060 w 109428"/>
                <a:gd name="connsiteY25" fmla="*/ 104775 h 110490"/>
                <a:gd name="connsiteX26" fmla="*/ 99060 w 109428"/>
                <a:gd name="connsiteY26" fmla="*/ 104775 h 110490"/>
                <a:gd name="connsiteX27" fmla="*/ 103823 w 109428"/>
                <a:gd name="connsiteY27" fmla="*/ 100013 h 110490"/>
                <a:gd name="connsiteX28" fmla="*/ 106680 w 109428"/>
                <a:gd name="connsiteY28" fmla="*/ 97155 h 110490"/>
                <a:gd name="connsiteX29" fmla="*/ 105728 w 109428"/>
                <a:gd name="connsiteY29" fmla="*/ 80010 h 110490"/>
                <a:gd name="connsiteX30" fmla="*/ 101918 w 109428"/>
                <a:gd name="connsiteY30" fmla="*/ 92393 h 110490"/>
                <a:gd name="connsiteX31" fmla="*/ 99060 w 109428"/>
                <a:gd name="connsiteY31" fmla="*/ 95250 h 110490"/>
                <a:gd name="connsiteX32" fmla="*/ 94298 w 109428"/>
                <a:gd name="connsiteY32" fmla="*/ 100013 h 110490"/>
                <a:gd name="connsiteX33" fmla="*/ 84773 w 109428"/>
                <a:gd name="connsiteY33" fmla="*/ 103823 h 110490"/>
                <a:gd name="connsiteX34" fmla="*/ 83820 w 109428"/>
                <a:gd name="connsiteY34" fmla="*/ 103823 h 110490"/>
                <a:gd name="connsiteX35" fmla="*/ 63818 w 109428"/>
                <a:gd name="connsiteY35" fmla="*/ 98108 h 110490"/>
                <a:gd name="connsiteX36" fmla="*/ 26670 w 109428"/>
                <a:gd name="connsiteY36" fmla="*/ 69533 h 110490"/>
                <a:gd name="connsiteX37" fmla="*/ 8573 w 109428"/>
                <a:gd name="connsiteY37" fmla="*/ 40005 h 110490"/>
                <a:gd name="connsiteX38" fmla="*/ 5715 w 109428"/>
                <a:gd name="connsiteY38" fmla="*/ 23813 h 110490"/>
                <a:gd name="connsiteX39" fmla="*/ 9525 w 109428"/>
                <a:gd name="connsiteY39" fmla="*/ 16193 h 110490"/>
                <a:gd name="connsiteX40" fmla="*/ 18098 w 109428"/>
                <a:gd name="connsiteY40" fmla="*/ 7620 h 110490"/>
                <a:gd name="connsiteX41" fmla="*/ 21908 w 109428"/>
                <a:gd name="connsiteY41" fmla="*/ 5715 h 110490"/>
                <a:gd name="connsiteX42" fmla="*/ 25718 w 109428"/>
                <a:gd name="connsiteY42" fmla="*/ 7620 h 110490"/>
                <a:gd name="connsiteX43" fmla="*/ 30480 w 109428"/>
                <a:gd name="connsiteY43" fmla="*/ 12383 h 110490"/>
                <a:gd name="connsiteX44" fmla="*/ 32385 w 109428"/>
                <a:gd name="connsiteY44" fmla="*/ 15240 h 110490"/>
                <a:gd name="connsiteX45" fmla="*/ 39053 w 109428"/>
                <a:gd name="connsiteY45" fmla="*/ 21908 h 110490"/>
                <a:gd name="connsiteX46" fmla="*/ 40958 w 109428"/>
                <a:gd name="connsiteY46" fmla="*/ 25718 h 110490"/>
                <a:gd name="connsiteX47" fmla="*/ 39053 w 109428"/>
                <a:gd name="connsiteY47" fmla="*/ 29528 h 110490"/>
                <a:gd name="connsiteX48" fmla="*/ 38100 w 109428"/>
                <a:gd name="connsiteY48" fmla="*/ 32385 h 110490"/>
                <a:gd name="connsiteX49" fmla="*/ 31433 w 109428"/>
                <a:gd name="connsiteY49" fmla="*/ 38100 h 110490"/>
                <a:gd name="connsiteX50" fmla="*/ 31433 w 109428"/>
                <a:gd name="connsiteY50" fmla="*/ 38100 h 110490"/>
                <a:gd name="connsiteX51" fmla="*/ 30480 w 109428"/>
                <a:gd name="connsiteY51" fmla="*/ 42863 h 110490"/>
                <a:gd name="connsiteX52" fmla="*/ 30480 w 109428"/>
                <a:gd name="connsiteY52" fmla="*/ 42863 h 110490"/>
                <a:gd name="connsiteX53" fmla="*/ 38100 w 109428"/>
                <a:gd name="connsiteY53" fmla="*/ 56198 h 110490"/>
                <a:gd name="connsiteX54" fmla="*/ 60008 w 109428"/>
                <a:gd name="connsiteY54" fmla="*/ 76200 h 110490"/>
                <a:gd name="connsiteX55" fmla="*/ 62865 w 109428"/>
                <a:gd name="connsiteY55" fmla="*/ 78105 h 110490"/>
                <a:gd name="connsiteX56" fmla="*/ 65723 w 109428"/>
                <a:gd name="connsiteY56" fmla="*/ 79058 h 110490"/>
                <a:gd name="connsiteX57" fmla="*/ 65723 w 109428"/>
                <a:gd name="connsiteY57" fmla="*/ 79058 h 110490"/>
                <a:gd name="connsiteX58" fmla="*/ 67628 w 109428"/>
                <a:gd name="connsiteY58" fmla="*/ 80010 h 110490"/>
                <a:gd name="connsiteX59" fmla="*/ 71438 w 109428"/>
                <a:gd name="connsiteY59" fmla="*/ 78105 h 110490"/>
                <a:gd name="connsiteX60" fmla="*/ 80010 w 109428"/>
                <a:gd name="connsiteY60" fmla="*/ 69533 h 110490"/>
                <a:gd name="connsiteX61" fmla="*/ 83820 w 109428"/>
                <a:gd name="connsiteY61" fmla="*/ 67628 h 110490"/>
                <a:gd name="connsiteX62" fmla="*/ 87630 w 109428"/>
                <a:gd name="connsiteY62" fmla="*/ 69533 h 110490"/>
                <a:gd name="connsiteX63" fmla="*/ 100965 w 109428"/>
                <a:gd name="connsiteY63" fmla="*/ 82868 h 110490"/>
                <a:gd name="connsiteX64" fmla="*/ 101918 w 109428"/>
                <a:gd name="connsiteY64" fmla="*/ 92393 h 110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109428" h="110489">
                  <a:moveTo>
                    <a:pt x="105728" y="80010"/>
                  </a:moveTo>
                  <a:lnTo>
                    <a:pt x="92393" y="65723"/>
                  </a:lnTo>
                  <a:cubicBezTo>
                    <a:pt x="89535" y="63818"/>
                    <a:pt x="87630" y="62865"/>
                    <a:pt x="83820" y="62865"/>
                  </a:cubicBezTo>
                  <a:cubicBezTo>
                    <a:pt x="80963" y="62865"/>
                    <a:pt x="78105" y="63818"/>
                    <a:pt x="76200" y="65723"/>
                  </a:cubicBezTo>
                  <a:lnTo>
                    <a:pt x="67628" y="74295"/>
                  </a:lnTo>
                  <a:cubicBezTo>
                    <a:pt x="67628" y="73343"/>
                    <a:pt x="66675" y="73343"/>
                    <a:pt x="65723" y="73343"/>
                  </a:cubicBezTo>
                  <a:cubicBezTo>
                    <a:pt x="64770" y="73343"/>
                    <a:pt x="63818" y="72390"/>
                    <a:pt x="62865" y="72390"/>
                  </a:cubicBezTo>
                  <a:cubicBezTo>
                    <a:pt x="56198" y="66675"/>
                    <a:pt x="48578" y="60960"/>
                    <a:pt x="42863" y="53340"/>
                  </a:cubicBezTo>
                  <a:cubicBezTo>
                    <a:pt x="39053" y="48578"/>
                    <a:pt x="37148" y="45720"/>
                    <a:pt x="35243" y="41910"/>
                  </a:cubicBezTo>
                  <a:cubicBezTo>
                    <a:pt x="38100" y="40005"/>
                    <a:pt x="40005" y="38100"/>
                    <a:pt x="41910" y="36195"/>
                  </a:cubicBezTo>
                  <a:cubicBezTo>
                    <a:pt x="42863" y="35243"/>
                    <a:pt x="42863" y="35243"/>
                    <a:pt x="43815" y="34290"/>
                  </a:cubicBezTo>
                  <a:cubicBezTo>
                    <a:pt x="46673" y="31433"/>
                    <a:pt x="47625" y="28575"/>
                    <a:pt x="47625" y="25718"/>
                  </a:cubicBezTo>
                  <a:cubicBezTo>
                    <a:pt x="47625" y="22860"/>
                    <a:pt x="46673" y="20003"/>
                    <a:pt x="43815" y="17145"/>
                  </a:cubicBezTo>
                  <a:lnTo>
                    <a:pt x="37148" y="10478"/>
                  </a:lnTo>
                  <a:cubicBezTo>
                    <a:pt x="36195" y="9525"/>
                    <a:pt x="35243" y="8573"/>
                    <a:pt x="34290" y="8573"/>
                  </a:cubicBezTo>
                  <a:cubicBezTo>
                    <a:pt x="33338" y="6668"/>
                    <a:pt x="31433" y="4763"/>
                    <a:pt x="29528" y="3810"/>
                  </a:cubicBezTo>
                  <a:cubicBezTo>
                    <a:pt x="27623" y="953"/>
                    <a:pt x="24765" y="0"/>
                    <a:pt x="21908" y="0"/>
                  </a:cubicBezTo>
                  <a:cubicBezTo>
                    <a:pt x="19050" y="0"/>
                    <a:pt x="16193" y="953"/>
                    <a:pt x="14288" y="3810"/>
                  </a:cubicBezTo>
                  <a:lnTo>
                    <a:pt x="5715" y="12383"/>
                  </a:lnTo>
                  <a:cubicBezTo>
                    <a:pt x="1905" y="15240"/>
                    <a:pt x="0" y="19050"/>
                    <a:pt x="0" y="22860"/>
                  </a:cubicBezTo>
                  <a:cubicBezTo>
                    <a:pt x="0" y="28575"/>
                    <a:pt x="953" y="34290"/>
                    <a:pt x="2858" y="41910"/>
                  </a:cubicBezTo>
                  <a:cubicBezTo>
                    <a:pt x="6668" y="52388"/>
                    <a:pt x="13335" y="62865"/>
                    <a:pt x="21908" y="73343"/>
                  </a:cubicBezTo>
                  <a:cubicBezTo>
                    <a:pt x="32385" y="86678"/>
                    <a:pt x="45720" y="96203"/>
                    <a:pt x="60960" y="103823"/>
                  </a:cubicBezTo>
                  <a:cubicBezTo>
                    <a:pt x="66675" y="106680"/>
                    <a:pt x="74295" y="109538"/>
                    <a:pt x="82868" y="110490"/>
                  </a:cubicBezTo>
                  <a:cubicBezTo>
                    <a:pt x="83820" y="110490"/>
                    <a:pt x="83820" y="110490"/>
                    <a:pt x="84773" y="110490"/>
                  </a:cubicBezTo>
                  <a:cubicBezTo>
                    <a:pt x="90488" y="110490"/>
                    <a:pt x="95250" y="108585"/>
                    <a:pt x="99060" y="104775"/>
                  </a:cubicBezTo>
                  <a:cubicBezTo>
                    <a:pt x="99060" y="104775"/>
                    <a:pt x="99060" y="104775"/>
                    <a:pt x="99060" y="104775"/>
                  </a:cubicBezTo>
                  <a:cubicBezTo>
                    <a:pt x="100013" y="102870"/>
                    <a:pt x="101918" y="101918"/>
                    <a:pt x="103823" y="100013"/>
                  </a:cubicBezTo>
                  <a:cubicBezTo>
                    <a:pt x="104775" y="99060"/>
                    <a:pt x="105728" y="98108"/>
                    <a:pt x="106680" y="97155"/>
                  </a:cubicBezTo>
                  <a:cubicBezTo>
                    <a:pt x="110490" y="91440"/>
                    <a:pt x="110490" y="84773"/>
                    <a:pt x="105728" y="80010"/>
                  </a:cubicBezTo>
                  <a:close/>
                  <a:moveTo>
                    <a:pt x="101918" y="92393"/>
                  </a:moveTo>
                  <a:cubicBezTo>
                    <a:pt x="100965" y="93345"/>
                    <a:pt x="100013" y="94298"/>
                    <a:pt x="99060" y="95250"/>
                  </a:cubicBezTo>
                  <a:cubicBezTo>
                    <a:pt x="97155" y="97155"/>
                    <a:pt x="96203" y="98108"/>
                    <a:pt x="94298" y="100013"/>
                  </a:cubicBezTo>
                  <a:cubicBezTo>
                    <a:pt x="91440" y="102870"/>
                    <a:pt x="88583" y="103823"/>
                    <a:pt x="84773" y="103823"/>
                  </a:cubicBezTo>
                  <a:cubicBezTo>
                    <a:pt x="84773" y="103823"/>
                    <a:pt x="83820" y="103823"/>
                    <a:pt x="83820" y="103823"/>
                  </a:cubicBezTo>
                  <a:cubicBezTo>
                    <a:pt x="76200" y="102870"/>
                    <a:pt x="69533" y="100013"/>
                    <a:pt x="63818" y="98108"/>
                  </a:cubicBezTo>
                  <a:cubicBezTo>
                    <a:pt x="49530" y="91440"/>
                    <a:pt x="37148" y="81915"/>
                    <a:pt x="26670" y="69533"/>
                  </a:cubicBezTo>
                  <a:cubicBezTo>
                    <a:pt x="18098" y="59055"/>
                    <a:pt x="12383" y="49530"/>
                    <a:pt x="8573" y="40005"/>
                  </a:cubicBezTo>
                  <a:cubicBezTo>
                    <a:pt x="5715" y="33338"/>
                    <a:pt x="5715" y="28575"/>
                    <a:pt x="5715" y="23813"/>
                  </a:cubicBezTo>
                  <a:cubicBezTo>
                    <a:pt x="5715" y="20955"/>
                    <a:pt x="7620" y="18098"/>
                    <a:pt x="9525" y="16193"/>
                  </a:cubicBezTo>
                  <a:lnTo>
                    <a:pt x="18098" y="7620"/>
                  </a:lnTo>
                  <a:cubicBezTo>
                    <a:pt x="19050" y="6668"/>
                    <a:pt x="20955" y="5715"/>
                    <a:pt x="21908" y="5715"/>
                  </a:cubicBezTo>
                  <a:cubicBezTo>
                    <a:pt x="22860" y="5715"/>
                    <a:pt x="24765" y="6668"/>
                    <a:pt x="25718" y="7620"/>
                  </a:cubicBezTo>
                  <a:cubicBezTo>
                    <a:pt x="27623" y="8573"/>
                    <a:pt x="28575" y="10478"/>
                    <a:pt x="30480" y="12383"/>
                  </a:cubicBezTo>
                  <a:cubicBezTo>
                    <a:pt x="31433" y="13335"/>
                    <a:pt x="32385" y="14288"/>
                    <a:pt x="32385" y="15240"/>
                  </a:cubicBezTo>
                  <a:lnTo>
                    <a:pt x="39053" y="21908"/>
                  </a:lnTo>
                  <a:cubicBezTo>
                    <a:pt x="40005" y="22860"/>
                    <a:pt x="40958" y="24765"/>
                    <a:pt x="40958" y="25718"/>
                  </a:cubicBezTo>
                  <a:cubicBezTo>
                    <a:pt x="40958" y="26670"/>
                    <a:pt x="40005" y="28575"/>
                    <a:pt x="39053" y="29528"/>
                  </a:cubicBezTo>
                  <a:cubicBezTo>
                    <a:pt x="39053" y="30480"/>
                    <a:pt x="38100" y="31433"/>
                    <a:pt x="38100" y="32385"/>
                  </a:cubicBezTo>
                  <a:cubicBezTo>
                    <a:pt x="35243" y="34290"/>
                    <a:pt x="33338" y="36195"/>
                    <a:pt x="31433" y="38100"/>
                  </a:cubicBezTo>
                  <a:cubicBezTo>
                    <a:pt x="31433" y="38100"/>
                    <a:pt x="31433" y="38100"/>
                    <a:pt x="31433" y="38100"/>
                  </a:cubicBezTo>
                  <a:cubicBezTo>
                    <a:pt x="29528" y="40005"/>
                    <a:pt x="29528" y="41910"/>
                    <a:pt x="30480" y="42863"/>
                  </a:cubicBezTo>
                  <a:cubicBezTo>
                    <a:pt x="30480" y="42863"/>
                    <a:pt x="30480" y="42863"/>
                    <a:pt x="30480" y="42863"/>
                  </a:cubicBezTo>
                  <a:cubicBezTo>
                    <a:pt x="32385" y="47625"/>
                    <a:pt x="34290" y="51435"/>
                    <a:pt x="38100" y="56198"/>
                  </a:cubicBezTo>
                  <a:cubicBezTo>
                    <a:pt x="44768" y="64770"/>
                    <a:pt x="52388" y="71438"/>
                    <a:pt x="60008" y="76200"/>
                  </a:cubicBezTo>
                  <a:cubicBezTo>
                    <a:pt x="60960" y="77153"/>
                    <a:pt x="61913" y="77153"/>
                    <a:pt x="62865" y="78105"/>
                  </a:cubicBezTo>
                  <a:cubicBezTo>
                    <a:pt x="63818" y="78105"/>
                    <a:pt x="64770" y="79058"/>
                    <a:pt x="65723" y="79058"/>
                  </a:cubicBezTo>
                  <a:cubicBezTo>
                    <a:pt x="65723" y="79058"/>
                    <a:pt x="65723" y="79058"/>
                    <a:pt x="65723" y="79058"/>
                  </a:cubicBezTo>
                  <a:cubicBezTo>
                    <a:pt x="66675" y="79058"/>
                    <a:pt x="67628" y="80010"/>
                    <a:pt x="67628" y="80010"/>
                  </a:cubicBezTo>
                  <a:cubicBezTo>
                    <a:pt x="69533" y="80010"/>
                    <a:pt x="70485" y="79058"/>
                    <a:pt x="71438" y="78105"/>
                  </a:cubicBezTo>
                  <a:lnTo>
                    <a:pt x="80010" y="69533"/>
                  </a:lnTo>
                  <a:cubicBezTo>
                    <a:pt x="80963" y="68580"/>
                    <a:pt x="82868" y="67628"/>
                    <a:pt x="83820" y="67628"/>
                  </a:cubicBezTo>
                  <a:cubicBezTo>
                    <a:pt x="85725" y="67628"/>
                    <a:pt x="86678" y="68580"/>
                    <a:pt x="87630" y="69533"/>
                  </a:cubicBezTo>
                  <a:lnTo>
                    <a:pt x="100965" y="82868"/>
                  </a:lnTo>
                  <a:cubicBezTo>
                    <a:pt x="104775" y="86678"/>
                    <a:pt x="104775" y="89535"/>
                    <a:pt x="101918" y="92393"/>
                  </a:cubicBezTo>
                  <a:close/>
                </a:path>
              </a:pathLst>
            </a:custGeom>
            <a:solidFill>
              <a:srgbClr val="3A5C7D"/>
            </a:solidFill>
            <a:ln w="9525" cap="flat">
              <a:noFill/>
              <a:prstDash val="solid"/>
              <a:miter/>
            </a:ln>
          </p:spPr>
          <p:txBody>
            <a:bodyPr rtlCol="0" anchor="ctr"/>
            <a:lstStyle/>
            <a:p>
              <a:endParaRPr lang="de-DE"/>
            </a:p>
          </p:txBody>
        </p:sp>
      </p:grpSp>
      <p:sp>
        <p:nvSpPr>
          <p:cNvPr id="2" name="Titel 1">
            <a:extLst>
              <a:ext uri="{FF2B5EF4-FFF2-40B4-BE49-F238E27FC236}">
                <a16:creationId xmlns:a16="http://schemas.microsoft.com/office/drawing/2014/main" id="{0526DC72-FA1D-422D-8055-3374742D122B}"/>
              </a:ext>
            </a:extLst>
          </p:cNvPr>
          <p:cNvSpPr>
            <a:spLocks noGrp="1"/>
          </p:cNvSpPr>
          <p:nvPr>
            <p:ph type="title"/>
          </p:nvPr>
        </p:nvSpPr>
        <p:spPr/>
        <p:txBody>
          <a:bodyPr/>
          <a:lstStyle>
            <a:lvl1pPr>
              <a:lnSpc>
                <a:spcPct val="100000"/>
              </a:lnSpc>
              <a:defRPr/>
            </a:lvl1pPr>
          </a:lstStyle>
          <a:p>
            <a:r>
              <a:rPr lang="de-DE"/>
              <a:t>Mastertitelformat bearbeiten</a:t>
            </a:r>
          </a:p>
        </p:txBody>
      </p:sp>
      <p:sp>
        <p:nvSpPr>
          <p:cNvPr id="3" name="Foliennummernplatzhalter 2">
            <a:extLst>
              <a:ext uri="{FF2B5EF4-FFF2-40B4-BE49-F238E27FC236}">
                <a16:creationId xmlns:a16="http://schemas.microsoft.com/office/drawing/2014/main" id="{5B327254-466C-4606-8589-BCC72CBDADDF}"/>
              </a:ext>
            </a:extLst>
          </p:cNvPr>
          <p:cNvSpPr>
            <a:spLocks noGrp="1"/>
          </p:cNvSpPr>
          <p:nvPr>
            <p:ph type="sldNum" sz="quarter" idx="10"/>
          </p:nvPr>
        </p:nvSpPr>
        <p:spPr/>
        <p:txBody>
          <a:bodyPr/>
          <a:lstStyle/>
          <a:p>
            <a:fld id="{A04BEB4F-8CE1-4F18-986F-6CE0A0BE9470}" type="slidenum">
              <a:rPr lang="de-DE" smtClean="0"/>
              <a:t>‹#›</a:t>
            </a:fld>
            <a:endParaRPr lang="de-DE"/>
          </a:p>
        </p:txBody>
      </p:sp>
      <p:sp>
        <p:nvSpPr>
          <p:cNvPr id="244" name="Bildplatzhalter 243">
            <a:extLst>
              <a:ext uri="{FF2B5EF4-FFF2-40B4-BE49-F238E27FC236}">
                <a16:creationId xmlns:a16="http://schemas.microsoft.com/office/drawing/2014/main" id="{BEFA9F10-608F-4384-8CB7-67B15BA77E30}"/>
              </a:ext>
            </a:extLst>
          </p:cNvPr>
          <p:cNvSpPr>
            <a:spLocks noGrp="1"/>
          </p:cNvSpPr>
          <p:nvPr>
            <p:ph type="pic" sz="quarter" idx="11" hasCustomPrompt="1"/>
          </p:nvPr>
        </p:nvSpPr>
        <p:spPr>
          <a:xfrm>
            <a:off x="815952" y="1979612"/>
            <a:ext cx="3677602" cy="3677602"/>
          </a:xfrm>
          <a:custGeom>
            <a:avLst/>
            <a:gdLst>
              <a:gd name="connsiteX0" fmla="*/ 161297 w 3677602"/>
              <a:gd name="connsiteY0" fmla="*/ 0 h 3677602"/>
              <a:gd name="connsiteX1" fmla="*/ 3677602 w 3677602"/>
              <a:gd name="connsiteY1" fmla="*/ 0 h 3677602"/>
              <a:gd name="connsiteX2" fmla="*/ 3677602 w 3677602"/>
              <a:gd name="connsiteY2" fmla="*/ 1627609 h 3677602"/>
              <a:gd name="connsiteX3" fmla="*/ 3677602 w 3677602"/>
              <a:gd name="connsiteY3" fmla="*/ 1851070 h 3677602"/>
              <a:gd name="connsiteX4" fmla="*/ 3677602 w 3677602"/>
              <a:gd name="connsiteY4" fmla="*/ 3487700 h 3677602"/>
              <a:gd name="connsiteX5" fmla="*/ 3676079 w 3677602"/>
              <a:gd name="connsiteY5" fmla="*/ 3504386 h 3677602"/>
              <a:gd name="connsiteX6" fmla="*/ 3506882 w 3677602"/>
              <a:gd name="connsiteY6" fmla="*/ 3674433 h 3677602"/>
              <a:gd name="connsiteX7" fmla="*/ 3475439 w 3677602"/>
              <a:gd name="connsiteY7" fmla="*/ 3677602 h 3677602"/>
              <a:gd name="connsiteX8" fmla="*/ 0 w 3677602"/>
              <a:gd name="connsiteY8" fmla="*/ 3677602 h 3677602"/>
              <a:gd name="connsiteX9" fmla="*/ 0 w 3677602"/>
              <a:gd name="connsiteY9" fmla="*/ 1851070 h 3677602"/>
              <a:gd name="connsiteX10" fmla="*/ 0 w 3677602"/>
              <a:gd name="connsiteY10" fmla="*/ 1627609 h 3677602"/>
              <a:gd name="connsiteX11" fmla="*/ 0 w 3677602"/>
              <a:gd name="connsiteY11" fmla="*/ 166948 h 3677602"/>
              <a:gd name="connsiteX12" fmla="*/ 23 w 3677602"/>
              <a:gd name="connsiteY12" fmla="*/ 166723 h 3677602"/>
              <a:gd name="connsiteX13" fmla="*/ 128514 w 3677602"/>
              <a:gd name="connsiteY13" fmla="*/ 10240 h 3677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77601" h="3677601">
                <a:moveTo>
                  <a:pt x="161297" y="0"/>
                </a:moveTo>
                <a:lnTo>
                  <a:pt x="3677602" y="0"/>
                </a:lnTo>
                <a:lnTo>
                  <a:pt x="3677602" y="1627609"/>
                </a:lnTo>
                <a:lnTo>
                  <a:pt x="3677602" y="1851070"/>
                </a:lnTo>
                <a:lnTo>
                  <a:pt x="3677602" y="3487700"/>
                </a:lnTo>
                <a:lnTo>
                  <a:pt x="3676079" y="3504386"/>
                </a:lnTo>
                <a:cubicBezTo>
                  <a:pt x="3659344" y="3589744"/>
                  <a:pt x="3592225" y="3656968"/>
                  <a:pt x="3506882" y="3674433"/>
                </a:cubicBezTo>
                <a:lnTo>
                  <a:pt x="3475439" y="3677602"/>
                </a:lnTo>
                <a:lnTo>
                  <a:pt x="0" y="3677602"/>
                </a:lnTo>
                <a:lnTo>
                  <a:pt x="0" y="1851070"/>
                </a:lnTo>
                <a:lnTo>
                  <a:pt x="0" y="1627609"/>
                </a:lnTo>
                <a:lnTo>
                  <a:pt x="0" y="166948"/>
                </a:lnTo>
                <a:lnTo>
                  <a:pt x="23" y="166723"/>
                </a:lnTo>
                <a:cubicBezTo>
                  <a:pt x="14564" y="96199"/>
                  <a:pt x="63599" y="37834"/>
                  <a:pt x="128514" y="10240"/>
                </a:cubicBezTo>
                <a:close/>
              </a:path>
            </a:pathLst>
          </a:custGeom>
          <a:effectLst>
            <a:outerShdw blurRad="190500" dist="127000" algn="ctr" rotWithShape="0">
              <a:prstClr val="black">
                <a:alpha val="10000"/>
              </a:prstClr>
            </a:outerShdw>
          </a:effectLst>
        </p:spPr>
        <p:txBody>
          <a:bodyPr wrap="square">
            <a:noAutofit/>
          </a:bodyPr>
          <a:lstStyle>
            <a:lvl1pPr marL="0" marR="0" indent="0" algn="l" defTabSz="1644650" rtl="0" eaLnBrk="0" fontAlgn="base" latinLnBrk="0" hangingPunct="0">
              <a:lnSpc>
                <a:spcPct val="130000"/>
              </a:lnSpc>
              <a:spcBef>
                <a:spcPct val="0"/>
              </a:spcBef>
              <a:spcAft>
                <a:spcPts val="1200"/>
              </a:spcAft>
              <a:buClr>
                <a:srgbClr val="004C99"/>
              </a:buClr>
              <a:buSzPct val="120000"/>
              <a:buFontTx/>
              <a:buBlip>
                <a:blip r:embed="rId2"/>
              </a:buBlip>
              <a:defRPr/>
            </a:lvl1pPr>
            <a:lvl2pPr marL="344488" indent="0" algn="l">
              <a:buNone/>
              <a:defRPr/>
            </a:lvl2pPr>
            <a:lvl3pPr marL="990600" marR="0" indent="-285750" algn="l" defTabSz="1644650" rtl="0" eaLnBrk="0" fontAlgn="base" latinLnBrk="0" hangingPunct="0">
              <a:lnSpc>
                <a:spcPct val="130000"/>
              </a:lnSpc>
              <a:spcBef>
                <a:spcPct val="0"/>
              </a:spcBef>
              <a:spcAft>
                <a:spcPts val="1200"/>
              </a:spcAft>
              <a:buClr>
                <a:srgbClr val="004C99"/>
              </a:buClr>
              <a:buSzPct val="120000"/>
              <a:defRPr/>
            </a:lvl3pPr>
          </a:lstStyle>
          <a:p>
            <a:pPr marL="285750" marR="0" lvl="0" indent="-285750" algn="l" defTabSz="1644650" rtl="0" eaLnBrk="0" fontAlgn="base" latinLnBrk="0" hangingPunct="0">
              <a:lnSpc>
                <a:spcPct val="130000"/>
              </a:lnSpc>
              <a:spcBef>
                <a:spcPct val="0"/>
              </a:spcBef>
              <a:spcAft>
                <a:spcPts val="1200"/>
              </a:spcAft>
              <a:buClr>
                <a:srgbClr val="004C99"/>
              </a:buClr>
              <a:buSzPct val="120000"/>
              <a:defRPr/>
            </a:pPr>
            <a:r>
              <a:rPr lang="de-DE"/>
              <a:t>Please insert image</a:t>
            </a:r>
          </a:p>
        </p:txBody>
      </p:sp>
      <p:sp>
        <p:nvSpPr>
          <p:cNvPr id="19" name="Textplatzhalter 16">
            <a:extLst>
              <a:ext uri="{FF2B5EF4-FFF2-40B4-BE49-F238E27FC236}">
                <a16:creationId xmlns:a16="http://schemas.microsoft.com/office/drawing/2014/main" id="{93A96B82-B2E7-4ED9-BED8-958994003381}"/>
              </a:ext>
            </a:extLst>
          </p:cNvPr>
          <p:cNvSpPr>
            <a:spLocks noGrp="1"/>
          </p:cNvSpPr>
          <p:nvPr>
            <p:ph type="body" sz="quarter" idx="12" hasCustomPrompt="1"/>
          </p:nvPr>
        </p:nvSpPr>
        <p:spPr>
          <a:xfrm>
            <a:off x="4815065" y="1979612"/>
            <a:ext cx="6560982" cy="508000"/>
          </a:xfrm>
        </p:spPr>
        <p:txBody>
          <a:bodyPr/>
          <a:lstStyle>
            <a:lvl1pPr marL="0" indent="0">
              <a:buNone/>
              <a:defRPr b="0">
                <a:latin typeface="Roboto Medium" panose="02000000000000000000" pitchFamily="2" charset="0"/>
                <a:ea typeface="Roboto Medium" panose="02000000000000000000" pitchFamily="2" charset="0"/>
              </a:defRPr>
            </a:lvl1pPr>
          </a:lstStyle>
          <a:p>
            <a:pPr lvl="0"/>
            <a:r>
              <a:rPr lang="de-DE"/>
              <a:t>Enter name</a:t>
            </a:r>
          </a:p>
        </p:txBody>
      </p:sp>
      <p:sp>
        <p:nvSpPr>
          <p:cNvPr id="20" name="Textplatzhalter 16">
            <a:extLst>
              <a:ext uri="{FF2B5EF4-FFF2-40B4-BE49-F238E27FC236}">
                <a16:creationId xmlns:a16="http://schemas.microsoft.com/office/drawing/2014/main" id="{142F198E-1DB4-4E63-A2C7-0A4547AC0674}"/>
              </a:ext>
            </a:extLst>
          </p:cNvPr>
          <p:cNvSpPr>
            <a:spLocks noGrp="1"/>
          </p:cNvSpPr>
          <p:nvPr>
            <p:ph type="body" sz="quarter" idx="13" hasCustomPrompt="1"/>
          </p:nvPr>
        </p:nvSpPr>
        <p:spPr>
          <a:xfrm>
            <a:off x="4815065" y="2601912"/>
            <a:ext cx="6560982" cy="1250110"/>
          </a:xfrm>
        </p:spPr>
        <p:txBody>
          <a:bodyPr>
            <a:normAutofit/>
          </a:bodyPr>
          <a:lstStyle>
            <a:lvl1pPr marL="0" indent="0">
              <a:buNone/>
              <a:defRPr sz="1800" baseline="0">
                <a:solidFill>
                  <a:schemeClr val="tx1"/>
                </a:solidFill>
                <a:latin typeface="+mn-lt"/>
                <a:ea typeface="Roboto Medium" panose="02000000000000000000" pitchFamily="2" charset="0"/>
              </a:defRPr>
            </a:lvl1pPr>
          </a:lstStyle>
          <a:p>
            <a:pPr lvl="0"/>
            <a:r>
              <a:rPr lang="de-DE"/>
              <a:t>Enter job title and adress</a:t>
            </a:r>
          </a:p>
        </p:txBody>
      </p:sp>
      <p:sp>
        <p:nvSpPr>
          <p:cNvPr id="27" name="Textplatzhalter 16">
            <a:extLst>
              <a:ext uri="{FF2B5EF4-FFF2-40B4-BE49-F238E27FC236}">
                <a16:creationId xmlns:a16="http://schemas.microsoft.com/office/drawing/2014/main" id="{7014F03A-61A7-4B14-B49F-D025A3D18EC3}"/>
              </a:ext>
            </a:extLst>
          </p:cNvPr>
          <p:cNvSpPr>
            <a:spLocks noGrp="1"/>
          </p:cNvSpPr>
          <p:nvPr>
            <p:ph type="body" sz="quarter" idx="14" hasCustomPrompt="1"/>
          </p:nvPr>
        </p:nvSpPr>
        <p:spPr>
          <a:xfrm>
            <a:off x="5561269" y="4045011"/>
            <a:ext cx="5814777" cy="421976"/>
          </a:xfrm>
        </p:spPr>
        <p:txBody>
          <a:bodyPr anchor="ctr">
            <a:normAutofit/>
          </a:bodyPr>
          <a:lstStyle>
            <a:lvl1pPr marL="0" indent="0">
              <a:buNone/>
              <a:defRPr sz="1800">
                <a:solidFill>
                  <a:schemeClr val="tx1"/>
                </a:solidFill>
                <a:latin typeface="+mn-lt"/>
                <a:ea typeface="Roboto Medium" panose="02000000000000000000" pitchFamily="2" charset="0"/>
              </a:defRPr>
            </a:lvl1pPr>
          </a:lstStyle>
          <a:p>
            <a:pPr lvl="0"/>
            <a:r>
              <a:rPr lang="de-DE"/>
              <a:t>Enter phone</a:t>
            </a:r>
          </a:p>
        </p:txBody>
      </p:sp>
      <p:sp>
        <p:nvSpPr>
          <p:cNvPr id="28" name="Textplatzhalter 16">
            <a:extLst>
              <a:ext uri="{FF2B5EF4-FFF2-40B4-BE49-F238E27FC236}">
                <a16:creationId xmlns:a16="http://schemas.microsoft.com/office/drawing/2014/main" id="{903F4678-5805-4A88-8976-545B16AEBDEC}"/>
              </a:ext>
            </a:extLst>
          </p:cNvPr>
          <p:cNvSpPr>
            <a:spLocks noGrp="1"/>
          </p:cNvSpPr>
          <p:nvPr>
            <p:ph type="body" sz="quarter" idx="15" hasCustomPrompt="1"/>
          </p:nvPr>
        </p:nvSpPr>
        <p:spPr>
          <a:xfrm>
            <a:off x="5561270" y="4590192"/>
            <a:ext cx="5814776" cy="421976"/>
          </a:xfrm>
        </p:spPr>
        <p:txBody>
          <a:bodyPr anchor="ctr">
            <a:normAutofit/>
          </a:bodyPr>
          <a:lstStyle>
            <a:lvl1pPr marL="0" indent="0">
              <a:buNone/>
              <a:defRPr sz="1800">
                <a:solidFill>
                  <a:schemeClr val="tx1"/>
                </a:solidFill>
                <a:latin typeface="+mn-lt"/>
                <a:ea typeface="Roboto Medium" panose="02000000000000000000" pitchFamily="2" charset="0"/>
              </a:defRPr>
            </a:lvl1pPr>
          </a:lstStyle>
          <a:p>
            <a:pPr lvl="0"/>
            <a:r>
              <a:rPr lang="de-DE"/>
              <a:t>Enter email</a:t>
            </a:r>
          </a:p>
        </p:txBody>
      </p:sp>
    </p:spTree>
    <p:extLst>
      <p:ext uri="{BB962C8B-B14F-4D97-AF65-F5344CB8AC3E}">
        <p14:creationId xmlns:p14="http://schemas.microsoft.com/office/powerpoint/2010/main" val="2815279850"/>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8" dur="1000" decel="10000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0-#ppt_w/2"/>
                                          </p:val>
                                        </p:tav>
                                        <p:tav tm="100000">
                                          <p:val>
                                            <p:strVal val="#ppt_x"/>
                                          </p:val>
                                        </p:tav>
                                      </p:tavLst>
                                    </p:anim>
                                    <p:anim calcmode="lin" valueType="num">
                                      <p:cBhvr additive="base">
                                        <p:cTn id="8" dur="1000" fill="hold"/>
                                        <p:tgtEl>
                                          <p:spTgt spid="2"/>
                                        </p:tgtEl>
                                        <p:attrNameLst>
                                          <p:attrName>ppt_y</p:attrName>
                                        </p:attrNameLst>
                                      </p:cBhvr>
                                      <p:tavLst>
                                        <p:tav tm="0">
                                          <p:val>
                                            <p:strVal val="#ppt_y"/>
                                          </p:val>
                                        </p:tav>
                                        <p:tav tm="100000">
                                          <p:val>
                                            <p:strVal val="#ppt_y"/>
                                          </p:val>
                                        </p:tav>
                                      </p:tavLst>
                                    </p:anim>
                                  </p:childTnLst>
                                </p:cTn>
                              </p:par>
                              <p:par>
                                <p:cTn id="9" presetID="2" presetClass="entr" presetSubtype="2" dur="1000" decel="100000" fill="hold" grpId="0" nodeType="withEffect">
                                  <p:stCondLst>
                                    <p:cond delay="250"/>
                                  </p:stCondLst>
                                  <p:childTnLst>
                                    <p:set>
                                      <p:cBhvr>
                                        <p:cTn id="10" dur="1" fill="hold">
                                          <p:stCondLst>
                                            <p:cond delay="0"/>
                                          </p:stCondLst>
                                        </p:cTn>
                                        <p:tgtEl>
                                          <p:spTgt spid="19"/>
                                        </p:tgtEl>
                                        <p:attrNameLst>
                                          <p:attrName>style.visibility</p:attrName>
                                        </p:attrNameLst>
                                      </p:cBhvr>
                                      <p:to>
                                        <p:strVal val="visible"/>
                                      </p:to>
                                    </p:set>
                                    <p:anim calcmode="lin" valueType="num">
                                      <p:cBhvr additive="base">
                                        <p:cTn id="11" dur="1000" fill="hold"/>
                                        <p:tgtEl>
                                          <p:spTgt spid="19"/>
                                        </p:tgtEl>
                                        <p:attrNameLst>
                                          <p:attrName>ppt_x</p:attrName>
                                        </p:attrNameLst>
                                      </p:cBhvr>
                                      <p:tavLst>
                                        <p:tav tm="0">
                                          <p:val>
                                            <p:strVal val="1+#ppt_w/2"/>
                                          </p:val>
                                        </p:tav>
                                        <p:tav tm="100000">
                                          <p:val>
                                            <p:strVal val="#ppt_x"/>
                                          </p:val>
                                        </p:tav>
                                      </p:tavLst>
                                    </p:anim>
                                    <p:anim calcmode="lin" valueType="num">
                                      <p:cBhvr additive="base">
                                        <p:cTn id="12" dur="1000" fill="hold"/>
                                        <p:tgtEl>
                                          <p:spTgt spid="19"/>
                                        </p:tgtEl>
                                        <p:attrNameLst>
                                          <p:attrName>ppt_y</p:attrName>
                                        </p:attrNameLst>
                                      </p:cBhvr>
                                      <p:tavLst>
                                        <p:tav tm="0">
                                          <p:val>
                                            <p:strVal val="#ppt_y"/>
                                          </p:val>
                                        </p:tav>
                                        <p:tav tm="100000">
                                          <p:val>
                                            <p:strVal val="#ppt_y"/>
                                          </p:val>
                                        </p:tav>
                                      </p:tavLst>
                                    </p:anim>
                                  </p:childTnLst>
                                </p:cTn>
                              </p:par>
                              <p:par>
                                <p:cTn id="13" presetID="2" presetClass="entr" presetSubtype="2" dur="1000" decel="100000" fill="hold" grpId="0" nodeType="withEffect">
                                  <p:stCondLst>
                                    <p:cond delay="250"/>
                                  </p:stCondLst>
                                  <p:childTnLst>
                                    <p:set>
                                      <p:cBhvr>
                                        <p:cTn id="14" dur="1" fill="hold">
                                          <p:stCondLst>
                                            <p:cond delay="0"/>
                                          </p:stCondLst>
                                        </p:cTn>
                                        <p:tgtEl>
                                          <p:spTgt spid="20"/>
                                        </p:tgtEl>
                                        <p:attrNameLst>
                                          <p:attrName>style.visibility</p:attrName>
                                        </p:attrNameLst>
                                      </p:cBhvr>
                                      <p:to>
                                        <p:strVal val="visible"/>
                                      </p:to>
                                    </p:set>
                                    <p:anim calcmode="lin" valueType="num">
                                      <p:cBhvr additive="base">
                                        <p:cTn id="15" dur="1000" fill="hold"/>
                                        <p:tgtEl>
                                          <p:spTgt spid="20"/>
                                        </p:tgtEl>
                                        <p:attrNameLst>
                                          <p:attrName>ppt_x</p:attrName>
                                        </p:attrNameLst>
                                      </p:cBhvr>
                                      <p:tavLst>
                                        <p:tav tm="0">
                                          <p:val>
                                            <p:strVal val="1+#ppt_w/2"/>
                                          </p:val>
                                        </p:tav>
                                        <p:tav tm="100000">
                                          <p:val>
                                            <p:strVal val="#ppt_x"/>
                                          </p:val>
                                        </p:tav>
                                      </p:tavLst>
                                    </p:anim>
                                    <p:anim calcmode="lin" valueType="num">
                                      <p:cBhvr additive="base">
                                        <p:cTn id="16" dur="1000" fill="hold"/>
                                        <p:tgtEl>
                                          <p:spTgt spid="20"/>
                                        </p:tgtEl>
                                        <p:attrNameLst>
                                          <p:attrName>ppt_y</p:attrName>
                                        </p:attrNameLst>
                                      </p:cBhvr>
                                      <p:tavLst>
                                        <p:tav tm="0">
                                          <p:val>
                                            <p:strVal val="#ppt_y"/>
                                          </p:val>
                                        </p:tav>
                                        <p:tav tm="100000">
                                          <p:val>
                                            <p:strVal val="#ppt_y"/>
                                          </p:val>
                                        </p:tav>
                                      </p:tavLst>
                                    </p:anim>
                                  </p:childTnLst>
                                </p:cTn>
                              </p:par>
                              <p:par>
                                <p:cTn id="17" presetID="2" presetClass="entr" presetSubtype="2" dur="1000" decel="100000" fill="hold" nodeType="withEffect">
                                  <p:stCondLst>
                                    <p:cond delay="250"/>
                                  </p:stCondLst>
                                  <p:childTnLst>
                                    <p:set>
                                      <p:cBhvr>
                                        <p:cTn id="18" dur="1" fill="hold">
                                          <p:stCondLst>
                                            <p:cond delay="0"/>
                                          </p:stCondLst>
                                        </p:cTn>
                                        <p:tgtEl>
                                          <p:spTgt spid="36"/>
                                        </p:tgtEl>
                                        <p:attrNameLst>
                                          <p:attrName>style.visibility</p:attrName>
                                        </p:attrNameLst>
                                      </p:cBhvr>
                                      <p:to>
                                        <p:strVal val="visible"/>
                                      </p:to>
                                    </p:set>
                                    <p:anim calcmode="lin" valueType="num">
                                      <p:cBhvr additive="base">
                                        <p:cTn id="19" dur="1000" fill="hold"/>
                                        <p:tgtEl>
                                          <p:spTgt spid="36"/>
                                        </p:tgtEl>
                                        <p:attrNameLst>
                                          <p:attrName>ppt_x</p:attrName>
                                        </p:attrNameLst>
                                      </p:cBhvr>
                                      <p:tavLst>
                                        <p:tav tm="0">
                                          <p:val>
                                            <p:strVal val="1+#ppt_w/2"/>
                                          </p:val>
                                        </p:tav>
                                        <p:tav tm="100000">
                                          <p:val>
                                            <p:strVal val="#ppt_x"/>
                                          </p:val>
                                        </p:tav>
                                      </p:tavLst>
                                    </p:anim>
                                    <p:anim calcmode="lin" valueType="num">
                                      <p:cBhvr additive="base">
                                        <p:cTn id="20" dur="1000" fill="hold"/>
                                        <p:tgtEl>
                                          <p:spTgt spid="36"/>
                                        </p:tgtEl>
                                        <p:attrNameLst>
                                          <p:attrName>ppt_y</p:attrName>
                                        </p:attrNameLst>
                                      </p:cBhvr>
                                      <p:tavLst>
                                        <p:tav tm="0">
                                          <p:val>
                                            <p:strVal val="#ppt_y"/>
                                          </p:val>
                                        </p:tav>
                                        <p:tav tm="100000">
                                          <p:val>
                                            <p:strVal val="#ppt_y"/>
                                          </p:val>
                                        </p:tav>
                                      </p:tavLst>
                                    </p:anim>
                                  </p:childTnLst>
                                </p:cTn>
                              </p:par>
                              <p:par>
                                <p:cTn id="21" presetID="2" presetClass="entr" presetSubtype="2" dur="1000" decel="100000" fill="hold" nodeType="withEffect">
                                  <p:stCondLst>
                                    <p:cond delay="250"/>
                                  </p:stCondLst>
                                  <p:childTnLst>
                                    <p:set>
                                      <p:cBhvr>
                                        <p:cTn id="22" dur="1" fill="hold">
                                          <p:stCondLst>
                                            <p:cond delay="0"/>
                                          </p:stCondLst>
                                        </p:cTn>
                                        <p:tgtEl>
                                          <p:spTgt spid="39"/>
                                        </p:tgtEl>
                                        <p:attrNameLst>
                                          <p:attrName>style.visibility</p:attrName>
                                        </p:attrNameLst>
                                      </p:cBhvr>
                                      <p:to>
                                        <p:strVal val="visible"/>
                                      </p:to>
                                    </p:set>
                                    <p:anim calcmode="lin" valueType="num">
                                      <p:cBhvr additive="base">
                                        <p:cTn id="23" dur="1000" fill="hold"/>
                                        <p:tgtEl>
                                          <p:spTgt spid="39"/>
                                        </p:tgtEl>
                                        <p:attrNameLst>
                                          <p:attrName>ppt_x</p:attrName>
                                        </p:attrNameLst>
                                      </p:cBhvr>
                                      <p:tavLst>
                                        <p:tav tm="0">
                                          <p:val>
                                            <p:strVal val="1+#ppt_w/2"/>
                                          </p:val>
                                        </p:tav>
                                        <p:tav tm="100000">
                                          <p:val>
                                            <p:strVal val="#ppt_x"/>
                                          </p:val>
                                        </p:tav>
                                      </p:tavLst>
                                    </p:anim>
                                    <p:anim calcmode="lin" valueType="num">
                                      <p:cBhvr additive="base">
                                        <p:cTn id="24" dur="1000" fill="hold"/>
                                        <p:tgtEl>
                                          <p:spTgt spid="39"/>
                                        </p:tgtEl>
                                        <p:attrNameLst>
                                          <p:attrName>ppt_y</p:attrName>
                                        </p:attrNameLst>
                                      </p:cBhvr>
                                      <p:tavLst>
                                        <p:tav tm="0">
                                          <p:val>
                                            <p:strVal val="#ppt_y"/>
                                          </p:val>
                                        </p:tav>
                                        <p:tav tm="100000">
                                          <p:val>
                                            <p:strVal val="#ppt_y"/>
                                          </p:val>
                                        </p:tav>
                                      </p:tavLst>
                                    </p:anim>
                                  </p:childTnLst>
                                </p:cTn>
                              </p:par>
                              <p:par>
                                <p:cTn id="25" presetID="2" presetClass="entr" presetSubtype="2" dur="1000" decel="100000" fill="hold" grpId="0" nodeType="withEffect">
                                  <p:stCondLst>
                                    <p:cond delay="250"/>
                                  </p:stCondLst>
                                  <p:childTnLst>
                                    <p:set>
                                      <p:cBhvr>
                                        <p:cTn id="26" dur="1" fill="hold">
                                          <p:stCondLst>
                                            <p:cond delay="0"/>
                                          </p:stCondLst>
                                        </p:cTn>
                                        <p:tgtEl>
                                          <p:spTgt spid="27">
                                            <p:txEl>
                                              <p:pRg st="0" end="0"/>
                                            </p:txEl>
                                          </p:spTgt>
                                        </p:tgtEl>
                                        <p:attrNameLst>
                                          <p:attrName>style.visibility</p:attrName>
                                        </p:attrNameLst>
                                      </p:cBhvr>
                                      <p:to>
                                        <p:strVal val="visible"/>
                                      </p:to>
                                    </p:set>
                                    <p:anim calcmode="lin" valueType="num">
                                      <p:cBhvr additive="base">
                                        <p:cTn id="27" dur="1000" fill="hold"/>
                                        <p:tgtEl>
                                          <p:spTgt spid="27">
                                            <p:txEl>
                                              <p:pRg st="0" end="0"/>
                                            </p:txEl>
                                          </p:spTgt>
                                        </p:tgtEl>
                                        <p:attrNameLst>
                                          <p:attrName>ppt_x</p:attrName>
                                        </p:attrNameLst>
                                      </p:cBhvr>
                                      <p:tavLst>
                                        <p:tav tm="0">
                                          <p:val>
                                            <p:strVal val="1+#ppt_w/2"/>
                                          </p:val>
                                        </p:tav>
                                        <p:tav tm="100000">
                                          <p:val>
                                            <p:strVal val="#ppt_x"/>
                                          </p:val>
                                        </p:tav>
                                      </p:tavLst>
                                    </p:anim>
                                    <p:anim calcmode="lin" valueType="num">
                                      <p:cBhvr additive="base">
                                        <p:cTn id="28" dur="1000" fill="hold"/>
                                        <p:tgtEl>
                                          <p:spTgt spid="27">
                                            <p:txEl>
                                              <p:pRg st="0" end="0"/>
                                            </p:txEl>
                                          </p:spTgt>
                                        </p:tgtEl>
                                        <p:attrNameLst>
                                          <p:attrName>ppt_y</p:attrName>
                                        </p:attrNameLst>
                                      </p:cBhvr>
                                      <p:tavLst>
                                        <p:tav tm="0">
                                          <p:val>
                                            <p:strVal val="#ppt_y"/>
                                          </p:val>
                                        </p:tav>
                                        <p:tav tm="100000">
                                          <p:val>
                                            <p:strVal val="#ppt_y"/>
                                          </p:val>
                                        </p:tav>
                                      </p:tavLst>
                                    </p:anim>
                                  </p:childTnLst>
                                </p:cTn>
                              </p:par>
                              <p:par>
                                <p:cTn id="29" presetID="2" presetClass="entr" presetSubtype="2" dur="1000" decel="100000" fill="hold" grpId="0" nodeType="withEffect">
                                  <p:stCondLst>
                                    <p:cond delay="250"/>
                                  </p:stCondLst>
                                  <p:childTnLst>
                                    <p:set>
                                      <p:cBhvr>
                                        <p:cTn id="30" dur="1" fill="hold">
                                          <p:stCondLst>
                                            <p:cond delay="0"/>
                                          </p:stCondLst>
                                        </p:cTn>
                                        <p:tgtEl>
                                          <p:spTgt spid="28">
                                            <p:txEl>
                                              <p:pRg st="0" end="0"/>
                                            </p:txEl>
                                          </p:spTgt>
                                        </p:tgtEl>
                                        <p:attrNameLst>
                                          <p:attrName>style.visibility</p:attrName>
                                        </p:attrNameLst>
                                      </p:cBhvr>
                                      <p:to>
                                        <p:strVal val="visible"/>
                                      </p:to>
                                    </p:set>
                                    <p:anim calcmode="lin" valueType="num">
                                      <p:cBhvr additive="base">
                                        <p:cTn id="31" dur="1000" fill="hold"/>
                                        <p:tgtEl>
                                          <p:spTgt spid="28">
                                            <p:txEl>
                                              <p:pRg st="0" end="0"/>
                                            </p:txEl>
                                          </p:spTgt>
                                        </p:tgtEl>
                                        <p:attrNameLst>
                                          <p:attrName>ppt_x</p:attrName>
                                        </p:attrNameLst>
                                      </p:cBhvr>
                                      <p:tavLst>
                                        <p:tav tm="0">
                                          <p:val>
                                            <p:strVal val="1+#ppt_w/2"/>
                                          </p:val>
                                        </p:tav>
                                        <p:tav tm="100000">
                                          <p:val>
                                            <p:strVal val="#ppt_x"/>
                                          </p:val>
                                        </p:tav>
                                      </p:tavLst>
                                    </p:anim>
                                    <p:anim calcmode="lin" valueType="num">
                                      <p:cBhvr additive="base">
                                        <p:cTn id="32" dur="1000" fill="hold"/>
                                        <p:tgtEl>
                                          <p:spTgt spid="28">
                                            <p:txEl>
                                              <p:pRg st="0" end="0"/>
                                            </p:txEl>
                                          </p:spTgt>
                                        </p:tgtEl>
                                        <p:attrNameLst>
                                          <p:attrName>ppt_y</p:attrName>
                                        </p:attrNameLst>
                                      </p:cBhvr>
                                      <p:tavLst>
                                        <p:tav tm="0">
                                          <p:val>
                                            <p:strVal val="#ppt_y"/>
                                          </p:val>
                                        </p:tav>
                                        <p:tav tm="100000">
                                          <p:val>
                                            <p:strVal val="#ppt_y"/>
                                          </p:val>
                                        </p:tav>
                                      </p:tavLst>
                                    </p:anim>
                                  </p:childTnLst>
                                </p:cTn>
                              </p:par>
                              <p:par>
                                <p:cTn id="33" presetID="26" presetClass="emph" presetSubtype="0" dur="2000" repeatCount="indefinite" fill="hold" grpId="0" nodeType="withEffect">
                                  <p:stCondLst>
                                    <p:cond delay="0"/>
                                  </p:stCondLst>
                                  <p:childTnLst>
                                    <p:animEffect transition="out" filter="fade">
                                      <p:cBhvr>
                                        <p:cTn id="34" dur="2000" tmFilter="0, 0; .2, .5; .8, .5; 1, 0"/>
                                        <p:tgtEl>
                                          <p:spTgt spid="309"/>
                                        </p:tgtEl>
                                      </p:cBhvr>
                                    </p:animEffect>
                                    <p:animScale>
                                      <p:cBhvr>
                                        <p:cTn id="35" dur="1000" autoRev="1" fill="hold"/>
                                        <p:tgtEl>
                                          <p:spTgt spid="309"/>
                                        </p:tgtEl>
                                      </p:cBhvr>
                                      <p:by x="105000" y="105000"/>
                                    </p:animScale>
                                  </p:childTnLst>
                                </p:cTn>
                              </p:par>
                              <p:par>
                                <p:cTn id="36" presetID="26" presetClass="emph" presetSubtype="0" dur="2000" repeatCount="indefinite" fill="hold" grpId="0" nodeType="withEffect">
                                  <p:stCondLst>
                                    <p:cond delay="0"/>
                                  </p:stCondLst>
                                  <p:childTnLst>
                                    <p:animEffect transition="out" filter="fade">
                                      <p:cBhvr>
                                        <p:cTn id="37" dur="2000" tmFilter="0, 0; .2, .5; .8, .5; 1, 0"/>
                                        <p:tgtEl>
                                          <p:spTgt spid="310"/>
                                        </p:tgtEl>
                                      </p:cBhvr>
                                    </p:animEffect>
                                    <p:animScale>
                                      <p:cBhvr>
                                        <p:cTn id="38" dur="1000" autoRev="1" fill="hold"/>
                                        <p:tgtEl>
                                          <p:spTgt spid="310"/>
                                        </p:tgtEl>
                                      </p:cBhvr>
                                      <p:by x="105000" y="105000"/>
                                    </p:animScale>
                                  </p:childTnLst>
                                </p:cTn>
                              </p:par>
                              <p:par>
                                <p:cTn id="39" presetID="26" presetClass="emph" presetSubtype="0" dur="2000" repeatCount="indefinite" fill="hold" grpId="0" nodeType="withEffect">
                                  <p:stCondLst>
                                    <p:cond delay="0"/>
                                  </p:stCondLst>
                                  <p:childTnLst>
                                    <p:animEffect transition="out" filter="fade">
                                      <p:cBhvr>
                                        <p:cTn id="40" dur="2000" tmFilter="0, 0; .2, .5; .8, .5; 1, 0"/>
                                        <p:tgtEl>
                                          <p:spTgt spid="311"/>
                                        </p:tgtEl>
                                      </p:cBhvr>
                                    </p:animEffect>
                                    <p:animScale>
                                      <p:cBhvr>
                                        <p:cTn id="41" dur="1000" autoRev="1" fill="hold"/>
                                        <p:tgtEl>
                                          <p:spTgt spid="311"/>
                                        </p:tgtEl>
                                      </p:cBhvr>
                                      <p:by x="105000" y="105000"/>
                                    </p:animScale>
                                  </p:childTnLst>
                                </p:cTn>
                              </p:par>
                              <p:par>
                                <p:cTn id="42" presetID="26" presetClass="emph" presetSubtype="0" dur="2000" repeatCount="indefinite" fill="hold" grpId="0" nodeType="withEffect">
                                  <p:stCondLst>
                                    <p:cond delay="0"/>
                                  </p:stCondLst>
                                  <p:childTnLst>
                                    <p:animEffect transition="out" filter="fade">
                                      <p:cBhvr>
                                        <p:cTn id="43" dur="2000" tmFilter="0, 0; .2, .5; .8, .5; 1, 0"/>
                                        <p:tgtEl>
                                          <p:spTgt spid="312"/>
                                        </p:tgtEl>
                                      </p:cBhvr>
                                    </p:animEffect>
                                    <p:animScale>
                                      <p:cBhvr>
                                        <p:cTn id="44" dur="1000" autoRev="1" fill="hold"/>
                                        <p:tgtEl>
                                          <p:spTgt spid="312"/>
                                        </p:tgtEl>
                                      </p:cBhvr>
                                      <p:by x="105000" y="105000"/>
                                    </p:animScale>
                                  </p:childTnLst>
                                </p:cTn>
                              </p:par>
                              <p:par>
                                <p:cTn id="45" presetID="26" presetClass="emph" presetSubtype="0" dur="2000" repeatCount="indefinite" fill="hold" grpId="0" nodeType="withEffect">
                                  <p:stCondLst>
                                    <p:cond delay="0"/>
                                  </p:stCondLst>
                                  <p:childTnLst>
                                    <p:animEffect transition="out" filter="fade">
                                      <p:cBhvr>
                                        <p:cTn id="46" dur="2000" tmFilter="0, 0; .2, .5; .8, .5; 1, 0"/>
                                        <p:tgtEl>
                                          <p:spTgt spid="313"/>
                                        </p:tgtEl>
                                      </p:cBhvr>
                                    </p:animEffect>
                                    <p:animScale>
                                      <p:cBhvr>
                                        <p:cTn id="47" dur="1000" autoRev="1" fill="hold"/>
                                        <p:tgtEl>
                                          <p:spTgt spid="313"/>
                                        </p:tgtEl>
                                      </p:cBhvr>
                                      <p:by x="105000" y="105000"/>
                                    </p:animScale>
                                  </p:childTnLst>
                                </p:cTn>
                              </p:par>
                              <p:par>
                                <p:cTn id="48" presetID="26" presetClass="emph" presetSubtype="0" dur="2000" repeatCount="indefinite" fill="hold" grpId="0" nodeType="withEffect">
                                  <p:stCondLst>
                                    <p:cond delay="250"/>
                                  </p:stCondLst>
                                  <p:childTnLst>
                                    <p:animEffect transition="out" filter="fade">
                                      <p:cBhvr>
                                        <p:cTn id="49" dur="2000" tmFilter="0, 0; .2, .5; .8, .5; 1, 0"/>
                                        <p:tgtEl>
                                          <p:spTgt spid="314"/>
                                        </p:tgtEl>
                                      </p:cBhvr>
                                    </p:animEffect>
                                    <p:animScale>
                                      <p:cBhvr>
                                        <p:cTn id="50" dur="1000" autoRev="1" fill="hold"/>
                                        <p:tgtEl>
                                          <p:spTgt spid="314"/>
                                        </p:tgtEl>
                                      </p:cBhvr>
                                      <p:by x="105000" y="105000"/>
                                    </p:animScale>
                                  </p:childTnLst>
                                </p:cTn>
                              </p:par>
                              <p:par>
                                <p:cTn id="51" presetID="26" presetClass="emph" presetSubtype="0" dur="2000" repeatCount="indefinite" fill="hold" grpId="0" nodeType="withEffect">
                                  <p:stCondLst>
                                    <p:cond delay="250"/>
                                  </p:stCondLst>
                                  <p:childTnLst>
                                    <p:animEffect transition="out" filter="fade">
                                      <p:cBhvr>
                                        <p:cTn id="52" dur="2000" tmFilter="0, 0; .2, .5; .8, .5; 1, 0"/>
                                        <p:tgtEl>
                                          <p:spTgt spid="315"/>
                                        </p:tgtEl>
                                      </p:cBhvr>
                                    </p:animEffect>
                                    <p:animScale>
                                      <p:cBhvr>
                                        <p:cTn id="53" dur="1000" autoRev="1" fill="hold"/>
                                        <p:tgtEl>
                                          <p:spTgt spid="315"/>
                                        </p:tgtEl>
                                      </p:cBhvr>
                                      <p:by x="105000" y="105000"/>
                                    </p:animScale>
                                  </p:childTnLst>
                                </p:cTn>
                              </p:par>
                              <p:par>
                                <p:cTn id="54" presetID="26" presetClass="emph" presetSubtype="0" dur="2000" repeatCount="indefinite" fill="hold" grpId="0" nodeType="withEffect">
                                  <p:stCondLst>
                                    <p:cond delay="250"/>
                                  </p:stCondLst>
                                  <p:childTnLst>
                                    <p:animEffect transition="out" filter="fade">
                                      <p:cBhvr>
                                        <p:cTn id="55" dur="2000" tmFilter="0, 0; .2, .5; .8, .5; 1, 0"/>
                                        <p:tgtEl>
                                          <p:spTgt spid="316"/>
                                        </p:tgtEl>
                                      </p:cBhvr>
                                    </p:animEffect>
                                    <p:animScale>
                                      <p:cBhvr>
                                        <p:cTn id="56" dur="1000" autoRev="1" fill="hold"/>
                                        <p:tgtEl>
                                          <p:spTgt spid="316"/>
                                        </p:tgtEl>
                                      </p:cBhvr>
                                      <p:by x="105000" y="105000"/>
                                    </p:animScale>
                                  </p:childTnLst>
                                </p:cTn>
                              </p:par>
                              <p:par>
                                <p:cTn id="57" presetID="26" presetClass="emph" presetSubtype="0" dur="2000" repeatCount="indefinite" fill="hold" grpId="0" nodeType="withEffect">
                                  <p:stCondLst>
                                    <p:cond delay="250"/>
                                  </p:stCondLst>
                                  <p:childTnLst>
                                    <p:animEffect transition="out" filter="fade">
                                      <p:cBhvr>
                                        <p:cTn id="58" dur="2000" tmFilter="0, 0; .2, .5; .8, .5; 1, 0"/>
                                        <p:tgtEl>
                                          <p:spTgt spid="317"/>
                                        </p:tgtEl>
                                      </p:cBhvr>
                                    </p:animEffect>
                                    <p:animScale>
                                      <p:cBhvr>
                                        <p:cTn id="59" dur="1000" autoRev="1" fill="hold"/>
                                        <p:tgtEl>
                                          <p:spTgt spid="317"/>
                                        </p:tgtEl>
                                      </p:cBhvr>
                                      <p:by x="105000" y="105000"/>
                                    </p:animScale>
                                  </p:childTnLst>
                                </p:cTn>
                              </p:par>
                              <p:par>
                                <p:cTn id="60" presetID="26" presetClass="emph" presetSubtype="0" dur="2000" repeatCount="indefinite" fill="hold" grpId="0" nodeType="withEffect">
                                  <p:stCondLst>
                                    <p:cond delay="250"/>
                                  </p:stCondLst>
                                  <p:childTnLst>
                                    <p:animEffect transition="out" filter="fade">
                                      <p:cBhvr>
                                        <p:cTn id="61" dur="2000" tmFilter="0, 0; .2, .5; .8, .5; 1, 0"/>
                                        <p:tgtEl>
                                          <p:spTgt spid="318"/>
                                        </p:tgtEl>
                                      </p:cBhvr>
                                    </p:animEffect>
                                    <p:animScale>
                                      <p:cBhvr>
                                        <p:cTn id="62" dur="1000" autoRev="1" fill="hold"/>
                                        <p:tgtEl>
                                          <p:spTgt spid="318"/>
                                        </p:tgtEl>
                                      </p:cBhvr>
                                      <p:by x="105000" y="105000"/>
                                    </p:animScale>
                                  </p:childTnLst>
                                </p:cTn>
                              </p:par>
                              <p:par>
                                <p:cTn id="63" presetID="26" presetClass="emph" presetSubtype="0" dur="2000" repeatCount="indefinite" fill="hold" grpId="0" nodeType="withEffect">
                                  <p:stCondLst>
                                    <p:cond delay="250"/>
                                  </p:stCondLst>
                                  <p:childTnLst>
                                    <p:animEffect transition="out" filter="fade">
                                      <p:cBhvr>
                                        <p:cTn id="64" dur="2000" tmFilter="0, 0; .2, .5; .8, .5; 1, 0"/>
                                        <p:tgtEl>
                                          <p:spTgt spid="319"/>
                                        </p:tgtEl>
                                      </p:cBhvr>
                                    </p:animEffect>
                                    <p:animScale>
                                      <p:cBhvr>
                                        <p:cTn id="65" dur="1000" autoRev="1" fill="hold"/>
                                        <p:tgtEl>
                                          <p:spTgt spid="319"/>
                                        </p:tgtEl>
                                      </p:cBhvr>
                                      <p:by x="105000" y="105000"/>
                                    </p:animScale>
                                  </p:childTnLst>
                                </p:cTn>
                              </p:par>
                              <p:par>
                                <p:cTn id="66" presetID="26" presetClass="emph" presetSubtype="0" dur="2000" repeatCount="indefinite" fill="hold" grpId="0" nodeType="withEffect">
                                  <p:stCondLst>
                                    <p:cond delay="250"/>
                                  </p:stCondLst>
                                  <p:childTnLst>
                                    <p:animEffect transition="out" filter="fade">
                                      <p:cBhvr>
                                        <p:cTn id="67" dur="2000" tmFilter="0, 0; .2, .5; .8, .5; 1, 0"/>
                                        <p:tgtEl>
                                          <p:spTgt spid="320"/>
                                        </p:tgtEl>
                                      </p:cBhvr>
                                    </p:animEffect>
                                    <p:animScale>
                                      <p:cBhvr>
                                        <p:cTn id="68" dur="1000" autoRev="1" fill="hold"/>
                                        <p:tgtEl>
                                          <p:spTgt spid="320"/>
                                        </p:tgtEl>
                                      </p:cBhvr>
                                      <p:by x="105000" y="105000"/>
                                    </p:animScale>
                                  </p:childTnLst>
                                </p:cTn>
                              </p:par>
                              <p:par>
                                <p:cTn id="69" presetID="26" presetClass="emph" presetSubtype="0" dur="2000" repeatCount="indefinite" fill="hold" grpId="0" nodeType="withEffect">
                                  <p:stCondLst>
                                    <p:cond delay="500"/>
                                  </p:stCondLst>
                                  <p:childTnLst>
                                    <p:animEffect transition="out" filter="fade">
                                      <p:cBhvr>
                                        <p:cTn id="70" dur="2000" tmFilter="0, 0; .2, .5; .8, .5; 1, 0"/>
                                        <p:tgtEl>
                                          <p:spTgt spid="321"/>
                                        </p:tgtEl>
                                      </p:cBhvr>
                                    </p:animEffect>
                                    <p:animScale>
                                      <p:cBhvr>
                                        <p:cTn id="71" dur="1000" autoRev="1" fill="hold"/>
                                        <p:tgtEl>
                                          <p:spTgt spid="321"/>
                                        </p:tgtEl>
                                      </p:cBhvr>
                                      <p:by x="105000" y="105000"/>
                                    </p:animScale>
                                  </p:childTnLst>
                                </p:cTn>
                              </p:par>
                              <p:par>
                                <p:cTn id="72" presetID="26" presetClass="emph" presetSubtype="0" dur="2000" repeatCount="indefinite" fill="hold" grpId="0" nodeType="withEffect">
                                  <p:stCondLst>
                                    <p:cond delay="500"/>
                                  </p:stCondLst>
                                  <p:childTnLst>
                                    <p:animEffect transition="out" filter="fade">
                                      <p:cBhvr>
                                        <p:cTn id="73" dur="2000" tmFilter="0, 0; .2, .5; .8, .5; 1, 0"/>
                                        <p:tgtEl>
                                          <p:spTgt spid="322"/>
                                        </p:tgtEl>
                                      </p:cBhvr>
                                    </p:animEffect>
                                    <p:animScale>
                                      <p:cBhvr>
                                        <p:cTn id="74" dur="1000" autoRev="1" fill="hold"/>
                                        <p:tgtEl>
                                          <p:spTgt spid="322"/>
                                        </p:tgtEl>
                                      </p:cBhvr>
                                      <p:by x="105000" y="105000"/>
                                    </p:animScale>
                                  </p:childTnLst>
                                </p:cTn>
                              </p:par>
                              <p:par>
                                <p:cTn id="75" presetID="26" presetClass="emph" presetSubtype="0" dur="2000" repeatCount="indefinite" fill="hold" grpId="0" nodeType="withEffect">
                                  <p:stCondLst>
                                    <p:cond delay="500"/>
                                  </p:stCondLst>
                                  <p:childTnLst>
                                    <p:animEffect transition="out" filter="fade">
                                      <p:cBhvr>
                                        <p:cTn id="76" dur="2000" tmFilter="0, 0; .2, .5; .8, .5; 1, 0"/>
                                        <p:tgtEl>
                                          <p:spTgt spid="323"/>
                                        </p:tgtEl>
                                      </p:cBhvr>
                                    </p:animEffect>
                                    <p:animScale>
                                      <p:cBhvr>
                                        <p:cTn id="77" dur="1000" autoRev="1" fill="hold"/>
                                        <p:tgtEl>
                                          <p:spTgt spid="323"/>
                                        </p:tgtEl>
                                      </p:cBhvr>
                                      <p:by x="105000" y="105000"/>
                                    </p:animScale>
                                  </p:childTnLst>
                                </p:cTn>
                              </p:par>
                              <p:par>
                                <p:cTn id="78" presetID="26" presetClass="emph" presetSubtype="0" dur="2000" repeatCount="indefinite" fill="hold" grpId="0" nodeType="withEffect">
                                  <p:stCondLst>
                                    <p:cond delay="500"/>
                                  </p:stCondLst>
                                  <p:childTnLst>
                                    <p:animEffect transition="out" filter="fade">
                                      <p:cBhvr>
                                        <p:cTn id="79" dur="2000" tmFilter="0, 0; .2, .5; .8, .5; 1, 0"/>
                                        <p:tgtEl>
                                          <p:spTgt spid="324"/>
                                        </p:tgtEl>
                                      </p:cBhvr>
                                    </p:animEffect>
                                    <p:animScale>
                                      <p:cBhvr>
                                        <p:cTn id="80" dur="1000" autoRev="1" fill="hold"/>
                                        <p:tgtEl>
                                          <p:spTgt spid="324"/>
                                        </p:tgtEl>
                                      </p:cBhvr>
                                      <p:by x="105000" y="105000"/>
                                    </p:animScale>
                                  </p:childTnLst>
                                </p:cTn>
                              </p:par>
                              <p:par>
                                <p:cTn id="81" presetID="26" presetClass="emph" presetSubtype="0" dur="2000" repeatCount="indefinite" fill="hold" grpId="0" nodeType="withEffect">
                                  <p:stCondLst>
                                    <p:cond delay="500"/>
                                  </p:stCondLst>
                                  <p:childTnLst>
                                    <p:animEffect transition="out" filter="fade">
                                      <p:cBhvr>
                                        <p:cTn id="82" dur="2000" tmFilter="0, 0; .2, .5; .8, .5; 1, 0"/>
                                        <p:tgtEl>
                                          <p:spTgt spid="325"/>
                                        </p:tgtEl>
                                      </p:cBhvr>
                                    </p:animEffect>
                                    <p:animScale>
                                      <p:cBhvr>
                                        <p:cTn id="83" dur="1000" autoRev="1" fill="hold"/>
                                        <p:tgtEl>
                                          <p:spTgt spid="325"/>
                                        </p:tgtEl>
                                      </p:cBhvr>
                                      <p:by x="105000" y="105000"/>
                                    </p:animScale>
                                  </p:childTnLst>
                                </p:cTn>
                              </p:par>
                              <p:par>
                                <p:cTn id="84" presetID="26" presetClass="emph" presetSubtype="0" dur="2000" repeatCount="indefinite" fill="hold" grpId="0" nodeType="withEffect">
                                  <p:stCondLst>
                                    <p:cond delay="500"/>
                                  </p:stCondLst>
                                  <p:childTnLst>
                                    <p:animEffect transition="out" filter="fade">
                                      <p:cBhvr>
                                        <p:cTn id="85" dur="2000" tmFilter="0, 0; .2, .5; .8, .5; 1, 0"/>
                                        <p:tgtEl>
                                          <p:spTgt spid="326"/>
                                        </p:tgtEl>
                                      </p:cBhvr>
                                    </p:animEffect>
                                    <p:animScale>
                                      <p:cBhvr>
                                        <p:cTn id="86" dur="1000" autoRev="1" fill="hold"/>
                                        <p:tgtEl>
                                          <p:spTgt spid="326"/>
                                        </p:tgtEl>
                                      </p:cBhvr>
                                      <p:by x="105000" y="105000"/>
                                    </p:animScale>
                                  </p:childTnLst>
                                </p:cTn>
                              </p:par>
                              <p:par>
                                <p:cTn id="87" presetID="26" presetClass="emph" presetSubtype="0" dur="2000" repeatCount="indefinite" fill="hold" grpId="0" nodeType="withEffect">
                                  <p:stCondLst>
                                    <p:cond delay="500"/>
                                  </p:stCondLst>
                                  <p:childTnLst>
                                    <p:animEffect transition="out" filter="fade">
                                      <p:cBhvr>
                                        <p:cTn id="88" dur="2000" tmFilter="0, 0; .2, .5; .8, .5; 1, 0"/>
                                        <p:tgtEl>
                                          <p:spTgt spid="327"/>
                                        </p:tgtEl>
                                      </p:cBhvr>
                                    </p:animEffect>
                                    <p:animScale>
                                      <p:cBhvr>
                                        <p:cTn id="89" dur="1000" autoRev="1" fill="hold"/>
                                        <p:tgtEl>
                                          <p:spTgt spid="327"/>
                                        </p:tgtEl>
                                      </p:cBhvr>
                                      <p:by x="105000" y="105000"/>
                                    </p:animScale>
                                  </p:childTnLst>
                                </p:cTn>
                              </p:par>
                              <p:par>
                                <p:cTn id="90" presetID="26" presetClass="emph" presetSubtype="0" dur="2000" repeatCount="indefinite" fill="hold" grpId="0" nodeType="withEffect">
                                  <p:stCondLst>
                                    <p:cond delay="500"/>
                                  </p:stCondLst>
                                  <p:childTnLst>
                                    <p:animEffect transition="out" filter="fade">
                                      <p:cBhvr>
                                        <p:cTn id="91" dur="2000" tmFilter="0, 0; .2, .5; .8, .5; 1, 0"/>
                                        <p:tgtEl>
                                          <p:spTgt spid="328"/>
                                        </p:tgtEl>
                                      </p:cBhvr>
                                    </p:animEffect>
                                    <p:animScale>
                                      <p:cBhvr>
                                        <p:cTn id="92" dur="1000" autoRev="1" fill="hold"/>
                                        <p:tgtEl>
                                          <p:spTgt spid="328"/>
                                        </p:tgtEl>
                                      </p:cBhvr>
                                      <p:by x="105000" y="105000"/>
                                    </p:animScale>
                                  </p:childTnLst>
                                </p:cTn>
                              </p:par>
                              <p:par>
                                <p:cTn id="93" presetID="26" presetClass="emph" presetSubtype="0" dur="2000" repeatCount="indefinite" fill="hold" grpId="0" nodeType="withEffect">
                                  <p:stCondLst>
                                    <p:cond delay="500"/>
                                  </p:stCondLst>
                                  <p:childTnLst>
                                    <p:animEffect transition="out" filter="fade">
                                      <p:cBhvr>
                                        <p:cTn id="94" dur="2000" tmFilter="0, 0; .2, .5; .8, .5; 1, 0"/>
                                        <p:tgtEl>
                                          <p:spTgt spid="329"/>
                                        </p:tgtEl>
                                      </p:cBhvr>
                                    </p:animEffect>
                                    <p:animScale>
                                      <p:cBhvr>
                                        <p:cTn id="95" dur="1000" autoRev="1" fill="hold"/>
                                        <p:tgtEl>
                                          <p:spTgt spid="329"/>
                                        </p:tgtEl>
                                      </p:cBhvr>
                                      <p:by x="105000" y="105000"/>
                                    </p:animScale>
                                  </p:childTnLst>
                                </p:cTn>
                              </p:par>
                              <p:par>
                                <p:cTn id="96" presetID="26" presetClass="emph" presetSubtype="0" dur="2000" repeatCount="indefinite" fill="hold" grpId="0" nodeType="withEffect">
                                  <p:stCondLst>
                                    <p:cond delay="750"/>
                                  </p:stCondLst>
                                  <p:childTnLst>
                                    <p:animEffect transition="out" filter="fade">
                                      <p:cBhvr>
                                        <p:cTn id="97" dur="2000" tmFilter="0, 0; .2, .5; .8, .5; 1, 0"/>
                                        <p:tgtEl>
                                          <p:spTgt spid="330"/>
                                        </p:tgtEl>
                                      </p:cBhvr>
                                    </p:animEffect>
                                    <p:animScale>
                                      <p:cBhvr>
                                        <p:cTn id="98" dur="1000" autoRev="1" fill="hold"/>
                                        <p:tgtEl>
                                          <p:spTgt spid="330"/>
                                        </p:tgtEl>
                                      </p:cBhvr>
                                      <p:by x="105000" y="105000"/>
                                    </p:animScale>
                                  </p:childTnLst>
                                </p:cTn>
                              </p:par>
                              <p:par>
                                <p:cTn id="99" presetID="26" presetClass="emph" presetSubtype="0" dur="2000" repeatCount="indefinite" fill="hold" grpId="0" nodeType="withEffect">
                                  <p:stCondLst>
                                    <p:cond delay="750"/>
                                  </p:stCondLst>
                                  <p:childTnLst>
                                    <p:animEffect transition="out" filter="fade">
                                      <p:cBhvr>
                                        <p:cTn id="100" dur="2000" tmFilter="0, 0; .2, .5; .8, .5; 1, 0"/>
                                        <p:tgtEl>
                                          <p:spTgt spid="331"/>
                                        </p:tgtEl>
                                      </p:cBhvr>
                                    </p:animEffect>
                                    <p:animScale>
                                      <p:cBhvr>
                                        <p:cTn id="101" dur="1000" autoRev="1" fill="hold"/>
                                        <p:tgtEl>
                                          <p:spTgt spid="331"/>
                                        </p:tgtEl>
                                      </p:cBhvr>
                                      <p:by x="105000" y="105000"/>
                                    </p:animScale>
                                  </p:childTnLst>
                                </p:cTn>
                              </p:par>
                              <p:par>
                                <p:cTn id="102" presetID="26" presetClass="emph" presetSubtype="0" dur="2000" repeatCount="indefinite" fill="hold" grpId="0" nodeType="withEffect">
                                  <p:stCondLst>
                                    <p:cond delay="750"/>
                                  </p:stCondLst>
                                  <p:childTnLst>
                                    <p:animEffect transition="out" filter="fade">
                                      <p:cBhvr>
                                        <p:cTn id="103" dur="2000" tmFilter="0, 0; .2, .5; .8, .5; 1, 0"/>
                                        <p:tgtEl>
                                          <p:spTgt spid="332"/>
                                        </p:tgtEl>
                                      </p:cBhvr>
                                    </p:animEffect>
                                    <p:animScale>
                                      <p:cBhvr>
                                        <p:cTn id="104" dur="1000" autoRev="1" fill="hold"/>
                                        <p:tgtEl>
                                          <p:spTgt spid="332"/>
                                        </p:tgtEl>
                                      </p:cBhvr>
                                      <p:by x="105000" y="105000"/>
                                    </p:animScale>
                                  </p:childTnLst>
                                </p:cTn>
                              </p:par>
                              <p:par>
                                <p:cTn id="105" presetID="26" presetClass="emph" presetSubtype="0" dur="2000" repeatCount="indefinite" fill="hold" grpId="0" nodeType="withEffect">
                                  <p:stCondLst>
                                    <p:cond delay="750"/>
                                  </p:stCondLst>
                                  <p:childTnLst>
                                    <p:animEffect transition="out" filter="fade">
                                      <p:cBhvr>
                                        <p:cTn id="106" dur="2000" tmFilter="0, 0; .2, .5; .8, .5; 1, 0"/>
                                        <p:tgtEl>
                                          <p:spTgt spid="333"/>
                                        </p:tgtEl>
                                      </p:cBhvr>
                                    </p:animEffect>
                                    <p:animScale>
                                      <p:cBhvr>
                                        <p:cTn id="107" dur="1000" autoRev="1" fill="hold"/>
                                        <p:tgtEl>
                                          <p:spTgt spid="333"/>
                                        </p:tgtEl>
                                      </p:cBhvr>
                                      <p:by x="105000" y="105000"/>
                                    </p:animScale>
                                  </p:childTnLst>
                                </p:cTn>
                              </p:par>
                              <p:par>
                                <p:cTn id="108" presetID="26" presetClass="emph" presetSubtype="0" dur="2000" repeatCount="indefinite" fill="hold" grpId="0" nodeType="withEffect">
                                  <p:stCondLst>
                                    <p:cond delay="750"/>
                                  </p:stCondLst>
                                  <p:childTnLst>
                                    <p:animEffect transition="out" filter="fade">
                                      <p:cBhvr>
                                        <p:cTn id="109" dur="2000" tmFilter="0, 0; .2, .5; .8, .5; 1, 0"/>
                                        <p:tgtEl>
                                          <p:spTgt spid="334"/>
                                        </p:tgtEl>
                                      </p:cBhvr>
                                    </p:animEffect>
                                    <p:animScale>
                                      <p:cBhvr>
                                        <p:cTn id="110" dur="1000" autoRev="1" fill="hold"/>
                                        <p:tgtEl>
                                          <p:spTgt spid="334"/>
                                        </p:tgtEl>
                                      </p:cBhvr>
                                      <p:by x="105000" y="105000"/>
                                    </p:animScale>
                                  </p:childTnLst>
                                </p:cTn>
                              </p:par>
                              <p:par>
                                <p:cTn id="111" presetID="26" presetClass="emph" presetSubtype="0" dur="2000" repeatCount="indefinite" fill="hold" grpId="0" nodeType="withEffect">
                                  <p:stCondLst>
                                    <p:cond delay="750"/>
                                  </p:stCondLst>
                                  <p:childTnLst>
                                    <p:animEffect transition="out" filter="fade">
                                      <p:cBhvr>
                                        <p:cTn id="112" dur="2000" tmFilter="0, 0; .2, .5; .8, .5; 1, 0"/>
                                        <p:tgtEl>
                                          <p:spTgt spid="335"/>
                                        </p:tgtEl>
                                      </p:cBhvr>
                                    </p:animEffect>
                                    <p:animScale>
                                      <p:cBhvr>
                                        <p:cTn id="113" dur="1000" autoRev="1" fill="hold"/>
                                        <p:tgtEl>
                                          <p:spTgt spid="335"/>
                                        </p:tgtEl>
                                      </p:cBhvr>
                                      <p:by x="105000" y="105000"/>
                                    </p:animScale>
                                  </p:childTnLst>
                                </p:cTn>
                              </p:par>
                              <p:par>
                                <p:cTn id="114" presetID="26" presetClass="emph" presetSubtype="0" dur="2000" repeatCount="indefinite" fill="hold" grpId="0" nodeType="withEffect">
                                  <p:stCondLst>
                                    <p:cond delay="750"/>
                                  </p:stCondLst>
                                  <p:childTnLst>
                                    <p:animEffect transition="out" filter="fade">
                                      <p:cBhvr>
                                        <p:cTn id="115" dur="2000" tmFilter="0, 0; .2, .5; .8, .5; 1, 0"/>
                                        <p:tgtEl>
                                          <p:spTgt spid="336"/>
                                        </p:tgtEl>
                                      </p:cBhvr>
                                    </p:animEffect>
                                    <p:animScale>
                                      <p:cBhvr>
                                        <p:cTn id="116" dur="1000" autoRev="1" fill="hold"/>
                                        <p:tgtEl>
                                          <p:spTgt spid="336"/>
                                        </p:tgtEl>
                                      </p:cBhvr>
                                      <p:by x="105000" y="105000"/>
                                    </p:animScale>
                                  </p:childTnLst>
                                </p:cTn>
                              </p:par>
                              <p:par>
                                <p:cTn id="117" presetID="26" presetClass="emph" presetSubtype="0" dur="2000" repeatCount="indefinite" fill="hold" grpId="0" nodeType="withEffect">
                                  <p:stCondLst>
                                    <p:cond delay="750"/>
                                  </p:stCondLst>
                                  <p:childTnLst>
                                    <p:animEffect transition="out" filter="fade">
                                      <p:cBhvr>
                                        <p:cTn id="118" dur="2000" tmFilter="0, 0; .2, .5; .8, .5; 1, 0"/>
                                        <p:tgtEl>
                                          <p:spTgt spid="337"/>
                                        </p:tgtEl>
                                      </p:cBhvr>
                                    </p:animEffect>
                                    <p:animScale>
                                      <p:cBhvr>
                                        <p:cTn id="119" dur="1000" autoRev="1" fill="hold"/>
                                        <p:tgtEl>
                                          <p:spTgt spid="337"/>
                                        </p:tgtEl>
                                      </p:cBhvr>
                                      <p:by x="105000" y="105000"/>
                                    </p:animScale>
                                  </p:childTnLst>
                                </p:cTn>
                              </p:par>
                              <p:par>
                                <p:cTn id="120" presetID="26" presetClass="emph" presetSubtype="0" dur="2000" repeatCount="indefinite" fill="hold" grpId="0" nodeType="withEffect">
                                  <p:stCondLst>
                                    <p:cond delay="750"/>
                                  </p:stCondLst>
                                  <p:childTnLst>
                                    <p:animEffect transition="out" filter="fade">
                                      <p:cBhvr>
                                        <p:cTn id="121" dur="2000" tmFilter="0, 0; .2, .5; .8, .5; 1, 0"/>
                                        <p:tgtEl>
                                          <p:spTgt spid="338"/>
                                        </p:tgtEl>
                                      </p:cBhvr>
                                    </p:animEffect>
                                    <p:animScale>
                                      <p:cBhvr>
                                        <p:cTn id="122" dur="1000" autoRev="1" fill="hold"/>
                                        <p:tgtEl>
                                          <p:spTgt spid="338"/>
                                        </p:tgtEl>
                                      </p:cBhvr>
                                      <p:by x="105000" y="105000"/>
                                    </p:animScale>
                                  </p:childTnLst>
                                </p:cTn>
                              </p:par>
                              <p:par>
                                <p:cTn id="123" presetID="26" presetClass="emph" presetSubtype="0" dur="2000" repeatCount="indefinite" fill="hold" grpId="0" nodeType="withEffect">
                                  <p:stCondLst>
                                    <p:cond delay="750"/>
                                  </p:stCondLst>
                                  <p:childTnLst>
                                    <p:animEffect transition="out" filter="fade">
                                      <p:cBhvr>
                                        <p:cTn id="124" dur="2000" tmFilter="0, 0; .2, .5; .8, .5; 1, 0"/>
                                        <p:tgtEl>
                                          <p:spTgt spid="339"/>
                                        </p:tgtEl>
                                      </p:cBhvr>
                                    </p:animEffect>
                                    <p:animScale>
                                      <p:cBhvr>
                                        <p:cTn id="125" dur="1000" autoRev="1" fill="hold"/>
                                        <p:tgtEl>
                                          <p:spTgt spid="339"/>
                                        </p:tgtEl>
                                      </p:cBhvr>
                                      <p:by x="105000" y="105000"/>
                                    </p:animScale>
                                  </p:childTnLst>
                                </p:cTn>
                              </p:par>
                              <p:par>
                                <p:cTn id="126" presetID="26" presetClass="emph" presetSubtype="0" dur="2000" repeatCount="indefinite" fill="hold" grpId="0" nodeType="withEffect">
                                  <p:stCondLst>
                                    <p:cond delay="750"/>
                                  </p:stCondLst>
                                  <p:childTnLst>
                                    <p:animEffect transition="out" filter="fade">
                                      <p:cBhvr>
                                        <p:cTn id="127" dur="2000" tmFilter="0, 0; .2, .5; .8, .5; 1, 0"/>
                                        <p:tgtEl>
                                          <p:spTgt spid="340"/>
                                        </p:tgtEl>
                                      </p:cBhvr>
                                    </p:animEffect>
                                    <p:animScale>
                                      <p:cBhvr>
                                        <p:cTn id="128" dur="1000" autoRev="1" fill="hold"/>
                                        <p:tgtEl>
                                          <p:spTgt spid="340"/>
                                        </p:tgtEl>
                                      </p:cBhvr>
                                      <p:by x="105000" y="105000"/>
                                    </p:animScale>
                                  </p:childTnLst>
                                </p:cTn>
                              </p:par>
                              <p:par>
                                <p:cTn id="129" presetID="26" presetClass="emph" presetSubtype="0" dur="2000" repeatCount="indefinite" fill="hold" grpId="0" nodeType="withEffect">
                                  <p:stCondLst>
                                    <p:cond delay="1000"/>
                                  </p:stCondLst>
                                  <p:childTnLst>
                                    <p:animEffect transition="out" filter="fade">
                                      <p:cBhvr>
                                        <p:cTn id="130" dur="2000" tmFilter="0, 0; .2, .5; .8, .5; 1, 0"/>
                                        <p:tgtEl>
                                          <p:spTgt spid="341"/>
                                        </p:tgtEl>
                                      </p:cBhvr>
                                    </p:animEffect>
                                    <p:animScale>
                                      <p:cBhvr>
                                        <p:cTn id="131" dur="1000" autoRev="1" fill="hold"/>
                                        <p:tgtEl>
                                          <p:spTgt spid="341"/>
                                        </p:tgtEl>
                                      </p:cBhvr>
                                      <p:by x="105000" y="105000"/>
                                    </p:animScale>
                                  </p:childTnLst>
                                </p:cTn>
                              </p:par>
                              <p:par>
                                <p:cTn id="132" presetID="26" presetClass="emph" presetSubtype="0" dur="2000" repeatCount="indefinite" fill="hold" grpId="0" nodeType="withEffect">
                                  <p:stCondLst>
                                    <p:cond delay="1000"/>
                                  </p:stCondLst>
                                  <p:childTnLst>
                                    <p:animEffect transition="out" filter="fade">
                                      <p:cBhvr>
                                        <p:cTn id="133" dur="2000" tmFilter="0, 0; .2, .5; .8, .5; 1, 0"/>
                                        <p:tgtEl>
                                          <p:spTgt spid="342"/>
                                        </p:tgtEl>
                                      </p:cBhvr>
                                    </p:animEffect>
                                    <p:animScale>
                                      <p:cBhvr>
                                        <p:cTn id="134" dur="1000" autoRev="1" fill="hold"/>
                                        <p:tgtEl>
                                          <p:spTgt spid="342"/>
                                        </p:tgtEl>
                                      </p:cBhvr>
                                      <p:by x="105000" y="105000"/>
                                    </p:animScale>
                                  </p:childTnLst>
                                </p:cTn>
                              </p:par>
                              <p:par>
                                <p:cTn id="135" presetID="26" presetClass="emph" presetSubtype="0" dur="2000" repeatCount="indefinite" fill="hold" grpId="0" nodeType="withEffect">
                                  <p:stCondLst>
                                    <p:cond delay="1000"/>
                                  </p:stCondLst>
                                  <p:childTnLst>
                                    <p:animEffect transition="out" filter="fade">
                                      <p:cBhvr>
                                        <p:cTn id="136" dur="2000" tmFilter="0, 0; .2, .5; .8, .5; 1, 0"/>
                                        <p:tgtEl>
                                          <p:spTgt spid="343"/>
                                        </p:tgtEl>
                                      </p:cBhvr>
                                    </p:animEffect>
                                    <p:animScale>
                                      <p:cBhvr>
                                        <p:cTn id="137" dur="1000" autoRev="1" fill="hold"/>
                                        <p:tgtEl>
                                          <p:spTgt spid="343"/>
                                        </p:tgtEl>
                                      </p:cBhvr>
                                      <p:by x="105000" y="105000"/>
                                    </p:animScale>
                                  </p:childTnLst>
                                </p:cTn>
                              </p:par>
                              <p:par>
                                <p:cTn id="138" presetID="26" presetClass="emph" presetSubtype="0" dur="2000" repeatCount="indefinite" fill="hold" grpId="0" nodeType="withEffect">
                                  <p:stCondLst>
                                    <p:cond delay="1000"/>
                                  </p:stCondLst>
                                  <p:childTnLst>
                                    <p:animEffect transition="out" filter="fade">
                                      <p:cBhvr>
                                        <p:cTn id="139" dur="2000" tmFilter="0, 0; .2, .5; .8, .5; 1, 0"/>
                                        <p:tgtEl>
                                          <p:spTgt spid="344"/>
                                        </p:tgtEl>
                                      </p:cBhvr>
                                    </p:animEffect>
                                    <p:animScale>
                                      <p:cBhvr>
                                        <p:cTn id="140" dur="1000" autoRev="1" fill="hold"/>
                                        <p:tgtEl>
                                          <p:spTgt spid="344"/>
                                        </p:tgtEl>
                                      </p:cBhvr>
                                      <p:by x="105000" y="105000"/>
                                    </p:animScale>
                                  </p:childTnLst>
                                </p:cTn>
                              </p:par>
                              <p:par>
                                <p:cTn id="141" presetID="26" presetClass="emph" presetSubtype="0" dur="2000" repeatCount="indefinite" fill="hold" grpId="0" nodeType="withEffect">
                                  <p:stCondLst>
                                    <p:cond delay="1000"/>
                                  </p:stCondLst>
                                  <p:childTnLst>
                                    <p:animEffect transition="out" filter="fade">
                                      <p:cBhvr>
                                        <p:cTn id="142" dur="2000" tmFilter="0, 0; .2, .5; .8, .5; 1, 0"/>
                                        <p:tgtEl>
                                          <p:spTgt spid="345"/>
                                        </p:tgtEl>
                                      </p:cBhvr>
                                    </p:animEffect>
                                    <p:animScale>
                                      <p:cBhvr>
                                        <p:cTn id="143" dur="1000" autoRev="1" fill="hold"/>
                                        <p:tgtEl>
                                          <p:spTgt spid="345"/>
                                        </p:tgtEl>
                                      </p:cBhvr>
                                      <p:by x="105000" y="105000"/>
                                    </p:animScale>
                                  </p:childTnLst>
                                </p:cTn>
                              </p:par>
                              <p:par>
                                <p:cTn id="144" presetID="26" presetClass="emph" presetSubtype="0" dur="2000" repeatCount="indefinite" fill="hold" grpId="0" nodeType="withEffect">
                                  <p:stCondLst>
                                    <p:cond delay="1000"/>
                                  </p:stCondLst>
                                  <p:childTnLst>
                                    <p:animEffect transition="out" filter="fade">
                                      <p:cBhvr>
                                        <p:cTn id="145" dur="2000" tmFilter="0, 0; .2, .5; .8, .5; 1, 0"/>
                                        <p:tgtEl>
                                          <p:spTgt spid="346"/>
                                        </p:tgtEl>
                                      </p:cBhvr>
                                    </p:animEffect>
                                    <p:animScale>
                                      <p:cBhvr>
                                        <p:cTn id="146" dur="1000" autoRev="1" fill="hold"/>
                                        <p:tgtEl>
                                          <p:spTgt spid="346"/>
                                        </p:tgtEl>
                                      </p:cBhvr>
                                      <p:by x="105000" y="105000"/>
                                    </p:animScale>
                                  </p:childTnLst>
                                </p:cTn>
                              </p:par>
                              <p:par>
                                <p:cTn id="147" presetID="26" presetClass="emph" presetSubtype="0" dur="2000" repeatCount="indefinite" fill="hold" grpId="0" nodeType="withEffect">
                                  <p:stCondLst>
                                    <p:cond delay="1000"/>
                                  </p:stCondLst>
                                  <p:childTnLst>
                                    <p:animEffect transition="out" filter="fade">
                                      <p:cBhvr>
                                        <p:cTn id="148" dur="2000" tmFilter="0, 0; .2, .5; .8, .5; 1, 0"/>
                                        <p:tgtEl>
                                          <p:spTgt spid="347"/>
                                        </p:tgtEl>
                                      </p:cBhvr>
                                    </p:animEffect>
                                    <p:animScale>
                                      <p:cBhvr>
                                        <p:cTn id="149" dur="1000" autoRev="1" fill="hold"/>
                                        <p:tgtEl>
                                          <p:spTgt spid="347"/>
                                        </p:tgtEl>
                                      </p:cBhvr>
                                      <p:by x="105000" y="105000"/>
                                    </p:animScale>
                                  </p:childTnLst>
                                </p:cTn>
                              </p:par>
                              <p:par>
                                <p:cTn id="150" presetID="26" presetClass="emph" presetSubtype="0" dur="2000" repeatCount="indefinite" fill="hold" grpId="0" nodeType="withEffect">
                                  <p:stCondLst>
                                    <p:cond delay="1000"/>
                                  </p:stCondLst>
                                  <p:childTnLst>
                                    <p:animEffect transition="out" filter="fade">
                                      <p:cBhvr>
                                        <p:cTn id="151" dur="2000" tmFilter="0, 0; .2, .5; .8, .5; 1, 0"/>
                                        <p:tgtEl>
                                          <p:spTgt spid="348"/>
                                        </p:tgtEl>
                                      </p:cBhvr>
                                    </p:animEffect>
                                    <p:animScale>
                                      <p:cBhvr>
                                        <p:cTn id="152" dur="1000" autoRev="1" fill="hold"/>
                                        <p:tgtEl>
                                          <p:spTgt spid="348"/>
                                        </p:tgtEl>
                                      </p:cBhvr>
                                      <p:by x="105000" y="105000"/>
                                    </p:animScale>
                                  </p:childTnLst>
                                </p:cTn>
                              </p:par>
                              <p:par>
                                <p:cTn id="153" presetID="26" presetClass="emph" presetSubtype="0" dur="2000" repeatCount="indefinite" fill="hold" grpId="0" nodeType="withEffect">
                                  <p:stCondLst>
                                    <p:cond delay="1000"/>
                                  </p:stCondLst>
                                  <p:childTnLst>
                                    <p:animEffect transition="out" filter="fade">
                                      <p:cBhvr>
                                        <p:cTn id="154" dur="2000" tmFilter="0, 0; .2, .5; .8, .5; 1, 0"/>
                                        <p:tgtEl>
                                          <p:spTgt spid="349"/>
                                        </p:tgtEl>
                                      </p:cBhvr>
                                    </p:animEffect>
                                    <p:animScale>
                                      <p:cBhvr>
                                        <p:cTn id="155" dur="1000" autoRev="1" fill="hold"/>
                                        <p:tgtEl>
                                          <p:spTgt spid="349"/>
                                        </p:tgtEl>
                                      </p:cBhvr>
                                      <p:by x="105000" y="105000"/>
                                    </p:animScale>
                                  </p:childTnLst>
                                </p:cTn>
                              </p:par>
                              <p:par>
                                <p:cTn id="156" presetID="26" presetClass="emph" presetSubtype="0" dur="2000" repeatCount="indefinite" fill="hold" grpId="0" nodeType="withEffect">
                                  <p:stCondLst>
                                    <p:cond delay="1000"/>
                                  </p:stCondLst>
                                  <p:childTnLst>
                                    <p:animEffect transition="out" filter="fade">
                                      <p:cBhvr>
                                        <p:cTn id="157" dur="2000" tmFilter="0, 0; .2, .5; .8, .5; 1, 0"/>
                                        <p:tgtEl>
                                          <p:spTgt spid="350"/>
                                        </p:tgtEl>
                                      </p:cBhvr>
                                    </p:animEffect>
                                    <p:animScale>
                                      <p:cBhvr>
                                        <p:cTn id="158" dur="1000" autoRev="1" fill="hold"/>
                                        <p:tgtEl>
                                          <p:spTgt spid="350"/>
                                        </p:tgtEl>
                                      </p:cBhvr>
                                      <p:by x="105000" y="105000"/>
                                    </p:animScale>
                                  </p:childTnLst>
                                </p:cTn>
                              </p:par>
                              <p:par>
                                <p:cTn id="159" presetID="26" presetClass="emph" presetSubtype="0" dur="2000" repeatCount="indefinite" fill="hold" grpId="0" nodeType="withEffect">
                                  <p:stCondLst>
                                    <p:cond delay="1000"/>
                                  </p:stCondLst>
                                  <p:childTnLst>
                                    <p:animEffect transition="out" filter="fade">
                                      <p:cBhvr>
                                        <p:cTn id="160" dur="2000" tmFilter="0, 0; .2, .5; .8, .5; 1, 0"/>
                                        <p:tgtEl>
                                          <p:spTgt spid="351"/>
                                        </p:tgtEl>
                                      </p:cBhvr>
                                    </p:animEffect>
                                    <p:animScale>
                                      <p:cBhvr>
                                        <p:cTn id="161" dur="1000" autoRev="1" fill="hold"/>
                                        <p:tgtEl>
                                          <p:spTgt spid="351"/>
                                        </p:tgtEl>
                                      </p:cBhvr>
                                      <p:by x="105000" y="105000"/>
                                    </p:animScale>
                                  </p:childTnLst>
                                </p:cTn>
                              </p:par>
                              <p:par>
                                <p:cTn id="162" presetID="26" presetClass="emph" presetSubtype="0" dur="2000" repeatCount="indefinite" fill="hold" grpId="0" nodeType="withEffect">
                                  <p:stCondLst>
                                    <p:cond delay="1000"/>
                                  </p:stCondLst>
                                  <p:childTnLst>
                                    <p:animEffect transition="out" filter="fade">
                                      <p:cBhvr>
                                        <p:cTn id="163" dur="2000" tmFilter="0, 0; .2, .5; .8, .5; 1, 0"/>
                                        <p:tgtEl>
                                          <p:spTgt spid="352"/>
                                        </p:tgtEl>
                                      </p:cBhvr>
                                    </p:animEffect>
                                    <p:animScale>
                                      <p:cBhvr>
                                        <p:cTn id="164" dur="1000" autoRev="1" fill="hold"/>
                                        <p:tgtEl>
                                          <p:spTgt spid="352"/>
                                        </p:tgtEl>
                                      </p:cBhvr>
                                      <p:by x="105000" y="105000"/>
                                    </p:animScale>
                                  </p:childTnLst>
                                </p:cTn>
                              </p:par>
                              <p:par>
                                <p:cTn id="165" presetID="26" presetClass="emph" presetSubtype="0" dur="2000" repeatCount="indefinite" fill="hold" grpId="0" nodeType="withEffect">
                                  <p:stCondLst>
                                    <p:cond delay="1000"/>
                                  </p:stCondLst>
                                  <p:childTnLst>
                                    <p:animEffect transition="out" filter="fade">
                                      <p:cBhvr>
                                        <p:cTn id="166" dur="2000" tmFilter="0, 0; .2, .5; .8, .5; 1, 0"/>
                                        <p:tgtEl>
                                          <p:spTgt spid="353"/>
                                        </p:tgtEl>
                                      </p:cBhvr>
                                    </p:animEffect>
                                    <p:animScale>
                                      <p:cBhvr>
                                        <p:cTn id="167" dur="1000" autoRev="1" fill="hold"/>
                                        <p:tgtEl>
                                          <p:spTgt spid="353"/>
                                        </p:tgtEl>
                                      </p:cBhvr>
                                      <p:by x="105000" y="105000"/>
                                    </p:animScale>
                                  </p:childTnLst>
                                </p:cTn>
                              </p:par>
                              <p:par>
                                <p:cTn id="168" presetID="26" presetClass="emph" presetSubtype="0" dur="2000" repeatCount="indefinite" fill="hold" grpId="0" nodeType="withEffect">
                                  <p:stCondLst>
                                    <p:cond delay="1250"/>
                                  </p:stCondLst>
                                  <p:childTnLst>
                                    <p:animEffect transition="out" filter="fade">
                                      <p:cBhvr>
                                        <p:cTn id="169" dur="2000" tmFilter="0, 0; .2, .5; .8, .5; 1, 0"/>
                                        <p:tgtEl>
                                          <p:spTgt spid="354"/>
                                        </p:tgtEl>
                                      </p:cBhvr>
                                    </p:animEffect>
                                    <p:animScale>
                                      <p:cBhvr>
                                        <p:cTn id="170" dur="1000" autoRev="1" fill="hold"/>
                                        <p:tgtEl>
                                          <p:spTgt spid="354"/>
                                        </p:tgtEl>
                                      </p:cBhvr>
                                      <p:by x="105000" y="105000"/>
                                    </p:animScale>
                                  </p:childTnLst>
                                </p:cTn>
                              </p:par>
                              <p:par>
                                <p:cTn id="171" presetID="26" presetClass="emph" presetSubtype="0" dur="2000" repeatCount="indefinite" fill="hold" grpId="0" nodeType="withEffect">
                                  <p:stCondLst>
                                    <p:cond delay="1250"/>
                                  </p:stCondLst>
                                  <p:childTnLst>
                                    <p:animEffect transition="out" filter="fade">
                                      <p:cBhvr>
                                        <p:cTn id="172" dur="2000" tmFilter="0, 0; .2, .5; .8, .5; 1, 0"/>
                                        <p:tgtEl>
                                          <p:spTgt spid="355"/>
                                        </p:tgtEl>
                                      </p:cBhvr>
                                    </p:animEffect>
                                    <p:animScale>
                                      <p:cBhvr>
                                        <p:cTn id="173" dur="1000" autoRev="1" fill="hold"/>
                                        <p:tgtEl>
                                          <p:spTgt spid="355"/>
                                        </p:tgtEl>
                                      </p:cBhvr>
                                      <p:by x="105000" y="105000"/>
                                    </p:animScale>
                                  </p:childTnLst>
                                </p:cTn>
                              </p:par>
                              <p:par>
                                <p:cTn id="174" presetID="26" presetClass="emph" presetSubtype="0" dur="2000" repeatCount="indefinite" fill="hold" grpId="0" nodeType="withEffect">
                                  <p:stCondLst>
                                    <p:cond delay="1250"/>
                                  </p:stCondLst>
                                  <p:childTnLst>
                                    <p:animEffect transition="out" filter="fade">
                                      <p:cBhvr>
                                        <p:cTn id="175" dur="2000" tmFilter="0, 0; .2, .5; .8, .5; 1, 0"/>
                                        <p:tgtEl>
                                          <p:spTgt spid="356"/>
                                        </p:tgtEl>
                                      </p:cBhvr>
                                    </p:animEffect>
                                    <p:animScale>
                                      <p:cBhvr>
                                        <p:cTn id="176" dur="1000" autoRev="1" fill="hold"/>
                                        <p:tgtEl>
                                          <p:spTgt spid="356"/>
                                        </p:tgtEl>
                                      </p:cBhvr>
                                      <p:by x="105000" y="105000"/>
                                    </p:animScale>
                                  </p:childTnLst>
                                </p:cTn>
                              </p:par>
                              <p:par>
                                <p:cTn id="177" presetID="26" presetClass="emph" presetSubtype="0" dur="2000" repeatCount="indefinite" fill="hold" grpId="0" nodeType="withEffect">
                                  <p:stCondLst>
                                    <p:cond delay="1250"/>
                                  </p:stCondLst>
                                  <p:childTnLst>
                                    <p:animEffect transition="out" filter="fade">
                                      <p:cBhvr>
                                        <p:cTn id="178" dur="2000" tmFilter="0, 0; .2, .5; .8, .5; 1, 0"/>
                                        <p:tgtEl>
                                          <p:spTgt spid="357"/>
                                        </p:tgtEl>
                                      </p:cBhvr>
                                    </p:animEffect>
                                    <p:animScale>
                                      <p:cBhvr>
                                        <p:cTn id="179" dur="1000" autoRev="1" fill="hold"/>
                                        <p:tgtEl>
                                          <p:spTgt spid="357"/>
                                        </p:tgtEl>
                                      </p:cBhvr>
                                      <p:by x="105000" y="105000"/>
                                    </p:animScale>
                                  </p:childTnLst>
                                </p:cTn>
                              </p:par>
                              <p:par>
                                <p:cTn id="180" presetID="26" presetClass="emph" presetSubtype="0" dur="2000" repeatCount="indefinite" fill="hold" grpId="0" nodeType="withEffect">
                                  <p:stCondLst>
                                    <p:cond delay="1250"/>
                                  </p:stCondLst>
                                  <p:childTnLst>
                                    <p:animEffect transition="out" filter="fade">
                                      <p:cBhvr>
                                        <p:cTn id="181" dur="2000" tmFilter="0, 0; .2, .5; .8, .5; 1, 0"/>
                                        <p:tgtEl>
                                          <p:spTgt spid="358"/>
                                        </p:tgtEl>
                                      </p:cBhvr>
                                    </p:animEffect>
                                    <p:animScale>
                                      <p:cBhvr>
                                        <p:cTn id="182" dur="1000" autoRev="1" fill="hold"/>
                                        <p:tgtEl>
                                          <p:spTgt spid="358"/>
                                        </p:tgtEl>
                                      </p:cBhvr>
                                      <p:by x="105000" y="105000"/>
                                    </p:animScale>
                                  </p:childTnLst>
                                </p:cTn>
                              </p:par>
                              <p:par>
                                <p:cTn id="183" presetID="26" presetClass="emph" presetSubtype="0" dur="2000" repeatCount="indefinite" fill="hold" grpId="0" nodeType="withEffect">
                                  <p:stCondLst>
                                    <p:cond delay="1250"/>
                                  </p:stCondLst>
                                  <p:childTnLst>
                                    <p:animEffect transition="out" filter="fade">
                                      <p:cBhvr>
                                        <p:cTn id="184" dur="2000" tmFilter="0, 0; .2, .5; .8, .5; 1, 0"/>
                                        <p:tgtEl>
                                          <p:spTgt spid="359"/>
                                        </p:tgtEl>
                                      </p:cBhvr>
                                    </p:animEffect>
                                    <p:animScale>
                                      <p:cBhvr>
                                        <p:cTn id="185" dur="1000" autoRev="1" fill="hold"/>
                                        <p:tgtEl>
                                          <p:spTgt spid="359"/>
                                        </p:tgtEl>
                                      </p:cBhvr>
                                      <p:by x="105000" y="105000"/>
                                    </p:animScale>
                                  </p:childTnLst>
                                </p:cTn>
                              </p:par>
                              <p:par>
                                <p:cTn id="186" presetID="26" presetClass="emph" presetSubtype="0" dur="2000" repeatCount="indefinite" fill="hold" grpId="0" nodeType="withEffect">
                                  <p:stCondLst>
                                    <p:cond delay="1250"/>
                                  </p:stCondLst>
                                  <p:childTnLst>
                                    <p:animEffect transition="out" filter="fade">
                                      <p:cBhvr>
                                        <p:cTn id="187" dur="2000" tmFilter="0, 0; .2, .5; .8, .5; 1, 0"/>
                                        <p:tgtEl>
                                          <p:spTgt spid="360"/>
                                        </p:tgtEl>
                                      </p:cBhvr>
                                    </p:animEffect>
                                    <p:animScale>
                                      <p:cBhvr>
                                        <p:cTn id="188" dur="1000" autoRev="1" fill="hold"/>
                                        <p:tgtEl>
                                          <p:spTgt spid="360"/>
                                        </p:tgtEl>
                                      </p:cBhvr>
                                      <p:by x="105000" y="105000"/>
                                    </p:animScale>
                                  </p:childTnLst>
                                </p:cTn>
                              </p:par>
                              <p:par>
                                <p:cTn id="189" presetID="26" presetClass="emph" presetSubtype="0" dur="2000" repeatCount="indefinite" fill="hold" grpId="0" nodeType="withEffect">
                                  <p:stCondLst>
                                    <p:cond delay="1250"/>
                                  </p:stCondLst>
                                  <p:childTnLst>
                                    <p:animEffect transition="out" filter="fade">
                                      <p:cBhvr>
                                        <p:cTn id="190" dur="2000" tmFilter="0, 0; .2, .5; .8, .5; 1, 0"/>
                                        <p:tgtEl>
                                          <p:spTgt spid="361"/>
                                        </p:tgtEl>
                                      </p:cBhvr>
                                    </p:animEffect>
                                    <p:animScale>
                                      <p:cBhvr>
                                        <p:cTn id="191" dur="1000" autoRev="1" fill="hold"/>
                                        <p:tgtEl>
                                          <p:spTgt spid="361"/>
                                        </p:tgtEl>
                                      </p:cBhvr>
                                      <p:by x="105000" y="105000"/>
                                    </p:animScale>
                                  </p:childTnLst>
                                </p:cTn>
                              </p:par>
                              <p:par>
                                <p:cTn id="192" presetID="26" presetClass="emph" presetSubtype="0" dur="2000" repeatCount="indefinite" fill="hold" grpId="0" nodeType="withEffect">
                                  <p:stCondLst>
                                    <p:cond delay="1250"/>
                                  </p:stCondLst>
                                  <p:childTnLst>
                                    <p:animEffect transition="out" filter="fade">
                                      <p:cBhvr>
                                        <p:cTn id="193" dur="2000" tmFilter="0, 0; .2, .5; .8, .5; 1, 0"/>
                                        <p:tgtEl>
                                          <p:spTgt spid="362"/>
                                        </p:tgtEl>
                                      </p:cBhvr>
                                    </p:animEffect>
                                    <p:animScale>
                                      <p:cBhvr>
                                        <p:cTn id="194" dur="1000" autoRev="1" fill="hold"/>
                                        <p:tgtEl>
                                          <p:spTgt spid="362"/>
                                        </p:tgtEl>
                                      </p:cBhvr>
                                      <p:by x="105000" y="105000"/>
                                    </p:animScale>
                                  </p:childTnLst>
                                </p:cTn>
                              </p:par>
                              <p:par>
                                <p:cTn id="195" presetID="26" presetClass="emph" presetSubtype="0" dur="2000" repeatCount="indefinite" fill="hold" grpId="0" nodeType="withEffect">
                                  <p:stCondLst>
                                    <p:cond delay="1250"/>
                                  </p:stCondLst>
                                  <p:childTnLst>
                                    <p:animEffect transition="out" filter="fade">
                                      <p:cBhvr>
                                        <p:cTn id="196" dur="2000" tmFilter="0, 0; .2, .5; .8, .5; 1, 0"/>
                                        <p:tgtEl>
                                          <p:spTgt spid="363"/>
                                        </p:tgtEl>
                                      </p:cBhvr>
                                    </p:animEffect>
                                    <p:animScale>
                                      <p:cBhvr>
                                        <p:cTn id="197" dur="1000" autoRev="1" fill="hold"/>
                                        <p:tgtEl>
                                          <p:spTgt spid="363"/>
                                        </p:tgtEl>
                                      </p:cBhvr>
                                      <p:by x="105000" y="105000"/>
                                    </p:animScale>
                                  </p:childTnLst>
                                </p:cTn>
                              </p:par>
                              <p:par>
                                <p:cTn id="198" presetID="26" presetClass="emph" presetSubtype="0" dur="2000" repeatCount="indefinite" fill="hold" grpId="0" nodeType="withEffect">
                                  <p:stCondLst>
                                    <p:cond delay="1250"/>
                                  </p:stCondLst>
                                  <p:childTnLst>
                                    <p:animEffect transition="out" filter="fade">
                                      <p:cBhvr>
                                        <p:cTn id="199" dur="2000" tmFilter="0, 0; .2, .5; .8, .5; 1, 0"/>
                                        <p:tgtEl>
                                          <p:spTgt spid="364"/>
                                        </p:tgtEl>
                                      </p:cBhvr>
                                    </p:animEffect>
                                    <p:animScale>
                                      <p:cBhvr>
                                        <p:cTn id="200" dur="1000" autoRev="1" fill="hold"/>
                                        <p:tgtEl>
                                          <p:spTgt spid="364"/>
                                        </p:tgtEl>
                                      </p:cBhvr>
                                      <p:by x="105000" y="105000"/>
                                    </p:animScale>
                                  </p:childTnLst>
                                </p:cTn>
                              </p:par>
                              <p:par>
                                <p:cTn id="201" presetID="26" presetClass="emph" presetSubtype="0" dur="2000" repeatCount="indefinite" fill="hold" grpId="0" nodeType="withEffect">
                                  <p:stCondLst>
                                    <p:cond delay="1250"/>
                                  </p:stCondLst>
                                  <p:childTnLst>
                                    <p:animEffect transition="out" filter="fade">
                                      <p:cBhvr>
                                        <p:cTn id="202" dur="2000" tmFilter="0, 0; .2, .5; .8, .5; 1, 0"/>
                                        <p:tgtEl>
                                          <p:spTgt spid="365"/>
                                        </p:tgtEl>
                                      </p:cBhvr>
                                    </p:animEffect>
                                    <p:animScale>
                                      <p:cBhvr>
                                        <p:cTn id="203" dur="1000" autoRev="1" fill="hold"/>
                                        <p:tgtEl>
                                          <p:spTgt spid="365"/>
                                        </p:tgtEl>
                                      </p:cBhvr>
                                      <p:by x="105000" y="105000"/>
                                    </p:animScale>
                                  </p:childTnLst>
                                </p:cTn>
                              </p:par>
                              <p:par>
                                <p:cTn id="204" presetID="26" presetClass="emph" presetSubtype="0" dur="2000" repeatCount="indefinite" fill="hold" grpId="0" nodeType="withEffect">
                                  <p:stCondLst>
                                    <p:cond delay="1250"/>
                                  </p:stCondLst>
                                  <p:childTnLst>
                                    <p:animEffect transition="out" filter="fade">
                                      <p:cBhvr>
                                        <p:cTn id="205" dur="2000" tmFilter="0, 0; .2, .5; .8, .5; 1, 0"/>
                                        <p:tgtEl>
                                          <p:spTgt spid="366"/>
                                        </p:tgtEl>
                                      </p:cBhvr>
                                    </p:animEffect>
                                    <p:animScale>
                                      <p:cBhvr>
                                        <p:cTn id="206" dur="1000" autoRev="1" fill="hold"/>
                                        <p:tgtEl>
                                          <p:spTgt spid="366"/>
                                        </p:tgtEl>
                                      </p:cBhvr>
                                      <p:by x="105000" y="105000"/>
                                    </p:animScale>
                                  </p:childTnLst>
                                </p:cTn>
                              </p:par>
                              <p:par>
                                <p:cTn id="207" presetID="26" presetClass="emph" presetSubtype="0" dur="2000" repeatCount="indefinite" fill="hold" grpId="0" nodeType="withEffect">
                                  <p:stCondLst>
                                    <p:cond delay="1250"/>
                                  </p:stCondLst>
                                  <p:childTnLst>
                                    <p:animEffect transition="out" filter="fade">
                                      <p:cBhvr>
                                        <p:cTn id="208" dur="2000" tmFilter="0, 0; .2, .5; .8, .5; 1, 0"/>
                                        <p:tgtEl>
                                          <p:spTgt spid="367"/>
                                        </p:tgtEl>
                                      </p:cBhvr>
                                    </p:animEffect>
                                    <p:animScale>
                                      <p:cBhvr>
                                        <p:cTn id="209" dur="1000" autoRev="1" fill="hold"/>
                                        <p:tgtEl>
                                          <p:spTgt spid="367"/>
                                        </p:tgtEl>
                                      </p:cBhvr>
                                      <p:by x="105000" y="105000"/>
                                    </p:animScale>
                                  </p:childTnLst>
                                </p:cTn>
                              </p:par>
                              <p:par>
                                <p:cTn id="210" presetID="26" presetClass="emph" presetSubtype="0" dur="2000" repeatCount="indefinite" fill="hold" grpId="0" nodeType="withEffect">
                                  <p:stCondLst>
                                    <p:cond delay="1500"/>
                                  </p:stCondLst>
                                  <p:childTnLst>
                                    <p:animEffect transition="out" filter="fade">
                                      <p:cBhvr>
                                        <p:cTn id="211" dur="2000" tmFilter="0, 0; .2, .5; .8, .5; 1, 0"/>
                                        <p:tgtEl>
                                          <p:spTgt spid="368"/>
                                        </p:tgtEl>
                                      </p:cBhvr>
                                    </p:animEffect>
                                    <p:animScale>
                                      <p:cBhvr>
                                        <p:cTn id="212" dur="1000" autoRev="1" fill="hold"/>
                                        <p:tgtEl>
                                          <p:spTgt spid="368"/>
                                        </p:tgtEl>
                                      </p:cBhvr>
                                      <p:by x="105000" y="105000"/>
                                    </p:animScale>
                                  </p:childTnLst>
                                </p:cTn>
                              </p:par>
                              <p:par>
                                <p:cTn id="213" presetID="26" presetClass="emph" presetSubtype="0" dur="2000" repeatCount="indefinite" fill="hold" grpId="0" nodeType="withEffect">
                                  <p:stCondLst>
                                    <p:cond delay="1500"/>
                                  </p:stCondLst>
                                  <p:childTnLst>
                                    <p:animEffect transition="out" filter="fade">
                                      <p:cBhvr>
                                        <p:cTn id="214" dur="2000" tmFilter="0, 0; .2, .5; .8, .5; 1, 0"/>
                                        <p:tgtEl>
                                          <p:spTgt spid="369"/>
                                        </p:tgtEl>
                                      </p:cBhvr>
                                    </p:animEffect>
                                    <p:animScale>
                                      <p:cBhvr>
                                        <p:cTn id="215" dur="1000" autoRev="1" fill="hold"/>
                                        <p:tgtEl>
                                          <p:spTgt spid="369"/>
                                        </p:tgtEl>
                                      </p:cBhvr>
                                      <p:by x="105000" y="105000"/>
                                    </p:animScale>
                                  </p:childTnLst>
                                </p:cTn>
                              </p:par>
                              <p:par>
                                <p:cTn id="216" presetID="26" presetClass="emph" presetSubtype="0" dur="2000" repeatCount="indefinite" fill="hold" grpId="0" nodeType="withEffect">
                                  <p:stCondLst>
                                    <p:cond delay="1500"/>
                                  </p:stCondLst>
                                  <p:childTnLst>
                                    <p:animEffect transition="out" filter="fade">
                                      <p:cBhvr>
                                        <p:cTn id="217" dur="2000" tmFilter="0, 0; .2, .5; .8, .5; 1, 0"/>
                                        <p:tgtEl>
                                          <p:spTgt spid="370"/>
                                        </p:tgtEl>
                                      </p:cBhvr>
                                    </p:animEffect>
                                    <p:animScale>
                                      <p:cBhvr>
                                        <p:cTn id="218" dur="1000" autoRev="1" fill="hold"/>
                                        <p:tgtEl>
                                          <p:spTgt spid="370"/>
                                        </p:tgtEl>
                                      </p:cBhvr>
                                      <p:by x="105000" y="105000"/>
                                    </p:animScale>
                                  </p:childTnLst>
                                </p:cTn>
                              </p:par>
                              <p:par>
                                <p:cTn id="219" presetID="26" presetClass="emph" presetSubtype="0" dur="2000" repeatCount="indefinite" fill="hold" grpId="0" nodeType="withEffect">
                                  <p:stCondLst>
                                    <p:cond delay="1500"/>
                                  </p:stCondLst>
                                  <p:childTnLst>
                                    <p:animEffect transition="out" filter="fade">
                                      <p:cBhvr>
                                        <p:cTn id="220" dur="2000" tmFilter="0, 0; .2, .5; .8, .5; 1, 0"/>
                                        <p:tgtEl>
                                          <p:spTgt spid="371"/>
                                        </p:tgtEl>
                                      </p:cBhvr>
                                    </p:animEffect>
                                    <p:animScale>
                                      <p:cBhvr>
                                        <p:cTn id="221" dur="1000" autoRev="1" fill="hold"/>
                                        <p:tgtEl>
                                          <p:spTgt spid="371"/>
                                        </p:tgtEl>
                                      </p:cBhvr>
                                      <p:by x="105000" y="105000"/>
                                    </p:animScale>
                                  </p:childTnLst>
                                </p:cTn>
                              </p:par>
                              <p:par>
                                <p:cTn id="222" presetID="26" presetClass="emph" presetSubtype="0" dur="2000" repeatCount="indefinite" fill="hold" grpId="0" nodeType="withEffect">
                                  <p:stCondLst>
                                    <p:cond delay="1500"/>
                                  </p:stCondLst>
                                  <p:childTnLst>
                                    <p:animEffect transition="out" filter="fade">
                                      <p:cBhvr>
                                        <p:cTn id="223" dur="2000" tmFilter="0, 0; .2, .5; .8, .5; 1, 0"/>
                                        <p:tgtEl>
                                          <p:spTgt spid="372"/>
                                        </p:tgtEl>
                                      </p:cBhvr>
                                    </p:animEffect>
                                    <p:animScale>
                                      <p:cBhvr>
                                        <p:cTn id="224" dur="1000" autoRev="1" fill="hold"/>
                                        <p:tgtEl>
                                          <p:spTgt spid="372"/>
                                        </p:tgtEl>
                                      </p:cBhvr>
                                      <p:by x="105000" y="105000"/>
                                    </p:animScale>
                                  </p:childTnLst>
                                </p:cTn>
                              </p:par>
                              <p:par>
                                <p:cTn id="225" presetID="26" presetClass="emph" presetSubtype="0" dur="2000" repeatCount="indefinite" fill="hold" grpId="0" nodeType="withEffect">
                                  <p:stCondLst>
                                    <p:cond delay="1500"/>
                                  </p:stCondLst>
                                  <p:childTnLst>
                                    <p:animEffect transition="out" filter="fade">
                                      <p:cBhvr>
                                        <p:cTn id="226" dur="2000" tmFilter="0, 0; .2, .5; .8, .5; 1, 0"/>
                                        <p:tgtEl>
                                          <p:spTgt spid="373"/>
                                        </p:tgtEl>
                                      </p:cBhvr>
                                    </p:animEffect>
                                    <p:animScale>
                                      <p:cBhvr>
                                        <p:cTn id="227" dur="1000" autoRev="1" fill="hold"/>
                                        <p:tgtEl>
                                          <p:spTgt spid="373"/>
                                        </p:tgtEl>
                                      </p:cBhvr>
                                      <p:by x="105000" y="105000"/>
                                    </p:animScale>
                                  </p:childTnLst>
                                </p:cTn>
                              </p:par>
                              <p:par>
                                <p:cTn id="228" presetID="26" presetClass="emph" presetSubtype="0" dur="2000" repeatCount="indefinite" fill="hold" grpId="0" nodeType="withEffect">
                                  <p:stCondLst>
                                    <p:cond delay="1500"/>
                                  </p:stCondLst>
                                  <p:childTnLst>
                                    <p:animEffect transition="out" filter="fade">
                                      <p:cBhvr>
                                        <p:cTn id="229" dur="2000" tmFilter="0, 0; .2, .5; .8, .5; 1, 0"/>
                                        <p:tgtEl>
                                          <p:spTgt spid="374"/>
                                        </p:tgtEl>
                                      </p:cBhvr>
                                    </p:animEffect>
                                    <p:animScale>
                                      <p:cBhvr>
                                        <p:cTn id="230" dur="1000" autoRev="1" fill="hold"/>
                                        <p:tgtEl>
                                          <p:spTgt spid="374"/>
                                        </p:tgtEl>
                                      </p:cBhvr>
                                      <p:by x="105000" y="105000"/>
                                    </p:animScale>
                                  </p:childTnLst>
                                </p:cTn>
                              </p:par>
                              <p:par>
                                <p:cTn id="231" presetID="26" presetClass="emph" presetSubtype="0" dur="2000" repeatCount="indefinite" fill="hold" grpId="0" nodeType="withEffect">
                                  <p:stCondLst>
                                    <p:cond delay="1500"/>
                                  </p:stCondLst>
                                  <p:childTnLst>
                                    <p:animEffect transition="out" filter="fade">
                                      <p:cBhvr>
                                        <p:cTn id="232" dur="2000" tmFilter="0, 0; .2, .5; .8, .5; 1, 0"/>
                                        <p:tgtEl>
                                          <p:spTgt spid="375"/>
                                        </p:tgtEl>
                                      </p:cBhvr>
                                    </p:animEffect>
                                    <p:animScale>
                                      <p:cBhvr>
                                        <p:cTn id="233" dur="1000" autoRev="1" fill="hold"/>
                                        <p:tgtEl>
                                          <p:spTgt spid="375"/>
                                        </p:tgtEl>
                                      </p:cBhvr>
                                      <p:by x="105000" y="105000"/>
                                    </p:animScale>
                                  </p:childTnLst>
                                </p:cTn>
                              </p:par>
                              <p:par>
                                <p:cTn id="234" presetID="26" presetClass="emph" presetSubtype="0" dur="2000" repeatCount="indefinite" fill="hold" grpId="0" nodeType="withEffect">
                                  <p:stCondLst>
                                    <p:cond delay="1500"/>
                                  </p:stCondLst>
                                  <p:childTnLst>
                                    <p:animEffect transition="out" filter="fade">
                                      <p:cBhvr>
                                        <p:cTn id="235" dur="2000" tmFilter="0, 0; .2, .5; .8, .5; 1, 0"/>
                                        <p:tgtEl>
                                          <p:spTgt spid="376"/>
                                        </p:tgtEl>
                                      </p:cBhvr>
                                    </p:animEffect>
                                    <p:animScale>
                                      <p:cBhvr>
                                        <p:cTn id="236" dur="1000" autoRev="1" fill="hold"/>
                                        <p:tgtEl>
                                          <p:spTgt spid="376"/>
                                        </p:tgtEl>
                                      </p:cBhvr>
                                      <p:by x="105000" y="105000"/>
                                    </p:animScale>
                                  </p:childTnLst>
                                </p:cTn>
                              </p:par>
                              <p:par>
                                <p:cTn id="237" presetID="26" presetClass="emph" presetSubtype="0" dur="2000" repeatCount="indefinite" fill="hold" grpId="0" nodeType="withEffect">
                                  <p:stCondLst>
                                    <p:cond delay="1500"/>
                                  </p:stCondLst>
                                  <p:childTnLst>
                                    <p:animEffect transition="out" filter="fade">
                                      <p:cBhvr>
                                        <p:cTn id="238" dur="2000" tmFilter="0, 0; .2, .5; .8, .5; 1, 0"/>
                                        <p:tgtEl>
                                          <p:spTgt spid="377"/>
                                        </p:tgtEl>
                                      </p:cBhvr>
                                    </p:animEffect>
                                    <p:animScale>
                                      <p:cBhvr>
                                        <p:cTn id="239" dur="1000" autoRev="1" fill="hold"/>
                                        <p:tgtEl>
                                          <p:spTgt spid="377"/>
                                        </p:tgtEl>
                                      </p:cBhvr>
                                      <p:by x="105000" y="105000"/>
                                    </p:animScale>
                                  </p:childTnLst>
                                </p:cTn>
                              </p:par>
                              <p:par>
                                <p:cTn id="240" presetID="26" presetClass="emph" presetSubtype="0" dur="2000" repeatCount="indefinite" fill="hold" grpId="0" nodeType="withEffect">
                                  <p:stCondLst>
                                    <p:cond delay="1500"/>
                                  </p:stCondLst>
                                  <p:childTnLst>
                                    <p:animEffect transition="out" filter="fade">
                                      <p:cBhvr>
                                        <p:cTn id="241" dur="2000" tmFilter="0, 0; .2, .5; .8, .5; 1, 0"/>
                                        <p:tgtEl>
                                          <p:spTgt spid="378"/>
                                        </p:tgtEl>
                                      </p:cBhvr>
                                    </p:animEffect>
                                    <p:animScale>
                                      <p:cBhvr>
                                        <p:cTn id="242" dur="1000" autoRev="1" fill="hold"/>
                                        <p:tgtEl>
                                          <p:spTgt spid="378"/>
                                        </p:tgtEl>
                                      </p:cBhvr>
                                      <p:by x="105000" y="105000"/>
                                    </p:animScale>
                                  </p:childTnLst>
                                </p:cTn>
                              </p:par>
                              <p:par>
                                <p:cTn id="243" presetID="26" presetClass="emph" presetSubtype="0" dur="2000" repeatCount="indefinite" fill="hold" grpId="0" nodeType="withEffect">
                                  <p:stCondLst>
                                    <p:cond delay="1500"/>
                                  </p:stCondLst>
                                  <p:childTnLst>
                                    <p:animEffect transition="out" filter="fade">
                                      <p:cBhvr>
                                        <p:cTn id="244" dur="2000" tmFilter="0, 0; .2, .5; .8, .5; 1, 0"/>
                                        <p:tgtEl>
                                          <p:spTgt spid="379"/>
                                        </p:tgtEl>
                                      </p:cBhvr>
                                    </p:animEffect>
                                    <p:animScale>
                                      <p:cBhvr>
                                        <p:cTn id="245" dur="1000" autoRev="1" fill="hold"/>
                                        <p:tgtEl>
                                          <p:spTgt spid="379"/>
                                        </p:tgtEl>
                                      </p:cBhvr>
                                      <p:by x="105000" y="105000"/>
                                    </p:animScale>
                                  </p:childTnLst>
                                </p:cTn>
                              </p:par>
                              <p:par>
                                <p:cTn id="246" presetID="26" presetClass="emph" presetSubtype="0" dur="2000" repeatCount="indefinite" fill="hold" grpId="0" nodeType="withEffect">
                                  <p:stCondLst>
                                    <p:cond delay="1500"/>
                                  </p:stCondLst>
                                  <p:childTnLst>
                                    <p:animEffect transition="out" filter="fade">
                                      <p:cBhvr>
                                        <p:cTn id="247" dur="2000" tmFilter="0, 0; .2, .5; .8, .5; 1, 0"/>
                                        <p:tgtEl>
                                          <p:spTgt spid="380"/>
                                        </p:tgtEl>
                                      </p:cBhvr>
                                    </p:animEffect>
                                    <p:animScale>
                                      <p:cBhvr>
                                        <p:cTn id="248" dur="1000" autoRev="1" fill="hold"/>
                                        <p:tgtEl>
                                          <p:spTgt spid="380"/>
                                        </p:tgtEl>
                                      </p:cBhvr>
                                      <p:by x="105000" y="105000"/>
                                    </p:animScale>
                                  </p:childTnLst>
                                </p:cTn>
                              </p:par>
                              <p:par>
                                <p:cTn id="249" presetID="26" presetClass="emph" presetSubtype="0" dur="2000" repeatCount="indefinite" fill="hold" grpId="0" nodeType="withEffect">
                                  <p:stCondLst>
                                    <p:cond delay="1500"/>
                                  </p:stCondLst>
                                  <p:childTnLst>
                                    <p:animEffect transition="out" filter="fade">
                                      <p:cBhvr>
                                        <p:cTn id="250" dur="2000" tmFilter="0, 0; .2, .5; .8, .5; 1, 0"/>
                                        <p:tgtEl>
                                          <p:spTgt spid="381"/>
                                        </p:tgtEl>
                                      </p:cBhvr>
                                    </p:animEffect>
                                    <p:animScale>
                                      <p:cBhvr>
                                        <p:cTn id="251" dur="1000" autoRev="1" fill="hold"/>
                                        <p:tgtEl>
                                          <p:spTgt spid="381"/>
                                        </p:tgtEl>
                                      </p:cBhvr>
                                      <p:by x="105000" y="105000"/>
                                    </p:animScale>
                                  </p:childTnLst>
                                </p:cTn>
                              </p:par>
                              <p:par>
                                <p:cTn id="252" presetID="26" presetClass="emph" presetSubtype="0" dur="2000" repeatCount="indefinite" fill="hold" grpId="0" nodeType="withEffect">
                                  <p:stCondLst>
                                    <p:cond delay="1750"/>
                                  </p:stCondLst>
                                  <p:childTnLst>
                                    <p:animEffect transition="out" filter="fade">
                                      <p:cBhvr>
                                        <p:cTn id="253" dur="2000" tmFilter="0, 0; .2, .5; .8, .5; 1, 0"/>
                                        <p:tgtEl>
                                          <p:spTgt spid="382"/>
                                        </p:tgtEl>
                                      </p:cBhvr>
                                    </p:animEffect>
                                    <p:animScale>
                                      <p:cBhvr>
                                        <p:cTn id="254" dur="1000" autoRev="1" fill="hold"/>
                                        <p:tgtEl>
                                          <p:spTgt spid="382"/>
                                        </p:tgtEl>
                                      </p:cBhvr>
                                      <p:by x="105000" y="105000"/>
                                    </p:animScale>
                                  </p:childTnLst>
                                </p:cTn>
                              </p:par>
                              <p:par>
                                <p:cTn id="255" presetID="26" presetClass="emph" presetSubtype="0" dur="2000" repeatCount="indefinite" fill="hold" grpId="0" nodeType="withEffect">
                                  <p:stCondLst>
                                    <p:cond delay="1750"/>
                                  </p:stCondLst>
                                  <p:childTnLst>
                                    <p:animEffect transition="out" filter="fade">
                                      <p:cBhvr>
                                        <p:cTn id="256" dur="2000" tmFilter="0, 0; .2, .5; .8, .5; 1, 0"/>
                                        <p:tgtEl>
                                          <p:spTgt spid="383"/>
                                        </p:tgtEl>
                                      </p:cBhvr>
                                    </p:animEffect>
                                    <p:animScale>
                                      <p:cBhvr>
                                        <p:cTn id="257" dur="1000" autoRev="1" fill="hold"/>
                                        <p:tgtEl>
                                          <p:spTgt spid="383"/>
                                        </p:tgtEl>
                                      </p:cBhvr>
                                      <p:by x="105000" y="105000"/>
                                    </p:animScale>
                                  </p:childTnLst>
                                </p:cTn>
                              </p:par>
                              <p:par>
                                <p:cTn id="258" presetID="26" presetClass="emph" presetSubtype="0" dur="2000" repeatCount="indefinite" fill="hold" grpId="0" nodeType="withEffect">
                                  <p:stCondLst>
                                    <p:cond delay="1750"/>
                                  </p:stCondLst>
                                  <p:childTnLst>
                                    <p:animEffect transition="out" filter="fade">
                                      <p:cBhvr>
                                        <p:cTn id="259" dur="2000" tmFilter="0, 0; .2, .5; .8, .5; 1, 0"/>
                                        <p:tgtEl>
                                          <p:spTgt spid="384"/>
                                        </p:tgtEl>
                                      </p:cBhvr>
                                    </p:animEffect>
                                    <p:animScale>
                                      <p:cBhvr>
                                        <p:cTn id="260" dur="1000" autoRev="1" fill="hold"/>
                                        <p:tgtEl>
                                          <p:spTgt spid="384"/>
                                        </p:tgtEl>
                                      </p:cBhvr>
                                      <p:by x="105000" y="105000"/>
                                    </p:animScale>
                                  </p:childTnLst>
                                </p:cTn>
                              </p:par>
                              <p:par>
                                <p:cTn id="261" presetID="26" presetClass="emph" presetSubtype="0" dur="2000" repeatCount="indefinite" fill="hold" grpId="0" nodeType="withEffect">
                                  <p:stCondLst>
                                    <p:cond delay="1750"/>
                                  </p:stCondLst>
                                  <p:childTnLst>
                                    <p:animEffect transition="out" filter="fade">
                                      <p:cBhvr>
                                        <p:cTn id="262" dur="2000" tmFilter="0, 0; .2, .5; .8, .5; 1, 0"/>
                                        <p:tgtEl>
                                          <p:spTgt spid="385"/>
                                        </p:tgtEl>
                                      </p:cBhvr>
                                    </p:animEffect>
                                    <p:animScale>
                                      <p:cBhvr>
                                        <p:cTn id="263" dur="1000" autoRev="1" fill="hold"/>
                                        <p:tgtEl>
                                          <p:spTgt spid="385"/>
                                        </p:tgtEl>
                                      </p:cBhvr>
                                      <p:by x="105000" y="105000"/>
                                    </p:animScale>
                                  </p:childTnLst>
                                </p:cTn>
                              </p:par>
                              <p:par>
                                <p:cTn id="264" presetID="26" presetClass="emph" presetSubtype="0" dur="2000" repeatCount="indefinite" fill="hold" grpId="0" nodeType="withEffect">
                                  <p:stCondLst>
                                    <p:cond delay="1750"/>
                                  </p:stCondLst>
                                  <p:childTnLst>
                                    <p:animEffect transition="out" filter="fade">
                                      <p:cBhvr>
                                        <p:cTn id="265" dur="2000" tmFilter="0, 0; .2, .5; .8, .5; 1, 0"/>
                                        <p:tgtEl>
                                          <p:spTgt spid="386"/>
                                        </p:tgtEl>
                                      </p:cBhvr>
                                    </p:animEffect>
                                    <p:animScale>
                                      <p:cBhvr>
                                        <p:cTn id="266" dur="1000" autoRev="1" fill="hold"/>
                                        <p:tgtEl>
                                          <p:spTgt spid="386"/>
                                        </p:tgtEl>
                                      </p:cBhvr>
                                      <p:by x="105000" y="105000"/>
                                    </p:animScale>
                                  </p:childTnLst>
                                </p:cTn>
                              </p:par>
                              <p:par>
                                <p:cTn id="267" presetID="26" presetClass="emph" presetSubtype="0" dur="2000" repeatCount="indefinite" fill="hold" grpId="0" nodeType="withEffect">
                                  <p:stCondLst>
                                    <p:cond delay="1750"/>
                                  </p:stCondLst>
                                  <p:childTnLst>
                                    <p:animEffect transition="out" filter="fade">
                                      <p:cBhvr>
                                        <p:cTn id="268" dur="2000" tmFilter="0, 0; .2, .5; .8, .5; 1, 0"/>
                                        <p:tgtEl>
                                          <p:spTgt spid="387"/>
                                        </p:tgtEl>
                                      </p:cBhvr>
                                    </p:animEffect>
                                    <p:animScale>
                                      <p:cBhvr>
                                        <p:cTn id="269" dur="1000" autoRev="1" fill="hold"/>
                                        <p:tgtEl>
                                          <p:spTgt spid="387"/>
                                        </p:tgtEl>
                                      </p:cBhvr>
                                      <p:by x="105000" y="105000"/>
                                    </p:animScale>
                                  </p:childTnLst>
                                </p:cTn>
                              </p:par>
                              <p:par>
                                <p:cTn id="270" presetID="26" presetClass="emph" presetSubtype="0" dur="2000" repeatCount="indefinite" fill="hold" grpId="0" nodeType="withEffect">
                                  <p:stCondLst>
                                    <p:cond delay="1750"/>
                                  </p:stCondLst>
                                  <p:childTnLst>
                                    <p:animEffect transition="out" filter="fade">
                                      <p:cBhvr>
                                        <p:cTn id="271" dur="2000" tmFilter="0, 0; .2, .5; .8, .5; 1, 0"/>
                                        <p:tgtEl>
                                          <p:spTgt spid="388"/>
                                        </p:tgtEl>
                                      </p:cBhvr>
                                    </p:animEffect>
                                    <p:animScale>
                                      <p:cBhvr>
                                        <p:cTn id="272" dur="1000" autoRev="1" fill="hold"/>
                                        <p:tgtEl>
                                          <p:spTgt spid="388"/>
                                        </p:tgtEl>
                                      </p:cBhvr>
                                      <p:by x="105000" y="105000"/>
                                    </p:animScale>
                                  </p:childTnLst>
                                </p:cTn>
                              </p:par>
                              <p:par>
                                <p:cTn id="273" presetID="26" presetClass="emph" presetSubtype="0" dur="2000" repeatCount="indefinite" fill="hold" grpId="0" nodeType="withEffect">
                                  <p:stCondLst>
                                    <p:cond delay="1750"/>
                                  </p:stCondLst>
                                  <p:childTnLst>
                                    <p:animEffect transition="out" filter="fade">
                                      <p:cBhvr>
                                        <p:cTn id="274" dur="2000" tmFilter="0, 0; .2, .5; .8, .5; 1, 0"/>
                                        <p:tgtEl>
                                          <p:spTgt spid="389"/>
                                        </p:tgtEl>
                                      </p:cBhvr>
                                    </p:animEffect>
                                    <p:animScale>
                                      <p:cBhvr>
                                        <p:cTn id="275" dur="1000" autoRev="1" fill="hold"/>
                                        <p:tgtEl>
                                          <p:spTgt spid="389"/>
                                        </p:tgtEl>
                                      </p:cBhvr>
                                      <p:by x="105000" y="105000"/>
                                    </p:animScale>
                                  </p:childTnLst>
                                </p:cTn>
                              </p:par>
                              <p:par>
                                <p:cTn id="276" presetID="26" presetClass="emph" presetSubtype="0" dur="2000" repeatCount="indefinite" fill="hold" grpId="0" nodeType="withEffect">
                                  <p:stCondLst>
                                    <p:cond delay="1750"/>
                                  </p:stCondLst>
                                  <p:childTnLst>
                                    <p:animEffect transition="out" filter="fade">
                                      <p:cBhvr>
                                        <p:cTn id="277" dur="2000" tmFilter="0, 0; .2, .5; .8, .5; 1, 0"/>
                                        <p:tgtEl>
                                          <p:spTgt spid="390"/>
                                        </p:tgtEl>
                                      </p:cBhvr>
                                    </p:animEffect>
                                    <p:animScale>
                                      <p:cBhvr>
                                        <p:cTn id="278" dur="1000" autoRev="1" fill="hold"/>
                                        <p:tgtEl>
                                          <p:spTgt spid="390"/>
                                        </p:tgtEl>
                                      </p:cBhvr>
                                      <p:by x="105000" y="105000"/>
                                    </p:animScale>
                                  </p:childTnLst>
                                </p:cTn>
                              </p:par>
                              <p:par>
                                <p:cTn id="279" presetID="26" presetClass="emph" presetSubtype="0" dur="2000" repeatCount="indefinite" fill="hold" grpId="0" nodeType="withEffect">
                                  <p:stCondLst>
                                    <p:cond delay="1750"/>
                                  </p:stCondLst>
                                  <p:childTnLst>
                                    <p:animEffect transition="out" filter="fade">
                                      <p:cBhvr>
                                        <p:cTn id="280" dur="2000" tmFilter="0, 0; .2, .5; .8, .5; 1, 0"/>
                                        <p:tgtEl>
                                          <p:spTgt spid="391"/>
                                        </p:tgtEl>
                                      </p:cBhvr>
                                    </p:animEffect>
                                    <p:animScale>
                                      <p:cBhvr>
                                        <p:cTn id="281" dur="1000" autoRev="1" fill="hold"/>
                                        <p:tgtEl>
                                          <p:spTgt spid="391"/>
                                        </p:tgtEl>
                                      </p:cBhvr>
                                      <p:by x="105000" y="105000"/>
                                    </p:animScale>
                                  </p:childTnLst>
                                </p:cTn>
                              </p:par>
                              <p:par>
                                <p:cTn id="282" presetID="26" presetClass="emph" presetSubtype="0" dur="2000" repeatCount="indefinite" fill="hold" grpId="0" nodeType="withEffect">
                                  <p:stCondLst>
                                    <p:cond delay="1750"/>
                                  </p:stCondLst>
                                  <p:childTnLst>
                                    <p:animEffect transition="out" filter="fade">
                                      <p:cBhvr>
                                        <p:cTn id="283" dur="2000" tmFilter="0, 0; .2, .5; .8, .5; 1, 0"/>
                                        <p:tgtEl>
                                          <p:spTgt spid="392"/>
                                        </p:tgtEl>
                                      </p:cBhvr>
                                    </p:animEffect>
                                    <p:animScale>
                                      <p:cBhvr>
                                        <p:cTn id="284" dur="1000" autoRev="1" fill="hold"/>
                                        <p:tgtEl>
                                          <p:spTgt spid="392"/>
                                        </p:tgtEl>
                                      </p:cBhvr>
                                      <p:by x="105000" y="105000"/>
                                    </p:animScale>
                                  </p:childTnLst>
                                </p:cTn>
                              </p:par>
                              <p:par>
                                <p:cTn id="285" presetID="26" presetClass="emph" presetSubtype="0" dur="2000" repeatCount="indefinite" fill="hold" grpId="0" nodeType="withEffect">
                                  <p:stCondLst>
                                    <p:cond delay="1750"/>
                                  </p:stCondLst>
                                  <p:childTnLst>
                                    <p:animEffect transition="out" filter="fade">
                                      <p:cBhvr>
                                        <p:cTn id="286" dur="2000" tmFilter="0, 0; .2, .5; .8, .5; 1, 0"/>
                                        <p:tgtEl>
                                          <p:spTgt spid="393"/>
                                        </p:tgtEl>
                                      </p:cBhvr>
                                    </p:animEffect>
                                    <p:animScale>
                                      <p:cBhvr>
                                        <p:cTn id="287" dur="1000" autoRev="1" fill="hold"/>
                                        <p:tgtEl>
                                          <p:spTgt spid="393"/>
                                        </p:tgtEl>
                                      </p:cBhvr>
                                      <p:by x="105000" y="105000"/>
                                    </p:animScale>
                                  </p:childTnLst>
                                </p:cTn>
                              </p:par>
                              <p:par>
                                <p:cTn id="288" presetID="26" presetClass="emph" presetSubtype="0" dur="2000" repeatCount="indefinite" fill="hold" grpId="0" nodeType="withEffect">
                                  <p:stCondLst>
                                    <p:cond delay="1750"/>
                                  </p:stCondLst>
                                  <p:childTnLst>
                                    <p:animEffect transition="out" filter="fade">
                                      <p:cBhvr>
                                        <p:cTn id="289" dur="2000" tmFilter="0, 0; .2, .5; .8, .5; 1, 0"/>
                                        <p:tgtEl>
                                          <p:spTgt spid="394"/>
                                        </p:tgtEl>
                                      </p:cBhvr>
                                    </p:animEffect>
                                    <p:animScale>
                                      <p:cBhvr>
                                        <p:cTn id="290" dur="1000" autoRev="1" fill="hold"/>
                                        <p:tgtEl>
                                          <p:spTgt spid="394"/>
                                        </p:tgtEl>
                                      </p:cBhvr>
                                      <p:by x="105000" y="105000"/>
                                    </p:animScale>
                                  </p:childTnLst>
                                </p:cTn>
                              </p:par>
                              <p:par>
                                <p:cTn id="291" presetID="26" presetClass="emph" presetSubtype="0" dur="2000" repeatCount="indefinite" fill="hold" grpId="0" nodeType="withEffect">
                                  <p:stCondLst>
                                    <p:cond delay="1750"/>
                                  </p:stCondLst>
                                  <p:childTnLst>
                                    <p:animEffect transition="out" filter="fade">
                                      <p:cBhvr>
                                        <p:cTn id="292" dur="2000" tmFilter="0, 0; .2, .5; .8, .5; 1, 0"/>
                                        <p:tgtEl>
                                          <p:spTgt spid="395"/>
                                        </p:tgtEl>
                                      </p:cBhvr>
                                    </p:animEffect>
                                    <p:animScale>
                                      <p:cBhvr>
                                        <p:cTn id="293" dur="1000" autoRev="1" fill="hold"/>
                                        <p:tgtEl>
                                          <p:spTgt spid="395"/>
                                        </p:tgtEl>
                                      </p:cBhvr>
                                      <p:by x="105000" y="105000"/>
                                    </p:animScale>
                                  </p:childTnLst>
                                </p:cTn>
                              </p:par>
                              <p:par>
                                <p:cTn id="294" presetID="26" presetClass="emph" presetSubtype="0" dur="2000" repeatCount="indefinite" fill="hold" grpId="0" nodeType="withEffect">
                                  <p:stCondLst>
                                    <p:cond delay="2000"/>
                                  </p:stCondLst>
                                  <p:childTnLst>
                                    <p:animEffect transition="out" filter="fade">
                                      <p:cBhvr>
                                        <p:cTn id="295" dur="2000" tmFilter="0, 0; .2, .5; .8, .5; 1, 0"/>
                                        <p:tgtEl>
                                          <p:spTgt spid="396"/>
                                        </p:tgtEl>
                                      </p:cBhvr>
                                    </p:animEffect>
                                    <p:animScale>
                                      <p:cBhvr>
                                        <p:cTn id="296" dur="1000" autoRev="1" fill="hold"/>
                                        <p:tgtEl>
                                          <p:spTgt spid="396"/>
                                        </p:tgtEl>
                                      </p:cBhvr>
                                      <p:by x="105000" y="105000"/>
                                    </p:animScale>
                                  </p:childTnLst>
                                </p:cTn>
                              </p:par>
                              <p:par>
                                <p:cTn id="297" presetID="26" presetClass="emph" presetSubtype="0" dur="2000" repeatCount="indefinite" fill="hold" grpId="0" nodeType="withEffect">
                                  <p:stCondLst>
                                    <p:cond delay="2000"/>
                                  </p:stCondLst>
                                  <p:childTnLst>
                                    <p:animEffect transition="out" filter="fade">
                                      <p:cBhvr>
                                        <p:cTn id="298" dur="2000" tmFilter="0, 0; .2, .5; .8, .5; 1, 0"/>
                                        <p:tgtEl>
                                          <p:spTgt spid="397"/>
                                        </p:tgtEl>
                                      </p:cBhvr>
                                    </p:animEffect>
                                    <p:animScale>
                                      <p:cBhvr>
                                        <p:cTn id="299" dur="1000" autoRev="1" fill="hold"/>
                                        <p:tgtEl>
                                          <p:spTgt spid="397"/>
                                        </p:tgtEl>
                                      </p:cBhvr>
                                      <p:by x="105000" y="105000"/>
                                    </p:animScale>
                                  </p:childTnLst>
                                </p:cTn>
                              </p:par>
                              <p:par>
                                <p:cTn id="300" presetID="26" presetClass="emph" presetSubtype="0" dur="2000" repeatCount="indefinite" fill="hold" grpId="0" nodeType="withEffect">
                                  <p:stCondLst>
                                    <p:cond delay="2000"/>
                                  </p:stCondLst>
                                  <p:childTnLst>
                                    <p:animEffect transition="out" filter="fade">
                                      <p:cBhvr>
                                        <p:cTn id="301" dur="2000" tmFilter="0, 0; .2, .5; .8, .5; 1, 0"/>
                                        <p:tgtEl>
                                          <p:spTgt spid="398"/>
                                        </p:tgtEl>
                                      </p:cBhvr>
                                    </p:animEffect>
                                    <p:animScale>
                                      <p:cBhvr>
                                        <p:cTn id="302" dur="1000" autoRev="1" fill="hold"/>
                                        <p:tgtEl>
                                          <p:spTgt spid="398"/>
                                        </p:tgtEl>
                                      </p:cBhvr>
                                      <p:by x="105000" y="105000"/>
                                    </p:animScale>
                                  </p:childTnLst>
                                </p:cTn>
                              </p:par>
                              <p:par>
                                <p:cTn id="303" presetID="26" presetClass="emph" presetSubtype="0" dur="2000" repeatCount="indefinite" fill="hold" grpId="0" nodeType="withEffect">
                                  <p:stCondLst>
                                    <p:cond delay="2000"/>
                                  </p:stCondLst>
                                  <p:childTnLst>
                                    <p:animEffect transition="out" filter="fade">
                                      <p:cBhvr>
                                        <p:cTn id="304" dur="2000" tmFilter="0, 0; .2, .5; .8, .5; 1, 0"/>
                                        <p:tgtEl>
                                          <p:spTgt spid="399"/>
                                        </p:tgtEl>
                                      </p:cBhvr>
                                    </p:animEffect>
                                    <p:animScale>
                                      <p:cBhvr>
                                        <p:cTn id="305" dur="1000" autoRev="1" fill="hold"/>
                                        <p:tgtEl>
                                          <p:spTgt spid="399"/>
                                        </p:tgtEl>
                                      </p:cBhvr>
                                      <p:by x="105000" y="105000"/>
                                    </p:animScale>
                                  </p:childTnLst>
                                </p:cTn>
                              </p:par>
                              <p:par>
                                <p:cTn id="306" presetID="26" presetClass="emph" presetSubtype="0" dur="2000" repeatCount="indefinite" fill="hold" grpId="0" nodeType="withEffect">
                                  <p:stCondLst>
                                    <p:cond delay="2000"/>
                                  </p:stCondLst>
                                  <p:childTnLst>
                                    <p:animEffect transition="out" filter="fade">
                                      <p:cBhvr>
                                        <p:cTn id="307" dur="2000" tmFilter="0, 0; .2, .5; .8, .5; 1, 0"/>
                                        <p:tgtEl>
                                          <p:spTgt spid="400"/>
                                        </p:tgtEl>
                                      </p:cBhvr>
                                    </p:animEffect>
                                    <p:animScale>
                                      <p:cBhvr>
                                        <p:cTn id="308" dur="1000" autoRev="1" fill="hold"/>
                                        <p:tgtEl>
                                          <p:spTgt spid="400"/>
                                        </p:tgtEl>
                                      </p:cBhvr>
                                      <p:by x="105000" y="105000"/>
                                    </p:animScale>
                                  </p:childTnLst>
                                </p:cTn>
                              </p:par>
                              <p:par>
                                <p:cTn id="309" presetID="26" presetClass="emph" presetSubtype="0" dur="2000" repeatCount="indefinite" fill="hold" grpId="0" nodeType="withEffect">
                                  <p:stCondLst>
                                    <p:cond delay="2000"/>
                                  </p:stCondLst>
                                  <p:childTnLst>
                                    <p:animEffect transition="out" filter="fade">
                                      <p:cBhvr>
                                        <p:cTn id="310" dur="2000" tmFilter="0, 0; .2, .5; .8, .5; 1, 0"/>
                                        <p:tgtEl>
                                          <p:spTgt spid="401"/>
                                        </p:tgtEl>
                                      </p:cBhvr>
                                    </p:animEffect>
                                    <p:animScale>
                                      <p:cBhvr>
                                        <p:cTn id="311" dur="1000" autoRev="1" fill="hold"/>
                                        <p:tgtEl>
                                          <p:spTgt spid="401"/>
                                        </p:tgtEl>
                                      </p:cBhvr>
                                      <p:by x="105000" y="105000"/>
                                    </p:animScale>
                                  </p:childTnLst>
                                </p:cTn>
                              </p:par>
                              <p:par>
                                <p:cTn id="312" presetID="26" presetClass="emph" presetSubtype="0" dur="2000" repeatCount="indefinite" fill="hold" grpId="0" nodeType="withEffect">
                                  <p:stCondLst>
                                    <p:cond delay="2000"/>
                                  </p:stCondLst>
                                  <p:childTnLst>
                                    <p:animEffect transition="out" filter="fade">
                                      <p:cBhvr>
                                        <p:cTn id="313" dur="2000" tmFilter="0, 0; .2, .5; .8, .5; 1, 0"/>
                                        <p:tgtEl>
                                          <p:spTgt spid="402"/>
                                        </p:tgtEl>
                                      </p:cBhvr>
                                    </p:animEffect>
                                    <p:animScale>
                                      <p:cBhvr>
                                        <p:cTn id="314" dur="1000" autoRev="1" fill="hold"/>
                                        <p:tgtEl>
                                          <p:spTgt spid="402"/>
                                        </p:tgtEl>
                                      </p:cBhvr>
                                      <p:by x="105000" y="105000"/>
                                    </p:animScale>
                                  </p:childTnLst>
                                </p:cTn>
                              </p:par>
                              <p:par>
                                <p:cTn id="315" presetID="26" presetClass="emph" presetSubtype="0" dur="2000" repeatCount="indefinite" fill="hold" grpId="0" nodeType="withEffect">
                                  <p:stCondLst>
                                    <p:cond delay="2000"/>
                                  </p:stCondLst>
                                  <p:childTnLst>
                                    <p:animEffect transition="out" filter="fade">
                                      <p:cBhvr>
                                        <p:cTn id="316" dur="2000" tmFilter="0, 0; .2, .5; .8, .5; 1, 0"/>
                                        <p:tgtEl>
                                          <p:spTgt spid="403"/>
                                        </p:tgtEl>
                                      </p:cBhvr>
                                    </p:animEffect>
                                    <p:animScale>
                                      <p:cBhvr>
                                        <p:cTn id="317" dur="1000" autoRev="1" fill="hold"/>
                                        <p:tgtEl>
                                          <p:spTgt spid="403"/>
                                        </p:tgtEl>
                                      </p:cBhvr>
                                      <p:by x="105000" y="105000"/>
                                    </p:animScale>
                                  </p:childTnLst>
                                </p:cTn>
                              </p:par>
                              <p:par>
                                <p:cTn id="318" presetID="26" presetClass="emph" presetSubtype="0" dur="2000" repeatCount="indefinite" fill="hold" grpId="0" nodeType="withEffect">
                                  <p:stCondLst>
                                    <p:cond delay="2000"/>
                                  </p:stCondLst>
                                  <p:childTnLst>
                                    <p:animEffect transition="out" filter="fade">
                                      <p:cBhvr>
                                        <p:cTn id="319" dur="2000" tmFilter="0, 0; .2, .5; .8, .5; 1, 0"/>
                                        <p:tgtEl>
                                          <p:spTgt spid="404"/>
                                        </p:tgtEl>
                                      </p:cBhvr>
                                    </p:animEffect>
                                    <p:animScale>
                                      <p:cBhvr>
                                        <p:cTn id="320" dur="1000" autoRev="1" fill="hold"/>
                                        <p:tgtEl>
                                          <p:spTgt spid="404"/>
                                        </p:tgtEl>
                                      </p:cBhvr>
                                      <p:by x="105000" y="105000"/>
                                    </p:animScale>
                                  </p:childTnLst>
                                </p:cTn>
                              </p:par>
                              <p:par>
                                <p:cTn id="321" presetID="26" presetClass="emph" presetSubtype="0" dur="2000" repeatCount="indefinite" fill="hold" grpId="0" nodeType="withEffect">
                                  <p:stCondLst>
                                    <p:cond delay="2000"/>
                                  </p:stCondLst>
                                  <p:childTnLst>
                                    <p:animEffect transition="out" filter="fade">
                                      <p:cBhvr>
                                        <p:cTn id="322" dur="2000" tmFilter="0, 0; .2, .5; .8, .5; 1, 0"/>
                                        <p:tgtEl>
                                          <p:spTgt spid="405"/>
                                        </p:tgtEl>
                                      </p:cBhvr>
                                    </p:animEffect>
                                    <p:animScale>
                                      <p:cBhvr>
                                        <p:cTn id="323" dur="1000" autoRev="1" fill="hold"/>
                                        <p:tgtEl>
                                          <p:spTgt spid="405"/>
                                        </p:tgtEl>
                                      </p:cBhvr>
                                      <p:by x="105000" y="105000"/>
                                    </p:animScale>
                                  </p:childTnLst>
                                </p:cTn>
                              </p:par>
                              <p:par>
                                <p:cTn id="324" presetID="26" presetClass="emph" presetSubtype="0" dur="2000" repeatCount="indefinite" fill="hold" grpId="0" nodeType="withEffect">
                                  <p:stCondLst>
                                    <p:cond delay="2000"/>
                                  </p:stCondLst>
                                  <p:childTnLst>
                                    <p:animEffect transition="out" filter="fade">
                                      <p:cBhvr>
                                        <p:cTn id="325" dur="2000" tmFilter="0, 0; .2, .5; .8, .5; 1, 0"/>
                                        <p:tgtEl>
                                          <p:spTgt spid="406"/>
                                        </p:tgtEl>
                                      </p:cBhvr>
                                    </p:animEffect>
                                    <p:animScale>
                                      <p:cBhvr>
                                        <p:cTn id="326" dur="1000" autoRev="1" fill="hold"/>
                                        <p:tgtEl>
                                          <p:spTgt spid="406"/>
                                        </p:tgtEl>
                                      </p:cBhvr>
                                      <p:by x="105000" y="105000"/>
                                    </p:animScale>
                                  </p:childTnLst>
                                </p:cTn>
                              </p:par>
                              <p:par>
                                <p:cTn id="327" presetID="26" presetClass="emph" presetSubtype="0" dur="2000" repeatCount="indefinite" fill="hold" grpId="0" nodeType="withEffect">
                                  <p:stCondLst>
                                    <p:cond delay="2000"/>
                                  </p:stCondLst>
                                  <p:childTnLst>
                                    <p:animEffect transition="out" filter="fade">
                                      <p:cBhvr>
                                        <p:cTn id="328" dur="2000" tmFilter="0, 0; .2, .5; .8, .5; 1, 0"/>
                                        <p:tgtEl>
                                          <p:spTgt spid="407"/>
                                        </p:tgtEl>
                                      </p:cBhvr>
                                    </p:animEffect>
                                    <p:animScale>
                                      <p:cBhvr>
                                        <p:cTn id="329" dur="1000" autoRev="1" fill="hold"/>
                                        <p:tgtEl>
                                          <p:spTgt spid="407"/>
                                        </p:tgtEl>
                                      </p:cBhvr>
                                      <p:by x="105000" y="105000"/>
                                    </p:animScale>
                                  </p:childTnLst>
                                </p:cTn>
                              </p:par>
                              <p:par>
                                <p:cTn id="330" presetID="26" presetClass="emph" presetSubtype="0" dur="2000" repeatCount="indefinite" fill="hold" grpId="0" nodeType="withEffect">
                                  <p:stCondLst>
                                    <p:cond delay="2000"/>
                                  </p:stCondLst>
                                  <p:childTnLst>
                                    <p:animEffect transition="out" filter="fade">
                                      <p:cBhvr>
                                        <p:cTn id="331" dur="2000" tmFilter="0, 0; .2, .5; .8, .5; 1, 0"/>
                                        <p:tgtEl>
                                          <p:spTgt spid="408"/>
                                        </p:tgtEl>
                                      </p:cBhvr>
                                    </p:animEffect>
                                    <p:animScale>
                                      <p:cBhvr>
                                        <p:cTn id="332" dur="1000" autoRev="1" fill="hold"/>
                                        <p:tgtEl>
                                          <p:spTgt spid="408"/>
                                        </p:tgtEl>
                                      </p:cBhvr>
                                      <p:by x="105000" y="105000"/>
                                    </p:animScale>
                                  </p:childTnLst>
                                </p:cTn>
                              </p:par>
                              <p:par>
                                <p:cTn id="333" presetID="26" presetClass="emph" presetSubtype="0" dur="2000" repeatCount="indefinite" fill="hold" grpId="0" nodeType="withEffect">
                                  <p:stCondLst>
                                    <p:cond delay="2000"/>
                                  </p:stCondLst>
                                  <p:childTnLst>
                                    <p:animEffect transition="out" filter="fade">
                                      <p:cBhvr>
                                        <p:cTn id="334" dur="2000" tmFilter="0, 0; .2, .5; .8, .5; 1, 0"/>
                                        <p:tgtEl>
                                          <p:spTgt spid="409"/>
                                        </p:tgtEl>
                                      </p:cBhvr>
                                    </p:animEffect>
                                    <p:animScale>
                                      <p:cBhvr>
                                        <p:cTn id="335" dur="1000" autoRev="1" fill="hold"/>
                                        <p:tgtEl>
                                          <p:spTgt spid="409"/>
                                        </p:tgtEl>
                                      </p:cBhvr>
                                      <p:by x="105000" y="105000"/>
                                    </p:animScale>
                                  </p:childTnLst>
                                </p:cTn>
                              </p:par>
                              <p:par>
                                <p:cTn id="336" presetID="26" presetClass="emph" presetSubtype="0" dur="2000" repeatCount="indefinite" fill="hold" grpId="0" nodeType="withEffect">
                                  <p:stCondLst>
                                    <p:cond delay="2250"/>
                                  </p:stCondLst>
                                  <p:childTnLst>
                                    <p:animEffect transition="out" filter="fade">
                                      <p:cBhvr>
                                        <p:cTn id="337" dur="2000" tmFilter="0, 0; .2, .5; .8, .5; 1, 0"/>
                                        <p:tgtEl>
                                          <p:spTgt spid="410"/>
                                        </p:tgtEl>
                                      </p:cBhvr>
                                    </p:animEffect>
                                    <p:animScale>
                                      <p:cBhvr>
                                        <p:cTn id="338" dur="1000" autoRev="1" fill="hold"/>
                                        <p:tgtEl>
                                          <p:spTgt spid="410"/>
                                        </p:tgtEl>
                                      </p:cBhvr>
                                      <p:by x="105000" y="105000"/>
                                    </p:animScale>
                                  </p:childTnLst>
                                </p:cTn>
                              </p:par>
                              <p:par>
                                <p:cTn id="339" presetID="26" presetClass="emph" presetSubtype="0" dur="2000" repeatCount="indefinite" fill="hold" grpId="0" nodeType="withEffect">
                                  <p:stCondLst>
                                    <p:cond delay="2250"/>
                                  </p:stCondLst>
                                  <p:childTnLst>
                                    <p:animEffect transition="out" filter="fade">
                                      <p:cBhvr>
                                        <p:cTn id="340" dur="2000" tmFilter="0, 0; .2, .5; .8, .5; 1, 0"/>
                                        <p:tgtEl>
                                          <p:spTgt spid="411"/>
                                        </p:tgtEl>
                                      </p:cBhvr>
                                    </p:animEffect>
                                    <p:animScale>
                                      <p:cBhvr>
                                        <p:cTn id="341" dur="1000" autoRev="1" fill="hold"/>
                                        <p:tgtEl>
                                          <p:spTgt spid="411"/>
                                        </p:tgtEl>
                                      </p:cBhvr>
                                      <p:by x="105000" y="105000"/>
                                    </p:animScale>
                                  </p:childTnLst>
                                </p:cTn>
                              </p:par>
                              <p:par>
                                <p:cTn id="342" presetID="26" presetClass="emph" presetSubtype="0" dur="2000" repeatCount="indefinite" fill="hold" grpId="0" nodeType="withEffect">
                                  <p:stCondLst>
                                    <p:cond delay="2250"/>
                                  </p:stCondLst>
                                  <p:childTnLst>
                                    <p:animEffect transition="out" filter="fade">
                                      <p:cBhvr>
                                        <p:cTn id="343" dur="2000" tmFilter="0, 0; .2, .5; .8, .5; 1, 0"/>
                                        <p:tgtEl>
                                          <p:spTgt spid="412"/>
                                        </p:tgtEl>
                                      </p:cBhvr>
                                    </p:animEffect>
                                    <p:animScale>
                                      <p:cBhvr>
                                        <p:cTn id="344" dur="1000" autoRev="1" fill="hold"/>
                                        <p:tgtEl>
                                          <p:spTgt spid="412"/>
                                        </p:tgtEl>
                                      </p:cBhvr>
                                      <p:by x="105000" y="105000"/>
                                    </p:animScale>
                                  </p:childTnLst>
                                </p:cTn>
                              </p:par>
                              <p:par>
                                <p:cTn id="345" presetID="26" presetClass="emph" presetSubtype="0" dur="2000" repeatCount="indefinite" fill="hold" grpId="0" nodeType="withEffect">
                                  <p:stCondLst>
                                    <p:cond delay="2250"/>
                                  </p:stCondLst>
                                  <p:childTnLst>
                                    <p:animEffect transition="out" filter="fade">
                                      <p:cBhvr>
                                        <p:cTn id="346" dur="2000" tmFilter="0, 0; .2, .5; .8, .5; 1, 0"/>
                                        <p:tgtEl>
                                          <p:spTgt spid="413"/>
                                        </p:tgtEl>
                                      </p:cBhvr>
                                    </p:animEffect>
                                    <p:animScale>
                                      <p:cBhvr>
                                        <p:cTn id="347" dur="1000" autoRev="1" fill="hold"/>
                                        <p:tgtEl>
                                          <p:spTgt spid="413"/>
                                        </p:tgtEl>
                                      </p:cBhvr>
                                      <p:by x="105000" y="105000"/>
                                    </p:animScale>
                                  </p:childTnLst>
                                </p:cTn>
                              </p:par>
                              <p:par>
                                <p:cTn id="348" presetID="26" presetClass="emph" presetSubtype="0" dur="2000" repeatCount="indefinite" fill="hold" grpId="0" nodeType="withEffect">
                                  <p:stCondLst>
                                    <p:cond delay="2250"/>
                                  </p:stCondLst>
                                  <p:childTnLst>
                                    <p:animEffect transition="out" filter="fade">
                                      <p:cBhvr>
                                        <p:cTn id="349" dur="2000" tmFilter="0, 0; .2, .5; .8, .5; 1, 0"/>
                                        <p:tgtEl>
                                          <p:spTgt spid="414"/>
                                        </p:tgtEl>
                                      </p:cBhvr>
                                    </p:animEffect>
                                    <p:animScale>
                                      <p:cBhvr>
                                        <p:cTn id="350" dur="1000" autoRev="1" fill="hold"/>
                                        <p:tgtEl>
                                          <p:spTgt spid="414"/>
                                        </p:tgtEl>
                                      </p:cBhvr>
                                      <p:by x="105000" y="105000"/>
                                    </p:animScale>
                                  </p:childTnLst>
                                </p:cTn>
                              </p:par>
                              <p:par>
                                <p:cTn id="351" presetID="26" presetClass="emph" presetSubtype="0" dur="2000" repeatCount="indefinite" fill="hold" grpId="0" nodeType="withEffect">
                                  <p:stCondLst>
                                    <p:cond delay="2250"/>
                                  </p:stCondLst>
                                  <p:childTnLst>
                                    <p:animEffect transition="out" filter="fade">
                                      <p:cBhvr>
                                        <p:cTn id="352" dur="2000" tmFilter="0, 0; .2, .5; .8, .5; 1, 0"/>
                                        <p:tgtEl>
                                          <p:spTgt spid="415"/>
                                        </p:tgtEl>
                                      </p:cBhvr>
                                    </p:animEffect>
                                    <p:animScale>
                                      <p:cBhvr>
                                        <p:cTn id="353" dur="1000" autoRev="1" fill="hold"/>
                                        <p:tgtEl>
                                          <p:spTgt spid="415"/>
                                        </p:tgtEl>
                                      </p:cBhvr>
                                      <p:by x="105000" y="105000"/>
                                    </p:animScale>
                                  </p:childTnLst>
                                </p:cTn>
                              </p:par>
                              <p:par>
                                <p:cTn id="354" presetID="26" presetClass="emph" presetSubtype="0" dur="2000" repeatCount="indefinite" fill="hold" grpId="0" nodeType="withEffect">
                                  <p:stCondLst>
                                    <p:cond delay="2250"/>
                                  </p:stCondLst>
                                  <p:childTnLst>
                                    <p:animEffect transition="out" filter="fade">
                                      <p:cBhvr>
                                        <p:cTn id="355" dur="2000" tmFilter="0, 0; .2, .5; .8, .5; 1, 0"/>
                                        <p:tgtEl>
                                          <p:spTgt spid="416"/>
                                        </p:tgtEl>
                                      </p:cBhvr>
                                    </p:animEffect>
                                    <p:animScale>
                                      <p:cBhvr>
                                        <p:cTn id="356" dur="1000" autoRev="1" fill="hold"/>
                                        <p:tgtEl>
                                          <p:spTgt spid="416"/>
                                        </p:tgtEl>
                                      </p:cBhvr>
                                      <p:by x="105000" y="105000"/>
                                    </p:animScale>
                                  </p:childTnLst>
                                </p:cTn>
                              </p:par>
                              <p:par>
                                <p:cTn id="357" presetID="26" presetClass="emph" presetSubtype="0" dur="2000" repeatCount="indefinite" fill="hold" grpId="0" nodeType="withEffect">
                                  <p:stCondLst>
                                    <p:cond delay="2250"/>
                                  </p:stCondLst>
                                  <p:childTnLst>
                                    <p:animEffect transition="out" filter="fade">
                                      <p:cBhvr>
                                        <p:cTn id="358" dur="2000" tmFilter="0, 0; .2, .5; .8, .5; 1, 0"/>
                                        <p:tgtEl>
                                          <p:spTgt spid="417"/>
                                        </p:tgtEl>
                                      </p:cBhvr>
                                    </p:animEffect>
                                    <p:animScale>
                                      <p:cBhvr>
                                        <p:cTn id="359" dur="1000" autoRev="1" fill="hold"/>
                                        <p:tgtEl>
                                          <p:spTgt spid="417"/>
                                        </p:tgtEl>
                                      </p:cBhvr>
                                      <p:by x="105000" y="105000"/>
                                    </p:animScale>
                                  </p:childTnLst>
                                </p:cTn>
                              </p:par>
                              <p:par>
                                <p:cTn id="360" presetID="26" presetClass="emph" presetSubtype="0" dur="2000" repeatCount="indefinite" fill="hold" grpId="0" nodeType="withEffect">
                                  <p:stCondLst>
                                    <p:cond delay="2250"/>
                                  </p:stCondLst>
                                  <p:childTnLst>
                                    <p:animEffect transition="out" filter="fade">
                                      <p:cBhvr>
                                        <p:cTn id="361" dur="2000" tmFilter="0, 0; .2, .5; .8, .5; 1, 0"/>
                                        <p:tgtEl>
                                          <p:spTgt spid="418"/>
                                        </p:tgtEl>
                                      </p:cBhvr>
                                    </p:animEffect>
                                    <p:animScale>
                                      <p:cBhvr>
                                        <p:cTn id="362" dur="1000" autoRev="1" fill="hold"/>
                                        <p:tgtEl>
                                          <p:spTgt spid="418"/>
                                        </p:tgtEl>
                                      </p:cBhvr>
                                      <p:by x="105000" y="105000"/>
                                    </p:animScale>
                                  </p:childTnLst>
                                </p:cTn>
                              </p:par>
                              <p:par>
                                <p:cTn id="363" presetID="26" presetClass="emph" presetSubtype="0" dur="2000" repeatCount="indefinite" fill="hold" grpId="0" nodeType="withEffect">
                                  <p:stCondLst>
                                    <p:cond delay="2250"/>
                                  </p:stCondLst>
                                  <p:childTnLst>
                                    <p:animEffect transition="out" filter="fade">
                                      <p:cBhvr>
                                        <p:cTn id="364" dur="2000" tmFilter="0, 0; .2, .5; .8, .5; 1, 0"/>
                                        <p:tgtEl>
                                          <p:spTgt spid="419"/>
                                        </p:tgtEl>
                                      </p:cBhvr>
                                    </p:animEffect>
                                    <p:animScale>
                                      <p:cBhvr>
                                        <p:cTn id="365" dur="1000" autoRev="1" fill="hold"/>
                                        <p:tgtEl>
                                          <p:spTgt spid="419"/>
                                        </p:tgtEl>
                                      </p:cBhvr>
                                      <p:by x="105000" y="105000"/>
                                    </p:animScale>
                                  </p:childTnLst>
                                </p:cTn>
                              </p:par>
                              <p:par>
                                <p:cTn id="366" presetID="26" presetClass="emph" presetSubtype="0" dur="2000" repeatCount="indefinite" fill="hold" grpId="0" nodeType="withEffect">
                                  <p:stCondLst>
                                    <p:cond delay="2250"/>
                                  </p:stCondLst>
                                  <p:childTnLst>
                                    <p:animEffect transition="out" filter="fade">
                                      <p:cBhvr>
                                        <p:cTn id="367" dur="2000" tmFilter="0, 0; .2, .5; .8, .5; 1, 0"/>
                                        <p:tgtEl>
                                          <p:spTgt spid="420"/>
                                        </p:tgtEl>
                                      </p:cBhvr>
                                    </p:animEffect>
                                    <p:animScale>
                                      <p:cBhvr>
                                        <p:cTn id="368" dur="1000" autoRev="1" fill="hold"/>
                                        <p:tgtEl>
                                          <p:spTgt spid="420"/>
                                        </p:tgtEl>
                                      </p:cBhvr>
                                      <p:by x="105000" y="105000"/>
                                    </p:animScale>
                                  </p:childTnLst>
                                </p:cTn>
                              </p:par>
                              <p:par>
                                <p:cTn id="369" presetID="26" presetClass="emph" presetSubtype="0" dur="2000" repeatCount="indefinite" fill="hold" grpId="0" nodeType="withEffect">
                                  <p:stCondLst>
                                    <p:cond delay="2250"/>
                                  </p:stCondLst>
                                  <p:childTnLst>
                                    <p:animEffect transition="out" filter="fade">
                                      <p:cBhvr>
                                        <p:cTn id="370" dur="2000" tmFilter="0, 0; .2, .5; .8, .5; 1, 0"/>
                                        <p:tgtEl>
                                          <p:spTgt spid="421"/>
                                        </p:tgtEl>
                                      </p:cBhvr>
                                    </p:animEffect>
                                    <p:animScale>
                                      <p:cBhvr>
                                        <p:cTn id="371" dur="1000" autoRev="1" fill="hold"/>
                                        <p:tgtEl>
                                          <p:spTgt spid="421"/>
                                        </p:tgtEl>
                                      </p:cBhvr>
                                      <p:by x="105000" y="105000"/>
                                    </p:animScale>
                                  </p:childTnLst>
                                </p:cTn>
                              </p:par>
                              <p:par>
                                <p:cTn id="372" presetID="26" presetClass="emph" presetSubtype="0" dur="2000" repeatCount="indefinite" fill="hold" grpId="0" nodeType="withEffect">
                                  <p:stCondLst>
                                    <p:cond delay="2250"/>
                                  </p:stCondLst>
                                  <p:childTnLst>
                                    <p:animEffect transition="out" filter="fade">
                                      <p:cBhvr>
                                        <p:cTn id="373" dur="2000" tmFilter="0, 0; .2, .5; .8, .5; 1, 0"/>
                                        <p:tgtEl>
                                          <p:spTgt spid="422"/>
                                        </p:tgtEl>
                                      </p:cBhvr>
                                    </p:animEffect>
                                    <p:animScale>
                                      <p:cBhvr>
                                        <p:cTn id="374" dur="1000" autoRev="1" fill="hold"/>
                                        <p:tgtEl>
                                          <p:spTgt spid="422"/>
                                        </p:tgtEl>
                                      </p:cBhvr>
                                      <p:by x="105000" y="105000"/>
                                    </p:animScale>
                                  </p:childTnLst>
                                </p:cTn>
                              </p:par>
                              <p:par>
                                <p:cTn id="375" presetID="26" presetClass="emph" presetSubtype="0" dur="2000" repeatCount="indefinite" fill="hold" grpId="0" nodeType="withEffect">
                                  <p:stCondLst>
                                    <p:cond delay="2250"/>
                                  </p:stCondLst>
                                  <p:childTnLst>
                                    <p:animEffect transition="out" filter="fade">
                                      <p:cBhvr>
                                        <p:cTn id="376" dur="2000" tmFilter="0, 0; .2, .5; .8, .5; 1, 0"/>
                                        <p:tgtEl>
                                          <p:spTgt spid="423"/>
                                        </p:tgtEl>
                                      </p:cBhvr>
                                    </p:animEffect>
                                    <p:animScale>
                                      <p:cBhvr>
                                        <p:cTn id="377" dur="1000" autoRev="1" fill="hold"/>
                                        <p:tgtEl>
                                          <p:spTgt spid="423"/>
                                        </p:tgtEl>
                                      </p:cBhvr>
                                      <p:by x="105000" y="105000"/>
                                    </p:animScale>
                                  </p:childTnLst>
                                </p:cTn>
                              </p:par>
                              <p:par>
                                <p:cTn id="378" presetID="26" presetClass="emph" presetSubtype="0" dur="2000" repeatCount="indefinite" fill="hold" grpId="0" nodeType="withEffect">
                                  <p:stCondLst>
                                    <p:cond delay="2500"/>
                                  </p:stCondLst>
                                  <p:childTnLst>
                                    <p:animEffect transition="out" filter="fade">
                                      <p:cBhvr>
                                        <p:cTn id="379" dur="2000" tmFilter="0, 0; .2, .5; .8, .5; 1, 0"/>
                                        <p:tgtEl>
                                          <p:spTgt spid="424"/>
                                        </p:tgtEl>
                                      </p:cBhvr>
                                    </p:animEffect>
                                    <p:animScale>
                                      <p:cBhvr>
                                        <p:cTn id="380" dur="1000" autoRev="1" fill="hold"/>
                                        <p:tgtEl>
                                          <p:spTgt spid="424"/>
                                        </p:tgtEl>
                                      </p:cBhvr>
                                      <p:by x="105000" y="105000"/>
                                    </p:animScale>
                                  </p:childTnLst>
                                </p:cTn>
                              </p:par>
                              <p:par>
                                <p:cTn id="381" presetID="26" presetClass="emph" presetSubtype="0" dur="2000" repeatCount="indefinite" fill="hold" grpId="0" nodeType="withEffect">
                                  <p:stCondLst>
                                    <p:cond delay="2500"/>
                                  </p:stCondLst>
                                  <p:childTnLst>
                                    <p:animEffect transition="out" filter="fade">
                                      <p:cBhvr>
                                        <p:cTn id="382" dur="2000" tmFilter="0, 0; .2, .5; .8, .5; 1, 0"/>
                                        <p:tgtEl>
                                          <p:spTgt spid="425"/>
                                        </p:tgtEl>
                                      </p:cBhvr>
                                    </p:animEffect>
                                    <p:animScale>
                                      <p:cBhvr>
                                        <p:cTn id="383" dur="1000" autoRev="1" fill="hold"/>
                                        <p:tgtEl>
                                          <p:spTgt spid="425"/>
                                        </p:tgtEl>
                                      </p:cBhvr>
                                      <p:by x="105000" y="105000"/>
                                    </p:animScale>
                                  </p:childTnLst>
                                </p:cTn>
                              </p:par>
                              <p:par>
                                <p:cTn id="384" presetID="26" presetClass="emph" presetSubtype="0" dur="2000" repeatCount="indefinite" fill="hold" grpId="0" nodeType="withEffect">
                                  <p:stCondLst>
                                    <p:cond delay="2500"/>
                                  </p:stCondLst>
                                  <p:childTnLst>
                                    <p:animEffect transition="out" filter="fade">
                                      <p:cBhvr>
                                        <p:cTn id="385" dur="2000" tmFilter="0, 0; .2, .5; .8, .5; 1, 0"/>
                                        <p:tgtEl>
                                          <p:spTgt spid="426"/>
                                        </p:tgtEl>
                                      </p:cBhvr>
                                    </p:animEffect>
                                    <p:animScale>
                                      <p:cBhvr>
                                        <p:cTn id="386" dur="1000" autoRev="1" fill="hold"/>
                                        <p:tgtEl>
                                          <p:spTgt spid="426"/>
                                        </p:tgtEl>
                                      </p:cBhvr>
                                      <p:by x="105000" y="105000"/>
                                    </p:animScale>
                                  </p:childTnLst>
                                </p:cTn>
                              </p:par>
                              <p:par>
                                <p:cTn id="387" presetID="26" presetClass="emph" presetSubtype="0" dur="2000" repeatCount="indefinite" fill="hold" grpId="0" nodeType="withEffect">
                                  <p:stCondLst>
                                    <p:cond delay="2500"/>
                                  </p:stCondLst>
                                  <p:childTnLst>
                                    <p:animEffect transition="out" filter="fade">
                                      <p:cBhvr>
                                        <p:cTn id="388" dur="2000" tmFilter="0, 0; .2, .5; .8, .5; 1, 0"/>
                                        <p:tgtEl>
                                          <p:spTgt spid="427"/>
                                        </p:tgtEl>
                                      </p:cBhvr>
                                    </p:animEffect>
                                    <p:animScale>
                                      <p:cBhvr>
                                        <p:cTn id="389" dur="1000" autoRev="1" fill="hold"/>
                                        <p:tgtEl>
                                          <p:spTgt spid="427"/>
                                        </p:tgtEl>
                                      </p:cBhvr>
                                      <p:by x="105000" y="105000"/>
                                    </p:animScale>
                                  </p:childTnLst>
                                </p:cTn>
                              </p:par>
                              <p:par>
                                <p:cTn id="390" presetID="26" presetClass="emph" presetSubtype="0" dur="2000" repeatCount="indefinite" fill="hold" grpId="0" nodeType="withEffect">
                                  <p:stCondLst>
                                    <p:cond delay="2500"/>
                                  </p:stCondLst>
                                  <p:childTnLst>
                                    <p:animEffect transition="out" filter="fade">
                                      <p:cBhvr>
                                        <p:cTn id="391" dur="2000" tmFilter="0, 0; .2, .5; .8, .5; 1, 0"/>
                                        <p:tgtEl>
                                          <p:spTgt spid="428"/>
                                        </p:tgtEl>
                                      </p:cBhvr>
                                    </p:animEffect>
                                    <p:animScale>
                                      <p:cBhvr>
                                        <p:cTn id="392" dur="1000" autoRev="1" fill="hold"/>
                                        <p:tgtEl>
                                          <p:spTgt spid="428"/>
                                        </p:tgtEl>
                                      </p:cBhvr>
                                      <p:by x="105000" y="105000"/>
                                    </p:animScale>
                                  </p:childTnLst>
                                </p:cTn>
                              </p:par>
                              <p:par>
                                <p:cTn id="393" presetID="26" presetClass="emph" presetSubtype="0" dur="2000" repeatCount="indefinite" fill="hold" grpId="0" nodeType="withEffect">
                                  <p:stCondLst>
                                    <p:cond delay="2500"/>
                                  </p:stCondLst>
                                  <p:childTnLst>
                                    <p:animEffect transition="out" filter="fade">
                                      <p:cBhvr>
                                        <p:cTn id="394" dur="2000" tmFilter="0, 0; .2, .5; .8, .5; 1, 0"/>
                                        <p:tgtEl>
                                          <p:spTgt spid="429"/>
                                        </p:tgtEl>
                                      </p:cBhvr>
                                    </p:animEffect>
                                    <p:animScale>
                                      <p:cBhvr>
                                        <p:cTn id="395" dur="1000" autoRev="1" fill="hold"/>
                                        <p:tgtEl>
                                          <p:spTgt spid="429"/>
                                        </p:tgtEl>
                                      </p:cBhvr>
                                      <p:by x="105000" y="105000"/>
                                    </p:animScale>
                                  </p:childTnLst>
                                </p:cTn>
                              </p:par>
                              <p:par>
                                <p:cTn id="396" presetID="26" presetClass="emph" presetSubtype="0" dur="2000" repeatCount="indefinite" fill="hold" grpId="0" nodeType="withEffect">
                                  <p:stCondLst>
                                    <p:cond delay="2500"/>
                                  </p:stCondLst>
                                  <p:childTnLst>
                                    <p:animEffect transition="out" filter="fade">
                                      <p:cBhvr>
                                        <p:cTn id="397" dur="2000" tmFilter="0, 0; .2, .5; .8, .5; 1, 0"/>
                                        <p:tgtEl>
                                          <p:spTgt spid="430"/>
                                        </p:tgtEl>
                                      </p:cBhvr>
                                    </p:animEffect>
                                    <p:animScale>
                                      <p:cBhvr>
                                        <p:cTn id="398" dur="1000" autoRev="1" fill="hold"/>
                                        <p:tgtEl>
                                          <p:spTgt spid="430"/>
                                        </p:tgtEl>
                                      </p:cBhvr>
                                      <p:by x="105000" y="105000"/>
                                    </p:animScale>
                                  </p:childTnLst>
                                </p:cTn>
                              </p:par>
                              <p:par>
                                <p:cTn id="399" presetID="26" presetClass="emph" presetSubtype="0" dur="2000" repeatCount="indefinite" fill="hold" grpId="0" nodeType="withEffect">
                                  <p:stCondLst>
                                    <p:cond delay="2500"/>
                                  </p:stCondLst>
                                  <p:childTnLst>
                                    <p:animEffect transition="out" filter="fade">
                                      <p:cBhvr>
                                        <p:cTn id="400" dur="2000" tmFilter="0, 0; .2, .5; .8, .5; 1, 0"/>
                                        <p:tgtEl>
                                          <p:spTgt spid="431"/>
                                        </p:tgtEl>
                                      </p:cBhvr>
                                    </p:animEffect>
                                    <p:animScale>
                                      <p:cBhvr>
                                        <p:cTn id="401" dur="1000" autoRev="1" fill="hold"/>
                                        <p:tgtEl>
                                          <p:spTgt spid="431"/>
                                        </p:tgtEl>
                                      </p:cBhvr>
                                      <p:by x="105000" y="105000"/>
                                    </p:animScale>
                                  </p:childTnLst>
                                </p:cTn>
                              </p:par>
                              <p:par>
                                <p:cTn id="402" presetID="26" presetClass="emph" presetSubtype="0" dur="2000" repeatCount="indefinite" fill="hold" grpId="0" nodeType="withEffect">
                                  <p:stCondLst>
                                    <p:cond delay="2500"/>
                                  </p:stCondLst>
                                  <p:childTnLst>
                                    <p:animEffect transition="out" filter="fade">
                                      <p:cBhvr>
                                        <p:cTn id="403" dur="2000" tmFilter="0, 0; .2, .5; .8, .5; 1, 0"/>
                                        <p:tgtEl>
                                          <p:spTgt spid="432"/>
                                        </p:tgtEl>
                                      </p:cBhvr>
                                    </p:animEffect>
                                    <p:animScale>
                                      <p:cBhvr>
                                        <p:cTn id="404" dur="1000" autoRev="1" fill="hold"/>
                                        <p:tgtEl>
                                          <p:spTgt spid="432"/>
                                        </p:tgtEl>
                                      </p:cBhvr>
                                      <p:by x="105000" y="105000"/>
                                    </p:animScale>
                                  </p:childTnLst>
                                </p:cTn>
                              </p:par>
                              <p:par>
                                <p:cTn id="405" presetID="26" presetClass="emph" presetSubtype="0" dur="2000" repeatCount="indefinite" fill="hold" grpId="0" nodeType="withEffect">
                                  <p:stCondLst>
                                    <p:cond delay="2500"/>
                                  </p:stCondLst>
                                  <p:childTnLst>
                                    <p:animEffect transition="out" filter="fade">
                                      <p:cBhvr>
                                        <p:cTn id="406" dur="2000" tmFilter="0, 0; .2, .5; .8, .5; 1, 0"/>
                                        <p:tgtEl>
                                          <p:spTgt spid="433"/>
                                        </p:tgtEl>
                                      </p:cBhvr>
                                    </p:animEffect>
                                    <p:animScale>
                                      <p:cBhvr>
                                        <p:cTn id="407" dur="1000" autoRev="1" fill="hold"/>
                                        <p:tgtEl>
                                          <p:spTgt spid="433"/>
                                        </p:tgtEl>
                                      </p:cBhvr>
                                      <p:by x="105000" y="105000"/>
                                    </p:animScale>
                                  </p:childTnLst>
                                </p:cTn>
                              </p:par>
                              <p:par>
                                <p:cTn id="408" presetID="26" presetClass="emph" presetSubtype="0" dur="2000" repeatCount="indefinite" fill="hold" grpId="0" nodeType="withEffect">
                                  <p:stCondLst>
                                    <p:cond delay="2500"/>
                                  </p:stCondLst>
                                  <p:childTnLst>
                                    <p:animEffect transition="out" filter="fade">
                                      <p:cBhvr>
                                        <p:cTn id="409" dur="2000" tmFilter="0, 0; .2, .5; .8, .5; 1, 0"/>
                                        <p:tgtEl>
                                          <p:spTgt spid="434"/>
                                        </p:tgtEl>
                                      </p:cBhvr>
                                    </p:animEffect>
                                    <p:animScale>
                                      <p:cBhvr>
                                        <p:cTn id="410" dur="1000" autoRev="1" fill="hold"/>
                                        <p:tgtEl>
                                          <p:spTgt spid="434"/>
                                        </p:tgtEl>
                                      </p:cBhvr>
                                      <p:by x="105000" y="105000"/>
                                    </p:animScale>
                                  </p:childTnLst>
                                </p:cTn>
                              </p:par>
                              <p:par>
                                <p:cTn id="411" presetID="26" presetClass="emph" presetSubtype="0" dur="2000" repeatCount="indefinite" fill="hold" grpId="0" nodeType="withEffect">
                                  <p:stCondLst>
                                    <p:cond delay="2500"/>
                                  </p:stCondLst>
                                  <p:childTnLst>
                                    <p:animEffect transition="out" filter="fade">
                                      <p:cBhvr>
                                        <p:cTn id="412" dur="2000" tmFilter="0, 0; .2, .5; .8, .5; 1, 0"/>
                                        <p:tgtEl>
                                          <p:spTgt spid="435"/>
                                        </p:tgtEl>
                                      </p:cBhvr>
                                    </p:animEffect>
                                    <p:animScale>
                                      <p:cBhvr>
                                        <p:cTn id="413" dur="1000" autoRev="1" fill="hold"/>
                                        <p:tgtEl>
                                          <p:spTgt spid="435"/>
                                        </p:tgtEl>
                                      </p:cBhvr>
                                      <p:by x="105000" y="105000"/>
                                    </p:animScale>
                                  </p:childTnLst>
                                </p:cTn>
                              </p:par>
                              <p:par>
                                <p:cTn id="414" presetID="26" presetClass="emph" presetSubtype="0" dur="2000" repeatCount="indefinite" fill="hold" grpId="0" nodeType="withEffect">
                                  <p:stCondLst>
                                    <p:cond delay="2500"/>
                                  </p:stCondLst>
                                  <p:childTnLst>
                                    <p:animEffect transition="out" filter="fade">
                                      <p:cBhvr>
                                        <p:cTn id="415" dur="2000" tmFilter="0, 0; .2, .5; .8, .5; 1, 0"/>
                                        <p:tgtEl>
                                          <p:spTgt spid="436"/>
                                        </p:tgtEl>
                                      </p:cBhvr>
                                    </p:animEffect>
                                    <p:animScale>
                                      <p:cBhvr>
                                        <p:cTn id="416" dur="1000" autoRev="1" fill="hold"/>
                                        <p:tgtEl>
                                          <p:spTgt spid="436"/>
                                        </p:tgtEl>
                                      </p:cBhvr>
                                      <p:by x="105000" y="105000"/>
                                    </p:animScale>
                                  </p:childTnLst>
                                </p:cTn>
                              </p:par>
                              <p:par>
                                <p:cTn id="417" presetID="26" presetClass="emph" presetSubtype="0" dur="2000" repeatCount="indefinite" fill="hold" grpId="0" nodeType="withEffect">
                                  <p:stCondLst>
                                    <p:cond delay="2500"/>
                                  </p:stCondLst>
                                  <p:childTnLst>
                                    <p:animEffect transition="out" filter="fade">
                                      <p:cBhvr>
                                        <p:cTn id="418" dur="2000" tmFilter="0, 0; .2, .5; .8, .5; 1, 0"/>
                                        <p:tgtEl>
                                          <p:spTgt spid="437"/>
                                        </p:tgtEl>
                                      </p:cBhvr>
                                    </p:animEffect>
                                    <p:animScale>
                                      <p:cBhvr>
                                        <p:cTn id="419" dur="1000" autoRev="1" fill="hold"/>
                                        <p:tgtEl>
                                          <p:spTgt spid="437"/>
                                        </p:tgtEl>
                                      </p:cBhvr>
                                      <p:by x="105000" y="105000"/>
                                    </p:animScale>
                                  </p:childTnLst>
                                </p:cTn>
                              </p:par>
                              <p:par>
                                <p:cTn id="420" presetID="26" presetClass="emph" presetSubtype="0" dur="2000" repeatCount="indefinite" fill="hold" grpId="0" nodeType="withEffect">
                                  <p:stCondLst>
                                    <p:cond delay="2750"/>
                                  </p:stCondLst>
                                  <p:childTnLst>
                                    <p:animEffect transition="out" filter="fade">
                                      <p:cBhvr>
                                        <p:cTn id="421" dur="2000" tmFilter="0, 0; .2, .5; .8, .5; 1, 0"/>
                                        <p:tgtEl>
                                          <p:spTgt spid="438"/>
                                        </p:tgtEl>
                                      </p:cBhvr>
                                    </p:animEffect>
                                    <p:animScale>
                                      <p:cBhvr>
                                        <p:cTn id="422" dur="1000" autoRev="1" fill="hold"/>
                                        <p:tgtEl>
                                          <p:spTgt spid="438"/>
                                        </p:tgtEl>
                                      </p:cBhvr>
                                      <p:by x="105000" y="105000"/>
                                    </p:animScale>
                                  </p:childTnLst>
                                </p:cTn>
                              </p:par>
                              <p:par>
                                <p:cTn id="423" presetID="26" presetClass="emph" presetSubtype="0" dur="2000" repeatCount="indefinite" fill="hold" grpId="0" nodeType="withEffect">
                                  <p:stCondLst>
                                    <p:cond delay="2750"/>
                                  </p:stCondLst>
                                  <p:childTnLst>
                                    <p:animEffect transition="out" filter="fade">
                                      <p:cBhvr>
                                        <p:cTn id="424" dur="2000" tmFilter="0, 0; .2, .5; .8, .5; 1, 0"/>
                                        <p:tgtEl>
                                          <p:spTgt spid="439"/>
                                        </p:tgtEl>
                                      </p:cBhvr>
                                    </p:animEffect>
                                    <p:animScale>
                                      <p:cBhvr>
                                        <p:cTn id="425" dur="1000" autoRev="1" fill="hold"/>
                                        <p:tgtEl>
                                          <p:spTgt spid="439"/>
                                        </p:tgtEl>
                                      </p:cBhvr>
                                      <p:by x="105000" y="105000"/>
                                    </p:animScale>
                                  </p:childTnLst>
                                </p:cTn>
                              </p:par>
                              <p:par>
                                <p:cTn id="426" presetID="26" presetClass="emph" presetSubtype="0" dur="2000" repeatCount="indefinite" fill="hold" grpId="0" nodeType="withEffect">
                                  <p:stCondLst>
                                    <p:cond delay="2750"/>
                                  </p:stCondLst>
                                  <p:childTnLst>
                                    <p:animEffect transition="out" filter="fade">
                                      <p:cBhvr>
                                        <p:cTn id="427" dur="2000" tmFilter="0, 0; .2, .5; .8, .5; 1, 0"/>
                                        <p:tgtEl>
                                          <p:spTgt spid="440"/>
                                        </p:tgtEl>
                                      </p:cBhvr>
                                    </p:animEffect>
                                    <p:animScale>
                                      <p:cBhvr>
                                        <p:cTn id="428" dur="1000" autoRev="1" fill="hold"/>
                                        <p:tgtEl>
                                          <p:spTgt spid="440"/>
                                        </p:tgtEl>
                                      </p:cBhvr>
                                      <p:by x="105000" y="105000"/>
                                    </p:animScale>
                                  </p:childTnLst>
                                </p:cTn>
                              </p:par>
                              <p:par>
                                <p:cTn id="429" presetID="26" presetClass="emph" presetSubtype="0" dur="2000" repeatCount="indefinite" fill="hold" grpId="0" nodeType="withEffect">
                                  <p:stCondLst>
                                    <p:cond delay="2750"/>
                                  </p:stCondLst>
                                  <p:childTnLst>
                                    <p:animEffect transition="out" filter="fade">
                                      <p:cBhvr>
                                        <p:cTn id="430" dur="2000" tmFilter="0, 0; .2, .5; .8, .5; 1, 0"/>
                                        <p:tgtEl>
                                          <p:spTgt spid="441"/>
                                        </p:tgtEl>
                                      </p:cBhvr>
                                    </p:animEffect>
                                    <p:animScale>
                                      <p:cBhvr>
                                        <p:cTn id="431" dur="1000" autoRev="1" fill="hold"/>
                                        <p:tgtEl>
                                          <p:spTgt spid="441"/>
                                        </p:tgtEl>
                                      </p:cBhvr>
                                      <p:by x="105000" y="105000"/>
                                    </p:animScale>
                                  </p:childTnLst>
                                </p:cTn>
                              </p:par>
                              <p:par>
                                <p:cTn id="432" presetID="26" presetClass="emph" presetSubtype="0" dur="2000" repeatCount="indefinite" fill="hold" grpId="0" nodeType="withEffect">
                                  <p:stCondLst>
                                    <p:cond delay="2750"/>
                                  </p:stCondLst>
                                  <p:childTnLst>
                                    <p:animEffect transition="out" filter="fade">
                                      <p:cBhvr>
                                        <p:cTn id="433" dur="2000" tmFilter="0, 0; .2, .5; .8, .5; 1, 0"/>
                                        <p:tgtEl>
                                          <p:spTgt spid="442"/>
                                        </p:tgtEl>
                                      </p:cBhvr>
                                    </p:animEffect>
                                    <p:animScale>
                                      <p:cBhvr>
                                        <p:cTn id="434" dur="1000" autoRev="1" fill="hold"/>
                                        <p:tgtEl>
                                          <p:spTgt spid="442"/>
                                        </p:tgtEl>
                                      </p:cBhvr>
                                      <p:by x="105000" y="105000"/>
                                    </p:animScale>
                                  </p:childTnLst>
                                </p:cTn>
                              </p:par>
                              <p:par>
                                <p:cTn id="435" presetID="26" presetClass="emph" presetSubtype="0" dur="2000" repeatCount="indefinite" fill="hold" grpId="0" nodeType="withEffect">
                                  <p:stCondLst>
                                    <p:cond delay="2750"/>
                                  </p:stCondLst>
                                  <p:childTnLst>
                                    <p:animEffect transition="out" filter="fade">
                                      <p:cBhvr>
                                        <p:cTn id="436" dur="2000" tmFilter="0, 0; .2, .5; .8, .5; 1, 0"/>
                                        <p:tgtEl>
                                          <p:spTgt spid="443"/>
                                        </p:tgtEl>
                                      </p:cBhvr>
                                    </p:animEffect>
                                    <p:animScale>
                                      <p:cBhvr>
                                        <p:cTn id="437" dur="1000" autoRev="1" fill="hold"/>
                                        <p:tgtEl>
                                          <p:spTgt spid="443"/>
                                        </p:tgtEl>
                                      </p:cBhvr>
                                      <p:by x="105000" y="105000"/>
                                    </p:animScale>
                                  </p:childTnLst>
                                </p:cTn>
                              </p:par>
                              <p:par>
                                <p:cTn id="438" presetID="26" presetClass="emph" presetSubtype="0" dur="2000" repeatCount="indefinite" fill="hold" grpId="0" nodeType="withEffect">
                                  <p:stCondLst>
                                    <p:cond delay="2750"/>
                                  </p:stCondLst>
                                  <p:childTnLst>
                                    <p:animEffect transition="out" filter="fade">
                                      <p:cBhvr>
                                        <p:cTn id="439" dur="2000" tmFilter="0, 0; .2, .5; .8, .5; 1, 0"/>
                                        <p:tgtEl>
                                          <p:spTgt spid="444"/>
                                        </p:tgtEl>
                                      </p:cBhvr>
                                    </p:animEffect>
                                    <p:animScale>
                                      <p:cBhvr>
                                        <p:cTn id="440" dur="1000" autoRev="1" fill="hold"/>
                                        <p:tgtEl>
                                          <p:spTgt spid="444"/>
                                        </p:tgtEl>
                                      </p:cBhvr>
                                      <p:by x="105000" y="105000"/>
                                    </p:animScale>
                                  </p:childTnLst>
                                </p:cTn>
                              </p:par>
                              <p:par>
                                <p:cTn id="441" presetID="26" presetClass="emph" presetSubtype="0" dur="2000" repeatCount="indefinite" fill="hold" grpId="0" nodeType="withEffect">
                                  <p:stCondLst>
                                    <p:cond delay="2750"/>
                                  </p:stCondLst>
                                  <p:childTnLst>
                                    <p:animEffect transition="out" filter="fade">
                                      <p:cBhvr>
                                        <p:cTn id="442" dur="2000" tmFilter="0, 0; .2, .5; .8, .5; 1, 0"/>
                                        <p:tgtEl>
                                          <p:spTgt spid="445"/>
                                        </p:tgtEl>
                                      </p:cBhvr>
                                    </p:animEffect>
                                    <p:animScale>
                                      <p:cBhvr>
                                        <p:cTn id="443" dur="1000" autoRev="1" fill="hold"/>
                                        <p:tgtEl>
                                          <p:spTgt spid="445"/>
                                        </p:tgtEl>
                                      </p:cBhvr>
                                      <p:by x="105000" y="105000"/>
                                    </p:animScale>
                                  </p:childTnLst>
                                </p:cTn>
                              </p:par>
                              <p:par>
                                <p:cTn id="444" presetID="26" presetClass="emph" presetSubtype="0" dur="2000" repeatCount="indefinite" fill="hold" grpId="0" nodeType="withEffect">
                                  <p:stCondLst>
                                    <p:cond delay="2750"/>
                                  </p:stCondLst>
                                  <p:childTnLst>
                                    <p:animEffect transition="out" filter="fade">
                                      <p:cBhvr>
                                        <p:cTn id="445" dur="2000" tmFilter="0, 0; .2, .5; .8, .5; 1, 0"/>
                                        <p:tgtEl>
                                          <p:spTgt spid="446"/>
                                        </p:tgtEl>
                                      </p:cBhvr>
                                    </p:animEffect>
                                    <p:animScale>
                                      <p:cBhvr>
                                        <p:cTn id="446" dur="1000" autoRev="1" fill="hold"/>
                                        <p:tgtEl>
                                          <p:spTgt spid="446"/>
                                        </p:tgtEl>
                                      </p:cBhvr>
                                      <p:by x="105000" y="105000"/>
                                    </p:animScale>
                                  </p:childTnLst>
                                </p:cTn>
                              </p:par>
                              <p:par>
                                <p:cTn id="447" presetID="26" presetClass="emph" presetSubtype="0" dur="2000" repeatCount="indefinite" fill="hold" grpId="0" nodeType="withEffect">
                                  <p:stCondLst>
                                    <p:cond delay="2750"/>
                                  </p:stCondLst>
                                  <p:childTnLst>
                                    <p:animEffect transition="out" filter="fade">
                                      <p:cBhvr>
                                        <p:cTn id="448" dur="2000" tmFilter="0, 0; .2, .5; .8, .5; 1, 0"/>
                                        <p:tgtEl>
                                          <p:spTgt spid="447"/>
                                        </p:tgtEl>
                                      </p:cBhvr>
                                    </p:animEffect>
                                    <p:animScale>
                                      <p:cBhvr>
                                        <p:cTn id="449" dur="1000" autoRev="1" fill="hold"/>
                                        <p:tgtEl>
                                          <p:spTgt spid="447"/>
                                        </p:tgtEl>
                                      </p:cBhvr>
                                      <p:by x="105000" y="105000"/>
                                    </p:animScale>
                                  </p:childTnLst>
                                </p:cTn>
                              </p:par>
                              <p:par>
                                <p:cTn id="450" presetID="26" presetClass="emph" presetSubtype="0" dur="2000" repeatCount="indefinite" fill="hold" grpId="0" nodeType="withEffect">
                                  <p:stCondLst>
                                    <p:cond delay="2750"/>
                                  </p:stCondLst>
                                  <p:childTnLst>
                                    <p:animEffect transition="out" filter="fade">
                                      <p:cBhvr>
                                        <p:cTn id="451" dur="2000" tmFilter="0, 0; .2, .5; .8, .5; 1, 0"/>
                                        <p:tgtEl>
                                          <p:spTgt spid="448"/>
                                        </p:tgtEl>
                                      </p:cBhvr>
                                    </p:animEffect>
                                    <p:animScale>
                                      <p:cBhvr>
                                        <p:cTn id="452" dur="1000" autoRev="1" fill="hold"/>
                                        <p:tgtEl>
                                          <p:spTgt spid="448"/>
                                        </p:tgtEl>
                                      </p:cBhvr>
                                      <p:by x="105000" y="105000"/>
                                    </p:animScale>
                                  </p:childTnLst>
                                </p:cTn>
                              </p:par>
                              <p:par>
                                <p:cTn id="453" presetID="26" presetClass="emph" presetSubtype="0" dur="2000" repeatCount="indefinite" fill="hold" grpId="0" nodeType="withEffect">
                                  <p:stCondLst>
                                    <p:cond delay="2750"/>
                                  </p:stCondLst>
                                  <p:childTnLst>
                                    <p:animEffect transition="out" filter="fade">
                                      <p:cBhvr>
                                        <p:cTn id="454" dur="2000" tmFilter="0, 0; .2, .5; .8, .5; 1, 0"/>
                                        <p:tgtEl>
                                          <p:spTgt spid="449"/>
                                        </p:tgtEl>
                                      </p:cBhvr>
                                    </p:animEffect>
                                    <p:animScale>
                                      <p:cBhvr>
                                        <p:cTn id="455" dur="1000" autoRev="1" fill="hold"/>
                                        <p:tgtEl>
                                          <p:spTgt spid="449"/>
                                        </p:tgtEl>
                                      </p:cBhvr>
                                      <p:by x="105000" y="105000"/>
                                    </p:animScale>
                                  </p:childTnLst>
                                </p:cTn>
                              </p:par>
                              <p:par>
                                <p:cTn id="456" presetID="26" presetClass="emph" presetSubtype="0" dur="2000" repeatCount="indefinite" fill="hold" grpId="0" nodeType="withEffect">
                                  <p:stCondLst>
                                    <p:cond delay="2750"/>
                                  </p:stCondLst>
                                  <p:childTnLst>
                                    <p:animEffect transition="out" filter="fade">
                                      <p:cBhvr>
                                        <p:cTn id="457" dur="2000" tmFilter="0, 0; .2, .5; .8, .5; 1, 0"/>
                                        <p:tgtEl>
                                          <p:spTgt spid="450"/>
                                        </p:tgtEl>
                                      </p:cBhvr>
                                    </p:animEffect>
                                    <p:animScale>
                                      <p:cBhvr>
                                        <p:cTn id="458" dur="1000" autoRev="1" fill="hold"/>
                                        <p:tgtEl>
                                          <p:spTgt spid="450"/>
                                        </p:tgtEl>
                                      </p:cBhvr>
                                      <p:by x="105000" y="105000"/>
                                    </p:animScale>
                                  </p:childTnLst>
                                </p:cTn>
                              </p:par>
                              <p:par>
                                <p:cTn id="459" presetID="26" presetClass="emph" presetSubtype="0" dur="2000" repeatCount="indefinite" fill="hold" grpId="0" nodeType="withEffect">
                                  <p:stCondLst>
                                    <p:cond delay="2750"/>
                                  </p:stCondLst>
                                  <p:childTnLst>
                                    <p:animEffect transition="out" filter="fade">
                                      <p:cBhvr>
                                        <p:cTn id="460" dur="2000" tmFilter="0, 0; .2, .5; .8, .5; 1, 0"/>
                                        <p:tgtEl>
                                          <p:spTgt spid="451"/>
                                        </p:tgtEl>
                                      </p:cBhvr>
                                    </p:animEffect>
                                    <p:animScale>
                                      <p:cBhvr>
                                        <p:cTn id="461" dur="1000" autoRev="1" fill="hold"/>
                                        <p:tgtEl>
                                          <p:spTgt spid="451"/>
                                        </p:tgtEl>
                                      </p:cBhvr>
                                      <p:by x="105000" y="105000"/>
                                    </p:animScale>
                                  </p:childTnLst>
                                </p:cTn>
                              </p:par>
                              <p:par>
                                <p:cTn id="462" presetID="26" presetClass="emph" presetSubtype="0" dur="2000" repeatCount="indefinite" fill="hold" grpId="0" nodeType="withEffect">
                                  <p:stCondLst>
                                    <p:cond delay="3000"/>
                                  </p:stCondLst>
                                  <p:childTnLst>
                                    <p:animEffect transition="out" filter="fade">
                                      <p:cBhvr>
                                        <p:cTn id="463" dur="2000" tmFilter="0, 0; .2, .5; .8, .5; 1, 0"/>
                                        <p:tgtEl>
                                          <p:spTgt spid="452"/>
                                        </p:tgtEl>
                                      </p:cBhvr>
                                    </p:animEffect>
                                    <p:animScale>
                                      <p:cBhvr>
                                        <p:cTn id="464" dur="1000" autoRev="1" fill="hold"/>
                                        <p:tgtEl>
                                          <p:spTgt spid="452"/>
                                        </p:tgtEl>
                                      </p:cBhvr>
                                      <p:by x="105000" y="105000"/>
                                    </p:animScale>
                                  </p:childTnLst>
                                </p:cTn>
                              </p:par>
                              <p:par>
                                <p:cTn id="465" presetID="26" presetClass="emph" presetSubtype="0" dur="2000" repeatCount="indefinite" fill="hold" grpId="0" nodeType="withEffect">
                                  <p:stCondLst>
                                    <p:cond delay="3000"/>
                                  </p:stCondLst>
                                  <p:childTnLst>
                                    <p:animEffect transition="out" filter="fade">
                                      <p:cBhvr>
                                        <p:cTn id="466" dur="2000" tmFilter="0, 0; .2, .5; .8, .5; 1, 0"/>
                                        <p:tgtEl>
                                          <p:spTgt spid="453"/>
                                        </p:tgtEl>
                                      </p:cBhvr>
                                    </p:animEffect>
                                    <p:animScale>
                                      <p:cBhvr>
                                        <p:cTn id="467" dur="1000" autoRev="1" fill="hold"/>
                                        <p:tgtEl>
                                          <p:spTgt spid="453"/>
                                        </p:tgtEl>
                                      </p:cBhvr>
                                      <p:by x="105000" y="105000"/>
                                    </p:animScale>
                                  </p:childTnLst>
                                </p:cTn>
                              </p:par>
                              <p:par>
                                <p:cTn id="468" presetID="26" presetClass="emph" presetSubtype="0" dur="2000" repeatCount="indefinite" fill="hold" grpId="0" nodeType="withEffect">
                                  <p:stCondLst>
                                    <p:cond delay="3000"/>
                                  </p:stCondLst>
                                  <p:childTnLst>
                                    <p:animEffect transition="out" filter="fade">
                                      <p:cBhvr>
                                        <p:cTn id="469" dur="2000" tmFilter="0, 0; .2, .5; .8, .5; 1, 0"/>
                                        <p:tgtEl>
                                          <p:spTgt spid="454"/>
                                        </p:tgtEl>
                                      </p:cBhvr>
                                    </p:animEffect>
                                    <p:animScale>
                                      <p:cBhvr>
                                        <p:cTn id="470" dur="1000" autoRev="1" fill="hold"/>
                                        <p:tgtEl>
                                          <p:spTgt spid="454"/>
                                        </p:tgtEl>
                                      </p:cBhvr>
                                      <p:by x="105000" y="105000"/>
                                    </p:animScale>
                                  </p:childTnLst>
                                </p:cTn>
                              </p:par>
                              <p:par>
                                <p:cTn id="471" presetID="26" presetClass="emph" presetSubtype="0" dur="2000" repeatCount="indefinite" fill="hold" grpId="0" nodeType="withEffect">
                                  <p:stCondLst>
                                    <p:cond delay="3000"/>
                                  </p:stCondLst>
                                  <p:childTnLst>
                                    <p:animEffect transition="out" filter="fade">
                                      <p:cBhvr>
                                        <p:cTn id="472" dur="2000" tmFilter="0, 0; .2, .5; .8, .5; 1, 0"/>
                                        <p:tgtEl>
                                          <p:spTgt spid="455"/>
                                        </p:tgtEl>
                                      </p:cBhvr>
                                    </p:animEffect>
                                    <p:animScale>
                                      <p:cBhvr>
                                        <p:cTn id="473" dur="1000" autoRev="1" fill="hold"/>
                                        <p:tgtEl>
                                          <p:spTgt spid="455"/>
                                        </p:tgtEl>
                                      </p:cBhvr>
                                      <p:by x="105000" y="105000"/>
                                    </p:animScale>
                                  </p:childTnLst>
                                </p:cTn>
                              </p:par>
                              <p:par>
                                <p:cTn id="474" presetID="26" presetClass="emph" presetSubtype="0" dur="2000" repeatCount="indefinite" fill="hold" grpId="0" nodeType="withEffect">
                                  <p:stCondLst>
                                    <p:cond delay="3000"/>
                                  </p:stCondLst>
                                  <p:childTnLst>
                                    <p:animEffect transition="out" filter="fade">
                                      <p:cBhvr>
                                        <p:cTn id="475" dur="2000" tmFilter="0, 0; .2, .5; .8, .5; 1, 0"/>
                                        <p:tgtEl>
                                          <p:spTgt spid="456"/>
                                        </p:tgtEl>
                                      </p:cBhvr>
                                    </p:animEffect>
                                    <p:animScale>
                                      <p:cBhvr>
                                        <p:cTn id="476" dur="1000" autoRev="1" fill="hold"/>
                                        <p:tgtEl>
                                          <p:spTgt spid="456"/>
                                        </p:tgtEl>
                                      </p:cBhvr>
                                      <p:by x="105000" y="105000"/>
                                    </p:animScale>
                                  </p:childTnLst>
                                </p:cTn>
                              </p:par>
                              <p:par>
                                <p:cTn id="477" presetID="26" presetClass="emph" presetSubtype="0" dur="2000" repeatCount="indefinite" fill="hold" grpId="0" nodeType="withEffect">
                                  <p:stCondLst>
                                    <p:cond delay="3000"/>
                                  </p:stCondLst>
                                  <p:childTnLst>
                                    <p:animEffect transition="out" filter="fade">
                                      <p:cBhvr>
                                        <p:cTn id="478" dur="2000" tmFilter="0, 0; .2, .5; .8, .5; 1, 0"/>
                                        <p:tgtEl>
                                          <p:spTgt spid="457"/>
                                        </p:tgtEl>
                                      </p:cBhvr>
                                    </p:animEffect>
                                    <p:animScale>
                                      <p:cBhvr>
                                        <p:cTn id="479" dur="1000" autoRev="1" fill="hold"/>
                                        <p:tgtEl>
                                          <p:spTgt spid="457"/>
                                        </p:tgtEl>
                                      </p:cBhvr>
                                      <p:by x="105000" y="105000"/>
                                    </p:animScale>
                                  </p:childTnLst>
                                </p:cTn>
                              </p:par>
                              <p:par>
                                <p:cTn id="480" presetID="26" presetClass="emph" presetSubtype="0" dur="2000" repeatCount="indefinite" fill="hold" grpId="0" nodeType="withEffect">
                                  <p:stCondLst>
                                    <p:cond delay="3000"/>
                                  </p:stCondLst>
                                  <p:childTnLst>
                                    <p:animEffect transition="out" filter="fade">
                                      <p:cBhvr>
                                        <p:cTn id="481" dur="2000" tmFilter="0, 0; .2, .5; .8, .5; 1, 0"/>
                                        <p:tgtEl>
                                          <p:spTgt spid="458"/>
                                        </p:tgtEl>
                                      </p:cBhvr>
                                    </p:animEffect>
                                    <p:animScale>
                                      <p:cBhvr>
                                        <p:cTn id="482" dur="1000" autoRev="1" fill="hold"/>
                                        <p:tgtEl>
                                          <p:spTgt spid="458"/>
                                        </p:tgtEl>
                                      </p:cBhvr>
                                      <p:by x="105000" y="105000"/>
                                    </p:animScale>
                                  </p:childTnLst>
                                </p:cTn>
                              </p:par>
                              <p:par>
                                <p:cTn id="483" presetID="26" presetClass="emph" presetSubtype="0" dur="2000" repeatCount="indefinite" fill="hold" grpId="0" nodeType="withEffect">
                                  <p:stCondLst>
                                    <p:cond delay="3000"/>
                                  </p:stCondLst>
                                  <p:childTnLst>
                                    <p:animEffect transition="out" filter="fade">
                                      <p:cBhvr>
                                        <p:cTn id="484" dur="2000" tmFilter="0, 0; .2, .5; .8, .5; 1, 0"/>
                                        <p:tgtEl>
                                          <p:spTgt spid="459"/>
                                        </p:tgtEl>
                                      </p:cBhvr>
                                    </p:animEffect>
                                    <p:animScale>
                                      <p:cBhvr>
                                        <p:cTn id="485" dur="1000" autoRev="1" fill="hold"/>
                                        <p:tgtEl>
                                          <p:spTgt spid="459"/>
                                        </p:tgtEl>
                                      </p:cBhvr>
                                      <p:by x="105000" y="105000"/>
                                    </p:animScale>
                                  </p:childTnLst>
                                </p:cTn>
                              </p:par>
                              <p:par>
                                <p:cTn id="486" presetID="26" presetClass="emph" presetSubtype="0" dur="2000" repeatCount="indefinite" fill="hold" grpId="0" nodeType="withEffect">
                                  <p:stCondLst>
                                    <p:cond delay="3000"/>
                                  </p:stCondLst>
                                  <p:childTnLst>
                                    <p:animEffect transition="out" filter="fade">
                                      <p:cBhvr>
                                        <p:cTn id="487" dur="2000" tmFilter="0, 0; .2, .5; .8, .5; 1, 0"/>
                                        <p:tgtEl>
                                          <p:spTgt spid="460"/>
                                        </p:tgtEl>
                                      </p:cBhvr>
                                    </p:animEffect>
                                    <p:animScale>
                                      <p:cBhvr>
                                        <p:cTn id="488" dur="1000" autoRev="1" fill="hold"/>
                                        <p:tgtEl>
                                          <p:spTgt spid="460"/>
                                        </p:tgtEl>
                                      </p:cBhvr>
                                      <p:by x="105000" y="105000"/>
                                    </p:animScale>
                                  </p:childTnLst>
                                </p:cTn>
                              </p:par>
                              <p:par>
                                <p:cTn id="489" presetID="26" presetClass="emph" presetSubtype="0" dur="2000" repeatCount="indefinite" fill="hold" grpId="0" nodeType="withEffect">
                                  <p:stCondLst>
                                    <p:cond delay="3000"/>
                                  </p:stCondLst>
                                  <p:childTnLst>
                                    <p:animEffect transition="out" filter="fade">
                                      <p:cBhvr>
                                        <p:cTn id="490" dur="2000" tmFilter="0, 0; .2, .5; .8, .5; 1, 0"/>
                                        <p:tgtEl>
                                          <p:spTgt spid="461"/>
                                        </p:tgtEl>
                                      </p:cBhvr>
                                    </p:animEffect>
                                    <p:animScale>
                                      <p:cBhvr>
                                        <p:cTn id="491" dur="1000" autoRev="1" fill="hold"/>
                                        <p:tgtEl>
                                          <p:spTgt spid="461"/>
                                        </p:tgtEl>
                                      </p:cBhvr>
                                      <p:by x="105000" y="105000"/>
                                    </p:animScale>
                                  </p:childTnLst>
                                </p:cTn>
                              </p:par>
                              <p:par>
                                <p:cTn id="492" presetID="26" presetClass="emph" presetSubtype="0" dur="2000" repeatCount="indefinite" fill="hold" grpId="0" nodeType="withEffect">
                                  <p:stCondLst>
                                    <p:cond delay="3000"/>
                                  </p:stCondLst>
                                  <p:childTnLst>
                                    <p:animEffect transition="out" filter="fade">
                                      <p:cBhvr>
                                        <p:cTn id="493" dur="2000" tmFilter="0, 0; .2, .5; .8, .5; 1, 0"/>
                                        <p:tgtEl>
                                          <p:spTgt spid="462"/>
                                        </p:tgtEl>
                                      </p:cBhvr>
                                    </p:animEffect>
                                    <p:animScale>
                                      <p:cBhvr>
                                        <p:cTn id="494" dur="1000" autoRev="1" fill="hold"/>
                                        <p:tgtEl>
                                          <p:spTgt spid="462"/>
                                        </p:tgtEl>
                                      </p:cBhvr>
                                      <p:by x="105000" y="105000"/>
                                    </p:animScale>
                                  </p:childTnLst>
                                </p:cTn>
                              </p:par>
                              <p:par>
                                <p:cTn id="495" presetID="26" presetClass="emph" presetSubtype="0" dur="2000" repeatCount="indefinite" fill="hold" grpId="0" nodeType="withEffect">
                                  <p:stCondLst>
                                    <p:cond delay="3000"/>
                                  </p:stCondLst>
                                  <p:childTnLst>
                                    <p:animEffect transition="out" filter="fade">
                                      <p:cBhvr>
                                        <p:cTn id="496" dur="2000" tmFilter="0, 0; .2, .5; .8, .5; 1, 0"/>
                                        <p:tgtEl>
                                          <p:spTgt spid="463"/>
                                        </p:tgtEl>
                                      </p:cBhvr>
                                    </p:animEffect>
                                    <p:animScale>
                                      <p:cBhvr>
                                        <p:cTn id="497" dur="1000" autoRev="1" fill="hold"/>
                                        <p:tgtEl>
                                          <p:spTgt spid="463"/>
                                        </p:tgtEl>
                                      </p:cBhvr>
                                      <p:by x="105000" y="105000"/>
                                    </p:animScale>
                                  </p:childTnLst>
                                </p:cTn>
                              </p:par>
                              <p:par>
                                <p:cTn id="498" presetID="26" presetClass="emph" presetSubtype="0" dur="2000" repeatCount="indefinite" fill="hold" grpId="0" nodeType="withEffect">
                                  <p:stCondLst>
                                    <p:cond delay="3000"/>
                                  </p:stCondLst>
                                  <p:childTnLst>
                                    <p:animEffect transition="out" filter="fade">
                                      <p:cBhvr>
                                        <p:cTn id="499" dur="2000" tmFilter="0, 0; .2, .5; .8, .5; 1, 0"/>
                                        <p:tgtEl>
                                          <p:spTgt spid="464"/>
                                        </p:tgtEl>
                                      </p:cBhvr>
                                    </p:animEffect>
                                    <p:animScale>
                                      <p:cBhvr>
                                        <p:cTn id="500" dur="1000" autoRev="1" fill="hold"/>
                                        <p:tgtEl>
                                          <p:spTgt spid="464"/>
                                        </p:tgtEl>
                                      </p:cBhvr>
                                      <p:by x="105000" y="105000"/>
                                    </p:animScale>
                                  </p:childTnLst>
                                </p:cTn>
                              </p:par>
                              <p:par>
                                <p:cTn id="501" presetID="26" presetClass="emph" presetSubtype="0" dur="2000" repeatCount="indefinite" fill="hold" grpId="0" nodeType="withEffect">
                                  <p:stCondLst>
                                    <p:cond delay="3000"/>
                                  </p:stCondLst>
                                  <p:childTnLst>
                                    <p:animEffect transition="out" filter="fade">
                                      <p:cBhvr>
                                        <p:cTn id="502" dur="2000" tmFilter="0, 0; .2, .5; .8, .5; 1, 0"/>
                                        <p:tgtEl>
                                          <p:spTgt spid="465"/>
                                        </p:tgtEl>
                                      </p:cBhvr>
                                    </p:animEffect>
                                    <p:animScale>
                                      <p:cBhvr>
                                        <p:cTn id="503" dur="1000" autoRev="1" fill="hold"/>
                                        <p:tgtEl>
                                          <p:spTgt spid="465"/>
                                        </p:tgtEl>
                                      </p:cBhvr>
                                      <p:by x="105000" y="105000"/>
                                    </p:animScale>
                                  </p:childTnLst>
                                </p:cTn>
                              </p:par>
                              <p:par>
                                <p:cTn id="504" presetID="26" presetClass="emph" presetSubtype="0" dur="2000" repeatCount="indefinite" fill="hold" grpId="0" nodeType="withEffect">
                                  <p:stCondLst>
                                    <p:cond delay="3250"/>
                                  </p:stCondLst>
                                  <p:childTnLst>
                                    <p:animEffect transition="out" filter="fade">
                                      <p:cBhvr>
                                        <p:cTn id="505" dur="2000" tmFilter="0, 0; .2, .5; .8, .5; 1, 0"/>
                                        <p:tgtEl>
                                          <p:spTgt spid="466"/>
                                        </p:tgtEl>
                                      </p:cBhvr>
                                    </p:animEffect>
                                    <p:animScale>
                                      <p:cBhvr>
                                        <p:cTn id="506" dur="1000" autoRev="1" fill="hold"/>
                                        <p:tgtEl>
                                          <p:spTgt spid="466"/>
                                        </p:tgtEl>
                                      </p:cBhvr>
                                      <p:by x="105000" y="105000"/>
                                    </p:animScale>
                                  </p:childTnLst>
                                </p:cTn>
                              </p:par>
                              <p:par>
                                <p:cTn id="507" presetID="26" presetClass="emph" presetSubtype="0" dur="2000" repeatCount="indefinite" fill="hold" grpId="0" nodeType="withEffect">
                                  <p:stCondLst>
                                    <p:cond delay="3250"/>
                                  </p:stCondLst>
                                  <p:childTnLst>
                                    <p:animEffect transition="out" filter="fade">
                                      <p:cBhvr>
                                        <p:cTn id="508" dur="2000" tmFilter="0, 0; .2, .5; .8, .5; 1, 0"/>
                                        <p:tgtEl>
                                          <p:spTgt spid="467"/>
                                        </p:tgtEl>
                                      </p:cBhvr>
                                    </p:animEffect>
                                    <p:animScale>
                                      <p:cBhvr>
                                        <p:cTn id="509" dur="1000" autoRev="1" fill="hold"/>
                                        <p:tgtEl>
                                          <p:spTgt spid="467"/>
                                        </p:tgtEl>
                                      </p:cBhvr>
                                      <p:by x="105000" y="105000"/>
                                    </p:animScale>
                                  </p:childTnLst>
                                </p:cTn>
                              </p:par>
                              <p:par>
                                <p:cTn id="510" presetID="26" presetClass="emph" presetSubtype="0" dur="2000" repeatCount="indefinite" fill="hold" grpId="0" nodeType="withEffect">
                                  <p:stCondLst>
                                    <p:cond delay="3250"/>
                                  </p:stCondLst>
                                  <p:childTnLst>
                                    <p:animEffect transition="out" filter="fade">
                                      <p:cBhvr>
                                        <p:cTn id="511" dur="2000" tmFilter="0, 0; .2, .5; .8, .5; 1, 0"/>
                                        <p:tgtEl>
                                          <p:spTgt spid="468"/>
                                        </p:tgtEl>
                                      </p:cBhvr>
                                    </p:animEffect>
                                    <p:animScale>
                                      <p:cBhvr>
                                        <p:cTn id="512" dur="1000" autoRev="1" fill="hold"/>
                                        <p:tgtEl>
                                          <p:spTgt spid="468"/>
                                        </p:tgtEl>
                                      </p:cBhvr>
                                      <p:by x="105000" y="105000"/>
                                    </p:animScale>
                                  </p:childTnLst>
                                </p:cTn>
                              </p:par>
                              <p:par>
                                <p:cTn id="513" presetID="26" presetClass="emph" presetSubtype="0" dur="2000" repeatCount="indefinite" fill="hold" grpId="0" nodeType="withEffect">
                                  <p:stCondLst>
                                    <p:cond delay="3250"/>
                                  </p:stCondLst>
                                  <p:childTnLst>
                                    <p:animEffect transition="out" filter="fade">
                                      <p:cBhvr>
                                        <p:cTn id="514" dur="2000" tmFilter="0, 0; .2, .5; .8, .5; 1, 0"/>
                                        <p:tgtEl>
                                          <p:spTgt spid="469"/>
                                        </p:tgtEl>
                                      </p:cBhvr>
                                    </p:animEffect>
                                    <p:animScale>
                                      <p:cBhvr>
                                        <p:cTn id="515" dur="1000" autoRev="1" fill="hold"/>
                                        <p:tgtEl>
                                          <p:spTgt spid="469"/>
                                        </p:tgtEl>
                                      </p:cBhvr>
                                      <p:by x="105000" y="105000"/>
                                    </p:animScale>
                                  </p:childTnLst>
                                </p:cTn>
                              </p:par>
                              <p:par>
                                <p:cTn id="516" presetID="26" presetClass="emph" presetSubtype="0" dur="2000" repeatCount="indefinite" fill="hold" grpId="0" nodeType="withEffect">
                                  <p:stCondLst>
                                    <p:cond delay="3250"/>
                                  </p:stCondLst>
                                  <p:childTnLst>
                                    <p:animEffect transition="out" filter="fade">
                                      <p:cBhvr>
                                        <p:cTn id="517" dur="2000" tmFilter="0, 0; .2, .5; .8, .5; 1, 0"/>
                                        <p:tgtEl>
                                          <p:spTgt spid="470"/>
                                        </p:tgtEl>
                                      </p:cBhvr>
                                    </p:animEffect>
                                    <p:animScale>
                                      <p:cBhvr>
                                        <p:cTn id="518" dur="1000" autoRev="1" fill="hold"/>
                                        <p:tgtEl>
                                          <p:spTgt spid="470"/>
                                        </p:tgtEl>
                                      </p:cBhvr>
                                      <p:by x="105000" y="105000"/>
                                    </p:animScale>
                                  </p:childTnLst>
                                </p:cTn>
                              </p:par>
                              <p:par>
                                <p:cTn id="519" presetID="26" presetClass="emph" presetSubtype="0" dur="2000" repeatCount="indefinite" fill="hold" grpId="0" nodeType="withEffect">
                                  <p:stCondLst>
                                    <p:cond delay="3250"/>
                                  </p:stCondLst>
                                  <p:childTnLst>
                                    <p:animEffect transition="out" filter="fade">
                                      <p:cBhvr>
                                        <p:cTn id="520" dur="2000" tmFilter="0, 0; .2, .5; .8, .5; 1, 0"/>
                                        <p:tgtEl>
                                          <p:spTgt spid="471"/>
                                        </p:tgtEl>
                                      </p:cBhvr>
                                    </p:animEffect>
                                    <p:animScale>
                                      <p:cBhvr>
                                        <p:cTn id="521" dur="1000" autoRev="1" fill="hold"/>
                                        <p:tgtEl>
                                          <p:spTgt spid="471"/>
                                        </p:tgtEl>
                                      </p:cBhvr>
                                      <p:by x="105000" y="105000"/>
                                    </p:animScale>
                                  </p:childTnLst>
                                </p:cTn>
                              </p:par>
                              <p:par>
                                <p:cTn id="522" presetID="26" presetClass="emph" presetSubtype="0" dur="2000" repeatCount="indefinite" fill="hold" grpId="0" nodeType="withEffect">
                                  <p:stCondLst>
                                    <p:cond delay="3250"/>
                                  </p:stCondLst>
                                  <p:childTnLst>
                                    <p:animEffect transition="out" filter="fade">
                                      <p:cBhvr>
                                        <p:cTn id="523" dur="2000" tmFilter="0, 0; .2, .5; .8, .5; 1, 0"/>
                                        <p:tgtEl>
                                          <p:spTgt spid="472"/>
                                        </p:tgtEl>
                                      </p:cBhvr>
                                    </p:animEffect>
                                    <p:animScale>
                                      <p:cBhvr>
                                        <p:cTn id="524" dur="1000" autoRev="1" fill="hold"/>
                                        <p:tgtEl>
                                          <p:spTgt spid="472"/>
                                        </p:tgtEl>
                                      </p:cBhvr>
                                      <p:by x="105000" y="105000"/>
                                    </p:animScale>
                                  </p:childTnLst>
                                </p:cTn>
                              </p:par>
                              <p:par>
                                <p:cTn id="525" presetID="26" presetClass="emph" presetSubtype="0" dur="2000" repeatCount="indefinite" fill="hold" grpId="0" nodeType="withEffect">
                                  <p:stCondLst>
                                    <p:cond delay="3250"/>
                                  </p:stCondLst>
                                  <p:childTnLst>
                                    <p:animEffect transition="out" filter="fade">
                                      <p:cBhvr>
                                        <p:cTn id="526" dur="2000" tmFilter="0, 0; .2, .5; .8, .5; 1, 0"/>
                                        <p:tgtEl>
                                          <p:spTgt spid="473"/>
                                        </p:tgtEl>
                                      </p:cBhvr>
                                    </p:animEffect>
                                    <p:animScale>
                                      <p:cBhvr>
                                        <p:cTn id="527" dur="1000" autoRev="1" fill="hold"/>
                                        <p:tgtEl>
                                          <p:spTgt spid="473"/>
                                        </p:tgtEl>
                                      </p:cBhvr>
                                      <p:by x="105000" y="105000"/>
                                    </p:animScale>
                                  </p:childTnLst>
                                </p:cTn>
                              </p:par>
                              <p:par>
                                <p:cTn id="528" presetID="26" presetClass="emph" presetSubtype="0" dur="2000" repeatCount="indefinite" fill="hold" grpId="0" nodeType="withEffect">
                                  <p:stCondLst>
                                    <p:cond delay="3250"/>
                                  </p:stCondLst>
                                  <p:childTnLst>
                                    <p:animEffect transition="out" filter="fade">
                                      <p:cBhvr>
                                        <p:cTn id="529" dur="2000" tmFilter="0, 0; .2, .5; .8, .5; 1, 0"/>
                                        <p:tgtEl>
                                          <p:spTgt spid="474"/>
                                        </p:tgtEl>
                                      </p:cBhvr>
                                    </p:animEffect>
                                    <p:animScale>
                                      <p:cBhvr>
                                        <p:cTn id="530" dur="1000" autoRev="1" fill="hold"/>
                                        <p:tgtEl>
                                          <p:spTgt spid="474"/>
                                        </p:tgtEl>
                                      </p:cBhvr>
                                      <p:by x="105000" y="105000"/>
                                    </p:animScale>
                                  </p:childTnLst>
                                </p:cTn>
                              </p:par>
                              <p:par>
                                <p:cTn id="531" presetID="26" presetClass="emph" presetSubtype="0" dur="2000" repeatCount="indefinite" fill="hold" grpId="0" nodeType="withEffect">
                                  <p:stCondLst>
                                    <p:cond delay="3250"/>
                                  </p:stCondLst>
                                  <p:childTnLst>
                                    <p:animEffect transition="out" filter="fade">
                                      <p:cBhvr>
                                        <p:cTn id="532" dur="2000" tmFilter="0, 0; .2, .5; .8, .5; 1, 0"/>
                                        <p:tgtEl>
                                          <p:spTgt spid="475"/>
                                        </p:tgtEl>
                                      </p:cBhvr>
                                    </p:animEffect>
                                    <p:animScale>
                                      <p:cBhvr>
                                        <p:cTn id="533" dur="1000" autoRev="1" fill="hold"/>
                                        <p:tgtEl>
                                          <p:spTgt spid="475"/>
                                        </p:tgtEl>
                                      </p:cBhvr>
                                      <p:by x="105000" y="105000"/>
                                    </p:animScale>
                                  </p:childTnLst>
                                </p:cTn>
                              </p:par>
                              <p:par>
                                <p:cTn id="534" presetID="26" presetClass="emph" presetSubtype="0" dur="2000" repeatCount="indefinite" fill="hold" grpId="0" nodeType="withEffect">
                                  <p:stCondLst>
                                    <p:cond delay="3250"/>
                                  </p:stCondLst>
                                  <p:childTnLst>
                                    <p:animEffect transition="out" filter="fade">
                                      <p:cBhvr>
                                        <p:cTn id="535" dur="2000" tmFilter="0, 0; .2, .5; .8, .5; 1, 0"/>
                                        <p:tgtEl>
                                          <p:spTgt spid="476"/>
                                        </p:tgtEl>
                                      </p:cBhvr>
                                    </p:animEffect>
                                    <p:animScale>
                                      <p:cBhvr>
                                        <p:cTn id="536" dur="1000" autoRev="1" fill="hold"/>
                                        <p:tgtEl>
                                          <p:spTgt spid="476"/>
                                        </p:tgtEl>
                                      </p:cBhvr>
                                      <p:by x="105000" y="105000"/>
                                    </p:animScale>
                                  </p:childTnLst>
                                </p:cTn>
                              </p:par>
                              <p:par>
                                <p:cTn id="537" presetID="26" presetClass="emph" presetSubtype="0" dur="2000" repeatCount="indefinite" fill="hold" grpId="0" nodeType="withEffect">
                                  <p:stCondLst>
                                    <p:cond delay="3250"/>
                                  </p:stCondLst>
                                  <p:childTnLst>
                                    <p:animEffect transition="out" filter="fade">
                                      <p:cBhvr>
                                        <p:cTn id="538" dur="2000" tmFilter="0, 0; .2, .5; .8, .5; 1, 0"/>
                                        <p:tgtEl>
                                          <p:spTgt spid="477"/>
                                        </p:tgtEl>
                                      </p:cBhvr>
                                    </p:animEffect>
                                    <p:animScale>
                                      <p:cBhvr>
                                        <p:cTn id="539" dur="1000" autoRev="1" fill="hold"/>
                                        <p:tgtEl>
                                          <p:spTgt spid="477"/>
                                        </p:tgtEl>
                                      </p:cBhvr>
                                      <p:by x="105000" y="105000"/>
                                    </p:animScale>
                                  </p:childTnLst>
                                </p:cTn>
                              </p:par>
                              <p:par>
                                <p:cTn id="540" presetID="26" presetClass="emph" presetSubtype="0" dur="2000" repeatCount="indefinite" fill="hold" grpId="0" nodeType="withEffect">
                                  <p:stCondLst>
                                    <p:cond delay="3250"/>
                                  </p:stCondLst>
                                  <p:childTnLst>
                                    <p:animEffect transition="out" filter="fade">
                                      <p:cBhvr>
                                        <p:cTn id="541" dur="2000" tmFilter="0, 0; .2, .5; .8, .5; 1, 0"/>
                                        <p:tgtEl>
                                          <p:spTgt spid="478"/>
                                        </p:tgtEl>
                                      </p:cBhvr>
                                    </p:animEffect>
                                    <p:animScale>
                                      <p:cBhvr>
                                        <p:cTn id="542" dur="1000" autoRev="1" fill="hold"/>
                                        <p:tgtEl>
                                          <p:spTgt spid="478"/>
                                        </p:tgtEl>
                                      </p:cBhvr>
                                      <p:by x="105000" y="105000"/>
                                    </p:animScale>
                                  </p:childTnLst>
                                </p:cTn>
                              </p:par>
                              <p:par>
                                <p:cTn id="543" presetID="26" presetClass="emph" presetSubtype="0" dur="2000" repeatCount="indefinite" fill="hold" grpId="0" nodeType="withEffect">
                                  <p:stCondLst>
                                    <p:cond delay="3250"/>
                                  </p:stCondLst>
                                  <p:childTnLst>
                                    <p:animEffect transition="out" filter="fade">
                                      <p:cBhvr>
                                        <p:cTn id="544" dur="2000" tmFilter="0, 0; .2, .5; .8, .5; 1, 0"/>
                                        <p:tgtEl>
                                          <p:spTgt spid="479"/>
                                        </p:tgtEl>
                                      </p:cBhvr>
                                    </p:animEffect>
                                    <p:animScale>
                                      <p:cBhvr>
                                        <p:cTn id="545" dur="1000" autoRev="1" fill="hold"/>
                                        <p:tgtEl>
                                          <p:spTgt spid="479"/>
                                        </p:tgtEl>
                                      </p:cBhvr>
                                      <p:by x="105000" y="105000"/>
                                    </p:animScale>
                                  </p:childTnLst>
                                </p:cTn>
                              </p:par>
                              <p:par>
                                <p:cTn id="546" presetID="26" presetClass="emph" presetSubtype="0" dur="2000" repeatCount="indefinite" fill="hold" grpId="0" nodeType="withEffect">
                                  <p:stCondLst>
                                    <p:cond delay="3500"/>
                                  </p:stCondLst>
                                  <p:childTnLst>
                                    <p:animEffect transition="out" filter="fade">
                                      <p:cBhvr>
                                        <p:cTn id="547" dur="2000" tmFilter="0, 0; .2, .5; .8, .5; 1, 0"/>
                                        <p:tgtEl>
                                          <p:spTgt spid="480"/>
                                        </p:tgtEl>
                                      </p:cBhvr>
                                    </p:animEffect>
                                    <p:animScale>
                                      <p:cBhvr>
                                        <p:cTn id="548" dur="1000" autoRev="1" fill="hold"/>
                                        <p:tgtEl>
                                          <p:spTgt spid="480"/>
                                        </p:tgtEl>
                                      </p:cBhvr>
                                      <p:by x="105000" y="105000"/>
                                    </p:animScale>
                                  </p:childTnLst>
                                </p:cTn>
                              </p:par>
                              <p:par>
                                <p:cTn id="549" presetID="26" presetClass="emph" presetSubtype="0" dur="2000" repeatCount="indefinite" fill="hold" grpId="0" nodeType="withEffect">
                                  <p:stCondLst>
                                    <p:cond delay="3500"/>
                                  </p:stCondLst>
                                  <p:childTnLst>
                                    <p:animEffect transition="out" filter="fade">
                                      <p:cBhvr>
                                        <p:cTn id="550" dur="2000" tmFilter="0, 0; .2, .5; .8, .5; 1, 0"/>
                                        <p:tgtEl>
                                          <p:spTgt spid="481"/>
                                        </p:tgtEl>
                                      </p:cBhvr>
                                    </p:animEffect>
                                    <p:animScale>
                                      <p:cBhvr>
                                        <p:cTn id="551" dur="1000" autoRev="1" fill="hold"/>
                                        <p:tgtEl>
                                          <p:spTgt spid="481"/>
                                        </p:tgtEl>
                                      </p:cBhvr>
                                      <p:by x="105000" y="105000"/>
                                    </p:animScale>
                                  </p:childTnLst>
                                </p:cTn>
                              </p:par>
                              <p:par>
                                <p:cTn id="552" presetID="26" presetClass="emph" presetSubtype="0" dur="2000" repeatCount="indefinite" fill="hold" grpId="0" nodeType="withEffect">
                                  <p:stCondLst>
                                    <p:cond delay="3500"/>
                                  </p:stCondLst>
                                  <p:childTnLst>
                                    <p:animEffect transition="out" filter="fade">
                                      <p:cBhvr>
                                        <p:cTn id="553" dur="2000" tmFilter="0, 0; .2, .5; .8, .5; 1, 0"/>
                                        <p:tgtEl>
                                          <p:spTgt spid="482"/>
                                        </p:tgtEl>
                                      </p:cBhvr>
                                    </p:animEffect>
                                    <p:animScale>
                                      <p:cBhvr>
                                        <p:cTn id="554" dur="1000" autoRev="1" fill="hold"/>
                                        <p:tgtEl>
                                          <p:spTgt spid="482"/>
                                        </p:tgtEl>
                                      </p:cBhvr>
                                      <p:by x="105000" y="105000"/>
                                    </p:animScale>
                                  </p:childTnLst>
                                </p:cTn>
                              </p:par>
                              <p:par>
                                <p:cTn id="555" presetID="26" presetClass="emph" presetSubtype="0" dur="2000" repeatCount="indefinite" fill="hold" grpId="0" nodeType="withEffect">
                                  <p:stCondLst>
                                    <p:cond delay="3500"/>
                                  </p:stCondLst>
                                  <p:childTnLst>
                                    <p:animEffect transition="out" filter="fade">
                                      <p:cBhvr>
                                        <p:cTn id="556" dur="2000" tmFilter="0, 0; .2, .5; .8, .5; 1, 0"/>
                                        <p:tgtEl>
                                          <p:spTgt spid="483"/>
                                        </p:tgtEl>
                                      </p:cBhvr>
                                    </p:animEffect>
                                    <p:animScale>
                                      <p:cBhvr>
                                        <p:cTn id="557" dur="1000" autoRev="1" fill="hold"/>
                                        <p:tgtEl>
                                          <p:spTgt spid="483"/>
                                        </p:tgtEl>
                                      </p:cBhvr>
                                      <p:by x="105000" y="105000"/>
                                    </p:animScale>
                                  </p:childTnLst>
                                </p:cTn>
                              </p:par>
                              <p:par>
                                <p:cTn id="558" presetID="26" presetClass="emph" presetSubtype="0" dur="2000" repeatCount="indefinite" fill="hold" grpId="0" nodeType="withEffect">
                                  <p:stCondLst>
                                    <p:cond delay="3500"/>
                                  </p:stCondLst>
                                  <p:childTnLst>
                                    <p:animEffect transition="out" filter="fade">
                                      <p:cBhvr>
                                        <p:cTn id="559" dur="2000" tmFilter="0, 0; .2, .5; .8, .5; 1, 0"/>
                                        <p:tgtEl>
                                          <p:spTgt spid="484"/>
                                        </p:tgtEl>
                                      </p:cBhvr>
                                    </p:animEffect>
                                    <p:animScale>
                                      <p:cBhvr>
                                        <p:cTn id="560" dur="1000" autoRev="1" fill="hold"/>
                                        <p:tgtEl>
                                          <p:spTgt spid="484"/>
                                        </p:tgtEl>
                                      </p:cBhvr>
                                      <p:by x="105000" y="105000"/>
                                    </p:animScale>
                                  </p:childTnLst>
                                </p:cTn>
                              </p:par>
                              <p:par>
                                <p:cTn id="561" presetID="26" presetClass="emph" presetSubtype="0" dur="2000" repeatCount="indefinite" fill="hold" grpId="0" nodeType="withEffect">
                                  <p:stCondLst>
                                    <p:cond delay="3500"/>
                                  </p:stCondLst>
                                  <p:childTnLst>
                                    <p:animEffect transition="out" filter="fade">
                                      <p:cBhvr>
                                        <p:cTn id="562" dur="2000" tmFilter="0, 0; .2, .5; .8, .5; 1, 0"/>
                                        <p:tgtEl>
                                          <p:spTgt spid="485"/>
                                        </p:tgtEl>
                                      </p:cBhvr>
                                    </p:animEffect>
                                    <p:animScale>
                                      <p:cBhvr>
                                        <p:cTn id="563" dur="1000" autoRev="1" fill="hold"/>
                                        <p:tgtEl>
                                          <p:spTgt spid="485"/>
                                        </p:tgtEl>
                                      </p:cBhvr>
                                      <p:by x="105000" y="105000"/>
                                    </p:animScale>
                                  </p:childTnLst>
                                </p:cTn>
                              </p:par>
                              <p:par>
                                <p:cTn id="564" presetID="26" presetClass="emph" presetSubtype="0" dur="2000" repeatCount="indefinite" fill="hold" grpId="0" nodeType="withEffect">
                                  <p:stCondLst>
                                    <p:cond delay="3500"/>
                                  </p:stCondLst>
                                  <p:childTnLst>
                                    <p:animEffect transition="out" filter="fade">
                                      <p:cBhvr>
                                        <p:cTn id="565" dur="2000" tmFilter="0, 0; .2, .5; .8, .5; 1, 0"/>
                                        <p:tgtEl>
                                          <p:spTgt spid="486"/>
                                        </p:tgtEl>
                                      </p:cBhvr>
                                    </p:animEffect>
                                    <p:animScale>
                                      <p:cBhvr>
                                        <p:cTn id="566" dur="1000" autoRev="1" fill="hold"/>
                                        <p:tgtEl>
                                          <p:spTgt spid="486"/>
                                        </p:tgtEl>
                                      </p:cBhvr>
                                      <p:by x="105000" y="105000"/>
                                    </p:animScale>
                                  </p:childTnLst>
                                </p:cTn>
                              </p:par>
                              <p:par>
                                <p:cTn id="567" presetID="26" presetClass="emph" presetSubtype="0" dur="2000" repeatCount="indefinite" fill="hold" grpId="0" nodeType="withEffect">
                                  <p:stCondLst>
                                    <p:cond delay="3500"/>
                                  </p:stCondLst>
                                  <p:childTnLst>
                                    <p:animEffect transition="out" filter="fade">
                                      <p:cBhvr>
                                        <p:cTn id="568" dur="2000" tmFilter="0, 0; .2, .5; .8, .5; 1, 0"/>
                                        <p:tgtEl>
                                          <p:spTgt spid="487"/>
                                        </p:tgtEl>
                                      </p:cBhvr>
                                    </p:animEffect>
                                    <p:animScale>
                                      <p:cBhvr>
                                        <p:cTn id="569" dur="1000" autoRev="1" fill="hold"/>
                                        <p:tgtEl>
                                          <p:spTgt spid="487"/>
                                        </p:tgtEl>
                                      </p:cBhvr>
                                      <p:by x="105000" y="105000"/>
                                    </p:animScale>
                                  </p:childTnLst>
                                </p:cTn>
                              </p:par>
                              <p:par>
                                <p:cTn id="570" presetID="26" presetClass="emph" presetSubtype="0" dur="2000" repeatCount="indefinite" fill="hold" grpId="0" nodeType="withEffect">
                                  <p:stCondLst>
                                    <p:cond delay="3500"/>
                                  </p:stCondLst>
                                  <p:childTnLst>
                                    <p:animEffect transition="out" filter="fade">
                                      <p:cBhvr>
                                        <p:cTn id="571" dur="2000" tmFilter="0, 0; .2, .5; .8, .5; 1, 0"/>
                                        <p:tgtEl>
                                          <p:spTgt spid="488"/>
                                        </p:tgtEl>
                                      </p:cBhvr>
                                    </p:animEffect>
                                    <p:animScale>
                                      <p:cBhvr>
                                        <p:cTn id="572" dur="1000" autoRev="1" fill="hold"/>
                                        <p:tgtEl>
                                          <p:spTgt spid="488"/>
                                        </p:tgtEl>
                                      </p:cBhvr>
                                      <p:by x="105000" y="105000"/>
                                    </p:animScale>
                                  </p:childTnLst>
                                </p:cTn>
                              </p:par>
                              <p:par>
                                <p:cTn id="573" presetID="26" presetClass="emph" presetSubtype="0" dur="2000" repeatCount="indefinite" fill="hold" grpId="0" nodeType="withEffect">
                                  <p:stCondLst>
                                    <p:cond delay="3500"/>
                                  </p:stCondLst>
                                  <p:childTnLst>
                                    <p:animEffect transition="out" filter="fade">
                                      <p:cBhvr>
                                        <p:cTn id="574" dur="2000" tmFilter="0, 0; .2, .5; .8, .5; 1, 0"/>
                                        <p:tgtEl>
                                          <p:spTgt spid="489"/>
                                        </p:tgtEl>
                                      </p:cBhvr>
                                    </p:animEffect>
                                    <p:animScale>
                                      <p:cBhvr>
                                        <p:cTn id="575" dur="1000" autoRev="1" fill="hold"/>
                                        <p:tgtEl>
                                          <p:spTgt spid="489"/>
                                        </p:tgtEl>
                                      </p:cBhvr>
                                      <p:by x="105000" y="105000"/>
                                    </p:animScale>
                                  </p:childTnLst>
                                </p:cTn>
                              </p:par>
                              <p:par>
                                <p:cTn id="576" presetID="26" presetClass="emph" presetSubtype="0" dur="2000" repeatCount="indefinite" fill="hold" grpId="0" nodeType="withEffect">
                                  <p:stCondLst>
                                    <p:cond delay="3500"/>
                                  </p:stCondLst>
                                  <p:childTnLst>
                                    <p:animEffect transition="out" filter="fade">
                                      <p:cBhvr>
                                        <p:cTn id="577" dur="2000" tmFilter="0, 0; .2, .5; .8, .5; 1, 0"/>
                                        <p:tgtEl>
                                          <p:spTgt spid="490"/>
                                        </p:tgtEl>
                                      </p:cBhvr>
                                    </p:animEffect>
                                    <p:animScale>
                                      <p:cBhvr>
                                        <p:cTn id="578" dur="1000" autoRev="1" fill="hold"/>
                                        <p:tgtEl>
                                          <p:spTgt spid="490"/>
                                        </p:tgtEl>
                                      </p:cBhvr>
                                      <p:by x="105000" y="105000"/>
                                    </p:animScale>
                                  </p:childTnLst>
                                </p:cTn>
                              </p:par>
                              <p:par>
                                <p:cTn id="579" presetID="26" presetClass="emph" presetSubtype="0" dur="2000" repeatCount="indefinite" fill="hold" grpId="0" nodeType="withEffect">
                                  <p:stCondLst>
                                    <p:cond delay="3500"/>
                                  </p:stCondLst>
                                  <p:childTnLst>
                                    <p:animEffect transition="out" filter="fade">
                                      <p:cBhvr>
                                        <p:cTn id="580" dur="2000" tmFilter="0, 0; .2, .5; .8, .5; 1, 0"/>
                                        <p:tgtEl>
                                          <p:spTgt spid="491"/>
                                        </p:tgtEl>
                                      </p:cBhvr>
                                    </p:animEffect>
                                    <p:animScale>
                                      <p:cBhvr>
                                        <p:cTn id="581" dur="1000" autoRev="1" fill="hold"/>
                                        <p:tgtEl>
                                          <p:spTgt spid="491"/>
                                        </p:tgtEl>
                                      </p:cBhvr>
                                      <p:by x="105000" y="105000"/>
                                    </p:animScale>
                                  </p:childTnLst>
                                </p:cTn>
                              </p:par>
                              <p:par>
                                <p:cTn id="582" presetID="26" presetClass="emph" presetSubtype="0" dur="2000" repeatCount="indefinite" fill="hold" grpId="0" nodeType="withEffect">
                                  <p:stCondLst>
                                    <p:cond delay="3500"/>
                                  </p:stCondLst>
                                  <p:childTnLst>
                                    <p:animEffect transition="out" filter="fade">
                                      <p:cBhvr>
                                        <p:cTn id="583" dur="2000" tmFilter="0, 0; .2, .5; .8, .5; 1, 0"/>
                                        <p:tgtEl>
                                          <p:spTgt spid="492"/>
                                        </p:tgtEl>
                                      </p:cBhvr>
                                    </p:animEffect>
                                    <p:animScale>
                                      <p:cBhvr>
                                        <p:cTn id="584" dur="1000" autoRev="1" fill="hold"/>
                                        <p:tgtEl>
                                          <p:spTgt spid="492"/>
                                        </p:tgtEl>
                                      </p:cBhvr>
                                      <p:by x="105000" y="105000"/>
                                    </p:animScale>
                                  </p:childTnLst>
                                </p:cTn>
                              </p:par>
                              <p:par>
                                <p:cTn id="585" presetID="26" presetClass="emph" presetSubtype="0" dur="2000" repeatCount="indefinite" fill="hold" grpId="0" nodeType="withEffect">
                                  <p:stCondLst>
                                    <p:cond delay="3500"/>
                                  </p:stCondLst>
                                  <p:childTnLst>
                                    <p:animEffect transition="out" filter="fade">
                                      <p:cBhvr>
                                        <p:cTn id="586" dur="2000" tmFilter="0, 0; .2, .5; .8, .5; 1, 0"/>
                                        <p:tgtEl>
                                          <p:spTgt spid="493"/>
                                        </p:tgtEl>
                                      </p:cBhvr>
                                    </p:animEffect>
                                    <p:animScale>
                                      <p:cBhvr>
                                        <p:cTn id="587" dur="1000" autoRev="1" fill="hold"/>
                                        <p:tgtEl>
                                          <p:spTgt spid="493"/>
                                        </p:tgtEl>
                                      </p:cBhvr>
                                      <p:by x="105000" y="105000"/>
                                    </p:animScale>
                                  </p:childTnLst>
                                </p:cTn>
                              </p:par>
                              <p:par>
                                <p:cTn id="588" presetID="26" presetClass="emph" presetSubtype="0" dur="2000" repeatCount="indefinite" fill="hold" grpId="0" nodeType="withEffect">
                                  <p:stCondLst>
                                    <p:cond delay="3750"/>
                                  </p:stCondLst>
                                  <p:childTnLst>
                                    <p:animEffect transition="out" filter="fade">
                                      <p:cBhvr>
                                        <p:cTn id="589" dur="2000" tmFilter="0, 0; .2, .5; .8, .5; 1, 0"/>
                                        <p:tgtEl>
                                          <p:spTgt spid="297"/>
                                        </p:tgtEl>
                                      </p:cBhvr>
                                    </p:animEffect>
                                    <p:animScale>
                                      <p:cBhvr>
                                        <p:cTn id="590" dur="1000" autoRev="1" fill="hold"/>
                                        <p:tgtEl>
                                          <p:spTgt spid="297"/>
                                        </p:tgtEl>
                                      </p:cBhvr>
                                      <p:by x="105000" y="105000"/>
                                    </p:animScale>
                                  </p:childTnLst>
                                </p:cTn>
                              </p:par>
                              <p:par>
                                <p:cTn id="591" presetID="26" presetClass="emph" presetSubtype="0" dur="2000" repeatCount="indefinite" fill="hold" grpId="0" nodeType="withEffect">
                                  <p:stCondLst>
                                    <p:cond delay="3750"/>
                                  </p:stCondLst>
                                  <p:childTnLst>
                                    <p:animEffect transition="out" filter="fade">
                                      <p:cBhvr>
                                        <p:cTn id="592" dur="2000" tmFilter="0, 0; .2, .5; .8, .5; 1, 0"/>
                                        <p:tgtEl>
                                          <p:spTgt spid="298"/>
                                        </p:tgtEl>
                                      </p:cBhvr>
                                    </p:animEffect>
                                    <p:animScale>
                                      <p:cBhvr>
                                        <p:cTn id="593" dur="1000" autoRev="1" fill="hold"/>
                                        <p:tgtEl>
                                          <p:spTgt spid="298"/>
                                        </p:tgtEl>
                                      </p:cBhvr>
                                      <p:by x="105000" y="105000"/>
                                    </p:animScale>
                                  </p:childTnLst>
                                </p:cTn>
                              </p:par>
                              <p:par>
                                <p:cTn id="594" presetID="26" presetClass="emph" presetSubtype="0" dur="2000" repeatCount="indefinite" fill="hold" grpId="0" nodeType="withEffect">
                                  <p:stCondLst>
                                    <p:cond delay="3750"/>
                                  </p:stCondLst>
                                  <p:childTnLst>
                                    <p:animEffect transition="out" filter="fade">
                                      <p:cBhvr>
                                        <p:cTn id="595" dur="2000" tmFilter="0, 0; .2, .5; .8, .5; 1, 0"/>
                                        <p:tgtEl>
                                          <p:spTgt spid="299"/>
                                        </p:tgtEl>
                                      </p:cBhvr>
                                    </p:animEffect>
                                    <p:animScale>
                                      <p:cBhvr>
                                        <p:cTn id="596" dur="1000" autoRev="1" fill="hold"/>
                                        <p:tgtEl>
                                          <p:spTgt spid="299"/>
                                        </p:tgtEl>
                                      </p:cBhvr>
                                      <p:by x="105000" y="105000"/>
                                    </p:animScale>
                                  </p:childTnLst>
                                </p:cTn>
                              </p:par>
                              <p:par>
                                <p:cTn id="597" presetID="26" presetClass="emph" presetSubtype="0" dur="2000" repeatCount="indefinite" fill="hold" grpId="0" nodeType="withEffect">
                                  <p:stCondLst>
                                    <p:cond delay="3750"/>
                                  </p:stCondLst>
                                  <p:childTnLst>
                                    <p:animEffect transition="out" filter="fade">
                                      <p:cBhvr>
                                        <p:cTn id="598" dur="2000" tmFilter="0, 0; .2, .5; .8, .5; 1, 0"/>
                                        <p:tgtEl>
                                          <p:spTgt spid="300"/>
                                        </p:tgtEl>
                                      </p:cBhvr>
                                    </p:animEffect>
                                    <p:animScale>
                                      <p:cBhvr>
                                        <p:cTn id="599" dur="1000" autoRev="1" fill="hold"/>
                                        <p:tgtEl>
                                          <p:spTgt spid="300"/>
                                        </p:tgtEl>
                                      </p:cBhvr>
                                      <p:by x="105000" y="105000"/>
                                    </p:animScale>
                                  </p:childTnLst>
                                </p:cTn>
                              </p:par>
                              <p:par>
                                <p:cTn id="600" presetID="26" presetClass="emph" presetSubtype="0" dur="2000" repeatCount="indefinite" fill="hold" grpId="0" nodeType="withEffect">
                                  <p:stCondLst>
                                    <p:cond delay="3750"/>
                                  </p:stCondLst>
                                  <p:childTnLst>
                                    <p:animEffect transition="out" filter="fade">
                                      <p:cBhvr>
                                        <p:cTn id="601" dur="2000" tmFilter="0, 0; .2, .5; .8, .5; 1, 0"/>
                                        <p:tgtEl>
                                          <p:spTgt spid="301"/>
                                        </p:tgtEl>
                                      </p:cBhvr>
                                    </p:animEffect>
                                    <p:animScale>
                                      <p:cBhvr>
                                        <p:cTn id="602" dur="1000" autoRev="1" fill="hold"/>
                                        <p:tgtEl>
                                          <p:spTgt spid="301"/>
                                        </p:tgtEl>
                                      </p:cBhvr>
                                      <p:by x="105000" y="105000"/>
                                    </p:animScale>
                                  </p:childTnLst>
                                </p:cTn>
                              </p:par>
                              <p:par>
                                <p:cTn id="603" presetID="26" presetClass="emph" presetSubtype="0" dur="2000" repeatCount="indefinite" fill="hold" grpId="0" nodeType="withEffect">
                                  <p:stCondLst>
                                    <p:cond delay="3750"/>
                                  </p:stCondLst>
                                  <p:childTnLst>
                                    <p:animEffect transition="out" filter="fade">
                                      <p:cBhvr>
                                        <p:cTn id="604" dur="2000" tmFilter="0, 0; .2, .5; .8, .5; 1, 0"/>
                                        <p:tgtEl>
                                          <p:spTgt spid="302"/>
                                        </p:tgtEl>
                                      </p:cBhvr>
                                    </p:animEffect>
                                    <p:animScale>
                                      <p:cBhvr>
                                        <p:cTn id="605" dur="1000" autoRev="1" fill="hold"/>
                                        <p:tgtEl>
                                          <p:spTgt spid="302"/>
                                        </p:tgtEl>
                                      </p:cBhvr>
                                      <p:by x="105000" y="105000"/>
                                    </p:animScale>
                                  </p:childTnLst>
                                </p:cTn>
                              </p:par>
                              <p:par>
                                <p:cTn id="606" presetID="26" presetClass="emph" presetSubtype="0" dur="2000" repeatCount="indefinite" fill="hold" grpId="0" nodeType="withEffect">
                                  <p:stCondLst>
                                    <p:cond delay="3750"/>
                                  </p:stCondLst>
                                  <p:childTnLst>
                                    <p:animEffect transition="out" filter="fade">
                                      <p:cBhvr>
                                        <p:cTn id="607" dur="2000" tmFilter="0, 0; .2, .5; .8, .5; 1, 0"/>
                                        <p:tgtEl>
                                          <p:spTgt spid="303"/>
                                        </p:tgtEl>
                                      </p:cBhvr>
                                    </p:animEffect>
                                    <p:animScale>
                                      <p:cBhvr>
                                        <p:cTn id="608" dur="1000" autoRev="1" fill="hold"/>
                                        <p:tgtEl>
                                          <p:spTgt spid="303"/>
                                        </p:tgtEl>
                                      </p:cBhvr>
                                      <p:by x="105000" y="105000"/>
                                    </p:animScale>
                                  </p:childTnLst>
                                </p:cTn>
                              </p:par>
                              <p:par>
                                <p:cTn id="609" presetID="26" presetClass="emph" presetSubtype="0" dur="2000" repeatCount="indefinite" fill="hold" grpId="0" nodeType="withEffect">
                                  <p:stCondLst>
                                    <p:cond delay="3750"/>
                                  </p:stCondLst>
                                  <p:childTnLst>
                                    <p:animEffect transition="out" filter="fade">
                                      <p:cBhvr>
                                        <p:cTn id="610" dur="2000" tmFilter="0, 0; .2, .5; .8, .5; 1, 0"/>
                                        <p:tgtEl>
                                          <p:spTgt spid="304"/>
                                        </p:tgtEl>
                                      </p:cBhvr>
                                    </p:animEffect>
                                    <p:animScale>
                                      <p:cBhvr>
                                        <p:cTn id="611" dur="1000" autoRev="1" fill="hold"/>
                                        <p:tgtEl>
                                          <p:spTgt spid="304"/>
                                        </p:tgtEl>
                                      </p:cBhvr>
                                      <p:by x="105000" y="105000"/>
                                    </p:animScale>
                                  </p:childTnLst>
                                </p:cTn>
                              </p:par>
                              <p:par>
                                <p:cTn id="612" presetID="26" presetClass="emph" presetSubtype="0" dur="2000" repeatCount="indefinite" fill="hold" grpId="0" nodeType="withEffect">
                                  <p:stCondLst>
                                    <p:cond delay="3750"/>
                                  </p:stCondLst>
                                  <p:childTnLst>
                                    <p:animEffect transition="out" filter="fade">
                                      <p:cBhvr>
                                        <p:cTn id="613" dur="2000" tmFilter="0, 0; .2, .5; .8, .5; 1, 0"/>
                                        <p:tgtEl>
                                          <p:spTgt spid="305"/>
                                        </p:tgtEl>
                                      </p:cBhvr>
                                    </p:animEffect>
                                    <p:animScale>
                                      <p:cBhvr>
                                        <p:cTn id="614" dur="1000" autoRev="1" fill="hold"/>
                                        <p:tgtEl>
                                          <p:spTgt spid="305"/>
                                        </p:tgtEl>
                                      </p:cBhvr>
                                      <p:by x="105000" y="105000"/>
                                    </p:animScale>
                                  </p:childTnLst>
                                </p:cTn>
                              </p:par>
                              <p:par>
                                <p:cTn id="615" presetID="26" presetClass="emph" presetSubtype="0" dur="2000" repeatCount="indefinite" fill="hold" grpId="0" nodeType="withEffect">
                                  <p:stCondLst>
                                    <p:cond delay="3750"/>
                                  </p:stCondLst>
                                  <p:childTnLst>
                                    <p:animEffect transition="out" filter="fade">
                                      <p:cBhvr>
                                        <p:cTn id="616" dur="2000" tmFilter="0, 0; .2, .5; .8, .5; 1, 0"/>
                                        <p:tgtEl>
                                          <p:spTgt spid="306"/>
                                        </p:tgtEl>
                                      </p:cBhvr>
                                    </p:animEffect>
                                    <p:animScale>
                                      <p:cBhvr>
                                        <p:cTn id="617" dur="1000" autoRev="1" fill="hold"/>
                                        <p:tgtEl>
                                          <p:spTgt spid="306"/>
                                        </p:tgtEl>
                                      </p:cBhvr>
                                      <p:by x="105000" y="105000"/>
                                    </p:animScale>
                                  </p:childTnLst>
                                </p:cTn>
                              </p:par>
                              <p:par>
                                <p:cTn id="618" presetID="26" presetClass="emph" presetSubtype="0" dur="2000" repeatCount="indefinite" fill="hold" grpId="0" nodeType="withEffect">
                                  <p:stCondLst>
                                    <p:cond delay="3750"/>
                                  </p:stCondLst>
                                  <p:childTnLst>
                                    <p:animEffect transition="out" filter="fade">
                                      <p:cBhvr>
                                        <p:cTn id="619" dur="2000" tmFilter="0, 0; .2, .5; .8, .5; 1, 0"/>
                                        <p:tgtEl>
                                          <p:spTgt spid="307"/>
                                        </p:tgtEl>
                                      </p:cBhvr>
                                    </p:animEffect>
                                    <p:animScale>
                                      <p:cBhvr>
                                        <p:cTn id="620" dur="1000" autoRev="1" fill="hold"/>
                                        <p:tgtEl>
                                          <p:spTgt spid="307"/>
                                        </p:tgtEl>
                                      </p:cBhvr>
                                      <p:by x="105000" y="105000"/>
                                    </p:animScale>
                                  </p:childTnLst>
                                </p:cTn>
                              </p:par>
                              <p:par>
                                <p:cTn id="621" presetID="26" presetClass="emph" presetSubtype="0" dur="2000" repeatCount="indefinite" fill="hold" grpId="0" nodeType="withEffect">
                                  <p:stCondLst>
                                    <p:cond delay="3750"/>
                                  </p:stCondLst>
                                  <p:childTnLst>
                                    <p:animEffect transition="out" filter="fade">
                                      <p:cBhvr>
                                        <p:cTn id="622" dur="2000" tmFilter="0, 0; .2, .5; .8, .5; 1, 0"/>
                                        <p:tgtEl>
                                          <p:spTgt spid="308"/>
                                        </p:tgtEl>
                                      </p:cBhvr>
                                    </p:animEffect>
                                    <p:animScale>
                                      <p:cBhvr>
                                        <p:cTn id="623" dur="1000" autoRev="1" fill="hold"/>
                                        <p:tgtEl>
                                          <p:spTgt spid="308"/>
                                        </p:tgtEl>
                                      </p:cBhvr>
                                      <p:by x="105000" y="105000"/>
                                    </p:animScale>
                                  </p:childTnLst>
                                </p:cTn>
                              </p:par>
                              <p:par>
                                <p:cTn id="624" presetID="26" presetClass="emph" presetSubtype="0" dur="2000" repeatCount="indefinite" fill="hold" grpId="0" nodeType="withEffect">
                                  <p:stCondLst>
                                    <p:cond delay="4000"/>
                                  </p:stCondLst>
                                  <p:childTnLst>
                                    <p:animEffect transition="out" filter="fade">
                                      <p:cBhvr>
                                        <p:cTn id="625" dur="2000" tmFilter="0, 0; .2, .5; .8, .5; 1, 0"/>
                                        <p:tgtEl>
                                          <p:spTgt spid="287"/>
                                        </p:tgtEl>
                                      </p:cBhvr>
                                    </p:animEffect>
                                    <p:animScale>
                                      <p:cBhvr>
                                        <p:cTn id="626" dur="1000" autoRev="1" fill="hold"/>
                                        <p:tgtEl>
                                          <p:spTgt spid="287"/>
                                        </p:tgtEl>
                                      </p:cBhvr>
                                      <p:by x="105000" y="105000"/>
                                    </p:animScale>
                                  </p:childTnLst>
                                </p:cTn>
                              </p:par>
                              <p:par>
                                <p:cTn id="627" presetID="26" presetClass="emph" presetSubtype="0" dur="2000" repeatCount="indefinite" fill="hold" grpId="0" nodeType="withEffect">
                                  <p:stCondLst>
                                    <p:cond delay="4000"/>
                                  </p:stCondLst>
                                  <p:childTnLst>
                                    <p:animEffect transition="out" filter="fade">
                                      <p:cBhvr>
                                        <p:cTn id="628" dur="2000" tmFilter="0, 0; .2, .5; .8, .5; 1, 0"/>
                                        <p:tgtEl>
                                          <p:spTgt spid="288"/>
                                        </p:tgtEl>
                                      </p:cBhvr>
                                    </p:animEffect>
                                    <p:animScale>
                                      <p:cBhvr>
                                        <p:cTn id="629" dur="1000" autoRev="1" fill="hold"/>
                                        <p:tgtEl>
                                          <p:spTgt spid="288"/>
                                        </p:tgtEl>
                                      </p:cBhvr>
                                      <p:by x="105000" y="105000"/>
                                    </p:animScale>
                                  </p:childTnLst>
                                </p:cTn>
                              </p:par>
                              <p:par>
                                <p:cTn id="630" presetID="26" presetClass="emph" presetSubtype="0" dur="2000" repeatCount="indefinite" fill="hold" grpId="0" nodeType="withEffect">
                                  <p:stCondLst>
                                    <p:cond delay="4000"/>
                                  </p:stCondLst>
                                  <p:childTnLst>
                                    <p:animEffect transition="out" filter="fade">
                                      <p:cBhvr>
                                        <p:cTn id="631" dur="2000" tmFilter="0, 0; .2, .5; .8, .5; 1, 0"/>
                                        <p:tgtEl>
                                          <p:spTgt spid="289"/>
                                        </p:tgtEl>
                                      </p:cBhvr>
                                    </p:animEffect>
                                    <p:animScale>
                                      <p:cBhvr>
                                        <p:cTn id="632" dur="1000" autoRev="1" fill="hold"/>
                                        <p:tgtEl>
                                          <p:spTgt spid="289"/>
                                        </p:tgtEl>
                                      </p:cBhvr>
                                      <p:by x="105000" y="105000"/>
                                    </p:animScale>
                                  </p:childTnLst>
                                </p:cTn>
                              </p:par>
                              <p:par>
                                <p:cTn id="633" presetID="26" presetClass="emph" presetSubtype="0" dur="2000" repeatCount="indefinite" fill="hold" grpId="0" nodeType="withEffect">
                                  <p:stCondLst>
                                    <p:cond delay="4000"/>
                                  </p:stCondLst>
                                  <p:childTnLst>
                                    <p:animEffect transition="out" filter="fade">
                                      <p:cBhvr>
                                        <p:cTn id="634" dur="2000" tmFilter="0, 0; .2, .5; .8, .5; 1, 0"/>
                                        <p:tgtEl>
                                          <p:spTgt spid="290"/>
                                        </p:tgtEl>
                                      </p:cBhvr>
                                    </p:animEffect>
                                    <p:animScale>
                                      <p:cBhvr>
                                        <p:cTn id="635" dur="1000" autoRev="1" fill="hold"/>
                                        <p:tgtEl>
                                          <p:spTgt spid="290"/>
                                        </p:tgtEl>
                                      </p:cBhvr>
                                      <p:by x="105000" y="105000"/>
                                    </p:animScale>
                                  </p:childTnLst>
                                </p:cTn>
                              </p:par>
                              <p:par>
                                <p:cTn id="636" presetID="26" presetClass="emph" presetSubtype="0" dur="2000" repeatCount="indefinite" fill="hold" grpId="0" nodeType="withEffect">
                                  <p:stCondLst>
                                    <p:cond delay="4000"/>
                                  </p:stCondLst>
                                  <p:childTnLst>
                                    <p:animEffect transition="out" filter="fade">
                                      <p:cBhvr>
                                        <p:cTn id="637" dur="2000" tmFilter="0, 0; .2, .5; .8, .5; 1, 0"/>
                                        <p:tgtEl>
                                          <p:spTgt spid="291"/>
                                        </p:tgtEl>
                                      </p:cBhvr>
                                    </p:animEffect>
                                    <p:animScale>
                                      <p:cBhvr>
                                        <p:cTn id="638" dur="1000" autoRev="1" fill="hold"/>
                                        <p:tgtEl>
                                          <p:spTgt spid="291"/>
                                        </p:tgtEl>
                                      </p:cBhvr>
                                      <p:by x="105000" y="105000"/>
                                    </p:animScale>
                                  </p:childTnLst>
                                </p:cTn>
                              </p:par>
                              <p:par>
                                <p:cTn id="639" presetID="26" presetClass="emph" presetSubtype="0" dur="2000" repeatCount="indefinite" fill="hold" grpId="0" nodeType="withEffect">
                                  <p:stCondLst>
                                    <p:cond delay="4000"/>
                                  </p:stCondLst>
                                  <p:childTnLst>
                                    <p:animEffect transition="out" filter="fade">
                                      <p:cBhvr>
                                        <p:cTn id="640" dur="2000" tmFilter="0, 0; .2, .5; .8, .5; 1, 0"/>
                                        <p:tgtEl>
                                          <p:spTgt spid="292"/>
                                        </p:tgtEl>
                                      </p:cBhvr>
                                    </p:animEffect>
                                    <p:animScale>
                                      <p:cBhvr>
                                        <p:cTn id="641" dur="1000" autoRev="1" fill="hold"/>
                                        <p:tgtEl>
                                          <p:spTgt spid="292"/>
                                        </p:tgtEl>
                                      </p:cBhvr>
                                      <p:by x="105000" y="105000"/>
                                    </p:animScale>
                                  </p:childTnLst>
                                </p:cTn>
                              </p:par>
                              <p:par>
                                <p:cTn id="642" presetID="26" presetClass="emph" presetSubtype="0" dur="2000" repeatCount="indefinite" fill="hold" grpId="0" nodeType="withEffect">
                                  <p:stCondLst>
                                    <p:cond delay="4000"/>
                                  </p:stCondLst>
                                  <p:childTnLst>
                                    <p:animEffect transition="out" filter="fade">
                                      <p:cBhvr>
                                        <p:cTn id="643" dur="2000" tmFilter="0, 0; .2, .5; .8, .5; 1, 0"/>
                                        <p:tgtEl>
                                          <p:spTgt spid="293"/>
                                        </p:tgtEl>
                                      </p:cBhvr>
                                    </p:animEffect>
                                    <p:animScale>
                                      <p:cBhvr>
                                        <p:cTn id="644" dur="1000" autoRev="1" fill="hold"/>
                                        <p:tgtEl>
                                          <p:spTgt spid="293"/>
                                        </p:tgtEl>
                                      </p:cBhvr>
                                      <p:by x="105000" y="105000"/>
                                    </p:animScale>
                                  </p:childTnLst>
                                </p:cTn>
                              </p:par>
                              <p:par>
                                <p:cTn id="645" presetID="26" presetClass="emph" presetSubtype="0" dur="2000" repeatCount="indefinite" fill="hold" grpId="0" nodeType="withEffect">
                                  <p:stCondLst>
                                    <p:cond delay="4000"/>
                                  </p:stCondLst>
                                  <p:childTnLst>
                                    <p:animEffect transition="out" filter="fade">
                                      <p:cBhvr>
                                        <p:cTn id="646" dur="2000" tmFilter="0, 0; .2, .5; .8, .5; 1, 0"/>
                                        <p:tgtEl>
                                          <p:spTgt spid="294"/>
                                        </p:tgtEl>
                                      </p:cBhvr>
                                    </p:animEffect>
                                    <p:animScale>
                                      <p:cBhvr>
                                        <p:cTn id="647" dur="1000" autoRev="1" fill="hold"/>
                                        <p:tgtEl>
                                          <p:spTgt spid="294"/>
                                        </p:tgtEl>
                                      </p:cBhvr>
                                      <p:by x="105000" y="105000"/>
                                    </p:animScale>
                                  </p:childTnLst>
                                </p:cTn>
                              </p:par>
                              <p:par>
                                <p:cTn id="648" presetID="26" presetClass="emph" presetSubtype="0" dur="2000" repeatCount="indefinite" fill="hold" grpId="0" nodeType="withEffect">
                                  <p:stCondLst>
                                    <p:cond delay="4000"/>
                                  </p:stCondLst>
                                  <p:childTnLst>
                                    <p:animEffect transition="out" filter="fade">
                                      <p:cBhvr>
                                        <p:cTn id="649" dur="2000" tmFilter="0, 0; .2, .5; .8, .5; 1, 0"/>
                                        <p:tgtEl>
                                          <p:spTgt spid="295"/>
                                        </p:tgtEl>
                                      </p:cBhvr>
                                    </p:animEffect>
                                    <p:animScale>
                                      <p:cBhvr>
                                        <p:cTn id="650" dur="1000" autoRev="1" fill="hold"/>
                                        <p:tgtEl>
                                          <p:spTgt spid="295"/>
                                        </p:tgtEl>
                                      </p:cBhvr>
                                      <p:by x="105000" y="105000"/>
                                    </p:animScale>
                                  </p:childTnLst>
                                </p:cTn>
                              </p:par>
                              <p:par>
                                <p:cTn id="651" presetID="26" presetClass="emph" presetSubtype="0" dur="2000" repeatCount="indefinite" fill="hold" grpId="0" nodeType="withEffect">
                                  <p:stCondLst>
                                    <p:cond delay="4000"/>
                                  </p:stCondLst>
                                  <p:childTnLst>
                                    <p:animEffect transition="out" filter="fade">
                                      <p:cBhvr>
                                        <p:cTn id="652" dur="2000" tmFilter="0, 0; .2, .5; .8, .5; 1, 0"/>
                                        <p:tgtEl>
                                          <p:spTgt spid="296"/>
                                        </p:tgtEl>
                                      </p:cBhvr>
                                    </p:animEffect>
                                    <p:animScale>
                                      <p:cBhvr>
                                        <p:cTn id="653" dur="1000" autoRev="1" fill="hold"/>
                                        <p:tgtEl>
                                          <p:spTgt spid="296"/>
                                        </p:tgtEl>
                                      </p:cBhvr>
                                      <p:by x="105000" y="105000"/>
                                    </p:animScale>
                                  </p:childTnLst>
                                </p:cTn>
                              </p:par>
                              <p:par>
                                <p:cTn id="654" presetID="26" presetClass="emph" presetSubtype="0" dur="2000" repeatCount="indefinite" fill="hold" grpId="0" nodeType="withEffect">
                                  <p:stCondLst>
                                    <p:cond delay="4250"/>
                                  </p:stCondLst>
                                  <p:childTnLst>
                                    <p:animEffect transition="out" filter="fade">
                                      <p:cBhvr>
                                        <p:cTn id="655" dur="2000" tmFilter="0, 0; .2, .5; .8, .5; 1, 0"/>
                                        <p:tgtEl>
                                          <p:spTgt spid="279"/>
                                        </p:tgtEl>
                                      </p:cBhvr>
                                    </p:animEffect>
                                    <p:animScale>
                                      <p:cBhvr>
                                        <p:cTn id="656" dur="1000" autoRev="1" fill="hold"/>
                                        <p:tgtEl>
                                          <p:spTgt spid="279"/>
                                        </p:tgtEl>
                                      </p:cBhvr>
                                      <p:by x="105000" y="105000"/>
                                    </p:animScale>
                                  </p:childTnLst>
                                </p:cTn>
                              </p:par>
                              <p:par>
                                <p:cTn id="657" presetID="26" presetClass="emph" presetSubtype="0" dur="2000" repeatCount="indefinite" fill="hold" grpId="0" nodeType="withEffect">
                                  <p:stCondLst>
                                    <p:cond delay="4250"/>
                                  </p:stCondLst>
                                  <p:childTnLst>
                                    <p:animEffect transition="out" filter="fade">
                                      <p:cBhvr>
                                        <p:cTn id="658" dur="2000" tmFilter="0, 0; .2, .5; .8, .5; 1, 0"/>
                                        <p:tgtEl>
                                          <p:spTgt spid="280"/>
                                        </p:tgtEl>
                                      </p:cBhvr>
                                    </p:animEffect>
                                    <p:animScale>
                                      <p:cBhvr>
                                        <p:cTn id="659" dur="1000" autoRev="1" fill="hold"/>
                                        <p:tgtEl>
                                          <p:spTgt spid="280"/>
                                        </p:tgtEl>
                                      </p:cBhvr>
                                      <p:by x="105000" y="105000"/>
                                    </p:animScale>
                                  </p:childTnLst>
                                </p:cTn>
                              </p:par>
                              <p:par>
                                <p:cTn id="660" presetID="26" presetClass="emph" presetSubtype="0" dur="2000" repeatCount="indefinite" fill="hold" grpId="0" nodeType="withEffect">
                                  <p:stCondLst>
                                    <p:cond delay="4250"/>
                                  </p:stCondLst>
                                  <p:childTnLst>
                                    <p:animEffect transition="out" filter="fade">
                                      <p:cBhvr>
                                        <p:cTn id="661" dur="2000" tmFilter="0, 0; .2, .5; .8, .5; 1, 0"/>
                                        <p:tgtEl>
                                          <p:spTgt spid="281"/>
                                        </p:tgtEl>
                                      </p:cBhvr>
                                    </p:animEffect>
                                    <p:animScale>
                                      <p:cBhvr>
                                        <p:cTn id="662" dur="1000" autoRev="1" fill="hold"/>
                                        <p:tgtEl>
                                          <p:spTgt spid="281"/>
                                        </p:tgtEl>
                                      </p:cBhvr>
                                      <p:by x="105000" y="105000"/>
                                    </p:animScale>
                                  </p:childTnLst>
                                </p:cTn>
                              </p:par>
                              <p:par>
                                <p:cTn id="663" presetID="26" presetClass="emph" presetSubtype="0" dur="2000" repeatCount="indefinite" fill="hold" grpId="0" nodeType="withEffect">
                                  <p:stCondLst>
                                    <p:cond delay="4250"/>
                                  </p:stCondLst>
                                  <p:childTnLst>
                                    <p:animEffect transition="out" filter="fade">
                                      <p:cBhvr>
                                        <p:cTn id="664" dur="2000" tmFilter="0, 0; .2, .5; .8, .5; 1, 0"/>
                                        <p:tgtEl>
                                          <p:spTgt spid="282"/>
                                        </p:tgtEl>
                                      </p:cBhvr>
                                    </p:animEffect>
                                    <p:animScale>
                                      <p:cBhvr>
                                        <p:cTn id="665" dur="1000" autoRev="1" fill="hold"/>
                                        <p:tgtEl>
                                          <p:spTgt spid="282"/>
                                        </p:tgtEl>
                                      </p:cBhvr>
                                      <p:by x="105000" y="105000"/>
                                    </p:animScale>
                                  </p:childTnLst>
                                </p:cTn>
                              </p:par>
                              <p:par>
                                <p:cTn id="666" presetID="26" presetClass="emph" presetSubtype="0" dur="2000" repeatCount="indefinite" fill="hold" grpId="0" nodeType="withEffect">
                                  <p:stCondLst>
                                    <p:cond delay="4250"/>
                                  </p:stCondLst>
                                  <p:childTnLst>
                                    <p:animEffect transition="out" filter="fade">
                                      <p:cBhvr>
                                        <p:cTn id="667" dur="2000" tmFilter="0, 0; .2, .5; .8, .5; 1, 0"/>
                                        <p:tgtEl>
                                          <p:spTgt spid="283"/>
                                        </p:tgtEl>
                                      </p:cBhvr>
                                    </p:animEffect>
                                    <p:animScale>
                                      <p:cBhvr>
                                        <p:cTn id="668" dur="1000" autoRev="1" fill="hold"/>
                                        <p:tgtEl>
                                          <p:spTgt spid="283"/>
                                        </p:tgtEl>
                                      </p:cBhvr>
                                      <p:by x="105000" y="105000"/>
                                    </p:animScale>
                                  </p:childTnLst>
                                </p:cTn>
                              </p:par>
                              <p:par>
                                <p:cTn id="669" presetID="26" presetClass="emph" presetSubtype="0" dur="2000" repeatCount="indefinite" fill="hold" grpId="0" nodeType="withEffect">
                                  <p:stCondLst>
                                    <p:cond delay="4250"/>
                                  </p:stCondLst>
                                  <p:childTnLst>
                                    <p:animEffect transition="out" filter="fade">
                                      <p:cBhvr>
                                        <p:cTn id="670" dur="2000" tmFilter="0, 0; .2, .5; .8, .5; 1, 0"/>
                                        <p:tgtEl>
                                          <p:spTgt spid="284"/>
                                        </p:tgtEl>
                                      </p:cBhvr>
                                    </p:animEffect>
                                    <p:animScale>
                                      <p:cBhvr>
                                        <p:cTn id="671" dur="1000" autoRev="1" fill="hold"/>
                                        <p:tgtEl>
                                          <p:spTgt spid="284"/>
                                        </p:tgtEl>
                                      </p:cBhvr>
                                      <p:by x="105000" y="105000"/>
                                    </p:animScale>
                                  </p:childTnLst>
                                </p:cTn>
                              </p:par>
                              <p:par>
                                <p:cTn id="672" presetID="26" presetClass="emph" presetSubtype="0" dur="2000" repeatCount="indefinite" fill="hold" grpId="0" nodeType="withEffect">
                                  <p:stCondLst>
                                    <p:cond delay="4250"/>
                                  </p:stCondLst>
                                  <p:childTnLst>
                                    <p:animEffect transition="out" filter="fade">
                                      <p:cBhvr>
                                        <p:cTn id="673" dur="2000" tmFilter="0, 0; .2, .5; .8, .5; 1, 0"/>
                                        <p:tgtEl>
                                          <p:spTgt spid="285"/>
                                        </p:tgtEl>
                                      </p:cBhvr>
                                    </p:animEffect>
                                    <p:animScale>
                                      <p:cBhvr>
                                        <p:cTn id="674" dur="1000" autoRev="1" fill="hold"/>
                                        <p:tgtEl>
                                          <p:spTgt spid="285"/>
                                        </p:tgtEl>
                                      </p:cBhvr>
                                      <p:by x="105000" y="105000"/>
                                    </p:animScale>
                                  </p:childTnLst>
                                </p:cTn>
                              </p:par>
                              <p:par>
                                <p:cTn id="675" presetID="26" presetClass="emph" presetSubtype="0" dur="2000" repeatCount="indefinite" fill="hold" grpId="0" nodeType="withEffect">
                                  <p:stCondLst>
                                    <p:cond delay="4250"/>
                                  </p:stCondLst>
                                  <p:childTnLst>
                                    <p:animEffect transition="out" filter="fade">
                                      <p:cBhvr>
                                        <p:cTn id="676" dur="2000" tmFilter="0, 0; .2, .5; .8, .5; 1, 0"/>
                                        <p:tgtEl>
                                          <p:spTgt spid="286"/>
                                        </p:tgtEl>
                                      </p:cBhvr>
                                    </p:animEffect>
                                    <p:animScale>
                                      <p:cBhvr>
                                        <p:cTn id="677" dur="1000" autoRev="1" fill="hold"/>
                                        <p:tgtEl>
                                          <p:spTgt spid="286"/>
                                        </p:tgtEl>
                                      </p:cBhvr>
                                      <p:by x="105000" y="105000"/>
                                    </p:animScale>
                                  </p:childTnLst>
                                </p:cTn>
                              </p:par>
                              <p:par>
                                <p:cTn id="678" presetID="26" presetClass="emph" presetSubtype="0" dur="2000" repeatCount="indefinite" fill="hold" grpId="0" nodeType="withEffect">
                                  <p:stCondLst>
                                    <p:cond delay="4500"/>
                                  </p:stCondLst>
                                  <p:childTnLst>
                                    <p:animEffect transition="out" filter="fade">
                                      <p:cBhvr>
                                        <p:cTn id="679" dur="2000" tmFilter="0, 0; .2, .5; .8, .5; 1, 0"/>
                                        <p:tgtEl>
                                          <p:spTgt spid="273"/>
                                        </p:tgtEl>
                                      </p:cBhvr>
                                    </p:animEffect>
                                    <p:animScale>
                                      <p:cBhvr>
                                        <p:cTn id="680" dur="1000" autoRev="1" fill="hold"/>
                                        <p:tgtEl>
                                          <p:spTgt spid="273"/>
                                        </p:tgtEl>
                                      </p:cBhvr>
                                      <p:by x="105000" y="105000"/>
                                    </p:animScale>
                                  </p:childTnLst>
                                </p:cTn>
                              </p:par>
                              <p:par>
                                <p:cTn id="681" presetID="26" presetClass="emph" presetSubtype="0" dur="2000" repeatCount="indefinite" fill="hold" grpId="0" nodeType="withEffect">
                                  <p:stCondLst>
                                    <p:cond delay="4500"/>
                                  </p:stCondLst>
                                  <p:childTnLst>
                                    <p:animEffect transition="out" filter="fade">
                                      <p:cBhvr>
                                        <p:cTn id="682" dur="2000" tmFilter="0, 0; .2, .5; .8, .5; 1, 0"/>
                                        <p:tgtEl>
                                          <p:spTgt spid="274"/>
                                        </p:tgtEl>
                                      </p:cBhvr>
                                    </p:animEffect>
                                    <p:animScale>
                                      <p:cBhvr>
                                        <p:cTn id="683" dur="1000" autoRev="1" fill="hold"/>
                                        <p:tgtEl>
                                          <p:spTgt spid="274"/>
                                        </p:tgtEl>
                                      </p:cBhvr>
                                      <p:by x="105000" y="105000"/>
                                    </p:animScale>
                                  </p:childTnLst>
                                </p:cTn>
                              </p:par>
                              <p:par>
                                <p:cTn id="684" presetID="26" presetClass="emph" presetSubtype="0" dur="2000" repeatCount="indefinite" fill="hold" grpId="0" nodeType="withEffect">
                                  <p:stCondLst>
                                    <p:cond delay="4500"/>
                                  </p:stCondLst>
                                  <p:childTnLst>
                                    <p:animEffect transition="out" filter="fade">
                                      <p:cBhvr>
                                        <p:cTn id="685" dur="2000" tmFilter="0, 0; .2, .5; .8, .5; 1, 0"/>
                                        <p:tgtEl>
                                          <p:spTgt spid="275"/>
                                        </p:tgtEl>
                                      </p:cBhvr>
                                    </p:animEffect>
                                    <p:animScale>
                                      <p:cBhvr>
                                        <p:cTn id="686" dur="1000" autoRev="1" fill="hold"/>
                                        <p:tgtEl>
                                          <p:spTgt spid="275"/>
                                        </p:tgtEl>
                                      </p:cBhvr>
                                      <p:by x="105000" y="105000"/>
                                    </p:animScale>
                                  </p:childTnLst>
                                </p:cTn>
                              </p:par>
                              <p:par>
                                <p:cTn id="687" presetID="26" presetClass="emph" presetSubtype="0" dur="2000" repeatCount="indefinite" fill="hold" grpId="0" nodeType="withEffect">
                                  <p:stCondLst>
                                    <p:cond delay="4500"/>
                                  </p:stCondLst>
                                  <p:childTnLst>
                                    <p:animEffect transition="out" filter="fade">
                                      <p:cBhvr>
                                        <p:cTn id="688" dur="2000" tmFilter="0, 0; .2, .5; .8, .5; 1, 0"/>
                                        <p:tgtEl>
                                          <p:spTgt spid="276"/>
                                        </p:tgtEl>
                                      </p:cBhvr>
                                    </p:animEffect>
                                    <p:animScale>
                                      <p:cBhvr>
                                        <p:cTn id="689" dur="1000" autoRev="1" fill="hold"/>
                                        <p:tgtEl>
                                          <p:spTgt spid="276"/>
                                        </p:tgtEl>
                                      </p:cBhvr>
                                      <p:by x="105000" y="105000"/>
                                    </p:animScale>
                                  </p:childTnLst>
                                </p:cTn>
                              </p:par>
                              <p:par>
                                <p:cTn id="690" presetID="26" presetClass="emph" presetSubtype="0" dur="2000" repeatCount="indefinite" fill="hold" grpId="0" nodeType="withEffect">
                                  <p:stCondLst>
                                    <p:cond delay="4500"/>
                                  </p:stCondLst>
                                  <p:childTnLst>
                                    <p:animEffect transition="out" filter="fade">
                                      <p:cBhvr>
                                        <p:cTn id="691" dur="2000" tmFilter="0, 0; .2, .5; .8, .5; 1, 0"/>
                                        <p:tgtEl>
                                          <p:spTgt spid="277"/>
                                        </p:tgtEl>
                                      </p:cBhvr>
                                    </p:animEffect>
                                    <p:animScale>
                                      <p:cBhvr>
                                        <p:cTn id="692" dur="1000" autoRev="1" fill="hold"/>
                                        <p:tgtEl>
                                          <p:spTgt spid="277"/>
                                        </p:tgtEl>
                                      </p:cBhvr>
                                      <p:by x="105000" y="105000"/>
                                    </p:animScale>
                                  </p:childTnLst>
                                </p:cTn>
                              </p:par>
                              <p:par>
                                <p:cTn id="693" presetID="26" presetClass="emph" presetSubtype="0" dur="2000" repeatCount="indefinite" fill="hold" grpId="0" nodeType="withEffect">
                                  <p:stCondLst>
                                    <p:cond delay="4500"/>
                                  </p:stCondLst>
                                  <p:childTnLst>
                                    <p:animEffect transition="out" filter="fade">
                                      <p:cBhvr>
                                        <p:cTn id="694" dur="2000" tmFilter="0, 0; .2, .5; .8, .5; 1, 0"/>
                                        <p:tgtEl>
                                          <p:spTgt spid="278"/>
                                        </p:tgtEl>
                                      </p:cBhvr>
                                    </p:animEffect>
                                    <p:animScale>
                                      <p:cBhvr>
                                        <p:cTn id="695" dur="1000" autoRev="1" fill="hold"/>
                                        <p:tgtEl>
                                          <p:spTgt spid="278"/>
                                        </p:tgtEl>
                                      </p:cBhvr>
                                      <p:by x="105000" y="105000"/>
                                    </p:animScale>
                                  </p:childTnLst>
                                </p:cTn>
                              </p:par>
                              <p:par>
                                <p:cTn id="696" presetID="26" presetClass="emph" presetSubtype="0" dur="2000" repeatCount="indefinite" fill="hold" grpId="0" nodeType="withEffect">
                                  <p:stCondLst>
                                    <p:cond delay="4750"/>
                                  </p:stCondLst>
                                  <p:childTnLst>
                                    <p:animEffect transition="out" filter="fade">
                                      <p:cBhvr>
                                        <p:cTn id="697" dur="2000" tmFilter="0, 0; .2, .5; .8, .5; 1, 0"/>
                                        <p:tgtEl>
                                          <p:spTgt spid="269"/>
                                        </p:tgtEl>
                                      </p:cBhvr>
                                    </p:animEffect>
                                    <p:animScale>
                                      <p:cBhvr>
                                        <p:cTn id="698" dur="1000" autoRev="1" fill="hold"/>
                                        <p:tgtEl>
                                          <p:spTgt spid="269"/>
                                        </p:tgtEl>
                                      </p:cBhvr>
                                      <p:by x="105000" y="105000"/>
                                    </p:animScale>
                                  </p:childTnLst>
                                </p:cTn>
                              </p:par>
                              <p:par>
                                <p:cTn id="699" presetID="26" presetClass="emph" presetSubtype="0" dur="2000" repeatCount="indefinite" fill="hold" grpId="0" nodeType="withEffect">
                                  <p:stCondLst>
                                    <p:cond delay="4750"/>
                                  </p:stCondLst>
                                  <p:childTnLst>
                                    <p:animEffect transition="out" filter="fade">
                                      <p:cBhvr>
                                        <p:cTn id="700" dur="2000" tmFilter="0, 0; .2, .5; .8, .5; 1, 0"/>
                                        <p:tgtEl>
                                          <p:spTgt spid="270"/>
                                        </p:tgtEl>
                                      </p:cBhvr>
                                    </p:animEffect>
                                    <p:animScale>
                                      <p:cBhvr>
                                        <p:cTn id="701" dur="1000" autoRev="1" fill="hold"/>
                                        <p:tgtEl>
                                          <p:spTgt spid="270"/>
                                        </p:tgtEl>
                                      </p:cBhvr>
                                      <p:by x="105000" y="105000"/>
                                    </p:animScale>
                                  </p:childTnLst>
                                </p:cTn>
                              </p:par>
                              <p:par>
                                <p:cTn id="702" presetID="26" presetClass="emph" presetSubtype="0" dur="2000" repeatCount="indefinite" fill="hold" grpId="0" nodeType="withEffect">
                                  <p:stCondLst>
                                    <p:cond delay="4750"/>
                                  </p:stCondLst>
                                  <p:childTnLst>
                                    <p:animEffect transition="out" filter="fade">
                                      <p:cBhvr>
                                        <p:cTn id="703" dur="2000" tmFilter="0, 0; .2, .5; .8, .5; 1, 0"/>
                                        <p:tgtEl>
                                          <p:spTgt spid="271"/>
                                        </p:tgtEl>
                                      </p:cBhvr>
                                    </p:animEffect>
                                    <p:animScale>
                                      <p:cBhvr>
                                        <p:cTn id="704" dur="1000" autoRev="1" fill="hold"/>
                                        <p:tgtEl>
                                          <p:spTgt spid="271"/>
                                        </p:tgtEl>
                                      </p:cBhvr>
                                      <p:by x="105000" y="105000"/>
                                    </p:animScale>
                                  </p:childTnLst>
                                </p:cTn>
                              </p:par>
                              <p:par>
                                <p:cTn id="705" presetID="26" presetClass="emph" presetSubtype="0" dur="2000" repeatCount="indefinite" fill="hold" grpId="0" nodeType="withEffect">
                                  <p:stCondLst>
                                    <p:cond delay="4750"/>
                                  </p:stCondLst>
                                  <p:childTnLst>
                                    <p:animEffect transition="out" filter="fade">
                                      <p:cBhvr>
                                        <p:cTn id="706" dur="2000" tmFilter="0, 0; .2, .5; .8, .5; 1, 0"/>
                                        <p:tgtEl>
                                          <p:spTgt spid="272"/>
                                        </p:tgtEl>
                                      </p:cBhvr>
                                    </p:animEffect>
                                    <p:animScale>
                                      <p:cBhvr>
                                        <p:cTn id="707" dur="1000" autoRev="1" fill="hold"/>
                                        <p:tgtEl>
                                          <p:spTgt spid="272"/>
                                        </p:tgtEl>
                                      </p:cBhvr>
                                      <p:by x="105000" y="105000"/>
                                    </p:animScale>
                                  </p:childTnLst>
                                </p:cTn>
                              </p:par>
                              <p:par>
                                <p:cTn id="708" presetID="26" presetClass="emph" presetSubtype="0" dur="2000" repeatCount="indefinite" fill="hold" grpId="0" nodeType="withEffect">
                                  <p:stCondLst>
                                    <p:cond delay="5000"/>
                                  </p:stCondLst>
                                  <p:childTnLst>
                                    <p:animEffect transition="out" filter="fade">
                                      <p:cBhvr>
                                        <p:cTn id="709" dur="2000" tmFilter="0, 0; .2, .5; .8, .5; 1, 0"/>
                                        <p:tgtEl>
                                          <p:spTgt spid="267"/>
                                        </p:tgtEl>
                                      </p:cBhvr>
                                    </p:animEffect>
                                    <p:animScale>
                                      <p:cBhvr>
                                        <p:cTn id="710" dur="1000" autoRev="1" fill="hold"/>
                                        <p:tgtEl>
                                          <p:spTgt spid="267"/>
                                        </p:tgtEl>
                                      </p:cBhvr>
                                      <p:by x="105000" y="105000"/>
                                    </p:animScale>
                                  </p:childTnLst>
                                </p:cTn>
                              </p:par>
                              <p:par>
                                <p:cTn id="711" presetID="26" presetClass="emph" presetSubtype="0" dur="2000" repeatCount="indefinite" fill="hold" grpId="0" nodeType="withEffect">
                                  <p:stCondLst>
                                    <p:cond delay="5000"/>
                                  </p:stCondLst>
                                  <p:childTnLst>
                                    <p:animEffect transition="out" filter="fade">
                                      <p:cBhvr>
                                        <p:cTn id="712" dur="2000" tmFilter="0, 0; .2, .5; .8, .5; 1, 0"/>
                                        <p:tgtEl>
                                          <p:spTgt spid="268"/>
                                        </p:tgtEl>
                                      </p:cBhvr>
                                    </p:animEffect>
                                    <p:animScale>
                                      <p:cBhvr>
                                        <p:cTn id="713" dur="1000" autoRev="1" fill="hold"/>
                                        <p:tgtEl>
                                          <p:spTgt spid="268"/>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7" grpId="0" animBg="1"/>
      <p:bldP spid="268" grpId="0" animBg="1"/>
      <p:bldP spid="269" grpId="0" animBg="1"/>
      <p:bldP spid="270" grpId="0" animBg="1"/>
      <p:bldP spid="271" grpId="0" animBg="1"/>
      <p:bldP spid="272" grpId="0" animBg="1"/>
      <p:bldP spid="273" grpId="0" animBg="1"/>
      <p:bldP spid="274" grpId="0" animBg="1"/>
      <p:bldP spid="275" grpId="0" animBg="1"/>
      <p:bldP spid="276" grpId="0" animBg="1"/>
      <p:bldP spid="277" grpId="0" animBg="1"/>
      <p:bldP spid="278" grpId="0" animBg="1"/>
      <p:bldP spid="279" grpId="0" animBg="1"/>
      <p:bldP spid="280" grpId="0" animBg="1"/>
      <p:bldP spid="281" grpId="0" animBg="1"/>
      <p:bldP spid="282" grpId="0" animBg="1"/>
      <p:bldP spid="283" grpId="0" animBg="1"/>
      <p:bldP spid="284" grpId="0" animBg="1"/>
      <p:bldP spid="285" grpId="0" animBg="1"/>
      <p:bldP spid="286" grpId="0" animBg="1"/>
      <p:bldP spid="287" grpId="0" animBg="1"/>
      <p:bldP spid="288" grpId="0" animBg="1"/>
      <p:bldP spid="289" grpId="0" animBg="1"/>
      <p:bldP spid="290" grpId="0" animBg="1"/>
      <p:bldP spid="291" grpId="0" animBg="1"/>
      <p:bldP spid="292" grpId="0" animBg="1"/>
      <p:bldP spid="293" grpId="0" animBg="1"/>
      <p:bldP spid="294" grpId="0" animBg="1"/>
      <p:bldP spid="295" grpId="0" animBg="1"/>
      <p:bldP spid="296" grpId="0" animBg="1"/>
      <p:bldP spid="297" grpId="0" animBg="1"/>
      <p:bldP spid="298" grpId="0" animBg="1"/>
      <p:bldP spid="299" grpId="0" animBg="1"/>
      <p:bldP spid="300" grpId="0" animBg="1"/>
      <p:bldP spid="301" grpId="0" animBg="1"/>
      <p:bldP spid="302" grpId="0" animBg="1"/>
      <p:bldP spid="303" grpId="0" animBg="1"/>
      <p:bldP spid="304" grpId="0" animBg="1"/>
      <p:bldP spid="305" grpId="0" animBg="1"/>
      <p:bldP spid="306" grpId="0" animBg="1"/>
      <p:bldP spid="307" grpId="0" animBg="1"/>
      <p:bldP spid="308" grpId="0" animBg="1"/>
      <p:bldP spid="309" grpId="0" animBg="1"/>
      <p:bldP spid="310" grpId="0" animBg="1"/>
      <p:bldP spid="311" grpId="0" animBg="1"/>
      <p:bldP spid="312" grpId="0" animBg="1"/>
      <p:bldP spid="313" grpId="0" animBg="1"/>
      <p:bldP spid="314" grpId="0" animBg="1"/>
      <p:bldP spid="315" grpId="0" animBg="1"/>
      <p:bldP spid="316" grpId="0" animBg="1"/>
      <p:bldP spid="317" grpId="0" animBg="1"/>
      <p:bldP spid="318" grpId="0" animBg="1"/>
      <p:bldP spid="319" grpId="0" animBg="1"/>
      <p:bldP spid="320" grpId="0" animBg="1"/>
      <p:bldP spid="321" grpId="0" animBg="1"/>
      <p:bldP spid="322" grpId="0" animBg="1"/>
      <p:bldP spid="323" grpId="0" animBg="1"/>
      <p:bldP spid="324" grpId="0" animBg="1"/>
      <p:bldP spid="325" grpId="0" animBg="1"/>
      <p:bldP spid="326" grpId="0" animBg="1"/>
      <p:bldP spid="327" grpId="0" animBg="1"/>
      <p:bldP spid="328" grpId="0" animBg="1"/>
      <p:bldP spid="329" grpId="0" animBg="1"/>
      <p:bldP spid="330" grpId="0" animBg="1"/>
      <p:bldP spid="331" grpId="0" animBg="1"/>
      <p:bldP spid="332" grpId="0" animBg="1"/>
      <p:bldP spid="333" grpId="0" animBg="1"/>
      <p:bldP spid="334" grpId="0" animBg="1"/>
      <p:bldP spid="335" grpId="0" animBg="1"/>
      <p:bldP spid="336" grpId="0" animBg="1"/>
      <p:bldP spid="337" grpId="0" animBg="1"/>
      <p:bldP spid="338" grpId="0" animBg="1"/>
      <p:bldP spid="339" grpId="0" animBg="1"/>
      <p:bldP spid="340" grpId="0" animBg="1"/>
      <p:bldP spid="341" grpId="0" animBg="1"/>
      <p:bldP spid="342" grpId="0" animBg="1"/>
      <p:bldP spid="343" grpId="0" animBg="1"/>
      <p:bldP spid="344" grpId="0" animBg="1"/>
      <p:bldP spid="345" grpId="0" animBg="1"/>
      <p:bldP spid="346" grpId="0" animBg="1"/>
      <p:bldP spid="347" grpId="0" animBg="1"/>
      <p:bldP spid="348" grpId="0" animBg="1"/>
      <p:bldP spid="349" grpId="0" animBg="1"/>
      <p:bldP spid="350" grpId="0" animBg="1"/>
      <p:bldP spid="351" grpId="0" animBg="1"/>
      <p:bldP spid="352" grpId="0" animBg="1"/>
      <p:bldP spid="353" grpId="0" animBg="1"/>
      <p:bldP spid="354" grpId="0" animBg="1"/>
      <p:bldP spid="355" grpId="0" animBg="1"/>
      <p:bldP spid="356" grpId="0" animBg="1"/>
      <p:bldP spid="357" grpId="0" animBg="1"/>
      <p:bldP spid="358" grpId="0" animBg="1"/>
      <p:bldP spid="359" grpId="0" animBg="1"/>
      <p:bldP spid="360" grpId="0" animBg="1"/>
      <p:bldP spid="361" grpId="0" animBg="1"/>
      <p:bldP spid="362" grpId="0" animBg="1"/>
      <p:bldP spid="363" grpId="0" animBg="1"/>
      <p:bldP spid="364" grpId="0" animBg="1"/>
      <p:bldP spid="365" grpId="0" animBg="1"/>
      <p:bldP spid="366" grpId="0" animBg="1"/>
      <p:bldP spid="367" grpId="0" animBg="1"/>
      <p:bldP spid="368" grpId="0" animBg="1"/>
      <p:bldP spid="369" grpId="0" animBg="1"/>
      <p:bldP spid="370" grpId="0" animBg="1"/>
      <p:bldP spid="371" grpId="0" animBg="1"/>
      <p:bldP spid="372" grpId="0" animBg="1"/>
      <p:bldP spid="373" grpId="0" animBg="1"/>
      <p:bldP spid="374" grpId="0" animBg="1"/>
      <p:bldP spid="375" grpId="0" animBg="1"/>
      <p:bldP spid="376" grpId="0" animBg="1"/>
      <p:bldP spid="377" grpId="0" animBg="1"/>
      <p:bldP spid="378" grpId="0" animBg="1"/>
      <p:bldP spid="379" grpId="0" animBg="1"/>
      <p:bldP spid="380" grpId="0" animBg="1"/>
      <p:bldP spid="381" grpId="0" animBg="1"/>
      <p:bldP spid="382" grpId="0" animBg="1"/>
      <p:bldP spid="383" grpId="0" animBg="1"/>
      <p:bldP spid="384" grpId="0" animBg="1"/>
      <p:bldP spid="385" grpId="0" animBg="1"/>
      <p:bldP spid="386" grpId="0" animBg="1"/>
      <p:bldP spid="387" grpId="0" animBg="1"/>
      <p:bldP spid="388" grpId="0" animBg="1"/>
      <p:bldP spid="389" grpId="0" animBg="1"/>
      <p:bldP spid="390" grpId="0" animBg="1"/>
      <p:bldP spid="391" grpId="0" animBg="1"/>
      <p:bldP spid="392" grpId="0" animBg="1"/>
      <p:bldP spid="393" grpId="0" animBg="1"/>
      <p:bldP spid="394" grpId="0" animBg="1"/>
      <p:bldP spid="395" grpId="0" animBg="1"/>
      <p:bldP spid="396" grpId="0" animBg="1"/>
      <p:bldP spid="397" grpId="0" animBg="1"/>
      <p:bldP spid="398" grpId="0" animBg="1"/>
      <p:bldP spid="399" grpId="0" animBg="1"/>
      <p:bldP spid="400" grpId="0" animBg="1"/>
      <p:bldP spid="401" grpId="0" animBg="1"/>
      <p:bldP spid="402" grpId="0" animBg="1"/>
      <p:bldP spid="403" grpId="0" animBg="1"/>
      <p:bldP spid="404" grpId="0" animBg="1"/>
      <p:bldP spid="405" grpId="0" animBg="1"/>
      <p:bldP spid="406" grpId="0" animBg="1"/>
      <p:bldP spid="407" grpId="0" animBg="1"/>
      <p:bldP spid="408" grpId="0" animBg="1"/>
      <p:bldP spid="409" grpId="0" animBg="1"/>
      <p:bldP spid="410" grpId="0" animBg="1"/>
      <p:bldP spid="411" grpId="0" animBg="1"/>
      <p:bldP spid="412" grpId="0" animBg="1"/>
      <p:bldP spid="413" grpId="0" animBg="1"/>
      <p:bldP spid="414" grpId="0" animBg="1"/>
      <p:bldP spid="415" grpId="0" animBg="1"/>
      <p:bldP spid="416" grpId="0" animBg="1"/>
      <p:bldP spid="417" grpId="0" animBg="1"/>
      <p:bldP spid="418" grpId="0" animBg="1"/>
      <p:bldP spid="419" grpId="0" animBg="1"/>
      <p:bldP spid="420" grpId="0" animBg="1"/>
      <p:bldP spid="421" grpId="0" animBg="1"/>
      <p:bldP spid="422" grpId="0" animBg="1"/>
      <p:bldP spid="423" grpId="0" animBg="1"/>
      <p:bldP spid="424" grpId="0" animBg="1"/>
      <p:bldP spid="425" grpId="0" animBg="1"/>
      <p:bldP spid="426" grpId="0" animBg="1"/>
      <p:bldP spid="427" grpId="0" animBg="1"/>
      <p:bldP spid="428" grpId="0" animBg="1"/>
      <p:bldP spid="429" grpId="0" animBg="1"/>
      <p:bldP spid="430" grpId="0" animBg="1"/>
      <p:bldP spid="431" grpId="0" animBg="1"/>
      <p:bldP spid="432" grpId="0" animBg="1"/>
      <p:bldP spid="433" grpId="0" animBg="1"/>
      <p:bldP spid="434" grpId="0" animBg="1"/>
      <p:bldP spid="435" grpId="0" animBg="1"/>
      <p:bldP spid="436" grpId="0" animBg="1"/>
      <p:bldP spid="437" grpId="0" animBg="1"/>
      <p:bldP spid="438" grpId="0" animBg="1"/>
      <p:bldP spid="439" grpId="0" animBg="1"/>
      <p:bldP spid="440" grpId="0" animBg="1"/>
      <p:bldP spid="441" grpId="0" animBg="1"/>
      <p:bldP spid="442" grpId="0" animBg="1"/>
      <p:bldP spid="443" grpId="0" animBg="1"/>
      <p:bldP spid="444" grpId="0" animBg="1"/>
      <p:bldP spid="445" grpId="0" animBg="1"/>
      <p:bldP spid="446" grpId="0" animBg="1"/>
      <p:bldP spid="447" grpId="0" animBg="1"/>
      <p:bldP spid="448" grpId="0" animBg="1"/>
      <p:bldP spid="449" grpId="0" animBg="1"/>
      <p:bldP spid="450" grpId="0" animBg="1"/>
      <p:bldP spid="451" grpId="0" animBg="1"/>
      <p:bldP spid="452" grpId="0" animBg="1"/>
      <p:bldP spid="453" grpId="0" animBg="1"/>
      <p:bldP spid="454" grpId="0" animBg="1"/>
      <p:bldP spid="455" grpId="0" animBg="1"/>
      <p:bldP spid="456" grpId="0" animBg="1"/>
      <p:bldP spid="457" grpId="0" animBg="1"/>
      <p:bldP spid="458" grpId="0" animBg="1"/>
      <p:bldP spid="459" grpId="0" animBg="1"/>
      <p:bldP spid="460" grpId="0" animBg="1"/>
      <p:bldP spid="461" grpId="0" animBg="1"/>
      <p:bldP spid="462" grpId="0" animBg="1"/>
      <p:bldP spid="463" grpId="0" animBg="1"/>
      <p:bldP spid="464" grpId="0" animBg="1"/>
      <p:bldP spid="465" grpId="0" animBg="1"/>
      <p:bldP spid="466" grpId="0" animBg="1"/>
      <p:bldP spid="467" grpId="0" animBg="1"/>
      <p:bldP spid="468" grpId="0" animBg="1"/>
      <p:bldP spid="469" grpId="0" animBg="1"/>
      <p:bldP spid="470" grpId="0" animBg="1"/>
      <p:bldP spid="471" grpId="0" animBg="1"/>
      <p:bldP spid="472" grpId="0" animBg="1"/>
      <p:bldP spid="473" grpId="0" animBg="1"/>
      <p:bldP spid="474" grpId="0" animBg="1"/>
      <p:bldP spid="475" grpId="0" animBg="1"/>
      <p:bldP spid="476" grpId="0" animBg="1"/>
      <p:bldP spid="477" grpId="0" animBg="1"/>
      <p:bldP spid="478" grpId="0" animBg="1"/>
      <p:bldP spid="479" grpId="0" animBg="1"/>
      <p:bldP spid="480" grpId="0" animBg="1"/>
      <p:bldP spid="481" grpId="0" animBg="1"/>
      <p:bldP spid="482" grpId="0" animBg="1"/>
      <p:bldP spid="483" grpId="0" animBg="1"/>
      <p:bldP spid="484" grpId="0" animBg="1"/>
      <p:bldP spid="485" grpId="0" animBg="1"/>
      <p:bldP spid="486" grpId="0" animBg="1"/>
      <p:bldP spid="487" grpId="0" animBg="1"/>
      <p:bldP spid="488" grpId="0" animBg="1"/>
      <p:bldP spid="489" grpId="0" animBg="1"/>
      <p:bldP spid="490" grpId="0" animBg="1"/>
      <p:bldP spid="491" grpId="0" animBg="1"/>
      <p:bldP spid="492" grpId="0" animBg="1"/>
      <p:bldP spid="493" grpId="0" animBg="1"/>
      <p:bldP spid="2" grpId="0"/>
      <p:bldP spid="19" grpId="0">
        <p:tmplLst>
          <p:tmpl>
            <p:tnLst>
              <p:par>
                <p:cTn presetID="2" presetClass="entr" presetSubtype="2" decel="100000" fill="hold" nodeType="withEffect">
                  <p:stCondLst>
                    <p:cond delay="250"/>
                  </p:stCondLst>
                  <p:childTnLst>
                    <p:set>
                      <p:cBhvr>
                        <p:cTn dur="1" fill="hold">
                          <p:stCondLst>
                            <p:cond delay="0"/>
                          </p:stCondLst>
                        </p:cTn>
                        <p:tgtEl>
                          <p:spTgt spid="19"/>
                        </p:tgtEl>
                        <p:attrNameLst>
                          <p:attrName>style.visibility</p:attrName>
                        </p:attrNameLst>
                      </p:cBhvr>
                      <p:to>
                        <p:strVal val="visible"/>
                      </p:to>
                    </p:set>
                    <p:anim calcmode="lin" valueType="num">
                      <p:cBhvr additive="base">
                        <p:cTn dur="1000" fill="hold"/>
                        <p:tgtEl>
                          <p:spTgt spid="19"/>
                        </p:tgtEl>
                        <p:attrNameLst>
                          <p:attrName>ppt_x</p:attrName>
                        </p:attrNameLst>
                      </p:cBhvr>
                      <p:tavLst>
                        <p:tav tm="0">
                          <p:val>
                            <p:strVal val="1+#ppt_w/2"/>
                          </p:val>
                        </p:tav>
                        <p:tav tm="100000">
                          <p:val>
                            <p:strVal val="#ppt_x"/>
                          </p:val>
                        </p:tav>
                      </p:tavLst>
                    </p:anim>
                    <p:anim calcmode="lin" valueType="num">
                      <p:cBhvr additive="base">
                        <p:cTn dur="1000" fill="hold"/>
                        <p:tgtEl>
                          <p:spTgt spid="19"/>
                        </p:tgtEl>
                        <p:attrNameLst>
                          <p:attrName>ppt_y</p:attrName>
                        </p:attrNameLst>
                      </p:cBhvr>
                      <p:tavLst>
                        <p:tav tm="0">
                          <p:val>
                            <p:strVal val="#ppt_y"/>
                          </p:val>
                        </p:tav>
                        <p:tav tm="100000">
                          <p:val>
                            <p:strVal val="#ppt_y"/>
                          </p:val>
                        </p:tav>
                      </p:tavLst>
                    </p:anim>
                  </p:childTnLst>
                </p:cTn>
              </p:par>
            </p:tnLst>
          </p:tmpl>
        </p:tmplLst>
      </p:bldP>
      <p:bldP spid="20" grpId="0">
        <p:tmplLst>
          <p:tmpl>
            <p:tnLst>
              <p:par>
                <p:cTn presetID="2" presetClass="entr" presetSubtype="2" decel="100000" fill="hold" nodeType="withEffect">
                  <p:stCondLst>
                    <p:cond delay="250"/>
                  </p:stCondLst>
                  <p:childTnLst>
                    <p:set>
                      <p:cBhvr>
                        <p:cTn dur="1" fill="hold">
                          <p:stCondLst>
                            <p:cond delay="0"/>
                          </p:stCondLst>
                        </p:cTn>
                        <p:tgtEl>
                          <p:spTgt spid="20"/>
                        </p:tgtEl>
                        <p:attrNameLst>
                          <p:attrName>style.visibility</p:attrName>
                        </p:attrNameLst>
                      </p:cBhvr>
                      <p:to>
                        <p:strVal val="visible"/>
                      </p:to>
                    </p:set>
                    <p:anim calcmode="lin" valueType="num">
                      <p:cBhvr additive="base">
                        <p:cTn dur="1000" fill="hold"/>
                        <p:tgtEl>
                          <p:spTgt spid="20"/>
                        </p:tgtEl>
                        <p:attrNameLst>
                          <p:attrName>ppt_x</p:attrName>
                        </p:attrNameLst>
                      </p:cBhvr>
                      <p:tavLst>
                        <p:tav tm="0">
                          <p:val>
                            <p:strVal val="1+#ppt_w/2"/>
                          </p:val>
                        </p:tav>
                        <p:tav tm="100000">
                          <p:val>
                            <p:strVal val="#ppt_x"/>
                          </p:val>
                        </p:tav>
                      </p:tavLst>
                    </p:anim>
                    <p:anim calcmode="lin" valueType="num">
                      <p:cBhvr additive="base">
                        <p:cTn dur="1000" fill="hold"/>
                        <p:tgtEl>
                          <p:spTgt spid="20"/>
                        </p:tgtEl>
                        <p:attrNameLst>
                          <p:attrName>ppt_y</p:attrName>
                        </p:attrNameLst>
                      </p:cBhvr>
                      <p:tavLst>
                        <p:tav tm="0">
                          <p:val>
                            <p:strVal val="#ppt_y"/>
                          </p:val>
                        </p:tav>
                        <p:tav tm="100000">
                          <p:val>
                            <p:strVal val="#ppt_y"/>
                          </p:val>
                        </p:tav>
                      </p:tavLst>
                    </p:anim>
                  </p:childTnLst>
                </p:cTn>
              </p:par>
            </p:tnLst>
          </p:tmpl>
        </p:tmplLst>
      </p:bldP>
      <p:bldP spid="27" grpId="0" build="p">
        <p:tmplLst>
          <p:tmpl lvl="1">
            <p:tnLst>
              <p:par>
                <p:cTn presetID="2" presetClass="entr" presetSubtype="2" decel="100000" fill="hold" nodeType="withEffect">
                  <p:stCondLst>
                    <p:cond delay="250"/>
                  </p:stCondLst>
                  <p:childTnLst>
                    <p:set>
                      <p:cBhvr>
                        <p:cTn dur="1" fill="hold">
                          <p:stCondLst>
                            <p:cond delay="0"/>
                          </p:stCondLst>
                        </p:cTn>
                        <p:tgtEl>
                          <p:spTgt spid="27"/>
                        </p:tgtEl>
                        <p:attrNameLst>
                          <p:attrName>style.visibility</p:attrName>
                        </p:attrNameLst>
                      </p:cBhvr>
                      <p:to>
                        <p:strVal val="visible"/>
                      </p:to>
                    </p:set>
                    <p:anim calcmode="lin" valueType="num">
                      <p:cBhvr additive="base">
                        <p:cTn dur="1000" fill="hold"/>
                        <p:tgtEl>
                          <p:spTgt spid="27"/>
                        </p:tgtEl>
                        <p:attrNameLst>
                          <p:attrName>ppt_x</p:attrName>
                        </p:attrNameLst>
                      </p:cBhvr>
                      <p:tavLst>
                        <p:tav tm="0">
                          <p:val>
                            <p:strVal val="1+#ppt_w/2"/>
                          </p:val>
                        </p:tav>
                        <p:tav tm="100000">
                          <p:val>
                            <p:strVal val="#ppt_x"/>
                          </p:val>
                        </p:tav>
                      </p:tavLst>
                    </p:anim>
                    <p:anim calcmode="lin" valueType="num">
                      <p:cBhvr additive="base">
                        <p:cTn dur="1000" fill="hold"/>
                        <p:tgtEl>
                          <p:spTgt spid="27"/>
                        </p:tgtEl>
                        <p:attrNameLst>
                          <p:attrName>ppt_y</p:attrName>
                        </p:attrNameLst>
                      </p:cBhvr>
                      <p:tavLst>
                        <p:tav tm="0">
                          <p:val>
                            <p:strVal val="#ppt_y"/>
                          </p:val>
                        </p:tav>
                        <p:tav tm="100000">
                          <p:val>
                            <p:strVal val="#ppt_y"/>
                          </p:val>
                        </p:tav>
                      </p:tavLst>
                    </p:anim>
                  </p:childTnLst>
                </p:cTn>
              </p:par>
            </p:tnLst>
          </p:tmpl>
        </p:tmplLst>
      </p:bldP>
      <p:bldP spid="28" grpId="0" build="p">
        <p:tmplLst>
          <p:tmpl lvl="1">
            <p:tnLst>
              <p:par>
                <p:cTn presetID="2" presetClass="entr" presetSubtype="2" decel="100000" fill="hold" nodeType="withEffect">
                  <p:stCondLst>
                    <p:cond delay="250"/>
                  </p:stCondLst>
                  <p:childTnLst>
                    <p:set>
                      <p:cBhvr>
                        <p:cTn dur="1" fill="hold">
                          <p:stCondLst>
                            <p:cond delay="0"/>
                          </p:stCondLst>
                        </p:cTn>
                        <p:tgtEl>
                          <p:spTgt spid="28"/>
                        </p:tgtEl>
                        <p:attrNameLst>
                          <p:attrName>style.visibility</p:attrName>
                        </p:attrNameLst>
                      </p:cBhvr>
                      <p:to>
                        <p:strVal val="visible"/>
                      </p:to>
                    </p:set>
                    <p:anim calcmode="lin" valueType="num">
                      <p:cBhvr additive="base">
                        <p:cTn dur="1000" fill="hold"/>
                        <p:tgtEl>
                          <p:spTgt spid="28"/>
                        </p:tgtEl>
                        <p:attrNameLst>
                          <p:attrName>ppt_x</p:attrName>
                        </p:attrNameLst>
                      </p:cBhvr>
                      <p:tavLst>
                        <p:tav tm="0">
                          <p:val>
                            <p:strVal val="1+#ppt_w/2"/>
                          </p:val>
                        </p:tav>
                        <p:tav tm="100000">
                          <p:val>
                            <p:strVal val="#ppt_x"/>
                          </p:val>
                        </p:tav>
                      </p:tavLst>
                    </p:anim>
                    <p:anim calcmode="lin" valueType="num">
                      <p:cBhvr additive="base">
                        <p:cTn dur="1000" fill="hold"/>
                        <p:tgtEl>
                          <p:spTgt spid="28"/>
                        </p:tgtEl>
                        <p:attrNameLst>
                          <p:attrName>ppt_y</p:attrName>
                        </p:attrNameLst>
                      </p:cBhvr>
                      <p:tavLst>
                        <p:tav tm="0">
                          <p:val>
                            <p:strVal val="#ppt_y"/>
                          </p:val>
                        </p:tav>
                        <p:tav tm="100000">
                          <p:val>
                            <p:strVal val="#ppt_y"/>
                          </p:val>
                        </p:tav>
                      </p:tavLst>
                    </p:anim>
                  </p:childTnLst>
                </p:cTn>
              </p:par>
            </p:tnLst>
          </p:tmpl>
        </p:tmplLst>
      </p:bldP>
    </p:bld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HEADLINE ONLY">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D580604-CA90-4824-BA71-7DD12488F4E8}"/>
              </a:ext>
            </a:extLst>
          </p:cNvPr>
          <p:cNvSpPr>
            <a:spLocks noGrp="1"/>
          </p:cNvSpPr>
          <p:nvPr>
            <p:ph type="title"/>
          </p:nvPr>
        </p:nvSpPr>
        <p:spPr/>
        <p:txBody>
          <a:bodyPr/>
          <a:lstStyle/>
          <a:p>
            <a:r>
              <a:rPr lang="de-DE"/>
              <a:t>Mastertitelformat bearbeiten</a:t>
            </a:r>
          </a:p>
        </p:txBody>
      </p:sp>
      <p:sp>
        <p:nvSpPr>
          <p:cNvPr id="3" name="Foliennummernplatzhalter 2">
            <a:extLst>
              <a:ext uri="{FF2B5EF4-FFF2-40B4-BE49-F238E27FC236}">
                <a16:creationId xmlns:a16="http://schemas.microsoft.com/office/drawing/2014/main" id="{648331E1-D418-47BC-B8D2-89EAF4B26D40}"/>
              </a:ext>
            </a:extLst>
          </p:cNvPr>
          <p:cNvSpPr>
            <a:spLocks noGrp="1"/>
          </p:cNvSpPr>
          <p:nvPr>
            <p:ph type="sldNum" sz="quarter" idx="10"/>
          </p:nvPr>
        </p:nvSpPr>
        <p:spPr/>
        <p:txBody>
          <a:bodyPr/>
          <a:lstStyle/>
          <a:p>
            <a:fld id="{A04BEB4F-8CE1-4F18-986F-6CE0A0BE9470}" type="slidenum">
              <a:rPr lang="de-DE" smtClean="0"/>
              <a:t>‹#›</a:t>
            </a:fld>
            <a:endParaRPr lang="de-DE"/>
          </a:p>
        </p:txBody>
      </p:sp>
    </p:spTree>
    <p:extLst>
      <p:ext uri="{BB962C8B-B14F-4D97-AF65-F5344CB8AC3E}">
        <p14:creationId xmlns:p14="http://schemas.microsoft.com/office/powerpoint/2010/main" val="3797114827"/>
      </p:ext>
    </p:extLst>
  </p:cSld>
  <p:clrMapOvr>
    <a:masterClrMapping/>
  </p:clrMapOvr>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FA4954A8-B84C-457D-BB69-9D6B39AD76F3}"/>
              </a:ext>
            </a:extLst>
          </p:cNvPr>
          <p:cNvSpPr>
            <a:spLocks noGrp="1"/>
          </p:cNvSpPr>
          <p:nvPr>
            <p:ph type="sldNum" sz="quarter" idx="10"/>
          </p:nvPr>
        </p:nvSpPr>
        <p:spPr/>
        <p:txBody>
          <a:bodyPr/>
          <a:lstStyle/>
          <a:p>
            <a:fld id="{A04BEB4F-8CE1-4F18-986F-6CE0A0BE9470}" type="slidenum">
              <a:rPr lang="de-DE" smtClean="0"/>
              <a:t>‹#›</a:t>
            </a:fld>
            <a:endParaRPr lang="de-DE"/>
          </a:p>
        </p:txBody>
      </p:sp>
    </p:spTree>
    <p:extLst>
      <p:ext uri="{BB962C8B-B14F-4D97-AF65-F5344CB8AC3E}">
        <p14:creationId xmlns:p14="http://schemas.microsoft.com/office/powerpoint/2010/main" val="936557144"/>
      </p:ext>
    </p:extLst>
  </p:cSld>
  <p:clrMapOvr>
    <a:masterClrMapping/>
  </p:clrMapOvr>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95759626"/>
      </p:ext>
    </p:extLst>
  </p:cSld>
  <p:clrMapOvr>
    <a:masterClrMapping/>
  </p:clrMapOvr>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521054169"/>
      </p:ext>
    </p:extLst>
  </p:cSld>
  <p:clrMapOvr>
    <a:masterClrMapping/>
  </p:clrMapOvr>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63_Custom Layout">
    <p:spTree>
      <p:nvGrpSpPr>
        <p:cNvPr id="1" name=""/>
        <p:cNvGrpSpPr/>
        <p:nvPr/>
      </p:nvGrpSpPr>
      <p:grpSpPr>
        <a:xfrm>
          <a:off x="0" y="0"/>
          <a:ext cx="0" cy="0"/>
          <a:chOff x="0" y="0"/>
          <a:chExt cx="0" cy="0"/>
        </a:xfrm>
      </p:grpSpPr>
      <p:sp>
        <p:nvSpPr>
          <p:cNvPr id="15" name="Picture Placeholder 15"/>
          <p:cNvSpPr>
            <a:spLocks noGrp="1"/>
          </p:cNvSpPr>
          <p:nvPr>
            <p:ph type="pic" sz="quarter" idx="10" hasCustomPrompt="1"/>
          </p:nvPr>
        </p:nvSpPr>
        <p:spPr>
          <a:xfrm>
            <a:off x="5247592" y="1624774"/>
            <a:ext cx="1695229" cy="3673508"/>
          </a:xfrm>
          <a:prstGeom prst="rect">
            <a:avLst/>
          </a:prstGeom>
          <a:pattFill prst="pct60">
            <a:fgClr>
              <a:srgbClr val="FFFFFF"/>
            </a:fgClr>
            <a:bgClr>
              <a:srgbClr val="E6E9EE"/>
            </a:bgClr>
          </a:pattFill>
        </p:spPr>
        <p:txBody>
          <a:bodyPr/>
          <a:lstStyle>
            <a:lvl1pPr>
              <a:defRPr lang="en-US"/>
            </a:lvl1pPr>
          </a:lstStyle>
          <a:p>
            <a:pPr lvl="0"/>
            <a:r>
              <a:rPr lang="en-US"/>
              <a:t>Drag and drop picture</a:t>
            </a:r>
          </a:p>
        </p:txBody>
      </p:sp>
    </p:spTree>
    <p:extLst>
      <p:ext uri="{BB962C8B-B14F-4D97-AF65-F5344CB8AC3E}">
        <p14:creationId xmlns:p14="http://schemas.microsoft.com/office/powerpoint/2010/main" val="2842435647"/>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4" dur="150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1500" fill="hold"/>
                                        <p:tgtEl>
                                          <p:spTgt spid="15"/>
                                        </p:tgtEl>
                                        <p:attrNameLst>
                                          <p:attrName>ppt_x</p:attrName>
                                        </p:attrNameLst>
                                      </p:cBhvr>
                                      <p:tavLst>
                                        <p:tav tm="0">
                                          <p:val>
                                            <p:strVal val="#ppt_x"/>
                                          </p:val>
                                        </p:tav>
                                        <p:tav tm="100000">
                                          <p:val>
                                            <p:strVal val="#ppt_x"/>
                                          </p:val>
                                        </p:tav>
                                      </p:tavLst>
                                    </p:anim>
                                    <p:anim calcmode="lin" valueType="num">
                                      <p:cBhvr additive="base">
                                        <p:cTn id="8" dur="1500" fill="hold"/>
                                        <p:tgtEl>
                                          <p:spTgt spid="1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64_Custom Layout">
    <p:spTree>
      <p:nvGrpSpPr>
        <p:cNvPr id="1" name=""/>
        <p:cNvGrpSpPr/>
        <p:nvPr/>
      </p:nvGrpSpPr>
      <p:grpSpPr>
        <a:xfrm>
          <a:off x="0" y="0"/>
          <a:ext cx="0" cy="0"/>
          <a:chOff x="0" y="0"/>
          <a:chExt cx="0" cy="0"/>
        </a:xfrm>
      </p:grpSpPr>
      <p:sp>
        <p:nvSpPr>
          <p:cNvPr id="15" name="Picture Placeholder 15"/>
          <p:cNvSpPr>
            <a:spLocks noGrp="1"/>
          </p:cNvSpPr>
          <p:nvPr>
            <p:ph type="pic" sz="quarter" idx="10" hasCustomPrompt="1"/>
          </p:nvPr>
        </p:nvSpPr>
        <p:spPr>
          <a:xfrm>
            <a:off x="3616154" y="1624774"/>
            <a:ext cx="1695229" cy="3673508"/>
          </a:xfrm>
          <a:prstGeom prst="rect">
            <a:avLst/>
          </a:prstGeom>
          <a:pattFill prst="pct60">
            <a:fgClr>
              <a:srgbClr val="FFFFFF"/>
            </a:fgClr>
            <a:bgClr>
              <a:srgbClr val="E6E9EE"/>
            </a:bgClr>
          </a:pattFill>
        </p:spPr>
        <p:txBody>
          <a:bodyPr anchor="ctr"/>
          <a:lstStyle>
            <a:lvl1pPr>
              <a:defRPr lang="en-US"/>
            </a:lvl1pPr>
          </a:lstStyle>
          <a:p>
            <a:pPr lvl="0"/>
            <a:r>
              <a:rPr lang="en-US"/>
              <a:t>Drag and drop picture</a:t>
            </a:r>
          </a:p>
        </p:txBody>
      </p:sp>
      <p:sp>
        <p:nvSpPr>
          <p:cNvPr id="33" name="Picture Placeholder 15"/>
          <p:cNvSpPr>
            <a:spLocks noGrp="1"/>
          </p:cNvSpPr>
          <p:nvPr>
            <p:ph type="pic" sz="quarter" idx="11" hasCustomPrompt="1"/>
          </p:nvPr>
        </p:nvSpPr>
        <p:spPr>
          <a:xfrm>
            <a:off x="1557815" y="1624774"/>
            <a:ext cx="1695229" cy="3673508"/>
          </a:xfrm>
          <a:prstGeom prst="rect">
            <a:avLst/>
          </a:prstGeom>
          <a:pattFill prst="pct60">
            <a:fgClr>
              <a:srgbClr val="FFFFFF"/>
            </a:fgClr>
            <a:bgClr>
              <a:srgbClr val="E6E9EE"/>
            </a:bgClr>
          </a:pattFill>
        </p:spPr>
        <p:txBody>
          <a:bodyPr anchor="ctr"/>
          <a:lstStyle>
            <a:lvl1pPr>
              <a:defRPr lang="en-US"/>
            </a:lvl1pPr>
          </a:lstStyle>
          <a:p>
            <a:pPr lvl="0"/>
            <a:r>
              <a:rPr lang="en-US"/>
              <a:t>Drag and drop picture</a:t>
            </a:r>
          </a:p>
        </p:txBody>
      </p:sp>
      <p:sp>
        <p:nvSpPr>
          <p:cNvPr id="35" name="Picture Placeholder 15"/>
          <p:cNvSpPr>
            <a:spLocks noGrp="1"/>
          </p:cNvSpPr>
          <p:nvPr>
            <p:ph type="pic" sz="quarter" idx="12" hasCustomPrompt="1"/>
          </p:nvPr>
        </p:nvSpPr>
        <p:spPr>
          <a:xfrm>
            <a:off x="5672587" y="1624774"/>
            <a:ext cx="1695229" cy="3673508"/>
          </a:xfrm>
          <a:prstGeom prst="rect">
            <a:avLst/>
          </a:prstGeom>
          <a:pattFill prst="pct60">
            <a:fgClr>
              <a:srgbClr val="FFFFFF"/>
            </a:fgClr>
            <a:bgClr>
              <a:srgbClr val="E6E9EE"/>
            </a:bgClr>
          </a:pattFill>
        </p:spPr>
        <p:txBody>
          <a:bodyPr anchor="ctr"/>
          <a:lstStyle>
            <a:lvl1pPr>
              <a:defRPr lang="en-US"/>
            </a:lvl1pPr>
          </a:lstStyle>
          <a:p>
            <a:pPr lvl="0"/>
            <a:r>
              <a:rPr lang="en-US"/>
              <a:t>Drag and drop picture</a:t>
            </a:r>
          </a:p>
        </p:txBody>
      </p:sp>
    </p:spTree>
    <p:extLst>
      <p:ext uri="{BB962C8B-B14F-4D97-AF65-F5344CB8AC3E}">
        <p14:creationId xmlns:p14="http://schemas.microsoft.com/office/powerpoint/2010/main" val="1954345195"/>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8" dur="1000" decel="100000" fill="hold" grpId="0" nodeType="withEffect">
                                  <p:stCondLst>
                                    <p:cond delay="0"/>
                                  </p:stCondLst>
                                  <p:childTnLst>
                                    <p:set>
                                      <p:cBhvr>
                                        <p:cTn id="6" dur="1" fill="hold">
                                          <p:stCondLst>
                                            <p:cond delay="0"/>
                                          </p:stCondLst>
                                        </p:cTn>
                                        <p:tgtEl>
                                          <p:spTgt spid="35"/>
                                        </p:tgtEl>
                                        <p:attrNameLst>
                                          <p:attrName>style.visibility</p:attrName>
                                        </p:attrNameLst>
                                      </p:cBhvr>
                                      <p:to>
                                        <p:strVal val="visible"/>
                                      </p:to>
                                    </p:set>
                                    <p:anim calcmode="lin" valueType="num">
                                      <p:cBhvr additive="base">
                                        <p:cTn id="7" dur="1000" fill="hold"/>
                                        <p:tgtEl>
                                          <p:spTgt spid="35"/>
                                        </p:tgtEl>
                                        <p:attrNameLst>
                                          <p:attrName>ppt_x</p:attrName>
                                        </p:attrNameLst>
                                      </p:cBhvr>
                                      <p:tavLst>
                                        <p:tav tm="0">
                                          <p:val>
                                            <p:strVal val="0-#ppt_w/2"/>
                                          </p:val>
                                        </p:tav>
                                        <p:tav tm="100000">
                                          <p:val>
                                            <p:strVal val="#ppt_x"/>
                                          </p:val>
                                        </p:tav>
                                      </p:tavLst>
                                    </p:anim>
                                    <p:anim calcmode="lin" valueType="num">
                                      <p:cBhvr additive="base">
                                        <p:cTn id="8" dur="1000" fill="hold"/>
                                        <p:tgtEl>
                                          <p:spTgt spid="35"/>
                                        </p:tgtEl>
                                        <p:attrNameLst>
                                          <p:attrName>ppt_y</p:attrName>
                                        </p:attrNameLst>
                                      </p:cBhvr>
                                      <p:tavLst>
                                        <p:tav tm="0">
                                          <p:val>
                                            <p:strVal val="#ppt_y"/>
                                          </p:val>
                                        </p:tav>
                                        <p:tav tm="100000">
                                          <p:val>
                                            <p:strVal val="#ppt_y"/>
                                          </p:val>
                                        </p:tav>
                                      </p:tavLst>
                                    </p:anim>
                                  </p:childTnLst>
                                </p:cTn>
                              </p:par>
                              <p:par>
                                <p:cTn id="9" presetID="2" presetClass="entr" presetSubtype="8" dur="1000" decel="100000" fill="hold" grpId="0" nodeType="withEffect">
                                  <p:stCondLst>
                                    <p:cond delay="100"/>
                                  </p:stCondLst>
                                  <p:childTnLst>
                                    <p:set>
                                      <p:cBhvr>
                                        <p:cTn id="10" dur="1" fill="hold">
                                          <p:stCondLst>
                                            <p:cond delay="0"/>
                                          </p:stCondLst>
                                        </p:cTn>
                                        <p:tgtEl>
                                          <p:spTgt spid="15"/>
                                        </p:tgtEl>
                                        <p:attrNameLst>
                                          <p:attrName>style.visibility</p:attrName>
                                        </p:attrNameLst>
                                      </p:cBhvr>
                                      <p:to>
                                        <p:strVal val="visible"/>
                                      </p:to>
                                    </p:set>
                                    <p:anim calcmode="lin" valueType="num">
                                      <p:cBhvr additive="base">
                                        <p:cTn id="11" dur="1000" fill="hold"/>
                                        <p:tgtEl>
                                          <p:spTgt spid="15"/>
                                        </p:tgtEl>
                                        <p:attrNameLst>
                                          <p:attrName>ppt_x</p:attrName>
                                        </p:attrNameLst>
                                      </p:cBhvr>
                                      <p:tavLst>
                                        <p:tav tm="0">
                                          <p:val>
                                            <p:strVal val="0-#ppt_w/2"/>
                                          </p:val>
                                        </p:tav>
                                        <p:tav tm="100000">
                                          <p:val>
                                            <p:strVal val="#ppt_x"/>
                                          </p:val>
                                        </p:tav>
                                      </p:tavLst>
                                    </p:anim>
                                    <p:anim calcmode="lin" valueType="num">
                                      <p:cBhvr additive="base">
                                        <p:cTn id="12" dur="1000" fill="hold"/>
                                        <p:tgtEl>
                                          <p:spTgt spid="15"/>
                                        </p:tgtEl>
                                        <p:attrNameLst>
                                          <p:attrName>ppt_y</p:attrName>
                                        </p:attrNameLst>
                                      </p:cBhvr>
                                      <p:tavLst>
                                        <p:tav tm="0">
                                          <p:val>
                                            <p:strVal val="#ppt_y"/>
                                          </p:val>
                                        </p:tav>
                                        <p:tav tm="100000">
                                          <p:val>
                                            <p:strVal val="#ppt_y"/>
                                          </p:val>
                                        </p:tav>
                                      </p:tavLst>
                                    </p:anim>
                                  </p:childTnLst>
                                </p:cTn>
                              </p:par>
                              <p:par>
                                <p:cTn id="13" presetID="2" presetClass="entr" presetSubtype="8" dur="1000" decel="100000" fill="hold" grpId="0" nodeType="withEffect">
                                  <p:stCondLst>
                                    <p:cond delay="200"/>
                                  </p:stCondLst>
                                  <p:childTnLst>
                                    <p:set>
                                      <p:cBhvr>
                                        <p:cTn id="14" dur="1" fill="hold">
                                          <p:stCondLst>
                                            <p:cond delay="0"/>
                                          </p:stCondLst>
                                        </p:cTn>
                                        <p:tgtEl>
                                          <p:spTgt spid="33"/>
                                        </p:tgtEl>
                                        <p:attrNameLst>
                                          <p:attrName>style.visibility</p:attrName>
                                        </p:attrNameLst>
                                      </p:cBhvr>
                                      <p:to>
                                        <p:strVal val="visible"/>
                                      </p:to>
                                    </p:set>
                                    <p:anim calcmode="lin" valueType="num">
                                      <p:cBhvr additive="base">
                                        <p:cTn id="15" dur="1000" fill="hold"/>
                                        <p:tgtEl>
                                          <p:spTgt spid="33"/>
                                        </p:tgtEl>
                                        <p:attrNameLst>
                                          <p:attrName>ppt_x</p:attrName>
                                        </p:attrNameLst>
                                      </p:cBhvr>
                                      <p:tavLst>
                                        <p:tav tm="0">
                                          <p:val>
                                            <p:strVal val="0-#ppt_w/2"/>
                                          </p:val>
                                        </p:tav>
                                        <p:tav tm="100000">
                                          <p:val>
                                            <p:strVal val="#ppt_x"/>
                                          </p:val>
                                        </p:tav>
                                      </p:tavLst>
                                    </p:anim>
                                    <p:anim calcmode="lin" valueType="num">
                                      <p:cBhvr additive="base">
                                        <p:cTn id="16" dur="1000" fill="hold"/>
                                        <p:tgtEl>
                                          <p:spTgt spid="3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33" grpId="0" animBg="1"/>
      <p:bldP spid="35" grpId="0" animBg="1"/>
    </p:bld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71_Custom Layout">
    <p:spTree>
      <p:nvGrpSpPr>
        <p:cNvPr id="1" name=""/>
        <p:cNvGrpSpPr/>
        <p:nvPr/>
      </p:nvGrpSpPr>
      <p:grpSpPr>
        <a:xfrm>
          <a:off x="0" y="0"/>
          <a:ext cx="0" cy="0"/>
          <a:chOff x="0" y="0"/>
          <a:chExt cx="0" cy="0"/>
        </a:xfrm>
      </p:grpSpPr>
      <p:sp>
        <p:nvSpPr>
          <p:cNvPr id="34" name="Picture Placeholder 29"/>
          <p:cNvSpPr>
            <a:spLocks noGrp="1"/>
          </p:cNvSpPr>
          <p:nvPr>
            <p:ph type="pic" sz="quarter" idx="12" hasCustomPrompt="1"/>
          </p:nvPr>
        </p:nvSpPr>
        <p:spPr>
          <a:xfrm>
            <a:off x="8275563" y="2905237"/>
            <a:ext cx="2769446" cy="6026722"/>
          </a:xfrm>
          <a:custGeom>
            <a:avLst/>
            <a:gdLst>
              <a:gd name="connsiteX0" fmla="*/ 0 w 3867993"/>
              <a:gd name="connsiteY0" fmla="*/ 0 h 8367894"/>
              <a:gd name="connsiteX1" fmla="*/ 3867993 w 3867993"/>
              <a:gd name="connsiteY1" fmla="*/ 0 h 8367894"/>
              <a:gd name="connsiteX2" fmla="*/ 3867993 w 3867993"/>
              <a:gd name="connsiteY2" fmla="*/ 8367894 h 8367894"/>
              <a:gd name="connsiteX3" fmla="*/ 0 w 3867993"/>
              <a:gd name="connsiteY3" fmla="*/ 8367894 h 8367894"/>
            </a:gdLst>
            <a:ahLst/>
            <a:cxnLst>
              <a:cxn ang="0">
                <a:pos x="connsiteX0" y="connsiteY0"/>
              </a:cxn>
              <a:cxn ang="0">
                <a:pos x="connsiteX1" y="connsiteY1"/>
              </a:cxn>
              <a:cxn ang="0">
                <a:pos x="connsiteX2" y="connsiteY2"/>
              </a:cxn>
              <a:cxn ang="0">
                <a:pos x="connsiteX3" y="connsiteY3"/>
              </a:cxn>
            </a:cxnLst>
            <a:rect l="l" t="t" r="r" b="b"/>
            <a:pathLst>
              <a:path w="3867992" h="8367894">
                <a:moveTo>
                  <a:pt x="0" y="0"/>
                </a:moveTo>
                <a:lnTo>
                  <a:pt x="3867993" y="0"/>
                </a:lnTo>
                <a:lnTo>
                  <a:pt x="3867993" y="8367894"/>
                </a:lnTo>
                <a:lnTo>
                  <a:pt x="0" y="8367894"/>
                </a:lnTo>
                <a:close/>
              </a:path>
            </a:pathLst>
          </a:custGeom>
          <a:pattFill prst="pct60">
            <a:fgClr>
              <a:srgbClr val="FFFFFF"/>
            </a:fgClr>
            <a:bgClr>
              <a:srgbClr val="E6E9EE"/>
            </a:bgClr>
          </a:pattFill>
        </p:spPr>
        <p:txBody>
          <a:bodyPr anchor="ctr"/>
          <a:lstStyle>
            <a:lvl1pPr>
              <a:defRPr lang="en-US"/>
            </a:lvl1pPr>
          </a:lstStyle>
          <a:p>
            <a:pPr lvl="0"/>
            <a:r>
              <a:rPr lang="en-US"/>
              <a:t>Drag and drop picture</a:t>
            </a:r>
          </a:p>
        </p:txBody>
      </p:sp>
      <p:sp>
        <p:nvSpPr>
          <p:cNvPr id="30" name="Picture Placeholder 29"/>
          <p:cNvSpPr>
            <a:spLocks noGrp="1"/>
          </p:cNvSpPr>
          <p:nvPr>
            <p:ph type="pic" sz="quarter" idx="11" hasCustomPrompt="1"/>
          </p:nvPr>
        </p:nvSpPr>
        <p:spPr>
          <a:xfrm>
            <a:off x="1138993" y="2905237"/>
            <a:ext cx="2769446" cy="6026722"/>
          </a:xfrm>
          <a:custGeom>
            <a:avLst/>
            <a:gdLst>
              <a:gd name="connsiteX0" fmla="*/ 0 w 3867993"/>
              <a:gd name="connsiteY0" fmla="*/ 0 h 8367894"/>
              <a:gd name="connsiteX1" fmla="*/ 3867993 w 3867993"/>
              <a:gd name="connsiteY1" fmla="*/ 0 h 8367894"/>
              <a:gd name="connsiteX2" fmla="*/ 3867993 w 3867993"/>
              <a:gd name="connsiteY2" fmla="*/ 8367894 h 8367894"/>
              <a:gd name="connsiteX3" fmla="*/ 0 w 3867993"/>
              <a:gd name="connsiteY3" fmla="*/ 8367894 h 8367894"/>
            </a:gdLst>
            <a:ahLst/>
            <a:cxnLst>
              <a:cxn ang="0">
                <a:pos x="connsiteX0" y="connsiteY0"/>
              </a:cxn>
              <a:cxn ang="0">
                <a:pos x="connsiteX1" y="connsiteY1"/>
              </a:cxn>
              <a:cxn ang="0">
                <a:pos x="connsiteX2" y="connsiteY2"/>
              </a:cxn>
              <a:cxn ang="0">
                <a:pos x="connsiteX3" y="connsiteY3"/>
              </a:cxn>
            </a:cxnLst>
            <a:rect l="l" t="t" r="r" b="b"/>
            <a:pathLst>
              <a:path w="3867992" h="8367894">
                <a:moveTo>
                  <a:pt x="0" y="0"/>
                </a:moveTo>
                <a:lnTo>
                  <a:pt x="3867993" y="0"/>
                </a:lnTo>
                <a:lnTo>
                  <a:pt x="3867993" y="8367894"/>
                </a:lnTo>
                <a:lnTo>
                  <a:pt x="0" y="8367894"/>
                </a:lnTo>
                <a:close/>
              </a:path>
            </a:pathLst>
          </a:custGeom>
          <a:pattFill prst="pct60">
            <a:fgClr>
              <a:srgbClr val="FFFFFF"/>
            </a:fgClr>
            <a:bgClr>
              <a:srgbClr val="E6E9EE"/>
            </a:bgClr>
          </a:pattFill>
        </p:spPr>
        <p:txBody>
          <a:bodyPr anchor="ctr"/>
          <a:lstStyle>
            <a:lvl1pPr>
              <a:defRPr lang="en-US"/>
            </a:lvl1pPr>
          </a:lstStyle>
          <a:p>
            <a:pPr lvl="0"/>
            <a:r>
              <a:rPr lang="en-US"/>
              <a:t>Drag and drop picture</a:t>
            </a:r>
          </a:p>
        </p:txBody>
      </p:sp>
      <p:sp>
        <p:nvSpPr>
          <p:cNvPr id="11" name="Picture Placeholder 10"/>
          <p:cNvSpPr>
            <a:spLocks noGrp="1"/>
          </p:cNvSpPr>
          <p:nvPr>
            <p:ph type="pic" sz="quarter" idx="10" hasCustomPrompt="1"/>
          </p:nvPr>
        </p:nvSpPr>
        <p:spPr>
          <a:xfrm>
            <a:off x="4567925" y="2612378"/>
            <a:ext cx="3056150" cy="6612439"/>
          </a:xfrm>
          <a:custGeom>
            <a:avLst/>
            <a:gdLst>
              <a:gd name="connsiteX0" fmla="*/ 0 w 3867993"/>
              <a:gd name="connsiteY0" fmla="*/ 0 h 8367894"/>
              <a:gd name="connsiteX1" fmla="*/ 3867993 w 3867993"/>
              <a:gd name="connsiteY1" fmla="*/ 0 h 8367894"/>
              <a:gd name="connsiteX2" fmla="*/ 3867993 w 3867993"/>
              <a:gd name="connsiteY2" fmla="*/ 8367894 h 8367894"/>
              <a:gd name="connsiteX3" fmla="*/ 0 w 3867993"/>
              <a:gd name="connsiteY3" fmla="*/ 8367894 h 8367894"/>
            </a:gdLst>
            <a:ahLst/>
            <a:cxnLst>
              <a:cxn ang="0">
                <a:pos x="connsiteX0" y="connsiteY0"/>
              </a:cxn>
              <a:cxn ang="0">
                <a:pos x="connsiteX1" y="connsiteY1"/>
              </a:cxn>
              <a:cxn ang="0">
                <a:pos x="connsiteX2" y="connsiteY2"/>
              </a:cxn>
              <a:cxn ang="0">
                <a:pos x="connsiteX3" y="connsiteY3"/>
              </a:cxn>
            </a:cxnLst>
            <a:rect l="l" t="t" r="r" b="b"/>
            <a:pathLst>
              <a:path w="3867992" h="8367894">
                <a:moveTo>
                  <a:pt x="0" y="0"/>
                </a:moveTo>
                <a:lnTo>
                  <a:pt x="3867993" y="0"/>
                </a:lnTo>
                <a:lnTo>
                  <a:pt x="3867993" y="8367894"/>
                </a:lnTo>
                <a:lnTo>
                  <a:pt x="0" y="8367894"/>
                </a:lnTo>
                <a:close/>
              </a:path>
            </a:pathLst>
          </a:custGeom>
          <a:pattFill prst="pct60">
            <a:fgClr>
              <a:srgbClr val="FFFFFF"/>
            </a:fgClr>
            <a:bgClr>
              <a:srgbClr val="E6E9EE"/>
            </a:bgClr>
          </a:pattFill>
        </p:spPr>
        <p:txBody>
          <a:bodyPr anchor="ctr"/>
          <a:lstStyle>
            <a:lvl1pPr>
              <a:defRPr lang="en-US"/>
            </a:lvl1pPr>
          </a:lstStyle>
          <a:p>
            <a:pPr lvl="0"/>
            <a:r>
              <a:rPr lang="en-US"/>
              <a:t>Drag and drop picture</a:t>
            </a:r>
          </a:p>
        </p:txBody>
      </p:sp>
    </p:spTree>
    <p:extLst>
      <p:ext uri="{BB962C8B-B14F-4D97-AF65-F5344CB8AC3E}">
        <p14:creationId xmlns:p14="http://schemas.microsoft.com/office/powerpoint/2010/main" val="903179602"/>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4" dur="1000" decel="100000" fill="hold" grpId="0" nodeType="withEffect">
                                  <p:stCondLst>
                                    <p:cond delay="80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1000" fill="hold"/>
                                        <p:tgtEl>
                                          <p:spTgt spid="11"/>
                                        </p:tgtEl>
                                        <p:attrNameLst>
                                          <p:attrName>ppt_x</p:attrName>
                                        </p:attrNameLst>
                                      </p:cBhvr>
                                      <p:tavLst>
                                        <p:tav tm="0">
                                          <p:val>
                                            <p:strVal val="#ppt_x"/>
                                          </p:val>
                                        </p:tav>
                                        <p:tav tm="100000">
                                          <p:val>
                                            <p:strVal val="#ppt_x"/>
                                          </p:val>
                                        </p:tav>
                                      </p:tavLst>
                                    </p:anim>
                                    <p:anim calcmode="lin" valueType="num">
                                      <p:cBhvr additive="base">
                                        <p:cTn id="8" dur="1000" fill="hold"/>
                                        <p:tgtEl>
                                          <p:spTgt spid="11"/>
                                        </p:tgtEl>
                                        <p:attrNameLst>
                                          <p:attrName>ppt_y</p:attrName>
                                        </p:attrNameLst>
                                      </p:cBhvr>
                                      <p:tavLst>
                                        <p:tav tm="0">
                                          <p:val>
                                            <p:strVal val="1+#ppt_h/2"/>
                                          </p:val>
                                        </p:tav>
                                        <p:tav tm="100000">
                                          <p:val>
                                            <p:strVal val="#ppt_y"/>
                                          </p:val>
                                        </p:tav>
                                      </p:tavLst>
                                    </p:anim>
                                  </p:childTnLst>
                                </p:cTn>
                              </p:par>
                              <p:par>
                                <p:cTn id="9" presetID="2" presetClass="entr" presetSubtype="4" dur="1000" decel="100000" fill="hold" grpId="0" nodeType="withEffect">
                                  <p:stCondLst>
                                    <p:cond delay="900"/>
                                  </p:stCondLst>
                                  <p:childTnLst>
                                    <p:set>
                                      <p:cBhvr>
                                        <p:cTn id="10" dur="1" fill="hold">
                                          <p:stCondLst>
                                            <p:cond delay="0"/>
                                          </p:stCondLst>
                                        </p:cTn>
                                        <p:tgtEl>
                                          <p:spTgt spid="30"/>
                                        </p:tgtEl>
                                        <p:attrNameLst>
                                          <p:attrName>style.visibility</p:attrName>
                                        </p:attrNameLst>
                                      </p:cBhvr>
                                      <p:to>
                                        <p:strVal val="visible"/>
                                      </p:to>
                                    </p:set>
                                    <p:anim calcmode="lin" valueType="num">
                                      <p:cBhvr additive="base">
                                        <p:cTn id="11" dur="1000" fill="hold"/>
                                        <p:tgtEl>
                                          <p:spTgt spid="30"/>
                                        </p:tgtEl>
                                        <p:attrNameLst>
                                          <p:attrName>ppt_x</p:attrName>
                                        </p:attrNameLst>
                                      </p:cBhvr>
                                      <p:tavLst>
                                        <p:tav tm="0">
                                          <p:val>
                                            <p:strVal val="#ppt_x"/>
                                          </p:val>
                                        </p:tav>
                                        <p:tav tm="100000">
                                          <p:val>
                                            <p:strVal val="#ppt_x"/>
                                          </p:val>
                                        </p:tav>
                                      </p:tavLst>
                                    </p:anim>
                                    <p:anim calcmode="lin" valueType="num">
                                      <p:cBhvr additive="base">
                                        <p:cTn id="12" dur="1000" fill="hold"/>
                                        <p:tgtEl>
                                          <p:spTgt spid="30"/>
                                        </p:tgtEl>
                                        <p:attrNameLst>
                                          <p:attrName>ppt_y</p:attrName>
                                        </p:attrNameLst>
                                      </p:cBhvr>
                                      <p:tavLst>
                                        <p:tav tm="0">
                                          <p:val>
                                            <p:strVal val="1+#ppt_h/2"/>
                                          </p:val>
                                        </p:tav>
                                        <p:tav tm="100000">
                                          <p:val>
                                            <p:strVal val="#ppt_y"/>
                                          </p:val>
                                        </p:tav>
                                      </p:tavLst>
                                    </p:anim>
                                  </p:childTnLst>
                                </p:cTn>
                              </p:par>
                              <p:par>
                                <p:cTn id="13" presetID="2" presetClass="entr" presetSubtype="4" dur="1000" decel="100000" fill="hold" grpId="0" nodeType="withEffect">
                                  <p:stCondLst>
                                    <p:cond delay="1000"/>
                                  </p:stCondLst>
                                  <p:childTnLst>
                                    <p:set>
                                      <p:cBhvr>
                                        <p:cTn id="14" dur="1" fill="hold">
                                          <p:stCondLst>
                                            <p:cond delay="0"/>
                                          </p:stCondLst>
                                        </p:cTn>
                                        <p:tgtEl>
                                          <p:spTgt spid="34"/>
                                        </p:tgtEl>
                                        <p:attrNameLst>
                                          <p:attrName>style.visibility</p:attrName>
                                        </p:attrNameLst>
                                      </p:cBhvr>
                                      <p:to>
                                        <p:strVal val="visible"/>
                                      </p:to>
                                    </p:set>
                                    <p:anim calcmode="lin" valueType="num">
                                      <p:cBhvr additive="base">
                                        <p:cTn id="15" dur="1000" fill="hold"/>
                                        <p:tgtEl>
                                          <p:spTgt spid="34"/>
                                        </p:tgtEl>
                                        <p:attrNameLst>
                                          <p:attrName>ppt_x</p:attrName>
                                        </p:attrNameLst>
                                      </p:cBhvr>
                                      <p:tavLst>
                                        <p:tav tm="0">
                                          <p:val>
                                            <p:strVal val="#ppt_x"/>
                                          </p:val>
                                        </p:tav>
                                        <p:tav tm="100000">
                                          <p:val>
                                            <p:strVal val="#ppt_x"/>
                                          </p:val>
                                        </p:tav>
                                      </p:tavLst>
                                    </p:anim>
                                    <p:anim calcmode="lin" valueType="num">
                                      <p:cBhvr additive="base">
                                        <p:cTn id="16" dur="1000" fill="hold"/>
                                        <p:tgtEl>
                                          <p:spTgt spid="3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P spid="30" grpId="0" animBg="1"/>
      <p:bldP spid="11" grpId="0" animBg="1"/>
    </p:bld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HEADING/TEXT/IMAGE 1 below">
    <p:spTree>
      <p:nvGrpSpPr>
        <p:cNvPr id="1" name=""/>
        <p:cNvGrpSpPr/>
        <p:nvPr/>
      </p:nvGrpSpPr>
      <p:grpSpPr>
        <a:xfrm>
          <a:off x="0" y="0"/>
          <a:ext cx="0" cy="0"/>
          <a:chOff x="0" y="0"/>
          <a:chExt cx="0" cy="0"/>
        </a:xfrm>
      </p:grpSpPr>
      <p:sp>
        <p:nvSpPr>
          <p:cNvPr id="12" name="Freihandform: Form 11">
            <a:extLst>
              <a:ext uri="{FF2B5EF4-FFF2-40B4-BE49-F238E27FC236}">
                <a16:creationId xmlns:a16="http://schemas.microsoft.com/office/drawing/2014/main" id="{BC6B8E40-6DD9-454D-B6D5-4533D14E1817}"/>
              </a:ext>
            </a:extLst>
          </p:cNvPr>
          <p:cNvSpPr/>
          <p:nvPr userDrawn="1"/>
        </p:nvSpPr>
        <p:spPr>
          <a:xfrm>
            <a:off x="2362200" y="1975611"/>
            <a:ext cx="9829800" cy="4882390"/>
          </a:xfrm>
          <a:custGeom>
            <a:avLst/>
            <a:gdLst>
              <a:gd name="connsiteX0" fmla="*/ 910059 w 9829800"/>
              <a:gd name="connsiteY0" fmla="*/ 0 h 4882390"/>
              <a:gd name="connsiteX1" fmla="*/ 3015085 w 9829800"/>
              <a:gd name="connsiteY1" fmla="*/ 0 h 4882390"/>
              <a:gd name="connsiteX2" fmla="*/ 7981950 w 9829800"/>
              <a:gd name="connsiteY2" fmla="*/ 0 h 4882390"/>
              <a:gd name="connsiteX3" fmla="*/ 9829800 w 9829800"/>
              <a:gd name="connsiteY3" fmla="*/ 0 h 4882390"/>
              <a:gd name="connsiteX4" fmla="*/ 9829800 w 9829800"/>
              <a:gd name="connsiteY4" fmla="*/ 4882390 h 4882390"/>
              <a:gd name="connsiteX5" fmla="*/ 7981950 w 9829800"/>
              <a:gd name="connsiteY5" fmla="*/ 4882390 h 4882390"/>
              <a:gd name="connsiteX6" fmla="*/ 2183098 w 9829800"/>
              <a:gd name="connsiteY6" fmla="*/ 4882390 h 4882390"/>
              <a:gd name="connsiteX7" fmla="*/ 78072 w 9829800"/>
              <a:gd name="connsiteY7" fmla="*/ 4882390 h 4882390"/>
              <a:gd name="connsiteX8" fmla="*/ 0 w 9829800"/>
              <a:gd name="connsiteY8" fmla="*/ 4804318 h 4882390"/>
              <a:gd name="connsiteX9" fmla="*/ 831987 w 9829800"/>
              <a:gd name="connsiteY9" fmla="*/ 78072 h 4882390"/>
              <a:gd name="connsiteX10" fmla="*/ 910059 w 9829800"/>
              <a:gd name="connsiteY10" fmla="*/ 0 h 4882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829800" h="4882390">
                <a:moveTo>
                  <a:pt x="910059" y="0"/>
                </a:moveTo>
                <a:lnTo>
                  <a:pt x="3015085" y="0"/>
                </a:lnTo>
                <a:lnTo>
                  <a:pt x="7981950" y="0"/>
                </a:lnTo>
                <a:lnTo>
                  <a:pt x="9829800" y="0"/>
                </a:lnTo>
                <a:lnTo>
                  <a:pt x="9829800" y="4882390"/>
                </a:lnTo>
                <a:lnTo>
                  <a:pt x="7981950" y="4882390"/>
                </a:lnTo>
                <a:lnTo>
                  <a:pt x="2183098" y="4882390"/>
                </a:lnTo>
                <a:lnTo>
                  <a:pt x="78072" y="4882390"/>
                </a:lnTo>
                <a:cubicBezTo>
                  <a:pt x="34957" y="4882390"/>
                  <a:pt x="0" y="4847433"/>
                  <a:pt x="0" y="4804318"/>
                </a:cubicBezTo>
                <a:lnTo>
                  <a:pt x="831987" y="78072"/>
                </a:lnTo>
                <a:cubicBezTo>
                  <a:pt x="831987" y="34957"/>
                  <a:pt x="866945" y="0"/>
                  <a:pt x="910059" y="0"/>
                </a:cubicBezTo>
                <a:close/>
              </a:path>
            </a:pathLst>
          </a:custGeom>
          <a:gradFill>
            <a:gsLst>
              <a:gs pos="0">
                <a:schemeClr val="bg1"/>
              </a:gs>
              <a:gs pos="95000">
                <a:srgbClr val="ECF0F4"/>
              </a:gs>
            </a:gsLst>
            <a:lin ang="5400000" scaled="1"/>
          </a:gradFill>
          <a:ln w="11652" cap="flat">
            <a:noFill/>
            <a:prstDash val="solid"/>
            <a:miter/>
          </a:ln>
        </p:spPr>
        <p:txBody>
          <a:bodyPr rtlCol="0" anchor="ctr"/>
          <a:lstStyle/>
          <a:p>
            <a:endParaRPr lang="de-DE"/>
          </a:p>
        </p:txBody>
      </p:sp>
      <p:sp>
        <p:nvSpPr>
          <p:cNvPr id="2" name="Titel 1">
            <a:extLst>
              <a:ext uri="{FF2B5EF4-FFF2-40B4-BE49-F238E27FC236}">
                <a16:creationId xmlns:a16="http://schemas.microsoft.com/office/drawing/2014/main" id="{0526DC72-FA1D-422D-8055-3374742D122B}"/>
              </a:ext>
            </a:extLst>
          </p:cNvPr>
          <p:cNvSpPr>
            <a:spLocks noGrp="1"/>
          </p:cNvSpPr>
          <p:nvPr>
            <p:ph type="title"/>
          </p:nvPr>
        </p:nvSpPr>
        <p:spPr/>
        <p:txBody>
          <a:bodyPr/>
          <a:lstStyle>
            <a:lvl1pPr>
              <a:lnSpc>
                <a:spcPct val="100000"/>
              </a:lnSpc>
              <a:defRPr/>
            </a:lvl1pPr>
          </a:lstStyle>
          <a:p>
            <a:r>
              <a:rPr lang="de-DE"/>
              <a:t>Mastertitelformat bearbeiten</a:t>
            </a:r>
          </a:p>
        </p:txBody>
      </p:sp>
      <p:sp>
        <p:nvSpPr>
          <p:cNvPr id="3" name="Foliennummernplatzhalter 2">
            <a:extLst>
              <a:ext uri="{FF2B5EF4-FFF2-40B4-BE49-F238E27FC236}">
                <a16:creationId xmlns:a16="http://schemas.microsoft.com/office/drawing/2014/main" id="{5B327254-466C-4606-8589-BCC72CBDADDF}"/>
              </a:ext>
            </a:extLst>
          </p:cNvPr>
          <p:cNvSpPr>
            <a:spLocks noGrp="1"/>
          </p:cNvSpPr>
          <p:nvPr>
            <p:ph type="sldNum" sz="quarter" idx="10"/>
          </p:nvPr>
        </p:nvSpPr>
        <p:spPr/>
        <p:txBody>
          <a:bodyPr/>
          <a:lstStyle/>
          <a:p>
            <a:fld id="{A04BEB4F-8CE1-4F18-986F-6CE0A0BE9470}" type="slidenum">
              <a:rPr lang="de-DE" smtClean="0"/>
              <a:t>‹#›</a:t>
            </a:fld>
            <a:endParaRPr lang="de-DE"/>
          </a:p>
        </p:txBody>
      </p:sp>
      <p:sp>
        <p:nvSpPr>
          <p:cNvPr id="5" name="Textplatzhalter 9">
            <a:extLst>
              <a:ext uri="{FF2B5EF4-FFF2-40B4-BE49-F238E27FC236}">
                <a16:creationId xmlns:a16="http://schemas.microsoft.com/office/drawing/2014/main" id="{6024922C-391C-46EA-9F1C-F5344AAB64C8}"/>
              </a:ext>
            </a:extLst>
          </p:cNvPr>
          <p:cNvSpPr>
            <a:spLocks noGrp="1"/>
          </p:cNvSpPr>
          <p:nvPr>
            <p:ph type="body" sz="quarter" idx="11"/>
          </p:nvPr>
        </p:nvSpPr>
        <p:spPr>
          <a:xfrm>
            <a:off x="815951" y="1979612"/>
            <a:ext cx="10560096" cy="1440000"/>
          </a:xfrm>
          <a:prstGeom prst="rect">
            <a:avLst/>
          </a:prstGeom>
        </p:spPr>
        <p:txBody>
          <a:bodyPr lIns="0" tIns="0" rIns="0" bIns="0">
            <a:normAutofit/>
          </a:bodyPr>
          <a:lstStyle>
            <a:lvl1pPr>
              <a:defRPr sz="1800"/>
            </a:lvl1pPr>
            <a:lvl2pPr>
              <a:defRPr sz="1800"/>
            </a:lvl2pPr>
            <a:lvl3pPr>
              <a:defRPr sz="1800"/>
            </a:lvl3pPr>
            <a:lvl4pPr>
              <a:defRPr sz="1800"/>
            </a:lvl4pPr>
            <a:lvl5pPr>
              <a:defRPr sz="18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5" name="Bildplatzhalter 14">
            <a:extLst>
              <a:ext uri="{FF2B5EF4-FFF2-40B4-BE49-F238E27FC236}">
                <a16:creationId xmlns:a16="http://schemas.microsoft.com/office/drawing/2014/main" id="{35D9FA2A-499B-4596-BC4B-A7387A801021}"/>
              </a:ext>
            </a:extLst>
          </p:cNvPr>
          <p:cNvSpPr>
            <a:spLocks noGrp="1"/>
          </p:cNvSpPr>
          <p:nvPr>
            <p:ph type="pic" sz="quarter" idx="12" hasCustomPrompt="1"/>
          </p:nvPr>
        </p:nvSpPr>
        <p:spPr>
          <a:xfrm>
            <a:off x="-2" y="3779612"/>
            <a:ext cx="9815514" cy="3078387"/>
          </a:xfrm>
          <a:custGeom>
            <a:avLst/>
            <a:gdLst>
              <a:gd name="connsiteX0" fmla="*/ 0 w 9815514"/>
              <a:gd name="connsiteY0" fmla="*/ 0 h 3078387"/>
              <a:gd name="connsiteX1" fmla="*/ 9706713 w 9815514"/>
              <a:gd name="connsiteY1" fmla="*/ 0 h 3078387"/>
              <a:gd name="connsiteX2" fmla="*/ 9815514 w 9815514"/>
              <a:gd name="connsiteY2" fmla="*/ 113675 h 3078387"/>
              <a:gd name="connsiteX3" fmla="*/ 9315995 w 9815514"/>
              <a:gd name="connsiteY3" fmla="*/ 3078387 h 3078387"/>
              <a:gd name="connsiteX4" fmla="*/ 0 w 9815514"/>
              <a:gd name="connsiteY4" fmla="*/ 3078387 h 3078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15514" h="3078387">
                <a:moveTo>
                  <a:pt x="0" y="0"/>
                </a:moveTo>
                <a:lnTo>
                  <a:pt x="9706713" y="0"/>
                </a:lnTo>
                <a:cubicBezTo>
                  <a:pt x="9766797" y="0"/>
                  <a:pt x="9815514" y="50899"/>
                  <a:pt x="9815514" y="113675"/>
                </a:cubicBezTo>
                <a:lnTo>
                  <a:pt x="9315995" y="3078387"/>
                </a:lnTo>
                <a:lnTo>
                  <a:pt x="0" y="3078387"/>
                </a:lnTo>
                <a:close/>
              </a:path>
            </a:pathLst>
          </a:custGeom>
          <a:noFill/>
          <a:effectLst>
            <a:outerShdw blurRad="190500" dist="127000" dir="2700000" algn="tl" rotWithShape="0">
              <a:prstClr val="black">
                <a:alpha val="10000"/>
              </a:prstClr>
            </a:outerShdw>
          </a:effectLst>
        </p:spPr>
        <p:txBody>
          <a:bodyPr wrap="square">
            <a:noAutofit/>
          </a:bodyPr>
          <a:lstStyle>
            <a:lvl1pPr marL="0" marR="0" indent="0" algn="l" defTabSz="1644650" rtl="0" eaLnBrk="0" fontAlgn="base" latinLnBrk="0" hangingPunct="0">
              <a:lnSpc>
                <a:spcPct val="130000"/>
              </a:lnSpc>
              <a:spcBef>
                <a:spcPct val="0"/>
              </a:spcBef>
              <a:spcAft>
                <a:spcPts val="1200"/>
              </a:spcAft>
              <a:buClr>
                <a:srgbClr val="004C99"/>
              </a:buClr>
              <a:buSzPct val="120000"/>
              <a:buFontTx/>
              <a:buNone/>
              <a:defRPr/>
            </a:lvl1pPr>
          </a:lstStyle>
          <a:p>
            <a:pPr marL="266700" marR="0" lvl="0" indent="-266700" algn="l" defTabSz="1644650" rtl="0" eaLnBrk="0" fontAlgn="base" latinLnBrk="0" hangingPunct="0">
              <a:lnSpc>
                <a:spcPct val="130000"/>
              </a:lnSpc>
              <a:spcBef>
                <a:spcPct val="0"/>
              </a:spcBef>
              <a:spcAft>
                <a:spcPts val="1200"/>
              </a:spcAft>
              <a:buClr>
                <a:srgbClr val="004C99"/>
              </a:buClr>
              <a:buSzPct val="120000"/>
              <a:buFontTx/>
              <a:buBlip>
                <a:blip r:embed="rId2"/>
              </a:buBlip>
              <a:defRPr/>
            </a:pPr>
            <a:r>
              <a:rPr lang="de-DE"/>
              <a:t>Please insert image</a:t>
            </a:r>
          </a:p>
          <a:p>
            <a:endParaRPr lang="de-DE"/>
          </a:p>
        </p:txBody>
      </p:sp>
    </p:spTree>
    <p:extLst>
      <p:ext uri="{BB962C8B-B14F-4D97-AF65-F5344CB8AC3E}">
        <p14:creationId xmlns:p14="http://schemas.microsoft.com/office/powerpoint/2010/main" val="2807484831"/>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8" dur="1000" decel="10000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0-#ppt_w/2"/>
                                          </p:val>
                                        </p:tav>
                                        <p:tav tm="100000">
                                          <p:val>
                                            <p:strVal val="#ppt_x"/>
                                          </p:val>
                                        </p:tav>
                                      </p:tavLst>
                                    </p:anim>
                                    <p:anim calcmode="lin" valueType="num">
                                      <p:cBhvr additive="base">
                                        <p:cTn id="8" dur="1000" fill="hold"/>
                                        <p:tgtEl>
                                          <p:spTgt spid="2"/>
                                        </p:tgtEl>
                                        <p:attrNameLst>
                                          <p:attrName>ppt_y</p:attrName>
                                        </p:attrNameLst>
                                      </p:cBhvr>
                                      <p:tavLst>
                                        <p:tav tm="0">
                                          <p:val>
                                            <p:strVal val="#ppt_y"/>
                                          </p:val>
                                        </p:tav>
                                        <p:tav tm="100000">
                                          <p:val>
                                            <p:strVal val="#ppt_y"/>
                                          </p:val>
                                        </p:tav>
                                      </p:tavLst>
                                    </p:anim>
                                  </p:childTnLst>
                                </p:cTn>
                              </p:par>
                              <p:par>
                                <p:cTn id="9" presetID="2" presetClass="entr" presetSubtype="8" dur="1000" decel="100000" fill="hold" grpId="0" nodeType="withEffect">
                                  <p:stCondLst>
                                    <p:cond delay="25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1000" fill="hold"/>
                                        <p:tgtEl>
                                          <p:spTgt spid="5"/>
                                        </p:tgtEl>
                                        <p:attrNameLst>
                                          <p:attrName>ppt_x</p:attrName>
                                        </p:attrNameLst>
                                      </p:cBhvr>
                                      <p:tavLst>
                                        <p:tav tm="0">
                                          <p:val>
                                            <p:strVal val="0-#ppt_w/2"/>
                                          </p:val>
                                        </p:tav>
                                        <p:tav tm="100000">
                                          <p:val>
                                            <p:strVal val="#ppt_x"/>
                                          </p:val>
                                        </p:tav>
                                      </p:tavLst>
                                    </p:anim>
                                    <p:anim calcmode="lin" valueType="num">
                                      <p:cBhvr additive="base">
                                        <p:cTn id="12" dur="1000" fill="hold"/>
                                        <p:tgtEl>
                                          <p:spTgt spid="5"/>
                                        </p:tgtEl>
                                        <p:attrNameLst>
                                          <p:attrName>ppt_y</p:attrName>
                                        </p:attrNameLst>
                                      </p:cBhvr>
                                      <p:tavLst>
                                        <p:tav tm="0">
                                          <p:val>
                                            <p:strVal val="#ppt_y"/>
                                          </p:val>
                                        </p:tav>
                                        <p:tav tm="100000">
                                          <p:val>
                                            <p:strVal val="#ppt_y"/>
                                          </p:val>
                                        </p:tav>
                                      </p:tavLst>
                                    </p:anim>
                                  </p:childTnLst>
                                </p:cTn>
                              </p:par>
                              <p:par>
                                <p:cTn id="13" presetID="2" presetClass="entr" presetSubtype="8" dur="1000" decel="100000" fill="hold" grpId="0" nodeType="withEffect">
                                  <p:stCondLst>
                                    <p:cond delay="500"/>
                                  </p:stCondLst>
                                  <p:childTnLst>
                                    <p:set>
                                      <p:cBhvr>
                                        <p:cTn id="14" dur="1" fill="hold">
                                          <p:stCondLst>
                                            <p:cond delay="0"/>
                                          </p:stCondLst>
                                        </p:cTn>
                                        <p:tgtEl>
                                          <p:spTgt spid="15"/>
                                        </p:tgtEl>
                                        <p:attrNameLst>
                                          <p:attrName>style.visibility</p:attrName>
                                        </p:attrNameLst>
                                      </p:cBhvr>
                                      <p:to>
                                        <p:strVal val="visible"/>
                                      </p:to>
                                    </p:set>
                                    <p:anim calcmode="lin" valueType="num">
                                      <p:cBhvr additive="base">
                                        <p:cTn id="15" dur="1000" fill="hold"/>
                                        <p:tgtEl>
                                          <p:spTgt spid="15"/>
                                        </p:tgtEl>
                                        <p:attrNameLst>
                                          <p:attrName>ppt_x</p:attrName>
                                        </p:attrNameLst>
                                      </p:cBhvr>
                                      <p:tavLst>
                                        <p:tav tm="0">
                                          <p:val>
                                            <p:strVal val="0-#ppt_w/2"/>
                                          </p:val>
                                        </p:tav>
                                        <p:tav tm="100000">
                                          <p:val>
                                            <p:strVal val="#ppt_x"/>
                                          </p:val>
                                        </p:tav>
                                      </p:tavLst>
                                    </p:anim>
                                    <p:anim calcmode="lin" valueType="num">
                                      <p:cBhvr additive="base">
                                        <p:cTn id="16" dur="1000" fill="hold"/>
                                        <p:tgtEl>
                                          <p:spTgt spid="1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2" presetClass="entr" presetSubtype="8" decel="100000" fill="hold" nodeType="withEffect">
                  <p:stCondLst>
                    <p:cond delay="250"/>
                  </p:stCondLst>
                  <p:childTnLst>
                    <p:set>
                      <p:cBhvr>
                        <p:cTn dur="1" fill="hold">
                          <p:stCondLst>
                            <p:cond delay="0"/>
                          </p:stCondLst>
                        </p:cTn>
                        <p:tgtEl>
                          <p:spTgt spid="5"/>
                        </p:tgtEl>
                        <p:attrNameLst>
                          <p:attrName>style.visibility</p:attrName>
                        </p:attrNameLst>
                      </p:cBhvr>
                      <p:to>
                        <p:strVal val="visible"/>
                      </p:to>
                    </p:set>
                    <p:anim calcmode="lin" valueType="num">
                      <p:cBhvr additive="base">
                        <p:cTn dur="1000" fill="hold"/>
                        <p:tgtEl>
                          <p:spTgt spid="5"/>
                        </p:tgtEl>
                        <p:attrNameLst>
                          <p:attrName>ppt_x</p:attrName>
                        </p:attrNameLst>
                      </p:cBhvr>
                      <p:tavLst>
                        <p:tav tm="0">
                          <p:val>
                            <p:strVal val="0-#ppt_w/2"/>
                          </p:val>
                        </p:tav>
                        <p:tav tm="100000">
                          <p:val>
                            <p:strVal val="#ppt_x"/>
                          </p:val>
                        </p:tav>
                      </p:tavLst>
                    </p:anim>
                    <p:anim calcmode="lin" valueType="num">
                      <p:cBhvr additive="base">
                        <p:cTn dur="1000" fill="hold"/>
                        <p:tgtEl>
                          <p:spTgt spid="5"/>
                        </p:tgtEl>
                        <p:attrNameLst>
                          <p:attrName>ppt_y</p:attrName>
                        </p:attrNameLst>
                      </p:cBhvr>
                      <p:tavLst>
                        <p:tav tm="0">
                          <p:val>
                            <p:strVal val="#ppt_y"/>
                          </p:val>
                        </p:tav>
                        <p:tav tm="100000">
                          <p:val>
                            <p:strVal val="#ppt_y"/>
                          </p:val>
                        </p:tav>
                      </p:tavLst>
                    </p:anim>
                  </p:childTnLst>
                </p:cTn>
              </p:par>
            </p:tnLst>
          </p:tmpl>
        </p:tmplLst>
      </p:bldP>
      <p:bldP spid="15" grpId="0"/>
    </p:bld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75_Custom Layout">
    <p:spTree>
      <p:nvGrpSpPr>
        <p:cNvPr id="1" name=""/>
        <p:cNvGrpSpPr/>
        <p:nvPr/>
      </p:nvGrpSpPr>
      <p:grpSpPr>
        <a:xfrm>
          <a:off x="0" y="0"/>
          <a:ext cx="0" cy="0"/>
          <a:chOff x="0" y="0"/>
          <a:chExt cx="0" cy="0"/>
        </a:xfrm>
      </p:grpSpPr>
      <p:sp>
        <p:nvSpPr>
          <p:cNvPr id="9" name="Picture Placeholder 10"/>
          <p:cNvSpPr>
            <a:spLocks noGrp="1"/>
          </p:cNvSpPr>
          <p:nvPr>
            <p:ph type="pic" sz="quarter" idx="10" hasCustomPrompt="1"/>
          </p:nvPr>
        </p:nvSpPr>
        <p:spPr>
          <a:xfrm>
            <a:off x="4361883" y="2213968"/>
            <a:ext cx="3483238" cy="2182639"/>
          </a:xfrm>
          <a:custGeom>
            <a:avLst/>
            <a:gdLst>
              <a:gd name="connsiteX0" fmla="*/ 0 w 3867993"/>
              <a:gd name="connsiteY0" fmla="*/ 0 h 8367894"/>
              <a:gd name="connsiteX1" fmla="*/ 3867993 w 3867993"/>
              <a:gd name="connsiteY1" fmla="*/ 0 h 8367894"/>
              <a:gd name="connsiteX2" fmla="*/ 3867993 w 3867993"/>
              <a:gd name="connsiteY2" fmla="*/ 8367894 h 8367894"/>
              <a:gd name="connsiteX3" fmla="*/ 0 w 3867993"/>
              <a:gd name="connsiteY3" fmla="*/ 8367894 h 8367894"/>
            </a:gdLst>
            <a:ahLst/>
            <a:cxnLst>
              <a:cxn ang="0">
                <a:pos x="connsiteX0" y="connsiteY0"/>
              </a:cxn>
              <a:cxn ang="0">
                <a:pos x="connsiteX1" y="connsiteY1"/>
              </a:cxn>
              <a:cxn ang="0">
                <a:pos x="connsiteX2" y="connsiteY2"/>
              </a:cxn>
              <a:cxn ang="0">
                <a:pos x="connsiteX3" y="connsiteY3"/>
              </a:cxn>
            </a:cxnLst>
            <a:rect l="l" t="t" r="r" b="b"/>
            <a:pathLst>
              <a:path w="3867992" h="8367894">
                <a:moveTo>
                  <a:pt x="0" y="0"/>
                </a:moveTo>
                <a:lnTo>
                  <a:pt x="3867993" y="0"/>
                </a:lnTo>
                <a:lnTo>
                  <a:pt x="3867993" y="8367894"/>
                </a:lnTo>
                <a:lnTo>
                  <a:pt x="0" y="8367894"/>
                </a:lnTo>
                <a:close/>
              </a:path>
            </a:pathLst>
          </a:custGeom>
          <a:pattFill prst="pct60">
            <a:fgClr>
              <a:srgbClr val="FFFFFF"/>
            </a:fgClr>
            <a:bgClr>
              <a:srgbClr val="E6E9EE"/>
            </a:bgClr>
          </a:pattFill>
        </p:spPr>
        <p:txBody>
          <a:bodyPr anchor="ctr"/>
          <a:lstStyle>
            <a:lvl1pPr>
              <a:defRPr lang="en-US"/>
            </a:lvl1pPr>
          </a:lstStyle>
          <a:p>
            <a:pPr lvl="0"/>
            <a:r>
              <a:rPr lang="en-US"/>
              <a:t>Drag and drop picture</a:t>
            </a:r>
          </a:p>
        </p:txBody>
      </p:sp>
    </p:spTree>
    <p:extLst>
      <p:ext uri="{BB962C8B-B14F-4D97-AF65-F5344CB8AC3E}">
        <p14:creationId xmlns:p14="http://schemas.microsoft.com/office/powerpoint/2010/main" val="155844676"/>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4" dur="1800" decel="10000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1800" fill="hold"/>
                                        <p:tgtEl>
                                          <p:spTgt spid="9"/>
                                        </p:tgtEl>
                                        <p:attrNameLst>
                                          <p:attrName>ppt_x</p:attrName>
                                        </p:attrNameLst>
                                      </p:cBhvr>
                                      <p:tavLst>
                                        <p:tav tm="0">
                                          <p:val>
                                            <p:strVal val="#ppt_x"/>
                                          </p:val>
                                        </p:tav>
                                        <p:tav tm="100000">
                                          <p:val>
                                            <p:strVal val="#ppt_x"/>
                                          </p:val>
                                        </p:tav>
                                      </p:tavLst>
                                    </p:anim>
                                    <p:anim calcmode="lin" valueType="num">
                                      <p:cBhvr additive="base">
                                        <p:cTn id="8" dur="18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77_Custom Layout">
    <p:spTree>
      <p:nvGrpSpPr>
        <p:cNvPr id="1" name=""/>
        <p:cNvGrpSpPr/>
        <p:nvPr/>
      </p:nvGrpSpPr>
      <p:grpSpPr>
        <a:xfrm>
          <a:off x="0" y="0"/>
          <a:ext cx="0" cy="0"/>
          <a:chOff x="0" y="0"/>
          <a:chExt cx="0" cy="0"/>
        </a:xfrm>
      </p:grpSpPr>
      <p:sp>
        <p:nvSpPr>
          <p:cNvPr id="41" name="Picture Placeholder 15"/>
          <p:cNvSpPr>
            <a:spLocks noGrp="1"/>
          </p:cNvSpPr>
          <p:nvPr>
            <p:ph type="pic" sz="quarter" idx="10" hasCustomPrompt="1"/>
          </p:nvPr>
        </p:nvSpPr>
        <p:spPr>
          <a:xfrm>
            <a:off x="4577536" y="4183563"/>
            <a:ext cx="2820557" cy="3255264"/>
          </a:xfrm>
          <a:prstGeom prst="rect">
            <a:avLst/>
          </a:prstGeom>
          <a:pattFill prst="lgGrid">
            <a:fgClr>
              <a:schemeClr val="bg1"/>
            </a:fgClr>
            <a:bgClr>
              <a:schemeClr val="tx2">
                <a:lumMod val="10000"/>
                <a:lumOff val="90000"/>
              </a:schemeClr>
            </a:bgClr>
          </a:pattFill>
          <a:ln>
            <a:noFill/>
          </a:ln>
          <a:effectLst>
            <a:outerShdw blurRad="546100" dist="495300" dir="8100000" sx="94000" sy="94000" algn="ctr" rotWithShape="0">
              <a:srgbClr val="000000">
                <a:alpha val="40000"/>
              </a:srgbClr>
            </a:outerShdw>
          </a:effectLst>
          <a:scene3d>
            <a:camera prst="isometricTopUp"/>
            <a:lightRig rig="threePt" dir="t"/>
          </a:scene3d>
          <a:sp3d extrusionH="76200"/>
        </p:spPr>
        <p:txBody>
          <a:bodyPr anchor="ctr"/>
          <a:lstStyle>
            <a:lvl1pPr marL="0" indent="0" algn="ctr">
              <a:buNone/>
              <a:defRPr baseline="0"/>
            </a:lvl1pPr>
          </a:lstStyle>
          <a:p>
            <a:r>
              <a:rPr lang="en-US"/>
              <a:t>Drag and drop picture</a:t>
            </a:r>
          </a:p>
        </p:txBody>
      </p:sp>
      <p:sp>
        <p:nvSpPr>
          <p:cNvPr id="42" name="Picture Placeholder 15"/>
          <p:cNvSpPr>
            <a:spLocks noGrp="1"/>
          </p:cNvSpPr>
          <p:nvPr>
            <p:ph type="pic" sz="quarter" idx="11" hasCustomPrompt="1"/>
          </p:nvPr>
        </p:nvSpPr>
        <p:spPr>
          <a:xfrm>
            <a:off x="2130908" y="2791402"/>
            <a:ext cx="2820557" cy="3255264"/>
          </a:xfrm>
          <a:prstGeom prst="rect">
            <a:avLst/>
          </a:prstGeom>
          <a:pattFill prst="lgGrid">
            <a:fgClr>
              <a:schemeClr val="bg1"/>
            </a:fgClr>
            <a:bgClr>
              <a:schemeClr val="tx2">
                <a:lumMod val="10000"/>
                <a:lumOff val="90000"/>
              </a:schemeClr>
            </a:bgClr>
          </a:pattFill>
          <a:ln>
            <a:noFill/>
          </a:ln>
          <a:effectLst>
            <a:outerShdw blurRad="546100" dist="495300" dir="8100000" sx="94000" sy="94000" algn="ctr" rotWithShape="0">
              <a:srgbClr val="000000">
                <a:alpha val="40000"/>
              </a:srgbClr>
            </a:outerShdw>
          </a:effectLst>
          <a:scene3d>
            <a:camera prst="isometricTopUp"/>
            <a:lightRig rig="threePt" dir="t"/>
          </a:scene3d>
          <a:sp3d extrusionH="76200"/>
        </p:spPr>
        <p:txBody>
          <a:bodyPr anchor="ctr"/>
          <a:lstStyle>
            <a:lvl1pPr marL="0" indent="0" algn="ctr">
              <a:buNone/>
              <a:defRPr baseline="0"/>
            </a:lvl1pPr>
          </a:lstStyle>
          <a:p>
            <a:r>
              <a:rPr lang="en-US"/>
              <a:t>Drag and drop picture</a:t>
            </a:r>
          </a:p>
        </p:txBody>
      </p:sp>
      <p:sp>
        <p:nvSpPr>
          <p:cNvPr id="43" name="Picture Placeholder 15"/>
          <p:cNvSpPr>
            <a:spLocks noGrp="1"/>
          </p:cNvSpPr>
          <p:nvPr>
            <p:ph type="pic" sz="quarter" idx="12" hasCustomPrompt="1"/>
          </p:nvPr>
        </p:nvSpPr>
        <p:spPr>
          <a:xfrm>
            <a:off x="-315720" y="1400109"/>
            <a:ext cx="2820557" cy="3255264"/>
          </a:xfrm>
          <a:prstGeom prst="rect">
            <a:avLst/>
          </a:prstGeom>
          <a:pattFill prst="lgGrid">
            <a:fgClr>
              <a:schemeClr val="bg1"/>
            </a:fgClr>
            <a:bgClr>
              <a:schemeClr val="tx2">
                <a:lumMod val="10000"/>
                <a:lumOff val="90000"/>
              </a:schemeClr>
            </a:bgClr>
          </a:pattFill>
          <a:ln>
            <a:noFill/>
          </a:ln>
          <a:effectLst>
            <a:outerShdw blurRad="546100" dist="495300" dir="8100000" sx="94000" sy="94000" algn="ctr" rotWithShape="0">
              <a:srgbClr val="000000">
                <a:alpha val="40000"/>
              </a:srgbClr>
            </a:outerShdw>
          </a:effectLst>
          <a:scene3d>
            <a:camera prst="isometricTopUp"/>
            <a:lightRig rig="threePt" dir="t"/>
          </a:scene3d>
          <a:sp3d extrusionH="76200"/>
        </p:spPr>
        <p:txBody>
          <a:bodyPr anchor="ctr"/>
          <a:lstStyle>
            <a:lvl1pPr marL="0" indent="0" algn="ctr">
              <a:buNone/>
              <a:defRPr baseline="0"/>
            </a:lvl1pPr>
          </a:lstStyle>
          <a:p>
            <a:r>
              <a:rPr lang="en-US"/>
              <a:t>Drag and drop picture</a:t>
            </a:r>
          </a:p>
        </p:txBody>
      </p:sp>
      <p:sp>
        <p:nvSpPr>
          <p:cNvPr id="44" name="Picture Placeholder 15"/>
          <p:cNvSpPr>
            <a:spLocks noGrp="1"/>
          </p:cNvSpPr>
          <p:nvPr>
            <p:ph type="pic" sz="quarter" idx="13" hasCustomPrompt="1"/>
          </p:nvPr>
        </p:nvSpPr>
        <p:spPr>
          <a:xfrm>
            <a:off x="1380268" y="4834086"/>
            <a:ext cx="2820557" cy="3255264"/>
          </a:xfrm>
          <a:prstGeom prst="rect">
            <a:avLst/>
          </a:prstGeom>
          <a:pattFill prst="lgGrid">
            <a:fgClr>
              <a:schemeClr val="bg1"/>
            </a:fgClr>
            <a:bgClr>
              <a:schemeClr val="tx2">
                <a:lumMod val="10000"/>
                <a:lumOff val="90000"/>
              </a:schemeClr>
            </a:bgClr>
          </a:pattFill>
          <a:ln>
            <a:noFill/>
          </a:ln>
          <a:effectLst>
            <a:outerShdw blurRad="546100" dist="495300" dir="8100000" sx="94000" sy="94000" algn="ctr" rotWithShape="0">
              <a:srgbClr val="000000">
                <a:alpha val="40000"/>
              </a:srgbClr>
            </a:outerShdw>
          </a:effectLst>
          <a:scene3d>
            <a:camera prst="isometricTopUp"/>
            <a:lightRig rig="threePt" dir="t"/>
          </a:scene3d>
          <a:sp3d extrusionH="76200"/>
        </p:spPr>
        <p:txBody>
          <a:bodyPr anchor="ctr"/>
          <a:lstStyle>
            <a:lvl1pPr marL="0" indent="0" algn="ctr">
              <a:buNone/>
              <a:defRPr baseline="0"/>
            </a:lvl1pPr>
          </a:lstStyle>
          <a:p>
            <a:r>
              <a:rPr lang="en-US"/>
              <a:t>Drag and drop picture</a:t>
            </a:r>
          </a:p>
        </p:txBody>
      </p:sp>
      <p:sp>
        <p:nvSpPr>
          <p:cNvPr id="17" name="Picture Placeholder 15"/>
          <p:cNvSpPr>
            <a:spLocks noGrp="1"/>
          </p:cNvSpPr>
          <p:nvPr>
            <p:ph type="pic" sz="quarter" idx="14" hasCustomPrompt="1"/>
          </p:nvPr>
        </p:nvSpPr>
        <p:spPr>
          <a:xfrm>
            <a:off x="-1010007" y="3422821"/>
            <a:ext cx="2820557" cy="3255264"/>
          </a:xfrm>
          <a:prstGeom prst="rect">
            <a:avLst/>
          </a:prstGeom>
          <a:pattFill prst="lgGrid">
            <a:fgClr>
              <a:schemeClr val="bg1"/>
            </a:fgClr>
            <a:bgClr>
              <a:schemeClr val="tx2">
                <a:lumMod val="10000"/>
                <a:lumOff val="90000"/>
              </a:schemeClr>
            </a:bgClr>
          </a:pattFill>
          <a:ln>
            <a:noFill/>
          </a:ln>
          <a:effectLst>
            <a:outerShdw blurRad="546100" dist="495300" dir="8100000" sx="94000" sy="94000" algn="ctr" rotWithShape="0">
              <a:srgbClr val="000000">
                <a:alpha val="40000"/>
              </a:srgbClr>
            </a:outerShdw>
          </a:effectLst>
          <a:scene3d>
            <a:camera prst="isometricTopUp"/>
            <a:lightRig rig="threePt" dir="t"/>
          </a:scene3d>
          <a:sp3d extrusionH="76200"/>
        </p:spPr>
        <p:txBody>
          <a:bodyPr anchor="ctr"/>
          <a:lstStyle>
            <a:lvl1pPr marL="0" indent="0" algn="ctr">
              <a:buNone/>
              <a:defRPr baseline="0"/>
            </a:lvl1pPr>
          </a:lstStyle>
          <a:p>
            <a:r>
              <a:rPr lang="en-US"/>
              <a:t>Drag and drop picture</a:t>
            </a:r>
          </a:p>
        </p:txBody>
      </p:sp>
    </p:spTree>
    <p:extLst>
      <p:ext uri="{BB962C8B-B14F-4D97-AF65-F5344CB8AC3E}">
        <p14:creationId xmlns:p14="http://schemas.microsoft.com/office/powerpoint/2010/main" val="1343887618"/>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4" dur="1000" decel="100000" fill="hold" grpId="0" nodeType="withEffect">
                                  <p:stCondLst>
                                    <p:cond delay="0"/>
                                  </p:stCondLst>
                                  <p:childTnLst>
                                    <p:set>
                                      <p:cBhvr>
                                        <p:cTn id="6" dur="1" fill="hold">
                                          <p:stCondLst>
                                            <p:cond delay="0"/>
                                          </p:stCondLst>
                                        </p:cTn>
                                        <p:tgtEl>
                                          <p:spTgt spid="43"/>
                                        </p:tgtEl>
                                        <p:attrNameLst>
                                          <p:attrName>style.visibility</p:attrName>
                                        </p:attrNameLst>
                                      </p:cBhvr>
                                      <p:to>
                                        <p:strVal val="visible"/>
                                      </p:to>
                                    </p:set>
                                    <p:anim calcmode="lin" valueType="num">
                                      <p:cBhvr additive="base">
                                        <p:cTn id="7" dur="1000" fill="hold"/>
                                        <p:tgtEl>
                                          <p:spTgt spid="43"/>
                                        </p:tgtEl>
                                        <p:attrNameLst>
                                          <p:attrName>ppt_x</p:attrName>
                                        </p:attrNameLst>
                                      </p:cBhvr>
                                      <p:tavLst>
                                        <p:tav tm="0">
                                          <p:val>
                                            <p:strVal val="#ppt_x"/>
                                          </p:val>
                                        </p:tav>
                                        <p:tav tm="100000">
                                          <p:val>
                                            <p:strVal val="#ppt_x"/>
                                          </p:val>
                                        </p:tav>
                                      </p:tavLst>
                                    </p:anim>
                                    <p:anim calcmode="lin" valueType="num">
                                      <p:cBhvr additive="base">
                                        <p:cTn id="8" dur="1000" fill="hold"/>
                                        <p:tgtEl>
                                          <p:spTgt spid="43"/>
                                        </p:tgtEl>
                                        <p:attrNameLst>
                                          <p:attrName>ppt_y</p:attrName>
                                        </p:attrNameLst>
                                      </p:cBhvr>
                                      <p:tavLst>
                                        <p:tav tm="0">
                                          <p:val>
                                            <p:strVal val="1+#ppt_h/2"/>
                                          </p:val>
                                        </p:tav>
                                        <p:tav tm="100000">
                                          <p:val>
                                            <p:strVal val="#ppt_y"/>
                                          </p:val>
                                        </p:tav>
                                      </p:tavLst>
                                    </p:anim>
                                  </p:childTnLst>
                                </p:cTn>
                              </p:par>
                              <p:par>
                                <p:cTn id="9" presetID="2" presetClass="entr" presetSubtype="4" dur="1000" decel="100000" fill="hold" grpId="0" nodeType="withEffect">
                                  <p:stCondLst>
                                    <p:cond delay="100"/>
                                  </p:stCondLst>
                                  <p:childTnLst>
                                    <p:set>
                                      <p:cBhvr>
                                        <p:cTn id="10" dur="1" fill="hold">
                                          <p:stCondLst>
                                            <p:cond delay="0"/>
                                          </p:stCondLst>
                                        </p:cTn>
                                        <p:tgtEl>
                                          <p:spTgt spid="42"/>
                                        </p:tgtEl>
                                        <p:attrNameLst>
                                          <p:attrName>style.visibility</p:attrName>
                                        </p:attrNameLst>
                                      </p:cBhvr>
                                      <p:to>
                                        <p:strVal val="visible"/>
                                      </p:to>
                                    </p:set>
                                    <p:anim calcmode="lin" valueType="num">
                                      <p:cBhvr additive="base">
                                        <p:cTn id="11" dur="1000" fill="hold"/>
                                        <p:tgtEl>
                                          <p:spTgt spid="42"/>
                                        </p:tgtEl>
                                        <p:attrNameLst>
                                          <p:attrName>ppt_x</p:attrName>
                                        </p:attrNameLst>
                                      </p:cBhvr>
                                      <p:tavLst>
                                        <p:tav tm="0">
                                          <p:val>
                                            <p:strVal val="#ppt_x"/>
                                          </p:val>
                                        </p:tav>
                                        <p:tav tm="100000">
                                          <p:val>
                                            <p:strVal val="#ppt_x"/>
                                          </p:val>
                                        </p:tav>
                                      </p:tavLst>
                                    </p:anim>
                                    <p:anim calcmode="lin" valueType="num">
                                      <p:cBhvr additive="base">
                                        <p:cTn id="12" dur="1000" fill="hold"/>
                                        <p:tgtEl>
                                          <p:spTgt spid="42"/>
                                        </p:tgtEl>
                                        <p:attrNameLst>
                                          <p:attrName>ppt_y</p:attrName>
                                        </p:attrNameLst>
                                      </p:cBhvr>
                                      <p:tavLst>
                                        <p:tav tm="0">
                                          <p:val>
                                            <p:strVal val="1+#ppt_h/2"/>
                                          </p:val>
                                        </p:tav>
                                        <p:tav tm="100000">
                                          <p:val>
                                            <p:strVal val="#ppt_y"/>
                                          </p:val>
                                        </p:tav>
                                      </p:tavLst>
                                    </p:anim>
                                  </p:childTnLst>
                                </p:cTn>
                              </p:par>
                              <p:par>
                                <p:cTn id="13" presetID="2" presetClass="entr" presetSubtype="4" dur="1000" decel="100000" fill="hold" grpId="0" nodeType="withEffect">
                                  <p:stCondLst>
                                    <p:cond delay="200"/>
                                  </p:stCondLst>
                                  <p:childTnLst>
                                    <p:set>
                                      <p:cBhvr>
                                        <p:cTn id="14" dur="1" fill="hold">
                                          <p:stCondLst>
                                            <p:cond delay="0"/>
                                          </p:stCondLst>
                                        </p:cTn>
                                        <p:tgtEl>
                                          <p:spTgt spid="41"/>
                                        </p:tgtEl>
                                        <p:attrNameLst>
                                          <p:attrName>style.visibility</p:attrName>
                                        </p:attrNameLst>
                                      </p:cBhvr>
                                      <p:to>
                                        <p:strVal val="visible"/>
                                      </p:to>
                                    </p:set>
                                    <p:anim calcmode="lin" valueType="num">
                                      <p:cBhvr additive="base">
                                        <p:cTn id="15" dur="1000" fill="hold"/>
                                        <p:tgtEl>
                                          <p:spTgt spid="41"/>
                                        </p:tgtEl>
                                        <p:attrNameLst>
                                          <p:attrName>ppt_x</p:attrName>
                                        </p:attrNameLst>
                                      </p:cBhvr>
                                      <p:tavLst>
                                        <p:tav tm="0">
                                          <p:val>
                                            <p:strVal val="#ppt_x"/>
                                          </p:val>
                                        </p:tav>
                                        <p:tav tm="100000">
                                          <p:val>
                                            <p:strVal val="#ppt_x"/>
                                          </p:val>
                                        </p:tav>
                                      </p:tavLst>
                                    </p:anim>
                                    <p:anim calcmode="lin" valueType="num">
                                      <p:cBhvr additive="base">
                                        <p:cTn id="16" dur="1000" fill="hold"/>
                                        <p:tgtEl>
                                          <p:spTgt spid="41"/>
                                        </p:tgtEl>
                                        <p:attrNameLst>
                                          <p:attrName>ppt_y</p:attrName>
                                        </p:attrNameLst>
                                      </p:cBhvr>
                                      <p:tavLst>
                                        <p:tav tm="0">
                                          <p:val>
                                            <p:strVal val="1+#ppt_h/2"/>
                                          </p:val>
                                        </p:tav>
                                        <p:tav tm="100000">
                                          <p:val>
                                            <p:strVal val="#ppt_y"/>
                                          </p:val>
                                        </p:tav>
                                      </p:tavLst>
                                    </p:anim>
                                  </p:childTnLst>
                                </p:cTn>
                              </p:par>
                              <p:par>
                                <p:cTn id="17" presetID="2" presetClass="entr" presetSubtype="4" dur="1000" decel="100000" fill="hold" grpId="0" nodeType="withEffect">
                                  <p:stCondLst>
                                    <p:cond delay="300"/>
                                  </p:stCondLst>
                                  <p:childTnLst>
                                    <p:set>
                                      <p:cBhvr>
                                        <p:cTn id="18" dur="1" fill="hold">
                                          <p:stCondLst>
                                            <p:cond delay="0"/>
                                          </p:stCondLst>
                                        </p:cTn>
                                        <p:tgtEl>
                                          <p:spTgt spid="17"/>
                                        </p:tgtEl>
                                        <p:attrNameLst>
                                          <p:attrName>style.visibility</p:attrName>
                                        </p:attrNameLst>
                                      </p:cBhvr>
                                      <p:to>
                                        <p:strVal val="visible"/>
                                      </p:to>
                                    </p:set>
                                    <p:anim calcmode="lin" valueType="num">
                                      <p:cBhvr additive="base">
                                        <p:cTn id="19" dur="1000" fill="hold"/>
                                        <p:tgtEl>
                                          <p:spTgt spid="17"/>
                                        </p:tgtEl>
                                        <p:attrNameLst>
                                          <p:attrName>ppt_x</p:attrName>
                                        </p:attrNameLst>
                                      </p:cBhvr>
                                      <p:tavLst>
                                        <p:tav tm="0">
                                          <p:val>
                                            <p:strVal val="#ppt_x"/>
                                          </p:val>
                                        </p:tav>
                                        <p:tav tm="100000">
                                          <p:val>
                                            <p:strVal val="#ppt_x"/>
                                          </p:val>
                                        </p:tav>
                                      </p:tavLst>
                                    </p:anim>
                                    <p:anim calcmode="lin" valueType="num">
                                      <p:cBhvr additive="base">
                                        <p:cTn id="20" dur="1000" fill="hold"/>
                                        <p:tgtEl>
                                          <p:spTgt spid="17"/>
                                        </p:tgtEl>
                                        <p:attrNameLst>
                                          <p:attrName>ppt_y</p:attrName>
                                        </p:attrNameLst>
                                      </p:cBhvr>
                                      <p:tavLst>
                                        <p:tav tm="0">
                                          <p:val>
                                            <p:strVal val="1+#ppt_h/2"/>
                                          </p:val>
                                        </p:tav>
                                        <p:tav tm="100000">
                                          <p:val>
                                            <p:strVal val="#ppt_y"/>
                                          </p:val>
                                        </p:tav>
                                      </p:tavLst>
                                    </p:anim>
                                  </p:childTnLst>
                                </p:cTn>
                              </p:par>
                              <p:par>
                                <p:cTn id="21" presetID="2" presetClass="entr" presetSubtype="4" dur="1000" decel="100000" fill="hold" grpId="0" nodeType="withEffect">
                                  <p:stCondLst>
                                    <p:cond delay="400"/>
                                  </p:stCondLst>
                                  <p:childTnLst>
                                    <p:set>
                                      <p:cBhvr>
                                        <p:cTn id="22" dur="1" fill="hold">
                                          <p:stCondLst>
                                            <p:cond delay="0"/>
                                          </p:stCondLst>
                                        </p:cTn>
                                        <p:tgtEl>
                                          <p:spTgt spid="44"/>
                                        </p:tgtEl>
                                        <p:attrNameLst>
                                          <p:attrName>style.visibility</p:attrName>
                                        </p:attrNameLst>
                                      </p:cBhvr>
                                      <p:to>
                                        <p:strVal val="visible"/>
                                      </p:to>
                                    </p:set>
                                    <p:anim calcmode="lin" valueType="num">
                                      <p:cBhvr additive="base">
                                        <p:cTn id="23" dur="1000" fill="hold"/>
                                        <p:tgtEl>
                                          <p:spTgt spid="44"/>
                                        </p:tgtEl>
                                        <p:attrNameLst>
                                          <p:attrName>ppt_x</p:attrName>
                                        </p:attrNameLst>
                                      </p:cBhvr>
                                      <p:tavLst>
                                        <p:tav tm="0">
                                          <p:val>
                                            <p:strVal val="#ppt_x"/>
                                          </p:val>
                                        </p:tav>
                                        <p:tav tm="100000">
                                          <p:val>
                                            <p:strVal val="#ppt_x"/>
                                          </p:val>
                                        </p:tav>
                                      </p:tavLst>
                                    </p:anim>
                                    <p:anim calcmode="lin" valueType="num">
                                      <p:cBhvr additive="base">
                                        <p:cTn id="24" dur="1000" fill="hold"/>
                                        <p:tgtEl>
                                          <p:spTgt spid="4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animBg="1"/>
      <p:bldP spid="42" grpId="0" animBg="1"/>
      <p:bldP spid="43" grpId="0" animBg="1"/>
      <p:bldP spid="44" grpId="0" animBg="1"/>
      <p:bldP spid="17" grpId="0" animBg="1"/>
    </p:bld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76_Custom Layout">
    <p:spTree>
      <p:nvGrpSpPr>
        <p:cNvPr id="1" name=""/>
        <p:cNvGrpSpPr/>
        <p:nvPr/>
      </p:nvGrpSpPr>
      <p:grpSpPr>
        <a:xfrm>
          <a:off x="0" y="0"/>
          <a:ext cx="0" cy="0"/>
          <a:chOff x="0" y="0"/>
          <a:chExt cx="0" cy="0"/>
        </a:xfrm>
      </p:grpSpPr>
      <p:sp>
        <p:nvSpPr>
          <p:cNvPr id="41" name="Picture Placeholder 15"/>
          <p:cNvSpPr>
            <a:spLocks noGrp="1"/>
          </p:cNvSpPr>
          <p:nvPr>
            <p:ph type="pic" sz="quarter" idx="10" hasCustomPrompt="1"/>
          </p:nvPr>
        </p:nvSpPr>
        <p:spPr>
          <a:xfrm>
            <a:off x="7228910" y="2475212"/>
            <a:ext cx="2820557" cy="3255264"/>
          </a:xfrm>
          <a:prstGeom prst="rect">
            <a:avLst/>
          </a:prstGeom>
          <a:pattFill prst="lgGrid">
            <a:fgClr>
              <a:schemeClr val="bg1"/>
            </a:fgClr>
            <a:bgClr>
              <a:schemeClr val="tx2">
                <a:lumMod val="10000"/>
                <a:lumOff val="90000"/>
              </a:schemeClr>
            </a:bgClr>
          </a:pattFill>
          <a:ln>
            <a:noFill/>
          </a:ln>
          <a:effectLst>
            <a:outerShdw blurRad="546100" dist="495300" dir="8100000" sx="94000" sy="94000" algn="ctr" rotWithShape="0">
              <a:srgbClr val="000000">
                <a:alpha val="40000"/>
              </a:srgbClr>
            </a:outerShdw>
          </a:effectLst>
          <a:scene3d>
            <a:camera prst="isometricTopUp"/>
            <a:lightRig rig="threePt" dir="t"/>
          </a:scene3d>
          <a:sp3d extrusionH="76200"/>
        </p:spPr>
        <p:txBody>
          <a:bodyPr anchor="ctr"/>
          <a:lstStyle>
            <a:lvl1pPr marL="0" indent="0" algn="ctr">
              <a:buNone/>
              <a:defRPr baseline="0"/>
            </a:lvl1pPr>
          </a:lstStyle>
          <a:p>
            <a:r>
              <a:rPr lang="en-US"/>
              <a:t>Drag and drop picture</a:t>
            </a:r>
          </a:p>
        </p:txBody>
      </p:sp>
      <p:sp>
        <p:nvSpPr>
          <p:cNvPr id="42" name="Picture Placeholder 15"/>
          <p:cNvSpPr>
            <a:spLocks noGrp="1"/>
          </p:cNvSpPr>
          <p:nvPr>
            <p:ph type="pic" sz="quarter" idx="11" hasCustomPrompt="1"/>
          </p:nvPr>
        </p:nvSpPr>
        <p:spPr>
          <a:xfrm>
            <a:off x="7228910" y="2113507"/>
            <a:ext cx="2820557" cy="3255264"/>
          </a:xfrm>
          <a:prstGeom prst="rect">
            <a:avLst/>
          </a:prstGeom>
          <a:pattFill prst="lgGrid">
            <a:fgClr>
              <a:schemeClr val="bg1"/>
            </a:fgClr>
            <a:bgClr>
              <a:schemeClr val="tx2">
                <a:lumMod val="10000"/>
                <a:lumOff val="90000"/>
              </a:schemeClr>
            </a:bgClr>
          </a:pattFill>
          <a:ln>
            <a:noFill/>
          </a:ln>
          <a:effectLst>
            <a:outerShdw blurRad="546100" dist="495300" dir="8100000" sx="94000" sy="94000" algn="ctr" rotWithShape="0">
              <a:srgbClr val="000000">
                <a:alpha val="40000"/>
              </a:srgbClr>
            </a:outerShdw>
          </a:effectLst>
          <a:scene3d>
            <a:camera prst="isometricTopUp"/>
            <a:lightRig rig="threePt" dir="t"/>
          </a:scene3d>
          <a:sp3d extrusionH="76200"/>
        </p:spPr>
        <p:txBody>
          <a:bodyPr anchor="ctr"/>
          <a:lstStyle>
            <a:lvl1pPr marL="0" indent="0" algn="ctr">
              <a:buNone/>
              <a:defRPr baseline="0"/>
            </a:lvl1pPr>
          </a:lstStyle>
          <a:p>
            <a:r>
              <a:rPr lang="en-US"/>
              <a:t>Drag and drop picture</a:t>
            </a:r>
          </a:p>
        </p:txBody>
      </p:sp>
      <p:sp>
        <p:nvSpPr>
          <p:cNvPr id="43" name="Picture Placeholder 15"/>
          <p:cNvSpPr>
            <a:spLocks noGrp="1"/>
          </p:cNvSpPr>
          <p:nvPr>
            <p:ph type="pic" sz="quarter" idx="12" hasCustomPrompt="1"/>
          </p:nvPr>
        </p:nvSpPr>
        <p:spPr>
          <a:xfrm>
            <a:off x="7228910" y="1751802"/>
            <a:ext cx="2820557" cy="3255264"/>
          </a:xfrm>
          <a:prstGeom prst="rect">
            <a:avLst/>
          </a:prstGeom>
          <a:pattFill prst="lgGrid">
            <a:fgClr>
              <a:schemeClr val="bg1"/>
            </a:fgClr>
            <a:bgClr>
              <a:schemeClr val="tx2">
                <a:lumMod val="10000"/>
                <a:lumOff val="90000"/>
              </a:schemeClr>
            </a:bgClr>
          </a:pattFill>
          <a:ln>
            <a:noFill/>
          </a:ln>
          <a:effectLst>
            <a:outerShdw blurRad="546100" dist="495300" dir="8100000" sx="94000" sy="94000" algn="ctr" rotWithShape="0">
              <a:srgbClr val="000000">
                <a:alpha val="40000"/>
              </a:srgbClr>
            </a:outerShdw>
          </a:effectLst>
          <a:scene3d>
            <a:camera prst="isometricTopUp"/>
            <a:lightRig rig="threePt" dir="t"/>
          </a:scene3d>
          <a:sp3d extrusionH="76200"/>
        </p:spPr>
        <p:txBody>
          <a:bodyPr anchor="ctr"/>
          <a:lstStyle>
            <a:lvl1pPr marL="0" indent="0" algn="ctr">
              <a:buNone/>
              <a:defRPr baseline="0"/>
            </a:lvl1pPr>
          </a:lstStyle>
          <a:p>
            <a:r>
              <a:rPr lang="en-US"/>
              <a:t>Drag and drop picture</a:t>
            </a:r>
          </a:p>
        </p:txBody>
      </p:sp>
      <p:sp>
        <p:nvSpPr>
          <p:cNvPr id="44" name="Picture Placeholder 15"/>
          <p:cNvSpPr>
            <a:spLocks noGrp="1"/>
          </p:cNvSpPr>
          <p:nvPr>
            <p:ph type="pic" sz="quarter" idx="13" hasCustomPrompt="1"/>
          </p:nvPr>
        </p:nvSpPr>
        <p:spPr>
          <a:xfrm>
            <a:off x="7228910" y="1390097"/>
            <a:ext cx="2820557" cy="3255264"/>
          </a:xfrm>
          <a:prstGeom prst="rect">
            <a:avLst/>
          </a:prstGeom>
          <a:pattFill prst="lgGrid">
            <a:fgClr>
              <a:schemeClr val="bg1"/>
            </a:fgClr>
            <a:bgClr>
              <a:schemeClr val="tx2">
                <a:lumMod val="10000"/>
                <a:lumOff val="90000"/>
              </a:schemeClr>
            </a:bgClr>
          </a:pattFill>
          <a:ln>
            <a:noFill/>
          </a:ln>
          <a:effectLst>
            <a:outerShdw blurRad="546100" dist="495300" dir="8100000" sx="94000" sy="94000" algn="ctr" rotWithShape="0">
              <a:srgbClr val="000000">
                <a:alpha val="40000"/>
              </a:srgbClr>
            </a:outerShdw>
          </a:effectLst>
          <a:scene3d>
            <a:camera prst="isometricTopUp"/>
            <a:lightRig rig="threePt" dir="t"/>
          </a:scene3d>
          <a:sp3d extrusionH="76200"/>
        </p:spPr>
        <p:txBody>
          <a:bodyPr anchor="ctr"/>
          <a:lstStyle>
            <a:lvl1pPr marL="0" indent="0" algn="ctr">
              <a:buNone/>
              <a:defRPr baseline="0"/>
            </a:lvl1pPr>
          </a:lstStyle>
          <a:p>
            <a:r>
              <a:rPr lang="en-US"/>
              <a:t>Drag and drop picture</a:t>
            </a:r>
          </a:p>
        </p:txBody>
      </p:sp>
    </p:spTree>
    <p:extLst>
      <p:ext uri="{BB962C8B-B14F-4D97-AF65-F5344CB8AC3E}">
        <p14:creationId xmlns:p14="http://schemas.microsoft.com/office/powerpoint/2010/main" val="1280805551"/>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10" presetClass="entr" presetSubtype="0" dur="500" fill="hold" grpId="0" nodeType="withEffect">
                                  <p:stCondLst>
                                    <p:cond delay="0"/>
                                  </p:stCondLst>
                                  <p:childTnLst>
                                    <p:set>
                                      <p:cBhvr>
                                        <p:cTn id="6" dur="1" fill="hold">
                                          <p:stCondLst>
                                            <p:cond delay="0"/>
                                          </p:stCondLst>
                                        </p:cTn>
                                        <p:tgtEl>
                                          <p:spTgt spid="41"/>
                                        </p:tgtEl>
                                        <p:attrNameLst>
                                          <p:attrName>style.visibility</p:attrName>
                                        </p:attrNameLst>
                                      </p:cBhvr>
                                      <p:to>
                                        <p:strVal val="visible"/>
                                      </p:to>
                                    </p:set>
                                    <p:animEffect transition="in" filter="fade">
                                      <p:cBhvr>
                                        <p:cTn id="7" dur="500"/>
                                        <p:tgtEl>
                                          <p:spTgt spid="41"/>
                                        </p:tgtEl>
                                      </p:cBhvr>
                                    </p:animEffect>
                                  </p:childTnLst>
                                </p:cTn>
                              </p:par>
                              <p:par>
                                <p:cTn id="8" presetID="42" presetClass="path" presetSubtype="0" dur="1000" decel="100000" fill="hold" grpId="1" nodeType="withEffect">
                                  <p:stCondLst>
                                    <p:cond delay="0"/>
                                  </p:stCondLst>
                                  <p:childTnLst>
                                    <p:animMotion origin="layout" path="M 3.40711E-06 1.85185E-06 L 3.40711E-06 0.08669" pathEditMode="relative" rAng="0" ptsTypes="AA">
                                      <p:cBhvr>
                                        <p:cTn id="9" dur="1000" spd="-100000" fill="hold"/>
                                        <p:tgtEl>
                                          <p:spTgt spid="41"/>
                                        </p:tgtEl>
                                        <p:attrNameLst>
                                          <p:attrName>ppt_x</p:attrName>
                                          <p:attrName>ppt_y</p:attrName>
                                        </p:attrNameLst>
                                      </p:cBhvr>
                                      <p:rCtr x="0" y="4329"/>
                                    </p:animMotion>
                                  </p:childTnLst>
                                </p:cTn>
                              </p:par>
                              <p:par>
                                <p:cTn id="10" presetID="10" presetClass="entr" presetSubtype="0" dur="500" fill="hold" grpId="0" nodeType="withEffect">
                                  <p:stCondLst>
                                    <p:cond delay="500"/>
                                  </p:stCondLst>
                                  <p:childTnLst>
                                    <p:set>
                                      <p:cBhvr>
                                        <p:cTn id="11" dur="1" fill="hold">
                                          <p:stCondLst>
                                            <p:cond delay="0"/>
                                          </p:stCondLst>
                                        </p:cTn>
                                        <p:tgtEl>
                                          <p:spTgt spid="42"/>
                                        </p:tgtEl>
                                        <p:attrNameLst>
                                          <p:attrName>style.visibility</p:attrName>
                                        </p:attrNameLst>
                                      </p:cBhvr>
                                      <p:to>
                                        <p:strVal val="visible"/>
                                      </p:to>
                                    </p:set>
                                    <p:animEffect transition="in" filter="fade">
                                      <p:cBhvr>
                                        <p:cTn id="12" dur="500"/>
                                        <p:tgtEl>
                                          <p:spTgt spid="42"/>
                                        </p:tgtEl>
                                      </p:cBhvr>
                                    </p:animEffect>
                                  </p:childTnLst>
                                </p:cTn>
                              </p:par>
                              <p:par>
                                <p:cTn id="13" presetID="42" presetClass="path" presetSubtype="0" dur="1000" decel="100000" fill="hold" grpId="1" nodeType="withEffect">
                                  <p:stCondLst>
                                    <p:cond delay="500"/>
                                  </p:stCondLst>
                                  <p:childTnLst>
                                    <p:animMotion origin="layout" path="M 3.40711E-06 3.88889E-06 L 3.40711E-06 0.08669" pathEditMode="relative" rAng="0" ptsTypes="AA">
                                      <p:cBhvr>
                                        <p:cTn id="14" dur="1000" spd="-100000" fill="hold"/>
                                        <p:tgtEl>
                                          <p:spTgt spid="42"/>
                                        </p:tgtEl>
                                        <p:attrNameLst>
                                          <p:attrName>ppt_x</p:attrName>
                                          <p:attrName>ppt_y</p:attrName>
                                        </p:attrNameLst>
                                      </p:cBhvr>
                                      <p:rCtr x="0" y="4329"/>
                                    </p:animMotion>
                                  </p:childTnLst>
                                </p:cTn>
                              </p:par>
                              <p:par>
                                <p:cTn id="15" presetID="10" presetClass="entr" presetSubtype="0" dur="500" fill="hold" grpId="0" nodeType="withEffect">
                                  <p:stCondLst>
                                    <p:cond delay="1000"/>
                                  </p:stCondLst>
                                  <p:childTnLst>
                                    <p:set>
                                      <p:cBhvr>
                                        <p:cTn id="16" dur="1" fill="hold">
                                          <p:stCondLst>
                                            <p:cond delay="0"/>
                                          </p:stCondLst>
                                        </p:cTn>
                                        <p:tgtEl>
                                          <p:spTgt spid="43"/>
                                        </p:tgtEl>
                                        <p:attrNameLst>
                                          <p:attrName>style.visibility</p:attrName>
                                        </p:attrNameLst>
                                      </p:cBhvr>
                                      <p:to>
                                        <p:strVal val="visible"/>
                                      </p:to>
                                    </p:set>
                                    <p:animEffect transition="in" filter="fade">
                                      <p:cBhvr>
                                        <p:cTn id="17" dur="500"/>
                                        <p:tgtEl>
                                          <p:spTgt spid="43"/>
                                        </p:tgtEl>
                                      </p:cBhvr>
                                    </p:animEffect>
                                  </p:childTnLst>
                                </p:cTn>
                              </p:par>
                              <p:par>
                                <p:cTn id="18" presetID="42" presetClass="path" presetSubtype="0" dur="1000" decel="100000" fill="hold" grpId="1" nodeType="withEffect">
                                  <p:stCondLst>
                                    <p:cond delay="1000"/>
                                  </p:stCondLst>
                                  <p:childTnLst>
                                    <p:animMotion origin="layout" path="M 3.40711E-06 1.66667E-06 L 3.40711E-06 0.08669" pathEditMode="relative" rAng="0" ptsTypes="AA">
                                      <p:cBhvr>
                                        <p:cTn id="19" dur="1000" spd="-100000" fill="hold"/>
                                        <p:tgtEl>
                                          <p:spTgt spid="43"/>
                                        </p:tgtEl>
                                        <p:attrNameLst>
                                          <p:attrName>ppt_x</p:attrName>
                                          <p:attrName>ppt_y</p:attrName>
                                        </p:attrNameLst>
                                      </p:cBhvr>
                                      <p:rCtr x="0" y="4329"/>
                                    </p:animMotion>
                                  </p:childTnLst>
                                </p:cTn>
                              </p:par>
                              <p:par>
                                <p:cTn id="20" presetID="10" presetClass="entr" presetSubtype="0" dur="500" fill="hold" grpId="0" nodeType="withEffect">
                                  <p:stCondLst>
                                    <p:cond delay="1500"/>
                                  </p:stCondLst>
                                  <p:childTnLst>
                                    <p:set>
                                      <p:cBhvr>
                                        <p:cTn id="21" dur="1" fill="hold">
                                          <p:stCondLst>
                                            <p:cond delay="0"/>
                                          </p:stCondLst>
                                        </p:cTn>
                                        <p:tgtEl>
                                          <p:spTgt spid="44"/>
                                        </p:tgtEl>
                                        <p:attrNameLst>
                                          <p:attrName>style.visibility</p:attrName>
                                        </p:attrNameLst>
                                      </p:cBhvr>
                                      <p:to>
                                        <p:strVal val="visible"/>
                                      </p:to>
                                    </p:set>
                                    <p:animEffect transition="in" filter="fade">
                                      <p:cBhvr>
                                        <p:cTn id="22" dur="500"/>
                                        <p:tgtEl>
                                          <p:spTgt spid="44"/>
                                        </p:tgtEl>
                                      </p:cBhvr>
                                    </p:animEffect>
                                  </p:childTnLst>
                                </p:cTn>
                              </p:par>
                              <p:par>
                                <p:cTn id="23" presetID="42" presetClass="path" presetSubtype="0" dur="1000" decel="100000" fill="hold" grpId="1" nodeType="withEffect">
                                  <p:stCondLst>
                                    <p:cond delay="1500"/>
                                  </p:stCondLst>
                                  <p:childTnLst>
                                    <p:animMotion origin="layout" path="M 3.40711E-06 -5.55556E-07 L 3.40711E-06 0.08669" pathEditMode="relative" rAng="0" ptsTypes="AA">
                                      <p:cBhvr>
                                        <p:cTn id="24" dur="1000" spd="-100000" fill="hold"/>
                                        <p:tgtEl>
                                          <p:spTgt spid="44"/>
                                        </p:tgtEl>
                                        <p:attrNameLst>
                                          <p:attrName>ppt_x</p:attrName>
                                          <p:attrName>ppt_y</p:attrName>
                                        </p:attrNameLst>
                                      </p:cBhvr>
                                      <p:rCtr x="0" y="432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animBg="1"/>
      <p:bldP spid="41" grpId="1" animBg="1"/>
      <p:bldP spid="42" grpId="0" animBg="1"/>
      <p:bldP spid="42" grpId="1" animBg="1"/>
      <p:bldP spid="43" grpId="0" animBg="1"/>
      <p:bldP spid="43" grpId="1" animBg="1"/>
      <p:bldP spid="44" grpId="0" animBg="1"/>
      <p:bldP spid="44" grpId="1" animBg="1"/>
    </p:bld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Picture Placeholder 4">
            <a:extLst>
              <a:ext uri="{FF2B5EF4-FFF2-40B4-BE49-F238E27FC236}">
                <a16:creationId xmlns:a16="http://schemas.microsoft.com/office/drawing/2014/main" id="{CDD5BDAE-070D-466F-9878-EB1BC2848ED8}"/>
              </a:ext>
            </a:extLst>
          </p:cNvPr>
          <p:cNvSpPr>
            <a:spLocks noGrp="1"/>
          </p:cNvSpPr>
          <p:nvPr>
            <p:ph type="pic" sz="quarter" idx="11"/>
          </p:nvPr>
        </p:nvSpPr>
        <p:spPr>
          <a:xfrm>
            <a:off x="812800" y="728662"/>
            <a:ext cx="10566400" cy="5589588"/>
          </a:xfrm>
          <a:custGeom>
            <a:avLst/>
            <a:gdLst>
              <a:gd name="connsiteX0" fmla="*/ 0 w 7829549"/>
              <a:gd name="connsiteY0" fmla="*/ 0 h 7543801"/>
              <a:gd name="connsiteX1" fmla="*/ 7829549 w 7829549"/>
              <a:gd name="connsiteY1" fmla="*/ 0 h 7543801"/>
              <a:gd name="connsiteX2" fmla="*/ 7829549 w 7829549"/>
              <a:gd name="connsiteY2" fmla="*/ 7543801 h 7543801"/>
              <a:gd name="connsiteX3" fmla="*/ 0 w 7829549"/>
              <a:gd name="connsiteY3" fmla="*/ 7543801 h 7543801"/>
            </a:gdLst>
            <a:ahLst/>
            <a:cxnLst>
              <a:cxn ang="0">
                <a:pos x="connsiteX0" y="connsiteY0"/>
              </a:cxn>
              <a:cxn ang="0">
                <a:pos x="connsiteX1" y="connsiteY1"/>
              </a:cxn>
              <a:cxn ang="0">
                <a:pos x="connsiteX2" y="connsiteY2"/>
              </a:cxn>
              <a:cxn ang="0">
                <a:pos x="connsiteX3" y="connsiteY3"/>
              </a:cxn>
            </a:cxnLst>
            <a:rect l="l" t="t" r="r" b="b"/>
            <a:pathLst>
              <a:path w="7829549" h="7543801">
                <a:moveTo>
                  <a:pt x="0" y="0"/>
                </a:moveTo>
                <a:lnTo>
                  <a:pt x="7829549" y="0"/>
                </a:lnTo>
                <a:lnTo>
                  <a:pt x="7829549" y="7543801"/>
                </a:lnTo>
                <a:lnTo>
                  <a:pt x="0" y="7543801"/>
                </a:ln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Tree>
    <p:extLst>
      <p:ext uri="{BB962C8B-B14F-4D97-AF65-F5344CB8AC3E}">
        <p14:creationId xmlns:p14="http://schemas.microsoft.com/office/powerpoint/2010/main" val="960719014"/>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4" dur="2200" decel="10000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2200" fill="hold"/>
                                        <p:tgtEl>
                                          <p:spTgt spid="2"/>
                                        </p:tgtEl>
                                        <p:attrNameLst>
                                          <p:attrName>ppt_x</p:attrName>
                                        </p:attrNameLst>
                                      </p:cBhvr>
                                      <p:tavLst>
                                        <p:tav tm="0">
                                          <p:val>
                                            <p:strVal val="#ppt_x"/>
                                          </p:val>
                                        </p:tav>
                                        <p:tav tm="100000">
                                          <p:val>
                                            <p:strVal val="#ppt_x"/>
                                          </p:val>
                                        </p:tav>
                                      </p:tavLst>
                                    </p:anim>
                                    <p:anim calcmode="lin" valueType="num">
                                      <p:cBhvr additive="base">
                                        <p:cTn id="8" dur="2200" fill="hold"/>
                                        <p:tgtEl>
                                          <p:spTgt spid="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extLst>
    <p:ext uri="{DCECCB84-F9BA-43D5-87BE-67443E8EF086}">
      <p15:sldGuideLst xmlns:p15="http://schemas.microsoft.com/office/powerpoint/2012/main">
        <p15:guide id="1" orient="horz" pos="4320">
          <p15:clr>
            <a:srgbClr val="FBAE40"/>
          </p15:clr>
        </p15:guide>
        <p15:guide id="2" pos="7681">
          <p15:clr>
            <a:srgbClr val="FBAE40"/>
          </p15:clr>
        </p15:guide>
        <p15:guide id="3" pos="985">
          <p15:clr>
            <a:srgbClr val="FBAE40"/>
          </p15:clr>
        </p15:guide>
        <p15:guide id="4" pos="14377">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8EC47BBF-5081-44C2-A39B-5B7D55A2CAC4}"/>
              </a:ext>
            </a:extLst>
          </p:cNvPr>
          <p:cNvSpPr>
            <a:spLocks noGrp="1"/>
          </p:cNvSpPr>
          <p:nvPr>
            <p:ph type="pic" sz="quarter" idx="11"/>
          </p:nvPr>
        </p:nvSpPr>
        <p:spPr>
          <a:xfrm>
            <a:off x="781741" y="793750"/>
            <a:ext cx="5314258" cy="5524500"/>
          </a:xfrm>
          <a:custGeom>
            <a:avLst/>
            <a:gdLst>
              <a:gd name="connsiteX0" fmla="*/ 0 w 10629899"/>
              <a:gd name="connsiteY0" fmla="*/ 0 h 11049000"/>
              <a:gd name="connsiteX1" fmla="*/ 10629899 w 10629899"/>
              <a:gd name="connsiteY1" fmla="*/ 0 h 11049000"/>
              <a:gd name="connsiteX2" fmla="*/ 10629899 w 10629899"/>
              <a:gd name="connsiteY2" fmla="*/ 11049000 h 11049000"/>
              <a:gd name="connsiteX3" fmla="*/ 0 w 10629899"/>
              <a:gd name="connsiteY3" fmla="*/ 11049000 h 11049000"/>
            </a:gdLst>
            <a:ahLst/>
            <a:cxnLst>
              <a:cxn ang="0">
                <a:pos x="connsiteX0" y="connsiteY0"/>
              </a:cxn>
              <a:cxn ang="0">
                <a:pos x="connsiteX1" y="connsiteY1"/>
              </a:cxn>
              <a:cxn ang="0">
                <a:pos x="connsiteX2" y="connsiteY2"/>
              </a:cxn>
              <a:cxn ang="0">
                <a:pos x="connsiteX3" y="connsiteY3"/>
              </a:cxn>
            </a:cxnLst>
            <a:rect l="l" t="t" r="r" b="b"/>
            <a:pathLst>
              <a:path w="10629899" h="11049000">
                <a:moveTo>
                  <a:pt x="0" y="0"/>
                </a:moveTo>
                <a:lnTo>
                  <a:pt x="10629899" y="0"/>
                </a:lnTo>
                <a:lnTo>
                  <a:pt x="10629899" y="11049000"/>
                </a:lnTo>
                <a:lnTo>
                  <a:pt x="0" y="11049000"/>
                </a:ln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
        <p:nvSpPr>
          <p:cNvPr id="9" name="Picture Placeholder 8">
            <a:extLst>
              <a:ext uri="{FF2B5EF4-FFF2-40B4-BE49-F238E27FC236}">
                <a16:creationId xmlns:a16="http://schemas.microsoft.com/office/drawing/2014/main" id="{D59F983A-E9C3-445F-A7F1-45E2008FDCDD}"/>
              </a:ext>
            </a:extLst>
          </p:cNvPr>
          <p:cNvSpPr>
            <a:spLocks noGrp="1"/>
          </p:cNvSpPr>
          <p:nvPr>
            <p:ph type="pic" sz="quarter" idx="12"/>
          </p:nvPr>
        </p:nvSpPr>
        <p:spPr>
          <a:xfrm>
            <a:off x="6096000" y="3575050"/>
            <a:ext cx="2638804" cy="2743200"/>
          </a:xfrm>
          <a:custGeom>
            <a:avLst/>
            <a:gdLst>
              <a:gd name="connsiteX0" fmla="*/ 0 w 5278295"/>
              <a:gd name="connsiteY0" fmla="*/ 0 h 5486400"/>
              <a:gd name="connsiteX1" fmla="*/ 5278295 w 5278295"/>
              <a:gd name="connsiteY1" fmla="*/ 0 h 5486400"/>
              <a:gd name="connsiteX2" fmla="*/ 5278295 w 5278295"/>
              <a:gd name="connsiteY2" fmla="*/ 5486400 h 5486400"/>
              <a:gd name="connsiteX3" fmla="*/ 0 w 5278295"/>
              <a:gd name="connsiteY3" fmla="*/ 5486400 h 5486400"/>
            </a:gdLst>
            <a:ahLst/>
            <a:cxnLst>
              <a:cxn ang="0">
                <a:pos x="connsiteX0" y="connsiteY0"/>
              </a:cxn>
              <a:cxn ang="0">
                <a:pos x="connsiteX1" y="connsiteY1"/>
              </a:cxn>
              <a:cxn ang="0">
                <a:pos x="connsiteX2" y="connsiteY2"/>
              </a:cxn>
              <a:cxn ang="0">
                <a:pos x="connsiteX3" y="connsiteY3"/>
              </a:cxn>
            </a:cxnLst>
            <a:rect l="l" t="t" r="r" b="b"/>
            <a:pathLst>
              <a:path w="5278295" h="5486400">
                <a:moveTo>
                  <a:pt x="0" y="0"/>
                </a:moveTo>
                <a:lnTo>
                  <a:pt x="5278295" y="0"/>
                </a:lnTo>
                <a:lnTo>
                  <a:pt x="5278295" y="5486400"/>
                </a:lnTo>
                <a:lnTo>
                  <a:pt x="0" y="5486400"/>
                </a:ln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
        <p:nvSpPr>
          <p:cNvPr id="11" name="Picture Placeholder 10">
            <a:extLst>
              <a:ext uri="{FF2B5EF4-FFF2-40B4-BE49-F238E27FC236}">
                <a16:creationId xmlns:a16="http://schemas.microsoft.com/office/drawing/2014/main" id="{BDE4FB34-EA53-468B-BEDD-E3F16B8A7852}"/>
              </a:ext>
            </a:extLst>
          </p:cNvPr>
          <p:cNvSpPr>
            <a:spLocks noGrp="1"/>
          </p:cNvSpPr>
          <p:nvPr>
            <p:ph type="pic" sz="quarter" idx="13"/>
          </p:nvPr>
        </p:nvSpPr>
        <p:spPr>
          <a:xfrm>
            <a:off x="8734803" y="793750"/>
            <a:ext cx="2675454" cy="2781300"/>
          </a:xfrm>
          <a:custGeom>
            <a:avLst/>
            <a:gdLst>
              <a:gd name="connsiteX0" fmla="*/ 0 w 5351604"/>
              <a:gd name="connsiteY0" fmla="*/ 0 h 5562600"/>
              <a:gd name="connsiteX1" fmla="*/ 5351604 w 5351604"/>
              <a:gd name="connsiteY1" fmla="*/ 0 h 5562600"/>
              <a:gd name="connsiteX2" fmla="*/ 5351604 w 5351604"/>
              <a:gd name="connsiteY2" fmla="*/ 5562600 h 5562600"/>
              <a:gd name="connsiteX3" fmla="*/ 0 w 5351604"/>
              <a:gd name="connsiteY3" fmla="*/ 5562600 h 5562600"/>
            </a:gdLst>
            <a:ahLst/>
            <a:cxnLst>
              <a:cxn ang="0">
                <a:pos x="connsiteX0" y="connsiteY0"/>
              </a:cxn>
              <a:cxn ang="0">
                <a:pos x="connsiteX1" y="connsiteY1"/>
              </a:cxn>
              <a:cxn ang="0">
                <a:pos x="connsiteX2" y="connsiteY2"/>
              </a:cxn>
              <a:cxn ang="0">
                <a:pos x="connsiteX3" y="connsiteY3"/>
              </a:cxn>
            </a:cxnLst>
            <a:rect l="l" t="t" r="r" b="b"/>
            <a:pathLst>
              <a:path w="5351604" h="5562600">
                <a:moveTo>
                  <a:pt x="0" y="0"/>
                </a:moveTo>
                <a:lnTo>
                  <a:pt x="5351604" y="0"/>
                </a:lnTo>
                <a:lnTo>
                  <a:pt x="5351604" y="5562600"/>
                </a:lnTo>
                <a:lnTo>
                  <a:pt x="0" y="5562600"/>
                </a:ln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Tree>
    <p:extLst>
      <p:ext uri="{BB962C8B-B14F-4D97-AF65-F5344CB8AC3E}">
        <p14:creationId xmlns:p14="http://schemas.microsoft.com/office/powerpoint/2010/main" val="1250906824"/>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4" dur="2200" decel="10000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2200" fill="hold"/>
                                        <p:tgtEl>
                                          <p:spTgt spid="8"/>
                                        </p:tgtEl>
                                        <p:attrNameLst>
                                          <p:attrName>ppt_x</p:attrName>
                                        </p:attrNameLst>
                                      </p:cBhvr>
                                      <p:tavLst>
                                        <p:tav tm="0">
                                          <p:val>
                                            <p:strVal val="#ppt_x"/>
                                          </p:val>
                                        </p:tav>
                                        <p:tav tm="100000">
                                          <p:val>
                                            <p:strVal val="#ppt_x"/>
                                          </p:val>
                                        </p:tav>
                                      </p:tavLst>
                                    </p:anim>
                                    <p:anim calcmode="lin" valueType="num">
                                      <p:cBhvr additive="base">
                                        <p:cTn id="8" dur="2200" fill="hold"/>
                                        <p:tgtEl>
                                          <p:spTgt spid="8"/>
                                        </p:tgtEl>
                                        <p:attrNameLst>
                                          <p:attrName>ppt_y</p:attrName>
                                        </p:attrNameLst>
                                      </p:cBhvr>
                                      <p:tavLst>
                                        <p:tav tm="0">
                                          <p:val>
                                            <p:strVal val="1+#ppt_h/2"/>
                                          </p:val>
                                        </p:tav>
                                        <p:tav tm="100000">
                                          <p:val>
                                            <p:strVal val="#ppt_y"/>
                                          </p:val>
                                        </p:tav>
                                      </p:tavLst>
                                    </p:anim>
                                  </p:childTnLst>
                                </p:cTn>
                              </p:par>
                              <p:par>
                                <p:cTn id="9" presetID="2" presetClass="entr" presetSubtype="4" dur="2200" decel="100000"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2200" fill="hold"/>
                                        <p:tgtEl>
                                          <p:spTgt spid="9"/>
                                        </p:tgtEl>
                                        <p:attrNameLst>
                                          <p:attrName>ppt_x</p:attrName>
                                        </p:attrNameLst>
                                      </p:cBhvr>
                                      <p:tavLst>
                                        <p:tav tm="0">
                                          <p:val>
                                            <p:strVal val="#ppt_x"/>
                                          </p:val>
                                        </p:tav>
                                        <p:tav tm="100000">
                                          <p:val>
                                            <p:strVal val="#ppt_x"/>
                                          </p:val>
                                        </p:tav>
                                      </p:tavLst>
                                    </p:anim>
                                    <p:anim calcmode="lin" valueType="num">
                                      <p:cBhvr additive="base">
                                        <p:cTn id="12" dur="2200" fill="hold"/>
                                        <p:tgtEl>
                                          <p:spTgt spid="9"/>
                                        </p:tgtEl>
                                        <p:attrNameLst>
                                          <p:attrName>ppt_y</p:attrName>
                                        </p:attrNameLst>
                                      </p:cBhvr>
                                      <p:tavLst>
                                        <p:tav tm="0">
                                          <p:val>
                                            <p:strVal val="1+#ppt_h/2"/>
                                          </p:val>
                                        </p:tav>
                                        <p:tav tm="100000">
                                          <p:val>
                                            <p:strVal val="#ppt_y"/>
                                          </p:val>
                                        </p:tav>
                                      </p:tavLst>
                                    </p:anim>
                                  </p:childTnLst>
                                </p:cTn>
                              </p:par>
                              <p:par>
                                <p:cTn id="13" presetID="2" presetClass="entr" presetSubtype="4" dur="2200" decel="100000" fill="hold" grpId="0" nodeType="withEffect">
                                  <p:stCondLst>
                                    <p:cond delay="0"/>
                                  </p:stCondLst>
                                  <p:childTnLst>
                                    <p:set>
                                      <p:cBhvr>
                                        <p:cTn id="14" dur="1" fill="hold">
                                          <p:stCondLst>
                                            <p:cond delay="0"/>
                                          </p:stCondLst>
                                        </p:cTn>
                                        <p:tgtEl>
                                          <p:spTgt spid="11"/>
                                        </p:tgtEl>
                                        <p:attrNameLst>
                                          <p:attrName>style.visibility</p:attrName>
                                        </p:attrNameLst>
                                      </p:cBhvr>
                                      <p:to>
                                        <p:strVal val="visible"/>
                                      </p:to>
                                    </p:set>
                                    <p:anim calcmode="lin" valueType="num">
                                      <p:cBhvr additive="base">
                                        <p:cTn id="15" dur="2200" fill="hold"/>
                                        <p:tgtEl>
                                          <p:spTgt spid="11"/>
                                        </p:tgtEl>
                                        <p:attrNameLst>
                                          <p:attrName>ppt_x</p:attrName>
                                        </p:attrNameLst>
                                      </p:cBhvr>
                                      <p:tavLst>
                                        <p:tav tm="0">
                                          <p:val>
                                            <p:strVal val="#ppt_x"/>
                                          </p:val>
                                        </p:tav>
                                        <p:tav tm="100000">
                                          <p:val>
                                            <p:strVal val="#ppt_x"/>
                                          </p:val>
                                        </p:tav>
                                      </p:tavLst>
                                    </p:anim>
                                    <p:anim calcmode="lin" valueType="num">
                                      <p:cBhvr additive="base">
                                        <p:cTn id="16" dur="2200" fill="hold"/>
                                        <p:tgtEl>
                                          <p:spTgt spid="1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1" grpId="0" animBg="1"/>
    </p:bld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72C1527C-1238-4997-83A0-B93C0C1A119C}"/>
              </a:ext>
            </a:extLst>
          </p:cNvPr>
          <p:cNvSpPr>
            <a:spLocks noGrp="1"/>
          </p:cNvSpPr>
          <p:nvPr>
            <p:ph type="pic" sz="quarter" idx="13"/>
          </p:nvPr>
        </p:nvSpPr>
        <p:spPr>
          <a:xfrm>
            <a:off x="3532136" y="871981"/>
            <a:ext cx="2563864" cy="2595260"/>
          </a:xfrm>
          <a:custGeom>
            <a:avLst/>
            <a:gdLst>
              <a:gd name="connsiteX0" fmla="*/ 0 w 5190519"/>
              <a:gd name="connsiteY0" fmla="*/ 0 h 5190519"/>
              <a:gd name="connsiteX1" fmla="*/ 5190519 w 5190519"/>
              <a:gd name="connsiteY1" fmla="*/ 0 h 5190519"/>
              <a:gd name="connsiteX2" fmla="*/ 5190519 w 5190519"/>
              <a:gd name="connsiteY2" fmla="*/ 5190519 h 5190519"/>
              <a:gd name="connsiteX3" fmla="*/ 0 w 5190519"/>
              <a:gd name="connsiteY3" fmla="*/ 5190519 h 5190519"/>
            </a:gdLst>
            <a:ahLst/>
            <a:cxnLst>
              <a:cxn ang="0">
                <a:pos x="connsiteX0" y="connsiteY0"/>
              </a:cxn>
              <a:cxn ang="0">
                <a:pos x="connsiteX1" y="connsiteY1"/>
              </a:cxn>
              <a:cxn ang="0">
                <a:pos x="connsiteX2" y="connsiteY2"/>
              </a:cxn>
              <a:cxn ang="0">
                <a:pos x="connsiteX3" y="connsiteY3"/>
              </a:cxn>
            </a:cxnLst>
            <a:rect l="l" t="t" r="r" b="b"/>
            <a:pathLst>
              <a:path w="5190519" h="5190519">
                <a:moveTo>
                  <a:pt x="0" y="0"/>
                </a:moveTo>
                <a:lnTo>
                  <a:pt x="5190519" y="0"/>
                </a:lnTo>
                <a:lnTo>
                  <a:pt x="5190519" y="5190519"/>
                </a:lnTo>
                <a:lnTo>
                  <a:pt x="0" y="5190519"/>
                </a:ln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
        <p:nvSpPr>
          <p:cNvPr id="14" name="Picture Placeholder 13">
            <a:extLst>
              <a:ext uri="{FF2B5EF4-FFF2-40B4-BE49-F238E27FC236}">
                <a16:creationId xmlns:a16="http://schemas.microsoft.com/office/drawing/2014/main" id="{F2C28264-6FA4-467B-BDE9-EC8733C2D740}"/>
              </a:ext>
            </a:extLst>
          </p:cNvPr>
          <p:cNvSpPr>
            <a:spLocks noGrp="1"/>
          </p:cNvSpPr>
          <p:nvPr>
            <p:ph type="pic" sz="quarter" idx="14"/>
          </p:nvPr>
        </p:nvSpPr>
        <p:spPr>
          <a:xfrm>
            <a:off x="6251472" y="871980"/>
            <a:ext cx="5127728" cy="5314950"/>
          </a:xfrm>
          <a:custGeom>
            <a:avLst/>
            <a:gdLst>
              <a:gd name="connsiteX0" fmla="*/ 0 w 10381040"/>
              <a:gd name="connsiteY0" fmla="*/ 0 h 10629899"/>
              <a:gd name="connsiteX1" fmla="*/ 10381040 w 10381040"/>
              <a:gd name="connsiteY1" fmla="*/ 0 h 10629899"/>
              <a:gd name="connsiteX2" fmla="*/ 10381040 w 10381040"/>
              <a:gd name="connsiteY2" fmla="*/ 10629899 h 10629899"/>
              <a:gd name="connsiteX3" fmla="*/ 0 w 10381040"/>
              <a:gd name="connsiteY3" fmla="*/ 10629899 h 10629899"/>
            </a:gdLst>
            <a:ahLst/>
            <a:cxnLst>
              <a:cxn ang="0">
                <a:pos x="connsiteX0" y="connsiteY0"/>
              </a:cxn>
              <a:cxn ang="0">
                <a:pos x="connsiteX1" y="connsiteY1"/>
              </a:cxn>
              <a:cxn ang="0">
                <a:pos x="connsiteX2" y="connsiteY2"/>
              </a:cxn>
              <a:cxn ang="0">
                <a:pos x="connsiteX3" y="connsiteY3"/>
              </a:cxn>
            </a:cxnLst>
            <a:rect l="l" t="t" r="r" b="b"/>
            <a:pathLst>
              <a:path w="10381040" h="10629899">
                <a:moveTo>
                  <a:pt x="0" y="0"/>
                </a:moveTo>
                <a:lnTo>
                  <a:pt x="10381040" y="0"/>
                </a:lnTo>
                <a:lnTo>
                  <a:pt x="10381040" y="10629899"/>
                </a:lnTo>
                <a:lnTo>
                  <a:pt x="0" y="10629899"/>
                </a:ln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
        <p:nvSpPr>
          <p:cNvPr id="16" name="Picture Placeholder 15">
            <a:extLst>
              <a:ext uri="{FF2B5EF4-FFF2-40B4-BE49-F238E27FC236}">
                <a16:creationId xmlns:a16="http://schemas.microsoft.com/office/drawing/2014/main" id="{843876E8-A094-40A5-860F-FA8679BF447F}"/>
              </a:ext>
            </a:extLst>
          </p:cNvPr>
          <p:cNvSpPr>
            <a:spLocks noGrp="1"/>
          </p:cNvSpPr>
          <p:nvPr>
            <p:ph type="pic" sz="quarter" idx="15"/>
          </p:nvPr>
        </p:nvSpPr>
        <p:spPr>
          <a:xfrm>
            <a:off x="3532136" y="3591671"/>
            <a:ext cx="2563864" cy="2595260"/>
          </a:xfrm>
          <a:custGeom>
            <a:avLst/>
            <a:gdLst>
              <a:gd name="connsiteX0" fmla="*/ 0 w 5190519"/>
              <a:gd name="connsiteY0" fmla="*/ 0 h 5190519"/>
              <a:gd name="connsiteX1" fmla="*/ 5190519 w 5190519"/>
              <a:gd name="connsiteY1" fmla="*/ 0 h 5190519"/>
              <a:gd name="connsiteX2" fmla="*/ 5190519 w 5190519"/>
              <a:gd name="connsiteY2" fmla="*/ 5190519 h 5190519"/>
              <a:gd name="connsiteX3" fmla="*/ 0 w 5190519"/>
              <a:gd name="connsiteY3" fmla="*/ 5190519 h 5190519"/>
            </a:gdLst>
            <a:ahLst/>
            <a:cxnLst>
              <a:cxn ang="0">
                <a:pos x="connsiteX0" y="connsiteY0"/>
              </a:cxn>
              <a:cxn ang="0">
                <a:pos x="connsiteX1" y="connsiteY1"/>
              </a:cxn>
              <a:cxn ang="0">
                <a:pos x="connsiteX2" y="connsiteY2"/>
              </a:cxn>
              <a:cxn ang="0">
                <a:pos x="connsiteX3" y="connsiteY3"/>
              </a:cxn>
            </a:cxnLst>
            <a:rect l="l" t="t" r="r" b="b"/>
            <a:pathLst>
              <a:path w="5190519" h="5190519">
                <a:moveTo>
                  <a:pt x="0" y="0"/>
                </a:moveTo>
                <a:lnTo>
                  <a:pt x="5190519" y="0"/>
                </a:lnTo>
                <a:lnTo>
                  <a:pt x="5190519" y="5190519"/>
                </a:lnTo>
                <a:lnTo>
                  <a:pt x="0" y="5190519"/>
                </a:ln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
        <p:nvSpPr>
          <p:cNvPr id="17" name="Picture Placeholder 16">
            <a:extLst>
              <a:ext uri="{FF2B5EF4-FFF2-40B4-BE49-F238E27FC236}">
                <a16:creationId xmlns:a16="http://schemas.microsoft.com/office/drawing/2014/main" id="{E87560AE-CEDB-48AC-B2BF-85B52DE0F146}"/>
              </a:ext>
            </a:extLst>
          </p:cNvPr>
          <p:cNvSpPr>
            <a:spLocks noGrp="1"/>
          </p:cNvSpPr>
          <p:nvPr>
            <p:ph type="pic" sz="quarter" idx="16"/>
          </p:nvPr>
        </p:nvSpPr>
        <p:spPr>
          <a:xfrm>
            <a:off x="812800" y="3591671"/>
            <a:ext cx="2563864" cy="2595260"/>
          </a:xfrm>
          <a:custGeom>
            <a:avLst/>
            <a:gdLst>
              <a:gd name="connsiteX0" fmla="*/ 0 w 5190519"/>
              <a:gd name="connsiteY0" fmla="*/ 0 h 5190519"/>
              <a:gd name="connsiteX1" fmla="*/ 5190519 w 5190519"/>
              <a:gd name="connsiteY1" fmla="*/ 0 h 5190519"/>
              <a:gd name="connsiteX2" fmla="*/ 5190519 w 5190519"/>
              <a:gd name="connsiteY2" fmla="*/ 5190519 h 5190519"/>
              <a:gd name="connsiteX3" fmla="*/ 0 w 5190519"/>
              <a:gd name="connsiteY3" fmla="*/ 5190519 h 5190519"/>
            </a:gdLst>
            <a:ahLst/>
            <a:cxnLst>
              <a:cxn ang="0">
                <a:pos x="connsiteX0" y="connsiteY0"/>
              </a:cxn>
              <a:cxn ang="0">
                <a:pos x="connsiteX1" y="connsiteY1"/>
              </a:cxn>
              <a:cxn ang="0">
                <a:pos x="connsiteX2" y="connsiteY2"/>
              </a:cxn>
              <a:cxn ang="0">
                <a:pos x="connsiteX3" y="connsiteY3"/>
              </a:cxn>
            </a:cxnLst>
            <a:rect l="l" t="t" r="r" b="b"/>
            <a:pathLst>
              <a:path w="5190519" h="5190519">
                <a:moveTo>
                  <a:pt x="0" y="0"/>
                </a:moveTo>
                <a:lnTo>
                  <a:pt x="5190519" y="0"/>
                </a:lnTo>
                <a:lnTo>
                  <a:pt x="5190519" y="5190519"/>
                </a:lnTo>
                <a:lnTo>
                  <a:pt x="0" y="5190519"/>
                </a:ln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Tree>
    <p:extLst>
      <p:ext uri="{BB962C8B-B14F-4D97-AF65-F5344CB8AC3E}">
        <p14:creationId xmlns:p14="http://schemas.microsoft.com/office/powerpoint/2010/main" val="1803697100"/>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4" dur="2200" decel="10000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2200" fill="hold"/>
                                        <p:tgtEl>
                                          <p:spTgt spid="14"/>
                                        </p:tgtEl>
                                        <p:attrNameLst>
                                          <p:attrName>ppt_x</p:attrName>
                                        </p:attrNameLst>
                                      </p:cBhvr>
                                      <p:tavLst>
                                        <p:tav tm="0">
                                          <p:val>
                                            <p:strVal val="#ppt_x"/>
                                          </p:val>
                                        </p:tav>
                                        <p:tav tm="100000">
                                          <p:val>
                                            <p:strVal val="#ppt_x"/>
                                          </p:val>
                                        </p:tav>
                                      </p:tavLst>
                                    </p:anim>
                                    <p:anim calcmode="lin" valueType="num">
                                      <p:cBhvr additive="base">
                                        <p:cTn id="8" dur="2200" fill="hold"/>
                                        <p:tgtEl>
                                          <p:spTgt spid="14"/>
                                        </p:tgtEl>
                                        <p:attrNameLst>
                                          <p:attrName>ppt_y</p:attrName>
                                        </p:attrNameLst>
                                      </p:cBhvr>
                                      <p:tavLst>
                                        <p:tav tm="0">
                                          <p:val>
                                            <p:strVal val="1+#ppt_h/2"/>
                                          </p:val>
                                        </p:tav>
                                        <p:tav tm="100000">
                                          <p:val>
                                            <p:strVal val="#ppt_y"/>
                                          </p:val>
                                        </p:tav>
                                      </p:tavLst>
                                    </p:anim>
                                  </p:childTnLst>
                                </p:cTn>
                              </p:par>
                              <p:par>
                                <p:cTn id="9" presetID="2" presetClass="entr" presetSubtype="4" dur="2200" decel="100000" fill="hold" grpId="0" nodeType="withEffect">
                                  <p:stCondLst>
                                    <p:cond delay="200"/>
                                  </p:stCondLst>
                                  <p:childTnLst>
                                    <p:set>
                                      <p:cBhvr>
                                        <p:cTn id="10" dur="1" fill="hold">
                                          <p:stCondLst>
                                            <p:cond delay="0"/>
                                          </p:stCondLst>
                                        </p:cTn>
                                        <p:tgtEl>
                                          <p:spTgt spid="15"/>
                                        </p:tgtEl>
                                        <p:attrNameLst>
                                          <p:attrName>style.visibility</p:attrName>
                                        </p:attrNameLst>
                                      </p:cBhvr>
                                      <p:to>
                                        <p:strVal val="visible"/>
                                      </p:to>
                                    </p:set>
                                    <p:anim calcmode="lin" valueType="num">
                                      <p:cBhvr additive="base">
                                        <p:cTn id="11" dur="2200" fill="hold"/>
                                        <p:tgtEl>
                                          <p:spTgt spid="15"/>
                                        </p:tgtEl>
                                        <p:attrNameLst>
                                          <p:attrName>ppt_x</p:attrName>
                                        </p:attrNameLst>
                                      </p:cBhvr>
                                      <p:tavLst>
                                        <p:tav tm="0">
                                          <p:val>
                                            <p:strVal val="#ppt_x"/>
                                          </p:val>
                                        </p:tav>
                                        <p:tav tm="100000">
                                          <p:val>
                                            <p:strVal val="#ppt_x"/>
                                          </p:val>
                                        </p:tav>
                                      </p:tavLst>
                                    </p:anim>
                                    <p:anim calcmode="lin" valueType="num">
                                      <p:cBhvr additive="base">
                                        <p:cTn id="12" dur="2200" fill="hold"/>
                                        <p:tgtEl>
                                          <p:spTgt spid="15"/>
                                        </p:tgtEl>
                                        <p:attrNameLst>
                                          <p:attrName>ppt_y</p:attrName>
                                        </p:attrNameLst>
                                      </p:cBhvr>
                                      <p:tavLst>
                                        <p:tav tm="0">
                                          <p:val>
                                            <p:strVal val="1+#ppt_h/2"/>
                                          </p:val>
                                        </p:tav>
                                        <p:tav tm="100000">
                                          <p:val>
                                            <p:strVal val="#ppt_y"/>
                                          </p:val>
                                        </p:tav>
                                      </p:tavLst>
                                    </p:anim>
                                  </p:childTnLst>
                                </p:cTn>
                              </p:par>
                              <p:par>
                                <p:cTn id="13" presetID="2" presetClass="entr" presetSubtype="4" dur="2200" decel="100000" fill="hold" grpId="0" nodeType="withEffect">
                                  <p:stCondLst>
                                    <p:cond delay="200"/>
                                  </p:stCondLst>
                                  <p:childTnLst>
                                    <p:set>
                                      <p:cBhvr>
                                        <p:cTn id="14" dur="1" fill="hold">
                                          <p:stCondLst>
                                            <p:cond delay="0"/>
                                          </p:stCondLst>
                                        </p:cTn>
                                        <p:tgtEl>
                                          <p:spTgt spid="16"/>
                                        </p:tgtEl>
                                        <p:attrNameLst>
                                          <p:attrName>style.visibility</p:attrName>
                                        </p:attrNameLst>
                                      </p:cBhvr>
                                      <p:to>
                                        <p:strVal val="visible"/>
                                      </p:to>
                                    </p:set>
                                    <p:anim calcmode="lin" valueType="num">
                                      <p:cBhvr additive="base">
                                        <p:cTn id="15" dur="2200" fill="hold"/>
                                        <p:tgtEl>
                                          <p:spTgt spid="16"/>
                                        </p:tgtEl>
                                        <p:attrNameLst>
                                          <p:attrName>ppt_x</p:attrName>
                                        </p:attrNameLst>
                                      </p:cBhvr>
                                      <p:tavLst>
                                        <p:tav tm="0">
                                          <p:val>
                                            <p:strVal val="#ppt_x"/>
                                          </p:val>
                                        </p:tav>
                                        <p:tav tm="100000">
                                          <p:val>
                                            <p:strVal val="#ppt_x"/>
                                          </p:val>
                                        </p:tav>
                                      </p:tavLst>
                                    </p:anim>
                                    <p:anim calcmode="lin" valueType="num">
                                      <p:cBhvr additive="base">
                                        <p:cTn id="16" dur="2200" fill="hold"/>
                                        <p:tgtEl>
                                          <p:spTgt spid="16"/>
                                        </p:tgtEl>
                                        <p:attrNameLst>
                                          <p:attrName>ppt_y</p:attrName>
                                        </p:attrNameLst>
                                      </p:cBhvr>
                                      <p:tavLst>
                                        <p:tav tm="0">
                                          <p:val>
                                            <p:strVal val="1+#ppt_h/2"/>
                                          </p:val>
                                        </p:tav>
                                        <p:tav tm="100000">
                                          <p:val>
                                            <p:strVal val="#ppt_y"/>
                                          </p:val>
                                        </p:tav>
                                      </p:tavLst>
                                    </p:anim>
                                  </p:childTnLst>
                                </p:cTn>
                              </p:par>
                              <p:par>
                                <p:cTn id="17" presetID="2" presetClass="entr" presetSubtype="4" dur="2200" decel="100000" fill="hold" grpId="0" nodeType="withEffect">
                                  <p:stCondLst>
                                    <p:cond delay="400"/>
                                  </p:stCondLst>
                                  <p:childTnLst>
                                    <p:set>
                                      <p:cBhvr>
                                        <p:cTn id="18" dur="1" fill="hold">
                                          <p:stCondLst>
                                            <p:cond delay="0"/>
                                          </p:stCondLst>
                                        </p:cTn>
                                        <p:tgtEl>
                                          <p:spTgt spid="17"/>
                                        </p:tgtEl>
                                        <p:attrNameLst>
                                          <p:attrName>style.visibility</p:attrName>
                                        </p:attrNameLst>
                                      </p:cBhvr>
                                      <p:to>
                                        <p:strVal val="visible"/>
                                      </p:to>
                                    </p:set>
                                    <p:anim calcmode="lin" valueType="num">
                                      <p:cBhvr additive="base">
                                        <p:cTn id="19" dur="2200" fill="hold"/>
                                        <p:tgtEl>
                                          <p:spTgt spid="17"/>
                                        </p:tgtEl>
                                        <p:attrNameLst>
                                          <p:attrName>ppt_x</p:attrName>
                                        </p:attrNameLst>
                                      </p:cBhvr>
                                      <p:tavLst>
                                        <p:tav tm="0">
                                          <p:val>
                                            <p:strVal val="#ppt_x"/>
                                          </p:val>
                                        </p:tav>
                                        <p:tav tm="100000">
                                          <p:val>
                                            <p:strVal val="#ppt_x"/>
                                          </p:val>
                                        </p:tav>
                                      </p:tavLst>
                                    </p:anim>
                                    <p:anim calcmode="lin" valueType="num">
                                      <p:cBhvr additive="base">
                                        <p:cTn id="20" dur="2200" fill="hold"/>
                                        <p:tgtEl>
                                          <p:spTgt spid="1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4" grpId="0" animBg="1"/>
      <p:bldP spid="16" grpId="0" animBg="1"/>
      <p:bldP spid="17" grpId="0" animBg="1"/>
    </p:bld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2" name="Picture Placeholder 4">
            <a:extLst>
              <a:ext uri="{FF2B5EF4-FFF2-40B4-BE49-F238E27FC236}">
                <a16:creationId xmlns:a16="http://schemas.microsoft.com/office/drawing/2014/main" id="{CDD5BDAE-070D-466F-9878-EB1BC2848ED8}"/>
              </a:ext>
            </a:extLst>
          </p:cNvPr>
          <p:cNvSpPr>
            <a:spLocks noGrp="1"/>
          </p:cNvSpPr>
          <p:nvPr>
            <p:ph type="pic" sz="quarter" idx="11"/>
          </p:nvPr>
        </p:nvSpPr>
        <p:spPr>
          <a:xfrm>
            <a:off x="812800" y="728662"/>
            <a:ext cx="10566400" cy="5589587"/>
          </a:xfrm>
          <a:custGeom>
            <a:avLst/>
            <a:gdLst>
              <a:gd name="connsiteX0" fmla="*/ 0 w 7829549"/>
              <a:gd name="connsiteY0" fmla="*/ 0 h 7543801"/>
              <a:gd name="connsiteX1" fmla="*/ 7829549 w 7829549"/>
              <a:gd name="connsiteY1" fmla="*/ 0 h 7543801"/>
              <a:gd name="connsiteX2" fmla="*/ 7829549 w 7829549"/>
              <a:gd name="connsiteY2" fmla="*/ 7543801 h 7543801"/>
              <a:gd name="connsiteX3" fmla="*/ 0 w 7829549"/>
              <a:gd name="connsiteY3" fmla="*/ 7543801 h 7543801"/>
            </a:gdLst>
            <a:ahLst/>
            <a:cxnLst>
              <a:cxn ang="0">
                <a:pos x="connsiteX0" y="connsiteY0"/>
              </a:cxn>
              <a:cxn ang="0">
                <a:pos x="connsiteX1" y="connsiteY1"/>
              </a:cxn>
              <a:cxn ang="0">
                <a:pos x="connsiteX2" y="connsiteY2"/>
              </a:cxn>
              <a:cxn ang="0">
                <a:pos x="connsiteX3" y="connsiteY3"/>
              </a:cxn>
            </a:cxnLst>
            <a:rect l="l" t="t" r="r" b="b"/>
            <a:pathLst>
              <a:path w="7829549" h="7543801">
                <a:moveTo>
                  <a:pt x="0" y="0"/>
                </a:moveTo>
                <a:lnTo>
                  <a:pt x="7829549" y="0"/>
                </a:lnTo>
                <a:lnTo>
                  <a:pt x="7829549" y="7543801"/>
                </a:lnTo>
                <a:lnTo>
                  <a:pt x="0" y="7543801"/>
                </a:ln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Tree>
    <p:extLst>
      <p:ext uri="{BB962C8B-B14F-4D97-AF65-F5344CB8AC3E}">
        <p14:creationId xmlns:p14="http://schemas.microsoft.com/office/powerpoint/2010/main" val="2070928403"/>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1" dur="2200" decel="10000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2200" fill="hold"/>
                                        <p:tgtEl>
                                          <p:spTgt spid="2"/>
                                        </p:tgtEl>
                                        <p:attrNameLst>
                                          <p:attrName>ppt_x</p:attrName>
                                        </p:attrNameLst>
                                      </p:cBhvr>
                                      <p:tavLst>
                                        <p:tav tm="0">
                                          <p:val>
                                            <p:strVal val="#ppt_x"/>
                                          </p:val>
                                        </p:tav>
                                        <p:tav tm="100000">
                                          <p:val>
                                            <p:strVal val="#ppt_x"/>
                                          </p:val>
                                        </p:tav>
                                      </p:tavLst>
                                    </p:anim>
                                    <p:anim calcmode="lin" valueType="num">
                                      <p:cBhvr additive="base">
                                        <p:cTn id="8" dur="2200" fill="hold"/>
                                        <p:tgtEl>
                                          <p:spTgt spid="2"/>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extLst>
    <p:ext uri="{DCECCB84-F9BA-43D5-87BE-67443E8EF086}">
      <p15:sldGuideLst xmlns:p15="http://schemas.microsoft.com/office/powerpoint/2012/main">
        <p15:guide id="1" orient="horz" pos="4320">
          <p15:clr>
            <a:srgbClr val="FBAE40"/>
          </p15:clr>
        </p15:guide>
        <p15:guide id="2" pos="7681">
          <p15:clr>
            <a:srgbClr val="FBAE40"/>
          </p15:clr>
        </p15:guide>
        <p15:guide id="3" pos="985">
          <p15:clr>
            <a:srgbClr val="FBAE40"/>
          </p15:clr>
        </p15:guide>
        <p15:guide id="4" pos="14377">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Rectangle: Diagonal Corners Rounded 1">
            <a:extLst>
              <a:ext uri="{FF2B5EF4-FFF2-40B4-BE49-F238E27FC236}">
                <a16:creationId xmlns:a16="http://schemas.microsoft.com/office/drawing/2014/main" id="{11A25E91-8608-EAF1-2D71-B3B814E61509}"/>
              </a:ext>
            </a:extLst>
          </p:cNvPr>
          <p:cNvSpPr/>
          <p:nvPr userDrawn="1"/>
        </p:nvSpPr>
        <p:spPr>
          <a:xfrm>
            <a:off x="812800" y="728662"/>
            <a:ext cx="10566400" cy="5589587"/>
          </a:xfrm>
          <a:prstGeom prst="round2DiagRect">
            <a:avLst>
              <a:gd name="adj1" fmla="val 6783"/>
              <a:gd name="adj2" fmla="val 0"/>
            </a:avLst>
          </a:prstGeom>
          <a:solidFill>
            <a:schemeClr val="accent3">
              <a:lumMod val="40000"/>
              <a:lumOff val="60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6" name="Picture Placeholder 5">
            <a:extLst>
              <a:ext uri="{FF2B5EF4-FFF2-40B4-BE49-F238E27FC236}">
                <a16:creationId xmlns:a16="http://schemas.microsoft.com/office/drawing/2014/main" id="{390A452D-DFE3-48E8-956D-B964AE99D0C7}"/>
              </a:ext>
            </a:extLst>
          </p:cNvPr>
          <p:cNvSpPr>
            <a:spLocks noGrp="1"/>
          </p:cNvSpPr>
          <p:nvPr>
            <p:ph type="pic" sz="quarter" idx="13"/>
          </p:nvPr>
        </p:nvSpPr>
        <p:spPr>
          <a:xfrm>
            <a:off x="1086501" y="1057275"/>
            <a:ext cx="4704737" cy="4705350"/>
          </a:xfrm>
          <a:custGeom>
            <a:avLst/>
            <a:gdLst>
              <a:gd name="connsiteX0" fmla="*/ 0 w 9410700"/>
              <a:gd name="connsiteY0" fmla="*/ 0 h 9410700"/>
              <a:gd name="connsiteX1" fmla="*/ 9410700 w 9410700"/>
              <a:gd name="connsiteY1" fmla="*/ 0 h 9410700"/>
              <a:gd name="connsiteX2" fmla="*/ 9410700 w 9410700"/>
              <a:gd name="connsiteY2" fmla="*/ 9410700 h 9410700"/>
              <a:gd name="connsiteX3" fmla="*/ 0 w 9410700"/>
              <a:gd name="connsiteY3" fmla="*/ 9410700 h 9410700"/>
            </a:gdLst>
            <a:ahLst/>
            <a:cxnLst>
              <a:cxn ang="0">
                <a:pos x="connsiteX0" y="connsiteY0"/>
              </a:cxn>
              <a:cxn ang="0">
                <a:pos x="connsiteX1" y="connsiteY1"/>
              </a:cxn>
              <a:cxn ang="0">
                <a:pos x="connsiteX2" y="connsiteY2"/>
              </a:cxn>
              <a:cxn ang="0">
                <a:pos x="connsiteX3" y="connsiteY3"/>
              </a:cxn>
            </a:cxnLst>
            <a:rect l="l" t="t" r="r" b="b"/>
            <a:pathLst>
              <a:path w="9410700" h="9410700">
                <a:moveTo>
                  <a:pt x="0" y="0"/>
                </a:moveTo>
                <a:lnTo>
                  <a:pt x="9410700" y="0"/>
                </a:lnTo>
                <a:lnTo>
                  <a:pt x="9410700" y="9410700"/>
                </a:lnTo>
                <a:lnTo>
                  <a:pt x="0" y="9410700"/>
                </a:ln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
        <p:nvSpPr>
          <p:cNvPr id="7" name="Picture Placeholder 6">
            <a:extLst>
              <a:ext uri="{FF2B5EF4-FFF2-40B4-BE49-F238E27FC236}">
                <a16:creationId xmlns:a16="http://schemas.microsoft.com/office/drawing/2014/main" id="{11D63369-5C3A-4822-ACB3-46071185D785}"/>
              </a:ext>
            </a:extLst>
          </p:cNvPr>
          <p:cNvSpPr>
            <a:spLocks noGrp="1"/>
          </p:cNvSpPr>
          <p:nvPr>
            <p:ph type="pic" sz="quarter" idx="14"/>
          </p:nvPr>
        </p:nvSpPr>
        <p:spPr>
          <a:xfrm>
            <a:off x="6400759" y="1057275"/>
            <a:ext cx="4704737" cy="4705350"/>
          </a:xfrm>
          <a:custGeom>
            <a:avLst/>
            <a:gdLst>
              <a:gd name="connsiteX0" fmla="*/ 0 w 9410699"/>
              <a:gd name="connsiteY0" fmla="*/ 0 h 9410700"/>
              <a:gd name="connsiteX1" fmla="*/ 9410699 w 9410699"/>
              <a:gd name="connsiteY1" fmla="*/ 0 h 9410700"/>
              <a:gd name="connsiteX2" fmla="*/ 9410699 w 9410699"/>
              <a:gd name="connsiteY2" fmla="*/ 9410700 h 9410700"/>
              <a:gd name="connsiteX3" fmla="*/ 0 w 9410699"/>
              <a:gd name="connsiteY3" fmla="*/ 9410700 h 9410700"/>
            </a:gdLst>
            <a:ahLst/>
            <a:cxnLst>
              <a:cxn ang="0">
                <a:pos x="connsiteX0" y="connsiteY0"/>
              </a:cxn>
              <a:cxn ang="0">
                <a:pos x="connsiteX1" y="connsiteY1"/>
              </a:cxn>
              <a:cxn ang="0">
                <a:pos x="connsiteX2" y="connsiteY2"/>
              </a:cxn>
              <a:cxn ang="0">
                <a:pos x="connsiteX3" y="connsiteY3"/>
              </a:cxn>
            </a:cxnLst>
            <a:rect l="l" t="t" r="r" b="b"/>
            <a:pathLst>
              <a:path w="9410699" h="9410700">
                <a:moveTo>
                  <a:pt x="0" y="0"/>
                </a:moveTo>
                <a:lnTo>
                  <a:pt x="9410699" y="0"/>
                </a:lnTo>
                <a:lnTo>
                  <a:pt x="9410699" y="9410700"/>
                </a:lnTo>
                <a:lnTo>
                  <a:pt x="0" y="9410700"/>
                </a:ln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a:p>
        </p:txBody>
      </p:sp>
    </p:spTree>
    <p:extLst>
      <p:ext uri="{BB962C8B-B14F-4D97-AF65-F5344CB8AC3E}">
        <p14:creationId xmlns:p14="http://schemas.microsoft.com/office/powerpoint/2010/main" val="3287131073"/>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4" dur="2200"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2200" fill="hold"/>
                                        <p:tgtEl>
                                          <p:spTgt spid="6"/>
                                        </p:tgtEl>
                                        <p:attrNameLst>
                                          <p:attrName>ppt_x</p:attrName>
                                        </p:attrNameLst>
                                      </p:cBhvr>
                                      <p:tavLst>
                                        <p:tav tm="0">
                                          <p:val>
                                            <p:strVal val="#ppt_x"/>
                                          </p:val>
                                        </p:tav>
                                        <p:tav tm="100000">
                                          <p:val>
                                            <p:strVal val="#ppt_x"/>
                                          </p:val>
                                        </p:tav>
                                      </p:tavLst>
                                    </p:anim>
                                    <p:anim calcmode="lin" valueType="num">
                                      <p:cBhvr additive="base">
                                        <p:cTn id="8" dur="2200" fill="hold"/>
                                        <p:tgtEl>
                                          <p:spTgt spid="6"/>
                                        </p:tgtEl>
                                        <p:attrNameLst>
                                          <p:attrName>ppt_y</p:attrName>
                                        </p:attrNameLst>
                                      </p:cBhvr>
                                      <p:tavLst>
                                        <p:tav tm="0">
                                          <p:val>
                                            <p:strVal val="1+#ppt_h/2"/>
                                          </p:val>
                                        </p:tav>
                                        <p:tav tm="100000">
                                          <p:val>
                                            <p:strVal val="#ppt_y"/>
                                          </p:val>
                                        </p:tav>
                                      </p:tavLst>
                                    </p:anim>
                                  </p:childTnLst>
                                </p:cTn>
                              </p:par>
                              <p:par>
                                <p:cTn id="9" presetID="2" presetClass="entr" presetSubtype="1" dur="2200" decel="10000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2200" fill="hold"/>
                                        <p:tgtEl>
                                          <p:spTgt spid="7"/>
                                        </p:tgtEl>
                                        <p:attrNameLst>
                                          <p:attrName>ppt_x</p:attrName>
                                        </p:attrNameLst>
                                      </p:cBhvr>
                                      <p:tavLst>
                                        <p:tav tm="0">
                                          <p:val>
                                            <p:strVal val="#ppt_x"/>
                                          </p:val>
                                        </p:tav>
                                        <p:tav tm="100000">
                                          <p:val>
                                            <p:strVal val="#ppt_x"/>
                                          </p:val>
                                        </p:tav>
                                      </p:tavLst>
                                    </p:anim>
                                    <p:anim calcmode="lin" valueType="num">
                                      <p:cBhvr additive="base">
                                        <p:cTn id="12" dur="2200" fill="hold"/>
                                        <p:tgtEl>
                                          <p:spTgt spid="7"/>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3" name="Rectangle: Diagonal Corners Rounded 2">
            <a:extLst>
              <a:ext uri="{FF2B5EF4-FFF2-40B4-BE49-F238E27FC236}">
                <a16:creationId xmlns:a16="http://schemas.microsoft.com/office/drawing/2014/main" id="{13399DF4-D239-4B46-A59E-3F2D266B8AC5}"/>
              </a:ext>
            </a:extLst>
          </p:cNvPr>
          <p:cNvSpPr/>
          <p:nvPr userDrawn="1"/>
        </p:nvSpPr>
        <p:spPr>
          <a:xfrm>
            <a:off x="812800" y="728662"/>
            <a:ext cx="10566400" cy="5589587"/>
          </a:xfrm>
          <a:prstGeom prst="round2DiagRect">
            <a:avLst>
              <a:gd name="adj1" fmla="val 6783"/>
              <a:gd name="adj2" fmla="val 0"/>
            </a:avLst>
          </a:prstGeom>
          <a:solidFill>
            <a:schemeClr val="accent3">
              <a:lumMod val="40000"/>
              <a:lumOff val="60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2" name="Picture Placeholder 11">
            <a:extLst>
              <a:ext uri="{FF2B5EF4-FFF2-40B4-BE49-F238E27FC236}">
                <a16:creationId xmlns:a16="http://schemas.microsoft.com/office/drawing/2014/main" id="{CBD3B56C-6673-4097-B43C-40AB7C20EEC2}"/>
              </a:ext>
            </a:extLst>
          </p:cNvPr>
          <p:cNvSpPr>
            <a:spLocks noGrp="1"/>
          </p:cNvSpPr>
          <p:nvPr>
            <p:ph type="pic" sz="quarter" idx="13"/>
          </p:nvPr>
        </p:nvSpPr>
        <p:spPr>
          <a:xfrm>
            <a:off x="3457125" y="1193177"/>
            <a:ext cx="2474760" cy="2071688"/>
          </a:xfrm>
          <a:custGeom>
            <a:avLst/>
            <a:gdLst>
              <a:gd name="connsiteX0" fmla="*/ 0 w 4950165"/>
              <a:gd name="connsiteY0" fmla="*/ 0 h 4143375"/>
              <a:gd name="connsiteX1" fmla="*/ 4950165 w 4950165"/>
              <a:gd name="connsiteY1" fmla="*/ 0 h 4143375"/>
              <a:gd name="connsiteX2" fmla="*/ 4950165 w 4950165"/>
              <a:gd name="connsiteY2" fmla="*/ 4143375 h 4143375"/>
              <a:gd name="connsiteX3" fmla="*/ 0 w 4950165"/>
              <a:gd name="connsiteY3" fmla="*/ 4143375 h 4143375"/>
            </a:gdLst>
            <a:ahLst/>
            <a:cxnLst>
              <a:cxn ang="0">
                <a:pos x="connsiteX0" y="connsiteY0"/>
              </a:cxn>
              <a:cxn ang="0">
                <a:pos x="connsiteX1" y="connsiteY1"/>
              </a:cxn>
              <a:cxn ang="0">
                <a:pos x="connsiteX2" y="connsiteY2"/>
              </a:cxn>
              <a:cxn ang="0">
                <a:pos x="connsiteX3" y="connsiteY3"/>
              </a:cxn>
            </a:cxnLst>
            <a:rect l="l" t="t" r="r" b="b"/>
            <a:pathLst>
              <a:path w="4950165" h="4143375">
                <a:moveTo>
                  <a:pt x="0" y="0"/>
                </a:moveTo>
                <a:lnTo>
                  <a:pt x="4950165" y="0"/>
                </a:lnTo>
                <a:lnTo>
                  <a:pt x="4950165" y="4143375"/>
                </a:lnTo>
                <a:lnTo>
                  <a:pt x="0" y="4143375"/>
                </a:lnTo>
                <a:close/>
              </a:path>
            </a:pathLst>
          </a:custGeom>
          <a:pattFill prst="pct60">
            <a:fgClr>
              <a:schemeClr val="bg1"/>
            </a:fgClr>
            <a:bgClr>
              <a:schemeClr val="bg1">
                <a:lumMod val="85000"/>
              </a:schemeClr>
            </a:bgClr>
          </a:pattFill>
          <a:effectLst>
            <a:outerShdw blurRad="660400" dist="190500" dir="5400000" algn="t" rotWithShape="0">
              <a:schemeClr val="accent1">
                <a:alpha val="40000"/>
              </a:schemeClr>
            </a:outerShdw>
          </a:effectLst>
        </p:spPr>
        <p:txBody>
          <a:bodyPr wrap="square" anchor="ctr">
            <a:noAutofit/>
          </a:bodyPr>
          <a:lstStyle>
            <a:lvl1pPr marL="0" indent="0" algn="ctr">
              <a:buFontTx/>
              <a:buNone/>
              <a:defRPr sz="1200"/>
            </a:lvl1pPr>
          </a:lstStyle>
          <a:p>
            <a:endParaRPr lang="en-US"/>
          </a:p>
        </p:txBody>
      </p:sp>
      <p:sp>
        <p:nvSpPr>
          <p:cNvPr id="13" name="Picture Placeholder 12">
            <a:extLst>
              <a:ext uri="{FF2B5EF4-FFF2-40B4-BE49-F238E27FC236}">
                <a16:creationId xmlns:a16="http://schemas.microsoft.com/office/drawing/2014/main" id="{84AD6E42-B8ED-45FE-80BA-270BE28BE3EB}"/>
              </a:ext>
            </a:extLst>
          </p:cNvPr>
          <p:cNvSpPr>
            <a:spLocks noGrp="1"/>
          </p:cNvSpPr>
          <p:nvPr>
            <p:ph type="pic" sz="quarter" idx="14"/>
          </p:nvPr>
        </p:nvSpPr>
        <p:spPr>
          <a:xfrm>
            <a:off x="6260114" y="1193177"/>
            <a:ext cx="2474760" cy="2071688"/>
          </a:xfrm>
          <a:custGeom>
            <a:avLst/>
            <a:gdLst>
              <a:gd name="connsiteX0" fmla="*/ 0 w 4950164"/>
              <a:gd name="connsiteY0" fmla="*/ 0 h 4143375"/>
              <a:gd name="connsiteX1" fmla="*/ 4950164 w 4950164"/>
              <a:gd name="connsiteY1" fmla="*/ 0 h 4143375"/>
              <a:gd name="connsiteX2" fmla="*/ 4950164 w 4950164"/>
              <a:gd name="connsiteY2" fmla="*/ 4143375 h 4143375"/>
              <a:gd name="connsiteX3" fmla="*/ 0 w 4950164"/>
              <a:gd name="connsiteY3" fmla="*/ 4143375 h 4143375"/>
            </a:gdLst>
            <a:ahLst/>
            <a:cxnLst>
              <a:cxn ang="0">
                <a:pos x="connsiteX0" y="connsiteY0"/>
              </a:cxn>
              <a:cxn ang="0">
                <a:pos x="connsiteX1" y="connsiteY1"/>
              </a:cxn>
              <a:cxn ang="0">
                <a:pos x="connsiteX2" y="connsiteY2"/>
              </a:cxn>
              <a:cxn ang="0">
                <a:pos x="connsiteX3" y="connsiteY3"/>
              </a:cxn>
            </a:cxnLst>
            <a:rect l="l" t="t" r="r" b="b"/>
            <a:pathLst>
              <a:path w="4950164" h="4143375">
                <a:moveTo>
                  <a:pt x="0" y="0"/>
                </a:moveTo>
                <a:lnTo>
                  <a:pt x="4950164" y="0"/>
                </a:lnTo>
                <a:lnTo>
                  <a:pt x="4950164" y="4143375"/>
                </a:lnTo>
                <a:lnTo>
                  <a:pt x="0" y="4143375"/>
                </a:lnTo>
                <a:close/>
              </a:path>
            </a:pathLst>
          </a:custGeom>
          <a:pattFill prst="pct60">
            <a:fgClr>
              <a:schemeClr val="bg1"/>
            </a:fgClr>
            <a:bgClr>
              <a:schemeClr val="bg1">
                <a:lumMod val="85000"/>
              </a:schemeClr>
            </a:bgClr>
          </a:pattFill>
          <a:effectLst>
            <a:outerShdw blurRad="660400" dist="190500" dir="5400000" algn="t" rotWithShape="0">
              <a:schemeClr val="accent1">
                <a:alpha val="40000"/>
              </a:schemeClr>
            </a:outerShdw>
          </a:effectLst>
        </p:spPr>
        <p:txBody>
          <a:bodyPr wrap="square" anchor="ctr">
            <a:noAutofit/>
          </a:bodyPr>
          <a:lstStyle>
            <a:lvl1pPr marL="0" indent="0" algn="ctr">
              <a:buFontTx/>
              <a:buNone/>
              <a:defRPr sz="1200"/>
            </a:lvl1pPr>
          </a:lstStyle>
          <a:p>
            <a:endParaRPr lang="en-US"/>
          </a:p>
        </p:txBody>
      </p:sp>
      <p:sp>
        <p:nvSpPr>
          <p:cNvPr id="14" name="Picture Placeholder 13">
            <a:extLst>
              <a:ext uri="{FF2B5EF4-FFF2-40B4-BE49-F238E27FC236}">
                <a16:creationId xmlns:a16="http://schemas.microsoft.com/office/drawing/2014/main" id="{BB2CF020-4972-4FDF-8E27-E1B874D0649C}"/>
              </a:ext>
            </a:extLst>
          </p:cNvPr>
          <p:cNvSpPr>
            <a:spLocks noGrp="1"/>
          </p:cNvSpPr>
          <p:nvPr>
            <p:ph type="pic" sz="quarter" idx="15"/>
          </p:nvPr>
        </p:nvSpPr>
        <p:spPr>
          <a:xfrm>
            <a:off x="3457125" y="3593137"/>
            <a:ext cx="2474760" cy="2071688"/>
          </a:xfrm>
          <a:custGeom>
            <a:avLst/>
            <a:gdLst>
              <a:gd name="connsiteX0" fmla="*/ 0 w 4950165"/>
              <a:gd name="connsiteY0" fmla="*/ 0 h 4143375"/>
              <a:gd name="connsiteX1" fmla="*/ 4950165 w 4950165"/>
              <a:gd name="connsiteY1" fmla="*/ 0 h 4143375"/>
              <a:gd name="connsiteX2" fmla="*/ 4950165 w 4950165"/>
              <a:gd name="connsiteY2" fmla="*/ 4143375 h 4143375"/>
              <a:gd name="connsiteX3" fmla="*/ 0 w 4950165"/>
              <a:gd name="connsiteY3" fmla="*/ 4143375 h 4143375"/>
            </a:gdLst>
            <a:ahLst/>
            <a:cxnLst>
              <a:cxn ang="0">
                <a:pos x="connsiteX0" y="connsiteY0"/>
              </a:cxn>
              <a:cxn ang="0">
                <a:pos x="connsiteX1" y="connsiteY1"/>
              </a:cxn>
              <a:cxn ang="0">
                <a:pos x="connsiteX2" y="connsiteY2"/>
              </a:cxn>
              <a:cxn ang="0">
                <a:pos x="connsiteX3" y="connsiteY3"/>
              </a:cxn>
            </a:cxnLst>
            <a:rect l="l" t="t" r="r" b="b"/>
            <a:pathLst>
              <a:path w="4950165" h="4143375">
                <a:moveTo>
                  <a:pt x="0" y="0"/>
                </a:moveTo>
                <a:lnTo>
                  <a:pt x="4950165" y="0"/>
                </a:lnTo>
                <a:lnTo>
                  <a:pt x="4950165" y="4143375"/>
                </a:lnTo>
                <a:lnTo>
                  <a:pt x="0" y="4143375"/>
                </a:lnTo>
                <a:close/>
              </a:path>
            </a:pathLst>
          </a:custGeom>
          <a:pattFill prst="pct60">
            <a:fgClr>
              <a:schemeClr val="bg1"/>
            </a:fgClr>
            <a:bgClr>
              <a:schemeClr val="bg1">
                <a:lumMod val="85000"/>
              </a:schemeClr>
            </a:bgClr>
          </a:pattFill>
          <a:effectLst>
            <a:outerShdw blurRad="660400" dist="190500" dir="5400000" algn="t" rotWithShape="0">
              <a:schemeClr val="accent1">
                <a:alpha val="40000"/>
              </a:schemeClr>
            </a:outerShdw>
          </a:effectLst>
        </p:spPr>
        <p:txBody>
          <a:bodyPr wrap="square" anchor="ctr">
            <a:noAutofit/>
          </a:bodyPr>
          <a:lstStyle>
            <a:lvl1pPr marL="0" indent="0" algn="ctr">
              <a:buFontTx/>
              <a:buNone/>
              <a:defRPr sz="1200"/>
            </a:lvl1pPr>
          </a:lstStyle>
          <a:p>
            <a:endParaRPr lang="en-US"/>
          </a:p>
        </p:txBody>
      </p:sp>
      <p:sp>
        <p:nvSpPr>
          <p:cNvPr id="15" name="Picture Placeholder 14">
            <a:extLst>
              <a:ext uri="{FF2B5EF4-FFF2-40B4-BE49-F238E27FC236}">
                <a16:creationId xmlns:a16="http://schemas.microsoft.com/office/drawing/2014/main" id="{7DEDE4E0-4295-4EC1-B674-5609175C4D60}"/>
              </a:ext>
            </a:extLst>
          </p:cNvPr>
          <p:cNvSpPr>
            <a:spLocks noGrp="1"/>
          </p:cNvSpPr>
          <p:nvPr>
            <p:ph type="pic" sz="quarter" idx="16"/>
          </p:nvPr>
        </p:nvSpPr>
        <p:spPr>
          <a:xfrm>
            <a:off x="6260114" y="3593137"/>
            <a:ext cx="2474760" cy="2071688"/>
          </a:xfrm>
          <a:custGeom>
            <a:avLst/>
            <a:gdLst>
              <a:gd name="connsiteX0" fmla="*/ 0 w 4950164"/>
              <a:gd name="connsiteY0" fmla="*/ 0 h 4143375"/>
              <a:gd name="connsiteX1" fmla="*/ 4950164 w 4950164"/>
              <a:gd name="connsiteY1" fmla="*/ 0 h 4143375"/>
              <a:gd name="connsiteX2" fmla="*/ 4950164 w 4950164"/>
              <a:gd name="connsiteY2" fmla="*/ 4143375 h 4143375"/>
              <a:gd name="connsiteX3" fmla="*/ 0 w 4950164"/>
              <a:gd name="connsiteY3" fmla="*/ 4143375 h 4143375"/>
            </a:gdLst>
            <a:ahLst/>
            <a:cxnLst>
              <a:cxn ang="0">
                <a:pos x="connsiteX0" y="connsiteY0"/>
              </a:cxn>
              <a:cxn ang="0">
                <a:pos x="connsiteX1" y="connsiteY1"/>
              </a:cxn>
              <a:cxn ang="0">
                <a:pos x="connsiteX2" y="connsiteY2"/>
              </a:cxn>
              <a:cxn ang="0">
                <a:pos x="connsiteX3" y="connsiteY3"/>
              </a:cxn>
            </a:cxnLst>
            <a:rect l="l" t="t" r="r" b="b"/>
            <a:pathLst>
              <a:path w="4950164" h="4143375">
                <a:moveTo>
                  <a:pt x="0" y="0"/>
                </a:moveTo>
                <a:lnTo>
                  <a:pt x="4950164" y="0"/>
                </a:lnTo>
                <a:lnTo>
                  <a:pt x="4950164" y="4143375"/>
                </a:lnTo>
                <a:lnTo>
                  <a:pt x="0" y="4143375"/>
                </a:lnTo>
                <a:close/>
              </a:path>
            </a:pathLst>
          </a:custGeom>
          <a:pattFill prst="pct60">
            <a:fgClr>
              <a:schemeClr val="bg1"/>
            </a:fgClr>
            <a:bgClr>
              <a:schemeClr val="bg1">
                <a:lumMod val="85000"/>
              </a:schemeClr>
            </a:bgClr>
          </a:pattFill>
          <a:effectLst>
            <a:outerShdw blurRad="660400" dist="190500" dir="5400000" algn="t" rotWithShape="0">
              <a:schemeClr val="accent1">
                <a:alpha val="40000"/>
              </a:schemeClr>
            </a:outerShdw>
          </a:effectLst>
        </p:spPr>
        <p:txBody>
          <a:bodyPr wrap="square" anchor="ctr">
            <a:noAutofit/>
          </a:bodyPr>
          <a:lstStyle>
            <a:lvl1pPr marL="0" indent="0" algn="ctr">
              <a:buFontTx/>
              <a:buNone/>
              <a:defRPr sz="1200"/>
            </a:lvl1pPr>
          </a:lstStyle>
          <a:p>
            <a:endParaRPr lang="en-US"/>
          </a:p>
        </p:txBody>
      </p:sp>
    </p:spTree>
    <p:extLst>
      <p:ext uri="{BB962C8B-B14F-4D97-AF65-F5344CB8AC3E}">
        <p14:creationId xmlns:p14="http://schemas.microsoft.com/office/powerpoint/2010/main" val="515883335"/>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4" dur="2000" decel="100000"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2000" fill="hold"/>
                                        <p:tgtEl>
                                          <p:spTgt spid="12"/>
                                        </p:tgtEl>
                                        <p:attrNameLst>
                                          <p:attrName>ppt_x</p:attrName>
                                        </p:attrNameLst>
                                      </p:cBhvr>
                                      <p:tavLst>
                                        <p:tav tm="0">
                                          <p:val>
                                            <p:strVal val="#ppt_x"/>
                                          </p:val>
                                        </p:tav>
                                        <p:tav tm="100000">
                                          <p:val>
                                            <p:strVal val="#ppt_x"/>
                                          </p:val>
                                        </p:tav>
                                      </p:tavLst>
                                    </p:anim>
                                    <p:anim calcmode="lin" valueType="num">
                                      <p:cBhvr additive="base">
                                        <p:cTn id="8" dur="2000" fill="hold"/>
                                        <p:tgtEl>
                                          <p:spTgt spid="12"/>
                                        </p:tgtEl>
                                        <p:attrNameLst>
                                          <p:attrName>ppt_y</p:attrName>
                                        </p:attrNameLst>
                                      </p:cBhvr>
                                      <p:tavLst>
                                        <p:tav tm="0">
                                          <p:val>
                                            <p:strVal val="1+#ppt_h/2"/>
                                          </p:val>
                                        </p:tav>
                                        <p:tav tm="100000">
                                          <p:val>
                                            <p:strVal val="#ppt_y"/>
                                          </p:val>
                                        </p:tav>
                                      </p:tavLst>
                                    </p:anim>
                                  </p:childTnLst>
                                </p:cTn>
                              </p:par>
                              <p:par>
                                <p:cTn id="9" presetID="2" presetClass="entr" presetSubtype="4" dur="2000" decel="100000" fill="hold" grpId="0" nodeType="withEffect">
                                  <p:stCondLst>
                                    <p:cond delay="100"/>
                                  </p:stCondLst>
                                  <p:childTnLst>
                                    <p:set>
                                      <p:cBhvr>
                                        <p:cTn id="10" dur="1" fill="hold">
                                          <p:stCondLst>
                                            <p:cond delay="0"/>
                                          </p:stCondLst>
                                        </p:cTn>
                                        <p:tgtEl>
                                          <p:spTgt spid="13"/>
                                        </p:tgtEl>
                                        <p:attrNameLst>
                                          <p:attrName>style.visibility</p:attrName>
                                        </p:attrNameLst>
                                      </p:cBhvr>
                                      <p:to>
                                        <p:strVal val="visible"/>
                                      </p:to>
                                    </p:set>
                                    <p:anim calcmode="lin" valueType="num">
                                      <p:cBhvr additive="base">
                                        <p:cTn id="11" dur="2000" fill="hold"/>
                                        <p:tgtEl>
                                          <p:spTgt spid="13"/>
                                        </p:tgtEl>
                                        <p:attrNameLst>
                                          <p:attrName>ppt_x</p:attrName>
                                        </p:attrNameLst>
                                      </p:cBhvr>
                                      <p:tavLst>
                                        <p:tav tm="0">
                                          <p:val>
                                            <p:strVal val="#ppt_x"/>
                                          </p:val>
                                        </p:tav>
                                        <p:tav tm="100000">
                                          <p:val>
                                            <p:strVal val="#ppt_x"/>
                                          </p:val>
                                        </p:tav>
                                      </p:tavLst>
                                    </p:anim>
                                    <p:anim calcmode="lin" valueType="num">
                                      <p:cBhvr additive="base">
                                        <p:cTn id="12" dur="2000" fill="hold"/>
                                        <p:tgtEl>
                                          <p:spTgt spid="13"/>
                                        </p:tgtEl>
                                        <p:attrNameLst>
                                          <p:attrName>ppt_y</p:attrName>
                                        </p:attrNameLst>
                                      </p:cBhvr>
                                      <p:tavLst>
                                        <p:tav tm="0">
                                          <p:val>
                                            <p:strVal val="1+#ppt_h/2"/>
                                          </p:val>
                                        </p:tav>
                                        <p:tav tm="100000">
                                          <p:val>
                                            <p:strVal val="#ppt_y"/>
                                          </p:val>
                                        </p:tav>
                                      </p:tavLst>
                                    </p:anim>
                                  </p:childTnLst>
                                </p:cTn>
                              </p:par>
                              <p:par>
                                <p:cTn id="13" presetID="2" presetClass="entr" presetSubtype="4" dur="2000" decel="100000" fill="hold" grpId="0" nodeType="withEffect">
                                  <p:stCondLst>
                                    <p:cond delay="200"/>
                                  </p:stCondLst>
                                  <p:childTnLst>
                                    <p:set>
                                      <p:cBhvr>
                                        <p:cTn id="14" dur="1" fill="hold">
                                          <p:stCondLst>
                                            <p:cond delay="0"/>
                                          </p:stCondLst>
                                        </p:cTn>
                                        <p:tgtEl>
                                          <p:spTgt spid="14"/>
                                        </p:tgtEl>
                                        <p:attrNameLst>
                                          <p:attrName>style.visibility</p:attrName>
                                        </p:attrNameLst>
                                      </p:cBhvr>
                                      <p:to>
                                        <p:strVal val="visible"/>
                                      </p:to>
                                    </p:set>
                                    <p:anim calcmode="lin" valueType="num">
                                      <p:cBhvr additive="base">
                                        <p:cTn id="15" dur="2000" fill="hold"/>
                                        <p:tgtEl>
                                          <p:spTgt spid="14"/>
                                        </p:tgtEl>
                                        <p:attrNameLst>
                                          <p:attrName>ppt_x</p:attrName>
                                        </p:attrNameLst>
                                      </p:cBhvr>
                                      <p:tavLst>
                                        <p:tav tm="0">
                                          <p:val>
                                            <p:strVal val="#ppt_x"/>
                                          </p:val>
                                        </p:tav>
                                        <p:tav tm="100000">
                                          <p:val>
                                            <p:strVal val="#ppt_x"/>
                                          </p:val>
                                        </p:tav>
                                      </p:tavLst>
                                    </p:anim>
                                    <p:anim calcmode="lin" valueType="num">
                                      <p:cBhvr additive="base">
                                        <p:cTn id="16" dur="2000" fill="hold"/>
                                        <p:tgtEl>
                                          <p:spTgt spid="14"/>
                                        </p:tgtEl>
                                        <p:attrNameLst>
                                          <p:attrName>ppt_y</p:attrName>
                                        </p:attrNameLst>
                                      </p:cBhvr>
                                      <p:tavLst>
                                        <p:tav tm="0">
                                          <p:val>
                                            <p:strVal val="1+#ppt_h/2"/>
                                          </p:val>
                                        </p:tav>
                                        <p:tav tm="100000">
                                          <p:val>
                                            <p:strVal val="#ppt_y"/>
                                          </p:val>
                                        </p:tav>
                                      </p:tavLst>
                                    </p:anim>
                                  </p:childTnLst>
                                </p:cTn>
                              </p:par>
                              <p:par>
                                <p:cTn id="17" presetID="2" presetClass="entr" presetSubtype="4" dur="2000" decel="100000" fill="hold" grpId="0" nodeType="withEffect">
                                  <p:stCondLst>
                                    <p:cond delay="300"/>
                                  </p:stCondLst>
                                  <p:childTnLst>
                                    <p:set>
                                      <p:cBhvr>
                                        <p:cTn id="18" dur="1" fill="hold">
                                          <p:stCondLst>
                                            <p:cond delay="0"/>
                                          </p:stCondLst>
                                        </p:cTn>
                                        <p:tgtEl>
                                          <p:spTgt spid="15"/>
                                        </p:tgtEl>
                                        <p:attrNameLst>
                                          <p:attrName>style.visibility</p:attrName>
                                        </p:attrNameLst>
                                      </p:cBhvr>
                                      <p:to>
                                        <p:strVal val="visible"/>
                                      </p:to>
                                    </p:set>
                                    <p:anim calcmode="lin" valueType="num">
                                      <p:cBhvr additive="base">
                                        <p:cTn id="19" dur="2000" fill="hold"/>
                                        <p:tgtEl>
                                          <p:spTgt spid="15"/>
                                        </p:tgtEl>
                                        <p:attrNameLst>
                                          <p:attrName>ppt_x</p:attrName>
                                        </p:attrNameLst>
                                      </p:cBhvr>
                                      <p:tavLst>
                                        <p:tav tm="0">
                                          <p:val>
                                            <p:strVal val="#ppt_x"/>
                                          </p:val>
                                        </p:tav>
                                        <p:tav tm="100000">
                                          <p:val>
                                            <p:strVal val="#ppt_x"/>
                                          </p:val>
                                        </p:tav>
                                      </p:tavLst>
                                    </p:anim>
                                    <p:anim calcmode="lin" valueType="num">
                                      <p:cBhvr additive="base">
                                        <p:cTn id="20" dur="2000" fill="hold"/>
                                        <p:tgtEl>
                                          <p:spTgt spid="1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14" grpId="0" animBg="1"/>
      <p:bldP spid="15" grpId="0" animBg="1"/>
    </p:bldLst>
  </p:timing>
  <p:extLst>
    <p:ext uri="{DCECCB84-F9BA-43D5-87BE-67443E8EF086}">
      <p15:sldGuideLst xmlns:p15="http://schemas.microsoft.com/office/powerpoint/2012/main">
        <p15:guide id="1" orient="horz" pos="4320">
          <p15:clr>
            <a:srgbClr val="FBAE40"/>
          </p15:clr>
        </p15:guide>
        <p15:guide id="2" pos="7681">
          <p15:clr>
            <a:srgbClr val="FBAE40"/>
          </p15:clr>
        </p15:guide>
        <p15:guide id="3" pos="985">
          <p15:clr>
            <a:srgbClr val="FBAE40"/>
          </p15:clr>
        </p15:guide>
        <p15:guide id="4" pos="14377">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2" name="Rectangle: Diagonal Corners Rounded 1">
            <a:extLst>
              <a:ext uri="{FF2B5EF4-FFF2-40B4-BE49-F238E27FC236}">
                <a16:creationId xmlns:a16="http://schemas.microsoft.com/office/drawing/2014/main" id="{6E595C43-5991-6552-F387-5DE5AFC20901}"/>
              </a:ext>
            </a:extLst>
          </p:cNvPr>
          <p:cNvSpPr/>
          <p:nvPr userDrawn="1"/>
        </p:nvSpPr>
        <p:spPr>
          <a:xfrm>
            <a:off x="812800" y="728662"/>
            <a:ext cx="10566400" cy="5589587"/>
          </a:xfrm>
          <a:prstGeom prst="round2DiagRect">
            <a:avLst>
              <a:gd name="adj1" fmla="val 6783"/>
              <a:gd name="adj2" fmla="val 0"/>
            </a:avLst>
          </a:prstGeom>
          <a:solidFill>
            <a:schemeClr val="accent3">
              <a:lumMod val="40000"/>
              <a:lumOff val="60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1" name="Picture Placeholder 20">
            <a:extLst>
              <a:ext uri="{FF2B5EF4-FFF2-40B4-BE49-F238E27FC236}">
                <a16:creationId xmlns:a16="http://schemas.microsoft.com/office/drawing/2014/main" id="{92263DCA-1DEE-49D2-80CB-CF9032EF06FE}"/>
              </a:ext>
            </a:extLst>
          </p:cNvPr>
          <p:cNvSpPr>
            <a:spLocks noGrp="1"/>
          </p:cNvSpPr>
          <p:nvPr>
            <p:ph type="pic" sz="quarter" idx="13"/>
          </p:nvPr>
        </p:nvSpPr>
        <p:spPr>
          <a:xfrm>
            <a:off x="1514278" y="933450"/>
            <a:ext cx="1438088" cy="1571625"/>
          </a:xfrm>
          <a:custGeom>
            <a:avLst/>
            <a:gdLst>
              <a:gd name="connsiteX0" fmla="*/ 0 w 2876550"/>
              <a:gd name="connsiteY0" fmla="*/ 0 h 3143250"/>
              <a:gd name="connsiteX1" fmla="*/ 2876550 w 2876550"/>
              <a:gd name="connsiteY1" fmla="*/ 0 h 3143250"/>
              <a:gd name="connsiteX2" fmla="*/ 2876550 w 2876550"/>
              <a:gd name="connsiteY2" fmla="*/ 3143250 h 3143250"/>
              <a:gd name="connsiteX3" fmla="*/ 0 w 2876550"/>
              <a:gd name="connsiteY3" fmla="*/ 3143250 h 3143250"/>
            </a:gdLst>
            <a:ahLst/>
            <a:cxnLst>
              <a:cxn ang="0">
                <a:pos x="connsiteX0" y="connsiteY0"/>
              </a:cxn>
              <a:cxn ang="0">
                <a:pos x="connsiteX1" y="connsiteY1"/>
              </a:cxn>
              <a:cxn ang="0">
                <a:pos x="connsiteX2" y="connsiteY2"/>
              </a:cxn>
              <a:cxn ang="0">
                <a:pos x="connsiteX3" y="connsiteY3"/>
              </a:cxn>
            </a:cxnLst>
            <a:rect l="l" t="t" r="r" b="b"/>
            <a:pathLst>
              <a:path w="2876550" h="3143250">
                <a:moveTo>
                  <a:pt x="0" y="0"/>
                </a:moveTo>
                <a:lnTo>
                  <a:pt x="2876550" y="0"/>
                </a:lnTo>
                <a:lnTo>
                  <a:pt x="2876550" y="3143250"/>
                </a:lnTo>
                <a:lnTo>
                  <a:pt x="0" y="3143250"/>
                </a:lnTo>
                <a:close/>
              </a:path>
            </a:pathLst>
          </a:custGeom>
          <a:pattFill prst="pct60">
            <a:fgClr>
              <a:schemeClr val="bg1"/>
            </a:fgClr>
            <a:bgClr>
              <a:schemeClr val="bg1">
                <a:lumMod val="85000"/>
              </a:schemeClr>
            </a:bgClr>
          </a:pattFill>
          <a:effectLst>
            <a:outerShdw blurRad="660400" dist="190500" dir="5400000" algn="t" rotWithShape="0">
              <a:schemeClr val="accent1">
                <a:alpha val="40000"/>
              </a:schemeClr>
            </a:outerShdw>
          </a:effectLst>
        </p:spPr>
        <p:txBody>
          <a:bodyPr wrap="square" anchor="ctr">
            <a:noAutofit/>
          </a:bodyPr>
          <a:lstStyle>
            <a:lvl1pPr marL="0" indent="0" algn="ctr">
              <a:buFontTx/>
              <a:buNone/>
              <a:defRPr sz="1200"/>
            </a:lvl1pPr>
          </a:lstStyle>
          <a:p>
            <a:endParaRPr lang="en-US"/>
          </a:p>
        </p:txBody>
      </p:sp>
      <p:sp>
        <p:nvSpPr>
          <p:cNvPr id="22" name="Picture Placeholder 21">
            <a:extLst>
              <a:ext uri="{FF2B5EF4-FFF2-40B4-BE49-F238E27FC236}">
                <a16:creationId xmlns:a16="http://schemas.microsoft.com/office/drawing/2014/main" id="{743896C4-BC14-436C-ADB0-09DC41D72F17}"/>
              </a:ext>
            </a:extLst>
          </p:cNvPr>
          <p:cNvSpPr>
            <a:spLocks noGrp="1"/>
          </p:cNvSpPr>
          <p:nvPr>
            <p:ph type="pic" sz="quarter" idx="14"/>
          </p:nvPr>
        </p:nvSpPr>
        <p:spPr>
          <a:xfrm>
            <a:off x="4089397" y="933450"/>
            <a:ext cx="1438088" cy="1571625"/>
          </a:xfrm>
          <a:custGeom>
            <a:avLst/>
            <a:gdLst>
              <a:gd name="connsiteX0" fmla="*/ 0 w 2876550"/>
              <a:gd name="connsiteY0" fmla="*/ 0 h 3143250"/>
              <a:gd name="connsiteX1" fmla="*/ 2876550 w 2876550"/>
              <a:gd name="connsiteY1" fmla="*/ 0 h 3143250"/>
              <a:gd name="connsiteX2" fmla="*/ 2876550 w 2876550"/>
              <a:gd name="connsiteY2" fmla="*/ 3143250 h 3143250"/>
              <a:gd name="connsiteX3" fmla="*/ 0 w 2876550"/>
              <a:gd name="connsiteY3" fmla="*/ 3143250 h 3143250"/>
            </a:gdLst>
            <a:ahLst/>
            <a:cxnLst>
              <a:cxn ang="0">
                <a:pos x="connsiteX0" y="connsiteY0"/>
              </a:cxn>
              <a:cxn ang="0">
                <a:pos x="connsiteX1" y="connsiteY1"/>
              </a:cxn>
              <a:cxn ang="0">
                <a:pos x="connsiteX2" y="connsiteY2"/>
              </a:cxn>
              <a:cxn ang="0">
                <a:pos x="connsiteX3" y="connsiteY3"/>
              </a:cxn>
            </a:cxnLst>
            <a:rect l="l" t="t" r="r" b="b"/>
            <a:pathLst>
              <a:path w="2876550" h="3143250">
                <a:moveTo>
                  <a:pt x="0" y="0"/>
                </a:moveTo>
                <a:lnTo>
                  <a:pt x="2876550" y="0"/>
                </a:lnTo>
                <a:lnTo>
                  <a:pt x="2876550" y="3143250"/>
                </a:lnTo>
                <a:lnTo>
                  <a:pt x="0" y="3143250"/>
                </a:lnTo>
                <a:close/>
              </a:path>
            </a:pathLst>
          </a:custGeom>
          <a:pattFill prst="pct60">
            <a:fgClr>
              <a:schemeClr val="bg1"/>
            </a:fgClr>
            <a:bgClr>
              <a:schemeClr val="bg1">
                <a:lumMod val="85000"/>
              </a:schemeClr>
            </a:bgClr>
          </a:pattFill>
          <a:effectLst>
            <a:outerShdw blurRad="660400" dist="190500" dir="5400000" algn="t" rotWithShape="0">
              <a:schemeClr val="accent1">
                <a:alpha val="40000"/>
              </a:schemeClr>
            </a:outerShdw>
          </a:effectLst>
        </p:spPr>
        <p:txBody>
          <a:bodyPr wrap="square" anchor="ctr">
            <a:noAutofit/>
          </a:bodyPr>
          <a:lstStyle>
            <a:lvl1pPr marL="0" indent="0" algn="ctr">
              <a:buFontTx/>
              <a:buNone/>
              <a:defRPr sz="1200"/>
            </a:lvl1pPr>
          </a:lstStyle>
          <a:p>
            <a:endParaRPr lang="en-US"/>
          </a:p>
        </p:txBody>
      </p:sp>
      <p:sp>
        <p:nvSpPr>
          <p:cNvPr id="23" name="Picture Placeholder 22">
            <a:extLst>
              <a:ext uri="{FF2B5EF4-FFF2-40B4-BE49-F238E27FC236}">
                <a16:creationId xmlns:a16="http://schemas.microsoft.com/office/drawing/2014/main" id="{0A1AA56A-4341-4938-9A18-9B4699C88FDC}"/>
              </a:ext>
            </a:extLst>
          </p:cNvPr>
          <p:cNvSpPr>
            <a:spLocks noGrp="1"/>
          </p:cNvSpPr>
          <p:nvPr>
            <p:ph type="pic" sz="quarter" idx="15"/>
          </p:nvPr>
        </p:nvSpPr>
        <p:spPr>
          <a:xfrm>
            <a:off x="6664516" y="933450"/>
            <a:ext cx="1438088" cy="1571625"/>
          </a:xfrm>
          <a:custGeom>
            <a:avLst/>
            <a:gdLst>
              <a:gd name="connsiteX0" fmla="*/ 0 w 2876550"/>
              <a:gd name="connsiteY0" fmla="*/ 0 h 3143250"/>
              <a:gd name="connsiteX1" fmla="*/ 2876550 w 2876550"/>
              <a:gd name="connsiteY1" fmla="*/ 0 h 3143250"/>
              <a:gd name="connsiteX2" fmla="*/ 2876550 w 2876550"/>
              <a:gd name="connsiteY2" fmla="*/ 3143250 h 3143250"/>
              <a:gd name="connsiteX3" fmla="*/ 0 w 2876550"/>
              <a:gd name="connsiteY3" fmla="*/ 3143250 h 3143250"/>
            </a:gdLst>
            <a:ahLst/>
            <a:cxnLst>
              <a:cxn ang="0">
                <a:pos x="connsiteX0" y="connsiteY0"/>
              </a:cxn>
              <a:cxn ang="0">
                <a:pos x="connsiteX1" y="connsiteY1"/>
              </a:cxn>
              <a:cxn ang="0">
                <a:pos x="connsiteX2" y="connsiteY2"/>
              </a:cxn>
              <a:cxn ang="0">
                <a:pos x="connsiteX3" y="connsiteY3"/>
              </a:cxn>
            </a:cxnLst>
            <a:rect l="l" t="t" r="r" b="b"/>
            <a:pathLst>
              <a:path w="2876550" h="3143250">
                <a:moveTo>
                  <a:pt x="0" y="0"/>
                </a:moveTo>
                <a:lnTo>
                  <a:pt x="2876550" y="0"/>
                </a:lnTo>
                <a:lnTo>
                  <a:pt x="2876550" y="3143250"/>
                </a:lnTo>
                <a:lnTo>
                  <a:pt x="0" y="3143250"/>
                </a:lnTo>
                <a:close/>
              </a:path>
            </a:pathLst>
          </a:custGeom>
          <a:pattFill prst="pct60">
            <a:fgClr>
              <a:schemeClr val="bg1"/>
            </a:fgClr>
            <a:bgClr>
              <a:schemeClr val="bg1">
                <a:lumMod val="85000"/>
              </a:schemeClr>
            </a:bgClr>
          </a:pattFill>
          <a:effectLst>
            <a:outerShdw blurRad="660400" dist="190500" dir="5400000" algn="t" rotWithShape="0">
              <a:schemeClr val="accent1">
                <a:alpha val="40000"/>
              </a:schemeClr>
            </a:outerShdw>
          </a:effectLst>
        </p:spPr>
        <p:txBody>
          <a:bodyPr wrap="square" anchor="ctr">
            <a:noAutofit/>
          </a:bodyPr>
          <a:lstStyle>
            <a:lvl1pPr marL="0" indent="0" algn="ctr">
              <a:buFontTx/>
              <a:buNone/>
              <a:defRPr sz="1200"/>
            </a:lvl1pPr>
          </a:lstStyle>
          <a:p>
            <a:endParaRPr lang="en-US"/>
          </a:p>
        </p:txBody>
      </p:sp>
      <p:sp>
        <p:nvSpPr>
          <p:cNvPr id="24" name="Picture Placeholder 23">
            <a:extLst>
              <a:ext uri="{FF2B5EF4-FFF2-40B4-BE49-F238E27FC236}">
                <a16:creationId xmlns:a16="http://schemas.microsoft.com/office/drawing/2014/main" id="{DAF6D4B1-9881-4261-92C1-B717CE6B512B}"/>
              </a:ext>
            </a:extLst>
          </p:cNvPr>
          <p:cNvSpPr>
            <a:spLocks noGrp="1"/>
          </p:cNvSpPr>
          <p:nvPr>
            <p:ph type="pic" sz="quarter" idx="16"/>
          </p:nvPr>
        </p:nvSpPr>
        <p:spPr>
          <a:xfrm>
            <a:off x="9239635" y="933450"/>
            <a:ext cx="1438088" cy="1571625"/>
          </a:xfrm>
          <a:custGeom>
            <a:avLst/>
            <a:gdLst>
              <a:gd name="connsiteX0" fmla="*/ 0 w 2876550"/>
              <a:gd name="connsiteY0" fmla="*/ 0 h 3143250"/>
              <a:gd name="connsiteX1" fmla="*/ 2876550 w 2876550"/>
              <a:gd name="connsiteY1" fmla="*/ 0 h 3143250"/>
              <a:gd name="connsiteX2" fmla="*/ 2876550 w 2876550"/>
              <a:gd name="connsiteY2" fmla="*/ 3143250 h 3143250"/>
              <a:gd name="connsiteX3" fmla="*/ 0 w 2876550"/>
              <a:gd name="connsiteY3" fmla="*/ 3143250 h 3143250"/>
            </a:gdLst>
            <a:ahLst/>
            <a:cxnLst>
              <a:cxn ang="0">
                <a:pos x="connsiteX0" y="connsiteY0"/>
              </a:cxn>
              <a:cxn ang="0">
                <a:pos x="connsiteX1" y="connsiteY1"/>
              </a:cxn>
              <a:cxn ang="0">
                <a:pos x="connsiteX2" y="connsiteY2"/>
              </a:cxn>
              <a:cxn ang="0">
                <a:pos x="connsiteX3" y="connsiteY3"/>
              </a:cxn>
            </a:cxnLst>
            <a:rect l="l" t="t" r="r" b="b"/>
            <a:pathLst>
              <a:path w="2876550" h="3143250">
                <a:moveTo>
                  <a:pt x="0" y="0"/>
                </a:moveTo>
                <a:lnTo>
                  <a:pt x="2876550" y="0"/>
                </a:lnTo>
                <a:lnTo>
                  <a:pt x="2876550" y="3143250"/>
                </a:lnTo>
                <a:lnTo>
                  <a:pt x="0" y="3143250"/>
                </a:lnTo>
                <a:close/>
              </a:path>
            </a:pathLst>
          </a:custGeom>
          <a:pattFill prst="pct60">
            <a:fgClr>
              <a:schemeClr val="bg1"/>
            </a:fgClr>
            <a:bgClr>
              <a:schemeClr val="bg1">
                <a:lumMod val="85000"/>
              </a:schemeClr>
            </a:bgClr>
          </a:pattFill>
          <a:effectLst>
            <a:outerShdw blurRad="660400" dist="190500" dir="5400000" algn="t" rotWithShape="0">
              <a:schemeClr val="accent1">
                <a:alpha val="40000"/>
              </a:schemeClr>
            </a:outerShdw>
          </a:effectLst>
        </p:spPr>
        <p:txBody>
          <a:bodyPr wrap="square" anchor="ctr">
            <a:noAutofit/>
          </a:bodyPr>
          <a:lstStyle>
            <a:lvl1pPr marL="0" indent="0" algn="ctr">
              <a:buFontTx/>
              <a:buNone/>
              <a:defRPr sz="1200"/>
            </a:lvl1pPr>
          </a:lstStyle>
          <a:p>
            <a:endParaRPr lang="en-US"/>
          </a:p>
        </p:txBody>
      </p:sp>
      <p:sp>
        <p:nvSpPr>
          <p:cNvPr id="25" name="Picture Placeholder 24">
            <a:extLst>
              <a:ext uri="{FF2B5EF4-FFF2-40B4-BE49-F238E27FC236}">
                <a16:creationId xmlns:a16="http://schemas.microsoft.com/office/drawing/2014/main" id="{4E6DD8C9-03BB-49E3-A9B8-A0EFEABFBD22}"/>
              </a:ext>
            </a:extLst>
          </p:cNvPr>
          <p:cNvSpPr>
            <a:spLocks noGrp="1"/>
          </p:cNvSpPr>
          <p:nvPr>
            <p:ph type="pic" sz="quarter" idx="17"/>
          </p:nvPr>
        </p:nvSpPr>
        <p:spPr>
          <a:xfrm>
            <a:off x="1514278" y="3714750"/>
            <a:ext cx="1438088" cy="1571625"/>
          </a:xfrm>
          <a:custGeom>
            <a:avLst/>
            <a:gdLst>
              <a:gd name="connsiteX0" fmla="*/ 0 w 2876550"/>
              <a:gd name="connsiteY0" fmla="*/ 0 h 3143250"/>
              <a:gd name="connsiteX1" fmla="*/ 2876550 w 2876550"/>
              <a:gd name="connsiteY1" fmla="*/ 0 h 3143250"/>
              <a:gd name="connsiteX2" fmla="*/ 2876550 w 2876550"/>
              <a:gd name="connsiteY2" fmla="*/ 3143250 h 3143250"/>
              <a:gd name="connsiteX3" fmla="*/ 0 w 2876550"/>
              <a:gd name="connsiteY3" fmla="*/ 3143250 h 3143250"/>
            </a:gdLst>
            <a:ahLst/>
            <a:cxnLst>
              <a:cxn ang="0">
                <a:pos x="connsiteX0" y="connsiteY0"/>
              </a:cxn>
              <a:cxn ang="0">
                <a:pos x="connsiteX1" y="connsiteY1"/>
              </a:cxn>
              <a:cxn ang="0">
                <a:pos x="connsiteX2" y="connsiteY2"/>
              </a:cxn>
              <a:cxn ang="0">
                <a:pos x="connsiteX3" y="connsiteY3"/>
              </a:cxn>
            </a:cxnLst>
            <a:rect l="l" t="t" r="r" b="b"/>
            <a:pathLst>
              <a:path w="2876550" h="3143250">
                <a:moveTo>
                  <a:pt x="0" y="0"/>
                </a:moveTo>
                <a:lnTo>
                  <a:pt x="2876550" y="0"/>
                </a:lnTo>
                <a:lnTo>
                  <a:pt x="2876550" y="3143250"/>
                </a:lnTo>
                <a:lnTo>
                  <a:pt x="0" y="3143250"/>
                </a:lnTo>
                <a:close/>
              </a:path>
            </a:pathLst>
          </a:custGeom>
          <a:pattFill prst="pct60">
            <a:fgClr>
              <a:schemeClr val="bg1"/>
            </a:fgClr>
            <a:bgClr>
              <a:schemeClr val="bg1">
                <a:lumMod val="85000"/>
              </a:schemeClr>
            </a:bgClr>
          </a:pattFill>
          <a:effectLst>
            <a:outerShdw blurRad="660400" dist="190500" dir="5400000" algn="t" rotWithShape="0">
              <a:schemeClr val="accent1">
                <a:alpha val="40000"/>
              </a:schemeClr>
            </a:outerShdw>
          </a:effectLst>
        </p:spPr>
        <p:txBody>
          <a:bodyPr wrap="square" anchor="ctr">
            <a:noAutofit/>
          </a:bodyPr>
          <a:lstStyle>
            <a:lvl1pPr marL="0" indent="0" algn="ctr">
              <a:buFontTx/>
              <a:buNone/>
              <a:defRPr sz="1200"/>
            </a:lvl1pPr>
          </a:lstStyle>
          <a:p>
            <a:endParaRPr lang="en-US"/>
          </a:p>
        </p:txBody>
      </p:sp>
      <p:sp>
        <p:nvSpPr>
          <p:cNvPr id="26" name="Picture Placeholder 25">
            <a:extLst>
              <a:ext uri="{FF2B5EF4-FFF2-40B4-BE49-F238E27FC236}">
                <a16:creationId xmlns:a16="http://schemas.microsoft.com/office/drawing/2014/main" id="{DFAB2594-68AE-46A3-9D9A-148C9A705C00}"/>
              </a:ext>
            </a:extLst>
          </p:cNvPr>
          <p:cNvSpPr>
            <a:spLocks noGrp="1"/>
          </p:cNvSpPr>
          <p:nvPr>
            <p:ph type="pic" sz="quarter" idx="18"/>
          </p:nvPr>
        </p:nvSpPr>
        <p:spPr>
          <a:xfrm>
            <a:off x="4089397" y="3714750"/>
            <a:ext cx="1438088" cy="1571625"/>
          </a:xfrm>
          <a:custGeom>
            <a:avLst/>
            <a:gdLst>
              <a:gd name="connsiteX0" fmla="*/ 0 w 2876550"/>
              <a:gd name="connsiteY0" fmla="*/ 0 h 3143250"/>
              <a:gd name="connsiteX1" fmla="*/ 2876550 w 2876550"/>
              <a:gd name="connsiteY1" fmla="*/ 0 h 3143250"/>
              <a:gd name="connsiteX2" fmla="*/ 2876550 w 2876550"/>
              <a:gd name="connsiteY2" fmla="*/ 3143250 h 3143250"/>
              <a:gd name="connsiteX3" fmla="*/ 0 w 2876550"/>
              <a:gd name="connsiteY3" fmla="*/ 3143250 h 3143250"/>
            </a:gdLst>
            <a:ahLst/>
            <a:cxnLst>
              <a:cxn ang="0">
                <a:pos x="connsiteX0" y="connsiteY0"/>
              </a:cxn>
              <a:cxn ang="0">
                <a:pos x="connsiteX1" y="connsiteY1"/>
              </a:cxn>
              <a:cxn ang="0">
                <a:pos x="connsiteX2" y="connsiteY2"/>
              </a:cxn>
              <a:cxn ang="0">
                <a:pos x="connsiteX3" y="connsiteY3"/>
              </a:cxn>
            </a:cxnLst>
            <a:rect l="l" t="t" r="r" b="b"/>
            <a:pathLst>
              <a:path w="2876550" h="3143250">
                <a:moveTo>
                  <a:pt x="0" y="0"/>
                </a:moveTo>
                <a:lnTo>
                  <a:pt x="2876550" y="0"/>
                </a:lnTo>
                <a:lnTo>
                  <a:pt x="2876550" y="3143250"/>
                </a:lnTo>
                <a:lnTo>
                  <a:pt x="0" y="3143250"/>
                </a:lnTo>
                <a:close/>
              </a:path>
            </a:pathLst>
          </a:custGeom>
          <a:pattFill prst="pct60">
            <a:fgClr>
              <a:schemeClr val="bg1"/>
            </a:fgClr>
            <a:bgClr>
              <a:schemeClr val="bg1">
                <a:lumMod val="85000"/>
              </a:schemeClr>
            </a:bgClr>
          </a:pattFill>
          <a:effectLst>
            <a:outerShdw blurRad="660400" dist="190500" dir="5400000" algn="t" rotWithShape="0">
              <a:schemeClr val="accent1">
                <a:alpha val="40000"/>
              </a:schemeClr>
            </a:outerShdw>
          </a:effectLst>
        </p:spPr>
        <p:txBody>
          <a:bodyPr wrap="square" anchor="ctr">
            <a:noAutofit/>
          </a:bodyPr>
          <a:lstStyle>
            <a:lvl1pPr marL="0" indent="0" algn="ctr">
              <a:buFontTx/>
              <a:buNone/>
              <a:defRPr sz="1200"/>
            </a:lvl1pPr>
          </a:lstStyle>
          <a:p>
            <a:endParaRPr lang="en-US"/>
          </a:p>
        </p:txBody>
      </p:sp>
      <p:sp>
        <p:nvSpPr>
          <p:cNvPr id="27" name="Picture Placeholder 26">
            <a:extLst>
              <a:ext uri="{FF2B5EF4-FFF2-40B4-BE49-F238E27FC236}">
                <a16:creationId xmlns:a16="http://schemas.microsoft.com/office/drawing/2014/main" id="{5DF9FA7A-DB60-4682-8CAB-2AC84C80FAD2}"/>
              </a:ext>
            </a:extLst>
          </p:cNvPr>
          <p:cNvSpPr>
            <a:spLocks noGrp="1"/>
          </p:cNvSpPr>
          <p:nvPr>
            <p:ph type="pic" sz="quarter" idx="19"/>
          </p:nvPr>
        </p:nvSpPr>
        <p:spPr>
          <a:xfrm>
            <a:off x="6664516" y="3714750"/>
            <a:ext cx="1438088" cy="1571625"/>
          </a:xfrm>
          <a:custGeom>
            <a:avLst/>
            <a:gdLst>
              <a:gd name="connsiteX0" fmla="*/ 0 w 2876550"/>
              <a:gd name="connsiteY0" fmla="*/ 0 h 3143250"/>
              <a:gd name="connsiteX1" fmla="*/ 2876550 w 2876550"/>
              <a:gd name="connsiteY1" fmla="*/ 0 h 3143250"/>
              <a:gd name="connsiteX2" fmla="*/ 2876550 w 2876550"/>
              <a:gd name="connsiteY2" fmla="*/ 3143250 h 3143250"/>
              <a:gd name="connsiteX3" fmla="*/ 0 w 2876550"/>
              <a:gd name="connsiteY3" fmla="*/ 3143250 h 3143250"/>
            </a:gdLst>
            <a:ahLst/>
            <a:cxnLst>
              <a:cxn ang="0">
                <a:pos x="connsiteX0" y="connsiteY0"/>
              </a:cxn>
              <a:cxn ang="0">
                <a:pos x="connsiteX1" y="connsiteY1"/>
              </a:cxn>
              <a:cxn ang="0">
                <a:pos x="connsiteX2" y="connsiteY2"/>
              </a:cxn>
              <a:cxn ang="0">
                <a:pos x="connsiteX3" y="connsiteY3"/>
              </a:cxn>
            </a:cxnLst>
            <a:rect l="l" t="t" r="r" b="b"/>
            <a:pathLst>
              <a:path w="2876550" h="3143250">
                <a:moveTo>
                  <a:pt x="0" y="0"/>
                </a:moveTo>
                <a:lnTo>
                  <a:pt x="2876550" y="0"/>
                </a:lnTo>
                <a:lnTo>
                  <a:pt x="2876550" y="3143250"/>
                </a:lnTo>
                <a:lnTo>
                  <a:pt x="0" y="3143250"/>
                </a:lnTo>
                <a:close/>
              </a:path>
            </a:pathLst>
          </a:custGeom>
          <a:pattFill prst="pct60">
            <a:fgClr>
              <a:schemeClr val="bg1"/>
            </a:fgClr>
            <a:bgClr>
              <a:schemeClr val="bg1">
                <a:lumMod val="85000"/>
              </a:schemeClr>
            </a:bgClr>
          </a:pattFill>
          <a:effectLst>
            <a:outerShdw blurRad="660400" dist="190500" dir="5400000" algn="t" rotWithShape="0">
              <a:schemeClr val="accent1">
                <a:alpha val="40000"/>
              </a:schemeClr>
            </a:outerShdw>
          </a:effectLst>
        </p:spPr>
        <p:txBody>
          <a:bodyPr wrap="square" anchor="ctr">
            <a:noAutofit/>
          </a:bodyPr>
          <a:lstStyle>
            <a:lvl1pPr marL="0" indent="0" algn="ctr">
              <a:buFontTx/>
              <a:buNone/>
              <a:defRPr sz="1200"/>
            </a:lvl1pPr>
          </a:lstStyle>
          <a:p>
            <a:endParaRPr lang="en-US"/>
          </a:p>
        </p:txBody>
      </p:sp>
      <p:sp>
        <p:nvSpPr>
          <p:cNvPr id="28" name="Picture Placeholder 27">
            <a:extLst>
              <a:ext uri="{FF2B5EF4-FFF2-40B4-BE49-F238E27FC236}">
                <a16:creationId xmlns:a16="http://schemas.microsoft.com/office/drawing/2014/main" id="{16669351-C444-4EC3-976D-DAFD767ED96C}"/>
              </a:ext>
            </a:extLst>
          </p:cNvPr>
          <p:cNvSpPr>
            <a:spLocks noGrp="1"/>
          </p:cNvSpPr>
          <p:nvPr>
            <p:ph type="pic" sz="quarter" idx="20"/>
          </p:nvPr>
        </p:nvSpPr>
        <p:spPr>
          <a:xfrm>
            <a:off x="9239635" y="3714750"/>
            <a:ext cx="1438088" cy="1571625"/>
          </a:xfrm>
          <a:custGeom>
            <a:avLst/>
            <a:gdLst>
              <a:gd name="connsiteX0" fmla="*/ 0 w 2876550"/>
              <a:gd name="connsiteY0" fmla="*/ 0 h 3143250"/>
              <a:gd name="connsiteX1" fmla="*/ 2876550 w 2876550"/>
              <a:gd name="connsiteY1" fmla="*/ 0 h 3143250"/>
              <a:gd name="connsiteX2" fmla="*/ 2876550 w 2876550"/>
              <a:gd name="connsiteY2" fmla="*/ 3143250 h 3143250"/>
              <a:gd name="connsiteX3" fmla="*/ 0 w 2876550"/>
              <a:gd name="connsiteY3" fmla="*/ 3143250 h 3143250"/>
            </a:gdLst>
            <a:ahLst/>
            <a:cxnLst>
              <a:cxn ang="0">
                <a:pos x="connsiteX0" y="connsiteY0"/>
              </a:cxn>
              <a:cxn ang="0">
                <a:pos x="connsiteX1" y="connsiteY1"/>
              </a:cxn>
              <a:cxn ang="0">
                <a:pos x="connsiteX2" y="connsiteY2"/>
              </a:cxn>
              <a:cxn ang="0">
                <a:pos x="connsiteX3" y="connsiteY3"/>
              </a:cxn>
            </a:cxnLst>
            <a:rect l="l" t="t" r="r" b="b"/>
            <a:pathLst>
              <a:path w="2876550" h="3143250">
                <a:moveTo>
                  <a:pt x="0" y="0"/>
                </a:moveTo>
                <a:lnTo>
                  <a:pt x="2876550" y="0"/>
                </a:lnTo>
                <a:lnTo>
                  <a:pt x="2876550" y="3143250"/>
                </a:lnTo>
                <a:lnTo>
                  <a:pt x="0" y="3143250"/>
                </a:lnTo>
                <a:close/>
              </a:path>
            </a:pathLst>
          </a:custGeom>
          <a:pattFill prst="pct60">
            <a:fgClr>
              <a:schemeClr val="bg1"/>
            </a:fgClr>
            <a:bgClr>
              <a:schemeClr val="bg1">
                <a:lumMod val="85000"/>
              </a:schemeClr>
            </a:bgClr>
          </a:pattFill>
          <a:effectLst>
            <a:outerShdw blurRad="660400" dist="190500" dir="5400000" algn="t" rotWithShape="0">
              <a:schemeClr val="accent1">
                <a:alpha val="40000"/>
              </a:schemeClr>
            </a:outerShdw>
          </a:effectLst>
        </p:spPr>
        <p:txBody>
          <a:bodyPr wrap="square" anchor="ctr">
            <a:noAutofit/>
          </a:bodyPr>
          <a:lstStyle>
            <a:lvl1pPr marL="0" indent="0" algn="ctr">
              <a:buFontTx/>
              <a:buNone/>
              <a:defRPr sz="1200"/>
            </a:lvl1pPr>
          </a:lstStyle>
          <a:p>
            <a:endParaRPr lang="en-US"/>
          </a:p>
        </p:txBody>
      </p:sp>
    </p:spTree>
    <p:extLst>
      <p:ext uri="{BB962C8B-B14F-4D97-AF65-F5344CB8AC3E}">
        <p14:creationId xmlns:p14="http://schemas.microsoft.com/office/powerpoint/2010/main" val="3351268441"/>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2" dur="1000" decel="100000" fill="hold" grpId="0" nodeType="withEffect">
                                  <p:stCondLst>
                                    <p:cond delay="0"/>
                                  </p:stCondLst>
                                  <p:childTnLst>
                                    <p:set>
                                      <p:cBhvr>
                                        <p:cTn id="6" dur="1" fill="hold">
                                          <p:stCondLst>
                                            <p:cond delay="0"/>
                                          </p:stCondLst>
                                        </p:cTn>
                                        <p:tgtEl>
                                          <p:spTgt spid="21"/>
                                        </p:tgtEl>
                                        <p:attrNameLst>
                                          <p:attrName>style.visibility</p:attrName>
                                        </p:attrNameLst>
                                      </p:cBhvr>
                                      <p:to>
                                        <p:strVal val="visible"/>
                                      </p:to>
                                    </p:set>
                                    <p:anim calcmode="lin" valueType="num">
                                      <p:cBhvr additive="base">
                                        <p:cTn id="7" dur="1000" fill="hold"/>
                                        <p:tgtEl>
                                          <p:spTgt spid="21"/>
                                        </p:tgtEl>
                                        <p:attrNameLst>
                                          <p:attrName>ppt_x</p:attrName>
                                        </p:attrNameLst>
                                      </p:cBhvr>
                                      <p:tavLst>
                                        <p:tav tm="0">
                                          <p:val>
                                            <p:strVal val="1+#ppt_w/2"/>
                                          </p:val>
                                        </p:tav>
                                        <p:tav tm="100000">
                                          <p:val>
                                            <p:strVal val="#ppt_x"/>
                                          </p:val>
                                        </p:tav>
                                      </p:tavLst>
                                    </p:anim>
                                    <p:anim calcmode="lin" valueType="num">
                                      <p:cBhvr additive="base">
                                        <p:cTn id="8" dur="1000" fill="hold"/>
                                        <p:tgtEl>
                                          <p:spTgt spid="21"/>
                                        </p:tgtEl>
                                        <p:attrNameLst>
                                          <p:attrName>ppt_y</p:attrName>
                                        </p:attrNameLst>
                                      </p:cBhvr>
                                      <p:tavLst>
                                        <p:tav tm="0">
                                          <p:val>
                                            <p:strVal val="#ppt_y"/>
                                          </p:val>
                                        </p:tav>
                                        <p:tav tm="100000">
                                          <p:val>
                                            <p:strVal val="#ppt_y"/>
                                          </p:val>
                                        </p:tav>
                                      </p:tavLst>
                                    </p:anim>
                                  </p:childTnLst>
                                </p:cTn>
                              </p:par>
                              <p:par>
                                <p:cTn id="9" presetID="2" presetClass="entr" presetSubtype="2" dur="1000" decel="100000" fill="hold" grpId="0" nodeType="withEffect">
                                  <p:stCondLst>
                                    <p:cond delay="100"/>
                                  </p:stCondLst>
                                  <p:childTnLst>
                                    <p:set>
                                      <p:cBhvr>
                                        <p:cTn id="10" dur="1" fill="hold">
                                          <p:stCondLst>
                                            <p:cond delay="0"/>
                                          </p:stCondLst>
                                        </p:cTn>
                                        <p:tgtEl>
                                          <p:spTgt spid="22"/>
                                        </p:tgtEl>
                                        <p:attrNameLst>
                                          <p:attrName>style.visibility</p:attrName>
                                        </p:attrNameLst>
                                      </p:cBhvr>
                                      <p:to>
                                        <p:strVal val="visible"/>
                                      </p:to>
                                    </p:set>
                                    <p:anim calcmode="lin" valueType="num">
                                      <p:cBhvr additive="base">
                                        <p:cTn id="11" dur="1000" fill="hold"/>
                                        <p:tgtEl>
                                          <p:spTgt spid="22"/>
                                        </p:tgtEl>
                                        <p:attrNameLst>
                                          <p:attrName>ppt_x</p:attrName>
                                        </p:attrNameLst>
                                      </p:cBhvr>
                                      <p:tavLst>
                                        <p:tav tm="0">
                                          <p:val>
                                            <p:strVal val="1+#ppt_w/2"/>
                                          </p:val>
                                        </p:tav>
                                        <p:tav tm="100000">
                                          <p:val>
                                            <p:strVal val="#ppt_x"/>
                                          </p:val>
                                        </p:tav>
                                      </p:tavLst>
                                    </p:anim>
                                    <p:anim calcmode="lin" valueType="num">
                                      <p:cBhvr additive="base">
                                        <p:cTn id="12" dur="1000" fill="hold"/>
                                        <p:tgtEl>
                                          <p:spTgt spid="22"/>
                                        </p:tgtEl>
                                        <p:attrNameLst>
                                          <p:attrName>ppt_y</p:attrName>
                                        </p:attrNameLst>
                                      </p:cBhvr>
                                      <p:tavLst>
                                        <p:tav tm="0">
                                          <p:val>
                                            <p:strVal val="#ppt_y"/>
                                          </p:val>
                                        </p:tav>
                                        <p:tav tm="100000">
                                          <p:val>
                                            <p:strVal val="#ppt_y"/>
                                          </p:val>
                                        </p:tav>
                                      </p:tavLst>
                                    </p:anim>
                                  </p:childTnLst>
                                </p:cTn>
                              </p:par>
                              <p:par>
                                <p:cTn id="13" presetID="2" presetClass="entr" presetSubtype="2" dur="1000" decel="100000" fill="hold" grpId="0" nodeType="withEffect">
                                  <p:stCondLst>
                                    <p:cond delay="200"/>
                                  </p:stCondLst>
                                  <p:childTnLst>
                                    <p:set>
                                      <p:cBhvr>
                                        <p:cTn id="14" dur="1" fill="hold">
                                          <p:stCondLst>
                                            <p:cond delay="0"/>
                                          </p:stCondLst>
                                        </p:cTn>
                                        <p:tgtEl>
                                          <p:spTgt spid="23"/>
                                        </p:tgtEl>
                                        <p:attrNameLst>
                                          <p:attrName>style.visibility</p:attrName>
                                        </p:attrNameLst>
                                      </p:cBhvr>
                                      <p:to>
                                        <p:strVal val="visible"/>
                                      </p:to>
                                    </p:set>
                                    <p:anim calcmode="lin" valueType="num">
                                      <p:cBhvr additive="base">
                                        <p:cTn id="15" dur="1000" fill="hold"/>
                                        <p:tgtEl>
                                          <p:spTgt spid="23"/>
                                        </p:tgtEl>
                                        <p:attrNameLst>
                                          <p:attrName>ppt_x</p:attrName>
                                        </p:attrNameLst>
                                      </p:cBhvr>
                                      <p:tavLst>
                                        <p:tav tm="0">
                                          <p:val>
                                            <p:strVal val="1+#ppt_w/2"/>
                                          </p:val>
                                        </p:tav>
                                        <p:tav tm="100000">
                                          <p:val>
                                            <p:strVal val="#ppt_x"/>
                                          </p:val>
                                        </p:tav>
                                      </p:tavLst>
                                    </p:anim>
                                    <p:anim calcmode="lin" valueType="num">
                                      <p:cBhvr additive="base">
                                        <p:cTn id="16" dur="1000" fill="hold"/>
                                        <p:tgtEl>
                                          <p:spTgt spid="23"/>
                                        </p:tgtEl>
                                        <p:attrNameLst>
                                          <p:attrName>ppt_y</p:attrName>
                                        </p:attrNameLst>
                                      </p:cBhvr>
                                      <p:tavLst>
                                        <p:tav tm="0">
                                          <p:val>
                                            <p:strVal val="#ppt_y"/>
                                          </p:val>
                                        </p:tav>
                                        <p:tav tm="100000">
                                          <p:val>
                                            <p:strVal val="#ppt_y"/>
                                          </p:val>
                                        </p:tav>
                                      </p:tavLst>
                                    </p:anim>
                                  </p:childTnLst>
                                </p:cTn>
                              </p:par>
                              <p:par>
                                <p:cTn id="17" presetID="2" presetClass="entr" presetSubtype="2" dur="1000" decel="100000" fill="hold" grpId="0" nodeType="withEffect">
                                  <p:stCondLst>
                                    <p:cond delay="300"/>
                                  </p:stCondLst>
                                  <p:childTnLst>
                                    <p:set>
                                      <p:cBhvr>
                                        <p:cTn id="18" dur="1" fill="hold">
                                          <p:stCondLst>
                                            <p:cond delay="0"/>
                                          </p:stCondLst>
                                        </p:cTn>
                                        <p:tgtEl>
                                          <p:spTgt spid="24"/>
                                        </p:tgtEl>
                                        <p:attrNameLst>
                                          <p:attrName>style.visibility</p:attrName>
                                        </p:attrNameLst>
                                      </p:cBhvr>
                                      <p:to>
                                        <p:strVal val="visible"/>
                                      </p:to>
                                    </p:set>
                                    <p:anim calcmode="lin" valueType="num">
                                      <p:cBhvr additive="base">
                                        <p:cTn id="19" dur="1000" fill="hold"/>
                                        <p:tgtEl>
                                          <p:spTgt spid="24"/>
                                        </p:tgtEl>
                                        <p:attrNameLst>
                                          <p:attrName>ppt_x</p:attrName>
                                        </p:attrNameLst>
                                      </p:cBhvr>
                                      <p:tavLst>
                                        <p:tav tm="0">
                                          <p:val>
                                            <p:strVal val="1+#ppt_w/2"/>
                                          </p:val>
                                        </p:tav>
                                        <p:tav tm="100000">
                                          <p:val>
                                            <p:strVal val="#ppt_x"/>
                                          </p:val>
                                        </p:tav>
                                      </p:tavLst>
                                    </p:anim>
                                    <p:anim calcmode="lin" valueType="num">
                                      <p:cBhvr additive="base">
                                        <p:cTn id="20" dur="1000" fill="hold"/>
                                        <p:tgtEl>
                                          <p:spTgt spid="24"/>
                                        </p:tgtEl>
                                        <p:attrNameLst>
                                          <p:attrName>ppt_y</p:attrName>
                                        </p:attrNameLst>
                                      </p:cBhvr>
                                      <p:tavLst>
                                        <p:tav tm="0">
                                          <p:val>
                                            <p:strVal val="#ppt_y"/>
                                          </p:val>
                                        </p:tav>
                                        <p:tav tm="100000">
                                          <p:val>
                                            <p:strVal val="#ppt_y"/>
                                          </p:val>
                                        </p:tav>
                                      </p:tavLst>
                                    </p:anim>
                                  </p:childTnLst>
                                </p:cTn>
                              </p:par>
                              <p:par>
                                <p:cTn id="21" presetID="2" presetClass="entr" presetSubtype="8" dur="1000" decel="100000" fill="hold" grpId="0" nodeType="withEffect">
                                  <p:stCondLst>
                                    <p:cond delay="400"/>
                                  </p:stCondLst>
                                  <p:childTnLst>
                                    <p:set>
                                      <p:cBhvr>
                                        <p:cTn id="22" dur="1" fill="hold">
                                          <p:stCondLst>
                                            <p:cond delay="0"/>
                                          </p:stCondLst>
                                        </p:cTn>
                                        <p:tgtEl>
                                          <p:spTgt spid="28"/>
                                        </p:tgtEl>
                                        <p:attrNameLst>
                                          <p:attrName>style.visibility</p:attrName>
                                        </p:attrNameLst>
                                      </p:cBhvr>
                                      <p:to>
                                        <p:strVal val="visible"/>
                                      </p:to>
                                    </p:set>
                                    <p:anim calcmode="lin" valueType="num">
                                      <p:cBhvr additive="base">
                                        <p:cTn id="23" dur="1000" fill="hold"/>
                                        <p:tgtEl>
                                          <p:spTgt spid="28"/>
                                        </p:tgtEl>
                                        <p:attrNameLst>
                                          <p:attrName>ppt_x</p:attrName>
                                        </p:attrNameLst>
                                      </p:cBhvr>
                                      <p:tavLst>
                                        <p:tav tm="0">
                                          <p:val>
                                            <p:strVal val="0-#ppt_w/2"/>
                                          </p:val>
                                        </p:tav>
                                        <p:tav tm="100000">
                                          <p:val>
                                            <p:strVal val="#ppt_x"/>
                                          </p:val>
                                        </p:tav>
                                      </p:tavLst>
                                    </p:anim>
                                    <p:anim calcmode="lin" valueType="num">
                                      <p:cBhvr additive="base">
                                        <p:cTn id="24" dur="1000" fill="hold"/>
                                        <p:tgtEl>
                                          <p:spTgt spid="28"/>
                                        </p:tgtEl>
                                        <p:attrNameLst>
                                          <p:attrName>ppt_y</p:attrName>
                                        </p:attrNameLst>
                                      </p:cBhvr>
                                      <p:tavLst>
                                        <p:tav tm="0">
                                          <p:val>
                                            <p:strVal val="#ppt_y"/>
                                          </p:val>
                                        </p:tav>
                                        <p:tav tm="100000">
                                          <p:val>
                                            <p:strVal val="#ppt_y"/>
                                          </p:val>
                                        </p:tav>
                                      </p:tavLst>
                                    </p:anim>
                                  </p:childTnLst>
                                </p:cTn>
                              </p:par>
                              <p:par>
                                <p:cTn id="25" presetID="2" presetClass="entr" presetSubtype="8" dur="1000" decel="100000" fill="hold" grpId="0" nodeType="withEffect">
                                  <p:stCondLst>
                                    <p:cond delay="500"/>
                                  </p:stCondLst>
                                  <p:childTnLst>
                                    <p:set>
                                      <p:cBhvr>
                                        <p:cTn id="26" dur="1" fill="hold">
                                          <p:stCondLst>
                                            <p:cond delay="0"/>
                                          </p:stCondLst>
                                        </p:cTn>
                                        <p:tgtEl>
                                          <p:spTgt spid="27"/>
                                        </p:tgtEl>
                                        <p:attrNameLst>
                                          <p:attrName>style.visibility</p:attrName>
                                        </p:attrNameLst>
                                      </p:cBhvr>
                                      <p:to>
                                        <p:strVal val="visible"/>
                                      </p:to>
                                    </p:set>
                                    <p:anim calcmode="lin" valueType="num">
                                      <p:cBhvr additive="base">
                                        <p:cTn id="27" dur="1000" fill="hold"/>
                                        <p:tgtEl>
                                          <p:spTgt spid="27"/>
                                        </p:tgtEl>
                                        <p:attrNameLst>
                                          <p:attrName>ppt_x</p:attrName>
                                        </p:attrNameLst>
                                      </p:cBhvr>
                                      <p:tavLst>
                                        <p:tav tm="0">
                                          <p:val>
                                            <p:strVal val="0-#ppt_w/2"/>
                                          </p:val>
                                        </p:tav>
                                        <p:tav tm="100000">
                                          <p:val>
                                            <p:strVal val="#ppt_x"/>
                                          </p:val>
                                        </p:tav>
                                      </p:tavLst>
                                    </p:anim>
                                    <p:anim calcmode="lin" valueType="num">
                                      <p:cBhvr additive="base">
                                        <p:cTn id="28" dur="1000" fill="hold"/>
                                        <p:tgtEl>
                                          <p:spTgt spid="27"/>
                                        </p:tgtEl>
                                        <p:attrNameLst>
                                          <p:attrName>ppt_y</p:attrName>
                                        </p:attrNameLst>
                                      </p:cBhvr>
                                      <p:tavLst>
                                        <p:tav tm="0">
                                          <p:val>
                                            <p:strVal val="#ppt_y"/>
                                          </p:val>
                                        </p:tav>
                                        <p:tav tm="100000">
                                          <p:val>
                                            <p:strVal val="#ppt_y"/>
                                          </p:val>
                                        </p:tav>
                                      </p:tavLst>
                                    </p:anim>
                                  </p:childTnLst>
                                </p:cTn>
                              </p:par>
                              <p:par>
                                <p:cTn id="29" presetID="2" presetClass="entr" presetSubtype="8" dur="1000" decel="100000" fill="hold" grpId="0" nodeType="withEffect">
                                  <p:stCondLst>
                                    <p:cond delay="600"/>
                                  </p:stCondLst>
                                  <p:childTnLst>
                                    <p:set>
                                      <p:cBhvr>
                                        <p:cTn id="30" dur="1" fill="hold">
                                          <p:stCondLst>
                                            <p:cond delay="0"/>
                                          </p:stCondLst>
                                        </p:cTn>
                                        <p:tgtEl>
                                          <p:spTgt spid="26"/>
                                        </p:tgtEl>
                                        <p:attrNameLst>
                                          <p:attrName>style.visibility</p:attrName>
                                        </p:attrNameLst>
                                      </p:cBhvr>
                                      <p:to>
                                        <p:strVal val="visible"/>
                                      </p:to>
                                    </p:set>
                                    <p:anim calcmode="lin" valueType="num">
                                      <p:cBhvr additive="base">
                                        <p:cTn id="31" dur="1000" fill="hold"/>
                                        <p:tgtEl>
                                          <p:spTgt spid="26"/>
                                        </p:tgtEl>
                                        <p:attrNameLst>
                                          <p:attrName>ppt_x</p:attrName>
                                        </p:attrNameLst>
                                      </p:cBhvr>
                                      <p:tavLst>
                                        <p:tav tm="0">
                                          <p:val>
                                            <p:strVal val="0-#ppt_w/2"/>
                                          </p:val>
                                        </p:tav>
                                        <p:tav tm="100000">
                                          <p:val>
                                            <p:strVal val="#ppt_x"/>
                                          </p:val>
                                        </p:tav>
                                      </p:tavLst>
                                    </p:anim>
                                    <p:anim calcmode="lin" valueType="num">
                                      <p:cBhvr additive="base">
                                        <p:cTn id="32" dur="1000" fill="hold"/>
                                        <p:tgtEl>
                                          <p:spTgt spid="26"/>
                                        </p:tgtEl>
                                        <p:attrNameLst>
                                          <p:attrName>ppt_y</p:attrName>
                                        </p:attrNameLst>
                                      </p:cBhvr>
                                      <p:tavLst>
                                        <p:tav tm="0">
                                          <p:val>
                                            <p:strVal val="#ppt_y"/>
                                          </p:val>
                                        </p:tav>
                                        <p:tav tm="100000">
                                          <p:val>
                                            <p:strVal val="#ppt_y"/>
                                          </p:val>
                                        </p:tav>
                                      </p:tavLst>
                                    </p:anim>
                                  </p:childTnLst>
                                </p:cTn>
                              </p:par>
                              <p:par>
                                <p:cTn id="33" presetID="2" presetClass="entr" presetSubtype="8" dur="1000" decel="100000" fill="hold" grpId="0" nodeType="withEffect">
                                  <p:stCondLst>
                                    <p:cond delay="700"/>
                                  </p:stCondLst>
                                  <p:childTnLst>
                                    <p:set>
                                      <p:cBhvr>
                                        <p:cTn id="34" dur="1" fill="hold">
                                          <p:stCondLst>
                                            <p:cond delay="0"/>
                                          </p:stCondLst>
                                        </p:cTn>
                                        <p:tgtEl>
                                          <p:spTgt spid="25"/>
                                        </p:tgtEl>
                                        <p:attrNameLst>
                                          <p:attrName>style.visibility</p:attrName>
                                        </p:attrNameLst>
                                      </p:cBhvr>
                                      <p:to>
                                        <p:strVal val="visible"/>
                                      </p:to>
                                    </p:set>
                                    <p:anim calcmode="lin" valueType="num">
                                      <p:cBhvr additive="base">
                                        <p:cTn id="35" dur="1000" fill="hold"/>
                                        <p:tgtEl>
                                          <p:spTgt spid="25"/>
                                        </p:tgtEl>
                                        <p:attrNameLst>
                                          <p:attrName>ppt_x</p:attrName>
                                        </p:attrNameLst>
                                      </p:cBhvr>
                                      <p:tavLst>
                                        <p:tav tm="0">
                                          <p:val>
                                            <p:strVal val="0-#ppt_w/2"/>
                                          </p:val>
                                        </p:tav>
                                        <p:tav tm="100000">
                                          <p:val>
                                            <p:strVal val="#ppt_x"/>
                                          </p:val>
                                        </p:tav>
                                      </p:tavLst>
                                    </p:anim>
                                    <p:anim calcmode="lin" valueType="num">
                                      <p:cBhvr additive="base">
                                        <p:cTn id="36" dur="1000" fill="hold"/>
                                        <p:tgtEl>
                                          <p:spTgt spid="2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2" grpId="0" animBg="1"/>
      <p:bldP spid="23" grpId="0" animBg="1"/>
      <p:bldP spid="24" grpId="0" animBg="1"/>
      <p:bldP spid="25" grpId="0" animBg="1"/>
      <p:bldP spid="26" grpId="0" animBg="1"/>
      <p:bldP spid="27" grpId="0" animBg="1"/>
      <p:bldP spid="28" grpId="0" animBg="1"/>
    </p:bldLst>
  </p:timing>
  <p:extLst>
    <p:ext uri="{DCECCB84-F9BA-43D5-87BE-67443E8EF086}">
      <p15:sldGuideLst xmlns:p15="http://schemas.microsoft.com/office/powerpoint/2012/main">
        <p15:guide id="1" orient="horz" pos="4320">
          <p15:clr>
            <a:srgbClr val="FBAE40"/>
          </p15:clr>
        </p15:guide>
        <p15:guide id="2" pos="7681">
          <p15:clr>
            <a:srgbClr val="FBAE40"/>
          </p15:clr>
        </p15:guide>
        <p15:guide id="3" pos="985">
          <p15:clr>
            <a:srgbClr val="FBAE40"/>
          </p15:clr>
        </p15:guide>
        <p15:guide id="4" pos="14377">
          <p15:clr>
            <a:srgbClr val="FBAE40"/>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image" Target="../media/image2.png"/><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theme" Target="../theme/theme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71" Type="http://schemas.openxmlformats.org/officeDocument/2006/relationships/slideLayout" Target="../slideLayouts/slideLayout71.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97.xml"/><Relationship Id="rId21" Type="http://schemas.openxmlformats.org/officeDocument/2006/relationships/slideLayout" Target="../slideLayouts/slideLayout92.xml"/><Relationship Id="rId42" Type="http://schemas.openxmlformats.org/officeDocument/2006/relationships/slideLayout" Target="../slideLayouts/slideLayout113.xml"/><Relationship Id="rId47" Type="http://schemas.openxmlformats.org/officeDocument/2006/relationships/slideLayout" Target="../slideLayouts/slideLayout118.xml"/><Relationship Id="rId63" Type="http://schemas.openxmlformats.org/officeDocument/2006/relationships/slideLayout" Target="../slideLayouts/slideLayout134.xml"/><Relationship Id="rId68" Type="http://schemas.openxmlformats.org/officeDocument/2006/relationships/slideLayout" Target="../slideLayouts/slideLayout139.xml"/><Relationship Id="rId16" Type="http://schemas.openxmlformats.org/officeDocument/2006/relationships/slideLayout" Target="../slideLayouts/slideLayout87.xml"/><Relationship Id="rId11" Type="http://schemas.openxmlformats.org/officeDocument/2006/relationships/slideLayout" Target="../slideLayouts/slideLayout82.xml"/><Relationship Id="rId24" Type="http://schemas.openxmlformats.org/officeDocument/2006/relationships/slideLayout" Target="../slideLayouts/slideLayout95.xml"/><Relationship Id="rId32" Type="http://schemas.openxmlformats.org/officeDocument/2006/relationships/slideLayout" Target="../slideLayouts/slideLayout103.xml"/><Relationship Id="rId37" Type="http://schemas.openxmlformats.org/officeDocument/2006/relationships/slideLayout" Target="../slideLayouts/slideLayout108.xml"/><Relationship Id="rId40" Type="http://schemas.openxmlformats.org/officeDocument/2006/relationships/slideLayout" Target="../slideLayouts/slideLayout111.xml"/><Relationship Id="rId45" Type="http://schemas.openxmlformats.org/officeDocument/2006/relationships/slideLayout" Target="../slideLayouts/slideLayout116.xml"/><Relationship Id="rId53" Type="http://schemas.openxmlformats.org/officeDocument/2006/relationships/slideLayout" Target="../slideLayouts/slideLayout124.xml"/><Relationship Id="rId58" Type="http://schemas.openxmlformats.org/officeDocument/2006/relationships/slideLayout" Target="../slideLayouts/slideLayout129.xml"/><Relationship Id="rId66" Type="http://schemas.openxmlformats.org/officeDocument/2006/relationships/slideLayout" Target="../slideLayouts/slideLayout137.xml"/><Relationship Id="rId74" Type="http://schemas.openxmlformats.org/officeDocument/2006/relationships/slideLayout" Target="../slideLayouts/slideLayout145.xml"/><Relationship Id="rId79" Type="http://schemas.openxmlformats.org/officeDocument/2006/relationships/image" Target="../media/image3.png"/><Relationship Id="rId5" Type="http://schemas.openxmlformats.org/officeDocument/2006/relationships/slideLayout" Target="../slideLayouts/slideLayout76.xml"/><Relationship Id="rId61" Type="http://schemas.openxmlformats.org/officeDocument/2006/relationships/slideLayout" Target="../slideLayouts/slideLayout132.xml"/><Relationship Id="rId19" Type="http://schemas.openxmlformats.org/officeDocument/2006/relationships/slideLayout" Target="../slideLayouts/slideLayout90.xml"/><Relationship Id="rId14" Type="http://schemas.openxmlformats.org/officeDocument/2006/relationships/slideLayout" Target="../slideLayouts/slideLayout85.xml"/><Relationship Id="rId22" Type="http://schemas.openxmlformats.org/officeDocument/2006/relationships/slideLayout" Target="../slideLayouts/slideLayout93.xml"/><Relationship Id="rId27" Type="http://schemas.openxmlformats.org/officeDocument/2006/relationships/slideLayout" Target="../slideLayouts/slideLayout98.xml"/><Relationship Id="rId30" Type="http://schemas.openxmlformats.org/officeDocument/2006/relationships/slideLayout" Target="../slideLayouts/slideLayout101.xml"/><Relationship Id="rId35" Type="http://schemas.openxmlformats.org/officeDocument/2006/relationships/slideLayout" Target="../slideLayouts/slideLayout106.xml"/><Relationship Id="rId43" Type="http://schemas.openxmlformats.org/officeDocument/2006/relationships/slideLayout" Target="../slideLayouts/slideLayout114.xml"/><Relationship Id="rId48" Type="http://schemas.openxmlformats.org/officeDocument/2006/relationships/slideLayout" Target="../slideLayouts/slideLayout119.xml"/><Relationship Id="rId56" Type="http://schemas.openxmlformats.org/officeDocument/2006/relationships/slideLayout" Target="../slideLayouts/slideLayout127.xml"/><Relationship Id="rId64" Type="http://schemas.openxmlformats.org/officeDocument/2006/relationships/slideLayout" Target="../slideLayouts/slideLayout135.xml"/><Relationship Id="rId69" Type="http://schemas.openxmlformats.org/officeDocument/2006/relationships/slideLayout" Target="../slideLayouts/slideLayout140.xml"/><Relationship Id="rId77" Type="http://schemas.openxmlformats.org/officeDocument/2006/relationships/image" Target="../media/image1.png"/><Relationship Id="rId8" Type="http://schemas.openxmlformats.org/officeDocument/2006/relationships/slideLayout" Target="../slideLayouts/slideLayout79.xml"/><Relationship Id="rId51" Type="http://schemas.openxmlformats.org/officeDocument/2006/relationships/slideLayout" Target="../slideLayouts/slideLayout122.xml"/><Relationship Id="rId72" Type="http://schemas.openxmlformats.org/officeDocument/2006/relationships/slideLayout" Target="../slideLayouts/slideLayout143.xml"/><Relationship Id="rId3" Type="http://schemas.openxmlformats.org/officeDocument/2006/relationships/slideLayout" Target="../slideLayouts/slideLayout74.xml"/><Relationship Id="rId12" Type="http://schemas.openxmlformats.org/officeDocument/2006/relationships/slideLayout" Target="../slideLayouts/slideLayout83.xml"/><Relationship Id="rId17" Type="http://schemas.openxmlformats.org/officeDocument/2006/relationships/slideLayout" Target="../slideLayouts/slideLayout88.xml"/><Relationship Id="rId25" Type="http://schemas.openxmlformats.org/officeDocument/2006/relationships/slideLayout" Target="../slideLayouts/slideLayout96.xml"/><Relationship Id="rId33" Type="http://schemas.openxmlformats.org/officeDocument/2006/relationships/slideLayout" Target="../slideLayouts/slideLayout104.xml"/><Relationship Id="rId38" Type="http://schemas.openxmlformats.org/officeDocument/2006/relationships/slideLayout" Target="../slideLayouts/slideLayout109.xml"/><Relationship Id="rId46" Type="http://schemas.openxmlformats.org/officeDocument/2006/relationships/slideLayout" Target="../slideLayouts/slideLayout117.xml"/><Relationship Id="rId59" Type="http://schemas.openxmlformats.org/officeDocument/2006/relationships/slideLayout" Target="../slideLayouts/slideLayout130.xml"/><Relationship Id="rId67" Type="http://schemas.openxmlformats.org/officeDocument/2006/relationships/slideLayout" Target="../slideLayouts/slideLayout138.xml"/><Relationship Id="rId20" Type="http://schemas.openxmlformats.org/officeDocument/2006/relationships/slideLayout" Target="../slideLayouts/slideLayout91.xml"/><Relationship Id="rId41" Type="http://schemas.openxmlformats.org/officeDocument/2006/relationships/slideLayout" Target="../slideLayouts/slideLayout112.xml"/><Relationship Id="rId54" Type="http://schemas.openxmlformats.org/officeDocument/2006/relationships/slideLayout" Target="../slideLayouts/slideLayout125.xml"/><Relationship Id="rId62" Type="http://schemas.openxmlformats.org/officeDocument/2006/relationships/slideLayout" Target="../slideLayouts/slideLayout133.xml"/><Relationship Id="rId70" Type="http://schemas.openxmlformats.org/officeDocument/2006/relationships/slideLayout" Target="../slideLayouts/slideLayout141.xml"/><Relationship Id="rId75" Type="http://schemas.openxmlformats.org/officeDocument/2006/relationships/slideLayout" Target="../slideLayouts/slideLayout146.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5" Type="http://schemas.openxmlformats.org/officeDocument/2006/relationships/slideLayout" Target="../slideLayouts/slideLayout86.xml"/><Relationship Id="rId23" Type="http://schemas.openxmlformats.org/officeDocument/2006/relationships/slideLayout" Target="../slideLayouts/slideLayout94.xml"/><Relationship Id="rId28" Type="http://schemas.openxmlformats.org/officeDocument/2006/relationships/slideLayout" Target="../slideLayouts/slideLayout99.xml"/><Relationship Id="rId36" Type="http://schemas.openxmlformats.org/officeDocument/2006/relationships/slideLayout" Target="../slideLayouts/slideLayout107.xml"/><Relationship Id="rId49" Type="http://schemas.openxmlformats.org/officeDocument/2006/relationships/slideLayout" Target="../slideLayouts/slideLayout120.xml"/><Relationship Id="rId57" Type="http://schemas.openxmlformats.org/officeDocument/2006/relationships/slideLayout" Target="../slideLayouts/slideLayout128.xml"/><Relationship Id="rId10" Type="http://schemas.openxmlformats.org/officeDocument/2006/relationships/slideLayout" Target="../slideLayouts/slideLayout81.xml"/><Relationship Id="rId31" Type="http://schemas.openxmlformats.org/officeDocument/2006/relationships/slideLayout" Target="../slideLayouts/slideLayout102.xml"/><Relationship Id="rId44" Type="http://schemas.openxmlformats.org/officeDocument/2006/relationships/slideLayout" Target="../slideLayouts/slideLayout115.xml"/><Relationship Id="rId52" Type="http://schemas.openxmlformats.org/officeDocument/2006/relationships/slideLayout" Target="../slideLayouts/slideLayout123.xml"/><Relationship Id="rId60" Type="http://schemas.openxmlformats.org/officeDocument/2006/relationships/slideLayout" Target="../slideLayouts/slideLayout131.xml"/><Relationship Id="rId65" Type="http://schemas.openxmlformats.org/officeDocument/2006/relationships/slideLayout" Target="../slideLayouts/slideLayout136.xml"/><Relationship Id="rId73" Type="http://schemas.openxmlformats.org/officeDocument/2006/relationships/slideLayout" Target="../slideLayouts/slideLayout144.xml"/><Relationship Id="rId78" Type="http://schemas.openxmlformats.org/officeDocument/2006/relationships/image" Target="../media/image2.png"/><Relationship Id="rId4" Type="http://schemas.openxmlformats.org/officeDocument/2006/relationships/slideLayout" Target="../slideLayouts/slideLayout75.xml"/><Relationship Id="rId9" Type="http://schemas.openxmlformats.org/officeDocument/2006/relationships/slideLayout" Target="../slideLayouts/slideLayout80.xml"/><Relationship Id="rId13" Type="http://schemas.openxmlformats.org/officeDocument/2006/relationships/slideLayout" Target="../slideLayouts/slideLayout84.xml"/><Relationship Id="rId18" Type="http://schemas.openxmlformats.org/officeDocument/2006/relationships/slideLayout" Target="../slideLayouts/slideLayout89.xml"/><Relationship Id="rId39" Type="http://schemas.openxmlformats.org/officeDocument/2006/relationships/slideLayout" Target="../slideLayouts/slideLayout110.xml"/><Relationship Id="rId34" Type="http://schemas.openxmlformats.org/officeDocument/2006/relationships/slideLayout" Target="../slideLayouts/slideLayout105.xml"/><Relationship Id="rId50" Type="http://schemas.openxmlformats.org/officeDocument/2006/relationships/slideLayout" Target="../slideLayouts/slideLayout121.xml"/><Relationship Id="rId55" Type="http://schemas.openxmlformats.org/officeDocument/2006/relationships/slideLayout" Target="../slideLayouts/slideLayout126.xml"/><Relationship Id="rId76" Type="http://schemas.openxmlformats.org/officeDocument/2006/relationships/theme" Target="../theme/theme2.xml"/><Relationship Id="rId7" Type="http://schemas.openxmlformats.org/officeDocument/2006/relationships/slideLayout" Target="../slideLayouts/slideLayout78.xml"/><Relationship Id="rId71" Type="http://schemas.openxmlformats.org/officeDocument/2006/relationships/slideLayout" Target="../slideLayouts/slideLayout142.xml"/><Relationship Id="rId2" Type="http://schemas.openxmlformats.org/officeDocument/2006/relationships/slideLayout" Target="../slideLayouts/slideLayout73.xml"/><Relationship Id="rId29" Type="http://schemas.openxmlformats.org/officeDocument/2006/relationships/slideLayout" Target="../slideLayouts/slideLayout100.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172.xml"/><Relationship Id="rId21" Type="http://schemas.openxmlformats.org/officeDocument/2006/relationships/slideLayout" Target="../slideLayouts/slideLayout167.xml"/><Relationship Id="rId42" Type="http://schemas.openxmlformats.org/officeDocument/2006/relationships/slideLayout" Target="../slideLayouts/slideLayout188.xml"/><Relationship Id="rId47" Type="http://schemas.openxmlformats.org/officeDocument/2006/relationships/slideLayout" Target="../slideLayouts/slideLayout193.xml"/><Relationship Id="rId63" Type="http://schemas.openxmlformats.org/officeDocument/2006/relationships/slideLayout" Target="../slideLayouts/slideLayout209.xml"/><Relationship Id="rId68" Type="http://schemas.openxmlformats.org/officeDocument/2006/relationships/slideLayout" Target="../slideLayouts/slideLayout214.xml"/><Relationship Id="rId16" Type="http://schemas.openxmlformats.org/officeDocument/2006/relationships/slideLayout" Target="../slideLayouts/slideLayout162.xml"/><Relationship Id="rId11" Type="http://schemas.openxmlformats.org/officeDocument/2006/relationships/slideLayout" Target="../slideLayouts/slideLayout157.xml"/><Relationship Id="rId24" Type="http://schemas.openxmlformats.org/officeDocument/2006/relationships/slideLayout" Target="../slideLayouts/slideLayout170.xml"/><Relationship Id="rId32" Type="http://schemas.openxmlformats.org/officeDocument/2006/relationships/slideLayout" Target="../slideLayouts/slideLayout178.xml"/><Relationship Id="rId37" Type="http://schemas.openxmlformats.org/officeDocument/2006/relationships/slideLayout" Target="../slideLayouts/slideLayout183.xml"/><Relationship Id="rId40" Type="http://schemas.openxmlformats.org/officeDocument/2006/relationships/slideLayout" Target="../slideLayouts/slideLayout186.xml"/><Relationship Id="rId45" Type="http://schemas.openxmlformats.org/officeDocument/2006/relationships/slideLayout" Target="../slideLayouts/slideLayout191.xml"/><Relationship Id="rId53" Type="http://schemas.openxmlformats.org/officeDocument/2006/relationships/slideLayout" Target="../slideLayouts/slideLayout199.xml"/><Relationship Id="rId58" Type="http://schemas.openxmlformats.org/officeDocument/2006/relationships/slideLayout" Target="../slideLayouts/slideLayout204.xml"/><Relationship Id="rId66" Type="http://schemas.openxmlformats.org/officeDocument/2006/relationships/slideLayout" Target="../slideLayouts/slideLayout212.xml"/><Relationship Id="rId74" Type="http://schemas.openxmlformats.org/officeDocument/2006/relationships/slideLayout" Target="../slideLayouts/slideLayout220.xml"/><Relationship Id="rId5" Type="http://schemas.openxmlformats.org/officeDocument/2006/relationships/slideLayout" Target="../slideLayouts/slideLayout151.xml"/><Relationship Id="rId61" Type="http://schemas.openxmlformats.org/officeDocument/2006/relationships/slideLayout" Target="../slideLayouts/slideLayout207.xml"/><Relationship Id="rId19" Type="http://schemas.openxmlformats.org/officeDocument/2006/relationships/slideLayout" Target="../slideLayouts/slideLayout165.xml"/><Relationship Id="rId14" Type="http://schemas.openxmlformats.org/officeDocument/2006/relationships/slideLayout" Target="../slideLayouts/slideLayout160.xml"/><Relationship Id="rId22" Type="http://schemas.openxmlformats.org/officeDocument/2006/relationships/slideLayout" Target="../slideLayouts/slideLayout168.xml"/><Relationship Id="rId27" Type="http://schemas.openxmlformats.org/officeDocument/2006/relationships/slideLayout" Target="../slideLayouts/slideLayout173.xml"/><Relationship Id="rId30" Type="http://schemas.openxmlformats.org/officeDocument/2006/relationships/slideLayout" Target="../slideLayouts/slideLayout176.xml"/><Relationship Id="rId35" Type="http://schemas.openxmlformats.org/officeDocument/2006/relationships/slideLayout" Target="../slideLayouts/slideLayout181.xml"/><Relationship Id="rId43" Type="http://schemas.openxmlformats.org/officeDocument/2006/relationships/slideLayout" Target="../slideLayouts/slideLayout189.xml"/><Relationship Id="rId48" Type="http://schemas.openxmlformats.org/officeDocument/2006/relationships/slideLayout" Target="../slideLayouts/slideLayout194.xml"/><Relationship Id="rId56" Type="http://schemas.openxmlformats.org/officeDocument/2006/relationships/slideLayout" Target="../slideLayouts/slideLayout202.xml"/><Relationship Id="rId64" Type="http://schemas.openxmlformats.org/officeDocument/2006/relationships/slideLayout" Target="../slideLayouts/slideLayout210.xml"/><Relationship Id="rId69" Type="http://schemas.openxmlformats.org/officeDocument/2006/relationships/slideLayout" Target="../slideLayouts/slideLayout215.xml"/><Relationship Id="rId77" Type="http://schemas.openxmlformats.org/officeDocument/2006/relationships/image" Target="../media/image9.svg"/><Relationship Id="rId8" Type="http://schemas.openxmlformats.org/officeDocument/2006/relationships/slideLayout" Target="../slideLayouts/slideLayout154.xml"/><Relationship Id="rId51" Type="http://schemas.openxmlformats.org/officeDocument/2006/relationships/slideLayout" Target="../slideLayouts/slideLayout197.xml"/><Relationship Id="rId72" Type="http://schemas.openxmlformats.org/officeDocument/2006/relationships/slideLayout" Target="../slideLayouts/slideLayout218.xml"/><Relationship Id="rId3" Type="http://schemas.openxmlformats.org/officeDocument/2006/relationships/slideLayout" Target="../slideLayouts/slideLayout149.xml"/><Relationship Id="rId12" Type="http://schemas.openxmlformats.org/officeDocument/2006/relationships/slideLayout" Target="../slideLayouts/slideLayout158.xml"/><Relationship Id="rId17" Type="http://schemas.openxmlformats.org/officeDocument/2006/relationships/slideLayout" Target="../slideLayouts/slideLayout163.xml"/><Relationship Id="rId25" Type="http://schemas.openxmlformats.org/officeDocument/2006/relationships/slideLayout" Target="../slideLayouts/slideLayout171.xml"/><Relationship Id="rId33" Type="http://schemas.openxmlformats.org/officeDocument/2006/relationships/slideLayout" Target="../slideLayouts/slideLayout179.xml"/><Relationship Id="rId38" Type="http://schemas.openxmlformats.org/officeDocument/2006/relationships/slideLayout" Target="../slideLayouts/slideLayout184.xml"/><Relationship Id="rId46" Type="http://schemas.openxmlformats.org/officeDocument/2006/relationships/slideLayout" Target="../slideLayouts/slideLayout192.xml"/><Relationship Id="rId59" Type="http://schemas.openxmlformats.org/officeDocument/2006/relationships/slideLayout" Target="../slideLayouts/slideLayout205.xml"/><Relationship Id="rId67" Type="http://schemas.openxmlformats.org/officeDocument/2006/relationships/slideLayout" Target="../slideLayouts/slideLayout213.xml"/><Relationship Id="rId20" Type="http://schemas.openxmlformats.org/officeDocument/2006/relationships/slideLayout" Target="../slideLayouts/slideLayout166.xml"/><Relationship Id="rId41" Type="http://schemas.openxmlformats.org/officeDocument/2006/relationships/slideLayout" Target="../slideLayouts/slideLayout187.xml"/><Relationship Id="rId54" Type="http://schemas.openxmlformats.org/officeDocument/2006/relationships/slideLayout" Target="../slideLayouts/slideLayout200.xml"/><Relationship Id="rId62" Type="http://schemas.openxmlformats.org/officeDocument/2006/relationships/slideLayout" Target="../slideLayouts/slideLayout208.xml"/><Relationship Id="rId70" Type="http://schemas.openxmlformats.org/officeDocument/2006/relationships/slideLayout" Target="../slideLayouts/slideLayout216.xml"/><Relationship Id="rId75" Type="http://schemas.openxmlformats.org/officeDocument/2006/relationships/slideLayout" Target="../slideLayouts/slideLayout221.xml"/><Relationship Id="rId1" Type="http://schemas.openxmlformats.org/officeDocument/2006/relationships/slideLayout" Target="../slideLayouts/slideLayout147.xml"/><Relationship Id="rId6" Type="http://schemas.openxmlformats.org/officeDocument/2006/relationships/slideLayout" Target="../slideLayouts/slideLayout152.xml"/><Relationship Id="rId15" Type="http://schemas.openxmlformats.org/officeDocument/2006/relationships/slideLayout" Target="../slideLayouts/slideLayout161.xml"/><Relationship Id="rId23" Type="http://schemas.openxmlformats.org/officeDocument/2006/relationships/slideLayout" Target="../slideLayouts/slideLayout169.xml"/><Relationship Id="rId28" Type="http://schemas.openxmlformats.org/officeDocument/2006/relationships/slideLayout" Target="../slideLayouts/slideLayout174.xml"/><Relationship Id="rId36" Type="http://schemas.openxmlformats.org/officeDocument/2006/relationships/slideLayout" Target="../slideLayouts/slideLayout182.xml"/><Relationship Id="rId49" Type="http://schemas.openxmlformats.org/officeDocument/2006/relationships/slideLayout" Target="../slideLayouts/slideLayout195.xml"/><Relationship Id="rId57" Type="http://schemas.openxmlformats.org/officeDocument/2006/relationships/slideLayout" Target="../slideLayouts/slideLayout203.xml"/><Relationship Id="rId10" Type="http://schemas.openxmlformats.org/officeDocument/2006/relationships/slideLayout" Target="../slideLayouts/slideLayout156.xml"/><Relationship Id="rId31" Type="http://schemas.openxmlformats.org/officeDocument/2006/relationships/slideLayout" Target="../slideLayouts/slideLayout177.xml"/><Relationship Id="rId44" Type="http://schemas.openxmlformats.org/officeDocument/2006/relationships/slideLayout" Target="../slideLayouts/slideLayout190.xml"/><Relationship Id="rId52" Type="http://schemas.openxmlformats.org/officeDocument/2006/relationships/slideLayout" Target="../slideLayouts/slideLayout198.xml"/><Relationship Id="rId60" Type="http://schemas.openxmlformats.org/officeDocument/2006/relationships/slideLayout" Target="../slideLayouts/slideLayout206.xml"/><Relationship Id="rId65" Type="http://schemas.openxmlformats.org/officeDocument/2006/relationships/slideLayout" Target="../slideLayouts/slideLayout211.xml"/><Relationship Id="rId73" Type="http://schemas.openxmlformats.org/officeDocument/2006/relationships/slideLayout" Target="../slideLayouts/slideLayout219.xml"/><Relationship Id="rId78" Type="http://schemas.openxmlformats.org/officeDocument/2006/relationships/image" Target="../media/image3.png"/><Relationship Id="rId4" Type="http://schemas.openxmlformats.org/officeDocument/2006/relationships/slideLayout" Target="../slideLayouts/slideLayout150.xml"/><Relationship Id="rId9" Type="http://schemas.openxmlformats.org/officeDocument/2006/relationships/slideLayout" Target="../slideLayouts/slideLayout155.xml"/><Relationship Id="rId13" Type="http://schemas.openxmlformats.org/officeDocument/2006/relationships/slideLayout" Target="../slideLayouts/slideLayout159.xml"/><Relationship Id="rId18" Type="http://schemas.openxmlformats.org/officeDocument/2006/relationships/slideLayout" Target="../slideLayouts/slideLayout164.xml"/><Relationship Id="rId39" Type="http://schemas.openxmlformats.org/officeDocument/2006/relationships/slideLayout" Target="../slideLayouts/slideLayout185.xml"/><Relationship Id="rId34" Type="http://schemas.openxmlformats.org/officeDocument/2006/relationships/slideLayout" Target="../slideLayouts/slideLayout180.xml"/><Relationship Id="rId50" Type="http://schemas.openxmlformats.org/officeDocument/2006/relationships/slideLayout" Target="../slideLayouts/slideLayout196.xml"/><Relationship Id="rId55" Type="http://schemas.openxmlformats.org/officeDocument/2006/relationships/slideLayout" Target="../slideLayouts/slideLayout201.xml"/><Relationship Id="rId76" Type="http://schemas.openxmlformats.org/officeDocument/2006/relationships/theme" Target="../theme/theme3.xml"/><Relationship Id="rId7" Type="http://schemas.openxmlformats.org/officeDocument/2006/relationships/slideLayout" Target="../slideLayouts/slideLayout153.xml"/><Relationship Id="rId71" Type="http://schemas.openxmlformats.org/officeDocument/2006/relationships/slideLayout" Target="../slideLayouts/slideLayout217.xml"/><Relationship Id="rId2" Type="http://schemas.openxmlformats.org/officeDocument/2006/relationships/slideLayout" Target="../slideLayouts/slideLayout148.xml"/><Relationship Id="rId29" Type="http://schemas.openxmlformats.org/officeDocument/2006/relationships/slideLayout" Target="../slideLayouts/slideLayout175.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224.xml"/><Relationship Id="rId7" Type="http://schemas.openxmlformats.org/officeDocument/2006/relationships/image" Target="../media/image11.png"/><Relationship Id="rId2" Type="http://schemas.openxmlformats.org/officeDocument/2006/relationships/slideLayout" Target="../slideLayouts/slideLayout223.xml"/><Relationship Id="rId1" Type="http://schemas.openxmlformats.org/officeDocument/2006/relationships/slideLayout" Target="../slideLayouts/slideLayout222.xml"/><Relationship Id="rId6" Type="http://schemas.openxmlformats.org/officeDocument/2006/relationships/image" Target="../media/image10.png"/><Relationship Id="rId5" Type="http://schemas.openxmlformats.org/officeDocument/2006/relationships/theme" Target="../theme/theme4.xml"/><Relationship Id="rId4" Type="http://schemas.openxmlformats.org/officeDocument/2006/relationships/slideLayout" Target="../slideLayouts/slideLayout22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33.xml"/><Relationship Id="rId13" Type="http://schemas.openxmlformats.org/officeDocument/2006/relationships/image" Target="../media/image11.png"/><Relationship Id="rId3" Type="http://schemas.openxmlformats.org/officeDocument/2006/relationships/slideLayout" Target="../slideLayouts/slideLayout228.xml"/><Relationship Id="rId7" Type="http://schemas.openxmlformats.org/officeDocument/2006/relationships/slideLayout" Target="../slideLayouts/slideLayout232.xml"/><Relationship Id="rId12" Type="http://schemas.openxmlformats.org/officeDocument/2006/relationships/image" Target="../media/image16.png"/><Relationship Id="rId2" Type="http://schemas.openxmlformats.org/officeDocument/2006/relationships/slideLayout" Target="../slideLayouts/slideLayout227.xml"/><Relationship Id="rId1" Type="http://schemas.openxmlformats.org/officeDocument/2006/relationships/slideLayout" Target="../slideLayouts/slideLayout226.xml"/><Relationship Id="rId6" Type="http://schemas.openxmlformats.org/officeDocument/2006/relationships/slideLayout" Target="../slideLayouts/slideLayout231.xml"/><Relationship Id="rId11" Type="http://schemas.openxmlformats.org/officeDocument/2006/relationships/theme" Target="../theme/theme5.xml"/><Relationship Id="rId5" Type="http://schemas.openxmlformats.org/officeDocument/2006/relationships/slideLayout" Target="../slideLayouts/slideLayout230.xml"/><Relationship Id="rId10" Type="http://schemas.openxmlformats.org/officeDocument/2006/relationships/slideLayout" Target="../slideLayouts/slideLayout235.xml"/><Relationship Id="rId4" Type="http://schemas.openxmlformats.org/officeDocument/2006/relationships/slideLayout" Target="../slideLayouts/slideLayout229.xml"/><Relationship Id="rId9" Type="http://schemas.openxmlformats.org/officeDocument/2006/relationships/slideLayout" Target="../slideLayouts/slideLayout234.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238.xml"/><Relationship Id="rId7" Type="http://schemas.openxmlformats.org/officeDocument/2006/relationships/image" Target="../media/image11.png"/><Relationship Id="rId2" Type="http://schemas.openxmlformats.org/officeDocument/2006/relationships/slideLayout" Target="../slideLayouts/slideLayout237.xml"/><Relationship Id="rId1" Type="http://schemas.openxmlformats.org/officeDocument/2006/relationships/slideLayout" Target="../slideLayouts/slideLayout236.xml"/><Relationship Id="rId6" Type="http://schemas.openxmlformats.org/officeDocument/2006/relationships/image" Target="../media/image9.svg"/><Relationship Id="rId5" Type="http://schemas.openxmlformats.org/officeDocument/2006/relationships/theme" Target="../theme/theme6.xml"/><Relationship Id="rId4" Type="http://schemas.openxmlformats.org/officeDocument/2006/relationships/slideLayout" Target="../slideLayouts/slideLayout239.xml"/></Relationships>
</file>

<file path=ppt/slideMasters/_rels/slideMaster7.xml.rels><?xml version="1.0" encoding="UTF-8" standalone="yes"?>
<Relationships xmlns="http://schemas.openxmlformats.org/package/2006/relationships"><Relationship Id="rId26" Type="http://schemas.openxmlformats.org/officeDocument/2006/relationships/slideLayout" Target="../slideLayouts/slideLayout265.xml"/><Relationship Id="rId21" Type="http://schemas.openxmlformats.org/officeDocument/2006/relationships/slideLayout" Target="../slideLayouts/slideLayout260.xml"/><Relationship Id="rId42" Type="http://schemas.openxmlformats.org/officeDocument/2006/relationships/slideLayout" Target="../slideLayouts/slideLayout281.xml"/><Relationship Id="rId47" Type="http://schemas.openxmlformats.org/officeDocument/2006/relationships/slideLayout" Target="../slideLayouts/slideLayout286.xml"/><Relationship Id="rId63" Type="http://schemas.openxmlformats.org/officeDocument/2006/relationships/slideLayout" Target="../slideLayouts/slideLayout302.xml"/><Relationship Id="rId68" Type="http://schemas.openxmlformats.org/officeDocument/2006/relationships/slideLayout" Target="../slideLayouts/slideLayout307.xml"/><Relationship Id="rId16" Type="http://schemas.openxmlformats.org/officeDocument/2006/relationships/slideLayout" Target="../slideLayouts/slideLayout255.xml"/><Relationship Id="rId11" Type="http://schemas.openxmlformats.org/officeDocument/2006/relationships/slideLayout" Target="../slideLayouts/slideLayout250.xml"/><Relationship Id="rId32" Type="http://schemas.openxmlformats.org/officeDocument/2006/relationships/slideLayout" Target="../slideLayouts/slideLayout271.xml"/><Relationship Id="rId37" Type="http://schemas.openxmlformats.org/officeDocument/2006/relationships/slideLayout" Target="../slideLayouts/slideLayout276.xml"/><Relationship Id="rId53" Type="http://schemas.openxmlformats.org/officeDocument/2006/relationships/slideLayout" Target="../slideLayouts/slideLayout292.xml"/><Relationship Id="rId58" Type="http://schemas.openxmlformats.org/officeDocument/2006/relationships/slideLayout" Target="../slideLayouts/slideLayout297.xml"/><Relationship Id="rId74" Type="http://schemas.openxmlformats.org/officeDocument/2006/relationships/slideLayout" Target="../slideLayouts/slideLayout313.xml"/><Relationship Id="rId79" Type="http://schemas.openxmlformats.org/officeDocument/2006/relationships/image" Target="../media/image1.png"/><Relationship Id="rId5" Type="http://schemas.openxmlformats.org/officeDocument/2006/relationships/slideLayout" Target="../slideLayouts/slideLayout244.xml"/><Relationship Id="rId61" Type="http://schemas.openxmlformats.org/officeDocument/2006/relationships/slideLayout" Target="../slideLayouts/slideLayout300.xml"/><Relationship Id="rId19" Type="http://schemas.openxmlformats.org/officeDocument/2006/relationships/slideLayout" Target="../slideLayouts/slideLayout258.xml"/><Relationship Id="rId14" Type="http://schemas.openxmlformats.org/officeDocument/2006/relationships/slideLayout" Target="../slideLayouts/slideLayout253.xml"/><Relationship Id="rId22" Type="http://schemas.openxmlformats.org/officeDocument/2006/relationships/slideLayout" Target="../slideLayouts/slideLayout261.xml"/><Relationship Id="rId27" Type="http://schemas.openxmlformats.org/officeDocument/2006/relationships/slideLayout" Target="../slideLayouts/slideLayout266.xml"/><Relationship Id="rId30" Type="http://schemas.openxmlformats.org/officeDocument/2006/relationships/slideLayout" Target="../slideLayouts/slideLayout269.xml"/><Relationship Id="rId35" Type="http://schemas.openxmlformats.org/officeDocument/2006/relationships/slideLayout" Target="../slideLayouts/slideLayout274.xml"/><Relationship Id="rId43" Type="http://schemas.openxmlformats.org/officeDocument/2006/relationships/slideLayout" Target="../slideLayouts/slideLayout282.xml"/><Relationship Id="rId48" Type="http://schemas.openxmlformats.org/officeDocument/2006/relationships/slideLayout" Target="../slideLayouts/slideLayout287.xml"/><Relationship Id="rId56" Type="http://schemas.openxmlformats.org/officeDocument/2006/relationships/slideLayout" Target="../slideLayouts/slideLayout295.xml"/><Relationship Id="rId64" Type="http://schemas.openxmlformats.org/officeDocument/2006/relationships/slideLayout" Target="../slideLayouts/slideLayout303.xml"/><Relationship Id="rId69" Type="http://schemas.openxmlformats.org/officeDocument/2006/relationships/slideLayout" Target="../slideLayouts/slideLayout308.xml"/><Relationship Id="rId77" Type="http://schemas.openxmlformats.org/officeDocument/2006/relationships/slideLayout" Target="../slideLayouts/slideLayout316.xml"/><Relationship Id="rId8" Type="http://schemas.openxmlformats.org/officeDocument/2006/relationships/slideLayout" Target="../slideLayouts/slideLayout247.xml"/><Relationship Id="rId51" Type="http://schemas.openxmlformats.org/officeDocument/2006/relationships/slideLayout" Target="../slideLayouts/slideLayout290.xml"/><Relationship Id="rId72" Type="http://schemas.openxmlformats.org/officeDocument/2006/relationships/slideLayout" Target="../slideLayouts/slideLayout311.xml"/><Relationship Id="rId80" Type="http://schemas.openxmlformats.org/officeDocument/2006/relationships/image" Target="../media/image2.png"/><Relationship Id="rId3" Type="http://schemas.openxmlformats.org/officeDocument/2006/relationships/slideLayout" Target="../slideLayouts/slideLayout242.xml"/><Relationship Id="rId12" Type="http://schemas.openxmlformats.org/officeDocument/2006/relationships/slideLayout" Target="../slideLayouts/slideLayout251.xml"/><Relationship Id="rId17" Type="http://schemas.openxmlformats.org/officeDocument/2006/relationships/slideLayout" Target="../slideLayouts/slideLayout256.xml"/><Relationship Id="rId25" Type="http://schemas.openxmlformats.org/officeDocument/2006/relationships/slideLayout" Target="../slideLayouts/slideLayout264.xml"/><Relationship Id="rId33" Type="http://schemas.openxmlformats.org/officeDocument/2006/relationships/slideLayout" Target="../slideLayouts/slideLayout272.xml"/><Relationship Id="rId38" Type="http://schemas.openxmlformats.org/officeDocument/2006/relationships/slideLayout" Target="../slideLayouts/slideLayout277.xml"/><Relationship Id="rId46" Type="http://schemas.openxmlformats.org/officeDocument/2006/relationships/slideLayout" Target="../slideLayouts/slideLayout285.xml"/><Relationship Id="rId59" Type="http://schemas.openxmlformats.org/officeDocument/2006/relationships/slideLayout" Target="../slideLayouts/slideLayout298.xml"/><Relationship Id="rId67" Type="http://schemas.openxmlformats.org/officeDocument/2006/relationships/slideLayout" Target="../slideLayouts/slideLayout306.xml"/><Relationship Id="rId20" Type="http://schemas.openxmlformats.org/officeDocument/2006/relationships/slideLayout" Target="../slideLayouts/slideLayout259.xml"/><Relationship Id="rId41" Type="http://schemas.openxmlformats.org/officeDocument/2006/relationships/slideLayout" Target="../slideLayouts/slideLayout280.xml"/><Relationship Id="rId54" Type="http://schemas.openxmlformats.org/officeDocument/2006/relationships/slideLayout" Target="../slideLayouts/slideLayout293.xml"/><Relationship Id="rId62" Type="http://schemas.openxmlformats.org/officeDocument/2006/relationships/slideLayout" Target="../slideLayouts/slideLayout301.xml"/><Relationship Id="rId70" Type="http://schemas.openxmlformats.org/officeDocument/2006/relationships/slideLayout" Target="../slideLayouts/slideLayout309.xml"/><Relationship Id="rId75" Type="http://schemas.openxmlformats.org/officeDocument/2006/relationships/slideLayout" Target="../slideLayouts/slideLayout314.xml"/><Relationship Id="rId1" Type="http://schemas.openxmlformats.org/officeDocument/2006/relationships/slideLayout" Target="../slideLayouts/slideLayout240.xml"/><Relationship Id="rId6" Type="http://schemas.openxmlformats.org/officeDocument/2006/relationships/slideLayout" Target="../slideLayouts/slideLayout245.xml"/><Relationship Id="rId15" Type="http://schemas.openxmlformats.org/officeDocument/2006/relationships/slideLayout" Target="../slideLayouts/slideLayout254.xml"/><Relationship Id="rId23" Type="http://schemas.openxmlformats.org/officeDocument/2006/relationships/slideLayout" Target="../slideLayouts/slideLayout262.xml"/><Relationship Id="rId28" Type="http://schemas.openxmlformats.org/officeDocument/2006/relationships/slideLayout" Target="../slideLayouts/slideLayout267.xml"/><Relationship Id="rId36" Type="http://schemas.openxmlformats.org/officeDocument/2006/relationships/slideLayout" Target="../slideLayouts/slideLayout275.xml"/><Relationship Id="rId49" Type="http://schemas.openxmlformats.org/officeDocument/2006/relationships/slideLayout" Target="../slideLayouts/slideLayout288.xml"/><Relationship Id="rId57" Type="http://schemas.openxmlformats.org/officeDocument/2006/relationships/slideLayout" Target="../slideLayouts/slideLayout296.xml"/><Relationship Id="rId10" Type="http://schemas.openxmlformats.org/officeDocument/2006/relationships/slideLayout" Target="../slideLayouts/slideLayout249.xml"/><Relationship Id="rId31" Type="http://schemas.openxmlformats.org/officeDocument/2006/relationships/slideLayout" Target="../slideLayouts/slideLayout270.xml"/><Relationship Id="rId44" Type="http://schemas.openxmlformats.org/officeDocument/2006/relationships/slideLayout" Target="../slideLayouts/slideLayout283.xml"/><Relationship Id="rId52" Type="http://schemas.openxmlformats.org/officeDocument/2006/relationships/slideLayout" Target="../slideLayouts/slideLayout291.xml"/><Relationship Id="rId60" Type="http://schemas.openxmlformats.org/officeDocument/2006/relationships/slideLayout" Target="../slideLayouts/slideLayout299.xml"/><Relationship Id="rId65" Type="http://schemas.openxmlformats.org/officeDocument/2006/relationships/slideLayout" Target="../slideLayouts/slideLayout304.xml"/><Relationship Id="rId73" Type="http://schemas.openxmlformats.org/officeDocument/2006/relationships/slideLayout" Target="../slideLayouts/slideLayout312.xml"/><Relationship Id="rId78" Type="http://schemas.openxmlformats.org/officeDocument/2006/relationships/theme" Target="../theme/theme7.xml"/><Relationship Id="rId81" Type="http://schemas.openxmlformats.org/officeDocument/2006/relationships/image" Target="../media/image3.png"/><Relationship Id="rId4" Type="http://schemas.openxmlformats.org/officeDocument/2006/relationships/slideLayout" Target="../slideLayouts/slideLayout243.xml"/><Relationship Id="rId9" Type="http://schemas.openxmlformats.org/officeDocument/2006/relationships/slideLayout" Target="../slideLayouts/slideLayout248.xml"/><Relationship Id="rId13" Type="http://schemas.openxmlformats.org/officeDocument/2006/relationships/slideLayout" Target="../slideLayouts/slideLayout252.xml"/><Relationship Id="rId18" Type="http://schemas.openxmlformats.org/officeDocument/2006/relationships/slideLayout" Target="../slideLayouts/slideLayout257.xml"/><Relationship Id="rId39" Type="http://schemas.openxmlformats.org/officeDocument/2006/relationships/slideLayout" Target="../slideLayouts/slideLayout278.xml"/><Relationship Id="rId34" Type="http://schemas.openxmlformats.org/officeDocument/2006/relationships/slideLayout" Target="../slideLayouts/slideLayout273.xml"/><Relationship Id="rId50" Type="http://schemas.openxmlformats.org/officeDocument/2006/relationships/slideLayout" Target="../slideLayouts/slideLayout289.xml"/><Relationship Id="rId55" Type="http://schemas.openxmlformats.org/officeDocument/2006/relationships/slideLayout" Target="../slideLayouts/slideLayout294.xml"/><Relationship Id="rId76" Type="http://schemas.openxmlformats.org/officeDocument/2006/relationships/slideLayout" Target="../slideLayouts/slideLayout315.xml"/><Relationship Id="rId7" Type="http://schemas.openxmlformats.org/officeDocument/2006/relationships/slideLayout" Target="../slideLayouts/slideLayout246.xml"/><Relationship Id="rId71" Type="http://schemas.openxmlformats.org/officeDocument/2006/relationships/slideLayout" Target="../slideLayouts/slideLayout310.xml"/><Relationship Id="rId2" Type="http://schemas.openxmlformats.org/officeDocument/2006/relationships/slideLayout" Target="../slideLayouts/slideLayout241.xml"/><Relationship Id="rId29" Type="http://schemas.openxmlformats.org/officeDocument/2006/relationships/slideLayout" Target="../slideLayouts/slideLayout268.xml"/><Relationship Id="rId24" Type="http://schemas.openxmlformats.org/officeDocument/2006/relationships/slideLayout" Target="../slideLayouts/slideLayout263.xml"/><Relationship Id="rId40" Type="http://schemas.openxmlformats.org/officeDocument/2006/relationships/slideLayout" Target="../slideLayouts/slideLayout279.xml"/><Relationship Id="rId45" Type="http://schemas.openxmlformats.org/officeDocument/2006/relationships/slideLayout" Target="../slideLayouts/slideLayout284.xml"/><Relationship Id="rId66" Type="http://schemas.openxmlformats.org/officeDocument/2006/relationships/slideLayout" Target="../slideLayouts/slideLayout305.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324.xml"/><Relationship Id="rId13" Type="http://schemas.openxmlformats.org/officeDocument/2006/relationships/slideLayout" Target="../slideLayouts/slideLayout329.xml"/><Relationship Id="rId18" Type="http://schemas.openxmlformats.org/officeDocument/2006/relationships/image" Target="../media/image3.png"/><Relationship Id="rId3" Type="http://schemas.openxmlformats.org/officeDocument/2006/relationships/slideLayout" Target="../slideLayouts/slideLayout319.xml"/><Relationship Id="rId7" Type="http://schemas.openxmlformats.org/officeDocument/2006/relationships/slideLayout" Target="../slideLayouts/slideLayout323.xml"/><Relationship Id="rId12" Type="http://schemas.openxmlformats.org/officeDocument/2006/relationships/slideLayout" Target="../slideLayouts/slideLayout328.xml"/><Relationship Id="rId17" Type="http://schemas.openxmlformats.org/officeDocument/2006/relationships/image" Target="../media/image2.png"/><Relationship Id="rId2" Type="http://schemas.openxmlformats.org/officeDocument/2006/relationships/slideLayout" Target="../slideLayouts/slideLayout318.xml"/><Relationship Id="rId16" Type="http://schemas.openxmlformats.org/officeDocument/2006/relationships/image" Target="../media/image1.png"/><Relationship Id="rId1" Type="http://schemas.openxmlformats.org/officeDocument/2006/relationships/slideLayout" Target="../slideLayouts/slideLayout317.xml"/><Relationship Id="rId6" Type="http://schemas.openxmlformats.org/officeDocument/2006/relationships/slideLayout" Target="../slideLayouts/slideLayout322.xml"/><Relationship Id="rId11" Type="http://schemas.openxmlformats.org/officeDocument/2006/relationships/slideLayout" Target="../slideLayouts/slideLayout327.xml"/><Relationship Id="rId5" Type="http://schemas.openxmlformats.org/officeDocument/2006/relationships/slideLayout" Target="../slideLayouts/slideLayout321.xml"/><Relationship Id="rId15" Type="http://schemas.openxmlformats.org/officeDocument/2006/relationships/theme" Target="../theme/theme8.xml"/><Relationship Id="rId10" Type="http://schemas.openxmlformats.org/officeDocument/2006/relationships/slideLayout" Target="../slideLayouts/slideLayout326.xml"/><Relationship Id="rId4" Type="http://schemas.openxmlformats.org/officeDocument/2006/relationships/slideLayout" Target="../slideLayouts/slideLayout320.xml"/><Relationship Id="rId9" Type="http://schemas.openxmlformats.org/officeDocument/2006/relationships/slideLayout" Target="../slideLayouts/slideLayout325.xml"/><Relationship Id="rId14" Type="http://schemas.openxmlformats.org/officeDocument/2006/relationships/slideLayout" Target="../slideLayouts/slideLayout330.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338.xml"/><Relationship Id="rId13" Type="http://schemas.openxmlformats.org/officeDocument/2006/relationships/tags" Target="../tags/tag2.xml"/><Relationship Id="rId3" Type="http://schemas.openxmlformats.org/officeDocument/2006/relationships/slideLayout" Target="../slideLayouts/slideLayout333.xml"/><Relationship Id="rId7" Type="http://schemas.openxmlformats.org/officeDocument/2006/relationships/slideLayout" Target="../slideLayouts/slideLayout337.xml"/><Relationship Id="rId12" Type="http://schemas.openxmlformats.org/officeDocument/2006/relationships/theme" Target="../theme/theme9.xml"/><Relationship Id="rId17" Type="http://schemas.openxmlformats.org/officeDocument/2006/relationships/image" Target="../media/image11.png"/><Relationship Id="rId2" Type="http://schemas.openxmlformats.org/officeDocument/2006/relationships/slideLayout" Target="../slideLayouts/slideLayout332.xml"/><Relationship Id="rId16" Type="http://schemas.openxmlformats.org/officeDocument/2006/relationships/image" Target="../media/image9.svg"/><Relationship Id="rId1" Type="http://schemas.openxmlformats.org/officeDocument/2006/relationships/slideLayout" Target="../slideLayouts/slideLayout331.xml"/><Relationship Id="rId6" Type="http://schemas.openxmlformats.org/officeDocument/2006/relationships/slideLayout" Target="../slideLayouts/slideLayout336.xml"/><Relationship Id="rId11" Type="http://schemas.openxmlformats.org/officeDocument/2006/relationships/slideLayout" Target="../slideLayouts/slideLayout341.xml"/><Relationship Id="rId5" Type="http://schemas.openxmlformats.org/officeDocument/2006/relationships/slideLayout" Target="../slideLayouts/slideLayout335.xml"/><Relationship Id="rId15" Type="http://schemas.openxmlformats.org/officeDocument/2006/relationships/image" Target="../media/image21.emf"/><Relationship Id="rId10" Type="http://schemas.openxmlformats.org/officeDocument/2006/relationships/slideLayout" Target="../slideLayouts/slideLayout340.xml"/><Relationship Id="rId4" Type="http://schemas.openxmlformats.org/officeDocument/2006/relationships/slideLayout" Target="../slideLayouts/slideLayout334.xml"/><Relationship Id="rId9" Type="http://schemas.openxmlformats.org/officeDocument/2006/relationships/slideLayout" Target="../slideLayouts/slideLayout33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1" name="Textplatzhalter 40">
            <a:extLst>
              <a:ext uri="{FF2B5EF4-FFF2-40B4-BE49-F238E27FC236}">
                <a16:creationId xmlns:a16="http://schemas.microsoft.com/office/drawing/2014/main" id="{EA8228AA-A524-4AE7-8E4D-D36908A9A497}"/>
              </a:ext>
            </a:extLst>
          </p:cNvPr>
          <p:cNvSpPr>
            <a:spLocks noGrp="1"/>
          </p:cNvSpPr>
          <p:nvPr>
            <p:ph type="body" idx="1"/>
          </p:nvPr>
        </p:nvSpPr>
        <p:spPr>
          <a:xfrm>
            <a:off x="815950" y="1979610"/>
            <a:ext cx="10560096" cy="4338639"/>
          </a:xfrm>
          <a:prstGeom prst="rect">
            <a:avLst/>
          </a:prstGeom>
        </p:spPr>
        <p:txBody>
          <a:bodyPr vert="horz" lIns="0" tIns="0" rIns="0" bIns="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34" name="Titelplatzhalter 1">
            <a:extLst>
              <a:ext uri="{FF2B5EF4-FFF2-40B4-BE49-F238E27FC236}">
                <a16:creationId xmlns:a16="http://schemas.microsoft.com/office/drawing/2014/main" id="{0A882561-50E2-420E-9F73-FBFE4947D747}"/>
              </a:ext>
            </a:extLst>
          </p:cNvPr>
          <p:cNvSpPr>
            <a:spLocks noGrp="1"/>
          </p:cNvSpPr>
          <p:nvPr>
            <p:ph type="title"/>
          </p:nvPr>
        </p:nvSpPr>
        <p:spPr bwMode="auto">
          <a:xfrm>
            <a:off x="815952" y="733402"/>
            <a:ext cx="10560096" cy="767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normAutofit/>
          </a:bodyPr>
          <a:lstStyle/>
          <a:p>
            <a:pPr lvl="0"/>
            <a:r>
              <a:rPr lang="de-DE" altLang="de-DE"/>
              <a:t>Titelmasterformat durch Klicken bearbeiten</a:t>
            </a:r>
          </a:p>
        </p:txBody>
      </p:sp>
      <p:sp>
        <p:nvSpPr>
          <p:cNvPr id="2" name="Foliennummernplatzhalter 1">
            <a:extLst>
              <a:ext uri="{FF2B5EF4-FFF2-40B4-BE49-F238E27FC236}">
                <a16:creationId xmlns:a16="http://schemas.microsoft.com/office/drawing/2014/main" id="{6C03392C-E7E7-46C6-BA25-36FA3C9A28B9}"/>
              </a:ext>
            </a:extLst>
          </p:cNvPr>
          <p:cNvSpPr>
            <a:spLocks noGrp="1"/>
          </p:cNvSpPr>
          <p:nvPr>
            <p:ph type="sldNum" sz="quarter" idx="4"/>
          </p:nvPr>
        </p:nvSpPr>
        <p:spPr>
          <a:xfrm>
            <a:off x="10401111" y="172800"/>
            <a:ext cx="974936" cy="365125"/>
          </a:xfrm>
          <a:prstGeom prst="rect">
            <a:avLst/>
          </a:prstGeom>
        </p:spPr>
        <p:txBody>
          <a:bodyPr vert="horz" lIns="91440" tIns="45720" rIns="0" bIns="45720" rtlCol="0" anchor="ctr"/>
          <a:lstStyle>
            <a:lvl1pPr algn="r">
              <a:defRPr sz="1000" spc="170" baseline="0">
                <a:solidFill>
                  <a:schemeClr val="accent3"/>
                </a:solidFill>
                <a:latin typeface="Roboto Bold" panose="02000000000000000000" pitchFamily="2" charset="0"/>
                <a:ea typeface="Roboto Bold" panose="02000000000000000000" pitchFamily="2" charset="0"/>
              </a:defRPr>
            </a:lvl1pPr>
          </a:lstStyle>
          <a:p>
            <a:fld id="{A04BEB4F-8CE1-4F18-986F-6CE0A0BE9470}" type="slidenum">
              <a:rPr lang="de-DE" smtClean="0"/>
              <a:t>‹#›</a:t>
            </a:fld>
            <a:endParaRPr lang="de-DE"/>
          </a:p>
        </p:txBody>
      </p:sp>
      <p:pic>
        <p:nvPicPr>
          <p:cNvPr id="4" name="תמונה 3">
            <a:extLst>
              <a:ext uri="{FF2B5EF4-FFF2-40B4-BE49-F238E27FC236}">
                <a16:creationId xmlns:a16="http://schemas.microsoft.com/office/drawing/2014/main" id="{27D342AD-6D07-4972-8E40-ABF728A30EFE}"/>
              </a:ext>
            </a:extLst>
          </p:cNvPr>
          <p:cNvPicPr>
            <a:picLocks noChangeAspect="1"/>
          </p:cNvPicPr>
          <p:nvPr userDrawn="1"/>
        </p:nvPicPr>
        <p:blipFill rotWithShape="1">
          <a:blip r:embed="rId73" cstate="print">
            <a:extLst>
              <a:ext uri="{28A0092B-C50C-407E-A947-70E740481C1C}">
                <a14:useLocalDpi xmlns:a14="http://schemas.microsoft.com/office/drawing/2010/main" val="0"/>
              </a:ext>
            </a:extLst>
          </a:blip>
          <a:srcRect/>
          <a:stretch/>
        </p:blipFill>
        <p:spPr>
          <a:xfrm>
            <a:off x="1115089" y="369256"/>
            <a:ext cx="2111589" cy="142979"/>
          </a:xfrm>
          <a:prstGeom prst="rect">
            <a:avLst/>
          </a:prstGeom>
          <a:effectLst/>
        </p:spPr>
      </p:pic>
      <p:pic>
        <p:nvPicPr>
          <p:cNvPr id="7" name="תמונה 6">
            <a:extLst>
              <a:ext uri="{FF2B5EF4-FFF2-40B4-BE49-F238E27FC236}">
                <a16:creationId xmlns:a16="http://schemas.microsoft.com/office/drawing/2014/main" id="{9B2CE189-F315-44C2-916F-713083EEFB99}"/>
              </a:ext>
            </a:extLst>
          </p:cNvPr>
          <p:cNvPicPr>
            <a:picLocks noChangeAspect="1"/>
          </p:cNvPicPr>
          <p:nvPr userDrawn="1"/>
        </p:nvPicPr>
        <p:blipFill rotWithShape="1">
          <a:blip r:embed="rId74" cstate="print">
            <a:extLst>
              <a:ext uri="{28A0092B-C50C-407E-A947-70E740481C1C}">
                <a14:useLocalDpi xmlns:a14="http://schemas.microsoft.com/office/drawing/2010/main" val="0"/>
              </a:ext>
            </a:extLst>
          </a:blip>
          <a:srcRect/>
          <a:stretch/>
        </p:blipFill>
        <p:spPr>
          <a:xfrm>
            <a:off x="658295" y="172800"/>
            <a:ext cx="383221" cy="392912"/>
          </a:xfrm>
          <a:prstGeom prst="rect">
            <a:avLst/>
          </a:prstGeom>
          <a:effectLst/>
        </p:spPr>
      </p:pic>
    </p:spTree>
    <p:extLst>
      <p:ext uri="{BB962C8B-B14F-4D97-AF65-F5344CB8AC3E}">
        <p14:creationId xmlns:p14="http://schemas.microsoft.com/office/powerpoint/2010/main" val="3272477115"/>
      </p:ext>
    </p:extLst>
  </p:cSld>
  <p:clrMap bg1="lt1" tx1="dk1" bg2="lt2" tx2="dk2" accent1="accent1" accent2="accent2" accent3="accent3" accent4="accent4" accent5="accent5" accent6="accent6" hlink="hlink" folHlink="folHlink"/>
  <p:sldLayoutIdLst>
    <p:sldLayoutId id="2147483684" r:id="rId1"/>
    <p:sldLayoutId id="2147483693" r:id="rId2"/>
    <p:sldLayoutId id="2147483683" r:id="rId3"/>
    <p:sldLayoutId id="2147483687" r:id="rId4"/>
    <p:sldLayoutId id="2147483700" r:id="rId5"/>
    <p:sldLayoutId id="2147483698" r:id="rId6"/>
    <p:sldLayoutId id="2147483710" r:id="rId7"/>
    <p:sldLayoutId id="2147483711" r:id="rId8"/>
    <p:sldLayoutId id="2147483686" r:id="rId9"/>
    <p:sldLayoutId id="2147483689" r:id="rId10"/>
    <p:sldLayoutId id="2147483690" r:id="rId11"/>
    <p:sldLayoutId id="2147483703" r:id="rId12"/>
    <p:sldLayoutId id="2147483694" r:id="rId13"/>
    <p:sldLayoutId id="2147484028" r:id="rId14"/>
    <p:sldLayoutId id="2147484034" r:id="rId15"/>
    <p:sldLayoutId id="2147484036" r:id="rId16"/>
    <p:sldLayoutId id="2147484037" r:id="rId17"/>
    <p:sldLayoutId id="2147483772" r:id="rId18"/>
    <p:sldLayoutId id="2147483773" r:id="rId19"/>
    <p:sldLayoutId id="2147483774" r:id="rId20"/>
    <p:sldLayoutId id="2147483777" r:id="rId21"/>
    <p:sldLayoutId id="2147483782" r:id="rId22"/>
    <p:sldLayoutId id="2147483783" r:id="rId23"/>
    <p:sldLayoutId id="2147483793" r:id="rId24"/>
    <p:sldLayoutId id="2147483794" r:id="rId25"/>
    <p:sldLayoutId id="2147483795" r:id="rId26"/>
    <p:sldLayoutId id="2147483796" r:id="rId27"/>
    <p:sldLayoutId id="2147483797" r:id="rId28"/>
    <p:sldLayoutId id="2147483798" r:id="rId29"/>
    <p:sldLayoutId id="2147483799" r:id="rId30"/>
    <p:sldLayoutId id="2147483800" r:id="rId31"/>
    <p:sldLayoutId id="2147483801" r:id="rId32"/>
    <p:sldLayoutId id="2147483802" r:id="rId33"/>
    <p:sldLayoutId id="2147483804" r:id="rId34"/>
    <p:sldLayoutId id="2147483805" r:id="rId35"/>
    <p:sldLayoutId id="2147483806" r:id="rId36"/>
    <p:sldLayoutId id="2147483808" r:id="rId37"/>
    <p:sldLayoutId id="2147483809" r:id="rId38"/>
    <p:sldLayoutId id="2147483811" r:id="rId39"/>
    <p:sldLayoutId id="2147483812" r:id="rId40"/>
    <p:sldLayoutId id="2147483813" r:id="rId41"/>
    <p:sldLayoutId id="2147483814" r:id="rId42"/>
    <p:sldLayoutId id="2147483815" r:id="rId43"/>
    <p:sldLayoutId id="2147483816" r:id="rId44"/>
    <p:sldLayoutId id="2147483817" r:id="rId45"/>
    <p:sldLayoutId id="2147483822" r:id="rId46"/>
    <p:sldLayoutId id="2147483823" r:id="rId47"/>
    <p:sldLayoutId id="2147483824" r:id="rId48"/>
    <p:sldLayoutId id="2147483825" r:id="rId49"/>
    <p:sldLayoutId id="2147483826" r:id="rId50"/>
    <p:sldLayoutId id="2147483827" r:id="rId51"/>
    <p:sldLayoutId id="2147483828" r:id="rId52"/>
    <p:sldLayoutId id="2147483829" r:id="rId53"/>
    <p:sldLayoutId id="2147483830" r:id="rId54"/>
    <p:sldLayoutId id="2147483831" r:id="rId55"/>
    <p:sldLayoutId id="2147483832" r:id="rId56"/>
    <p:sldLayoutId id="2147483833" r:id="rId57"/>
    <p:sldLayoutId id="2147483834" r:id="rId58"/>
    <p:sldLayoutId id="2147483835" r:id="rId59"/>
    <p:sldLayoutId id="2147483836" r:id="rId60"/>
    <p:sldLayoutId id="2147483837" r:id="rId61"/>
    <p:sldLayoutId id="2147483838" r:id="rId62"/>
    <p:sldLayoutId id="2147483839" r:id="rId63"/>
    <p:sldLayoutId id="2147483840" r:id="rId64"/>
    <p:sldLayoutId id="2147483841" r:id="rId65"/>
    <p:sldLayoutId id="2147483842" r:id="rId66"/>
    <p:sldLayoutId id="2147483843" r:id="rId67"/>
    <p:sldLayoutId id="2147483844" r:id="rId68"/>
    <p:sldLayoutId id="2147483845" r:id="rId69"/>
    <p:sldLayoutId id="2147483846" r:id="rId70"/>
    <p:sldLayoutId id="2147483847" r:id="rId71"/>
  </p:sldLayoutIdLst>
  <p:transition/>
  <p:hf hdr="0" ftr="0" dt="0"/>
  <p:txStyles>
    <p:titleStyle>
      <a:lvl1pPr algn="l" defTabSz="914400" rtl="0" eaLnBrk="1" latinLnBrk="0" hangingPunct="1">
        <a:lnSpc>
          <a:spcPct val="100000"/>
        </a:lnSpc>
        <a:spcBef>
          <a:spcPct val="0"/>
        </a:spcBef>
        <a:buNone/>
        <a:defRPr sz="2800" kern="1200">
          <a:solidFill>
            <a:schemeClr val="tx2"/>
          </a:solidFill>
          <a:latin typeface="+mj-lt"/>
          <a:ea typeface="+mj-ea"/>
          <a:cs typeface="+mj-cs"/>
        </a:defRPr>
      </a:lvl1pPr>
    </p:titleStyle>
    <p:bodyStyle>
      <a:lvl1pPr marL="266700" marR="0" indent="-266700" algn="l" defTabSz="1644650" rtl="0" eaLnBrk="0" fontAlgn="base" latinLnBrk="0" hangingPunct="0">
        <a:lnSpc>
          <a:spcPct val="130000"/>
        </a:lnSpc>
        <a:spcBef>
          <a:spcPct val="0"/>
        </a:spcBef>
        <a:spcAft>
          <a:spcPts val="1200"/>
        </a:spcAft>
        <a:buClr>
          <a:srgbClr val="004C99"/>
        </a:buClr>
        <a:buSzPct val="120000"/>
        <a:buFontTx/>
        <a:buBlip>
          <a:blip r:embed="rId75"/>
        </a:buBlip>
        <a:defRPr sz="1800" kern="1200">
          <a:solidFill>
            <a:schemeClr val="tx1"/>
          </a:solidFill>
          <a:latin typeface="+mn-lt"/>
          <a:ea typeface="+mn-ea"/>
          <a:cs typeface="+mn-cs"/>
        </a:defRPr>
      </a:lvl1pPr>
      <a:lvl2pPr marL="630238" marR="0" indent="-268288" algn="l" defTabSz="1644650" rtl="0" eaLnBrk="0" fontAlgn="base" latinLnBrk="0" hangingPunct="0">
        <a:lnSpc>
          <a:spcPct val="130000"/>
        </a:lnSpc>
        <a:spcBef>
          <a:spcPct val="0"/>
        </a:spcBef>
        <a:spcAft>
          <a:spcPts val="1200"/>
        </a:spcAft>
        <a:buClr>
          <a:srgbClr val="004C99"/>
        </a:buClr>
        <a:buSzPct val="120000"/>
        <a:buFontTx/>
        <a:buBlip>
          <a:blip r:embed="rId75"/>
        </a:buBlip>
        <a:defRPr sz="1800" kern="1200">
          <a:solidFill>
            <a:schemeClr val="tx1"/>
          </a:solidFill>
          <a:latin typeface="+mn-lt"/>
          <a:ea typeface="+mn-ea"/>
          <a:cs typeface="+mn-cs"/>
        </a:defRPr>
      </a:lvl2pPr>
      <a:lvl3pPr marL="990600" marR="0" indent="-274638" algn="l" defTabSz="1644650" rtl="0" eaLnBrk="0" fontAlgn="base" latinLnBrk="0" hangingPunct="0">
        <a:lnSpc>
          <a:spcPct val="130000"/>
        </a:lnSpc>
        <a:spcBef>
          <a:spcPct val="0"/>
        </a:spcBef>
        <a:spcAft>
          <a:spcPts val="1200"/>
        </a:spcAft>
        <a:buClr>
          <a:srgbClr val="004C99"/>
        </a:buClr>
        <a:buSzPct val="120000"/>
        <a:buFontTx/>
        <a:buBlip>
          <a:blip r:embed="rId75"/>
        </a:buBlip>
        <a:defRPr sz="1800" kern="1200">
          <a:solidFill>
            <a:schemeClr val="tx1"/>
          </a:solidFill>
          <a:latin typeface="+mn-lt"/>
          <a:ea typeface="+mn-ea"/>
          <a:cs typeface="+mn-cs"/>
        </a:defRPr>
      </a:lvl3pPr>
      <a:lvl4pPr marL="1343025" marR="0" indent="-263525" algn="l" defTabSz="1644650" rtl="0" eaLnBrk="0" fontAlgn="base" latinLnBrk="0" hangingPunct="0">
        <a:lnSpc>
          <a:spcPct val="130000"/>
        </a:lnSpc>
        <a:spcBef>
          <a:spcPct val="0"/>
        </a:spcBef>
        <a:spcAft>
          <a:spcPts val="1200"/>
        </a:spcAft>
        <a:buClr>
          <a:srgbClr val="004C99"/>
        </a:buClr>
        <a:buSzPct val="120000"/>
        <a:buFontTx/>
        <a:buBlip>
          <a:blip r:embed="rId75"/>
        </a:buBlip>
        <a:defRPr sz="1800" kern="1200">
          <a:solidFill>
            <a:schemeClr val="tx1"/>
          </a:solidFill>
          <a:latin typeface="+mn-lt"/>
          <a:ea typeface="+mn-ea"/>
          <a:cs typeface="+mn-cs"/>
        </a:defRPr>
      </a:lvl4pPr>
      <a:lvl5pPr marL="1704975" marR="0" indent="-271463" algn="l" defTabSz="1644650" rtl="0" eaLnBrk="0" fontAlgn="base" latinLnBrk="0" hangingPunct="0">
        <a:lnSpc>
          <a:spcPct val="130000"/>
        </a:lnSpc>
        <a:spcBef>
          <a:spcPct val="0"/>
        </a:spcBef>
        <a:spcAft>
          <a:spcPts val="1200"/>
        </a:spcAft>
        <a:buClr>
          <a:srgbClr val="004C99"/>
        </a:buClr>
        <a:buSzPct val="120000"/>
        <a:buFontTx/>
        <a:buBlip>
          <a:blip r:embed="rId75"/>
        </a:buBlip>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59" userDrawn="1">
          <p15:clr>
            <a:srgbClr val="F26B43"/>
          </p15:clr>
        </p15:guide>
        <p15:guide id="2" pos="512" userDrawn="1">
          <p15:clr>
            <a:srgbClr val="F26B43"/>
          </p15:clr>
        </p15:guide>
        <p15:guide id="3" orient="horz" pos="3980" userDrawn="1">
          <p15:clr>
            <a:srgbClr val="F26B43"/>
          </p15:clr>
        </p15:guide>
        <p15:guide id="4" pos="716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1" name="Textplatzhalter 40">
            <a:extLst>
              <a:ext uri="{FF2B5EF4-FFF2-40B4-BE49-F238E27FC236}">
                <a16:creationId xmlns:a16="http://schemas.microsoft.com/office/drawing/2014/main" id="{EA8228AA-A524-4AE7-8E4D-D36908A9A497}"/>
              </a:ext>
            </a:extLst>
          </p:cNvPr>
          <p:cNvSpPr>
            <a:spLocks noGrp="1"/>
          </p:cNvSpPr>
          <p:nvPr>
            <p:ph type="body" idx="1"/>
          </p:nvPr>
        </p:nvSpPr>
        <p:spPr>
          <a:xfrm>
            <a:off x="815950" y="1979610"/>
            <a:ext cx="10560096" cy="4338639"/>
          </a:xfrm>
          <a:prstGeom prst="rect">
            <a:avLst/>
          </a:prstGeom>
        </p:spPr>
        <p:txBody>
          <a:bodyPr vert="horz" lIns="0" tIns="0" rIns="0" bIns="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34" name="Titelplatzhalter 1">
            <a:extLst>
              <a:ext uri="{FF2B5EF4-FFF2-40B4-BE49-F238E27FC236}">
                <a16:creationId xmlns:a16="http://schemas.microsoft.com/office/drawing/2014/main" id="{0A882561-50E2-420E-9F73-FBFE4947D747}"/>
              </a:ext>
            </a:extLst>
          </p:cNvPr>
          <p:cNvSpPr>
            <a:spLocks noGrp="1"/>
          </p:cNvSpPr>
          <p:nvPr>
            <p:ph type="title"/>
          </p:nvPr>
        </p:nvSpPr>
        <p:spPr bwMode="auto">
          <a:xfrm>
            <a:off x="815952" y="733402"/>
            <a:ext cx="10560096" cy="767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normAutofit/>
          </a:bodyPr>
          <a:lstStyle/>
          <a:p>
            <a:pPr lvl="0"/>
            <a:r>
              <a:rPr lang="de-DE" altLang="de-DE"/>
              <a:t>Titelmasterformat durch Klicken bearbeiten</a:t>
            </a:r>
          </a:p>
        </p:txBody>
      </p:sp>
      <p:sp>
        <p:nvSpPr>
          <p:cNvPr id="2" name="Foliennummernplatzhalter 1">
            <a:extLst>
              <a:ext uri="{FF2B5EF4-FFF2-40B4-BE49-F238E27FC236}">
                <a16:creationId xmlns:a16="http://schemas.microsoft.com/office/drawing/2014/main" id="{6C03392C-E7E7-46C6-BA25-36FA3C9A28B9}"/>
              </a:ext>
            </a:extLst>
          </p:cNvPr>
          <p:cNvSpPr>
            <a:spLocks noGrp="1"/>
          </p:cNvSpPr>
          <p:nvPr>
            <p:ph type="sldNum" sz="quarter" idx="4"/>
          </p:nvPr>
        </p:nvSpPr>
        <p:spPr>
          <a:xfrm>
            <a:off x="10401111" y="172800"/>
            <a:ext cx="974936" cy="365125"/>
          </a:xfrm>
          <a:prstGeom prst="rect">
            <a:avLst/>
          </a:prstGeom>
        </p:spPr>
        <p:txBody>
          <a:bodyPr vert="horz" lIns="91440" tIns="45720" rIns="0" bIns="45720" rtlCol="0" anchor="ctr"/>
          <a:lstStyle>
            <a:lvl1pPr algn="r">
              <a:defRPr sz="1000" spc="170" baseline="0">
                <a:solidFill>
                  <a:schemeClr val="accent3"/>
                </a:solidFill>
                <a:latin typeface="Roboto Bold" panose="02000000000000000000" pitchFamily="2" charset="0"/>
                <a:ea typeface="Roboto Bold" panose="02000000000000000000" pitchFamily="2" charset="0"/>
              </a:defRPr>
            </a:lvl1pPr>
          </a:lstStyle>
          <a:p>
            <a:fld id="{A04BEB4F-8CE1-4F18-986F-6CE0A0BE9470}" type="slidenum">
              <a:rPr lang="de-DE" smtClean="0"/>
              <a:t>‹#›</a:t>
            </a:fld>
            <a:endParaRPr lang="de-DE"/>
          </a:p>
        </p:txBody>
      </p:sp>
      <p:pic>
        <p:nvPicPr>
          <p:cNvPr id="7" name="תמונה 6">
            <a:extLst>
              <a:ext uri="{FF2B5EF4-FFF2-40B4-BE49-F238E27FC236}">
                <a16:creationId xmlns:a16="http://schemas.microsoft.com/office/drawing/2014/main" id="{FF7AD78A-5F3D-48DB-ABA6-E81E22DEA223}"/>
              </a:ext>
            </a:extLst>
          </p:cNvPr>
          <p:cNvPicPr>
            <a:picLocks noChangeAspect="1"/>
          </p:cNvPicPr>
          <p:nvPr userDrawn="1"/>
        </p:nvPicPr>
        <p:blipFill rotWithShape="1">
          <a:blip r:embed="rId77" cstate="print">
            <a:extLst>
              <a:ext uri="{28A0092B-C50C-407E-A947-70E740481C1C}">
                <a14:useLocalDpi xmlns:a14="http://schemas.microsoft.com/office/drawing/2010/main" val="0"/>
              </a:ext>
            </a:extLst>
          </a:blip>
          <a:srcRect/>
          <a:stretch/>
        </p:blipFill>
        <p:spPr>
          <a:xfrm>
            <a:off x="1115089" y="369256"/>
            <a:ext cx="2111589" cy="142979"/>
          </a:xfrm>
          <a:prstGeom prst="rect">
            <a:avLst/>
          </a:prstGeom>
          <a:effectLst/>
        </p:spPr>
      </p:pic>
      <p:pic>
        <p:nvPicPr>
          <p:cNvPr id="9" name="תמונה 8">
            <a:extLst>
              <a:ext uri="{FF2B5EF4-FFF2-40B4-BE49-F238E27FC236}">
                <a16:creationId xmlns:a16="http://schemas.microsoft.com/office/drawing/2014/main" id="{2D21BA16-6130-4117-A983-3D48B86BDB1A}"/>
              </a:ext>
            </a:extLst>
          </p:cNvPr>
          <p:cNvPicPr>
            <a:picLocks noChangeAspect="1"/>
          </p:cNvPicPr>
          <p:nvPr userDrawn="1"/>
        </p:nvPicPr>
        <p:blipFill rotWithShape="1">
          <a:blip r:embed="rId78" cstate="print">
            <a:extLst>
              <a:ext uri="{28A0092B-C50C-407E-A947-70E740481C1C}">
                <a14:useLocalDpi xmlns:a14="http://schemas.microsoft.com/office/drawing/2010/main" val="0"/>
              </a:ext>
            </a:extLst>
          </a:blip>
          <a:srcRect/>
          <a:stretch/>
        </p:blipFill>
        <p:spPr>
          <a:xfrm>
            <a:off x="658295" y="172800"/>
            <a:ext cx="383221" cy="392912"/>
          </a:xfrm>
          <a:prstGeom prst="rect">
            <a:avLst/>
          </a:prstGeom>
          <a:effectLst/>
        </p:spPr>
      </p:pic>
    </p:spTree>
    <p:extLst>
      <p:ext uri="{BB962C8B-B14F-4D97-AF65-F5344CB8AC3E}">
        <p14:creationId xmlns:p14="http://schemas.microsoft.com/office/powerpoint/2010/main" val="3584251131"/>
      </p:ext>
    </p:extLst>
  </p:cSld>
  <p:clrMap bg1="lt1" tx1="dk1" bg2="lt2" tx2="dk2" accent1="accent1" accent2="accent2" accent3="accent3" accent4="accent4" accent5="accent5" accent6="accent6" hlink="hlink" folHlink="folHlink"/>
  <p:sldLayoutIdLst>
    <p:sldLayoutId id="2147484115" r:id="rId1"/>
    <p:sldLayoutId id="2147484116" r:id="rId2"/>
    <p:sldLayoutId id="2147484117" r:id="rId3"/>
    <p:sldLayoutId id="2147484118" r:id="rId4"/>
    <p:sldLayoutId id="2147484119" r:id="rId5"/>
    <p:sldLayoutId id="2147484120" r:id="rId6"/>
    <p:sldLayoutId id="2147484121" r:id="rId7"/>
    <p:sldLayoutId id="2147484122" r:id="rId8"/>
    <p:sldLayoutId id="2147484123" r:id="rId9"/>
    <p:sldLayoutId id="2147484124" r:id="rId10"/>
    <p:sldLayoutId id="2147484125" r:id="rId11"/>
    <p:sldLayoutId id="2147484126" r:id="rId12"/>
    <p:sldLayoutId id="2147484127" r:id="rId13"/>
    <p:sldLayoutId id="2147484128" r:id="rId14"/>
    <p:sldLayoutId id="2147484129" r:id="rId15"/>
    <p:sldLayoutId id="2147484130" r:id="rId16"/>
    <p:sldLayoutId id="2147484131" r:id="rId17"/>
    <p:sldLayoutId id="2147484132" r:id="rId18"/>
    <p:sldLayoutId id="2147484133" r:id="rId19"/>
    <p:sldLayoutId id="2147484134" r:id="rId20"/>
    <p:sldLayoutId id="2147484135" r:id="rId21"/>
    <p:sldLayoutId id="2147484136" r:id="rId22"/>
    <p:sldLayoutId id="2147484137" r:id="rId23"/>
    <p:sldLayoutId id="2147484138" r:id="rId24"/>
    <p:sldLayoutId id="2147484139" r:id="rId25"/>
    <p:sldLayoutId id="2147484140" r:id="rId26"/>
    <p:sldLayoutId id="2147484141" r:id="rId27"/>
    <p:sldLayoutId id="2147484142" r:id="rId28"/>
    <p:sldLayoutId id="2147484143" r:id="rId29"/>
    <p:sldLayoutId id="2147484144" r:id="rId30"/>
    <p:sldLayoutId id="2147484145" r:id="rId31"/>
    <p:sldLayoutId id="2147484146" r:id="rId32"/>
    <p:sldLayoutId id="2147484147" r:id="rId33"/>
    <p:sldLayoutId id="2147484148" r:id="rId34"/>
    <p:sldLayoutId id="2147484149" r:id="rId35"/>
    <p:sldLayoutId id="2147484150" r:id="rId36"/>
    <p:sldLayoutId id="2147484151" r:id="rId37"/>
    <p:sldLayoutId id="2147484152" r:id="rId38"/>
    <p:sldLayoutId id="2147484153" r:id="rId39"/>
    <p:sldLayoutId id="2147484154" r:id="rId40"/>
    <p:sldLayoutId id="2147484155" r:id="rId41"/>
    <p:sldLayoutId id="2147484156" r:id="rId42"/>
    <p:sldLayoutId id="2147484157" r:id="rId43"/>
    <p:sldLayoutId id="2147484158" r:id="rId44"/>
    <p:sldLayoutId id="2147484159" r:id="rId45"/>
    <p:sldLayoutId id="2147484160" r:id="rId46"/>
    <p:sldLayoutId id="2147484161" r:id="rId47"/>
    <p:sldLayoutId id="2147484162" r:id="rId48"/>
    <p:sldLayoutId id="2147484163" r:id="rId49"/>
    <p:sldLayoutId id="2147484164" r:id="rId50"/>
    <p:sldLayoutId id="2147484165" r:id="rId51"/>
    <p:sldLayoutId id="2147484166" r:id="rId52"/>
    <p:sldLayoutId id="2147484167" r:id="rId53"/>
    <p:sldLayoutId id="2147484168" r:id="rId54"/>
    <p:sldLayoutId id="2147484169" r:id="rId55"/>
    <p:sldLayoutId id="2147484170" r:id="rId56"/>
    <p:sldLayoutId id="2147484171" r:id="rId57"/>
    <p:sldLayoutId id="2147484172" r:id="rId58"/>
    <p:sldLayoutId id="2147484173" r:id="rId59"/>
    <p:sldLayoutId id="2147484174" r:id="rId60"/>
    <p:sldLayoutId id="2147484175" r:id="rId61"/>
    <p:sldLayoutId id="2147484176" r:id="rId62"/>
    <p:sldLayoutId id="2147484177" r:id="rId63"/>
    <p:sldLayoutId id="2147484178" r:id="rId64"/>
    <p:sldLayoutId id="2147484179" r:id="rId65"/>
    <p:sldLayoutId id="2147484180" r:id="rId66"/>
    <p:sldLayoutId id="2147484181" r:id="rId67"/>
    <p:sldLayoutId id="2147484182" r:id="rId68"/>
    <p:sldLayoutId id="2147484183" r:id="rId69"/>
    <p:sldLayoutId id="2147484184" r:id="rId70"/>
    <p:sldLayoutId id="2147484185" r:id="rId71"/>
    <p:sldLayoutId id="2147484186" r:id="rId72"/>
    <p:sldLayoutId id="2147484187" r:id="rId73"/>
    <p:sldLayoutId id="2147484188" r:id="rId74"/>
    <p:sldLayoutId id="2147484189" r:id="rId75"/>
  </p:sldLayoutIdLst>
  <p:transition/>
  <p:hf hdr="0" ftr="0" dt="0"/>
  <p:txStyles>
    <p:titleStyle>
      <a:lvl1pPr algn="l" defTabSz="914400" rtl="0" eaLnBrk="1" latinLnBrk="0" hangingPunct="1">
        <a:lnSpc>
          <a:spcPct val="100000"/>
        </a:lnSpc>
        <a:spcBef>
          <a:spcPct val="0"/>
        </a:spcBef>
        <a:buNone/>
        <a:defRPr sz="2800" kern="1200">
          <a:solidFill>
            <a:schemeClr val="tx2"/>
          </a:solidFill>
          <a:latin typeface="+mj-lt"/>
          <a:ea typeface="+mj-ea"/>
          <a:cs typeface="+mj-cs"/>
        </a:defRPr>
      </a:lvl1pPr>
    </p:titleStyle>
    <p:bodyStyle>
      <a:lvl1pPr marL="266700" marR="0" indent="-266700" algn="l" defTabSz="1644650" rtl="0" eaLnBrk="0" fontAlgn="base" latinLnBrk="0" hangingPunct="0">
        <a:lnSpc>
          <a:spcPct val="130000"/>
        </a:lnSpc>
        <a:spcBef>
          <a:spcPct val="0"/>
        </a:spcBef>
        <a:spcAft>
          <a:spcPts val="1200"/>
        </a:spcAft>
        <a:buClr>
          <a:srgbClr val="004C99"/>
        </a:buClr>
        <a:buSzPct val="120000"/>
        <a:buFontTx/>
        <a:buBlip>
          <a:blip r:embed="rId79"/>
        </a:buBlip>
        <a:defRPr sz="1800" kern="1200">
          <a:solidFill>
            <a:schemeClr val="tx1"/>
          </a:solidFill>
          <a:latin typeface="+mn-lt"/>
          <a:ea typeface="+mn-ea"/>
          <a:cs typeface="+mn-cs"/>
        </a:defRPr>
      </a:lvl1pPr>
      <a:lvl2pPr marL="630238" marR="0" indent="-268288" algn="l" defTabSz="1644650" rtl="0" eaLnBrk="0" fontAlgn="base" latinLnBrk="0" hangingPunct="0">
        <a:lnSpc>
          <a:spcPct val="130000"/>
        </a:lnSpc>
        <a:spcBef>
          <a:spcPct val="0"/>
        </a:spcBef>
        <a:spcAft>
          <a:spcPts val="1200"/>
        </a:spcAft>
        <a:buClr>
          <a:srgbClr val="004C99"/>
        </a:buClr>
        <a:buSzPct val="120000"/>
        <a:buFontTx/>
        <a:buBlip>
          <a:blip r:embed="rId79"/>
        </a:buBlip>
        <a:defRPr sz="1800" kern="1200">
          <a:solidFill>
            <a:schemeClr val="tx1"/>
          </a:solidFill>
          <a:latin typeface="+mn-lt"/>
          <a:ea typeface="+mn-ea"/>
          <a:cs typeface="+mn-cs"/>
        </a:defRPr>
      </a:lvl2pPr>
      <a:lvl3pPr marL="990600" marR="0" indent="-274638" algn="l" defTabSz="1644650" rtl="0" eaLnBrk="0" fontAlgn="base" latinLnBrk="0" hangingPunct="0">
        <a:lnSpc>
          <a:spcPct val="130000"/>
        </a:lnSpc>
        <a:spcBef>
          <a:spcPct val="0"/>
        </a:spcBef>
        <a:spcAft>
          <a:spcPts val="1200"/>
        </a:spcAft>
        <a:buClr>
          <a:srgbClr val="004C99"/>
        </a:buClr>
        <a:buSzPct val="120000"/>
        <a:buFontTx/>
        <a:buBlip>
          <a:blip r:embed="rId79"/>
        </a:buBlip>
        <a:defRPr sz="1800" kern="1200">
          <a:solidFill>
            <a:schemeClr val="tx1"/>
          </a:solidFill>
          <a:latin typeface="+mn-lt"/>
          <a:ea typeface="+mn-ea"/>
          <a:cs typeface="+mn-cs"/>
        </a:defRPr>
      </a:lvl3pPr>
      <a:lvl4pPr marL="1343025" marR="0" indent="-263525" algn="l" defTabSz="1644650" rtl="0" eaLnBrk="0" fontAlgn="base" latinLnBrk="0" hangingPunct="0">
        <a:lnSpc>
          <a:spcPct val="130000"/>
        </a:lnSpc>
        <a:spcBef>
          <a:spcPct val="0"/>
        </a:spcBef>
        <a:spcAft>
          <a:spcPts val="1200"/>
        </a:spcAft>
        <a:buClr>
          <a:srgbClr val="004C99"/>
        </a:buClr>
        <a:buSzPct val="120000"/>
        <a:buFontTx/>
        <a:buBlip>
          <a:blip r:embed="rId79"/>
        </a:buBlip>
        <a:defRPr sz="1800" kern="1200">
          <a:solidFill>
            <a:schemeClr val="tx1"/>
          </a:solidFill>
          <a:latin typeface="+mn-lt"/>
          <a:ea typeface="+mn-ea"/>
          <a:cs typeface="+mn-cs"/>
        </a:defRPr>
      </a:lvl4pPr>
      <a:lvl5pPr marL="1704975" marR="0" indent="-271463" algn="l" defTabSz="1644650" rtl="0" eaLnBrk="0" fontAlgn="base" latinLnBrk="0" hangingPunct="0">
        <a:lnSpc>
          <a:spcPct val="130000"/>
        </a:lnSpc>
        <a:spcBef>
          <a:spcPct val="0"/>
        </a:spcBef>
        <a:spcAft>
          <a:spcPts val="1200"/>
        </a:spcAft>
        <a:buClr>
          <a:srgbClr val="004C99"/>
        </a:buClr>
        <a:buSzPct val="120000"/>
        <a:buFontTx/>
        <a:buBlip>
          <a:blip r:embed="rId79"/>
        </a:buBlip>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59">
          <p15:clr>
            <a:srgbClr val="F26B43"/>
          </p15:clr>
        </p15:guide>
        <p15:guide id="2" pos="512">
          <p15:clr>
            <a:srgbClr val="F26B43"/>
          </p15:clr>
        </p15:guide>
        <p15:guide id="3" orient="horz" pos="3980">
          <p15:clr>
            <a:srgbClr val="F26B43"/>
          </p15:clr>
        </p15:guide>
        <p15:guide id="4" pos="716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1" name="Textplatzhalter 40">
            <a:extLst>
              <a:ext uri="{FF2B5EF4-FFF2-40B4-BE49-F238E27FC236}">
                <a16:creationId xmlns:a16="http://schemas.microsoft.com/office/drawing/2014/main" id="{EA8228AA-A524-4AE7-8E4D-D36908A9A497}"/>
              </a:ext>
            </a:extLst>
          </p:cNvPr>
          <p:cNvSpPr>
            <a:spLocks noGrp="1"/>
          </p:cNvSpPr>
          <p:nvPr>
            <p:ph type="body" idx="1"/>
          </p:nvPr>
        </p:nvSpPr>
        <p:spPr>
          <a:xfrm>
            <a:off x="815950" y="1979610"/>
            <a:ext cx="10560096" cy="4338639"/>
          </a:xfrm>
          <a:prstGeom prst="rect">
            <a:avLst/>
          </a:prstGeom>
        </p:spPr>
        <p:txBody>
          <a:bodyPr vert="horz" lIns="0" tIns="0" rIns="0" bIns="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34" name="Titelplatzhalter 1">
            <a:extLst>
              <a:ext uri="{FF2B5EF4-FFF2-40B4-BE49-F238E27FC236}">
                <a16:creationId xmlns:a16="http://schemas.microsoft.com/office/drawing/2014/main" id="{0A882561-50E2-420E-9F73-FBFE4947D747}"/>
              </a:ext>
            </a:extLst>
          </p:cNvPr>
          <p:cNvSpPr>
            <a:spLocks noGrp="1"/>
          </p:cNvSpPr>
          <p:nvPr>
            <p:ph type="title"/>
          </p:nvPr>
        </p:nvSpPr>
        <p:spPr bwMode="auto">
          <a:xfrm>
            <a:off x="815952" y="733402"/>
            <a:ext cx="10560096" cy="767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normAutofit/>
          </a:bodyPr>
          <a:lstStyle/>
          <a:p>
            <a:pPr lvl="0"/>
            <a:r>
              <a:rPr lang="de-DE" altLang="de-DE"/>
              <a:t>Titelmasterformat durch Klicken bearbeiten</a:t>
            </a:r>
          </a:p>
        </p:txBody>
      </p:sp>
      <p:sp>
        <p:nvSpPr>
          <p:cNvPr id="3" name="Textfeld 2">
            <a:extLst>
              <a:ext uri="{FF2B5EF4-FFF2-40B4-BE49-F238E27FC236}">
                <a16:creationId xmlns:a16="http://schemas.microsoft.com/office/drawing/2014/main" id="{6A99A1BA-771F-4981-938F-296D73F8D87E}"/>
              </a:ext>
            </a:extLst>
          </p:cNvPr>
          <p:cNvSpPr txBox="1"/>
          <p:nvPr userDrawn="1"/>
        </p:nvSpPr>
        <p:spPr>
          <a:xfrm>
            <a:off x="1238250" y="243591"/>
            <a:ext cx="3184846" cy="246221"/>
          </a:xfrm>
          <a:prstGeom prst="rect">
            <a:avLst/>
          </a:prstGeom>
          <a:noFill/>
        </p:spPr>
        <p:txBody>
          <a:bodyPr wrap="none" rtlCol="0">
            <a:spAutoFit/>
          </a:bodyPr>
          <a:lstStyle/>
          <a:p>
            <a:pPr algn="l"/>
            <a:r>
              <a:rPr lang="de-DE" sz="1000" cap="all" spc="170" baseline="0">
                <a:solidFill>
                  <a:schemeClr val="accent3"/>
                </a:solidFill>
                <a:latin typeface="Roboto Bold" panose="02000000000000000000" pitchFamily="2" charset="0"/>
                <a:ea typeface="Roboto Bold" panose="02000000000000000000" pitchFamily="2" charset="0"/>
              </a:rPr>
              <a:t>THINKING AHEAD – Moving Forward</a:t>
            </a:r>
          </a:p>
        </p:txBody>
      </p:sp>
      <p:pic>
        <p:nvPicPr>
          <p:cNvPr id="8" name="Grafik 7">
            <a:extLst>
              <a:ext uri="{FF2B5EF4-FFF2-40B4-BE49-F238E27FC236}">
                <a16:creationId xmlns:a16="http://schemas.microsoft.com/office/drawing/2014/main" id="{509B2567-AECE-42CD-937B-D2978ACD22C6}"/>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77"/>
              </a:ext>
            </a:extLst>
          </a:blip>
          <a:stretch>
            <a:fillRect/>
          </a:stretch>
        </p:blipFill>
        <p:spPr>
          <a:xfrm>
            <a:off x="815952" y="191826"/>
            <a:ext cx="346098" cy="346098"/>
          </a:xfrm>
          <a:prstGeom prst="rect">
            <a:avLst/>
          </a:prstGeom>
        </p:spPr>
      </p:pic>
      <p:sp>
        <p:nvSpPr>
          <p:cNvPr id="2" name="Foliennummernplatzhalter 1">
            <a:extLst>
              <a:ext uri="{FF2B5EF4-FFF2-40B4-BE49-F238E27FC236}">
                <a16:creationId xmlns:a16="http://schemas.microsoft.com/office/drawing/2014/main" id="{6C03392C-E7E7-46C6-BA25-36FA3C9A28B9}"/>
              </a:ext>
            </a:extLst>
          </p:cNvPr>
          <p:cNvSpPr>
            <a:spLocks noGrp="1"/>
          </p:cNvSpPr>
          <p:nvPr>
            <p:ph type="sldNum" sz="quarter" idx="4"/>
          </p:nvPr>
        </p:nvSpPr>
        <p:spPr>
          <a:xfrm>
            <a:off x="10401111" y="172800"/>
            <a:ext cx="974936" cy="365125"/>
          </a:xfrm>
          <a:prstGeom prst="rect">
            <a:avLst/>
          </a:prstGeom>
        </p:spPr>
        <p:txBody>
          <a:bodyPr vert="horz" lIns="91440" tIns="45720" rIns="0" bIns="45720" rtlCol="0" anchor="ctr"/>
          <a:lstStyle>
            <a:lvl1pPr algn="r">
              <a:defRPr sz="1000" spc="170" baseline="0">
                <a:solidFill>
                  <a:schemeClr val="accent3"/>
                </a:solidFill>
                <a:latin typeface="Roboto Bold" panose="02000000000000000000" pitchFamily="2" charset="0"/>
                <a:ea typeface="Roboto Bold" panose="02000000000000000000" pitchFamily="2" charset="0"/>
              </a:defRPr>
            </a:lvl1pPr>
          </a:lstStyle>
          <a:p>
            <a:fld id="{A04BEB4F-8CE1-4F18-986F-6CE0A0BE9470}" type="slidenum">
              <a:rPr lang="de-DE" smtClean="0"/>
              <a:t>‹#›</a:t>
            </a:fld>
            <a:endParaRPr lang="de-DE"/>
          </a:p>
        </p:txBody>
      </p:sp>
    </p:spTree>
    <p:extLst>
      <p:ext uri="{BB962C8B-B14F-4D97-AF65-F5344CB8AC3E}">
        <p14:creationId xmlns:p14="http://schemas.microsoft.com/office/powerpoint/2010/main" val="1943555535"/>
      </p:ext>
    </p:extLst>
  </p:cSld>
  <p:clrMap bg1="lt1" tx1="dk1" bg2="lt2" tx2="dk2" accent1="accent1" accent2="accent2" accent3="accent3" accent4="accent4" accent5="accent5" accent6="accent6" hlink="hlink" folHlink="folHlink"/>
  <p:sldLayoutIdLst>
    <p:sldLayoutId id="2147484039" r:id="rId1"/>
    <p:sldLayoutId id="2147484040" r:id="rId2"/>
    <p:sldLayoutId id="2147484041" r:id="rId3"/>
    <p:sldLayoutId id="2147484042" r:id="rId4"/>
    <p:sldLayoutId id="2147484043" r:id="rId5"/>
    <p:sldLayoutId id="2147484044" r:id="rId6"/>
    <p:sldLayoutId id="2147484045" r:id="rId7"/>
    <p:sldLayoutId id="2147484046" r:id="rId8"/>
    <p:sldLayoutId id="2147484047" r:id="rId9"/>
    <p:sldLayoutId id="2147484048" r:id="rId10"/>
    <p:sldLayoutId id="2147484049" r:id="rId11"/>
    <p:sldLayoutId id="2147484050" r:id="rId12"/>
    <p:sldLayoutId id="2147484051" r:id="rId13"/>
    <p:sldLayoutId id="2147484052" r:id="rId14"/>
    <p:sldLayoutId id="2147484053" r:id="rId15"/>
    <p:sldLayoutId id="2147484054" r:id="rId16"/>
    <p:sldLayoutId id="2147484055" r:id="rId17"/>
    <p:sldLayoutId id="2147484056" r:id="rId18"/>
    <p:sldLayoutId id="2147484057" r:id="rId19"/>
    <p:sldLayoutId id="2147484058" r:id="rId20"/>
    <p:sldLayoutId id="2147484059" r:id="rId21"/>
    <p:sldLayoutId id="2147484060" r:id="rId22"/>
    <p:sldLayoutId id="2147484061" r:id="rId23"/>
    <p:sldLayoutId id="2147484062" r:id="rId24"/>
    <p:sldLayoutId id="2147484063" r:id="rId25"/>
    <p:sldLayoutId id="2147484064" r:id="rId26"/>
    <p:sldLayoutId id="2147484065" r:id="rId27"/>
    <p:sldLayoutId id="2147484066" r:id="rId28"/>
    <p:sldLayoutId id="2147484067" r:id="rId29"/>
    <p:sldLayoutId id="2147484068" r:id="rId30"/>
    <p:sldLayoutId id="2147484069" r:id="rId31"/>
    <p:sldLayoutId id="2147484070" r:id="rId32"/>
    <p:sldLayoutId id="2147484071" r:id="rId33"/>
    <p:sldLayoutId id="2147484072" r:id="rId34"/>
    <p:sldLayoutId id="2147484073" r:id="rId35"/>
    <p:sldLayoutId id="2147484074" r:id="rId36"/>
    <p:sldLayoutId id="2147484075" r:id="rId37"/>
    <p:sldLayoutId id="2147484076" r:id="rId38"/>
    <p:sldLayoutId id="2147484077" r:id="rId39"/>
    <p:sldLayoutId id="2147484078" r:id="rId40"/>
    <p:sldLayoutId id="2147484079" r:id="rId41"/>
    <p:sldLayoutId id="2147484080" r:id="rId42"/>
    <p:sldLayoutId id="2147484081" r:id="rId43"/>
    <p:sldLayoutId id="2147484082" r:id="rId44"/>
    <p:sldLayoutId id="2147484083" r:id="rId45"/>
    <p:sldLayoutId id="2147484084" r:id="rId46"/>
    <p:sldLayoutId id="2147484085" r:id="rId47"/>
    <p:sldLayoutId id="2147484086" r:id="rId48"/>
    <p:sldLayoutId id="2147484087" r:id="rId49"/>
    <p:sldLayoutId id="2147484088" r:id="rId50"/>
    <p:sldLayoutId id="2147484089" r:id="rId51"/>
    <p:sldLayoutId id="2147484090" r:id="rId52"/>
    <p:sldLayoutId id="2147484091" r:id="rId53"/>
    <p:sldLayoutId id="2147484092" r:id="rId54"/>
    <p:sldLayoutId id="2147484093" r:id="rId55"/>
    <p:sldLayoutId id="2147484094" r:id="rId56"/>
    <p:sldLayoutId id="2147484095" r:id="rId57"/>
    <p:sldLayoutId id="2147484096" r:id="rId58"/>
    <p:sldLayoutId id="2147484097" r:id="rId59"/>
    <p:sldLayoutId id="2147484098" r:id="rId60"/>
    <p:sldLayoutId id="2147484099" r:id="rId61"/>
    <p:sldLayoutId id="2147484100" r:id="rId62"/>
    <p:sldLayoutId id="2147484101" r:id="rId63"/>
    <p:sldLayoutId id="2147484102" r:id="rId64"/>
    <p:sldLayoutId id="2147484103" r:id="rId65"/>
    <p:sldLayoutId id="2147484104" r:id="rId66"/>
    <p:sldLayoutId id="2147484105" r:id="rId67"/>
    <p:sldLayoutId id="2147484106" r:id="rId68"/>
    <p:sldLayoutId id="2147484107" r:id="rId69"/>
    <p:sldLayoutId id="2147484108" r:id="rId70"/>
    <p:sldLayoutId id="2147484109" r:id="rId71"/>
    <p:sldLayoutId id="2147484110" r:id="rId72"/>
    <p:sldLayoutId id="2147484111" r:id="rId73"/>
    <p:sldLayoutId id="2147484112" r:id="rId74"/>
    <p:sldLayoutId id="2147484113" r:id="rId75"/>
  </p:sldLayoutIdLst>
  <p:transition/>
  <p:hf hdr="0" ftr="0" dt="0"/>
  <p:txStyles>
    <p:titleStyle>
      <a:lvl1pPr algn="l" defTabSz="914400" rtl="0" eaLnBrk="1" latinLnBrk="0" hangingPunct="1">
        <a:lnSpc>
          <a:spcPct val="100000"/>
        </a:lnSpc>
        <a:spcBef>
          <a:spcPct val="0"/>
        </a:spcBef>
        <a:buNone/>
        <a:defRPr sz="2800" kern="1200">
          <a:solidFill>
            <a:schemeClr val="tx2"/>
          </a:solidFill>
          <a:latin typeface="+mj-lt"/>
          <a:ea typeface="+mj-ea"/>
          <a:cs typeface="+mj-cs"/>
        </a:defRPr>
      </a:lvl1pPr>
    </p:titleStyle>
    <p:bodyStyle>
      <a:lvl1pPr marL="266700" marR="0" indent="-266700" algn="l" defTabSz="1644650" rtl="0" eaLnBrk="0" fontAlgn="base" latinLnBrk="0" hangingPunct="0">
        <a:lnSpc>
          <a:spcPct val="130000"/>
        </a:lnSpc>
        <a:spcBef>
          <a:spcPct val="0"/>
        </a:spcBef>
        <a:spcAft>
          <a:spcPts val="1200"/>
        </a:spcAft>
        <a:buClr>
          <a:srgbClr val="004C99"/>
        </a:buClr>
        <a:buSzPct val="120000"/>
        <a:buFontTx/>
        <a:buBlip>
          <a:blip r:embed="rId78"/>
        </a:buBlip>
        <a:defRPr sz="1800" kern="1200">
          <a:solidFill>
            <a:schemeClr val="tx1"/>
          </a:solidFill>
          <a:latin typeface="+mn-lt"/>
          <a:ea typeface="+mn-ea"/>
          <a:cs typeface="+mn-cs"/>
        </a:defRPr>
      </a:lvl1pPr>
      <a:lvl2pPr marL="630238" marR="0" indent="-268288" algn="l" defTabSz="1644650" rtl="0" eaLnBrk="0" fontAlgn="base" latinLnBrk="0" hangingPunct="0">
        <a:lnSpc>
          <a:spcPct val="130000"/>
        </a:lnSpc>
        <a:spcBef>
          <a:spcPct val="0"/>
        </a:spcBef>
        <a:spcAft>
          <a:spcPts val="1200"/>
        </a:spcAft>
        <a:buClr>
          <a:srgbClr val="004C99"/>
        </a:buClr>
        <a:buSzPct val="120000"/>
        <a:buFontTx/>
        <a:buBlip>
          <a:blip r:embed="rId78"/>
        </a:buBlip>
        <a:defRPr sz="1800" kern="1200">
          <a:solidFill>
            <a:schemeClr val="tx1"/>
          </a:solidFill>
          <a:latin typeface="+mn-lt"/>
          <a:ea typeface="+mn-ea"/>
          <a:cs typeface="+mn-cs"/>
        </a:defRPr>
      </a:lvl2pPr>
      <a:lvl3pPr marL="990600" marR="0" indent="-274638" algn="l" defTabSz="1644650" rtl="0" eaLnBrk="0" fontAlgn="base" latinLnBrk="0" hangingPunct="0">
        <a:lnSpc>
          <a:spcPct val="130000"/>
        </a:lnSpc>
        <a:spcBef>
          <a:spcPct val="0"/>
        </a:spcBef>
        <a:spcAft>
          <a:spcPts val="1200"/>
        </a:spcAft>
        <a:buClr>
          <a:srgbClr val="004C99"/>
        </a:buClr>
        <a:buSzPct val="120000"/>
        <a:buFontTx/>
        <a:buBlip>
          <a:blip r:embed="rId78"/>
        </a:buBlip>
        <a:defRPr sz="1800" kern="1200">
          <a:solidFill>
            <a:schemeClr val="tx1"/>
          </a:solidFill>
          <a:latin typeface="+mn-lt"/>
          <a:ea typeface="+mn-ea"/>
          <a:cs typeface="+mn-cs"/>
        </a:defRPr>
      </a:lvl3pPr>
      <a:lvl4pPr marL="1343025" marR="0" indent="-263525" algn="l" defTabSz="1644650" rtl="0" eaLnBrk="0" fontAlgn="base" latinLnBrk="0" hangingPunct="0">
        <a:lnSpc>
          <a:spcPct val="130000"/>
        </a:lnSpc>
        <a:spcBef>
          <a:spcPct val="0"/>
        </a:spcBef>
        <a:spcAft>
          <a:spcPts val="1200"/>
        </a:spcAft>
        <a:buClr>
          <a:srgbClr val="004C99"/>
        </a:buClr>
        <a:buSzPct val="120000"/>
        <a:buFontTx/>
        <a:buBlip>
          <a:blip r:embed="rId78"/>
        </a:buBlip>
        <a:defRPr sz="1800" kern="1200">
          <a:solidFill>
            <a:schemeClr val="tx1"/>
          </a:solidFill>
          <a:latin typeface="+mn-lt"/>
          <a:ea typeface="+mn-ea"/>
          <a:cs typeface="+mn-cs"/>
        </a:defRPr>
      </a:lvl4pPr>
      <a:lvl5pPr marL="1704975" marR="0" indent="-271463" algn="l" defTabSz="1644650" rtl="0" eaLnBrk="0" fontAlgn="base" latinLnBrk="0" hangingPunct="0">
        <a:lnSpc>
          <a:spcPct val="130000"/>
        </a:lnSpc>
        <a:spcBef>
          <a:spcPct val="0"/>
        </a:spcBef>
        <a:spcAft>
          <a:spcPts val="1200"/>
        </a:spcAft>
        <a:buClr>
          <a:srgbClr val="004C99"/>
        </a:buClr>
        <a:buSzPct val="120000"/>
        <a:buFontTx/>
        <a:buBlip>
          <a:blip r:embed="rId78"/>
        </a:buBlip>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59">
          <p15:clr>
            <a:srgbClr val="F26B43"/>
          </p15:clr>
        </p15:guide>
        <p15:guide id="2" pos="512">
          <p15:clr>
            <a:srgbClr val="F26B43"/>
          </p15:clr>
        </p15:guide>
        <p15:guide id="3" orient="horz" pos="3980">
          <p15:clr>
            <a:srgbClr val="F26B43"/>
          </p15:clr>
        </p15:guide>
        <p15:guide id="4" pos="716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1" name="Textplatzhalter 40">
            <a:extLst>
              <a:ext uri="{FF2B5EF4-FFF2-40B4-BE49-F238E27FC236}">
                <a16:creationId xmlns:a16="http://schemas.microsoft.com/office/drawing/2014/main" id="{EA8228AA-A524-4AE7-8E4D-D36908A9A497}"/>
              </a:ext>
            </a:extLst>
          </p:cNvPr>
          <p:cNvSpPr>
            <a:spLocks noGrp="1"/>
          </p:cNvSpPr>
          <p:nvPr>
            <p:ph type="body" idx="1"/>
          </p:nvPr>
        </p:nvSpPr>
        <p:spPr>
          <a:xfrm>
            <a:off x="815950" y="1979610"/>
            <a:ext cx="10560096" cy="4338639"/>
          </a:xfrm>
          <a:prstGeom prst="rect">
            <a:avLst/>
          </a:prstGeom>
        </p:spPr>
        <p:txBody>
          <a:bodyPr vert="horz" lIns="0" tIns="0" rIns="0" bIns="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34" name="Titelplatzhalter 1">
            <a:extLst>
              <a:ext uri="{FF2B5EF4-FFF2-40B4-BE49-F238E27FC236}">
                <a16:creationId xmlns:a16="http://schemas.microsoft.com/office/drawing/2014/main" id="{0A882561-50E2-420E-9F73-FBFE4947D747}"/>
              </a:ext>
            </a:extLst>
          </p:cNvPr>
          <p:cNvSpPr>
            <a:spLocks noGrp="1"/>
          </p:cNvSpPr>
          <p:nvPr>
            <p:ph type="title"/>
          </p:nvPr>
        </p:nvSpPr>
        <p:spPr bwMode="auto">
          <a:xfrm>
            <a:off x="815952" y="733402"/>
            <a:ext cx="10560096" cy="767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normAutofit/>
          </a:bodyPr>
          <a:lstStyle/>
          <a:p>
            <a:pPr lvl="0"/>
            <a:r>
              <a:rPr lang="de-DE" altLang="de-DE"/>
              <a:t>Titelmasterformat durch Klicken bearbeiten</a:t>
            </a:r>
          </a:p>
        </p:txBody>
      </p:sp>
      <p:sp>
        <p:nvSpPr>
          <p:cNvPr id="2" name="Foliennummernplatzhalter 1">
            <a:extLst>
              <a:ext uri="{FF2B5EF4-FFF2-40B4-BE49-F238E27FC236}">
                <a16:creationId xmlns:a16="http://schemas.microsoft.com/office/drawing/2014/main" id="{6C03392C-E7E7-46C6-BA25-36FA3C9A28B9}"/>
              </a:ext>
            </a:extLst>
          </p:cNvPr>
          <p:cNvSpPr>
            <a:spLocks noGrp="1"/>
          </p:cNvSpPr>
          <p:nvPr>
            <p:ph type="sldNum" sz="quarter" idx="4"/>
          </p:nvPr>
        </p:nvSpPr>
        <p:spPr>
          <a:xfrm>
            <a:off x="10401111" y="172800"/>
            <a:ext cx="974936" cy="365125"/>
          </a:xfrm>
          <a:prstGeom prst="rect">
            <a:avLst/>
          </a:prstGeom>
        </p:spPr>
        <p:txBody>
          <a:bodyPr vert="horz" lIns="91440" tIns="45720" rIns="0" bIns="45720" rtlCol="0" anchor="ctr"/>
          <a:lstStyle>
            <a:lvl1pPr algn="r">
              <a:defRPr sz="1000" spc="170" baseline="0">
                <a:solidFill>
                  <a:schemeClr val="accent3"/>
                </a:solidFill>
                <a:latin typeface="Roboto Bold" panose="02000000000000000000" pitchFamily="2" charset="0"/>
                <a:ea typeface="Roboto Bold" panose="02000000000000000000" pitchFamily="2" charset="0"/>
              </a:defRPr>
            </a:lvl1pPr>
          </a:lstStyle>
          <a:p>
            <a:fld id="{A04BEB4F-8CE1-4F18-986F-6CE0A0BE9470}" type="slidenum">
              <a:rPr lang="de-DE" smtClean="0"/>
              <a:t>‹#›</a:t>
            </a:fld>
            <a:endParaRPr lang="de-DE"/>
          </a:p>
        </p:txBody>
      </p:sp>
      <p:pic>
        <p:nvPicPr>
          <p:cNvPr id="6" name="תמונה 5">
            <a:extLst>
              <a:ext uri="{FF2B5EF4-FFF2-40B4-BE49-F238E27FC236}">
                <a16:creationId xmlns:a16="http://schemas.microsoft.com/office/drawing/2014/main" id="{EE27FAE8-6A97-4061-A67E-0F7233481AF1}"/>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a:stretch/>
        </p:blipFill>
        <p:spPr>
          <a:xfrm>
            <a:off x="815950" y="115503"/>
            <a:ext cx="469656" cy="479717"/>
          </a:xfrm>
          <a:prstGeom prst="rect">
            <a:avLst/>
          </a:prstGeom>
        </p:spPr>
      </p:pic>
    </p:spTree>
    <p:extLst>
      <p:ext uri="{BB962C8B-B14F-4D97-AF65-F5344CB8AC3E}">
        <p14:creationId xmlns:p14="http://schemas.microsoft.com/office/powerpoint/2010/main" val="3441133026"/>
      </p:ext>
    </p:extLst>
  </p:cSld>
  <p:clrMap bg1="lt1" tx1="dk1" bg2="lt2" tx2="dk2" accent1="accent1" accent2="accent2" accent3="accent3" accent4="accent4" accent5="accent5" accent6="accent6" hlink="hlink" folHlink="folHlink"/>
  <p:sldLayoutIdLst>
    <p:sldLayoutId id="2147483757" r:id="rId1"/>
    <p:sldLayoutId id="2147483756" r:id="rId2"/>
    <p:sldLayoutId id="2147483763" r:id="rId3"/>
    <p:sldLayoutId id="2147483770" r:id="rId4"/>
  </p:sldLayoutIdLst>
  <p:transition/>
  <p:hf hdr="0" ftr="0" dt="0"/>
  <p:txStyles>
    <p:titleStyle>
      <a:lvl1pPr algn="l" defTabSz="914400" rtl="0" eaLnBrk="1" latinLnBrk="0" hangingPunct="1">
        <a:lnSpc>
          <a:spcPct val="100000"/>
        </a:lnSpc>
        <a:spcBef>
          <a:spcPct val="0"/>
        </a:spcBef>
        <a:buNone/>
        <a:defRPr sz="2800" kern="1200">
          <a:solidFill>
            <a:schemeClr val="tx2"/>
          </a:solidFill>
          <a:latin typeface="+mj-lt"/>
          <a:ea typeface="+mj-ea"/>
          <a:cs typeface="+mj-cs"/>
        </a:defRPr>
      </a:lvl1pPr>
    </p:titleStyle>
    <p:bodyStyle>
      <a:lvl1pPr marL="266700" marR="0" indent="-266700" algn="l" defTabSz="1644650" rtl="0" eaLnBrk="0" fontAlgn="base" latinLnBrk="0" hangingPunct="0">
        <a:lnSpc>
          <a:spcPct val="130000"/>
        </a:lnSpc>
        <a:spcBef>
          <a:spcPct val="0"/>
        </a:spcBef>
        <a:spcAft>
          <a:spcPts val="1200"/>
        </a:spcAft>
        <a:buClr>
          <a:srgbClr val="004C99"/>
        </a:buClr>
        <a:buSzPct val="120000"/>
        <a:buFontTx/>
        <a:buBlip>
          <a:blip r:embed="rId7"/>
        </a:buBlip>
        <a:defRPr sz="1800" kern="1200">
          <a:solidFill>
            <a:schemeClr val="tx1"/>
          </a:solidFill>
          <a:latin typeface="+mn-lt"/>
          <a:ea typeface="+mn-ea"/>
          <a:cs typeface="+mn-cs"/>
        </a:defRPr>
      </a:lvl1pPr>
      <a:lvl2pPr marL="630238" marR="0" indent="-268288" algn="l" defTabSz="1644650" rtl="0" eaLnBrk="0" fontAlgn="base" latinLnBrk="0" hangingPunct="0">
        <a:lnSpc>
          <a:spcPct val="130000"/>
        </a:lnSpc>
        <a:spcBef>
          <a:spcPct val="0"/>
        </a:spcBef>
        <a:spcAft>
          <a:spcPts val="1200"/>
        </a:spcAft>
        <a:buClr>
          <a:srgbClr val="004C99"/>
        </a:buClr>
        <a:buSzPct val="120000"/>
        <a:buFontTx/>
        <a:buBlip>
          <a:blip r:embed="rId7"/>
        </a:buBlip>
        <a:defRPr sz="1800" kern="1200">
          <a:solidFill>
            <a:schemeClr val="tx1"/>
          </a:solidFill>
          <a:latin typeface="+mn-lt"/>
          <a:ea typeface="+mn-ea"/>
          <a:cs typeface="+mn-cs"/>
        </a:defRPr>
      </a:lvl2pPr>
      <a:lvl3pPr marL="990600" marR="0" indent="-274638" algn="l" defTabSz="1644650" rtl="0" eaLnBrk="0" fontAlgn="base" latinLnBrk="0" hangingPunct="0">
        <a:lnSpc>
          <a:spcPct val="130000"/>
        </a:lnSpc>
        <a:spcBef>
          <a:spcPct val="0"/>
        </a:spcBef>
        <a:spcAft>
          <a:spcPts val="1200"/>
        </a:spcAft>
        <a:buClr>
          <a:srgbClr val="004C99"/>
        </a:buClr>
        <a:buSzPct val="120000"/>
        <a:buFontTx/>
        <a:buBlip>
          <a:blip r:embed="rId7"/>
        </a:buBlip>
        <a:defRPr sz="1800" kern="1200">
          <a:solidFill>
            <a:schemeClr val="tx1"/>
          </a:solidFill>
          <a:latin typeface="+mn-lt"/>
          <a:ea typeface="+mn-ea"/>
          <a:cs typeface="+mn-cs"/>
        </a:defRPr>
      </a:lvl3pPr>
      <a:lvl4pPr marL="1343025" marR="0" indent="-263525" algn="l" defTabSz="1644650" rtl="0" eaLnBrk="0" fontAlgn="base" latinLnBrk="0" hangingPunct="0">
        <a:lnSpc>
          <a:spcPct val="130000"/>
        </a:lnSpc>
        <a:spcBef>
          <a:spcPct val="0"/>
        </a:spcBef>
        <a:spcAft>
          <a:spcPts val="1200"/>
        </a:spcAft>
        <a:buClr>
          <a:srgbClr val="004C99"/>
        </a:buClr>
        <a:buSzPct val="120000"/>
        <a:buFontTx/>
        <a:buBlip>
          <a:blip r:embed="rId7"/>
        </a:buBlip>
        <a:defRPr sz="1800" kern="1200">
          <a:solidFill>
            <a:schemeClr val="tx1"/>
          </a:solidFill>
          <a:latin typeface="+mn-lt"/>
          <a:ea typeface="+mn-ea"/>
          <a:cs typeface="+mn-cs"/>
        </a:defRPr>
      </a:lvl4pPr>
      <a:lvl5pPr marL="1704975" marR="0" indent="-271463" algn="l" defTabSz="1644650" rtl="0" eaLnBrk="0" fontAlgn="base" latinLnBrk="0" hangingPunct="0">
        <a:lnSpc>
          <a:spcPct val="130000"/>
        </a:lnSpc>
        <a:spcBef>
          <a:spcPct val="0"/>
        </a:spcBef>
        <a:spcAft>
          <a:spcPts val="1200"/>
        </a:spcAft>
        <a:buClr>
          <a:srgbClr val="004C99"/>
        </a:buClr>
        <a:buSzPct val="120000"/>
        <a:buFontTx/>
        <a:buBlip>
          <a:blip r:embed="rId7"/>
        </a:buBlip>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59" userDrawn="1">
          <p15:clr>
            <a:srgbClr val="F26B43"/>
          </p15:clr>
        </p15:guide>
        <p15:guide id="2" pos="512" userDrawn="1">
          <p15:clr>
            <a:srgbClr val="F26B43"/>
          </p15:clr>
        </p15:guide>
        <p15:guide id="3" orient="horz" pos="3980" userDrawn="1">
          <p15:clr>
            <a:srgbClr val="F26B43"/>
          </p15:clr>
        </p15:guide>
        <p15:guide id="4" pos="7168"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1" name="Textplatzhalter 40">
            <a:extLst>
              <a:ext uri="{FF2B5EF4-FFF2-40B4-BE49-F238E27FC236}">
                <a16:creationId xmlns:a16="http://schemas.microsoft.com/office/drawing/2014/main" id="{EA8228AA-A524-4AE7-8E4D-D36908A9A497}"/>
              </a:ext>
            </a:extLst>
          </p:cNvPr>
          <p:cNvSpPr>
            <a:spLocks noGrp="1"/>
          </p:cNvSpPr>
          <p:nvPr>
            <p:ph type="body" idx="1"/>
          </p:nvPr>
        </p:nvSpPr>
        <p:spPr>
          <a:xfrm>
            <a:off x="815950" y="1979610"/>
            <a:ext cx="10560096" cy="4338639"/>
          </a:xfrm>
          <a:prstGeom prst="rect">
            <a:avLst/>
          </a:prstGeom>
        </p:spPr>
        <p:txBody>
          <a:bodyPr vert="horz" lIns="0" tIns="0" rIns="0" bIns="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34" name="Titelplatzhalter 1">
            <a:extLst>
              <a:ext uri="{FF2B5EF4-FFF2-40B4-BE49-F238E27FC236}">
                <a16:creationId xmlns:a16="http://schemas.microsoft.com/office/drawing/2014/main" id="{0A882561-50E2-420E-9F73-FBFE4947D747}"/>
              </a:ext>
            </a:extLst>
          </p:cNvPr>
          <p:cNvSpPr>
            <a:spLocks noGrp="1"/>
          </p:cNvSpPr>
          <p:nvPr>
            <p:ph type="title"/>
          </p:nvPr>
        </p:nvSpPr>
        <p:spPr bwMode="auto">
          <a:xfrm>
            <a:off x="815952" y="733402"/>
            <a:ext cx="10560096" cy="767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normAutofit/>
          </a:bodyPr>
          <a:lstStyle/>
          <a:p>
            <a:pPr lvl="0"/>
            <a:r>
              <a:rPr lang="de-DE" altLang="de-DE"/>
              <a:t>Titelmasterformat durch Klicken bearbeiten</a:t>
            </a:r>
          </a:p>
        </p:txBody>
      </p:sp>
      <p:sp>
        <p:nvSpPr>
          <p:cNvPr id="2" name="Foliennummernplatzhalter 1">
            <a:extLst>
              <a:ext uri="{FF2B5EF4-FFF2-40B4-BE49-F238E27FC236}">
                <a16:creationId xmlns:a16="http://schemas.microsoft.com/office/drawing/2014/main" id="{6C03392C-E7E7-46C6-BA25-36FA3C9A28B9}"/>
              </a:ext>
            </a:extLst>
          </p:cNvPr>
          <p:cNvSpPr>
            <a:spLocks noGrp="1"/>
          </p:cNvSpPr>
          <p:nvPr>
            <p:ph type="sldNum" sz="quarter" idx="4"/>
          </p:nvPr>
        </p:nvSpPr>
        <p:spPr>
          <a:xfrm>
            <a:off x="10401111" y="172800"/>
            <a:ext cx="974936" cy="365125"/>
          </a:xfrm>
          <a:prstGeom prst="rect">
            <a:avLst/>
          </a:prstGeom>
        </p:spPr>
        <p:txBody>
          <a:bodyPr vert="horz" lIns="91440" tIns="45720" rIns="0" bIns="45720" rtlCol="0" anchor="ctr"/>
          <a:lstStyle>
            <a:lvl1pPr algn="r">
              <a:defRPr sz="1000" spc="170" baseline="0">
                <a:solidFill>
                  <a:schemeClr val="accent3"/>
                </a:solidFill>
                <a:latin typeface="Roboto Bold" panose="02000000000000000000" pitchFamily="2" charset="0"/>
                <a:ea typeface="Roboto Bold" panose="02000000000000000000" pitchFamily="2" charset="0"/>
              </a:defRPr>
            </a:lvl1pPr>
          </a:lstStyle>
          <a:p>
            <a:fld id="{A04BEB4F-8CE1-4F18-986F-6CE0A0BE9470}" type="slidenum">
              <a:rPr lang="de-DE" smtClean="0"/>
              <a:t>‹#›</a:t>
            </a:fld>
            <a:endParaRPr lang="de-DE"/>
          </a:p>
        </p:txBody>
      </p:sp>
      <p:pic>
        <p:nvPicPr>
          <p:cNvPr id="8" name="תמונה 7">
            <a:extLst>
              <a:ext uri="{FF2B5EF4-FFF2-40B4-BE49-F238E27FC236}">
                <a16:creationId xmlns:a16="http://schemas.microsoft.com/office/drawing/2014/main" id="{E95D1D60-D0A1-4D8C-8AA3-C7B40E0BD23C}"/>
              </a:ext>
            </a:extLst>
          </p:cNvPr>
          <p:cNvPicPr>
            <a:picLocks noChangeAspect="1"/>
          </p:cNvPicPr>
          <p:nvPr userDrawn="1"/>
        </p:nvPicPr>
        <p:blipFill rotWithShape="1">
          <a:blip r:embed="rId12" cstate="print">
            <a:extLst>
              <a:ext uri="{28A0092B-C50C-407E-A947-70E740481C1C}">
                <a14:useLocalDpi xmlns:a14="http://schemas.microsoft.com/office/drawing/2010/main" val="0"/>
              </a:ext>
            </a:extLst>
          </a:blip>
          <a:srcRect/>
          <a:stretch/>
        </p:blipFill>
        <p:spPr>
          <a:xfrm>
            <a:off x="573459" y="109134"/>
            <a:ext cx="484981" cy="492456"/>
          </a:xfrm>
          <a:prstGeom prst="rect">
            <a:avLst/>
          </a:prstGeom>
        </p:spPr>
      </p:pic>
    </p:spTree>
    <p:extLst>
      <p:ext uri="{BB962C8B-B14F-4D97-AF65-F5344CB8AC3E}">
        <p14:creationId xmlns:p14="http://schemas.microsoft.com/office/powerpoint/2010/main" val="1900254185"/>
      </p:ext>
    </p:extLst>
  </p:cSld>
  <p:clrMap bg1="lt1" tx1="dk1" bg2="lt2" tx2="dk2" accent1="accent1" accent2="accent2" accent3="accent3" accent4="accent4" accent5="accent5" accent6="accent6" hlink="hlink" folHlink="folHlink"/>
  <p:sldLayoutIdLst>
    <p:sldLayoutId id="2147483724" r:id="rId1"/>
    <p:sldLayoutId id="2147483725" r:id="rId2"/>
    <p:sldLayoutId id="2147483727" r:id="rId3"/>
    <p:sldLayoutId id="2147483726" r:id="rId4"/>
    <p:sldLayoutId id="2147483731" r:id="rId5"/>
    <p:sldLayoutId id="2147483732" r:id="rId6"/>
    <p:sldLayoutId id="2147483734" r:id="rId7"/>
    <p:sldLayoutId id="2147483735" r:id="rId8"/>
    <p:sldLayoutId id="2147483737" r:id="rId9"/>
    <p:sldLayoutId id="2147483738" r:id="rId10"/>
  </p:sldLayoutIdLst>
  <p:transition/>
  <p:hf hdr="0" ftr="0" dt="0"/>
  <p:txStyles>
    <p:titleStyle>
      <a:lvl1pPr algn="l" defTabSz="914400" rtl="0" eaLnBrk="1" latinLnBrk="0" hangingPunct="1">
        <a:lnSpc>
          <a:spcPct val="100000"/>
        </a:lnSpc>
        <a:spcBef>
          <a:spcPct val="0"/>
        </a:spcBef>
        <a:buNone/>
        <a:defRPr sz="2800" kern="1200">
          <a:solidFill>
            <a:schemeClr val="tx2"/>
          </a:solidFill>
          <a:latin typeface="+mj-lt"/>
          <a:ea typeface="+mj-ea"/>
          <a:cs typeface="+mj-cs"/>
        </a:defRPr>
      </a:lvl1pPr>
    </p:titleStyle>
    <p:bodyStyle>
      <a:lvl1pPr marL="266700" marR="0" indent="-266700" algn="l" defTabSz="1644650" rtl="0" eaLnBrk="0" fontAlgn="base" latinLnBrk="0" hangingPunct="0">
        <a:lnSpc>
          <a:spcPct val="130000"/>
        </a:lnSpc>
        <a:spcBef>
          <a:spcPct val="0"/>
        </a:spcBef>
        <a:spcAft>
          <a:spcPts val="1200"/>
        </a:spcAft>
        <a:buClr>
          <a:srgbClr val="004C99"/>
        </a:buClr>
        <a:buSzPct val="120000"/>
        <a:buFontTx/>
        <a:buBlip>
          <a:blip r:embed="rId13"/>
        </a:buBlip>
        <a:defRPr sz="1800" kern="1200">
          <a:solidFill>
            <a:schemeClr val="tx1"/>
          </a:solidFill>
          <a:latin typeface="+mn-lt"/>
          <a:ea typeface="+mn-ea"/>
          <a:cs typeface="+mn-cs"/>
        </a:defRPr>
      </a:lvl1pPr>
      <a:lvl2pPr marL="630238" marR="0" indent="-268288" algn="l" defTabSz="1644650" rtl="0" eaLnBrk="0" fontAlgn="base" latinLnBrk="0" hangingPunct="0">
        <a:lnSpc>
          <a:spcPct val="130000"/>
        </a:lnSpc>
        <a:spcBef>
          <a:spcPct val="0"/>
        </a:spcBef>
        <a:spcAft>
          <a:spcPts val="1200"/>
        </a:spcAft>
        <a:buClr>
          <a:srgbClr val="004C99"/>
        </a:buClr>
        <a:buSzPct val="120000"/>
        <a:buFontTx/>
        <a:buBlip>
          <a:blip r:embed="rId13"/>
        </a:buBlip>
        <a:defRPr sz="1800" kern="1200">
          <a:solidFill>
            <a:schemeClr val="tx1"/>
          </a:solidFill>
          <a:latin typeface="+mn-lt"/>
          <a:ea typeface="+mn-ea"/>
          <a:cs typeface="+mn-cs"/>
        </a:defRPr>
      </a:lvl2pPr>
      <a:lvl3pPr marL="990600" marR="0" indent="-274638" algn="l" defTabSz="1644650" rtl="0" eaLnBrk="0" fontAlgn="base" latinLnBrk="0" hangingPunct="0">
        <a:lnSpc>
          <a:spcPct val="130000"/>
        </a:lnSpc>
        <a:spcBef>
          <a:spcPct val="0"/>
        </a:spcBef>
        <a:spcAft>
          <a:spcPts val="1200"/>
        </a:spcAft>
        <a:buClr>
          <a:srgbClr val="004C99"/>
        </a:buClr>
        <a:buSzPct val="120000"/>
        <a:buFontTx/>
        <a:buBlip>
          <a:blip r:embed="rId13"/>
        </a:buBlip>
        <a:defRPr sz="1800" kern="1200">
          <a:solidFill>
            <a:schemeClr val="tx1"/>
          </a:solidFill>
          <a:latin typeface="+mn-lt"/>
          <a:ea typeface="+mn-ea"/>
          <a:cs typeface="+mn-cs"/>
        </a:defRPr>
      </a:lvl3pPr>
      <a:lvl4pPr marL="1343025" marR="0" indent="-263525" algn="l" defTabSz="1644650" rtl="0" eaLnBrk="0" fontAlgn="base" latinLnBrk="0" hangingPunct="0">
        <a:lnSpc>
          <a:spcPct val="130000"/>
        </a:lnSpc>
        <a:spcBef>
          <a:spcPct val="0"/>
        </a:spcBef>
        <a:spcAft>
          <a:spcPts val="1200"/>
        </a:spcAft>
        <a:buClr>
          <a:srgbClr val="004C99"/>
        </a:buClr>
        <a:buSzPct val="120000"/>
        <a:buFontTx/>
        <a:buBlip>
          <a:blip r:embed="rId13"/>
        </a:buBlip>
        <a:defRPr sz="1800" kern="1200">
          <a:solidFill>
            <a:schemeClr val="tx1"/>
          </a:solidFill>
          <a:latin typeface="+mn-lt"/>
          <a:ea typeface="+mn-ea"/>
          <a:cs typeface="+mn-cs"/>
        </a:defRPr>
      </a:lvl4pPr>
      <a:lvl5pPr marL="1704975" marR="0" indent="-271463" algn="l" defTabSz="1644650" rtl="0" eaLnBrk="0" fontAlgn="base" latinLnBrk="0" hangingPunct="0">
        <a:lnSpc>
          <a:spcPct val="130000"/>
        </a:lnSpc>
        <a:spcBef>
          <a:spcPct val="0"/>
        </a:spcBef>
        <a:spcAft>
          <a:spcPts val="1200"/>
        </a:spcAft>
        <a:buClr>
          <a:srgbClr val="004C99"/>
        </a:buClr>
        <a:buSzPct val="120000"/>
        <a:buFontTx/>
        <a:buBlip>
          <a:blip r:embed="rId13"/>
        </a:buBlip>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60" userDrawn="1">
          <p15:clr>
            <a:srgbClr val="F26B43"/>
          </p15:clr>
        </p15:guide>
        <p15:guide id="2" pos="512" userDrawn="1">
          <p15:clr>
            <a:srgbClr val="F26B43"/>
          </p15:clr>
        </p15:guide>
        <p15:guide id="3" orient="horz" pos="3980" userDrawn="1">
          <p15:clr>
            <a:srgbClr val="F26B43"/>
          </p15:clr>
        </p15:guide>
        <p15:guide id="4" pos="7168" userDrawn="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1" name="Textplatzhalter 40">
            <a:extLst>
              <a:ext uri="{FF2B5EF4-FFF2-40B4-BE49-F238E27FC236}">
                <a16:creationId xmlns:a16="http://schemas.microsoft.com/office/drawing/2014/main" id="{EA8228AA-A524-4AE7-8E4D-D36908A9A497}"/>
              </a:ext>
            </a:extLst>
          </p:cNvPr>
          <p:cNvSpPr>
            <a:spLocks noGrp="1"/>
          </p:cNvSpPr>
          <p:nvPr>
            <p:ph type="body" idx="1"/>
          </p:nvPr>
        </p:nvSpPr>
        <p:spPr>
          <a:xfrm>
            <a:off x="815950" y="1979610"/>
            <a:ext cx="10560096" cy="4338639"/>
          </a:xfrm>
          <a:prstGeom prst="rect">
            <a:avLst/>
          </a:prstGeom>
        </p:spPr>
        <p:txBody>
          <a:bodyPr vert="horz" lIns="0" tIns="0" rIns="0" bIns="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34" name="Titelplatzhalter 1">
            <a:extLst>
              <a:ext uri="{FF2B5EF4-FFF2-40B4-BE49-F238E27FC236}">
                <a16:creationId xmlns:a16="http://schemas.microsoft.com/office/drawing/2014/main" id="{0A882561-50E2-420E-9F73-FBFE4947D747}"/>
              </a:ext>
            </a:extLst>
          </p:cNvPr>
          <p:cNvSpPr>
            <a:spLocks noGrp="1"/>
          </p:cNvSpPr>
          <p:nvPr>
            <p:ph type="title"/>
          </p:nvPr>
        </p:nvSpPr>
        <p:spPr bwMode="auto">
          <a:xfrm>
            <a:off x="815952" y="733402"/>
            <a:ext cx="10560096" cy="767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normAutofit/>
          </a:bodyPr>
          <a:lstStyle/>
          <a:p>
            <a:pPr lvl="0"/>
            <a:r>
              <a:rPr lang="de-DE" altLang="de-DE"/>
              <a:t>Titelmasterformat durch Klicken bearbeiten</a:t>
            </a:r>
          </a:p>
        </p:txBody>
      </p:sp>
      <p:sp>
        <p:nvSpPr>
          <p:cNvPr id="2" name="Foliennummernplatzhalter 1">
            <a:extLst>
              <a:ext uri="{FF2B5EF4-FFF2-40B4-BE49-F238E27FC236}">
                <a16:creationId xmlns:a16="http://schemas.microsoft.com/office/drawing/2014/main" id="{6C03392C-E7E7-46C6-BA25-36FA3C9A28B9}"/>
              </a:ext>
            </a:extLst>
          </p:cNvPr>
          <p:cNvSpPr>
            <a:spLocks noGrp="1"/>
          </p:cNvSpPr>
          <p:nvPr>
            <p:ph type="sldNum" sz="quarter" idx="4"/>
          </p:nvPr>
        </p:nvSpPr>
        <p:spPr>
          <a:xfrm>
            <a:off x="10839449" y="172800"/>
            <a:ext cx="536597" cy="365125"/>
          </a:xfrm>
          <a:prstGeom prst="rect">
            <a:avLst/>
          </a:prstGeom>
        </p:spPr>
        <p:txBody>
          <a:bodyPr vert="horz" lIns="91440" tIns="45720" rIns="0" bIns="45720" rtlCol="0" anchor="ctr"/>
          <a:lstStyle>
            <a:lvl1pPr algn="r">
              <a:defRPr sz="1000" spc="170" baseline="0">
                <a:solidFill>
                  <a:schemeClr val="accent3"/>
                </a:solidFill>
                <a:latin typeface="Roboto Bold" panose="02000000000000000000" pitchFamily="2" charset="0"/>
                <a:ea typeface="Roboto Bold" panose="02000000000000000000" pitchFamily="2" charset="0"/>
              </a:defRPr>
            </a:lvl1pPr>
          </a:lstStyle>
          <a:p>
            <a:fld id="{A04BEB4F-8CE1-4F18-986F-6CE0A0BE9470}" type="slidenum">
              <a:rPr lang="de-DE" smtClean="0"/>
              <a:t>‹#›</a:t>
            </a:fld>
            <a:endParaRPr lang="de-DE"/>
          </a:p>
        </p:txBody>
      </p:sp>
      <p:sp>
        <p:nvSpPr>
          <p:cNvPr id="3" name="Textfeld 2">
            <a:extLst>
              <a:ext uri="{FF2B5EF4-FFF2-40B4-BE49-F238E27FC236}">
                <a16:creationId xmlns:a16="http://schemas.microsoft.com/office/drawing/2014/main" id="{6A99A1BA-771F-4981-938F-296D73F8D87E}"/>
              </a:ext>
            </a:extLst>
          </p:cNvPr>
          <p:cNvSpPr txBox="1"/>
          <p:nvPr userDrawn="1"/>
        </p:nvSpPr>
        <p:spPr>
          <a:xfrm>
            <a:off x="1238250" y="243591"/>
            <a:ext cx="3184846" cy="246221"/>
          </a:xfrm>
          <a:prstGeom prst="rect">
            <a:avLst/>
          </a:prstGeom>
          <a:noFill/>
        </p:spPr>
        <p:txBody>
          <a:bodyPr wrap="none" rtlCol="0">
            <a:spAutoFit/>
          </a:bodyPr>
          <a:lstStyle/>
          <a:p>
            <a:pPr algn="l"/>
            <a:r>
              <a:rPr lang="de-DE" sz="1000" cap="all" spc="170" baseline="0">
                <a:solidFill>
                  <a:schemeClr val="accent3"/>
                </a:solidFill>
                <a:latin typeface="Roboto Bold" panose="02000000000000000000" pitchFamily="2" charset="0"/>
                <a:ea typeface="Roboto Bold" panose="02000000000000000000" pitchFamily="2" charset="0"/>
              </a:rPr>
              <a:t>THINKING AHEAD – Moving Forward</a:t>
            </a:r>
          </a:p>
        </p:txBody>
      </p:sp>
      <p:pic>
        <p:nvPicPr>
          <p:cNvPr id="7" name="Grafik 6">
            <a:extLst>
              <a:ext uri="{FF2B5EF4-FFF2-40B4-BE49-F238E27FC236}">
                <a16:creationId xmlns:a16="http://schemas.microsoft.com/office/drawing/2014/main" id="{CFEA0666-E52F-4F4B-8C14-4154384DBD11}"/>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815952" y="191826"/>
            <a:ext cx="346098" cy="346098"/>
          </a:xfrm>
          <a:prstGeom prst="rect">
            <a:avLst/>
          </a:prstGeom>
        </p:spPr>
      </p:pic>
    </p:spTree>
    <p:extLst>
      <p:ext uri="{BB962C8B-B14F-4D97-AF65-F5344CB8AC3E}">
        <p14:creationId xmlns:p14="http://schemas.microsoft.com/office/powerpoint/2010/main" val="442042594"/>
      </p:ext>
    </p:extLst>
  </p:cSld>
  <p:clrMap bg1="lt1" tx1="dk1" bg2="lt2" tx2="dk2" accent1="accent1" accent2="accent2" accent3="accent3" accent4="accent4" accent5="accent5" accent6="accent6" hlink="hlink" folHlink="folHlink"/>
  <p:sldLayoutIdLst>
    <p:sldLayoutId id="2147483765" r:id="rId1"/>
    <p:sldLayoutId id="2147483768" r:id="rId2"/>
    <p:sldLayoutId id="2147483767" r:id="rId3"/>
    <p:sldLayoutId id="2147483769" r:id="rId4"/>
  </p:sldLayoutIdLst>
  <p:transition/>
  <p:hf hdr="0" ftr="0" dt="0"/>
  <p:txStyles>
    <p:titleStyle>
      <a:lvl1pPr algn="l" defTabSz="914400" rtl="0" eaLnBrk="1" latinLnBrk="0" hangingPunct="1">
        <a:lnSpc>
          <a:spcPct val="100000"/>
        </a:lnSpc>
        <a:spcBef>
          <a:spcPct val="0"/>
        </a:spcBef>
        <a:buNone/>
        <a:defRPr sz="2800" kern="1200">
          <a:solidFill>
            <a:schemeClr val="tx2"/>
          </a:solidFill>
          <a:latin typeface="+mj-lt"/>
          <a:ea typeface="+mj-ea"/>
          <a:cs typeface="+mj-cs"/>
        </a:defRPr>
      </a:lvl1pPr>
    </p:titleStyle>
    <p:bodyStyle>
      <a:lvl1pPr marL="266700" marR="0" indent="-266700" algn="l" defTabSz="1644650" rtl="0" eaLnBrk="0" fontAlgn="base" latinLnBrk="0" hangingPunct="0">
        <a:lnSpc>
          <a:spcPct val="130000"/>
        </a:lnSpc>
        <a:spcBef>
          <a:spcPct val="0"/>
        </a:spcBef>
        <a:spcAft>
          <a:spcPts val="1200"/>
        </a:spcAft>
        <a:buClr>
          <a:srgbClr val="004C99"/>
        </a:buClr>
        <a:buSzPct val="120000"/>
        <a:buFontTx/>
        <a:buBlip>
          <a:blip r:embed="rId7"/>
        </a:buBlip>
        <a:defRPr sz="1800" kern="1200">
          <a:solidFill>
            <a:schemeClr val="tx1"/>
          </a:solidFill>
          <a:latin typeface="+mn-lt"/>
          <a:ea typeface="+mn-ea"/>
          <a:cs typeface="+mn-cs"/>
        </a:defRPr>
      </a:lvl1pPr>
      <a:lvl2pPr marL="630238" marR="0" indent="-268288" algn="l" defTabSz="1644650" rtl="0" eaLnBrk="0" fontAlgn="base" latinLnBrk="0" hangingPunct="0">
        <a:lnSpc>
          <a:spcPct val="130000"/>
        </a:lnSpc>
        <a:spcBef>
          <a:spcPct val="0"/>
        </a:spcBef>
        <a:spcAft>
          <a:spcPts val="1200"/>
        </a:spcAft>
        <a:buClr>
          <a:srgbClr val="004C99"/>
        </a:buClr>
        <a:buSzPct val="120000"/>
        <a:buFontTx/>
        <a:buBlip>
          <a:blip r:embed="rId7"/>
        </a:buBlip>
        <a:defRPr sz="1800" kern="1200">
          <a:solidFill>
            <a:schemeClr val="tx1"/>
          </a:solidFill>
          <a:latin typeface="+mn-lt"/>
          <a:ea typeface="+mn-ea"/>
          <a:cs typeface="+mn-cs"/>
        </a:defRPr>
      </a:lvl2pPr>
      <a:lvl3pPr marL="990600" marR="0" indent="-274638" algn="l" defTabSz="1644650" rtl="0" eaLnBrk="0" fontAlgn="base" latinLnBrk="0" hangingPunct="0">
        <a:lnSpc>
          <a:spcPct val="130000"/>
        </a:lnSpc>
        <a:spcBef>
          <a:spcPct val="0"/>
        </a:spcBef>
        <a:spcAft>
          <a:spcPts val="1200"/>
        </a:spcAft>
        <a:buClr>
          <a:srgbClr val="004C99"/>
        </a:buClr>
        <a:buSzPct val="120000"/>
        <a:buFontTx/>
        <a:buBlip>
          <a:blip r:embed="rId7"/>
        </a:buBlip>
        <a:defRPr sz="1800" kern="1200">
          <a:solidFill>
            <a:schemeClr val="tx1"/>
          </a:solidFill>
          <a:latin typeface="+mn-lt"/>
          <a:ea typeface="+mn-ea"/>
          <a:cs typeface="+mn-cs"/>
        </a:defRPr>
      </a:lvl3pPr>
      <a:lvl4pPr marL="1343025" marR="0" indent="-263525" algn="l" defTabSz="1644650" rtl="0" eaLnBrk="0" fontAlgn="base" latinLnBrk="0" hangingPunct="0">
        <a:lnSpc>
          <a:spcPct val="130000"/>
        </a:lnSpc>
        <a:spcBef>
          <a:spcPct val="0"/>
        </a:spcBef>
        <a:spcAft>
          <a:spcPts val="1200"/>
        </a:spcAft>
        <a:buClr>
          <a:srgbClr val="004C99"/>
        </a:buClr>
        <a:buSzPct val="120000"/>
        <a:buFontTx/>
        <a:buBlip>
          <a:blip r:embed="rId7"/>
        </a:buBlip>
        <a:defRPr sz="1800" kern="1200">
          <a:solidFill>
            <a:schemeClr val="tx1"/>
          </a:solidFill>
          <a:latin typeface="+mn-lt"/>
          <a:ea typeface="+mn-ea"/>
          <a:cs typeface="+mn-cs"/>
        </a:defRPr>
      </a:lvl4pPr>
      <a:lvl5pPr marL="1704975" marR="0" indent="-271463" algn="l" defTabSz="1644650" rtl="0" eaLnBrk="0" fontAlgn="base" latinLnBrk="0" hangingPunct="0">
        <a:lnSpc>
          <a:spcPct val="130000"/>
        </a:lnSpc>
        <a:spcBef>
          <a:spcPct val="0"/>
        </a:spcBef>
        <a:spcAft>
          <a:spcPts val="1200"/>
        </a:spcAft>
        <a:buClr>
          <a:srgbClr val="004C99"/>
        </a:buClr>
        <a:buSzPct val="120000"/>
        <a:buFontTx/>
        <a:buBlip>
          <a:blip r:embed="rId7"/>
        </a:buBlip>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60">
          <p15:clr>
            <a:srgbClr val="F26B43"/>
          </p15:clr>
        </p15:guide>
        <p15:guide id="2" pos="512">
          <p15:clr>
            <a:srgbClr val="F26B43"/>
          </p15:clr>
        </p15:guide>
        <p15:guide id="3" orient="horz" pos="3980">
          <p15:clr>
            <a:srgbClr val="F26B43"/>
          </p15:clr>
        </p15:guide>
        <p15:guide id="4" pos="7168">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1" name="Textplatzhalter 40">
            <a:extLst>
              <a:ext uri="{FF2B5EF4-FFF2-40B4-BE49-F238E27FC236}">
                <a16:creationId xmlns:a16="http://schemas.microsoft.com/office/drawing/2014/main" id="{EA8228AA-A524-4AE7-8E4D-D36908A9A497}"/>
              </a:ext>
            </a:extLst>
          </p:cNvPr>
          <p:cNvSpPr>
            <a:spLocks noGrp="1"/>
          </p:cNvSpPr>
          <p:nvPr>
            <p:ph type="body" idx="1"/>
          </p:nvPr>
        </p:nvSpPr>
        <p:spPr>
          <a:xfrm>
            <a:off x="815950" y="1979610"/>
            <a:ext cx="10560096" cy="4338639"/>
          </a:xfrm>
          <a:prstGeom prst="rect">
            <a:avLst/>
          </a:prstGeom>
        </p:spPr>
        <p:txBody>
          <a:bodyPr vert="horz" lIns="0" tIns="0" rIns="0" bIns="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34" name="Titelplatzhalter 1">
            <a:extLst>
              <a:ext uri="{FF2B5EF4-FFF2-40B4-BE49-F238E27FC236}">
                <a16:creationId xmlns:a16="http://schemas.microsoft.com/office/drawing/2014/main" id="{0A882561-50E2-420E-9F73-FBFE4947D747}"/>
              </a:ext>
            </a:extLst>
          </p:cNvPr>
          <p:cNvSpPr>
            <a:spLocks noGrp="1"/>
          </p:cNvSpPr>
          <p:nvPr>
            <p:ph type="title"/>
          </p:nvPr>
        </p:nvSpPr>
        <p:spPr bwMode="auto">
          <a:xfrm>
            <a:off x="815952" y="733402"/>
            <a:ext cx="10560096" cy="767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normAutofit/>
          </a:bodyPr>
          <a:lstStyle/>
          <a:p>
            <a:pPr lvl="0"/>
            <a:r>
              <a:rPr lang="de-DE" altLang="de-DE"/>
              <a:t>Titelmasterformat durch Klicken bearbeiten</a:t>
            </a:r>
          </a:p>
        </p:txBody>
      </p:sp>
      <p:sp>
        <p:nvSpPr>
          <p:cNvPr id="2" name="Foliennummernplatzhalter 1">
            <a:extLst>
              <a:ext uri="{FF2B5EF4-FFF2-40B4-BE49-F238E27FC236}">
                <a16:creationId xmlns:a16="http://schemas.microsoft.com/office/drawing/2014/main" id="{6C03392C-E7E7-46C6-BA25-36FA3C9A28B9}"/>
              </a:ext>
            </a:extLst>
          </p:cNvPr>
          <p:cNvSpPr>
            <a:spLocks noGrp="1"/>
          </p:cNvSpPr>
          <p:nvPr>
            <p:ph type="sldNum" sz="quarter" idx="4"/>
          </p:nvPr>
        </p:nvSpPr>
        <p:spPr>
          <a:xfrm>
            <a:off x="10401111" y="172800"/>
            <a:ext cx="974936" cy="365125"/>
          </a:xfrm>
          <a:prstGeom prst="rect">
            <a:avLst/>
          </a:prstGeom>
        </p:spPr>
        <p:txBody>
          <a:bodyPr vert="horz" lIns="91440" tIns="45720" rIns="0" bIns="45720" rtlCol="0" anchor="ctr"/>
          <a:lstStyle>
            <a:lvl1pPr algn="r">
              <a:defRPr sz="1000" spc="170" baseline="0">
                <a:solidFill>
                  <a:schemeClr val="accent3"/>
                </a:solidFill>
                <a:latin typeface="Roboto Bold" panose="02000000000000000000" pitchFamily="2" charset="0"/>
                <a:ea typeface="Roboto Bold" panose="02000000000000000000" pitchFamily="2" charset="0"/>
              </a:defRPr>
            </a:lvl1pPr>
          </a:lstStyle>
          <a:p>
            <a:fld id="{A04BEB4F-8CE1-4F18-986F-6CE0A0BE9470}" type="slidenum">
              <a:rPr lang="de-DE" smtClean="0"/>
              <a:t>‹#›</a:t>
            </a:fld>
            <a:endParaRPr lang="de-DE"/>
          </a:p>
        </p:txBody>
      </p:sp>
      <p:pic>
        <p:nvPicPr>
          <p:cNvPr id="6" name="תמונה 5">
            <a:extLst>
              <a:ext uri="{FF2B5EF4-FFF2-40B4-BE49-F238E27FC236}">
                <a16:creationId xmlns:a16="http://schemas.microsoft.com/office/drawing/2014/main" id="{961B82C7-B87F-446F-B96B-9FEA8888B165}"/>
              </a:ext>
            </a:extLst>
          </p:cNvPr>
          <p:cNvPicPr>
            <a:picLocks noChangeAspect="1"/>
          </p:cNvPicPr>
          <p:nvPr userDrawn="1"/>
        </p:nvPicPr>
        <p:blipFill rotWithShape="1">
          <a:blip r:embed="rId79" cstate="print">
            <a:extLst>
              <a:ext uri="{28A0092B-C50C-407E-A947-70E740481C1C}">
                <a14:useLocalDpi xmlns:a14="http://schemas.microsoft.com/office/drawing/2010/main" val="0"/>
              </a:ext>
            </a:extLst>
          </a:blip>
          <a:srcRect/>
          <a:stretch/>
        </p:blipFill>
        <p:spPr>
          <a:xfrm>
            <a:off x="1115089" y="369256"/>
            <a:ext cx="2111589" cy="142979"/>
          </a:xfrm>
          <a:prstGeom prst="rect">
            <a:avLst/>
          </a:prstGeom>
          <a:effectLst/>
        </p:spPr>
      </p:pic>
      <p:pic>
        <p:nvPicPr>
          <p:cNvPr id="8" name="תמונה 7">
            <a:extLst>
              <a:ext uri="{FF2B5EF4-FFF2-40B4-BE49-F238E27FC236}">
                <a16:creationId xmlns:a16="http://schemas.microsoft.com/office/drawing/2014/main" id="{5C6282E4-B5A5-4112-AADD-36932FB18267}"/>
              </a:ext>
            </a:extLst>
          </p:cNvPr>
          <p:cNvPicPr>
            <a:picLocks noChangeAspect="1"/>
          </p:cNvPicPr>
          <p:nvPr userDrawn="1"/>
        </p:nvPicPr>
        <p:blipFill rotWithShape="1">
          <a:blip r:embed="rId80" cstate="print">
            <a:extLst>
              <a:ext uri="{28A0092B-C50C-407E-A947-70E740481C1C}">
                <a14:useLocalDpi xmlns:a14="http://schemas.microsoft.com/office/drawing/2010/main" val="0"/>
              </a:ext>
            </a:extLst>
          </a:blip>
          <a:srcRect/>
          <a:stretch/>
        </p:blipFill>
        <p:spPr>
          <a:xfrm>
            <a:off x="658295" y="172800"/>
            <a:ext cx="383221" cy="392912"/>
          </a:xfrm>
          <a:prstGeom prst="rect">
            <a:avLst/>
          </a:prstGeom>
          <a:effectLst/>
        </p:spPr>
      </p:pic>
    </p:spTree>
    <p:extLst>
      <p:ext uri="{BB962C8B-B14F-4D97-AF65-F5344CB8AC3E}">
        <p14:creationId xmlns:p14="http://schemas.microsoft.com/office/powerpoint/2010/main" val="403535227"/>
      </p:ext>
    </p:extLst>
  </p:cSld>
  <p:clrMap bg1="lt1" tx1="dk1" bg2="lt2" tx2="dk2" accent1="accent1" accent2="accent2" accent3="accent3" accent4="accent4" accent5="accent5" accent6="accent6" hlink="hlink" folHlink="folHlink"/>
  <p:sldLayoutIdLst>
    <p:sldLayoutId id="2147483850" r:id="rId1"/>
    <p:sldLayoutId id="2147483851" r:id="rId2"/>
    <p:sldLayoutId id="2147483852" r:id="rId3"/>
    <p:sldLayoutId id="2147483853" r:id="rId4"/>
    <p:sldLayoutId id="2147483854" r:id="rId5"/>
    <p:sldLayoutId id="2147483855" r:id="rId6"/>
    <p:sldLayoutId id="2147483856" r:id="rId7"/>
    <p:sldLayoutId id="2147483857" r:id="rId8"/>
    <p:sldLayoutId id="2147483858" r:id="rId9"/>
    <p:sldLayoutId id="2147483859" r:id="rId10"/>
    <p:sldLayoutId id="2147483860" r:id="rId11"/>
    <p:sldLayoutId id="2147483861" r:id="rId12"/>
    <p:sldLayoutId id="2147483862" r:id="rId13"/>
    <p:sldLayoutId id="2147483863" r:id="rId14"/>
    <p:sldLayoutId id="2147483864" r:id="rId15"/>
    <p:sldLayoutId id="2147483865" r:id="rId16"/>
    <p:sldLayoutId id="2147483866" r:id="rId17"/>
    <p:sldLayoutId id="2147483867" r:id="rId18"/>
    <p:sldLayoutId id="2147483868" r:id="rId19"/>
    <p:sldLayoutId id="2147483869" r:id="rId20"/>
    <p:sldLayoutId id="2147483870" r:id="rId21"/>
    <p:sldLayoutId id="2147483871" r:id="rId22"/>
    <p:sldLayoutId id="2147483872" r:id="rId23"/>
    <p:sldLayoutId id="2147483873" r:id="rId24"/>
    <p:sldLayoutId id="2147483874" r:id="rId25"/>
    <p:sldLayoutId id="2147483875" r:id="rId26"/>
    <p:sldLayoutId id="2147483876" r:id="rId27"/>
    <p:sldLayoutId id="2147483877" r:id="rId28"/>
    <p:sldLayoutId id="2147483878" r:id="rId29"/>
    <p:sldLayoutId id="2147483879" r:id="rId30"/>
    <p:sldLayoutId id="2147483880" r:id="rId31"/>
    <p:sldLayoutId id="2147483881" r:id="rId32"/>
    <p:sldLayoutId id="2147483882" r:id="rId33"/>
    <p:sldLayoutId id="2147483883" r:id="rId34"/>
    <p:sldLayoutId id="2147483884" r:id="rId35"/>
    <p:sldLayoutId id="2147483885" r:id="rId36"/>
    <p:sldLayoutId id="2147483886" r:id="rId37"/>
    <p:sldLayoutId id="2147483887" r:id="rId38"/>
    <p:sldLayoutId id="2147483888" r:id="rId39"/>
    <p:sldLayoutId id="2147483889" r:id="rId40"/>
    <p:sldLayoutId id="2147483890" r:id="rId41"/>
    <p:sldLayoutId id="2147483891" r:id="rId42"/>
    <p:sldLayoutId id="2147483892" r:id="rId43"/>
    <p:sldLayoutId id="2147483893" r:id="rId44"/>
    <p:sldLayoutId id="2147483894" r:id="rId45"/>
    <p:sldLayoutId id="2147483895" r:id="rId46"/>
    <p:sldLayoutId id="2147483896" r:id="rId47"/>
    <p:sldLayoutId id="2147483897" r:id="rId48"/>
    <p:sldLayoutId id="2147483898" r:id="rId49"/>
    <p:sldLayoutId id="2147483899" r:id="rId50"/>
    <p:sldLayoutId id="2147483900" r:id="rId51"/>
    <p:sldLayoutId id="2147483901" r:id="rId52"/>
    <p:sldLayoutId id="2147483902" r:id="rId53"/>
    <p:sldLayoutId id="2147483903" r:id="rId54"/>
    <p:sldLayoutId id="2147483904" r:id="rId55"/>
    <p:sldLayoutId id="2147483905" r:id="rId56"/>
    <p:sldLayoutId id="2147483906" r:id="rId57"/>
    <p:sldLayoutId id="2147483907" r:id="rId58"/>
    <p:sldLayoutId id="2147483908" r:id="rId59"/>
    <p:sldLayoutId id="2147483909" r:id="rId60"/>
    <p:sldLayoutId id="2147483910" r:id="rId61"/>
    <p:sldLayoutId id="2147483911" r:id="rId62"/>
    <p:sldLayoutId id="2147483912" r:id="rId63"/>
    <p:sldLayoutId id="2147483913" r:id="rId64"/>
    <p:sldLayoutId id="2147483914" r:id="rId65"/>
    <p:sldLayoutId id="2147483915" r:id="rId66"/>
    <p:sldLayoutId id="2147483916" r:id="rId67"/>
    <p:sldLayoutId id="2147483917" r:id="rId68"/>
    <p:sldLayoutId id="2147483918" r:id="rId69"/>
    <p:sldLayoutId id="2147483919" r:id="rId70"/>
    <p:sldLayoutId id="2147483920" r:id="rId71"/>
    <p:sldLayoutId id="2147483921" r:id="rId72"/>
    <p:sldLayoutId id="2147483922" r:id="rId73"/>
    <p:sldLayoutId id="2147483923" r:id="rId74"/>
    <p:sldLayoutId id="2147483924" r:id="rId75"/>
    <p:sldLayoutId id="2147483925" r:id="rId76"/>
    <p:sldLayoutId id="2147483926" r:id="rId77"/>
  </p:sldLayoutIdLst>
  <p:transition/>
  <p:hf hdr="0" ftr="0" dt="0"/>
  <p:txStyles>
    <p:titleStyle>
      <a:lvl1pPr algn="l" defTabSz="914400" rtl="0" eaLnBrk="1" latinLnBrk="0" hangingPunct="1">
        <a:lnSpc>
          <a:spcPct val="100000"/>
        </a:lnSpc>
        <a:spcBef>
          <a:spcPct val="0"/>
        </a:spcBef>
        <a:buNone/>
        <a:defRPr sz="2800" kern="1200">
          <a:solidFill>
            <a:schemeClr val="tx2"/>
          </a:solidFill>
          <a:latin typeface="+mj-lt"/>
          <a:ea typeface="+mj-ea"/>
          <a:cs typeface="+mj-cs"/>
        </a:defRPr>
      </a:lvl1pPr>
    </p:titleStyle>
    <p:bodyStyle>
      <a:lvl1pPr marL="266700" marR="0" indent="-266700" algn="l" defTabSz="1644650" rtl="0" eaLnBrk="0" fontAlgn="base" latinLnBrk="0" hangingPunct="0">
        <a:lnSpc>
          <a:spcPct val="130000"/>
        </a:lnSpc>
        <a:spcBef>
          <a:spcPct val="0"/>
        </a:spcBef>
        <a:spcAft>
          <a:spcPts val="1200"/>
        </a:spcAft>
        <a:buClr>
          <a:srgbClr val="004C99"/>
        </a:buClr>
        <a:buSzPct val="120000"/>
        <a:buFontTx/>
        <a:buBlip>
          <a:blip r:embed="rId81"/>
        </a:buBlip>
        <a:defRPr sz="1800" kern="1200">
          <a:solidFill>
            <a:schemeClr val="tx1"/>
          </a:solidFill>
          <a:latin typeface="+mn-lt"/>
          <a:ea typeface="+mn-ea"/>
          <a:cs typeface="+mn-cs"/>
        </a:defRPr>
      </a:lvl1pPr>
      <a:lvl2pPr marL="630238" marR="0" indent="-268288" algn="l" defTabSz="1644650" rtl="0" eaLnBrk="0" fontAlgn="base" latinLnBrk="0" hangingPunct="0">
        <a:lnSpc>
          <a:spcPct val="130000"/>
        </a:lnSpc>
        <a:spcBef>
          <a:spcPct val="0"/>
        </a:spcBef>
        <a:spcAft>
          <a:spcPts val="1200"/>
        </a:spcAft>
        <a:buClr>
          <a:srgbClr val="004C99"/>
        </a:buClr>
        <a:buSzPct val="120000"/>
        <a:buFontTx/>
        <a:buBlip>
          <a:blip r:embed="rId81"/>
        </a:buBlip>
        <a:defRPr sz="1800" kern="1200">
          <a:solidFill>
            <a:schemeClr val="tx1"/>
          </a:solidFill>
          <a:latin typeface="+mn-lt"/>
          <a:ea typeface="+mn-ea"/>
          <a:cs typeface="+mn-cs"/>
        </a:defRPr>
      </a:lvl2pPr>
      <a:lvl3pPr marL="990600" marR="0" indent="-274638" algn="l" defTabSz="1644650" rtl="0" eaLnBrk="0" fontAlgn="base" latinLnBrk="0" hangingPunct="0">
        <a:lnSpc>
          <a:spcPct val="130000"/>
        </a:lnSpc>
        <a:spcBef>
          <a:spcPct val="0"/>
        </a:spcBef>
        <a:spcAft>
          <a:spcPts val="1200"/>
        </a:spcAft>
        <a:buClr>
          <a:srgbClr val="004C99"/>
        </a:buClr>
        <a:buSzPct val="120000"/>
        <a:buFontTx/>
        <a:buBlip>
          <a:blip r:embed="rId81"/>
        </a:buBlip>
        <a:defRPr sz="1800" kern="1200">
          <a:solidFill>
            <a:schemeClr val="tx1"/>
          </a:solidFill>
          <a:latin typeface="+mn-lt"/>
          <a:ea typeface="+mn-ea"/>
          <a:cs typeface="+mn-cs"/>
        </a:defRPr>
      </a:lvl3pPr>
      <a:lvl4pPr marL="1343025" marR="0" indent="-263525" algn="l" defTabSz="1644650" rtl="0" eaLnBrk="0" fontAlgn="base" latinLnBrk="0" hangingPunct="0">
        <a:lnSpc>
          <a:spcPct val="130000"/>
        </a:lnSpc>
        <a:spcBef>
          <a:spcPct val="0"/>
        </a:spcBef>
        <a:spcAft>
          <a:spcPts val="1200"/>
        </a:spcAft>
        <a:buClr>
          <a:srgbClr val="004C99"/>
        </a:buClr>
        <a:buSzPct val="120000"/>
        <a:buFontTx/>
        <a:buBlip>
          <a:blip r:embed="rId81"/>
        </a:buBlip>
        <a:defRPr sz="1800" kern="1200">
          <a:solidFill>
            <a:schemeClr val="tx1"/>
          </a:solidFill>
          <a:latin typeface="+mn-lt"/>
          <a:ea typeface="+mn-ea"/>
          <a:cs typeface="+mn-cs"/>
        </a:defRPr>
      </a:lvl4pPr>
      <a:lvl5pPr marL="1704975" marR="0" indent="-271463" algn="l" defTabSz="1644650" rtl="0" eaLnBrk="0" fontAlgn="base" latinLnBrk="0" hangingPunct="0">
        <a:lnSpc>
          <a:spcPct val="130000"/>
        </a:lnSpc>
        <a:spcBef>
          <a:spcPct val="0"/>
        </a:spcBef>
        <a:spcAft>
          <a:spcPts val="1200"/>
        </a:spcAft>
        <a:buClr>
          <a:srgbClr val="004C99"/>
        </a:buClr>
        <a:buSzPct val="120000"/>
        <a:buFontTx/>
        <a:buBlip>
          <a:blip r:embed="rId81"/>
        </a:buBlip>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59">
          <p15:clr>
            <a:srgbClr val="F26B43"/>
          </p15:clr>
        </p15:guide>
        <p15:guide id="2" pos="512">
          <p15:clr>
            <a:srgbClr val="F26B43"/>
          </p15:clr>
        </p15:guide>
        <p15:guide id="3" orient="horz" pos="3980">
          <p15:clr>
            <a:srgbClr val="F26B43"/>
          </p15:clr>
        </p15:guide>
        <p15:guide id="4" pos="7168">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1" name="Textplatzhalter 40">
            <a:extLst>
              <a:ext uri="{FF2B5EF4-FFF2-40B4-BE49-F238E27FC236}">
                <a16:creationId xmlns:a16="http://schemas.microsoft.com/office/drawing/2014/main" id="{EA8228AA-A524-4AE7-8E4D-D36908A9A497}"/>
              </a:ext>
            </a:extLst>
          </p:cNvPr>
          <p:cNvSpPr>
            <a:spLocks noGrp="1"/>
          </p:cNvSpPr>
          <p:nvPr>
            <p:ph type="body" idx="1"/>
          </p:nvPr>
        </p:nvSpPr>
        <p:spPr>
          <a:xfrm>
            <a:off x="815950" y="1979610"/>
            <a:ext cx="10560096" cy="4338639"/>
          </a:xfrm>
          <a:prstGeom prst="rect">
            <a:avLst/>
          </a:prstGeom>
        </p:spPr>
        <p:txBody>
          <a:bodyPr vert="horz" lIns="0" tIns="0" rIns="0" bIns="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34" name="Titelplatzhalter 1">
            <a:extLst>
              <a:ext uri="{FF2B5EF4-FFF2-40B4-BE49-F238E27FC236}">
                <a16:creationId xmlns:a16="http://schemas.microsoft.com/office/drawing/2014/main" id="{0A882561-50E2-420E-9F73-FBFE4947D747}"/>
              </a:ext>
            </a:extLst>
          </p:cNvPr>
          <p:cNvSpPr>
            <a:spLocks noGrp="1"/>
          </p:cNvSpPr>
          <p:nvPr>
            <p:ph type="title"/>
          </p:nvPr>
        </p:nvSpPr>
        <p:spPr bwMode="auto">
          <a:xfrm>
            <a:off x="815952" y="733402"/>
            <a:ext cx="10560096" cy="767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normAutofit/>
          </a:bodyPr>
          <a:lstStyle/>
          <a:p>
            <a:pPr lvl="0"/>
            <a:r>
              <a:rPr lang="de-DE" altLang="de-DE"/>
              <a:t>Titelmasterformat durch Klicken bearbeiten</a:t>
            </a:r>
          </a:p>
        </p:txBody>
      </p:sp>
      <p:sp>
        <p:nvSpPr>
          <p:cNvPr id="2" name="Foliennummernplatzhalter 1">
            <a:extLst>
              <a:ext uri="{FF2B5EF4-FFF2-40B4-BE49-F238E27FC236}">
                <a16:creationId xmlns:a16="http://schemas.microsoft.com/office/drawing/2014/main" id="{6C03392C-E7E7-46C6-BA25-36FA3C9A28B9}"/>
              </a:ext>
            </a:extLst>
          </p:cNvPr>
          <p:cNvSpPr>
            <a:spLocks noGrp="1"/>
          </p:cNvSpPr>
          <p:nvPr>
            <p:ph type="sldNum" sz="quarter" idx="4"/>
          </p:nvPr>
        </p:nvSpPr>
        <p:spPr>
          <a:xfrm>
            <a:off x="10401111" y="172800"/>
            <a:ext cx="974936" cy="365125"/>
          </a:xfrm>
          <a:prstGeom prst="rect">
            <a:avLst/>
          </a:prstGeom>
        </p:spPr>
        <p:txBody>
          <a:bodyPr vert="horz" lIns="91440" tIns="45720" rIns="0" bIns="45720" rtlCol="0" anchor="ctr"/>
          <a:lstStyle>
            <a:lvl1pPr algn="r">
              <a:defRPr sz="1000" spc="170" baseline="0">
                <a:solidFill>
                  <a:schemeClr val="accent3"/>
                </a:solidFill>
                <a:latin typeface="Roboto Bold" panose="02000000000000000000" pitchFamily="2" charset="0"/>
                <a:ea typeface="Roboto Bold" panose="02000000000000000000" pitchFamily="2" charset="0"/>
              </a:defRPr>
            </a:lvl1pPr>
          </a:lstStyle>
          <a:p>
            <a:fld id="{A04BEB4F-8CE1-4F18-986F-6CE0A0BE9470}" type="slidenum">
              <a:rPr lang="de-DE" smtClean="0"/>
              <a:t>‹#›</a:t>
            </a:fld>
            <a:endParaRPr lang="de-DE"/>
          </a:p>
        </p:txBody>
      </p:sp>
      <p:pic>
        <p:nvPicPr>
          <p:cNvPr id="6" name="תמונה 5">
            <a:extLst>
              <a:ext uri="{FF2B5EF4-FFF2-40B4-BE49-F238E27FC236}">
                <a16:creationId xmlns:a16="http://schemas.microsoft.com/office/drawing/2014/main" id="{AEDD65A5-82AE-4DD3-80CC-D0AE462A2E81}"/>
              </a:ext>
            </a:extLst>
          </p:cNvPr>
          <p:cNvPicPr>
            <a:picLocks noChangeAspect="1"/>
          </p:cNvPicPr>
          <p:nvPr userDrawn="1"/>
        </p:nvPicPr>
        <p:blipFill rotWithShape="1">
          <a:blip r:embed="rId16" cstate="print">
            <a:extLst>
              <a:ext uri="{28A0092B-C50C-407E-A947-70E740481C1C}">
                <a14:useLocalDpi xmlns:a14="http://schemas.microsoft.com/office/drawing/2010/main" val="0"/>
              </a:ext>
            </a:extLst>
          </a:blip>
          <a:srcRect/>
          <a:stretch/>
        </p:blipFill>
        <p:spPr>
          <a:xfrm>
            <a:off x="1115089" y="369256"/>
            <a:ext cx="2111589" cy="142979"/>
          </a:xfrm>
          <a:prstGeom prst="rect">
            <a:avLst/>
          </a:prstGeom>
          <a:effectLst/>
        </p:spPr>
      </p:pic>
      <p:pic>
        <p:nvPicPr>
          <p:cNvPr id="8" name="תמונה 7">
            <a:extLst>
              <a:ext uri="{FF2B5EF4-FFF2-40B4-BE49-F238E27FC236}">
                <a16:creationId xmlns:a16="http://schemas.microsoft.com/office/drawing/2014/main" id="{FFBAB165-003E-4540-9159-3BAED5939110}"/>
              </a:ext>
            </a:extLst>
          </p:cNvPr>
          <p:cNvPicPr>
            <a:picLocks noChangeAspect="1"/>
          </p:cNvPicPr>
          <p:nvPr userDrawn="1"/>
        </p:nvPicPr>
        <p:blipFill rotWithShape="1">
          <a:blip r:embed="rId17" cstate="print">
            <a:extLst>
              <a:ext uri="{28A0092B-C50C-407E-A947-70E740481C1C}">
                <a14:useLocalDpi xmlns:a14="http://schemas.microsoft.com/office/drawing/2010/main" val="0"/>
              </a:ext>
            </a:extLst>
          </a:blip>
          <a:srcRect/>
          <a:stretch/>
        </p:blipFill>
        <p:spPr>
          <a:xfrm>
            <a:off x="658295" y="172800"/>
            <a:ext cx="383221" cy="392912"/>
          </a:xfrm>
          <a:prstGeom prst="rect">
            <a:avLst/>
          </a:prstGeom>
          <a:effectLst/>
        </p:spPr>
      </p:pic>
    </p:spTree>
    <p:extLst>
      <p:ext uri="{BB962C8B-B14F-4D97-AF65-F5344CB8AC3E}">
        <p14:creationId xmlns:p14="http://schemas.microsoft.com/office/powerpoint/2010/main" val="442356908"/>
      </p:ext>
    </p:extLst>
  </p:cSld>
  <p:clrMap bg1="lt1" tx1="dk1" bg2="lt2" tx2="dk2" accent1="accent1" accent2="accent2" accent3="accent3" accent4="accent4" accent5="accent5" accent6="accent6" hlink="hlink" folHlink="folHlink"/>
  <p:sldLayoutIdLst>
    <p:sldLayoutId id="2147484002" r:id="rId1"/>
    <p:sldLayoutId id="2147484003" r:id="rId2"/>
    <p:sldLayoutId id="2147484004" r:id="rId3"/>
    <p:sldLayoutId id="2147484005" r:id="rId4"/>
    <p:sldLayoutId id="2147484006" r:id="rId5"/>
    <p:sldLayoutId id="2147484007" r:id="rId6"/>
    <p:sldLayoutId id="2147484008" r:id="rId7"/>
    <p:sldLayoutId id="2147484009" r:id="rId8"/>
    <p:sldLayoutId id="2147484010" r:id="rId9"/>
    <p:sldLayoutId id="2147484011" r:id="rId10"/>
    <p:sldLayoutId id="2147484012" r:id="rId11"/>
    <p:sldLayoutId id="2147484013" r:id="rId12"/>
    <p:sldLayoutId id="2147484014" r:id="rId13"/>
    <p:sldLayoutId id="2147484035" r:id="rId14"/>
  </p:sldLayoutIdLst>
  <p:transition/>
  <p:hf hdr="0" ftr="0" dt="0"/>
  <p:txStyles>
    <p:titleStyle>
      <a:lvl1pPr algn="l" defTabSz="914400" rtl="0" eaLnBrk="1" latinLnBrk="0" hangingPunct="1">
        <a:lnSpc>
          <a:spcPct val="100000"/>
        </a:lnSpc>
        <a:spcBef>
          <a:spcPct val="0"/>
        </a:spcBef>
        <a:buNone/>
        <a:defRPr sz="2800" kern="1200">
          <a:solidFill>
            <a:schemeClr val="tx2"/>
          </a:solidFill>
          <a:latin typeface="+mj-lt"/>
          <a:ea typeface="+mj-ea"/>
          <a:cs typeface="+mj-cs"/>
        </a:defRPr>
      </a:lvl1pPr>
    </p:titleStyle>
    <p:bodyStyle>
      <a:lvl1pPr marL="266700" marR="0" indent="-266700" algn="l" defTabSz="1644650" rtl="0" eaLnBrk="0" fontAlgn="base" latinLnBrk="0" hangingPunct="0">
        <a:lnSpc>
          <a:spcPct val="130000"/>
        </a:lnSpc>
        <a:spcBef>
          <a:spcPct val="0"/>
        </a:spcBef>
        <a:spcAft>
          <a:spcPts val="1200"/>
        </a:spcAft>
        <a:buClr>
          <a:srgbClr val="004C99"/>
        </a:buClr>
        <a:buSzPct val="120000"/>
        <a:buFontTx/>
        <a:buBlip>
          <a:blip r:embed="rId18"/>
        </a:buBlip>
        <a:defRPr sz="1800" kern="1200">
          <a:solidFill>
            <a:schemeClr val="tx1"/>
          </a:solidFill>
          <a:latin typeface="+mn-lt"/>
          <a:ea typeface="+mn-ea"/>
          <a:cs typeface="+mn-cs"/>
        </a:defRPr>
      </a:lvl1pPr>
      <a:lvl2pPr marL="630238" marR="0" indent="-268288" algn="l" defTabSz="1644650" rtl="0" eaLnBrk="0" fontAlgn="base" latinLnBrk="0" hangingPunct="0">
        <a:lnSpc>
          <a:spcPct val="130000"/>
        </a:lnSpc>
        <a:spcBef>
          <a:spcPct val="0"/>
        </a:spcBef>
        <a:spcAft>
          <a:spcPts val="1200"/>
        </a:spcAft>
        <a:buClr>
          <a:srgbClr val="004C99"/>
        </a:buClr>
        <a:buSzPct val="120000"/>
        <a:buFontTx/>
        <a:buBlip>
          <a:blip r:embed="rId18"/>
        </a:buBlip>
        <a:defRPr sz="1800" kern="1200">
          <a:solidFill>
            <a:schemeClr val="tx1"/>
          </a:solidFill>
          <a:latin typeface="+mn-lt"/>
          <a:ea typeface="+mn-ea"/>
          <a:cs typeface="+mn-cs"/>
        </a:defRPr>
      </a:lvl2pPr>
      <a:lvl3pPr marL="990600" marR="0" indent="-274638" algn="l" defTabSz="1644650" rtl="0" eaLnBrk="0" fontAlgn="base" latinLnBrk="0" hangingPunct="0">
        <a:lnSpc>
          <a:spcPct val="130000"/>
        </a:lnSpc>
        <a:spcBef>
          <a:spcPct val="0"/>
        </a:spcBef>
        <a:spcAft>
          <a:spcPts val="1200"/>
        </a:spcAft>
        <a:buClr>
          <a:srgbClr val="004C99"/>
        </a:buClr>
        <a:buSzPct val="120000"/>
        <a:buFontTx/>
        <a:buBlip>
          <a:blip r:embed="rId18"/>
        </a:buBlip>
        <a:defRPr sz="1800" kern="1200">
          <a:solidFill>
            <a:schemeClr val="tx1"/>
          </a:solidFill>
          <a:latin typeface="+mn-lt"/>
          <a:ea typeface="+mn-ea"/>
          <a:cs typeface="+mn-cs"/>
        </a:defRPr>
      </a:lvl3pPr>
      <a:lvl4pPr marL="1343025" marR="0" indent="-263525" algn="l" defTabSz="1644650" rtl="0" eaLnBrk="0" fontAlgn="base" latinLnBrk="0" hangingPunct="0">
        <a:lnSpc>
          <a:spcPct val="130000"/>
        </a:lnSpc>
        <a:spcBef>
          <a:spcPct val="0"/>
        </a:spcBef>
        <a:spcAft>
          <a:spcPts val="1200"/>
        </a:spcAft>
        <a:buClr>
          <a:srgbClr val="004C99"/>
        </a:buClr>
        <a:buSzPct val="120000"/>
        <a:buFontTx/>
        <a:buBlip>
          <a:blip r:embed="rId18"/>
        </a:buBlip>
        <a:defRPr sz="1800" kern="1200">
          <a:solidFill>
            <a:schemeClr val="tx1"/>
          </a:solidFill>
          <a:latin typeface="+mn-lt"/>
          <a:ea typeface="+mn-ea"/>
          <a:cs typeface="+mn-cs"/>
        </a:defRPr>
      </a:lvl4pPr>
      <a:lvl5pPr marL="1704975" marR="0" indent="-271463" algn="l" defTabSz="1644650" rtl="0" eaLnBrk="0" fontAlgn="base" latinLnBrk="0" hangingPunct="0">
        <a:lnSpc>
          <a:spcPct val="130000"/>
        </a:lnSpc>
        <a:spcBef>
          <a:spcPct val="0"/>
        </a:spcBef>
        <a:spcAft>
          <a:spcPts val="1200"/>
        </a:spcAft>
        <a:buClr>
          <a:srgbClr val="004C99"/>
        </a:buClr>
        <a:buSzPct val="120000"/>
        <a:buFontTx/>
        <a:buBlip>
          <a:blip r:embed="rId18"/>
        </a:buBlip>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59">
          <p15:clr>
            <a:srgbClr val="F26B43"/>
          </p15:clr>
        </p15:guide>
        <p15:guide id="2" pos="512">
          <p15:clr>
            <a:srgbClr val="F26B43"/>
          </p15:clr>
        </p15:guide>
        <p15:guide id="3" orient="horz" pos="3980">
          <p15:clr>
            <a:srgbClr val="F26B43"/>
          </p15:clr>
        </p15:guide>
        <p15:guide id="4" pos="7168">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639A0897-1C9D-4D40-93AC-659FD8EDA0FE}"/>
              </a:ext>
            </a:extLst>
          </p:cNvPr>
          <p:cNvGraphicFramePr>
            <a:graphicFrameLocks noChangeAspect="1"/>
          </p:cNvGraphicFramePr>
          <p:nvPr userDrawn="1">
            <p:custDataLst>
              <p:tags r:id="rId13"/>
            </p:custDataLst>
            <p:extLst>
              <p:ext uri="{D42A27DB-BD31-4B8C-83A1-F6EECF244321}">
                <p14:modId xmlns:p14="http://schemas.microsoft.com/office/powerpoint/2010/main" val="12641160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624" imgH="623" progId="TCLayout.ActiveDocument.1">
                  <p:embed/>
                </p:oleObj>
              </mc:Choice>
              <mc:Fallback>
                <p:oleObj name="think-cell Slide" r:id="rId14" imgW="624" imgH="623" progId="TCLayout.ActiveDocument.1">
                  <p:embed/>
                  <p:pic>
                    <p:nvPicPr>
                      <p:cNvPr id="5" name="Objekt 4" hidden="1">
                        <a:extLst>
                          <a:ext uri="{FF2B5EF4-FFF2-40B4-BE49-F238E27FC236}">
                            <a16:creationId xmlns:a16="http://schemas.microsoft.com/office/drawing/2014/main" id="{639A0897-1C9D-4D40-93AC-659FD8EDA0FE}"/>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41" name="Textplatzhalter 40">
            <a:extLst>
              <a:ext uri="{FF2B5EF4-FFF2-40B4-BE49-F238E27FC236}">
                <a16:creationId xmlns:a16="http://schemas.microsoft.com/office/drawing/2014/main" id="{EA8228AA-A524-4AE7-8E4D-D36908A9A497}"/>
              </a:ext>
            </a:extLst>
          </p:cNvPr>
          <p:cNvSpPr>
            <a:spLocks noGrp="1"/>
          </p:cNvSpPr>
          <p:nvPr>
            <p:ph type="body" idx="1"/>
          </p:nvPr>
        </p:nvSpPr>
        <p:spPr>
          <a:xfrm>
            <a:off x="815950" y="1979610"/>
            <a:ext cx="10560096" cy="4338639"/>
          </a:xfrm>
          <a:prstGeom prst="rect">
            <a:avLst/>
          </a:prstGeom>
        </p:spPr>
        <p:txBody>
          <a:bodyPr vert="horz" lIns="0" tIns="0" rIns="0" bIns="0" rtlCol="0">
            <a:normAutofit/>
          </a:bodyPr>
          <a:lstStyle/>
          <a:p>
            <a:pPr lvl="0"/>
            <a:r>
              <a:rPr lang="en-US" err="1"/>
              <a:t>Mastertextformat bearbeiten</a:t>
            </a:r>
            <a:endParaRPr lang="en-US"/>
          </a:p>
          <a:p>
            <a:pPr lvl="1"/>
            <a:r>
              <a:rPr lang="en-US" err="1"/>
              <a:t>Zweite Ebene</a:t>
            </a:r>
          </a:p>
          <a:p>
            <a:pPr lvl="2"/>
            <a:r>
              <a:rPr lang="en-US" err="1"/>
              <a:t>Dritte Ebene</a:t>
            </a:r>
          </a:p>
          <a:p>
            <a:pPr lvl="3"/>
            <a:r>
              <a:rPr lang="en-US" err="1"/>
              <a:t>Vierte Ebene</a:t>
            </a:r>
          </a:p>
          <a:p>
            <a:pPr lvl="4"/>
            <a:r>
              <a:rPr lang="en-US" err="1"/>
              <a:t>Fünfte Ebene</a:t>
            </a:r>
          </a:p>
        </p:txBody>
      </p:sp>
      <p:sp>
        <p:nvSpPr>
          <p:cNvPr id="34" name="Titelplatzhalter 1">
            <a:extLst>
              <a:ext uri="{FF2B5EF4-FFF2-40B4-BE49-F238E27FC236}">
                <a16:creationId xmlns:a16="http://schemas.microsoft.com/office/drawing/2014/main" id="{0A882561-50E2-420E-9F73-FBFE4947D747}"/>
              </a:ext>
            </a:extLst>
          </p:cNvPr>
          <p:cNvSpPr>
            <a:spLocks noGrp="1"/>
          </p:cNvSpPr>
          <p:nvPr>
            <p:ph type="title"/>
          </p:nvPr>
        </p:nvSpPr>
        <p:spPr bwMode="auto">
          <a:xfrm>
            <a:off x="815952" y="733402"/>
            <a:ext cx="10560096" cy="767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normAutofit/>
          </a:bodyPr>
          <a:lstStyle/>
          <a:p>
            <a:pPr lvl="0"/>
            <a:r>
              <a:rPr lang="en-US" altLang="de-DE" err="1"/>
              <a:t>Titelmasterformat durch Klicken bearbeiten</a:t>
            </a:r>
            <a:endParaRPr lang="en-US" altLang="de-DE"/>
          </a:p>
        </p:txBody>
      </p:sp>
      <p:sp>
        <p:nvSpPr>
          <p:cNvPr id="2" name="Foliennummernplatzhalter 1">
            <a:extLst>
              <a:ext uri="{FF2B5EF4-FFF2-40B4-BE49-F238E27FC236}">
                <a16:creationId xmlns:a16="http://schemas.microsoft.com/office/drawing/2014/main" id="{6C03392C-E7E7-46C6-BA25-36FA3C9A28B9}"/>
              </a:ext>
            </a:extLst>
          </p:cNvPr>
          <p:cNvSpPr>
            <a:spLocks noGrp="1"/>
          </p:cNvSpPr>
          <p:nvPr>
            <p:ph type="sldNum" sz="quarter" idx="4"/>
          </p:nvPr>
        </p:nvSpPr>
        <p:spPr>
          <a:xfrm>
            <a:off x="10839449" y="172800"/>
            <a:ext cx="536597" cy="365125"/>
          </a:xfrm>
          <a:prstGeom prst="rect">
            <a:avLst/>
          </a:prstGeom>
        </p:spPr>
        <p:txBody>
          <a:bodyPr vert="horz" lIns="91440" tIns="45720" rIns="0" bIns="45720" rtlCol="0" anchor="ctr"/>
          <a:lstStyle>
            <a:lvl1pPr algn="r" rtl="0">
              <a:defRPr sz="1000" spc="170" baseline="0">
                <a:solidFill>
                  <a:schemeClr val="accent3"/>
                </a:solidFill>
                <a:latin typeface="Roboto Bold" panose="02000000000000000000" pitchFamily="2" charset="0"/>
                <a:ea typeface="Roboto Bold" panose="02000000000000000000" pitchFamily="2" charset="0"/>
              </a:defRPr>
            </a:lvl1pPr>
          </a:lstStyle>
          <a:p>
            <a:fld id="{A04BEB4F-8CE1-4F18-986F-6CE0A0BE9470}" type="slidenum">
              <a:rPr lang="en-US" smtClean="0"/>
              <a:t>‹#›</a:t>
            </a:fld>
            <a:endParaRPr lang="en-US"/>
          </a:p>
        </p:txBody>
      </p:sp>
      <p:sp>
        <p:nvSpPr>
          <p:cNvPr id="3" name="Textfeld 2">
            <a:extLst>
              <a:ext uri="{FF2B5EF4-FFF2-40B4-BE49-F238E27FC236}">
                <a16:creationId xmlns:a16="http://schemas.microsoft.com/office/drawing/2014/main" id="{6A99A1BA-771F-4981-938F-296D73F8D87E}"/>
              </a:ext>
            </a:extLst>
          </p:cNvPr>
          <p:cNvSpPr txBox="1"/>
          <p:nvPr userDrawn="1"/>
        </p:nvSpPr>
        <p:spPr>
          <a:xfrm>
            <a:off x="1238250" y="243591"/>
            <a:ext cx="3184846" cy="246221"/>
          </a:xfrm>
          <a:prstGeom prst="rect">
            <a:avLst/>
          </a:prstGeom>
          <a:noFill/>
        </p:spPr>
        <p:txBody>
          <a:bodyPr wrap="none" rtlCol="0">
            <a:spAutoFit/>
          </a:bodyPr>
          <a:lstStyle/>
          <a:p>
            <a:pPr algn="l" rtl="0"/>
            <a:r>
              <a:rPr lang="en-US" sz="1000" cap="all" spc="170" baseline="0">
                <a:solidFill>
                  <a:schemeClr val="accent3"/>
                </a:solidFill>
                <a:latin typeface="Roboto Bold" panose="02000000000000000000" pitchFamily="2" charset="0"/>
                <a:ea typeface="Roboto Bold" panose="02000000000000000000" pitchFamily="2" charset="0"/>
              </a:rPr>
              <a:t>THINKING AHEAD – Moving Forward</a:t>
            </a:r>
          </a:p>
        </p:txBody>
      </p:sp>
      <p:pic>
        <p:nvPicPr>
          <p:cNvPr id="7" name="Grafik 6">
            <a:extLst>
              <a:ext uri="{FF2B5EF4-FFF2-40B4-BE49-F238E27FC236}">
                <a16:creationId xmlns:a16="http://schemas.microsoft.com/office/drawing/2014/main" id="{CFEA0666-E52F-4F4B-8C14-4154384DBD11}"/>
              </a:ext>
            </a:extLst>
          </p:cNvPr>
          <p:cNvPicPr>
            <a:picLocks noChangeAspect="1"/>
          </p:cNvPicPr>
          <p:nvPr userDrawn="1"/>
        </p:nvPicPr>
        <p:blipFill>
          <a:blip>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815952" y="191826"/>
            <a:ext cx="346098" cy="346098"/>
          </a:xfrm>
          <a:prstGeom prst="rect">
            <a:avLst/>
          </a:prstGeom>
        </p:spPr>
      </p:pic>
    </p:spTree>
    <p:extLst>
      <p:ext uri="{BB962C8B-B14F-4D97-AF65-F5344CB8AC3E}">
        <p14:creationId xmlns:p14="http://schemas.microsoft.com/office/powerpoint/2010/main" val="3724006941"/>
      </p:ext>
    </p:extLst>
  </p:cSld>
  <p:clrMap bg1="lt1" tx1="dk1" bg2="lt2" tx2="dk2" accent1="accent1" accent2="accent2" accent3="accent3" accent4="accent4" accent5="accent5" accent6="accent6" hlink="hlink" folHlink="folHlink"/>
  <p:sldLayoutIdLst>
    <p:sldLayoutId id="2147484016" r:id="rId1"/>
    <p:sldLayoutId id="2147484017" r:id="rId2"/>
    <p:sldLayoutId id="2147484018" r:id="rId3"/>
    <p:sldLayoutId id="2147484019" r:id="rId4"/>
    <p:sldLayoutId id="2147484021" r:id="rId5"/>
    <p:sldLayoutId id="2147484022" r:id="rId6"/>
    <p:sldLayoutId id="2147484023" r:id="rId7"/>
    <p:sldLayoutId id="2147484024" r:id="rId8"/>
    <p:sldLayoutId id="2147484025" r:id="rId9"/>
    <p:sldLayoutId id="2147484026" r:id="rId10"/>
    <p:sldLayoutId id="2147484027" r:id="rId11"/>
  </p:sldLayoutIdLst>
  <p:transition/>
  <p:hf hdr="0" ftr="0" dt="0"/>
  <p:txStyles>
    <p:titleStyle>
      <a:lvl1pPr algn="l" defTabSz="914400" rtl="0" eaLnBrk="1" latinLnBrk="0" hangingPunct="1">
        <a:lnSpc>
          <a:spcPct val="100000"/>
        </a:lnSpc>
        <a:spcBef>
          <a:spcPct val="0"/>
        </a:spcBef>
        <a:buNone/>
        <a:defRPr sz="2800" kern="1200">
          <a:solidFill>
            <a:schemeClr val="tx2"/>
          </a:solidFill>
          <a:latin typeface="+mj-lt"/>
          <a:ea typeface="+mj-ea"/>
          <a:cs typeface="+mj-cs"/>
        </a:defRPr>
      </a:lvl1pPr>
    </p:titleStyle>
    <p:bodyStyle>
      <a:lvl1pPr marL="266700" marR="0" indent="-266700" algn="l" defTabSz="1644650" rtl="0" eaLnBrk="0" fontAlgn="base" latinLnBrk="0" hangingPunct="0">
        <a:lnSpc>
          <a:spcPct val="130000"/>
        </a:lnSpc>
        <a:spcBef>
          <a:spcPct val="0"/>
        </a:spcBef>
        <a:spcAft>
          <a:spcPts val="1200"/>
        </a:spcAft>
        <a:buClr>
          <a:srgbClr val="004C99"/>
        </a:buClr>
        <a:buSzPct val="120000"/>
        <a:buFontTx/>
        <a:buBlip>
          <a:blip r:embed="rId17"/>
        </a:buBlip>
        <a:defRPr sz="1800" kern="1200">
          <a:solidFill>
            <a:schemeClr val="tx1"/>
          </a:solidFill>
          <a:latin typeface="+mn-lt"/>
          <a:ea typeface="+mn-ea"/>
          <a:cs typeface="+mn-cs"/>
        </a:defRPr>
      </a:lvl1pPr>
      <a:lvl2pPr marL="630238" marR="0" indent="-268288" algn="l" defTabSz="1644650" rtl="0" eaLnBrk="0" fontAlgn="base" latinLnBrk="0" hangingPunct="0">
        <a:lnSpc>
          <a:spcPct val="130000"/>
        </a:lnSpc>
        <a:spcBef>
          <a:spcPct val="0"/>
        </a:spcBef>
        <a:spcAft>
          <a:spcPts val="1200"/>
        </a:spcAft>
        <a:buClr>
          <a:srgbClr val="004C99"/>
        </a:buClr>
        <a:buSzPct val="120000"/>
        <a:buFontTx/>
        <a:buBlip>
          <a:blip r:embed="rId17"/>
        </a:buBlip>
        <a:defRPr sz="1800" kern="1200">
          <a:solidFill>
            <a:schemeClr val="tx1"/>
          </a:solidFill>
          <a:latin typeface="+mn-lt"/>
          <a:ea typeface="+mn-ea"/>
          <a:cs typeface="+mn-cs"/>
        </a:defRPr>
      </a:lvl2pPr>
      <a:lvl3pPr marL="990600" marR="0" indent="-274638" algn="l" defTabSz="1644650" rtl="0" eaLnBrk="0" fontAlgn="base" latinLnBrk="0" hangingPunct="0">
        <a:lnSpc>
          <a:spcPct val="130000"/>
        </a:lnSpc>
        <a:spcBef>
          <a:spcPct val="0"/>
        </a:spcBef>
        <a:spcAft>
          <a:spcPts val="1200"/>
        </a:spcAft>
        <a:buClr>
          <a:srgbClr val="004C99"/>
        </a:buClr>
        <a:buSzPct val="120000"/>
        <a:buFontTx/>
        <a:buBlip>
          <a:blip r:embed="rId17"/>
        </a:buBlip>
        <a:defRPr sz="1800" kern="1200">
          <a:solidFill>
            <a:schemeClr val="tx1"/>
          </a:solidFill>
          <a:latin typeface="+mn-lt"/>
          <a:ea typeface="+mn-ea"/>
          <a:cs typeface="+mn-cs"/>
        </a:defRPr>
      </a:lvl3pPr>
      <a:lvl4pPr marL="1343025" marR="0" indent="-263525" algn="l" defTabSz="1644650" rtl="0" eaLnBrk="0" fontAlgn="base" latinLnBrk="0" hangingPunct="0">
        <a:lnSpc>
          <a:spcPct val="130000"/>
        </a:lnSpc>
        <a:spcBef>
          <a:spcPct val="0"/>
        </a:spcBef>
        <a:spcAft>
          <a:spcPts val="1200"/>
        </a:spcAft>
        <a:buClr>
          <a:srgbClr val="004C99"/>
        </a:buClr>
        <a:buSzPct val="120000"/>
        <a:buFontTx/>
        <a:buBlip>
          <a:blip r:embed="rId17"/>
        </a:buBlip>
        <a:defRPr sz="1800" kern="1200">
          <a:solidFill>
            <a:schemeClr val="tx1"/>
          </a:solidFill>
          <a:latin typeface="+mn-lt"/>
          <a:ea typeface="+mn-ea"/>
          <a:cs typeface="+mn-cs"/>
        </a:defRPr>
      </a:lvl4pPr>
      <a:lvl5pPr marL="1704975" marR="0" indent="-271463" algn="l" defTabSz="1644650" rtl="0" eaLnBrk="0" fontAlgn="base" latinLnBrk="0" hangingPunct="0">
        <a:lnSpc>
          <a:spcPct val="130000"/>
        </a:lnSpc>
        <a:spcBef>
          <a:spcPct val="0"/>
        </a:spcBef>
        <a:spcAft>
          <a:spcPts val="1200"/>
        </a:spcAft>
        <a:buClr>
          <a:srgbClr val="004C99"/>
        </a:buClr>
        <a:buSzPct val="120000"/>
        <a:buFontTx/>
        <a:buBlip>
          <a:blip r:embed="rId17"/>
        </a:buBlip>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60">
          <p15:clr>
            <a:srgbClr val="F26B43"/>
          </p15:clr>
        </p15:guide>
        <p15:guide id="2" pos="512">
          <p15:clr>
            <a:srgbClr val="F26B43"/>
          </p15:clr>
        </p15:guide>
        <p15:guide id="3" orient="horz" pos="3980">
          <p15:clr>
            <a:srgbClr val="F26B43"/>
          </p15:clr>
        </p15:guide>
        <p15:guide id="4" pos="716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slideLayout" Target="../slideLayouts/slideLayout317.xml"/><Relationship Id="rId1" Type="http://schemas.openxmlformats.org/officeDocument/2006/relationships/tags" Target="../tags/tag14.xml"/></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xml"/><Relationship Id="rId1" Type="http://schemas.openxmlformats.org/officeDocument/2006/relationships/slideLayout" Target="../slideLayouts/slideLayout1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1.xml.rels><?xml version="1.0" encoding="UTF-8" standalone="yes"?>
<Relationships xmlns="http://schemas.openxmlformats.org/package/2006/relationships"><Relationship Id="rId3" Type="http://schemas.openxmlformats.org/officeDocument/2006/relationships/image" Target="../media/image43.png"/><Relationship Id="rId7" Type="http://schemas.openxmlformats.org/officeDocument/2006/relationships/image" Target="../media/image47.png"/><Relationship Id="rId2" Type="http://schemas.openxmlformats.org/officeDocument/2006/relationships/notesSlide" Target="../notesSlides/notesSlide2.xml"/><Relationship Id="rId1" Type="http://schemas.openxmlformats.org/officeDocument/2006/relationships/slideLayout" Target="../slideLayouts/slideLayout13.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s>
</file>

<file path=ppt/slides/_rels/slide12.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image" Target="../media/image48.png"/><Relationship Id="rId7" Type="http://schemas.openxmlformats.org/officeDocument/2006/relationships/image" Target="../media/image3.png"/><Relationship Id="rId2" Type="http://schemas.openxmlformats.org/officeDocument/2006/relationships/notesSlide" Target="../notesSlides/notesSlide3.xml"/><Relationship Id="rId1" Type="http://schemas.openxmlformats.org/officeDocument/2006/relationships/slideLayout" Target="../slideLayouts/slideLayout319.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49.png"/></Relationships>
</file>

<file path=ppt/slides/_rels/slide13.xml.rels><?xml version="1.0" encoding="UTF-8" standalone="yes"?>
<Relationships xmlns="http://schemas.openxmlformats.org/package/2006/relationships"><Relationship Id="rId3" Type="http://schemas.openxmlformats.org/officeDocument/2006/relationships/image" Target="../media/image38.png"/><Relationship Id="rId7" Type="http://schemas.openxmlformats.org/officeDocument/2006/relationships/image" Target="../media/image56.gif"/><Relationship Id="rId2" Type="http://schemas.openxmlformats.org/officeDocument/2006/relationships/image" Target="../media/image33.png"/><Relationship Id="rId1" Type="http://schemas.openxmlformats.org/officeDocument/2006/relationships/slideLayout" Target="../slideLayouts/slideLayout13.xml"/><Relationship Id="rId6" Type="http://schemas.openxmlformats.org/officeDocument/2006/relationships/image" Target="../media/image55.png"/><Relationship Id="rId5" Type="http://schemas.openxmlformats.org/officeDocument/2006/relationships/image" Target="../media/image54.png"/><Relationship Id="rId4" Type="http://schemas.openxmlformats.org/officeDocument/2006/relationships/image" Target="../media/image53.jpeg"/></Relationships>
</file>

<file path=ppt/slides/_rels/slide14.xml.rels><?xml version="1.0" encoding="UTF-8" standalone="yes"?>
<Relationships xmlns="http://schemas.openxmlformats.org/package/2006/relationships"><Relationship Id="rId3" Type="http://schemas.openxmlformats.org/officeDocument/2006/relationships/image" Target="../media/image58.png"/><Relationship Id="rId7" Type="http://schemas.openxmlformats.org/officeDocument/2006/relationships/image" Target="../media/image3.png"/><Relationship Id="rId2" Type="http://schemas.openxmlformats.org/officeDocument/2006/relationships/image" Target="../media/image57.jpeg"/><Relationship Id="rId1" Type="http://schemas.openxmlformats.org/officeDocument/2006/relationships/slideLayout" Target="../slideLayouts/slideLayout330.xml"/><Relationship Id="rId6" Type="http://schemas.openxmlformats.org/officeDocument/2006/relationships/image" Target="../media/image61.jpeg"/><Relationship Id="rId5" Type="http://schemas.openxmlformats.org/officeDocument/2006/relationships/image" Target="../media/image60.jpeg"/><Relationship Id="rId4" Type="http://schemas.openxmlformats.org/officeDocument/2006/relationships/image" Target="../media/image59.jpe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8" Type="http://schemas.openxmlformats.org/officeDocument/2006/relationships/image" Target="../media/image64.wmf"/><Relationship Id="rId13" Type="http://schemas.openxmlformats.org/officeDocument/2006/relationships/oleObject" Target="../embeddings/oleObject16.bin"/><Relationship Id="rId3" Type="http://schemas.openxmlformats.org/officeDocument/2006/relationships/oleObject" Target="../embeddings/oleObject11.bin"/><Relationship Id="rId7" Type="http://schemas.openxmlformats.org/officeDocument/2006/relationships/oleObject" Target="../embeddings/oleObject13.bin"/><Relationship Id="rId12" Type="http://schemas.openxmlformats.org/officeDocument/2006/relationships/image" Target="../media/image66.wmf"/><Relationship Id="rId2" Type="http://schemas.openxmlformats.org/officeDocument/2006/relationships/image" Target="../media/image3.png"/><Relationship Id="rId16" Type="http://schemas.openxmlformats.org/officeDocument/2006/relationships/image" Target="../media/image68.wmf"/><Relationship Id="rId1" Type="http://schemas.openxmlformats.org/officeDocument/2006/relationships/slideLayout" Target="../slideLayouts/slideLayout17.xml"/><Relationship Id="rId6" Type="http://schemas.openxmlformats.org/officeDocument/2006/relationships/image" Target="../media/image63.wmf"/><Relationship Id="rId11" Type="http://schemas.openxmlformats.org/officeDocument/2006/relationships/oleObject" Target="../embeddings/oleObject15.bin"/><Relationship Id="rId5" Type="http://schemas.openxmlformats.org/officeDocument/2006/relationships/oleObject" Target="../embeddings/oleObject12.bin"/><Relationship Id="rId15" Type="http://schemas.openxmlformats.org/officeDocument/2006/relationships/oleObject" Target="../embeddings/oleObject17.bin"/><Relationship Id="rId10" Type="http://schemas.openxmlformats.org/officeDocument/2006/relationships/image" Target="../media/image65.wmf"/><Relationship Id="rId4" Type="http://schemas.openxmlformats.org/officeDocument/2006/relationships/image" Target="../media/image62.wmf"/><Relationship Id="rId9" Type="http://schemas.openxmlformats.org/officeDocument/2006/relationships/oleObject" Target="../embeddings/oleObject14.bin"/><Relationship Id="rId14" Type="http://schemas.openxmlformats.org/officeDocument/2006/relationships/image" Target="../media/image67.wmf"/></Relationships>
</file>

<file path=ppt/slides/_rels/slide18.xml.rels><?xml version="1.0" encoding="UTF-8" standalone="yes"?>
<Relationships xmlns="http://schemas.openxmlformats.org/package/2006/relationships"><Relationship Id="rId3" Type="http://schemas.openxmlformats.org/officeDocument/2006/relationships/image" Target="../media/image69.jpg"/><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image" Target="../media/image3.pn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3" Type="http://schemas.openxmlformats.org/officeDocument/2006/relationships/image" Target="../media/image71.jpg"/><Relationship Id="rId2" Type="http://schemas.openxmlformats.org/officeDocument/2006/relationships/image" Target="../media/image3.png"/><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3.png"/><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image" Target="../media/image3.png"/><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5.xml"/><Relationship Id="rId1" Type="http://schemas.openxmlformats.org/officeDocument/2006/relationships/slideLayout" Target="../slideLayouts/slideLayout3.xml"/><Relationship Id="rId4" Type="http://schemas.openxmlformats.org/officeDocument/2006/relationships/image" Target="../media/image74.jpeg"/></Relationships>
</file>

<file path=ppt/slides/_rels/slide24.xml.rels><?xml version="1.0" encoding="UTF-8" standalone="yes"?>
<Relationships xmlns="http://schemas.openxmlformats.org/package/2006/relationships"><Relationship Id="rId3" Type="http://schemas.openxmlformats.org/officeDocument/2006/relationships/image" Target="../media/image75.jpg"/><Relationship Id="rId2" Type="http://schemas.openxmlformats.org/officeDocument/2006/relationships/notesSlide" Target="../notesSlides/notesSlide6.xml"/><Relationship Id="rId1" Type="http://schemas.openxmlformats.org/officeDocument/2006/relationships/slideLayout" Target="../slideLayouts/slideLayout3.xml"/><Relationship Id="rId4" Type="http://schemas.openxmlformats.org/officeDocument/2006/relationships/image" Target="../media/image3.png"/></Relationships>
</file>

<file path=ppt/slides/_rels/slide25.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image" Target="../media/image3.png"/><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image" Target="../media/image77.jpeg"/><Relationship Id="rId2" Type="http://schemas.openxmlformats.org/officeDocument/2006/relationships/image" Target="../media/image3.png"/><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78.png"/><Relationship Id="rId1" Type="http://schemas.openxmlformats.org/officeDocument/2006/relationships/slideLayout" Target="../slideLayouts/slideLayout3.xml"/><Relationship Id="rId5" Type="http://schemas.openxmlformats.org/officeDocument/2006/relationships/image" Target="../media/image81.png"/><Relationship Id="rId4" Type="http://schemas.openxmlformats.org/officeDocument/2006/relationships/image" Target="../media/image80.png"/></Relationships>
</file>

<file path=ppt/slides/_rels/slide28.xml.rels><?xml version="1.0" encoding="UTF-8" standalone="yes"?>
<Relationships xmlns="http://schemas.openxmlformats.org/package/2006/relationships"><Relationship Id="rId3" Type="http://schemas.openxmlformats.org/officeDocument/2006/relationships/image" Target="../media/image82.jpeg"/><Relationship Id="rId2" Type="http://schemas.openxmlformats.org/officeDocument/2006/relationships/notesSlide" Target="../notesSlides/notesSlide7.xml"/><Relationship Id="rId1" Type="http://schemas.openxmlformats.org/officeDocument/2006/relationships/slideLayout" Target="../slideLayouts/slideLayout222.xml"/></Relationships>
</file>

<file path=ppt/slides/_rels/slide3.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image" Target="../media/image27.png"/><Relationship Id="rId7" Type="http://schemas.openxmlformats.org/officeDocument/2006/relationships/image" Target="../media/image31.png"/><Relationship Id="rId2" Type="http://schemas.openxmlformats.org/officeDocument/2006/relationships/image" Target="../media/image26.png"/><Relationship Id="rId1" Type="http://schemas.openxmlformats.org/officeDocument/2006/relationships/slideLayout" Target="../slideLayouts/slideLayout13.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s/_rels/slide4.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4.jpeg"/><Relationship Id="rId1" Type="http://schemas.openxmlformats.org/officeDocument/2006/relationships/slideLayout" Target="../slideLayouts/slideLayout275.xml"/><Relationship Id="rId4" Type="http://schemas.openxmlformats.org/officeDocument/2006/relationships/image" Target="../media/image36.jpeg"/></Relationships>
</file>

<file path=ppt/slides/_rels/slide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jpeg"/><Relationship Id="rId1" Type="http://schemas.openxmlformats.org/officeDocument/2006/relationships/slideLayout" Target="../slideLayouts/slideLayout275.xml"/></Relationships>
</file>

<file path=ppt/slides/_rels/slide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jpeg"/><Relationship Id="rId1" Type="http://schemas.openxmlformats.org/officeDocument/2006/relationships/slideLayout" Target="../slideLayouts/slideLayout275.xml"/><Relationship Id="rId4" Type="http://schemas.openxmlformats.org/officeDocument/2006/relationships/image" Target="../media/image41.png"/></Relationships>
</file>

<file path=ppt/slides/_rels/slide9.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3210849784"/>
      </p:ext>
    </p:extLst>
  </p:cSld>
  <p:clrMapOvr>
    <a:masterClrMapping/>
  </p:clrMapOvr>
  <mc:AlternateContent xmlns:mc="http://schemas.openxmlformats.org/markup-compatibility/2006" xmlns:p14="http://schemas.microsoft.com/office/powerpoint/2010/main">
    <mc:Choice Requires="p14">
      <p:transition spd="slow" p14:dur="2000" advTm="8712"/>
    </mc:Choice>
    <mc:Fallback xmlns="">
      <p:transition spd="slow" advTm="8712"/>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Titel 59">
            <a:extLst>
              <a:ext uri="{FF2B5EF4-FFF2-40B4-BE49-F238E27FC236}">
                <a16:creationId xmlns:a16="http://schemas.microsoft.com/office/drawing/2014/main" id="{5F7B7910-CA1F-4CAE-AF95-4D81BECDFE5E}"/>
              </a:ext>
            </a:extLst>
          </p:cNvPr>
          <p:cNvSpPr>
            <a:spLocks noGrp="1"/>
          </p:cNvSpPr>
          <p:nvPr>
            <p:ph type="title"/>
          </p:nvPr>
        </p:nvSpPr>
        <p:spPr>
          <a:xfrm>
            <a:off x="9023420" y="355362"/>
            <a:ext cx="2714368" cy="767737"/>
          </a:xfrm>
        </p:spPr>
        <p:txBody>
          <a:bodyPr>
            <a:normAutofit/>
          </a:bodyPr>
          <a:lstStyle/>
          <a:p>
            <a:pPr algn="r" rtl="1"/>
            <a:r>
              <a:rPr lang="he-IL" sz="3600" b="1">
                <a:effectLst>
                  <a:outerShdw blurRad="38100" dist="38100" dir="2700000" algn="tl">
                    <a:srgbClr val="000000">
                      <a:alpha val="43137"/>
                    </a:srgbClr>
                  </a:outerShdw>
                </a:effectLst>
                <a:latin typeface="Calibri" panose="020F0502020204030204" pitchFamily="34" charset="0"/>
                <a:ea typeface="Calibri" panose="020F0502020204030204" pitchFamily="34" charset="0"/>
                <a:cs typeface="Calibri" panose="020F0502020204030204" pitchFamily="34" charset="0"/>
              </a:rPr>
              <a:t>מבנה החברה</a:t>
            </a:r>
            <a:endParaRPr lang="de-DE" sz="3600">
              <a:effectLst>
                <a:outerShdw blurRad="38100" dist="38100" dir="2700000" algn="tl">
                  <a:srgbClr val="000000">
                    <a:alpha val="43137"/>
                  </a:srgbClr>
                </a:outerShdw>
              </a:effectLst>
              <a:latin typeface="Calibri" panose="020F0502020204030204" pitchFamily="34" charset="0"/>
              <a:ea typeface="Calibri" panose="020F0502020204030204" pitchFamily="34" charset="0"/>
              <a:cs typeface="Calibri" panose="020F0502020204030204" pitchFamily="34" charset="0"/>
            </a:endParaRPr>
          </a:p>
        </p:txBody>
      </p:sp>
      <p:sp>
        <p:nvSpPr>
          <p:cNvPr id="2" name="Foliennummernplatzhalter 1">
            <a:extLst>
              <a:ext uri="{FF2B5EF4-FFF2-40B4-BE49-F238E27FC236}">
                <a16:creationId xmlns:a16="http://schemas.microsoft.com/office/drawing/2014/main" id="{5B9734D3-02BE-4B4F-AB55-B4821EFAA55C}"/>
              </a:ext>
            </a:extLst>
          </p:cNvPr>
          <p:cNvSpPr>
            <a:spLocks noGrp="1"/>
          </p:cNvSpPr>
          <p:nvPr>
            <p:ph type="sldNum" sz="quarter" idx="10"/>
          </p:nvPr>
        </p:nvSpPr>
        <p:spPr/>
        <p:txBody>
          <a:bodyPr/>
          <a:lstStyle/>
          <a:p>
            <a:fld id="{A04BEB4F-8CE1-4F18-986F-6CE0A0BE9470}" type="slidenum">
              <a:rPr lang="de-DE" smtClean="0"/>
              <a:t>10</a:t>
            </a:fld>
            <a:endParaRPr lang="de-DE"/>
          </a:p>
        </p:txBody>
      </p:sp>
      <p:graphicFrame>
        <p:nvGraphicFramePr>
          <p:cNvPr id="7" name="דיאגרמה 6">
            <a:extLst>
              <a:ext uri="{FF2B5EF4-FFF2-40B4-BE49-F238E27FC236}">
                <a16:creationId xmlns:a16="http://schemas.microsoft.com/office/drawing/2014/main" id="{5ABE474A-CE14-DBD8-F9D6-CC0D5EF8A115}"/>
              </a:ext>
            </a:extLst>
          </p:cNvPr>
          <p:cNvGraphicFramePr/>
          <p:nvPr>
            <p:extLst>
              <p:ext uri="{D42A27DB-BD31-4B8C-83A1-F6EECF244321}">
                <p14:modId xmlns:p14="http://schemas.microsoft.com/office/powerpoint/2010/main" val="3864183668"/>
              </p:ext>
            </p:extLst>
          </p:nvPr>
        </p:nvGraphicFramePr>
        <p:xfrm>
          <a:off x="-587477" y="887956"/>
          <a:ext cx="13366954" cy="561468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068080373"/>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60"/>
                                        </p:tgtEl>
                                        <p:attrNameLst>
                                          <p:attrName>style.visibility</p:attrName>
                                        </p:attrNameLst>
                                      </p:cBhvr>
                                      <p:to>
                                        <p:strVal val="visible"/>
                                      </p:to>
                                    </p:set>
                                    <p:anim calcmode="lin" valueType="num">
                                      <p:cBhvr additive="base">
                                        <p:cTn id="7" dur="1000" fill="hold"/>
                                        <p:tgtEl>
                                          <p:spTgt spid="60"/>
                                        </p:tgtEl>
                                        <p:attrNameLst>
                                          <p:attrName>ppt_x</p:attrName>
                                        </p:attrNameLst>
                                      </p:cBhvr>
                                      <p:tavLst>
                                        <p:tav tm="0">
                                          <p:val>
                                            <p:strVal val="1+#ppt_w/2"/>
                                          </p:val>
                                        </p:tav>
                                        <p:tav tm="100000">
                                          <p:val>
                                            <p:strVal val="#ppt_x"/>
                                          </p:val>
                                        </p:tav>
                                      </p:tavLst>
                                    </p:anim>
                                    <p:anim calcmode="lin" valueType="num">
                                      <p:cBhvr additive="base">
                                        <p:cTn id="8" dur="1000" fill="hold"/>
                                        <p:tgtEl>
                                          <p:spTgt spid="60"/>
                                        </p:tgtEl>
                                        <p:attrNameLst>
                                          <p:attrName>ppt_y</p:attrName>
                                        </p:attrNameLst>
                                      </p:cBhvr>
                                      <p:tavLst>
                                        <p:tav tm="0">
                                          <p:val>
                                            <p:strVal val="#ppt_y"/>
                                          </p:val>
                                        </p:tav>
                                        <p:tav tm="100000">
                                          <p:val>
                                            <p:strVal val="#ppt_y"/>
                                          </p:val>
                                        </p:tav>
                                      </p:tavLst>
                                    </p:anim>
                                  </p:childTnLst>
                                </p:cTn>
                              </p:par>
                            </p:childTnLst>
                          </p:cTn>
                        </p:par>
                        <p:par>
                          <p:cTn id="9" fill="hold">
                            <p:stCondLst>
                              <p:cond delay="1000"/>
                            </p:stCondLst>
                            <p:childTnLst>
                              <p:par>
                                <p:cTn id="10" presetID="42" presetClass="entr" presetSubtype="0" fill="hold" grpId="0" nodeType="after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1000"/>
                                        <p:tgtEl>
                                          <p:spTgt spid="7"/>
                                        </p:tgtEl>
                                      </p:cBhvr>
                                    </p:animEffect>
                                    <p:anim calcmode="lin" valueType="num">
                                      <p:cBhvr>
                                        <p:cTn id="13" dur="1000" fill="hold"/>
                                        <p:tgtEl>
                                          <p:spTgt spid="7"/>
                                        </p:tgtEl>
                                        <p:attrNameLst>
                                          <p:attrName>ppt_x</p:attrName>
                                        </p:attrNameLst>
                                      </p:cBhvr>
                                      <p:tavLst>
                                        <p:tav tm="0">
                                          <p:val>
                                            <p:strVal val="#ppt_x"/>
                                          </p:val>
                                        </p:tav>
                                        <p:tav tm="100000">
                                          <p:val>
                                            <p:strVal val="#ppt_x"/>
                                          </p:val>
                                        </p:tav>
                                      </p:tavLst>
                                    </p:anim>
                                    <p:anim calcmode="lin" valueType="num">
                                      <p:cBhvr>
                                        <p:cTn id="14" dur="10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0" grpId="0"/>
      <p:bldGraphic spid="7" grpId="0">
        <p:bldAsOne/>
      </p:bldGraphic>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CBE8F0FA-8AE7-4031-8871-CC3E55C42CC3}"/>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ct val="0"/>
              </a:spcBef>
              <a:spcAft>
                <a:spcPct val="0"/>
              </a:spcAft>
              <a:buClrTx/>
              <a:buSzTx/>
              <a:buFontTx/>
              <a:buNone/>
              <a:defRPr/>
            </a:pPr>
            <a:fld id="{A04BEB4F-8CE1-4F18-986F-6CE0A0BE9470}" type="slidenum">
              <a:rPr kumimoji="0" lang="de-DE" sz="1000" b="0" i="0" u="none" strike="noStrike" kern="1200" cap="none" spc="170" normalizeH="0" baseline="0" noProof="0" smtClean="0">
                <a:ln>
                  <a:noFill/>
                </a:ln>
                <a:solidFill>
                  <a:srgbClr val="BCC0CF"/>
                </a:solidFill>
                <a:effectLst/>
                <a:uLnTx/>
                <a:uFillTx/>
                <a:latin typeface="Roboto Bold" panose="02000000000000000000" pitchFamily="2" charset="0"/>
                <a:ea typeface="Roboto Bold" panose="02000000000000000000" pitchFamily="2" charset="0"/>
                <a:cs typeface="Arial"/>
              </a:rPr>
              <a:pPr marL="0" marR="0" lvl="0" indent="0" algn="r" defTabSz="914400" rtl="0" eaLnBrk="1" fontAlgn="auto" latinLnBrk="0" hangingPunct="1">
                <a:lnSpc>
                  <a:spcPct val="100000"/>
                </a:lnSpc>
                <a:spcBef>
                  <a:spcPct val="0"/>
                </a:spcBef>
                <a:spcAft>
                  <a:spcPct val="0"/>
                </a:spcAft>
                <a:buClrTx/>
                <a:buSzTx/>
                <a:buFontTx/>
                <a:buNone/>
                <a:defRPr/>
              </a:pPr>
              <a:t>11</a:t>
            </a:fld>
            <a:endParaRPr kumimoji="0" lang="de-DE" sz="1000" b="0" i="0" u="none" strike="noStrike" kern="1200" cap="none" spc="170" normalizeH="0" baseline="0" noProof="0">
              <a:ln>
                <a:noFill/>
              </a:ln>
              <a:solidFill>
                <a:srgbClr val="BCC0CF"/>
              </a:solidFill>
              <a:effectLst/>
              <a:uLnTx/>
              <a:uFillTx/>
              <a:latin typeface="Roboto Bold" panose="02000000000000000000" pitchFamily="2" charset="0"/>
              <a:ea typeface="Roboto Bold" panose="02000000000000000000" pitchFamily="2" charset="0"/>
              <a:cs typeface="Arial"/>
            </a:endParaRPr>
          </a:p>
        </p:txBody>
      </p:sp>
      <p:sp>
        <p:nvSpPr>
          <p:cNvPr id="3" name="Titel 1">
            <a:extLst>
              <a:ext uri="{FF2B5EF4-FFF2-40B4-BE49-F238E27FC236}">
                <a16:creationId xmlns:a16="http://schemas.microsoft.com/office/drawing/2014/main" id="{FAED0AA3-342F-48C0-8492-67585E32A2EB}"/>
              </a:ext>
            </a:extLst>
          </p:cNvPr>
          <p:cNvSpPr txBox="1"/>
          <p:nvPr/>
        </p:nvSpPr>
        <p:spPr>
          <a:xfrm>
            <a:off x="815952" y="733403"/>
            <a:ext cx="10560095" cy="921720"/>
          </a:xfrm>
          <a:prstGeom prst="rect">
            <a:avLst/>
          </a:prstGeom>
        </p:spPr>
        <p:txBody>
          <a:bodyPr>
            <a:normAutofit/>
          </a:bodyPr>
          <a:lstStyle>
            <a:lvl1pPr algn="l" defTabSz="914400" rtl="0" eaLnBrk="1" latinLnBrk="0" hangingPunct="1">
              <a:lnSpc>
                <a:spcPct val="100000"/>
              </a:lnSpc>
              <a:spcBef>
                <a:spcPct val="0"/>
              </a:spcBef>
              <a:buNone/>
              <a:defRPr sz="2800" kern="1200">
                <a:solidFill>
                  <a:schemeClr val="tx2"/>
                </a:solidFill>
                <a:latin typeface="+mj-lt"/>
                <a:ea typeface="+mj-ea"/>
                <a:cs typeface="+mj-cs"/>
              </a:defRPr>
            </a:lvl1pPr>
          </a:lstStyle>
          <a:p>
            <a:pPr marL="0" marR="0" lvl="0" indent="0" algn="r" defTabSz="914400" rtl="1" eaLnBrk="1" fontAlgn="auto" latinLnBrk="0" hangingPunct="1">
              <a:lnSpc>
                <a:spcPct val="100000"/>
              </a:lnSpc>
              <a:spcBef>
                <a:spcPct val="0"/>
              </a:spcBef>
              <a:spcAft>
                <a:spcPct val="0"/>
              </a:spcAft>
              <a:buClrTx/>
              <a:buSzTx/>
              <a:buFontTx/>
              <a:buNone/>
              <a:defRPr/>
            </a:pPr>
            <a:r>
              <a:rPr lang="he-IL" b="1" noProof="0" dirty="0">
                <a:solidFill>
                  <a:srgbClr val="004C99"/>
                </a:solidFill>
                <a:effectLst>
                  <a:outerShdw blurRad="38100" dist="38100" dir="2700000" algn="tl">
                    <a:srgbClr val="000000">
                      <a:alpha val="43137"/>
                    </a:srgbClr>
                  </a:outerShdw>
                </a:effectLst>
                <a:latin typeface="Calibri" panose="020F0502020204030204" pitchFamily="34" charset="0"/>
                <a:ea typeface="Calibri" panose="020F0502020204030204" pitchFamily="34" charset="0"/>
                <a:cs typeface="Calibri" panose="020F0502020204030204" pitchFamily="34" charset="0"/>
              </a:rPr>
              <a:t>עובדות ומספרים</a:t>
            </a:r>
            <a:endParaRPr kumimoji="0" lang="de-DE" sz="2800" b="0" i="0" u="none" strike="noStrike" kern="1200" cap="none" spc="0" normalizeH="0" baseline="0" noProof="0" dirty="0">
              <a:ln>
                <a:noFill/>
              </a:ln>
              <a:solidFill>
                <a:srgbClr val="004C99"/>
              </a:solidFill>
              <a:effectLst>
                <a:outerShdw blurRad="38100" dist="38100" dir="2700000" algn="tl">
                  <a:srgbClr val="000000">
                    <a:alpha val="43137"/>
                  </a:srgbClr>
                </a:outerShdw>
              </a:effectLst>
              <a:uLnTx/>
              <a:uFillTx/>
              <a:latin typeface="Calibri" panose="020F0502020204030204" pitchFamily="34" charset="0"/>
              <a:ea typeface="Calibri" panose="020F0502020204030204" pitchFamily="34" charset="0"/>
              <a:cs typeface="Calibri" panose="020F0502020204030204" pitchFamily="34" charset="0"/>
            </a:endParaRPr>
          </a:p>
          <a:p>
            <a:pPr marL="0" marR="0" lvl="0" indent="0" algn="r" defTabSz="914400" rtl="1" eaLnBrk="1" fontAlgn="auto" latinLnBrk="0" hangingPunct="1">
              <a:lnSpc>
                <a:spcPct val="100000"/>
              </a:lnSpc>
              <a:spcBef>
                <a:spcPct val="0"/>
              </a:spcBef>
              <a:spcAft>
                <a:spcPct val="0"/>
              </a:spcAft>
              <a:buClrTx/>
              <a:buSzTx/>
              <a:buFontTx/>
              <a:buNone/>
              <a:defRPr/>
            </a:pPr>
            <a:r>
              <a:rPr lang="he-IL" sz="1800" noProof="0" dirty="0">
                <a:solidFill>
                  <a:srgbClr val="004C99"/>
                </a:solidFill>
                <a:latin typeface="Calibri" panose="020F0502020204030204" pitchFamily="34" charset="0"/>
                <a:ea typeface="Calibri" panose="020F0502020204030204" pitchFamily="34" charset="0"/>
                <a:cs typeface="Calibri" panose="020F0502020204030204" pitchFamily="34" charset="0"/>
              </a:rPr>
              <a:t>נתונים מרכזיים על </a:t>
            </a:r>
            <a:r>
              <a:rPr lang="he-IL" sz="1800" noProof="0" dirty="0" err="1">
                <a:solidFill>
                  <a:srgbClr val="004C99"/>
                </a:solidFill>
                <a:latin typeface="Calibri" panose="020F0502020204030204" pitchFamily="34" charset="0"/>
                <a:ea typeface="Calibri" panose="020F0502020204030204" pitchFamily="34" charset="0"/>
                <a:cs typeface="Calibri" panose="020F0502020204030204" pitchFamily="34" charset="0"/>
              </a:rPr>
              <a:t>פלטרנספורט</a:t>
            </a:r>
            <a:r>
              <a:rPr lang="he-IL" sz="1800" noProof="0" dirty="0">
                <a:solidFill>
                  <a:srgbClr val="004C99"/>
                </a:solidFill>
                <a:latin typeface="Calibri" panose="020F0502020204030204" pitchFamily="34" charset="0"/>
                <a:ea typeface="Calibri" panose="020F0502020204030204" pitchFamily="34" charset="0"/>
                <a:cs typeface="Calibri" panose="020F0502020204030204" pitchFamily="34" charset="0"/>
              </a:rPr>
              <a:t> </a:t>
            </a:r>
            <a:r>
              <a:rPr lang="he-IL" sz="1400" noProof="0" dirty="0">
                <a:solidFill>
                  <a:srgbClr val="004C99"/>
                </a:solidFill>
                <a:latin typeface="Calibri" panose="020F0502020204030204" pitchFamily="34" charset="0"/>
                <a:ea typeface="Calibri" panose="020F0502020204030204" pitchFamily="34" charset="0"/>
                <a:cs typeface="Calibri" panose="020F0502020204030204" pitchFamily="34" charset="0"/>
              </a:rPr>
              <a:t>(נכון לשנת 2024) </a:t>
            </a:r>
            <a:endParaRPr kumimoji="0" lang="de-DE" sz="1800" b="0" i="0" u="none" strike="noStrike" kern="1200" cap="none" spc="0" normalizeH="0" baseline="0" noProof="0" dirty="0">
              <a:ln>
                <a:noFill/>
              </a:ln>
              <a:solidFill>
                <a:srgbClr val="004C99"/>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6" name="Arrow: Chevron 139">
            <a:extLst>
              <a:ext uri="{FF2B5EF4-FFF2-40B4-BE49-F238E27FC236}">
                <a16:creationId xmlns:a16="http://schemas.microsoft.com/office/drawing/2014/main" id="{4F6648FA-1B4E-45A6-A2AC-A3494F6A2560}"/>
              </a:ext>
            </a:extLst>
          </p:cNvPr>
          <p:cNvSpPr/>
          <p:nvPr/>
        </p:nvSpPr>
        <p:spPr>
          <a:xfrm rot="10800000" flipH="1">
            <a:off x="2840886" y="1851221"/>
            <a:ext cx="1318232" cy="3547630"/>
          </a:xfrm>
          <a:prstGeom prst="chevron">
            <a:avLst>
              <a:gd name="adj" fmla="val 4604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srgbClr val="172144"/>
              </a:solidFill>
              <a:effectLst/>
              <a:uLnTx/>
              <a:uFillTx/>
              <a:latin typeface="Calibri" panose="020F0502020204030204"/>
              <a:ea typeface="Roboto Light"/>
              <a:cs typeface="Arial"/>
            </a:endParaRPr>
          </a:p>
        </p:txBody>
      </p:sp>
      <p:sp>
        <p:nvSpPr>
          <p:cNvPr id="8" name="Arrow: Chevron 140">
            <a:extLst>
              <a:ext uri="{FF2B5EF4-FFF2-40B4-BE49-F238E27FC236}">
                <a16:creationId xmlns:a16="http://schemas.microsoft.com/office/drawing/2014/main" id="{B575106A-76F1-459F-8D54-31EA232888F0}"/>
              </a:ext>
            </a:extLst>
          </p:cNvPr>
          <p:cNvSpPr/>
          <p:nvPr/>
        </p:nvSpPr>
        <p:spPr>
          <a:xfrm rot="10800000" flipH="1">
            <a:off x="5482690" y="1851221"/>
            <a:ext cx="1318232" cy="3547630"/>
          </a:xfrm>
          <a:prstGeom prst="chevron">
            <a:avLst>
              <a:gd name="adj" fmla="val 4604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srgbClr val="172144"/>
              </a:solidFill>
              <a:effectLst/>
              <a:uLnTx/>
              <a:uFillTx/>
              <a:latin typeface="Calibri" panose="020F0502020204030204"/>
              <a:ea typeface="Roboto Light"/>
              <a:cs typeface="Arial"/>
            </a:endParaRPr>
          </a:p>
        </p:txBody>
      </p:sp>
      <p:sp>
        <p:nvSpPr>
          <p:cNvPr id="10" name="Arrow: Chevron 141">
            <a:extLst>
              <a:ext uri="{FF2B5EF4-FFF2-40B4-BE49-F238E27FC236}">
                <a16:creationId xmlns:a16="http://schemas.microsoft.com/office/drawing/2014/main" id="{98542077-B205-47AD-BEA9-580D9862E7F6}"/>
              </a:ext>
            </a:extLst>
          </p:cNvPr>
          <p:cNvSpPr/>
          <p:nvPr/>
        </p:nvSpPr>
        <p:spPr>
          <a:xfrm rot="10800000" flipH="1">
            <a:off x="8115595" y="1851221"/>
            <a:ext cx="1318232" cy="3547630"/>
          </a:xfrm>
          <a:prstGeom prst="chevron">
            <a:avLst>
              <a:gd name="adj" fmla="val 4604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srgbClr val="172144"/>
              </a:solidFill>
              <a:effectLst/>
              <a:uLnTx/>
              <a:uFillTx/>
              <a:latin typeface="Calibri" panose="020F0502020204030204"/>
              <a:ea typeface="Roboto Light"/>
              <a:cs typeface="Arial"/>
            </a:endParaRPr>
          </a:p>
        </p:txBody>
      </p:sp>
      <p:sp>
        <p:nvSpPr>
          <p:cNvPr id="25" name="Arrow: Chevron 141">
            <a:extLst>
              <a:ext uri="{FF2B5EF4-FFF2-40B4-BE49-F238E27FC236}">
                <a16:creationId xmlns:a16="http://schemas.microsoft.com/office/drawing/2014/main" id="{F4FF335C-19F1-45D0-A22D-B1D26E8105D4}"/>
              </a:ext>
            </a:extLst>
          </p:cNvPr>
          <p:cNvSpPr/>
          <p:nvPr/>
        </p:nvSpPr>
        <p:spPr>
          <a:xfrm rot="10800000" flipH="1">
            <a:off x="10753833" y="1851221"/>
            <a:ext cx="1318232" cy="3547630"/>
          </a:xfrm>
          <a:prstGeom prst="chevron">
            <a:avLst>
              <a:gd name="adj" fmla="val 4604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srgbClr val="172144"/>
              </a:solidFill>
              <a:effectLst/>
              <a:uLnTx/>
              <a:uFillTx/>
              <a:latin typeface="Calibri" panose="020F0502020204030204"/>
              <a:ea typeface="Roboto Light"/>
              <a:cs typeface="Arial"/>
            </a:endParaRPr>
          </a:p>
        </p:txBody>
      </p:sp>
      <p:grpSp>
        <p:nvGrpSpPr>
          <p:cNvPr id="4" name="קבוצה 3">
            <a:extLst>
              <a:ext uri="{FF2B5EF4-FFF2-40B4-BE49-F238E27FC236}">
                <a16:creationId xmlns:a16="http://schemas.microsoft.com/office/drawing/2014/main" id="{6C7FC83F-1EDF-67BD-0F70-EB0903405153}"/>
              </a:ext>
            </a:extLst>
          </p:cNvPr>
          <p:cNvGrpSpPr/>
          <p:nvPr/>
        </p:nvGrpSpPr>
        <p:grpSpPr>
          <a:xfrm>
            <a:off x="329817" y="1983535"/>
            <a:ext cx="11355385" cy="3972479"/>
            <a:chOff x="329817" y="1983535"/>
            <a:chExt cx="11355385" cy="3972479"/>
          </a:xfrm>
        </p:grpSpPr>
        <p:pic>
          <p:nvPicPr>
            <p:cNvPr id="17" name="תמונה 16">
              <a:extLst>
                <a:ext uri="{FF2B5EF4-FFF2-40B4-BE49-F238E27FC236}">
                  <a16:creationId xmlns:a16="http://schemas.microsoft.com/office/drawing/2014/main" id="{532D2B20-5A63-D54C-0D77-8B1DDE74224A}"/>
                </a:ext>
              </a:extLst>
            </p:cNvPr>
            <p:cNvPicPr>
              <a:picLocks noChangeAspect="1"/>
            </p:cNvPicPr>
            <p:nvPr/>
          </p:nvPicPr>
          <p:blipFill>
            <a:blip r:embed="rId3"/>
            <a:stretch>
              <a:fillRect/>
            </a:stretch>
          </p:blipFill>
          <p:spPr>
            <a:xfrm rot="10800000">
              <a:off x="329817" y="1983535"/>
              <a:ext cx="11355385" cy="3972479"/>
            </a:xfrm>
            <a:prstGeom prst="rect">
              <a:avLst/>
            </a:prstGeom>
          </p:spPr>
        </p:pic>
        <p:sp>
          <p:nvSpPr>
            <p:cNvPr id="18" name="TextBox 145">
              <a:extLst>
                <a:ext uri="{FF2B5EF4-FFF2-40B4-BE49-F238E27FC236}">
                  <a16:creationId xmlns:a16="http://schemas.microsoft.com/office/drawing/2014/main" id="{8C9CA9C3-07F8-ED48-B53A-6E06E0BC1600}"/>
                </a:ext>
              </a:extLst>
            </p:cNvPr>
            <p:cNvSpPr txBox="1"/>
            <p:nvPr/>
          </p:nvSpPr>
          <p:spPr>
            <a:xfrm>
              <a:off x="9454497" y="4022685"/>
              <a:ext cx="1525476" cy="800219"/>
            </a:xfrm>
            <a:prstGeom prst="rect">
              <a:avLst/>
            </a:prstGeom>
            <a:noFill/>
          </p:spPr>
          <p:txBody>
            <a:bodyPr wrap="square" rtlCol="0">
              <a:spAutoFit/>
            </a:bodyPr>
            <a:lstStyle/>
            <a:p>
              <a:pPr marL="0" marR="0" lvl="0" indent="0" algn="r" defTabSz="457200" rtl="1" eaLnBrk="1" fontAlgn="auto" latinLnBrk="0" hangingPunct="1">
                <a:lnSpc>
                  <a:spcPct val="100000"/>
                </a:lnSpc>
                <a:spcBef>
                  <a:spcPct val="0"/>
                </a:spcBef>
                <a:spcAft>
                  <a:spcPct val="0"/>
                </a:spcAft>
                <a:buClrTx/>
                <a:buSzTx/>
                <a:buFontTx/>
                <a:buNone/>
                <a:defRPr/>
              </a:pPr>
              <a:r>
                <a:rPr lang="he-IL" sz="2800" b="1">
                  <a:solidFill>
                    <a:srgbClr val="FFFFFF"/>
                  </a:solidFill>
                  <a:latin typeface="Calibri" panose="020F0502020204030204" pitchFamily="34" charset="0"/>
                  <a:ea typeface="Calibri" panose="020F0502020204030204" pitchFamily="34" charset="0"/>
                  <a:cs typeface="Calibri" panose="020F0502020204030204" pitchFamily="34" charset="0"/>
                </a:rPr>
                <a:t>1947</a:t>
              </a:r>
              <a:endParaRPr kumimoji="0" lang="en-US" sz="2800" b="1" i="0" u="none" strike="noStrike" kern="1200" cap="none" spc="0" normalizeH="0" baseline="0" noProof="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endParaRPr>
            </a:p>
            <a:p>
              <a:pPr marL="0" marR="0" lvl="0" indent="0" algn="r" defTabSz="457200" rtl="0" eaLnBrk="1" fontAlgn="auto" latinLnBrk="0" hangingPunct="1">
                <a:lnSpc>
                  <a:spcPct val="100000"/>
                </a:lnSpc>
                <a:spcBef>
                  <a:spcPct val="0"/>
                </a:spcBef>
                <a:spcAft>
                  <a:spcPct val="0"/>
                </a:spcAft>
                <a:buClrTx/>
                <a:buSzTx/>
                <a:buFontTx/>
                <a:buNone/>
                <a:defRPr/>
              </a:pPr>
              <a:r>
                <a:rPr lang="he-IL">
                  <a:solidFill>
                    <a:srgbClr val="FFFFFF"/>
                  </a:solidFill>
                  <a:latin typeface="Calibri" panose="020F0502020204030204" pitchFamily="34" charset="0"/>
                  <a:ea typeface="Calibri" panose="020F0502020204030204" pitchFamily="34" charset="0"/>
                  <a:cs typeface="Calibri" panose="020F0502020204030204" pitchFamily="34" charset="0"/>
                </a:rPr>
                <a:t>שנת היווסדות </a:t>
              </a:r>
              <a:endParaRPr kumimoji="0" lang="en-US" sz="2800" b="1" i="0" u="none" strike="noStrike" kern="1200" cap="none" spc="0" normalizeH="0" baseline="0" noProof="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20" name="TextBox 145">
              <a:extLst>
                <a:ext uri="{FF2B5EF4-FFF2-40B4-BE49-F238E27FC236}">
                  <a16:creationId xmlns:a16="http://schemas.microsoft.com/office/drawing/2014/main" id="{E1278525-481D-16A0-7726-5F51C9D0EB67}"/>
                </a:ext>
              </a:extLst>
            </p:cNvPr>
            <p:cNvSpPr txBox="1"/>
            <p:nvPr/>
          </p:nvSpPr>
          <p:spPr>
            <a:xfrm>
              <a:off x="1605139" y="4022686"/>
              <a:ext cx="1697765" cy="1077218"/>
            </a:xfrm>
            <a:prstGeom prst="rect">
              <a:avLst/>
            </a:prstGeom>
            <a:noFill/>
          </p:spPr>
          <p:txBody>
            <a:bodyPr wrap="square" rtlCol="0">
              <a:spAutoFit/>
            </a:bodyPr>
            <a:lstStyle/>
            <a:p>
              <a:pPr marL="0" marR="0" lvl="0" indent="0" algn="r" defTabSz="457200" rtl="1" eaLnBrk="1" fontAlgn="auto" latinLnBrk="0" hangingPunct="1">
                <a:lnSpc>
                  <a:spcPct val="100000"/>
                </a:lnSpc>
                <a:spcBef>
                  <a:spcPct val="0"/>
                </a:spcBef>
                <a:spcAft>
                  <a:spcPct val="0"/>
                </a:spcAft>
                <a:buClrTx/>
                <a:buSzTx/>
                <a:buFontTx/>
                <a:buNone/>
                <a:defRPr/>
              </a:pPr>
              <a:r>
                <a:rPr lang="he-IL" sz="2800" b="1">
                  <a:solidFill>
                    <a:srgbClr val="FFFFFF"/>
                  </a:solidFill>
                  <a:latin typeface="Calibri" panose="020F0502020204030204" pitchFamily="34" charset="0"/>
                  <a:ea typeface="Calibri" panose="020F0502020204030204" pitchFamily="34" charset="0"/>
                  <a:cs typeface="Calibri" panose="020F0502020204030204" pitchFamily="34" charset="0"/>
                </a:rPr>
                <a:t>6</a:t>
              </a:r>
              <a:endParaRPr kumimoji="0" lang="en-US" sz="2800" b="1" i="0" u="none" strike="noStrike" kern="1200" cap="none" spc="0" normalizeH="0" baseline="0" noProof="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endParaRPr>
            </a:p>
            <a:p>
              <a:pPr marL="0" marR="0" lvl="0" indent="0" algn="r" defTabSz="457200" rtl="0" eaLnBrk="1" fontAlgn="auto" latinLnBrk="0" hangingPunct="1">
                <a:lnSpc>
                  <a:spcPct val="100000"/>
                </a:lnSpc>
                <a:spcBef>
                  <a:spcPct val="0"/>
                </a:spcBef>
                <a:spcAft>
                  <a:spcPct val="0"/>
                </a:spcAft>
                <a:buClrTx/>
                <a:buSzTx/>
                <a:buFontTx/>
                <a:buNone/>
                <a:defRPr/>
              </a:pPr>
              <a:r>
                <a:rPr lang="he-IL">
                  <a:solidFill>
                    <a:srgbClr val="FFFFFF"/>
                  </a:solidFill>
                  <a:latin typeface="Calibri" panose="020F0502020204030204" pitchFamily="34" charset="0"/>
                  <a:ea typeface="Calibri" panose="020F0502020204030204" pitchFamily="34" charset="0"/>
                  <a:cs typeface="Calibri" panose="020F0502020204030204" pitchFamily="34" charset="0"/>
                </a:rPr>
                <a:t>סניפים בבעלות החברה</a:t>
              </a:r>
              <a:endParaRPr kumimoji="0" lang="en-US" sz="2800" b="1" i="0" u="none" strike="noStrike" kern="1200" cap="none" spc="0" normalizeH="0" baseline="0" noProof="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23" name="TextBox 145">
              <a:extLst>
                <a:ext uri="{FF2B5EF4-FFF2-40B4-BE49-F238E27FC236}">
                  <a16:creationId xmlns:a16="http://schemas.microsoft.com/office/drawing/2014/main" id="{9699856D-4E59-DFB3-CC94-194B4F74E05A}"/>
                </a:ext>
              </a:extLst>
            </p:cNvPr>
            <p:cNvSpPr txBox="1"/>
            <p:nvPr/>
          </p:nvSpPr>
          <p:spPr>
            <a:xfrm>
              <a:off x="6634180" y="4022686"/>
              <a:ext cx="1697765" cy="800219"/>
            </a:xfrm>
            <a:prstGeom prst="rect">
              <a:avLst/>
            </a:prstGeom>
            <a:noFill/>
          </p:spPr>
          <p:txBody>
            <a:bodyPr wrap="square" rtlCol="0">
              <a:spAutoFit/>
            </a:bodyPr>
            <a:lstStyle/>
            <a:p>
              <a:pPr marL="0" marR="0" lvl="0" indent="0" algn="r" defTabSz="457200" rtl="1" eaLnBrk="1" fontAlgn="auto" latinLnBrk="0" hangingPunct="1">
                <a:lnSpc>
                  <a:spcPct val="100000"/>
                </a:lnSpc>
                <a:spcBef>
                  <a:spcPct val="0"/>
                </a:spcBef>
                <a:spcAft>
                  <a:spcPct val="0"/>
                </a:spcAft>
                <a:buClrTx/>
                <a:buSzTx/>
                <a:buFontTx/>
                <a:buNone/>
                <a:defRPr/>
              </a:pPr>
              <a:r>
                <a:rPr lang="en-US" sz="2800" b="1" dirty="0">
                  <a:solidFill>
                    <a:srgbClr val="FFFFFF"/>
                  </a:solidFill>
                  <a:latin typeface="Calibri" panose="020F0502020204030204" pitchFamily="34" charset="0"/>
                  <a:ea typeface="Calibri" panose="020F0502020204030204" pitchFamily="34" charset="0"/>
                  <a:cs typeface="Calibri" panose="020F0502020204030204" pitchFamily="34" charset="0"/>
                </a:rPr>
                <a:t>+85</a:t>
              </a:r>
              <a:endParaRPr kumimoji="0" lang="en-US" sz="2800" b="1"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endParaRPr>
            </a:p>
            <a:p>
              <a:pPr marL="0" marR="0" lvl="0" indent="0" algn="r" defTabSz="457200" rtl="1" eaLnBrk="1" fontAlgn="auto" latinLnBrk="0" hangingPunct="1">
                <a:lnSpc>
                  <a:spcPct val="100000"/>
                </a:lnSpc>
                <a:spcBef>
                  <a:spcPct val="0"/>
                </a:spcBef>
                <a:spcAft>
                  <a:spcPct val="0"/>
                </a:spcAft>
                <a:buClrTx/>
                <a:buSzTx/>
                <a:buFontTx/>
                <a:buNone/>
                <a:defRPr/>
              </a:pPr>
              <a:r>
                <a:rPr lang="he-IL" dirty="0">
                  <a:solidFill>
                    <a:srgbClr val="FFFFFF"/>
                  </a:solidFill>
                  <a:latin typeface="Calibri" panose="020F0502020204030204" pitchFamily="34" charset="0"/>
                  <a:ea typeface="Calibri" panose="020F0502020204030204" pitchFamily="34" charset="0"/>
                  <a:cs typeface="Calibri" panose="020F0502020204030204" pitchFamily="34" charset="0"/>
                </a:rPr>
                <a:t>עובדי חברה</a:t>
              </a:r>
              <a:endParaRPr kumimoji="0" lang="en-US"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24" name="TextBox 145">
              <a:extLst>
                <a:ext uri="{FF2B5EF4-FFF2-40B4-BE49-F238E27FC236}">
                  <a16:creationId xmlns:a16="http://schemas.microsoft.com/office/drawing/2014/main" id="{23F8A72D-CC77-7932-2A30-26B55E39834D}"/>
                </a:ext>
              </a:extLst>
            </p:cNvPr>
            <p:cNvSpPr txBox="1"/>
            <p:nvPr/>
          </p:nvSpPr>
          <p:spPr>
            <a:xfrm>
              <a:off x="3931896" y="4022685"/>
              <a:ext cx="1815389" cy="1631216"/>
            </a:xfrm>
            <a:prstGeom prst="rect">
              <a:avLst/>
            </a:prstGeom>
            <a:noFill/>
          </p:spPr>
          <p:txBody>
            <a:bodyPr wrap="square" rtlCol="0">
              <a:spAutoFit/>
            </a:bodyPr>
            <a:lstStyle/>
            <a:p>
              <a:pPr marL="0" marR="0" lvl="0" indent="0" algn="r" defTabSz="457200" rtl="1" eaLnBrk="1" fontAlgn="auto" latinLnBrk="0" hangingPunct="1">
                <a:lnSpc>
                  <a:spcPct val="100000"/>
                </a:lnSpc>
                <a:spcBef>
                  <a:spcPct val="0"/>
                </a:spcBef>
                <a:spcAft>
                  <a:spcPct val="0"/>
                </a:spcAft>
                <a:buClrTx/>
                <a:buSzTx/>
                <a:buFontTx/>
                <a:buNone/>
                <a:defRPr/>
              </a:pPr>
              <a:r>
                <a:rPr lang="he-IL" sz="2800" b="1" dirty="0">
                  <a:solidFill>
                    <a:srgbClr val="FFFFFF"/>
                  </a:solidFill>
                  <a:latin typeface="Calibri" panose="020F0502020204030204" pitchFamily="34" charset="0"/>
                  <a:ea typeface="Calibri" panose="020F0502020204030204" pitchFamily="34" charset="0"/>
                  <a:cs typeface="Calibri" panose="020F0502020204030204" pitchFamily="34" charset="0"/>
                </a:rPr>
                <a:t>30+</a:t>
              </a:r>
              <a:endParaRPr kumimoji="0" lang="en-US" sz="2800" b="1"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endParaRPr>
            </a:p>
            <a:p>
              <a:pPr marL="0" marR="0" lvl="0" indent="0" algn="r" defTabSz="457200" rtl="1" eaLnBrk="1" fontAlgn="auto" latinLnBrk="0" hangingPunct="1">
                <a:lnSpc>
                  <a:spcPct val="100000"/>
                </a:lnSpc>
                <a:spcBef>
                  <a:spcPct val="0"/>
                </a:spcBef>
                <a:spcAft>
                  <a:spcPct val="0"/>
                </a:spcAft>
                <a:buClrTx/>
                <a:buSzTx/>
                <a:buFontTx/>
                <a:buNone/>
                <a:defRPr/>
              </a:pPr>
              <a:r>
                <a:rPr lang="he-IL" dirty="0">
                  <a:solidFill>
                    <a:srgbClr val="FFFFFF"/>
                  </a:solidFill>
                  <a:latin typeface="Calibri" panose="020F0502020204030204" pitchFamily="34" charset="0"/>
                  <a:ea typeface="Calibri" panose="020F0502020204030204" pitchFamily="34" charset="0"/>
                  <a:cs typeface="Calibri" panose="020F0502020204030204" pitchFamily="34" charset="0"/>
                </a:rPr>
                <a:t>עובדים בעלי הסמכה רשמית לעסוק בפעולות מכס</a:t>
              </a:r>
              <a:endParaRPr kumimoji="0" lang="en-US" sz="2800" b="1"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pic>
          <p:nvPicPr>
            <p:cNvPr id="26" name="Grafik 14" descr="Gruppe von Männern">
              <a:extLst>
                <a:ext uri="{FF2B5EF4-FFF2-40B4-BE49-F238E27FC236}">
                  <a16:creationId xmlns:a16="http://schemas.microsoft.com/office/drawing/2014/main" id="{E9895CE4-BC06-C301-D15D-5991A1F5D54D}"/>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931748" y="2564157"/>
              <a:ext cx="1338902" cy="1338902"/>
            </a:xfrm>
            <a:prstGeom prst="rect">
              <a:avLst/>
            </a:prstGeom>
          </p:spPr>
        </p:pic>
        <p:pic>
          <p:nvPicPr>
            <p:cNvPr id="27" name="Grafik 20" descr="Ort">
              <a:extLst>
                <a:ext uri="{FF2B5EF4-FFF2-40B4-BE49-F238E27FC236}">
                  <a16:creationId xmlns:a16="http://schemas.microsoft.com/office/drawing/2014/main" id="{6E41A326-9A0F-228D-BEA1-D46CAA41817F}"/>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1829148" y="2564157"/>
              <a:ext cx="1249746" cy="1249746"/>
            </a:xfrm>
            <a:prstGeom prst="rect">
              <a:avLst/>
            </a:prstGeom>
          </p:spPr>
        </p:pic>
        <p:pic>
          <p:nvPicPr>
            <p:cNvPr id="32" name="תמונה 31" descr="תמונה שמכילה סמל, גופן, גרפיקה, לבן&#10;&#10;התיאור נוצר באופן אוטומטי">
              <a:extLst>
                <a:ext uri="{FF2B5EF4-FFF2-40B4-BE49-F238E27FC236}">
                  <a16:creationId xmlns:a16="http://schemas.microsoft.com/office/drawing/2014/main" id="{0F5D66BA-C0C7-9839-D53B-640ADBD2598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564951" y="2519579"/>
              <a:ext cx="1304568" cy="1304568"/>
            </a:xfrm>
            <a:prstGeom prst="rect">
              <a:avLst/>
            </a:prstGeom>
          </p:spPr>
        </p:pic>
        <p:pic>
          <p:nvPicPr>
            <p:cNvPr id="34" name="תמונה 33" descr="תמונה שמכילה סמל, לוגו, סימן, גופן&#10;&#10;התיאור נוצר באופן אוטומטי">
              <a:extLst>
                <a:ext uri="{FF2B5EF4-FFF2-40B4-BE49-F238E27FC236}">
                  <a16:creationId xmlns:a16="http://schemas.microsoft.com/office/drawing/2014/main" id="{04840607-69A9-27B5-6F4C-8F69DB56624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309185" y="2519579"/>
              <a:ext cx="1349237" cy="1349237"/>
            </a:xfrm>
            <a:prstGeom prst="rect">
              <a:avLst/>
            </a:prstGeom>
          </p:spPr>
        </p:pic>
      </p:grpSp>
    </p:spTree>
    <p:extLst>
      <p:ext uri="{BB962C8B-B14F-4D97-AF65-F5344CB8AC3E}">
        <p14:creationId xmlns:p14="http://schemas.microsoft.com/office/powerpoint/2010/main" val="794973715"/>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1+#ppt_w/2"/>
                                          </p:val>
                                        </p:tav>
                                        <p:tav tm="100000">
                                          <p:val>
                                            <p:strVal val="#ppt_x"/>
                                          </p:val>
                                        </p:tav>
                                      </p:tavLst>
                                    </p:anim>
                                    <p:anim calcmode="lin" valueType="num">
                                      <p:cBhvr additive="base">
                                        <p:cTn id="8" dur="500" fill="hold"/>
                                        <p:tgtEl>
                                          <p:spTgt spid="3"/>
                                        </p:tgtEl>
                                        <p:attrNameLst>
                                          <p:attrName>ppt_y</p:attrName>
                                        </p:attrNameLst>
                                      </p:cBhvr>
                                      <p:tavLst>
                                        <p:tav tm="0">
                                          <p:val>
                                            <p:strVal val="#ppt_y"/>
                                          </p:val>
                                        </p:tav>
                                        <p:tav tm="100000">
                                          <p:val>
                                            <p:strVal val="#ppt_y"/>
                                          </p:val>
                                        </p:tav>
                                      </p:tavLst>
                                    </p:anim>
                                  </p:childTnLst>
                                </p:cTn>
                              </p:par>
                              <p:par>
                                <p:cTn id="9" presetID="2" presetClass="entr" presetSubtype="2" dur="1000" decel="100000" fill="hold" grpId="0" nodeType="withEffect">
                                  <p:stCondLst>
                                    <p:cond delay="0"/>
                                  </p:stCondLst>
                                  <p:childTnLst>
                                    <p:set>
                                      <p:cBhvr>
                                        <p:cTn id="10" dur="1" fill="hold">
                                          <p:stCondLst>
                                            <p:cond delay="0"/>
                                          </p:stCondLst>
                                        </p:cTn>
                                        <p:tgtEl>
                                          <p:spTgt spid="6"/>
                                        </p:tgtEl>
                                        <p:attrNameLst>
                                          <p:attrName>style.visibility</p:attrName>
                                        </p:attrNameLst>
                                      </p:cBhvr>
                                      <p:to>
                                        <p:strVal val="visible"/>
                                      </p:to>
                                    </p:set>
                                    <p:anim calcmode="lin" valueType="num">
                                      <p:cBhvr additive="base">
                                        <p:cTn id="11" dur="1000" fill="hold"/>
                                        <p:tgtEl>
                                          <p:spTgt spid="6"/>
                                        </p:tgtEl>
                                        <p:attrNameLst>
                                          <p:attrName>ppt_x</p:attrName>
                                        </p:attrNameLst>
                                      </p:cBhvr>
                                      <p:tavLst>
                                        <p:tav tm="0">
                                          <p:val>
                                            <p:strVal val="1+#ppt_w/2"/>
                                          </p:val>
                                        </p:tav>
                                        <p:tav tm="100000">
                                          <p:val>
                                            <p:strVal val="#ppt_x"/>
                                          </p:val>
                                        </p:tav>
                                      </p:tavLst>
                                    </p:anim>
                                    <p:anim calcmode="lin" valueType="num">
                                      <p:cBhvr additive="base">
                                        <p:cTn id="12" dur="1000" fill="hold"/>
                                        <p:tgtEl>
                                          <p:spTgt spid="6"/>
                                        </p:tgtEl>
                                        <p:attrNameLst>
                                          <p:attrName>ppt_y</p:attrName>
                                        </p:attrNameLst>
                                      </p:cBhvr>
                                      <p:tavLst>
                                        <p:tav tm="0">
                                          <p:val>
                                            <p:strVal val="#ppt_y"/>
                                          </p:val>
                                        </p:tav>
                                        <p:tav tm="100000">
                                          <p:val>
                                            <p:strVal val="#ppt_y"/>
                                          </p:val>
                                        </p:tav>
                                      </p:tavLst>
                                    </p:anim>
                                  </p:childTnLst>
                                </p:cTn>
                              </p:par>
                              <p:par>
                                <p:cTn id="13" presetID="2" presetClass="entr" presetSubtype="2" dur="1000" decel="100000" fill="hold" grpId="0" nodeType="withEffect">
                                  <p:stCondLst>
                                    <p:cond delay="250"/>
                                  </p:stCondLst>
                                  <p:childTnLst>
                                    <p:set>
                                      <p:cBhvr>
                                        <p:cTn id="14" dur="1" fill="hold">
                                          <p:stCondLst>
                                            <p:cond delay="0"/>
                                          </p:stCondLst>
                                        </p:cTn>
                                        <p:tgtEl>
                                          <p:spTgt spid="8"/>
                                        </p:tgtEl>
                                        <p:attrNameLst>
                                          <p:attrName>style.visibility</p:attrName>
                                        </p:attrNameLst>
                                      </p:cBhvr>
                                      <p:to>
                                        <p:strVal val="visible"/>
                                      </p:to>
                                    </p:set>
                                    <p:anim calcmode="lin" valueType="num">
                                      <p:cBhvr additive="base">
                                        <p:cTn id="15" dur="1000" fill="hold"/>
                                        <p:tgtEl>
                                          <p:spTgt spid="8"/>
                                        </p:tgtEl>
                                        <p:attrNameLst>
                                          <p:attrName>ppt_x</p:attrName>
                                        </p:attrNameLst>
                                      </p:cBhvr>
                                      <p:tavLst>
                                        <p:tav tm="0">
                                          <p:val>
                                            <p:strVal val="1+#ppt_w/2"/>
                                          </p:val>
                                        </p:tav>
                                        <p:tav tm="100000">
                                          <p:val>
                                            <p:strVal val="#ppt_x"/>
                                          </p:val>
                                        </p:tav>
                                      </p:tavLst>
                                    </p:anim>
                                    <p:anim calcmode="lin" valueType="num">
                                      <p:cBhvr additive="base">
                                        <p:cTn id="16" dur="1000" fill="hold"/>
                                        <p:tgtEl>
                                          <p:spTgt spid="8"/>
                                        </p:tgtEl>
                                        <p:attrNameLst>
                                          <p:attrName>ppt_y</p:attrName>
                                        </p:attrNameLst>
                                      </p:cBhvr>
                                      <p:tavLst>
                                        <p:tav tm="0">
                                          <p:val>
                                            <p:strVal val="#ppt_y"/>
                                          </p:val>
                                        </p:tav>
                                        <p:tav tm="100000">
                                          <p:val>
                                            <p:strVal val="#ppt_y"/>
                                          </p:val>
                                        </p:tav>
                                      </p:tavLst>
                                    </p:anim>
                                  </p:childTnLst>
                                </p:cTn>
                              </p:par>
                              <p:par>
                                <p:cTn id="17" presetID="2" presetClass="entr" presetSubtype="2" dur="1000" decel="100000" fill="hold" grpId="0" nodeType="withEffect">
                                  <p:stCondLst>
                                    <p:cond delay="500"/>
                                  </p:stCondLst>
                                  <p:childTnLst>
                                    <p:set>
                                      <p:cBhvr>
                                        <p:cTn id="18" dur="1" fill="hold">
                                          <p:stCondLst>
                                            <p:cond delay="0"/>
                                          </p:stCondLst>
                                        </p:cTn>
                                        <p:tgtEl>
                                          <p:spTgt spid="10"/>
                                        </p:tgtEl>
                                        <p:attrNameLst>
                                          <p:attrName>style.visibility</p:attrName>
                                        </p:attrNameLst>
                                      </p:cBhvr>
                                      <p:to>
                                        <p:strVal val="visible"/>
                                      </p:to>
                                    </p:set>
                                    <p:anim calcmode="lin" valueType="num">
                                      <p:cBhvr additive="base">
                                        <p:cTn id="19" dur="1000" fill="hold"/>
                                        <p:tgtEl>
                                          <p:spTgt spid="10"/>
                                        </p:tgtEl>
                                        <p:attrNameLst>
                                          <p:attrName>ppt_x</p:attrName>
                                        </p:attrNameLst>
                                      </p:cBhvr>
                                      <p:tavLst>
                                        <p:tav tm="0">
                                          <p:val>
                                            <p:strVal val="1+#ppt_w/2"/>
                                          </p:val>
                                        </p:tav>
                                        <p:tav tm="100000">
                                          <p:val>
                                            <p:strVal val="#ppt_x"/>
                                          </p:val>
                                        </p:tav>
                                      </p:tavLst>
                                    </p:anim>
                                    <p:anim calcmode="lin" valueType="num">
                                      <p:cBhvr additive="base">
                                        <p:cTn id="20" dur="1000" fill="hold"/>
                                        <p:tgtEl>
                                          <p:spTgt spid="10"/>
                                        </p:tgtEl>
                                        <p:attrNameLst>
                                          <p:attrName>ppt_y</p:attrName>
                                        </p:attrNameLst>
                                      </p:cBhvr>
                                      <p:tavLst>
                                        <p:tav tm="0">
                                          <p:val>
                                            <p:strVal val="#ppt_y"/>
                                          </p:val>
                                        </p:tav>
                                        <p:tav tm="100000">
                                          <p:val>
                                            <p:strVal val="#ppt_y"/>
                                          </p:val>
                                        </p:tav>
                                      </p:tavLst>
                                    </p:anim>
                                  </p:childTnLst>
                                </p:cTn>
                              </p:par>
                              <p:par>
                                <p:cTn id="21" presetID="2" presetClass="entr" presetSubtype="2" dur="1000" decel="100000" fill="hold" grpId="0" nodeType="withEffect">
                                  <p:stCondLst>
                                    <p:cond delay="750"/>
                                  </p:stCondLst>
                                  <p:childTnLst>
                                    <p:set>
                                      <p:cBhvr>
                                        <p:cTn id="22" dur="1" fill="hold">
                                          <p:stCondLst>
                                            <p:cond delay="0"/>
                                          </p:stCondLst>
                                        </p:cTn>
                                        <p:tgtEl>
                                          <p:spTgt spid="25"/>
                                        </p:tgtEl>
                                        <p:attrNameLst>
                                          <p:attrName>style.visibility</p:attrName>
                                        </p:attrNameLst>
                                      </p:cBhvr>
                                      <p:to>
                                        <p:strVal val="visible"/>
                                      </p:to>
                                    </p:set>
                                    <p:anim calcmode="lin" valueType="num">
                                      <p:cBhvr additive="base">
                                        <p:cTn id="23" dur="1000" fill="hold"/>
                                        <p:tgtEl>
                                          <p:spTgt spid="25"/>
                                        </p:tgtEl>
                                        <p:attrNameLst>
                                          <p:attrName>ppt_x</p:attrName>
                                        </p:attrNameLst>
                                      </p:cBhvr>
                                      <p:tavLst>
                                        <p:tav tm="0">
                                          <p:val>
                                            <p:strVal val="1+#ppt_w/2"/>
                                          </p:val>
                                        </p:tav>
                                        <p:tav tm="100000">
                                          <p:val>
                                            <p:strVal val="#ppt_x"/>
                                          </p:val>
                                        </p:tav>
                                      </p:tavLst>
                                    </p:anim>
                                    <p:anim calcmode="lin" valueType="num">
                                      <p:cBhvr additive="base">
                                        <p:cTn id="24" dur="1000" fill="hold"/>
                                        <p:tgtEl>
                                          <p:spTgt spid="25"/>
                                        </p:tgtEl>
                                        <p:attrNameLst>
                                          <p:attrName>ppt_y</p:attrName>
                                        </p:attrNameLst>
                                      </p:cBhvr>
                                      <p:tavLst>
                                        <p:tav tm="0">
                                          <p:val>
                                            <p:strVal val="#ppt_y"/>
                                          </p:val>
                                        </p:tav>
                                        <p:tav tm="100000">
                                          <p:val>
                                            <p:strVal val="#ppt_y"/>
                                          </p:val>
                                        </p:tav>
                                      </p:tavLst>
                                    </p:anim>
                                  </p:childTnLst>
                                </p:cTn>
                              </p:par>
                              <p:par>
                                <p:cTn id="25" presetID="42" presetClass="entr" presetSubtype="0" fill="hold" nodeType="withEffect">
                                  <p:stCondLst>
                                    <p:cond delay="500"/>
                                  </p:stCondLst>
                                  <p:childTnLst>
                                    <p:set>
                                      <p:cBhvr>
                                        <p:cTn id="26" dur="1" fill="hold">
                                          <p:stCondLst>
                                            <p:cond delay="0"/>
                                          </p:stCondLst>
                                        </p:cTn>
                                        <p:tgtEl>
                                          <p:spTgt spid="4"/>
                                        </p:tgtEl>
                                        <p:attrNameLst>
                                          <p:attrName>style.visibility</p:attrName>
                                        </p:attrNameLst>
                                      </p:cBhvr>
                                      <p:to>
                                        <p:strVal val="visible"/>
                                      </p:to>
                                    </p:set>
                                    <p:animEffect transition="in" filter="fade">
                                      <p:cBhvr>
                                        <p:cTn id="27" dur="1000"/>
                                        <p:tgtEl>
                                          <p:spTgt spid="4"/>
                                        </p:tgtEl>
                                      </p:cBhvr>
                                    </p:animEffect>
                                    <p:anim calcmode="lin" valueType="num">
                                      <p:cBhvr>
                                        <p:cTn id="28" dur="1000" fill="hold"/>
                                        <p:tgtEl>
                                          <p:spTgt spid="4"/>
                                        </p:tgtEl>
                                        <p:attrNameLst>
                                          <p:attrName>ppt_x</p:attrName>
                                        </p:attrNameLst>
                                      </p:cBhvr>
                                      <p:tavLst>
                                        <p:tav tm="0">
                                          <p:val>
                                            <p:strVal val="#ppt_x"/>
                                          </p:val>
                                        </p:tav>
                                        <p:tav tm="100000">
                                          <p:val>
                                            <p:strVal val="#ppt_x"/>
                                          </p:val>
                                        </p:tav>
                                      </p:tavLst>
                                    </p:anim>
                                    <p:anim calcmode="lin" valueType="num">
                                      <p:cBhvr>
                                        <p:cTn id="29" dur="10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6" grpId="0" animBg="1"/>
      <p:bldP spid="8" grpId="0" animBg="1"/>
      <p:bldP spid="10" grpId="0" animBg="1"/>
      <p:bldP spid="25"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C3E47FA-FC0F-3BC2-5DE9-EF471792E088}"/>
              </a:ext>
            </a:extLst>
          </p:cNvPr>
          <p:cNvSpPr>
            <a:spLocks noGrp="1"/>
          </p:cNvSpPr>
          <p:nvPr>
            <p:ph type="title"/>
          </p:nvPr>
        </p:nvSpPr>
        <p:spPr>
          <a:xfrm>
            <a:off x="9737548" y="362297"/>
            <a:ext cx="2271377" cy="539101"/>
          </a:xfrm>
        </p:spPr>
        <p:txBody>
          <a:bodyPr/>
          <a:lstStyle/>
          <a:p>
            <a:pPr algn="r" rtl="1"/>
            <a:r>
              <a:rPr lang="he-IL" b="1" dirty="0">
                <a:effectLst>
                  <a:outerShdw blurRad="38100" dist="38100" dir="2700000" algn="tl">
                    <a:srgbClr val="000000">
                      <a:alpha val="43137"/>
                    </a:srgbClr>
                  </a:outerShdw>
                </a:effectLst>
                <a:latin typeface="Calibri" panose="020F0502020204030204" pitchFamily="34" charset="0"/>
                <a:ea typeface="Calibri" panose="020F0502020204030204" pitchFamily="34" charset="0"/>
                <a:cs typeface="Calibri" panose="020F0502020204030204" pitchFamily="34" charset="0"/>
              </a:rPr>
              <a:t>ערכי החברה</a:t>
            </a:r>
            <a:endParaRPr lang="de-DE" b="1" dirty="0">
              <a:effectLst>
                <a:outerShdw blurRad="38100" dist="38100" dir="2700000" algn="tl">
                  <a:srgbClr val="000000">
                    <a:alpha val="43137"/>
                  </a:srgbClr>
                </a:outerShdw>
              </a:effectLst>
              <a:latin typeface="Calibri" panose="020F0502020204030204" pitchFamily="34" charset="0"/>
              <a:ea typeface="Calibri" panose="020F0502020204030204" pitchFamily="34" charset="0"/>
              <a:cs typeface="Calibri" panose="020F0502020204030204" pitchFamily="34" charset="0"/>
            </a:endParaRPr>
          </a:p>
        </p:txBody>
      </p:sp>
      <p:sp>
        <p:nvSpPr>
          <p:cNvPr id="3" name="Foliennummernplatzhalter 2">
            <a:extLst>
              <a:ext uri="{FF2B5EF4-FFF2-40B4-BE49-F238E27FC236}">
                <a16:creationId xmlns:a16="http://schemas.microsoft.com/office/drawing/2014/main" id="{A3E5F9C3-3EF6-8BE3-09F0-268C991DE578}"/>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ct val="0"/>
              </a:spcBef>
              <a:spcAft>
                <a:spcPct val="0"/>
              </a:spcAft>
              <a:buClrTx/>
              <a:buSzTx/>
              <a:buFontTx/>
              <a:buNone/>
              <a:defRPr/>
            </a:pPr>
            <a:fld id="{A04BEB4F-8CE1-4F18-986F-6CE0A0BE9470}" type="slidenum">
              <a:rPr kumimoji="0" lang="de-DE" sz="1000" b="0" i="0" u="none" strike="noStrike" kern="1200" cap="none" spc="170" normalizeH="0" baseline="0" noProof="0" smtClean="0">
                <a:ln>
                  <a:noFill/>
                </a:ln>
                <a:solidFill>
                  <a:srgbClr val="BCC0CF"/>
                </a:solidFill>
                <a:effectLst/>
                <a:uLnTx/>
                <a:uFillTx/>
                <a:latin typeface="Roboto Bold" panose="02000000000000000000" pitchFamily="2" charset="0"/>
                <a:ea typeface="Roboto Bold" panose="02000000000000000000" pitchFamily="2" charset="0"/>
                <a:cs typeface="+mn-cs"/>
              </a:rPr>
              <a:pPr marL="0" marR="0" lvl="0" indent="0" algn="r" defTabSz="914400" rtl="0" eaLnBrk="1" fontAlgn="auto" latinLnBrk="0" hangingPunct="1">
                <a:lnSpc>
                  <a:spcPct val="100000"/>
                </a:lnSpc>
                <a:spcBef>
                  <a:spcPct val="0"/>
                </a:spcBef>
                <a:spcAft>
                  <a:spcPct val="0"/>
                </a:spcAft>
                <a:buClrTx/>
                <a:buSzTx/>
                <a:buFontTx/>
                <a:buNone/>
                <a:defRPr/>
              </a:pPr>
              <a:t>12</a:t>
            </a:fld>
            <a:endParaRPr kumimoji="0" lang="de-DE" sz="1000" b="0" i="0" u="none" strike="noStrike" kern="1200" cap="none" spc="170" normalizeH="0" baseline="0" noProof="0">
              <a:ln>
                <a:noFill/>
              </a:ln>
              <a:solidFill>
                <a:srgbClr val="BCC0CF"/>
              </a:solidFill>
              <a:effectLst/>
              <a:uLnTx/>
              <a:uFillTx/>
              <a:latin typeface="Roboto Bold" panose="02000000000000000000" pitchFamily="2" charset="0"/>
              <a:ea typeface="Roboto Bold" panose="02000000000000000000" pitchFamily="2" charset="0"/>
              <a:cs typeface="+mn-cs"/>
            </a:endParaRPr>
          </a:p>
        </p:txBody>
      </p:sp>
      <p:sp>
        <p:nvSpPr>
          <p:cNvPr id="4" name="Textplatzhalter 3">
            <a:extLst>
              <a:ext uri="{FF2B5EF4-FFF2-40B4-BE49-F238E27FC236}">
                <a16:creationId xmlns:a16="http://schemas.microsoft.com/office/drawing/2014/main" id="{BEADFB44-3A60-8C3C-FE5A-DABE8B437C3B}"/>
              </a:ext>
            </a:extLst>
          </p:cNvPr>
          <p:cNvSpPr>
            <a:spLocks noGrp="1"/>
          </p:cNvSpPr>
          <p:nvPr>
            <p:ph type="body" sz="quarter" idx="11"/>
          </p:nvPr>
        </p:nvSpPr>
        <p:spPr>
          <a:xfrm>
            <a:off x="5272144" y="937837"/>
            <a:ext cx="6736781" cy="850243"/>
          </a:xfrm>
        </p:spPr>
        <p:txBody>
          <a:bodyPr>
            <a:normAutofit/>
          </a:bodyPr>
          <a:lstStyle/>
          <a:p>
            <a:pPr marL="0" indent="0" algn="r" defTabSz="914400" rtl="1" eaLnBrk="1" hangingPunct="1">
              <a:buNone/>
            </a:pPr>
            <a:r>
              <a:rPr lang="he-IL" sz="1400" b="1" dirty="0" err="1">
                <a:solidFill>
                  <a:srgbClr val="3C5B7B">
                    <a:alpha val="70000"/>
                  </a:srgbClr>
                </a:solidFill>
                <a:latin typeface="Calibri" panose="020F0502020204030204" pitchFamily="34" charset="0"/>
                <a:ea typeface="Calibri" panose="020F0502020204030204" pitchFamily="34" charset="0"/>
                <a:cs typeface="Calibri" panose="020F0502020204030204" pitchFamily="34" charset="0"/>
              </a:rPr>
              <a:t>פלטרנספורט</a:t>
            </a:r>
            <a:r>
              <a:rPr lang="he-IL" sz="1400" b="1" dirty="0">
                <a:solidFill>
                  <a:srgbClr val="3C5B7B">
                    <a:alpha val="70000"/>
                  </a:srgbClr>
                </a:solidFill>
                <a:latin typeface="Calibri" panose="020F0502020204030204" pitchFamily="34" charset="0"/>
                <a:ea typeface="Calibri" panose="020F0502020204030204" pitchFamily="34" charset="0"/>
                <a:cs typeface="Calibri" panose="020F0502020204030204" pitchFamily="34" charset="0"/>
              </a:rPr>
              <a:t> מאמצת את רוח יוזמת </a:t>
            </a:r>
            <a:r>
              <a:rPr lang="en-US" sz="1400" b="1" dirty="0">
                <a:solidFill>
                  <a:srgbClr val="3C5B7B">
                    <a:alpha val="70000"/>
                  </a:srgbClr>
                </a:solidFill>
                <a:latin typeface="Calibri" panose="020F0502020204030204" pitchFamily="34" charset="0"/>
                <a:ea typeface="Calibri" panose="020F0502020204030204" pitchFamily="34" charset="0"/>
                <a:cs typeface="Calibri" panose="020F0502020204030204" pitchFamily="34" charset="0"/>
              </a:rPr>
              <a:t>The Global Compact </a:t>
            </a:r>
            <a:r>
              <a:rPr lang="he-IL" sz="1400" b="1" dirty="0">
                <a:solidFill>
                  <a:srgbClr val="3C5B7B">
                    <a:alpha val="70000"/>
                  </a:srgbClr>
                </a:solidFill>
                <a:latin typeface="Calibri" panose="020F0502020204030204" pitchFamily="34" charset="0"/>
                <a:ea typeface="Calibri" panose="020F0502020204030204" pitchFamily="34" charset="0"/>
                <a:cs typeface="Calibri" panose="020F0502020204030204" pitchFamily="34" charset="0"/>
              </a:rPr>
              <a:t> של האו"ם, המתבטא בין היתר בקידום אחריות תאגידית חברתית באמצעות שיפור מתמיד בתחומים הבאים:</a:t>
            </a:r>
          </a:p>
        </p:txBody>
      </p:sp>
      <p:grpSp>
        <p:nvGrpSpPr>
          <p:cNvPr id="15" name="Gruppieren 14">
            <a:extLst>
              <a:ext uri="{FF2B5EF4-FFF2-40B4-BE49-F238E27FC236}">
                <a16:creationId xmlns:a16="http://schemas.microsoft.com/office/drawing/2014/main" id="{E21013A3-79A4-7E17-D1DF-AFECD4BDBC31}"/>
              </a:ext>
            </a:extLst>
          </p:cNvPr>
          <p:cNvGrpSpPr/>
          <p:nvPr/>
        </p:nvGrpSpPr>
        <p:grpSpPr>
          <a:xfrm>
            <a:off x="360288" y="1697426"/>
            <a:ext cx="4727398" cy="4785352"/>
            <a:chOff x="3640073" y="962432"/>
            <a:chExt cx="4911856" cy="4912751"/>
          </a:xfrm>
        </p:grpSpPr>
        <p:sp>
          <p:nvSpPr>
            <p:cNvPr id="16" name="Freihandform: Form 15">
              <a:extLst>
                <a:ext uri="{FF2B5EF4-FFF2-40B4-BE49-F238E27FC236}">
                  <a16:creationId xmlns:a16="http://schemas.microsoft.com/office/drawing/2014/main" id="{24D42973-482C-BC4E-FF4A-F36E2C03F8C4}"/>
                </a:ext>
              </a:extLst>
            </p:cNvPr>
            <p:cNvSpPr/>
            <p:nvPr/>
          </p:nvSpPr>
          <p:spPr>
            <a:xfrm rot="5400000">
              <a:off x="3639625" y="962880"/>
              <a:ext cx="4912751" cy="4911856"/>
            </a:xfrm>
            <a:custGeom>
              <a:avLst/>
              <a:gdLst>
                <a:gd name="connsiteX0" fmla="*/ 1771677 w 3391044"/>
                <a:gd name="connsiteY0" fmla="*/ 755092 h 3390426"/>
                <a:gd name="connsiteX1" fmla="*/ 1771677 w 3391044"/>
                <a:gd name="connsiteY1" fmla="*/ 0 h 3390426"/>
                <a:gd name="connsiteX2" fmla="*/ 1858499 w 3391044"/>
                <a:gd name="connsiteY2" fmla="*/ 4111 h 3390426"/>
                <a:gd name="connsiteX3" fmla="*/ 3385571 w 3391044"/>
                <a:gd name="connsiteY3" fmla="*/ 1521519 h 3390426"/>
                <a:gd name="connsiteX4" fmla="*/ 3389949 w 3391044"/>
                <a:gd name="connsiteY4" fmla="*/ 1608216 h 3390426"/>
                <a:gd name="connsiteX5" fmla="*/ 2623844 w 3391044"/>
                <a:gd name="connsiteY5" fmla="*/ 1608216 h 3390426"/>
                <a:gd name="connsiteX6" fmla="*/ 2612505 w 3391044"/>
                <a:gd name="connsiteY6" fmla="*/ 1495735 h 3390426"/>
                <a:gd name="connsiteX7" fmla="*/ 1861210 w 3391044"/>
                <a:gd name="connsiteY7" fmla="*/ 762992 h 3390426"/>
                <a:gd name="connsiteX8" fmla="*/ 1771677 w 3391044"/>
                <a:gd name="connsiteY8" fmla="*/ 3390426 h 3390426"/>
                <a:gd name="connsiteX9" fmla="*/ 1771677 w 3391044"/>
                <a:gd name="connsiteY9" fmla="*/ 2613653 h 3390426"/>
                <a:gd name="connsiteX10" fmla="*/ 1861210 w 3391044"/>
                <a:gd name="connsiteY10" fmla="*/ 2605753 h 3390426"/>
                <a:gd name="connsiteX11" fmla="*/ 2612505 w 3391044"/>
                <a:gd name="connsiteY11" fmla="*/ 1873009 h 3390426"/>
                <a:gd name="connsiteX12" fmla="*/ 2623844 w 3391044"/>
                <a:gd name="connsiteY12" fmla="*/ 1760526 h 3390426"/>
                <a:gd name="connsiteX13" fmla="*/ 3391044 w 3391044"/>
                <a:gd name="connsiteY13" fmla="*/ 1760526 h 3390426"/>
                <a:gd name="connsiteX14" fmla="*/ 3385571 w 3391044"/>
                <a:gd name="connsiteY14" fmla="*/ 1868908 h 3390426"/>
                <a:gd name="connsiteX15" fmla="*/ 1858499 w 3391044"/>
                <a:gd name="connsiteY15" fmla="*/ 3386316 h 3390426"/>
                <a:gd name="connsiteX16" fmla="*/ 1095 w 3391044"/>
                <a:gd name="connsiteY16" fmla="*/ 1608216 h 3390426"/>
                <a:gd name="connsiteX17" fmla="*/ 5473 w 3391044"/>
                <a:gd name="connsiteY17" fmla="*/ 1521519 h 3390426"/>
                <a:gd name="connsiteX18" fmla="*/ 1532546 w 3391044"/>
                <a:gd name="connsiteY18" fmla="*/ 4111 h 3390426"/>
                <a:gd name="connsiteX19" fmla="*/ 1619367 w 3391044"/>
                <a:gd name="connsiteY19" fmla="*/ 0 h 3390426"/>
                <a:gd name="connsiteX20" fmla="*/ 1619367 w 3391044"/>
                <a:gd name="connsiteY20" fmla="*/ 755092 h 3390426"/>
                <a:gd name="connsiteX21" fmla="*/ 1529835 w 3391044"/>
                <a:gd name="connsiteY21" fmla="*/ 762992 h 3390426"/>
                <a:gd name="connsiteX22" fmla="*/ 778538 w 3391044"/>
                <a:gd name="connsiteY22" fmla="*/ 1495735 h 3390426"/>
                <a:gd name="connsiteX23" fmla="*/ 767199 w 3391044"/>
                <a:gd name="connsiteY23" fmla="*/ 1608216 h 3390426"/>
                <a:gd name="connsiteX24" fmla="*/ 0 w 3391044"/>
                <a:gd name="connsiteY24" fmla="*/ 1760526 h 3390426"/>
                <a:gd name="connsiteX25" fmla="*/ 767199 w 3391044"/>
                <a:gd name="connsiteY25" fmla="*/ 1760526 h 3390426"/>
                <a:gd name="connsiteX26" fmla="*/ 778538 w 3391044"/>
                <a:gd name="connsiteY26" fmla="*/ 1873009 h 3390426"/>
                <a:gd name="connsiteX27" fmla="*/ 1529835 w 3391044"/>
                <a:gd name="connsiteY27" fmla="*/ 2605753 h 3390426"/>
                <a:gd name="connsiteX28" fmla="*/ 1619367 w 3391044"/>
                <a:gd name="connsiteY28" fmla="*/ 2613653 h 3390426"/>
                <a:gd name="connsiteX29" fmla="*/ 1619367 w 3391044"/>
                <a:gd name="connsiteY29" fmla="*/ 3390426 h 3390426"/>
                <a:gd name="connsiteX30" fmla="*/ 1532546 w 3391044"/>
                <a:gd name="connsiteY30" fmla="*/ 3386316 h 3390426"/>
                <a:gd name="connsiteX31" fmla="*/ 5473 w 3391044"/>
                <a:gd name="connsiteY31" fmla="*/ 1868908 h 3390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391044" h="3390425">
                  <a:moveTo>
                    <a:pt x="1771677" y="755092"/>
                  </a:moveTo>
                  <a:lnTo>
                    <a:pt x="1771677" y="0"/>
                  </a:lnTo>
                  <a:lnTo>
                    <a:pt x="1858499" y="4111"/>
                  </a:lnTo>
                  <a:cubicBezTo>
                    <a:pt x="2663061" y="80690"/>
                    <a:pt x="3304011" y="718419"/>
                    <a:pt x="3385571" y="1521519"/>
                  </a:cubicBezTo>
                  <a:lnTo>
                    <a:pt x="3389949" y="1608216"/>
                  </a:lnTo>
                  <a:lnTo>
                    <a:pt x="2623844" y="1608216"/>
                  </a:lnTo>
                  <a:lnTo>
                    <a:pt x="2612505" y="1495735"/>
                  </a:lnTo>
                  <a:cubicBezTo>
                    <a:pt x="2536136" y="1122531"/>
                    <a:pt x="2237657" y="830234"/>
                    <a:pt x="1861210" y="762992"/>
                  </a:cubicBezTo>
                  <a:close/>
                  <a:moveTo>
                    <a:pt x="1771677" y="3390426"/>
                  </a:moveTo>
                  <a:lnTo>
                    <a:pt x="1771677" y="2613653"/>
                  </a:lnTo>
                  <a:lnTo>
                    <a:pt x="1861210" y="2605753"/>
                  </a:lnTo>
                  <a:cubicBezTo>
                    <a:pt x="2237657" y="2538510"/>
                    <a:pt x="2536136" y="2246214"/>
                    <a:pt x="2612505" y="1873009"/>
                  </a:cubicBezTo>
                  <a:lnTo>
                    <a:pt x="2623844" y="1760526"/>
                  </a:lnTo>
                  <a:lnTo>
                    <a:pt x="3391044" y="1760526"/>
                  </a:lnTo>
                  <a:lnTo>
                    <a:pt x="3385571" y="1868908"/>
                  </a:lnTo>
                  <a:cubicBezTo>
                    <a:pt x="3304011" y="2672008"/>
                    <a:pt x="2663060" y="3309737"/>
                    <a:pt x="1858499" y="3386316"/>
                  </a:cubicBezTo>
                  <a:close/>
                  <a:moveTo>
                    <a:pt x="1095" y="1608216"/>
                  </a:moveTo>
                  <a:lnTo>
                    <a:pt x="5473" y="1521519"/>
                  </a:lnTo>
                  <a:cubicBezTo>
                    <a:pt x="87033" y="718419"/>
                    <a:pt x="727984" y="80690"/>
                    <a:pt x="1532546" y="4111"/>
                  </a:cubicBezTo>
                  <a:lnTo>
                    <a:pt x="1619367" y="0"/>
                  </a:lnTo>
                  <a:lnTo>
                    <a:pt x="1619367" y="755092"/>
                  </a:lnTo>
                  <a:lnTo>
                    <a:pt x="1529835" y="762992"/>
                  </a:lnTo>
                  <a:cubicBezTo>
                    <a:pt x="1153388" y="830234"/>
                    <a:pt x="854907" y="1122531"/>
                    <a:pt x="778538" y="1495735"/>
                  </a:cubicBezTo>
                  <a:lnTo>
                    <a:pt x="767199" y="1608216"/>
                  </a:lnTo>
                  <a:close/>
                  <a:moveTo>
                    <a:pt x="0" y="1760526"/>
                  </a:moveTo>
                  <a:lnTo>
                    <a:pt x="767199" y="1760526"/>
                  </a:lnTo>
                  <a:lnTo>
                    <a:pt x="778538" y="1873009"/>
                  </a:lnTo>
                  <a:cubicBezTo>
                    <a:pt x="854907" y="2246214"/>
                    <a:pt x="1153388" y="2538510"/>
                    <a:pt x="1529835" y="2605753"/>
                  </a:cubicBezTo>
                  <a:lnTo>
                    <a:pt x="1619367" y="2613653"/>
                  </a:lnTo>
                  <a:lnTo>
                    <a:pt x="1619367" y="3390426"/>
                  </a:lnTo>
                  <a:lnTo>
                    <a:pt x="1532546" y="3386316"/>
                  </a:lnTo>
                  <a:cubicBezTo>
                    <a:pt x="727984" y="3309737"/>
                    <a:pt x="87032" y="2672008"/>
                    <a:pt x="5473" y="1868908"/>
                  </a:cubicBezTo>
                  <a:close/>
                </a:path>
              </a:pathLst>
            </a:custGeom>
            <a:solidFill>
              <a:schemeClr val="accent2">
                <a:lumMod val="60000"/>
                <a:lumOff val="40000"/>
              </a:schemeClr>
            </a:solidFill>
            <a:ln>
              <a:noFill/>
            </a:ln>
            <a:effectLst>
              <a:outerShdw blurRad="1270000" dist="533400" dir="2700000" sx="95000" sy="95000" algn="br" rotWithShape="0">
                <a:srgbClr val="B1BAC9">
                  <a:alpha val="5000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800" b="0" i="0" u="none" strike="noStrike" kern="1200" cap="none" spc="0" normalizeH="0" baseline="0" noProof="0">
                <a:ln>
                  <a:noFill/>
                </a:ln>
                <a:solidFill>
                  <a:srgbClr val="FFFFFF"/>
                </a:solidFill>
                <a:effectLst/>
                <a:uLnTx/>
                <a:uFillTx/>
                <a:latin typeface="Roboto Light"/>
                <a:ea typeface="+mn-ea"/>
                <a:cs typeface="+mn-cs"/>
              </a:endParaRPr>
            </a:p>
          </p:txBody>
        </p:sp>
        <p:pic>
          <p:nvPicPr>
            <p:cNvPr id="17" name="Grafik 16">
              <a:extLst>
                <a:ext uri="{FF2B5EF4-FFF2-40B4-BE49-F238E27FC236}">
                  <a16:creationId xmlns:a16="http://schemas.microsoft.com/office/drawing/2014/main" id="{D4BCB172-FCC7-6B9E-93C0-D74C7EC984E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357240" y="1884632"/>
              <a:ext cx="753277" cy="560714"/>
            </a:xfrm>
            <a:prstGeom prst="rect">
              <a:avLst/>
            </a:prstGeom>
          </p:spPr>
        </p:pic>
        <p:pic>
          <p:nvPicPr>
            <p:cNvPr id="18" name="Grafik 17">
              <a:extLst>
                <a:ext uri="{FF2B5EF4-FFF2-40B4-BE49-F238E27FC236}">
                  <a16:creationId xmlns:a16="http://schemas.microsoft.com/office/drawing/2014/main" id="{7BBF9DCB-9123-9687-30EE-7F37FF7359F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174370" y="1701443"/>
              <a:ext cx="546043" cy="787132"/>
            </a:xfrm>
            <a:prstGeom prst="rect">
              <a:avLst/>
            </a:prstGeom>
          </p:spPr>
        </p:pic>
        <p:pic>
          <p:nvPicPr>
            <p:cNvPr id="19" name="Grafik 18">
              <a:extLst>
                <a:ext uri="{FF2B5EF4-FFF2-40B4-BE49-F238E27FC236}">
                  <a16:creationId xmlns:a16="http://schemas.microsoft.com/office/drawing/2014/main" id="{D1032491-91A6-CFC5-3C8D-2C3BA055BA9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566842" y="4498728"/>
              <a:ext cx="455438" cy="610115"/>
            </a:xfrm>
            <a:prstGeom prst="rect">
              <a:avLst/>
            </a:prstGeom>
          </p:spPr>
        </p:pic>
        <p:pic>
          <p:nvPicPr>
            <p:cNvPr id="20" name="Grafik 19">
              <a:extLst>
                <a:ext uri="{FF2B5EF4-FFF2-40B4-BE49-F238E27FC236}">
                  <a16:creationId xmlns:a16="http://schemas.microsoft.com/office/drawing/2014/main" id="{46C367A1-0679-770F-9C30-D48F4FB241ED}"/>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110537" y="4360448"/>
              <a:ext cx="671924" cy="748395"/>
            </a:xfrm>
            <a:prstGeom prst="rect">
              <a:avLst/>
            </a:prstGeom>
          </p:spPr>
        </p:pic>
      </p:grpSp>
      <p:sp>
        <p:nvSpPr>
          <p:cNvPr id="22" name="Oval 65">
            <a:extLst>
              <a:ext uri="{FF2B5EF4-FFF2-40B4-BE49-F238E27FC236}">
                <a16:creationId xmlns:a16="http://schemas.microsoft.com/office/drawing/2014/main" id="{24DFB913-6D9D-1E53-9870-9D4AC1C05461}"/>
              </a:ext>
            </a:extLst>
          </p:cNvPr>
          <p:cNvSpPr/>
          <p:nvPr/>
        </p:nvSpPr>
        <p:spPr>
          <a:xfrm>
            <a:off x="1617844" y="2931918"/>
            <a:ext cx="2202068" cy="2228657"/>
          </a:xfrm>
          <a:prstGeom prst="ellipse">
            <a:avLst/>
          </a:prstGeom>
          <a:solidFill>
            <a:srgbClr val="ECEFF2"/>
          </a:solidFill>
          <a:ln>
            <a:noFill/>
          </a:ln>
          <a:effectLst>
            <a:outerShdw blurRad="1270000" dist="228600" dir="21540000" sx="60000" sy="60000" algn="br" rotWithShape="0">
              <a:schemeClr val="bg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800" b="0" i="0" u="none" strike="noStrike" kern="1200" cap="none" spc="0" normalizeH="0" baseline="0" noProof="0">
              <a:ln>
                <a:noFill/>
              </a:ln>
              <a:solidFill>
                <a:srgbClr val="FFFFFF"/>
              </a:solidFill>
              <a:effectLst/>
              <a:uLnTx/>
              <a:uFillTx/>
              <a:latin typeface="Roboto Light"/>
              <a:ea typeface="+mn-ea"/>
              <a:cs typeface="+mn-cs"/>
            </a:endParaRPr>
          </a:p>
        </p:txBody>
      </p:sp>
      <p:sp>
        <p:nvSpPr>
          <p:cNvPr id="25" name="Ellipse 24">
            <a:extLst>
              <a:ext uri="{FF2B5EF4-FFF2-40B4-BE49-F238E27FC236}">
                <a16:creationId xmlns:a16="http://schemas.microsoft.com/office/drawing/2014/main" id="{0F7D63C0-5082-47A1-F10A-5FA6CBC7F902}"/>
              </a:ext>
            </a:extLst>
          </p:cNvPr>
          <p:cNvSpPr/>
          <p:nvPr/>
        </p:nvSpPr>
        <p:spPr>
          <a:xfrm>
            <a:off x="-963785" y="442451"/>
            <a:ext cx="7276095" cy="7363951"/>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rstTxWarp prst="textCircle">
              <a:avLst/>
            </a:prstTxWarp>
          </a:bodyPr>
          <a:lstStyle/>
          <a:p>
            <a:pPr marL="0" marR="0" lvl="0" indent="0" algn="l" defTabSz="228508" rtl="0" eaLnBrk="1" fontAlgn="auto" latinLnBrk="0" hangingPunct="1">
              <a:lnSpc>
                <a:spcPct val="100000"/>
              </a:lnSpc>
              <a:spcBef>
                <a:spcPct val="0"/>
              </a:spcBef>
              <a:spcAft>
                <a:spcPct val="0"/>
              </a:spcAft>
              <a:buClrTx/>
              <a:buSzTx/>
              <a:buFontTx/>
              <a:buNone/>
              <a:defRPr/>
            </a:pPr>
            <a:r>
              <a:rPr kumimoji="0" lang="en-US" sz="1600" b="0" i="0" u="none" strike="noStrike" kern="1200" cap="none" spc="0" normalizeH="0" baseline="0" noProof="0">
                <a:ln>
                  <a:noFill/>
                </a:ln>
                <a:solidFill>
                  <a:srgbClr val="004C99"/>
                </a:solidFill>
                <a:effectLst/>
                <a:uLnTx/>
                <a:uFillTx/>
                <a:latin typeface="Calibri" panose="020F0502020204030204" pitchFamily="34" charset="0"/>
                <a:ea typeface="Calibri" panose="020F0502020204030204" pitchFamily="34" charset="0"/>
                <a:cs typeface="Calibri" panose="020F0502020204030204" pitchFamily="34" charset="0"/>
              </a:rPr>
              <a:t>					</a:t>
            </a:r>
            <a:r>
              <a:rPr lang="en-US" sz="1600">
                <a:solidFill>
                  <a:srgbClr val="004C99"/>
                </a:solidFill>
                <a:latin typeface="Calibri" panose="020F0502020204030204" pitchFamily="34" charset="0"/>
                <a:ea typeface="Calibri" panose="020F0502020204030204" pitchFamily="34" charset="0"/>
                <a:cs typeface="Calibri" panose="020F0502020204030204" pitchFamily="34" charset="0"/>
              </a:rPr>
              <a:t>    </a:t>
            </a:r>
            <a:r>
              <a:rPr kumimoji="0" lang="en-US" sz="1600" b="0" i="0" u="none" strike="noStrike" kern="1200" cap="none" spc="0" normalizeH="0" baseline="0" noProof="0">
                <a:ln>
                  <a:noFill/>
                </a:ln>
                <a:solidFill>
                  <a:srgbClr val="004C99"/>
                </a:solidFill>
                <a:effectLst/>
                <a:uLnTx/>
                <a:uFillTx/>
                <a:latin typeface="Calibri" panose="020F0502020204030204" pitchFamily="34" charset="0"/>
                <a:ea typeface="Calibri" panose="020F0502020204030204" pitchFamily="34" charset="0"/>
                <a:cs typeface="Calibri" panose="020F0502020204030204" pitchFamily="34" charset="0"/>
              </a:rPr>
              <a:t>	</a:t>
            </a:r>
            <a:r>
              <a:rPr lang="he-IL" sz="1600" noProof="0">
                <a:solidFill>
                  <a:srgbClr val="004C99"/>
                </a:solidFill>
                <a:latin typeface="Calibri" panose="020F0502020204030204" pitchFamily="34" charset="0"/>
                <a:ea typeface="Calibri" panose="020F0502020204030204" pitchFamily="34" charset="0"/>
                <a:cs typeface="Calibri" panose="020F0502020204030204" pitchFamily="34" charset="0"/>
              </a:rPr>
              <a:t>תשומת-לב לפרטים </a:t>
            </a:r>
            <a:r>
              <a:rPr lang="en-US" sz="1600" noProof="0">
                <a:solidFill>
                  <a:srgbClr val="004C99"/>
                </a:solidFill>
                <a:latin typeface="Calibri" panose="020F0502020204030204" pitchFamily="34" charset="0"/>
                <a:ea typeface="Calibri" panose="020F0502020204030204" pitchFamily="34" charset="0"/>
                <a:cs typeface="Calibri" panose="020F0502020204030204" pitchFamily="34" charset="0"/>
              </a:rPr>
              <a:t> </a:t>
            </a:r>
            <a:r>
              <a:rPr kumimoji="0" lang="en-US" sz="1600" b="0" i="0" u="none" strike="noStrike" kern="1200" cap="none" spc="0" normalizeH="0" baseline="0" noProof="0">
                <a:ln>
                  <a:noFill/>
                </a:ln>
                <a:solidFill>
                  <a:srgbClr val="004C99"/>
                </a:solidFill>
                <a:effectLst/>
                <a:uLnTx/>
                <a:uFillTx/>
                <a:latin typeface="Calibri" panose="020F0502020204030204" pitchFamily="34" charset="0"/>
                <a:ea typeface="Calibri" panose="020F0502020204030204" pitchFamily="34" charset="0"/>
                <a:cs typeface="Calibri" panose="020F0502020204030204" pitchFamily="34" charset="0"/>
              </a:rPr>
              <a:t>	 </a:t>
            </a:r>
            <a:r>
              <a:rPr lang="en-US" sz="1600">
                <a:solidFill>
                  <a:srgbClr val="004C99"/>
                </a:solidFill>
                <a:latin typeface="Calibri" panose="020F0502020204030204" pitchFamily="34" charset="0"/>
                <a:ea typeface="Calibri" panose="020F0502020204030204" pitchFamily="34" charset="0"/>
                <a:cs typeface="Calibri" panose="020F0502020204030204" pitchFamily="34" charset="0"/>
              </a:rPr>
              <a:t>                   </a:t>
            </a:r>
            <a:r>
              <a:rPr kumimoji="0" lang="en-US" sz="1600" b="0" i="0" u="none" strike="noStrike" kern="1200" cap="none" spc="0" normalizeH="0" baseline="0" noProof="0">
                <a:ln>
                  <a:noFill/>
                </a:ln>
                <a:solidFill>
                  <a:srgbClr val="004C99"/>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he-IL" sz="1600" i="0" u="none" strike="noStrike" kern="1200" cap="none" spc="0" normalizeH="0" baseline="0" noProof="0">
                <a:ln>
                  <a:noFill/>
                </a:ln>
                <a:solidFill>
                  <a:srgbClr val="004C99"/>
                </a:solidFill>
                <a:effectLst/>
                <a:uLnTx/>
                <a:uFillTx/>
                <a:latin typeface="Calibri" panose="020F0502020204030204" pitchFamily="34" charset="0"/>
                <a:ea typeface="Calibri" panose="020F0502020204030204" pitchFamily="34" charset="0"/>
                <a:cs typeface="Calibri" panose="020F0502020204030204" pitchFamily="34" charset="0"/>
              </a:rPr>
              <a:t>יזמות</a:t>
            </a:r>
            <a:r>
              <a:rPr kumimoji="0" lang="he-IL" sz="1600" b="0" i="0" u="none" strike="noStrike" kern="1200" cap="none" spc="0" normalizeH="0" baseline="0" noProof="0">
                <a:ln>
                  <a:noFill/>
                </a:ln>
                <a:solidFill>
                  <a:srgbClr val="004C99"/>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1600" b="0" i="0" u="none" strike="noStrike" kern="1200" cap="none" spc="0" normalizeH="0" baseline="0" noProof="0">
                <a:ln>
                  <a:noFill/>
                </a:ln>
                <a:solidFill>
                  <a:srgbClr val="004C99"/>
                </a:solidFill>
                <a:effectLst/>
                <a:uLnTx/>
                <a:uFillTx/>
                <a:latin typeface="Calibri" panose="020F0502020204030204" pitchFamily="34" charset="0"/>
                <a:ea typeface="Calibri" panose="020F0502020204030204" pitchFamily="34" charset="0"/>
                <a:cs typeface="Calibri" panose="020F0502020204030204" pitchFamily="34" charset="0"/>
              </a:rPr>
              <a:t>		      								     	</a:t>
            </a:r>
            <a:r>
              <a:rPr lang="he-IL" sz="1600">
                <a:solidFill>
                  <a:srgbClr val="004C99"/>
                </a:solidFill>
                <a:latin typeface="Calibri" panose="020F0502020204030204" pitchFamily="34" charset="0"/>
                <a:ea typeface="Calibri" panose="020F0502020204030204" pitchFamily="34" charset="0"/>
                <a:cs typeface="Calibri" panose="020F0502020204030204" pitchFamily="34" charset="0"/>
              </a:rPr>
              <a:t>חשיבה מחוץ לקופסה   </a:t>
            </a:r>
            <a:r>
              <a:rPr kumimoji="0" lang="en-US" sz="1600" b="0" i="0" u="none" strike="noStrike" kern="1200" cap="none" spc="0" normalizeH="0" baseline="0" noProof="0">
                <a:ln>
                  <a:noFill/>
                </a:ln>
                <a:solidFill>
                  <a:srgbClr val="004C99"/>
                </a:solidFill>
                <a:effectLst/>
                <a:uLnTx/>
                <a:uFillTx/>
                <a:latin typeface="Calibri" panose="020F0502020204030204" pitchFamily="34" charset="0"/>
                <a:ea typeface="Calibri" panose="020F0502020204030204" pitchFamily="34" charset="0"/>
                <a:cs typeface="Calibri" panose="020F0502020204030204" pitchFamily="34" charset="0"/>
              </a:rPr>
              <a:t>										                </a:t>
            </a:r>
            <a:r>
              <a:rPr lang="he-IL" sz="1600" noProof="0">
                <a:solidFill>
                  <a:srgbClr val="004C99"/>
                </a:solidFill>
                <a:latin typeface="Calibri" panose="020F0502020204030204" pitchFamily="34" charset="0"/>
                <a:ea typeface="Calibri" panose="020F0502020204030204" pitchFamily="34" charset="0"/>
                <a:cs typeface="Calibri" panose="020F0502020204030204" pitchFamily="34" charset="0"/>
              </a:rPr>
              <a:t>אמינות  </a:t>
            </a:r>
            <a:endParaRPr kumimoji="0" lang="en-US" sz="1600" b="0" i="0" u="none" strike="noStrike" kern="1200" cap="none" spc="0" normalizeH="0" baseline="0" noProof="0">
              <a:ln>
                <a:noFill/>
              </a:ln>
              <a:solidFill>
                <a:srgbClr val="004C99"/>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8" name="Textplatzhalter 4">
            <a:extLst>
              <a:ext uri="{FF2B5EF4-FFF2-40B4-BE49-F238E27FC236}">
                <a16:creationId xmlns:a16="http://schemas.microsoft.com/office/drawing/2014/main" id="{E9877C62-C553-3526-D6A5-C7D495F31621}"/>
              </a:ext>
            </a:extLst>
          </p:cNvPr>
          <p:cNvSpPr txBox="1"/>
          <p:nvPr/>
        </p:nvSpPr>
        <p:spPr>
          <a:xfrm>
            <a:off x="5189443" y="1768288"/>
            <a:ext cx="6918443" cy="850243"/>
          </a:xfrm>
          <a:prstGeom prst="rect">
            <a:avLst/>
          </a:prstGeom>
        </p:spPr>
        <p:txBody>
          <a:bodyPr lIns="0" tIns="45720" rIns="91440" bIns="45720" anchor="t">
            <a:noAutofit/>
          </a:bodyPr>
          <a:lstStyle>
            <a:lvl1pPr marL="266700" marR="0" indent="-266700" algn="l" defTabSz="1644650" rtl="0" eaLnBrk="0" fontAlgn="base" latinLnBrk="0" hangingPunct="0">
              <a:lnSpc>
                <a:spcPct val="130000"/>
              </a:lnSpc>
              <a:spcBef>
                <a:spcPct val="0"/>
              </a:spcBef>
              <a:spcAft>
                <a:spcPts val="1200"/>
              </a:spcAft>
              <a:buClr>
                <a:srgbClr val="004C99"/>
              </a:buClr>
              <a:buSzPct val="120000"/>
              <a:buFontTx/>
              <a:buBlip>
                <a:blip r:embed="rId7"/>
              </a:buBlip>
              <a:defRPr sz="1800" kern="1200">
                <a:solidFill>
                  <a:schemeClr val="tx1"/>
                </a:solidFill>
                <a:latin typeface="+mn-lt"/>
                <a:ea typeface="+mn-ea"/>
                <a:cs typeface="+mn-cs"/>
              </a:defRPr>
            </a:lvl1pPr>
            <a:lvl2pPr marL="630238" marR="0" indent="-268288" algn="l" defTabSz="1644650" rtl="0" eaLnBrk="0" fontAlgn="base" latinLnBrk="0" hangingPunct="0">
              <a:lnSpc>
                <a:spcPct val="130000"/>
              </a:lnSpc>
              <a:spcBef>
                <a:spcPct val="0"/>
              </a:spcBef>
              <a:spcAft>
                <a:spcPts val="1200"/>
              </a:spcAft>
              <a:buClr>
                <a:srgbClr val="004C99"/>
              </a:buClr>
              <a:buSzPct val="120000"/>
              <a:buFontTx/>
              <a:buBlip>
                <a:blip r:embed="rId7"/>
              </a:buBlip>
              <a:defRPr sz="1800" kern="1200">
                <a:solidFill>
                  <a:schemeClr val="tx1"/>
                </a:solidFill>
                <a:latin typeface="+mn-lt"/>
                <a:ea typeface="+mn-ea"/>
                <a:cs typeface="+mn-cs"/>
              </a:defRPr>
            </a:lvl2pPr>
            <a:lvl3pPr marL="990600" marR="0" indent="-274638" algn="l" defTabSz="1644650" rtl="0" eaLnBrk="0" fontAlgn="base" latinLnBrk="0" hangingPunct="0">
              <a:lnSpc>
                <a:spcPct val="130000"/>
              </a:lnSpc>
              <a:spcBef>
                <a:spcPct val="0"/>
              </a:spcBef>
              <a:spcAft>
                <a:spcPts val="1200"/>
              </a:spcAft>
              <a:buClr>
                <a:srgbClr val="004C99"/>
              </a:buClr>
              <a:buSzPct val="120000"/>
              <a:buFontTx/>
              <a:buBlip>
                <a:blip r:embed="rId7"/>
              </a:buBlip>
              <a:defRPr sz="1800" kern="1200">
                <a:solidFill>
                  <a:schemeClr val="tx1"/>
                </a:solidFill>
                <a:latin typeface="+mn-lt"/>
                <a:ea typeface="+mn-ea"/>
                <a:cs typeface="+mn-cs"/>
              </a:defRPr>
            </a:lvl3pPr>
            <a:lvl4pPr marL="1343025" marR="0" indent="-263525" algn="l" defTabSz="1644650" rtl="0" eaLnBrk="0" fontAlgn="base" latinLnBrk="0" hangingPunct="0">
              <a:lnSpc>
                <a:spcPct val="130000"/>
              </a:lnSpc>
              <a:spcBef>
                <a:spcPct val="0"/>
              </a:spcBef>
              <a:spcAft>
                <a:spcPts val="1200"/>
              </a:spcAft>
              <a:buClr>
                <a:srgbClr val="004C99"/>
              </a:buClr>
              <a:buSzPct val="120000"/>
              <a:buFontTx/>
              <a:buBlip>
                <a:blip r:embed="rId7"/>
              </a:buBlip>
              <a:defRPr sz="1800" kern="1200">
                <a:solidFill>
                  <a:schemeClr val="tx1"/>
                </a:solidFill>
                <a:latin typeface="+mn-lt"/>
                <a:ea typeface="+mn-ea"/>
                <a:cs typeface="+mn-cs"/>
              </a:defRPr>
            </a:lvl4pPr>
            <a:lvl5pPr marL="1704975" marR="0" indent="-271463" algn="l" defTabSz="1644650" rtl="0" eaLnBrk="0" fontAlgn="base" latinLnBrk="0" hangingPunct="0">
              <a:lnSpc>
                <a:spcPct val="130000"/>
              </a:lnSpc>
              <a:spcBef>
                <a:spcPct val="0"/>
              </a:spcBef>
              <a:spcAft>
                <a:spcPts val="1200"/>
              </a:spcAft>
              <a:buClr>
                <a:srgbClr val="004C99"/>
              </a:buClr>
              <a:buSzPct val="120000"/>
              <a:buFontTx/>
              <a:buBlip>
                <a:blip r:embed="rId7"/>
              </a:buBlip>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rtl="1">
              <a:lnSpc>
                <a:spcPct val="120000"/>
              </a:lnSpc>
              <a:spcAft>
                <a:spcPts val="0"/>
              </a:spcAft>
              <a:buNone/>
            </a:pPr>
            <a:r>
              <a:rPr lang="he-IL" sz="1400" b="1">
                <a:solidFill>
                  <a:schemeClr val="accent1"/>
                </a:solidFill>
                <a:effectLst>
                  <a:outerShdw blurRad="38100" dist="38100" dir="2700000" algn="tl">
                    <a:srgbClr val="000000">
                      <a:alpha val="43137"/>
                    </a:srgbClr>
                  </a:outerShdw>
                </a:effectLst>
                <a:latin typeface="Calibri" panose="020F0502020204030204" pitchFamily="34" charset="0"/>
                <a:ea typeface="Calibri" panose="020F0502020204030204" pitchFamily="34" charset="0"/>
                <a:cs typeface="Calibri" panose="020F0502020204030204" pitchFamily="34" charset="0"/>
              </a:rPr>
              <a:t>זכויות אדם</a:t>
            </a:r>
          </a:p>
          <a:p>
            <a:pPr marL="0" indent="0" algn="r" rtl="1">
              <a:lnSpc>
                <a:spcPct val="120000"/>
              </a:lnSpc>
              <a:spcAft>
                <a:spcPts val="0"/>
              </a:spcAft>
              <a:buNone/>
            </a:pPr>
            <a:r>
              <a:rPr lang="he-IL" sz="1400">
                <a:solidFill>
                  <a:srgbClr val="3C5B7B">
                    <a:alpha val="70000"/>
                  </a:srgbClr>
                </a:solidFill>
                <a:latin typeface="Calibri"/>
                <a:ea typeface="Calibri" panose="020F0502020204030204" pitchFamily="34" charset="0"/>
                <a:cs typeface="Calibri"/>
              </a:rPr>
              <a:t>כיבוד מגילת זכויות האדם האוניברסליות של האו"ם, מניעת אפליה מכל סוג שהוא ומחויבות חברתית ברוחה.</a:t>
            </a:r>
          </a:p>
          <a:p>
            <a:pPr marL="0" indent="0" algn="r" rtl="1">
              <a:lnSpc>
                <a:spcPct val="120000"/>
              </a:lnSpc>
              <a:spcAft>
                <a:spcPts val="0"/>
              </a:spcAft>
              <a:buNone/>
            </a:pPr>
            <a:endParaRPr lang="he-IL" sz="1400" b="1">
              <a:solidFill>
                <a:schemeClr val="accent1"/>
              </a:solidFill>
              <a:latin typeface="Calibri" panose="020F0502020204030204" pitchFamily="34" charset="0"/>
              <a:ea typeface="Calibri" panose="020F0502020204030204" pitchFamily="34" charset="0"/>
              <a:cs typeface="Calibri" panose="020F0502020204030204" pitchFamily="34" charset="0"/>
            </a:endParaRPr>
          </a:p>
        </p:txBody>
      </p:sp>
      <p:sp>
        <p:nvSpPr>
          <p:cNvPr id="10" name="Textplatzhalter 4">
            <a:extLst>
              <a:ext uri="{FF2B5EF4-FFF2-40B4-BE49-F238E27FC236}">
                <a16:creationId xmlns:a16="http://schemas.microsoft.com/office/drawing/2014/main" id="{ADB8B097-D4E8-1C45-6132-F4B5BFA33944}"/>
              </a:ext>
            </a:extLst>
          </p:cNvPr>
          <p:cNvSpPr txBox="1"/>
          <p:nvPr/>
        </p:nvSpPr>
        <p:spPr>
          <a:xfrm>
            <a:off x="5325317" y="2310130"/>
            <a:ext cx="6782569" cy="489399"/>
          </a:xfrm>
          <a:prstGeom prst="rect">
            <a:avLst/>
          </a:prstGeom>
        </p:spPr>
        <p:txBody>
          <a:bodyPr lIns="0" tIns="45720" rIns="91440" bIns="45720" anchor="t">
            <a:normAutofit lnSpcReduction="10000"/>
          </a:bodyPr>
          <a:lstStyle>
            <a:lvl1pPr marL="266700" marR="0" indent="-266700" algn="l" defTabSz="1644650" rtl="0" eaLnBrk="0" fontAlgn="base" latinLnBrk="0" hangingPunct="0">
              <a:lnSpc>
                <a:spcPct val="130000"/>
              </a:lnSpc>
              <a:spcBef>
                <a:spcPct val="0"/>
              </a:spcBef>
              <a:spcAft>
                <a:spcPts val="1200"/>
              </a:spcAft>
              <a:buClr>
                <a:srgbClr val="004C99"/>
              </a:buClr>
              <a:buSzPct val="120000"/>
              <a:buFontTx/>
              <a:buBlip>
                <a:blip r:embed="rId7"/>
              </a:buBlip>
              <a:defRPr sz="1800" kern="1200">
                <a:solidFill>
                  <a:schemeClr val="tx1"/>
                </a:solidFill>
                <a:latin typeface="+mn-lt"/>
                <a:ea typeface="+mn-ea"/>
                <a:cs typeface="+mn-cs"/>
              </a:defRPr>
            </a:lvl1pPr>
            <a:lvl2pPr marL="630238" marR="0" indent="-268288" algn="l" defTabSz="1644650" rtl="0" eaLnBrk="0" fontAlgn="base" latinLnBrk="0" hangingPunct="0">
              <a:lnSpc>
                <a:spcPct val="130000"/>
              </a:lnSpc>
              <a:spcBef>
                <a:spcPct val="0"/>
              </a:spcBef>
              <a:spcAft>
                <a:spcPts val="1200"/>
              </a:spcAft>
              <a:buClr>
                <a:srgbClr val="004C99"/>
              </a:buClr>
              <a:buSzPct val="120000"/>
              <a:buFontTx/>
              <a:buBlip>
                <a:blip r:embed="rId7"/>
              </a:buBlip>
              <a:defRPr sz="1800" kern="1200">
                <a:solidFill>
                  <a:schemeClr val="tx1"/>
                </a:solidFill>
                <a:latin typeface="+mn-lt"/>
                <a:ea typeface="+mn-ea"/>
                <a:cs typeface="+mn-cs"/>
              </a:defRPr>
            </a:lvl2pPr>
            <a:lvl3pPr marL="990600" marR="0" indent="-274638" algn="l" defTabSz="1644650" rtl="0" eaLnBrk="0" fontAlgn="base" latinLnBrk="0" hangingPunct="0">
              <a:lnSpc>
                <a:spcPct val="130000"/>
              </a:lnSpc>
              <a:spcBef>
                <a:spcPct val="0"/>
              </a:spcBef>
              <a:spcAft>
                <a:spcPts val="1200"/>
              </a:spcAft>
              <a:buClr>
                <a:srgbClr val="004C99"/>
              </a:buClr>
              <a:buSzPct val="120000"/>
              <a:buFontTx/>
              <a:buBlip>
                <a:blip r:embed="rId7"/>
              </a:buBlip>
              <a:defRPr sz="1800" kern="1200">
                <a:solidFill>
                  <a:schemeClr val="tx1"/>
                </a:solidFill>
                <a:latin typeface="+mn-lt"/>
                <a:ea typeface="+mn-ea"/>
                <a:cs typeface="+mn-cs"/>
              </a:defRPr>
            </a:lvl3pPr>
            <a:lvl4pPr marL="1343025" marR="0" indent="-263525" algn="l" defTabSz="1644650" rtl="0" eaLnBrk="0" fontAlgn="base" latinLnBrk="0" hangingPunct="0">
              <a:lnSpc>
                <a:spcPct val="130000"/>
              </a:lnSpc>
              <a:spcBef>
                <a:spcPct val="0"/>
              </a:spcBef>
              <a:spcAft>
                <a:spcPts val="1200"/>
              </a:spcAft>
              <a:buClr>
                <a:srgbClr val="004C99"/>
              </a:buClr>
              <a:buSzPct val="120000"/>
              <a:buFontTx/>
              <a:buBlip>
                <a:blip r:embed="rId7"/>
              </a:buBlip>
              <a:defRPr sz="1800" kern="1200">
                <a:solidFill>
                  <a:schemeClr val="tx1"/>
                </a:solidFill>
                <a:latin typeface="+mn-lt"/>
                <a:ea typeface="+mn-ea"/>
                <a:cs typeface="+mn-cs"/>
              </a:defRPr>
            </a:lvl4pPr>
            <a:lvl5pPr marL="1704975" marR="0" indent="-271463" algn="l" defTabSz="1644650" rtl="0" eaLnBrk="0" fontAlgn="base" latinLnBrk="0" hangingPunct="0">
              <a:lnSpc>
                <a:spcPct val="130000"/>
              </a:lnSpc>
              <a:spcBef>
                <a:spcPct val="0"/>
              </a:spcBef>
              <a:spcAft>
                <a:spcPts val="1200"/>
              </a:spcAft>
              <a:buClr>
                <a:srgbClr val="004C99"/>
              </a:buClr>
              <a:buSzPct val="120000"/>
              <a:buFontTx/>
              <a:buBlip>
                <a:blip r:embed="rId7"/>
              </a:buBlip>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rtl="1">
              <a:lnSpc>
                <a:spcPct val="100000"/>
              </a:lnSpc>
              <a:spcAft>
                <a:spcPts val="0"/>
              </a:spcAft>
              <a:buNone/>
            </a:pPr>
            <a:r>
              <a:rPr lang="he-IL" sz="1400" b="1">
                <a:solidFill>
                  <a:schemeClr val="accent1"/>
                </a:solidFill>
                <a:effectLst>
                  <a:outerShdw blurRad="38100" dist="38100" dir="2700000" algn="tl">
                    <a:srgbClr val="000000">
                      <a:alpha val="43137"/>
                    </a:srgbClr>
                  </a:outerShdw>
                </a:effectLst>
                <a:latin typeface="Calibri" panose="020F0502020204030204" pitchFamily="34" charset="0"/>
                <a:ea typeface="Calibri" panose="020F0502020204030204" pitchFamily="34" charset="0"/>
                <a:cs typeface="Calibri" panose="020F0502020204030204" pitchFamily="34" charset="0"/>
              </a:rPr>
              <a:t>יחסי עבודה</a:t>
            </a:r>
            <a:endParaRPr lang="en-US"/>
          </a:p>
          <a:p>
            <a:pPr marL="0" indent="0" algn="r" rtl="1">
              <a:lnSpc>
                <a:spcPct val="100000"/>
              </a:lnSpc>
              <a:spcAft>
                <a:spcPts val="0"/>
              </a:spcAft>
              <a:buNone/>
            </a:pPr>
            <a:r>
              <a:rPr lang="he-IL" sz="1400">
                <a:solidFill>
                  <a:srgbClr val="3C5B7B">
                    <a:alpha val="70000"/>
                  </a:srgbClr>
                </a:solidFill>
                <a:latin typeface="Calibri"/>
                <a:ea typeface="Calibri" panose="020F0502020204030204" pitchFamily="34" charset="0"/>
                <a:cs typeface="Calibri"/>
              </a:rPr>
              <a:t>יצירת סביבת עבודה מכבדת, הוגנת, מעצימה, בריאה ובטוחה. התייחסות לאמות גם מול ספקים.</a:t>
            </a:r>
          </a:p>
        </p:txBody>
      </p:sp>
      <p:sp>
        <p:nvSpPr>
          <p:cNvPr id="11" name="Textplatzhalter 4">
            <a:extLst>
              <a:ext uri="{FF2B5EF4-FFF2-40B4-BE49-F238E27FC236}">
                <a16:creationId xmlns:a16="http://schemas.microsoft.com/office/drawing/2014/main" id="{EC0241D7-E2FD-8D6A-0454-8F78AC96C378}"/>
              </a:ext>
            </a:extLst>
          </p:cNvPr>
          <p:cNvSpPr txBox="1"/>
          <p:nvPr/>
        </p:nvSpPr>
        <p:spPr>
          <a:xfrm>
            <a:off x="5322128" y="2806702"/>
            <a:ext cx="6792465" cy="984203"/>
          </a:xfrm>
          <a:prstGeom prst="rect">
            <a:avLst/>
          </a:prstGeom>
        </p:spPr>
        <p:txBody>
          <a:bodyPr lIns="0" tIns="45720" rIns="91440" bIns="45720" anchor="t">
            <a:normAutofit/>
          </a:bodyPr>
          <a:lstStyle>
            <a:lvl1pPr marL="266700" marR="0" indent="-266700" algn="l" defTabSz="1644650" rtl="0" eaLnBrk="0" fontAlgn="base" latinLnBrk="0" hangingPunct="0">
              <a:lnSpc>
                <a:spcPct val="130000"/>
              </a:lnSpc>
              <a:spcBef>
                <a:spcPct val="0"/>
              </a:spcBef>
              <a:spcAft>
                <a:spcPts val="1200"/>
              </a:spcAft>
              <a:buClr>
                <a:srgbClr val="004C99"/>
              </a:buClr>
              <a:buSzPct val="120000"/>
              <a:buFontTx/>
              <a:buBlip>
                <a:blip r:embed="rId7"/>
              </a:buBlip>
              <a:defRPr sz="1800" kern="1200">
                <a:solidFill>
                  <a:schemeClr val="tx1"/>
                </a:solidFill>
                <a:latin typeface="+mn-lt"/>
                <a:ea typeface="+mn-ea"/>
                <a:cs typeface="+mn-cs"/>
              </a:defRPr>
            </a:lvl1pPr>
            <a:lvl2pPr marL="630238" marR="0" indent="-268288" algn="l" defTabSz="1644650" rtl="0" eaLnBrk="0" fontAlgn="base" latinLnBrk="0" hangingPunct="0">
              <a:lnSpc>
                <a:spcPct val="130000"/>
              </a:lnSpc>
              <a:spcBef>
                <a:spcPct val="0"/>
              </a:spcBef>
              <a:spcAft>
                <a:spcPts val="1200"/>
              </a:spcAft>
              <a:buClr>
                <a:srgbClr val="004C99"/>
              </a:buClr>
              <a:buSzPct val="120000"/>
              <a:buFontTx/>
              <a:buBlip>
                <a:blip r:embed="rId7"/>
              </a:buBlip>
              <a:defRPr sz="1800" kern="1200">
                <a:solidFill>
                  <a:schemeClr val="tx1"/>
                </a:solidFill>
                <a:latin typeface="+mn-lt"/>
                <a:ea typeface="+mn-ea"/>
                <a:cs typeface="+mn-cs"/>
              </a:defRPr>
            </a:lvl2pPr>
            <a:lvl3pPr marL="990600" marR="0" indent="-274638" algn="l" defTabSz="1644650" rtl="0" eaLnBrk="0" fontAlgn="base" latinLnBrk="0" hangingPunct="0">
              <a:lnSpc>
                <a:spcPct val="130000"/>
              </a:lnSpc>
              <a:spcBef>
                <a:spcPct val="0"/>
              </a:spcBef>
              <a:spcAft>
                <a:spcPts val="1200"/>
              </a:spcAft>
              <a:buClr>
                <a:srgbClr val="004C99"/>
              </a:buClr>
              <a:buSzPct val="120000"/>
              <a:buFontTx/>
              <a:buBlip>
                <a:blip r:embed="rId7"/>
              </a:buBlip>
              <a:defRPr sz="1800" kern="1200">
                <a:solidFill>
                  <a:schemeClr val="tx1"/>
                </a:solidFill>
                <a:latin typeface="+mn-lt"/>
                <a:ea typeface="+mn-ea"/>
                <a:cs typeface="+mn-cs"/>
              </a:defRPr>
            </a:lvl3pPr>
            <a:lvl4pPr marL="1343025" marR="0" indent="-263525" algn="l" defTabSz="1644650" rtl="0" eaLnBrk="0" fontAlgn="base" latinLnBrk="0" hangingPunct="0">
              <a:lnSpc>
                <a:spcPct val="130000"/>
              </a:lnSpc>
              <a:spcBef>
                <a:spcPct val="0"/>
              </a:spcBef>
              <a:spcAft>
                <a:spcPts val="1200"/>
              </a:spcAft>
              <a:buClr>
                <a:srgbClr val="004C99"/>
              </a:buClr>
              <a:buSzPct val="120000"/>
              <a:buFontTx/>
              <a:buBlip>
                <a:blip r:embed="rId7"/>
              </a:buBlip>
              <a:defRPr sz="1800" kern="1200">
                <a:solidFill>
                  <a:schemeClr val="tx1"/>
                </a:solidFill>
                <a:latin typeface="+mn-lt"/>
                <a:ea typeface="+mn-ea"/>
                <a:cs typeface="+mn-cs"/>
              </a:defRPr>
            </a:lvl4pPr>
            <a:lvl5pPr marL="1704975" marR="0" indent="-271463" algn="l" defTabSz="1644650" rtl="0" eaLnBrk="0" fontAlgn="base" latinLnBrk="0" hangingPunct="0">
              <a:lnSpc>
                <a:spcPct val="130000"/>
              </a:lnSpc>
              <a:spcBef>
                <a:spcPct val="0"/>
              </a:spcBef>
              <a:spcAft>
                <a:spcPts val="1200"/>
              </a:spcAft>
              <a:buClr>
                <a:srgbClr val="004C99"/>
              </a:buClr>
              <a:buSzPct val="120000"/>
              <a:buFontTx/>
              <a:buBlip>
                <a:blip r:embed="rId7"/>
              </a:buBlip>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rtl="1">
              <a:lnSpc>
                <a:spcPct val="100000"/>
              </a:lnSpc>
              <a:spcAft>
                <a:spcPts val="0"/>
              </a:spcAft>
              <a:buNone/>
            </a:pPr>
            <a:r>
              <a:rPr lang="he-IL" sz="1400" b="1" dirty="0">
                <a:solidFill>
                  <a:schemeClr val="accent1"/>
                </a:solidFill>
                <a:effectLst>
                  <a:outerShdw blurRad="38100" dist="38100" dir="2700000" algn="tl">
                    <a:srgbClr val="000000">
                      <a:alpha val="43137"/>
                    </a:srgbClr>
                  </a:outerShdw>
                </a:effectLst>
                <a:latin typeface="Calibri"/>
                <a:ea typeface="Calibri" panose="020F0502020204030204" pitchFamily="34" charset="0"/>
                <a:cs typeface="Calibri"/>
              </a:rPr>
              <a:t>איכות הסביבה</a:t>
            </a:r>
            <a:endParaRPr lang="en-US" dirty="0">
              <a:solidFill>
                <a:schemeClr val="accent1"/>
              </a:solidFill>
              <a:latin typeface="Calibri"/>
              <a:cs typeface="Calibri"/>
            </a:endParaRPr>
          </a:p>
          <a:p>
            <a:pPr marL="0" indent="0" algn="r" rtl="1">
              <a:lnSpc>
                <a:spcPct val="100000"/>
              </a:lnSpc>
              <a:spcAft>
                <a:spcPts val="0"/>
              </a:spcAft>
              <a:buNone/>
            </a:pPr>
            <a:r>
              <a:rPr lang="he-IL" sz="1400" dirty="0">
                <a:solidFill>
                  <a:srgbClr val="3C5B7B">
                    <a:alpha val="70000"/>
                  </a:srgbClr>
                </a:solidFill>
                <a:latin typeface="Calibri"/>
                <a:ea typeface="Calibri" panose="020F0502020204030204" pitchFamily="34" charset="0"/>
                <a:cs typeface="Calibri"/>
              </a:rPr>
              <a:t>חתירה מתמדת לחיסכון ושימור משאבים על מנת לצמצם פגיעה בסביבה ובזבוז משאבים מתכלים.</a:t>
            </a:r>
          </a:p>
          <a:p>
            <a:pPr marL="0" indent="0" algn="r" rtl="1">
              <a:lnSpc>
                <a:spcPct val="100000"/>
              </a:lnSpc>
              <a:spcAft>
                <a:spcPts val="0"/>
              </a:spcAft>
              <a:buNone/>
            </a:pPr>
            <a:endParaRPr lang="he-IL" sz="1400" b="1" dirty="0">
              <a:solidFill>
                <a:schemeClr val="accent1"/>
              </a:solidFill>
              <a:latin typeface="Calibri" panose="020F0502020204030204" pitchFamily="34" charset="0"/>
              <a:ea typeface="Calibri" panose="020F0502020204030204" pitchFamily="34" charset="0"/>
              <a:cs typeface="Calibri" panose="020F0502020204030204" pitchFamily="34" charset="0"/>
            </a:endParaRPr>
          </a:p>
        </p:txBody>
      </p:sp>
      <p:sp>
        <p:nvSpPr>
          <p:cNvPr id="12" name="Textplatzhalter 4">
            <a:extLst>
              <a:ext uri="{FF2B5EF4-FFF2-40B4-BE49-F238E27FC236}">
                <a16:creationId xmlns:a16="http://schemas.microsoft.com/office/drawing/2014/main" id="{5C6508AA-4C1E-F572-FCE4-40C62F1D48B0}"/>
              </a:ext>
            </a:extLst>
          </p:cNvPr>
          <p:cNvSpPr txBox="1"/>
          <p:nvPr/>
        </p:nvSpPr>
        <p:spPr>
          <a:xfrm>
            <a:off x="5297387" y="3312368"/>
            <a:ext cx="6787518" cy="978994"/>
          </a:xfrm>
          <a:prstGeom prst="rect">
            <a:avLst/>
          </a:prstGeom>
        </p:spPr>
        <p:txBody>
          <a:bodyPr lIns="0" tIns="45720" rIns="91440" bIns="45720" anchor="t">
            <a:normAutofit fontScale="92500"/>
          </a:bodyPr>
          <a:lstStyle>
            <a:lvl1pPr marL="266700" marR="0" indent="-266700" algn="l" defTabSz="1644650" rtl="0" eaLnBrk="0" fontAlgn="base" latinLnBrk="0" hangingPunct="0">
              <a:lnSpc>
                <a:spcPct val="130000"/>
              </a:lnSpc>
              <a:spcBef>
                <a:spcPct val="0"/>
              </a:spcBef>
              <a:spcAft>
                <a:spcPts val="1200"/>
              </a:spcAft>
              <a:buClr>
                <a:srgbClr val="004C99"/>
              </a:buClr>
              <a:buSzPct val="120000"/>
              <a:buFontTx/>
              <a:buBlip>
                <a:blip r:embed="rId7"/>
              </a:buBlip>
              <a:defRPr sz="1800" kern="1200">
                <a:solidFill>
                  <a:schemeClr val="tx1"/>
                </a:solidFill>
                <a:latin typeface="+mn-lt"/>
                <a:ea typeface="+mn-ea"/>
                <a:cs typeface="+mn-cs"/>
              </a:defRPr>
            </a:lvl1pPr>
            <a:lvl2pPr marL="630238" marR="0" indent="-268288" algn="l" defTabSz="1644650" rtl="0" eaLnBrk="0" fontAlgn="base" latinLnBrk="0" hangingPunct="0">
              <a:lnSpc>
                <a:spcPct val="130000"/>
              </a:lnSpc>
              <a:spcBef>
                <a:spcPct val="0"/>
              </a:spcBef>
              <a:spcAft>
                <a:spcPts val="1200"/>
              </a:spcAft>
              <a:buClr>
                <a:srgbClr val="004C99"/>
              </a:buClr>
              <a:buSzPct val="120000"/>
              <a:buFontTx/>
              <a:buBlip>
                <a:blip r:embed="rId7"/>
              </a:buBlip>
              <a:defRPr sz="1800" kern="1200">
                <a:solidFill>
                  <a:schemeClr val="tx1"/>
                </a:solidFill>
                <a:latin typeface="+mn-lt"/>
                <a:ea typeface="+mn-ea"/>
                <a:cs typeface="+mn-cs"/>
              </a:defRPr>
            </a:lvl2pPr>
            <a:lvl3pPr marL="990600" marR="0" indent="-274638" algn="l" defTabSz="1644650" rtl="0" eaLnBrk="0" fontAlgn="base" latinLnBrk="0" hangingPunct="0">
              <a:lnSpc>
                <a:spcPct val="130000"/>
              </a:lnSpc>
              <a:spcBef>
                <a:spcPct val="0"/>
              </a:spcBef>
              <a:spcAft>
                <a:spcPts val="1200"/>
              </a:spcAft>
              <a:buClr>
                <a:srgbClr val="004C99"/>
              </a:buClr>
              <a:buSzPct val="120000"/>
              <a:buFontTx/>
              <a:buBlip>
                <a:blip r:embed="rId7"/>
              </a:buBlip>
              <a:defRPr sz="1800" kern="1200">
                <a:solidFill>
                  <a:schemeClr val="tx1"/>
                </a:solidFill>
                <a:latin typeface="+mn-lt"/>
                <a:ea typeface="+mn-ea"/>
                <a:cs typeface="+mn-cs"/>
              </a:defRPr>
            </a:lvl3pPr>
            <a:lvl4pPr marL="1343025" marR="0" indent="-263525" algn="l" defTabSz="1644650" rtl="0" eaLnBrk="0" fontAlgn="base" latinLnBrk="0" hangingPunct="0">
              <a:lnSpc>
                <a:spcPct val="130000"/>
              </a:lnSpc>
              <a:spcBef>
                <a:spcPct val="0"/>
              </a:spcBef>
              <a:spcAft>
                <a:spcPts val="1200"/>
              </a:spcAft>
              <a:buClr>
                <a:srgbClr val="004C99"/>
              </a:buClr>
              <a:buSzPct val="120000"/>
              <a:buFontTx/>
              <a:buBlip>
                <a:blip r:embed="rId7"/>
              </a:buBlip>
              <a:defRPr sz="1800" kern="1200">
                <a:solidFill>
                  <a:schemeClr val="tx1"/>
                </a:solidFill>
                <a:latin typeface="+mn-lt"/>
                <a:ea typeface="+mn-ea"/>
                <a:cs typeface="+mn-cs"/>
              </a:defRPr>
            </a:lvl4pPr>
            <a:lvl5pPr marL="1704975" marR="0" indent="-271463" algn="l" defTabSz="1644650" rtl="0" eaLnBrk="0" fontAlgn="base" latinLnBrk="0" hangingPunct="0">
              <a:lnSpc>
                <a:spcPct val="130000"/>
              </a:lnSpc>
              <a:spcBef>
                <a:spcPct val="0"/>
              </a:spcBef>
              <a:spcAft>
                <a:spcPts val="1200"/>
              </a:spcAft>
              <a:buClr>
                <a:srgbClr val="004C99"/>
              </a:buClr>
              <a:buSzPct val="120000"/>
              <a:buFontTx/>
              <a:buBlip>
                <a:blip r:embed="rId7"/>
              </a:buBlip>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rtl="1">
              <a:lnSpc>
                <a:spcPct val="100000"/>
              </a:lnSpc>
              <a:spcAft>
                <a:spcPts val="0"/>
              </a:spcAft>
              <a:buNone/>
            </a:pPr>
            <a:r>
              <a:rPr lang="he-IL" sz="1400" b="1" dirty="0">
                <a:solidFill>
                  <a:schemeClr val="accent1"/>
                </a:solidFill>
                <a:effectLst>
                  <a:outerShdw blurRad="38100" dist="38100" dir="2700000" algn="tl">
                    <a:srgbClr val="000000">
                      <a:alpha val="43137"/>
                    </a:srgbClr>
                  </a:outerShdw>
                </a:effectLst>
                <a:latin typeface="Calibri"/>
                <a:ea typeface="Calibri" panose="020F0502020204030204" pitchFamily="34" charset="0"/>
                <a:cs typeface="Calibri"/>
              </a:rPr>
              <a:t>מניעת שחיתות</a:t>
            </a:r>
            <a:endParaRPr lang="en-US" dirty="0">
              <a:solidFill>
                <a:srgbClr val="343A3F"/>
              </a:solidFill>
              <a:latin typeface="Roboto Light"/>
              <a:ea typeface="Roboto Light"/>
              <a:cs typeface="Arial"/>
            </a:endParaRPr>
          </a:p>
          <a:p>
            <a:pPr marL="0" indent="0" algn="r" rtl="1">
              <a:lnSpc>
                <a:spcPct val="100000"/>
              </a:lnSpc>
              <a:spcAft>
                <a:spcPts val="0"/>
              </a:spcAft>
              <a:buNone/>
            </a:pPr>
            <a:r>
              <a:rPr lang="he-IL" sz="1400" dirty="0">
                <a:solidFill>
                  <a:srgbClr val="3C5B7B">
                    <a:alpha val="70000"/>
                  </a:srgbClr>
                </a:solidFill>
                <a:latin typeface="Calibri"/>
                <a:ea typeface="Calibri" panose="020F0502020204030204" pitchFamily="34" charset="0"/>
                <a:cs typeface="Calibri"/>
              </a:rPr>
              <a:t>החברה ועובדיה מחויבים לחוקי המדינה ותקנות בינלאומיות למניעת שחיתות ובהתאם לכך, החברה אוסרת על עובדיה להשתמש לקבל או להציע שוחד, טובות הנאה או כל אמצעי תשלום בלתי חוקי. איסור זה מתייחס ללקוחות, ספקים, גורמי שירות נוספים ובמיוחד גורמי ממשלה וגופים רשמיים, בישראל או מחוץ לה.</a:t>
            </a:r>
            <a:endParaRPr lang="en-US" dirty="0">
              <a:solidFill>
                <a:srgbClr val="343A3F"/>
              </a:solidFill>
              <a:latin typeface="Calibri"/>
              <a:ea typeface="Roboto Light"/>
              <a:cs typeface="Arial"/>
            </a:endParaRPr>
          </a:p>
        </p:txBody>
      </p:sp>
      <p:sp>
        <p:nvSpPr>
          <p:cNvPr id="14" name="Textplatzhalter 4">
            <a:extLst>
              <a:ext uri="{FF2B5EF4-FFF2-40B4-BE49-F238E27FC236}">
                <a16:creationId xmlns:a16="http://schemas.microsoft.com/office/drawing/2014/main" id="{381EC8A8-4E78-254B-3FED-BEF91B847A0D}"/>
              </a:ext>
            </a:extLst>
          </p:cNvPr>
          <p:cNvSpPr txBox="1"/>
          <p:nvPr/>
        </p:nvSpPr>
        <p:spPr>
          <a:xfrm>
            <a:off x="5420076" y="4168067"/>
            <a:ext cx="6671041" cy="850243"/>
          </a:xfrm>
          <a:prstGeom prst="rect">
            <a:avLst/>
          </a:prstGeom>
        </p:spPr>
        <p:txBody>
          <a:bodyPr lIns="0">
            <a:noAutofit/>
          </a:bodyPr>
          <a:lstStyle>
            <a:lvl1pPr marL="266700" marR="0" indent="-266700" algn="l" defTabSz="1644650" rtl="0" eaLnBrk="0" fontAlgn="base" latinLnBrk="0" hangingPunct="0">
              <a:lnSpc>
                <a:spcPct val="130000"/>
              </a:lnSpc>
              <a:spcBef>
                <a:spcPct val="0"/>
              </a:spcBef>
              <a:spcAft>
                <a:spcPts val="1200"/>
              </a:spcAft>
              <a:buClr>
                <a:srgbClr val="004C99"/>
              </a:buClr>
              <a:buSzPct val="120000"/>
              <a:buFontTx/>
              <a:buBlip>
                <a:blip r:embed="rId7"/>
              </a:buBlip>
              <a:defRPr sz="1800" kern="1200">
                <a:solidFill>
                  <a:schemeClr val="tx1"/>
                </a:solidFill>
                <a:latin typeface="+mn-lt"/>
                <a:ea typeface="+mn-ea"/>
                <a:cs typeface="+mn-cs"/>
              </a:defRPr>
            </a:lvl1pPr>
            <a:lvl2pPr marL="630238" marR="0" indent="-268288" algn="l" defTabSz="1644650" rtl="0" eaLnBrk="0" fontAlgn="base" latinLnBrk="0" hangingPunct="0">
              <a:lnSpc>
                <a:spcPct val="130000"/>
              </a:lnSpc>
              <a:spcBef>
                <a:spcPct val="0"/>
              </a:spcBef>
              <a:spcAft>
                <a:spcPts val="1200"/>
              </a:spcAft>
              <a:buClr>
                <a:srgbClr val="004C99"/>
              </a:buClr>
              <a:buSzPct val="120000"/>
              <a:buFontTx/>
              <a:buBlip>
                <a:blip r:embed="rId7"/>
              </a:buBlip>
              <a:defRPr sz="1800" kern="1200">
                <a:solidFill>
                  <a:schemeClr val="tx1"/>
                </a:solidFill>
                <a:latin typeface="+mn-lt"/>
                <a:ea typeface="+mn-ea"/>
                <a:cs typeface="+mn-cs"/>
              </a:defRPr>
            </a:lvl2pPr>
            <a:lvl3pPr marL="990600" marR="0" indent="-274638" algn="l" defTabSz="1644650" rtl="0" eaLnBrk="0" fontAlgn="base" latinLnBrk="0" hangingPunct="0">
              <a:lnSpc>
                <a:spcPct val="130000"/>
              </a:lnSpc>
              <a:spcBef>
                <a:spcPct val="0"/>
              </a:spcBef>
              <a:spcAft>
                <a:spcPts val="1200"/>
              </a:spcAft>
              <a:buClr>
                <a:srgbClr val="004C99"/>
              </a:buClr>
              <a:buSzPct val="120000"/>
              <a:buFontTx/>
              <a:buBlip>
                <a:blip r:embed="rId7"/>
              </a:buBlip>
              <a:defRPr sz="1800" kern="1200">
                <a:solidFill>
                  <a:schemeClr val="tx1"/>
                </a:solidFill>
                <a:latin typeface="+mn-lt"/>
                <a:ea typeface="+mn-ea"/>
                <a:cs typeface="+mn-cs"/>
              </a:defRPr>
            </a:lvl3pPr>
            <a:lvl4pPr marL="1343025" marR="0" indent="-263525" algn="l" defTabSz="1644650" rtl="0" eaLnBrk="0" fontAlgn="base" latinLnBrk="0" hangingPunct="0">
              <a:lnSpc>
                <a:spcPct val="130000"/>
              </a:lnSpc>
              <a:spcBef>
                <a:spcPct val="0"/>
              </a:spcBef>
              <a:spcAft>
                <a:spcPts val="1200"/>
              </a:spcAft>
              <a:buClr>
                <a:srgbClr val="004C99"/>
              </a:buClr>
              <a:buSzPct val="120000"/>
              <a:buFontTx/>
              <a:buBlip>
                <a:blip r:embed="rId7"/>
              </a:buBlip>
              <a:defRPr sz="1800" kern="1200">
                <a:solidFill>
                  <a:schemeClr val="tx1"/>
                </a:solidFill>
                <a:latin typeface="+mn-lt"/>
                <a:ea typeface="+mn-ea"/>
                <a:cs typeface="+mn-cs"/>
              </a:defRPr>
            </a:lvl4pPr>
            <a:lvl5pPr marL="1704975" marR="0" indent="-271463" algn="l" defTabSz="1644650" rtl="0" eaLnBrk="0" fontAlgn="base" latinLnBrk="0" hangingPunct="0">
              <a:lnSpc>
                <a:spcPct val="130000"/>
              </a:lnSpc>
              <a:spcBef>
                <a:spcPct val="0"/>
              </a:spcBef>
              <a:spcAft>
                <a:spcPts val="1200"/>
              </a:spcAft>
              <a:buClr>
                <a:srgbClr val="004C99"/>
              </a:buClr>
              <a:buSzPct val="120000"/>
              <a:buFontTx/>
              <a:buBlip>
                <a:blip r:embed="rId7"/>
              </a:buBlip>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rtl="1">
              <a:lnSpc>
                <a:spcPct val="120000"/>
              </a:lnSpc>
              <a:spcAft>
                <a:spcPts val="0"/>
              </a:spcAft>
              <a:buNone/>
            </a:pPr>
            <a:r>
              <a:rPr lang="he-IL" sz="1400" b="1">
                <a:solidFill>
                  <a:schemeClr val="accent1"/>
                </a:solidFill>
                <a:effectLst>
                  <a:outerShdw blurRad="38100" dist="38100" dir="2700000" algn="tl">
                    <a:srgbClr val="000000">
                      <a:alpha val="43137"/>
                    </a:srgbClr>
                  </a:outerShdw>
                </a:effectLst>
                <a:latin typeface="Calibri" panose="020F0502020204030204" pitchFamily="34" charset="0"/>
                <a:ea typeface="Calibri" panose="020F0502020204030204" pitchFamily="34" charset="0"/>
                <a:cs typeface="Calibri" panose="020F0502020204030204" pitchFamily="34" charset="0"/>
              </a:rPr>
              <a:t>חוקי סחר הוגן ומניעת ריכוזיות</a:t>
            </a:r>
          </a:p>
          <a:p>
            <a:pPr marL="0" indent="0" algn="r" rtl="1">
              <a:lnSpc>
                <a:spcPct val="120000"/>
              </a:lnSpc>
              <a:spcAft>
                <a:spcPts val="0"/>
              </a:spcAft>
              <a:buNone/>
            </a:pPr>
            <a:r>
              <a:rPr lang="he-IL" sz="1400">
                <a:solidFill>
                  <a:srgbClr val="3C5B7B">
                    <a:alpha val="70000"/>
                  </a:srgbClr>
                </a:solidFill>
                <a:latin typeface="Calibri" panose="020F0502020204030204" pitchFamily="34" charset="0"/>
                <a:ea typeface="Calibri" panose="020F0502020204030204" pitchFamily="34" charset="0"/>
                <a:cs typeface="Calibri" panose="020F0502020204030204" pitchFamily="34" charset="0"/>
              </a:rPr>
              <a:t>החברה ועובדיה מצייתים לחוקי המדינה בנוגע לקביעת מחירים, איסור על שימוש במונופולים אסורים, הימנעות משיתוף פעולה עם חרם מסחרי ושמירה על זכויות יוצרים.</a:t>
            </a:r>
          </a:p>
          <a:p>
            <a:pPr marL="0" indent="0" algn="r" rtl="1">
              <a:lnSpc>
                <a:spcPct val="120000"/>
              </a:lnSpc>
              <a:spcAft>
                <a:spcPts val="0"/>
              </a:spcAft>
              <a:buNone/>
            </a:pPr>
            <a:endParaRPr lang="he-IL" sz="1400" b="1">
              <a:solidFill>
                <a:schemeClr val="accent1"/>
              </a:solidFill>
              <a:latin typeface="Calibri" panose="020F0502020204030204" pitchFamily="34" charset="0"/>
              <a:ea typeface="Calibri" panose="020F0502020204030204" pitchFamily="34" charset="0"/>
              <a:cs typeface="Calibri" panose="020F0502020204030204" pitchFamily="34" charset="0"/>
            </a:endParaRPr>
          </a:p>
        </p:txBody>
      </p:sp>
      <p:sp>
        <p:nvSpPr>
          <p:cNvPr id="26" name="Textplatzhalter 4">
            <a:extLst>
              <a:ext uri="{FF2B5EF4-FFF2-40B4-BE49-F238E27FC236}">
                <a16:creationId xmlns:a16="http://schemas.microsoft.com/office/drawing/2014/main" id="{9F5D6B90-C040-FDE7-AA41-A632DF0B1FD1}"/>
              </a:ext>
            </a:extLst>
          </p:cNvPr>
          <p:cNvSpPr txBox="1"/>
          <p:nvPr/>
        </p:nvSpPr>
        <p:spPr>
          <a:xfrm>
            <a:off x="5420076" y="4951514"/>
            <a:ext cx="6671041" cy="850243"/>
          </a:xfrm>
          <a:prstGeom prst="rect">
            <a:avLst/>
          </a:prstGeom>
        </p:spPr>
        <p:txBody>
          <a:bodyPr lIns="0" tIns="45720" rIns="91440" bIns="45720" anchor="t">
            <a:noAutofit/>
          </a:bodyPr>
          <a:lstStyle>
            <a:lvl1pPr marL="266700" marR="0" indent="-266700" algn="l" defTabSz="1644650" rtl="0" eaLnBrk="0" fontAlgn="base" latinLnBrk="0" hangingPunct="0">
              <a:lnSpc>
                <a:spcPct val="130000"/>
              </a:lnSpc>
              <a:spcBef>
                <a:spcPct val="0"/>
              </a:spcBef>
              <a:spcAft>
                <a:spcPts val="1200"/>
              </a:spcAft>
              <a:buClr>
                <a:srgbClr val="004C99"/>
              </a:buClr>
              <a:buSzPct val="120000"/>
              <a:buFontTx/>
              <a:buBlip>
                <a:blip r:embed="rId7"/>
              </a:buBlip>
              <a:defRPr sz="1800" kern="1200">
                <a:solidFill>
                  <a:schemeClr val="tx1"/>
                </a:solidFill>
                <a:latin typeface="+mn-lt"/>
                <a:ea typeface="+mn-ea"/>
                <a:cs typeface="+mn-cs"/>
              </a:defRPr>
            </a:lvl1pPr>
            <a:lvl2pPr marL="630238" marR="0" indent="-268288" algn="l" defTabSz="1644650" rtl="0" eaLnBrk="0" fontAlgn="base" latinLnBrk="0" hangingPunct="0">
              <a:lnSpc>
                <a:spcPct val="130000"/>
              </a:lnSpc>
              <a:spcBef>
                <a:spcPct val="0"/>
              </a:spcBef>
              <a:spcAft>
                <a:spcPts val="1200"/>
              </a:spcAft>
              <a:buClr>
                <a:srgbClr val="004C99"/>
              </a:buClr>
              <a:buSzPct val="120000"/>
              <a:buFontTx/>
              <a:buBlip>
                <a:blip r:embed="rId7"/>
              </a:buBlip>
              <a:defRPr sz="1800" kern="1200">
                <a:solidFill>
                  <a:schemeClr val="tx1"/>
                </a:solidFill>
                <a:latin typeface="+mn-lt"/>
                <a:ea typeface="+mn-ea"/>
                <a:cs typeface="+mn-cs"/>
              </a:defRPr>
            </a:lvl2pPr>
            <a:lvl3pPr marL="990600" marR="0" indent="-274638" algn="l" defTabSz="1644650" rtl="0" eaLnBrk="0" fontAlgn="base" latinLnBrk="0" hangingPunct="0">
              <a:lnSpc>
                <a:spcPct val="130000"/>
              </a:lnSpc>
              <a:spcBef>
                <a:spcPct val="0"/>
              </a:spcBef>
              <a:spcAft>
                <a:spcPts val="1200"/>
              </a:spcAft>
              <a:buClr>
                <a:srgbClr val="004C99"/>
              </a:buClr>
              <a:buSzPct val="120000"/>
              <a:buFontTx/>
              <a:buBlip>
                <a:blip r:embed="rId7"/>
              </a:buBlip>
              <a:defRPr sz="1800" kern="1200">
                <a:solidFill>
                  <a:schemeClr val="tx1"/>
                </a:solidFill>
                <a:latin typeface="+mn-lt"/>
                <a:ea typeface="+mn-ea"/>
                <a:cs typeface="+mn-cs"/>
              </a:defRPr>
            </a:lvl3pPr>
            <a:lvl4pPr marL="1343025" marR="0" indent="-263525" algn="l" defTabSz="1644650" rtl="0" eaLnBrk="0" fontAlgn="base" latinLnBrk="0" hangingPunct="0">
              <a:lnSpc>
                <a:spcPct val="130000"/>
              </a:lnSpc>
              <a:spcBef>
                <a:spcPct val="0"/>
              </a:spcBef>
              <a:spcAft>
                <a:spcPts val="1200"/>
              </a:spcAft>
              <a:buClr>
                <a:srgbClr val="004C99"/>
              </a:buClr>
              <a:buSzPct val="120000"/>
              <a:buFontTx/>
              <a:buBlip>
                <a:blip r:embed="rId7"/>
              </a:buBlip>
              <a:defRPr sz="1800" kern="1200">
                <a:solidFill>
                  <a:schemeClr val="tx1"/>
                </a:solidFill>
                <a:latin typeface="+mn-lt"/>
                <a:ea typeface="+mn-ea"/>
                <a:cs typeface="+mn-cs"/>
              </a:defRPr>
            </a:lvl4pPr>
            <a:lvl5pPr marL="1704975" marR="0" indent="-271463" algn="l" defTabSz="1644650" rtl="0" eaLnBrk="0" fontAlgn="base" latinLnBrk="0" hangingPunct="0">
              <a:lnSpc>
                <a:spcPct val="130000"/>
              </a:lnSpc>
              <a:spcBef>
                <a:spcPct val="0"/>
              </a:spcBef>
              <a:spcAft>
                <a:spcPts val="1200"/>
              </a:spcAft>
              <a:buClr>
                <a:srgbClr val="004C99"/>
              </a:buClr>
              <a:buSzPct val="120000"/>
              <a:buFontTx/>
              <a:buBlip>
                <a:blip r:embed="rId7"/>
              </a:buBlip>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619500" lvl="8" algn="r">
              <a:lnSpc>
                <a:spcPct val="120000"/>
              </a:lnSpc>
              <a:buNone/>
            </a:pPr>
            <a:r>
              <a:rPr lang="en-US" sz="1400" b="1">
                <a:solidFill>
                  <a:schemeClr val="accent1"/>
                </a:solidFill>
                <a:effectLst>
                  <a:outerShdw blurRad="38100" dist="38100" dir="2700000" algn="tl">
                    <a:srgbClr val="000000">
                      <a:alpha val="43137"/>
                    </a:srgbClr>
                  </a:outerShdw>
                </a:effectLst>
                <a:latin typeface="Calibri"/>
                <a:ea typeface="Calibri" panose="020F0502020204030204" pitchFamily="34" charset="0"/>
                <a:cs typeface="Calibri"/>
              </a:rPr>
              <a:t>                  </a:t>
            </a:r>
            <a:r>
              <a:rPr lang="he-IL" sz="1400" b="1">
                <a:solidFill>
                  <a:schemeClr val="accent1"/>
                </a:solidFill>
                <a:effectLst>
                  <a:outerShdw blurRad="38100" dist="38100" dir="2700000" algn="tl">
                    <a:srgbClr val="000000">
                      <a:alpha val="43137"/>
                    </a:srgbClr>
                  </a:outerShdw>
                </a:effectLst>
                <a:latin typeface="Calibri"/>
                <a:ea typeface="Calibri" panose="020F0502020204030204" pitchFamily="34" charset="0"/>
                <a:cs typeface="Calibri"/>
              </a:rPr>
              <a:t>הימנעות מניגודי עניים</a:t>
            </a:r>
            <a:endParaRPr lang="en-US">
              <a:solidFill>
                <a:schemeClr val="accent1"/>
              </a:solidFill>
            </a:endParaRPr>
          </a:p>
          <a:p>
            <a:pPr marL="0" indent="0" algn="r" rtl="1">
              <a:lnSpc>
                <a:spcPct val="120000"/>
              </a:lnSpc>
              <a:spcAft>
                <a:spcPts val="0"/>
              </a:spcAft>
              <a:buNone/>
            </a:pPr>
            <a:r>
              <a:rPr lang="he-IL" sz="1400">
                <a:solidFill>
                  <a:srgbClr val="3C5B7B">
                    <a:alpha val="70000"/>
                  </a:srgbClr>
                </a:solidFill>
                <a:latin typeface="Calibri"/>
                <a:ea typeface="Calibri" panose="020F0502020204030204" pitchFamily="34" charset="0"/>
                <a:cs typeface="Calibri"/>
              </a:rPr>
              <a:t>החברה ועובדיה מצייתים לחוקי המדינה בנוגע לקביעת מחירים, איסור על מונופולים, והימנעות משיתוף פעולה עם חרם מסחרי.</a:t>
            </a:r>
          </a:p>
          <a:p>
            <a:pPr marL="0" indent="0" rtl="1">
              <a:lnSpc>
                <a:spcPct val="120000"/>
              </a:lnSpc>
              <a:spcAft>
                <a:spcPts val="0"/>
              </a:spcAft>
              <a:buNone/>
            </a:pPr>
            <a:endParaRPr lang="he-IL" sz="1400" b="1">
              <a:solidFill>
                <a:schemeClr val="accent1"/>
              </a:solidFill>
              <a:latin typeface="Calibri" panose="020F0502020204030204" pitchFamily="34" charset="0"/>
              <a:ea typeface="Calibri" panose="020F0502020204030204" pitchFamily="34" charset="0"/>
              <a:cs typeface="Calibri" panose="020F0502020204030204" pitchFamily="34" charset="0"/>
            </a:endParaRPr>
          </a:p>
        </p:txBody>
      </p:sp>
      <p:sp>
        <p:nvSpPr>
          <p:cNvPr id="27" name="Textplatzhalter 4">
            <a:extLst>
              <a:ext uri="{FF2B5EF4-FFF2-40B4-BE49-F238E27FC236}">
                <a16:creationId xmlns:a16="http://schemas.microsoft.com/office/drawing/2014/main" id="{F7032B3C-0C5C-B374-7579-E411BA018EBB}"/>
              </a:ext>
            </a:extLst>
          </p:cNvPr>
          <p:cNvSpPr txBox="1"/>
          <p:nvPr/>
        </p:nvSpPr>
        <p:spPr>
          <a:xfrm>
            <a:off x="5410180" y="5777602"/>
            <a:ext cx="6671041" cy="850243"/>
          </a:xfrm>
          <a:prstGeom prst="rect">
            <a:avLst/>
          </a:prstGeom>
        </p:spPr>
        <p:txBody>
          <a:bodyPr lIns="0" tIns="45720" rIns="91440" bIns="45720" anchor="t">
            <a:noAutofit/>
          </a:bodyPr>
          <a:lstStyle>
            <a:lvl1pPr marL="266700" marR="0" indent="-266700" algn="l" defTabSz="1644650" rtl="0" eaLnBrk="0" fontAlgn="base" latinLnBrk="0" hangingPunct="0">
              <a:lnSpc>
                <a:spcPct val="130000"/>
              </a:lnSpc>
              <a:spcBef>
                <a:spcPct val="0"/>
              </a:spcBef>
              <a:spcAft>
                <a:spcPts val="1200"/>
              </a:spcAft>
              <a:buClr>
                <a:srgbClr val="004C99"/>
              </a:buClr>
              <a:buSzPct val="120000"/>
              <a:buFontTx/>
              <a:buBlip>
                <a:blip r:embed="rId7"/>
              </a:buBlip>
              <a:defRPr sz="1800" kern="1200">
                <a:solidFill>
                  <a:schemeClr val="tx1"/>
                </a:solidFill>
                <a:latin typeface="+mn-lt"/>
                <a:ea typeface="+mn-ea"/>
                <a:cs typeface="+mn-cs"/>
              </a:defRPr>
            </a:lvl1pPr>
            <a:lvl2pPr marL="630238" marR="0" indent="-268288" algn="l" defTabSz="1644650" rtl="0" eaLnBrk="0" fontAlgn="base" latinLnBrk="0" hangingPunct="0">
              <a:lnSpc>
                <a:spcPct val="130000"/>
              </a:lnSpc>
              <a:spcBef>
                <a:spcPct val="0"/>
              </a:spcBef>
              <a:spcAft>
                <a:spcPts val="1200"/>
              </a:spcAft>
              <a:buClr>
                <a:srgbClr val="004C99"/>
              </a:buClr>
              <a:buSzPct val="120000"/>
              <a:buFontTx/>
              <a:buBlip>
                <a:blip r:embed="rId7"/>
              </a:buBlip>
              <a:defRPr sz="1800" kern="1200">
                <a:solidFill>
                  <a:schemeClr val="tx1"/>
                </a:solidFill>
                <a:latin typeface="+mn-lt"/>
                <a:ea typeface="+mn-ea"/>
                <a:cs typeface="+mn-cs"/>
              </a:defRPr>
            </a:lvl2pPr>
            <a:lvl3pPr marL="990600" marR="0" indent="-274638" algn="l" defTabSz="1644650" rtl="0" eaLnBrk="0" fontAlgn="base" latinLnBrk="0" hangingPunct="0">
              <a:lnSpc>
                <a:spcPct val="130000"/>
              </a:lnSpc>
              <a:spcBef>
                <a:spcPct val="0"/>
              </a:spcBef>
              <a:spcAft>
                <a:spcPts val="1200"/>
              </a:spcAft>
              <a:buClr>
                <a:srgbClr val="004C99"/>
              </a:buClr>
              <a:buSzPct val="120000"/>
              <a:buFontTx/>
              <a:buBlip>
                <a:blip r:embed="rId7"/>
              </a:buBlip>
              <a:defRPr sz="1800" kern="1200">
                <a:solidFill>
                  <a:schemeClr val="tx1"/>
                </a:solidFill>
                <a:latin typeface="+mn-lt"/>
                <a:ea typeface="+mn-ea"/>
                <a:cs typeface="+mn-cs"/>
              </a:defRPr>
            </a:lvl3pPr>
            <a:lvl4pPr marL="1343025" marR="0" indent="-263525" algn="l" defTabSz="1644650" rtl="0" eaLnBrk="0" fontAlgn="base" latinLnBrk="0" hangingPunct="0">
              <a:lnSpc>
                <a:spcPct val="130000"/>
              </a:lnSpc>
              <a:spcBef>
                <a:spcPct val="0"/>
              </a:spcBef>
              <a:spcAft>
                <a:spcPts val="1200"/>
              </a:spcAft>
              <a:buClr>
                <a:srgbClr val="004C99"/>
              </a:buClr>
              <a:buSzPct val="120000"/>
              <a:buFontTx/>
              <a:buBlip>
                <a:blip r:embed="rId7"/>
              </a:buBlip>
              <a:defRPr sz="1800" kern="1200">
                <a:solidFill>
                  <a:schemeClr val="tx1"/>
                </a:solidFill>
                <a:latin typeface="+mn-lt"/>
                <a:ea typeface="+mn-ea"/>
                <a:cs typeface="+mn-cs"/>
              </a:defRPr>
            </a:lvl4pPr>
            <a:lvl5pPr marL="1704975" marR="0" indent="-271463" algn="l" defTabSz="1644650" rtl="0" eaLnBrk="0" fontAlgn="base" latinLnBrk="0" hangingPunct="0">
              <a:lnSpc>
                <a:spcPct val="130000"/>
              </a:lnSpc>
              <a:spcBef>
                <a:spcPct val="0"/>
              </a:spcBef>
              <a:spcAft>
                <a:spcPts val="1200"/>
              </a:spcAft>
              <a:buClr>
                <a:srgbClr val="004C99"/>
              </a:buClr>
              <a:buSzPct val="120000"/>
              <a:buFontTx/>
              <a:buBlip>
                <a:blip r:embed="rId7"/>
              </a:buBlip>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lnSpc>
                <a:spcPct val="120000"/>
              </a:lnSpc>
              <a:spcAft>
                <a:spcPts val="0"/>
              </a:spcAft>
              <a:buNone/>
            </a:pPr>
            <a:r>
              <a:rPr lang="en-US" sz="1400" b="1">
                <a:solidFill>
                  <a:schemeClr val="accent1"/>
                </a:solidFill>
                <a:effectLst>
                  <a:outerShdw blurRad="38100" dist="38100" dir="2700000" algn="tl">
                    <a:srgbClr val="000000">
                      <a:alpha val="43137"/>
                    </a:srgbClr>
                  </a:outerShdw>
                </a:effectLst>
                <a:latin typeface="Calibri"/>
                <a:ea typeface="Calibri" panose="020F0502020204030204" pitchFamily="34" charset="0"/>
                <a:cs typeface="Calibri"/>
              </a:rPr>
              <a:t>                     </a:t>
            </a:r>
            <a:r>
              <a:rPr lang="he-IL" sz="1400" b="1">
                <a:solidFill>
                  <a:schemeClr val="accent1"/>
                </a:solidFill>
                <a:effectLst>
                  <a:outerShdw blurRad="38100" dist="38100" dir="2700000" algn="tl">
                    <a:srgbClr val="000000">
                      <a:alpha val="43137"/>
                    </a:srgbClr>
                  </a:outerShdw>
                </a:effectLst>
                <a:latin typeface="Calibri"/>
                <a:ea typeface="Calibri" panose="020F0502020204030204" pitchFamily="34" charset="0"/>
                <a:cs typeface="Calibri"/>
              </a:rPr>
              <a:t>שמירת סודיות עסקית</a:t>
            </a:r>
            <a:endParaRPr lang="he-IL" sz="1400" b="1">
              <a:solidFill>
                <a:schemeClr val="accent1"/>
              </a:solidFill>
              <a:effectLst>
                <a:outerShdw blurRad="38100" dist="38100" dir="2700000" algn="tl">
                  <a:srgbClr val="000000">
                    <a:alpha val="43137"/>
                  </a:srgbClr>
                </a:outerShdw>
              </a:effectLst>
              <a:latin typeface="Calibri" panose="020F0502020204030204" pitchFamily="34" charset="0"/>
              <a:ea typeface="Calibri" panose="020F0502020204030204" pitchFamily="34" charset="0"/>
              <a:cs typeface="Calibri" panose="020F0502020204030204" pitchFamily="34" charset="0"/>
            </a:endParaRPr>
          </a:p>
          <a:p>
            <a:pPr marL="0" indent="0" algn="r" rtl="1">
              <a:lnSpc>
                <a:spcPct val="120000"/>
              </a:lnSpc>
              <a:spcAft>
                <a:spcPts val="0"/>
              </a:spcAft>
              <a:buNone/>
            </a:pPr>
            <a:r>
              <a:rPr lang="he-IL" sz="1400">
                <a:solidFill>
                  <a:srgbClr val="3C5B7B">
                    <a:alpha val="70000"/>
                  </a:srgbClr>
                </a:solidFill>
                <a:latin typeface="Calibri" panose="020F0502020204030204" pitchFamily="34" charset="0"/>
                <a:ea typeface="Calibri" panose="020F0502020204030204" pitchFamily="34" charset="0"/>
                <a:cs typeface="Calibri" panose="020F0502020204030204" pitchFamily="34" charset="0"/>
              </a:rPr>
              <a:t>החברה ועובדיה אמונים על שמירת המידע העסקי והפרטי של לקוחותינו ברוח תקנות ה-</a:t>
            </a:r>
            <a:r>
              <a:rPr lang="en-US" sz="1400">
                <a:solidFill>
                  <a:srgbClr val="3C5B7B">
                    <a:alpha val="70000"/>
                  </a:srgbClr>
                </a:solidFill>
                <a:latin typeface="Calibri" panose="020F0502020204030204" pitchFamily="34" charset="0"/>
                <a:ea typeface="Calibri" panose="020F0502020204030204" pitchFamily="34" charset="0"/>
                <a:cs typeface="Calibri" panose="020F0502020204030204" pitchFamily="34" charset="0"/>
              </a:rPr>
              <a:t>GDPR </a:t>
            </a:r>
            <a:r>
              <a:rPr lang="he-IL" sz="1400">
                <a:solidFill>
                  <a:srgbClr val="3C5B7B">
                    <a:alpha val="70000"/>
                  </a:srgbClr>
                </a:solidFill>
                <a:latin typeface="Calibri" panose="020F0502020204030204" pitchFamily="34" charset="0"/>
                <a:ea typeface="Calibri" panose="020F0502020204030204" pitchFamily="34" charset="0"/>
                <a:cs typeface="Calibri" panose="020F0502020204030204" pitchFamily="34" charset="0"/>
              </a:rPr>
              <a:t>האירופאית.</a:t>
            </a:r>
            <a:endParaRPr lang="he-IL" sz="1400" b="1">
              <a:solidFill>
                <a:schemeClr val="accent1"/>
              </a:solidFill>
              <a:latin typeface="Calibri" panose="020F0502020204030204" pitchFamily="34" charset="0"/>
              <a:ea typeface="Calibri" panose="020F0502020204030204" pitchFamily="34" charset="0"/>
              <a:cs typeface="Calibri" panose="020F0502020204030204" pitchFamily="34" charset="0"/>
            </a:endParaRPr>
          </a:p>
        </p:txBody>
      </p:sp>
      <p:pic>
        <p:nvPicPr>
          <p:cNvPr id="28" name="תמונה 27">
            <a:extLst>
              <a:ext uri="{FF2B5EF4-FFF2-40B4-BE49-F238E27FC236}">
                <a16:creationId xmlns:a16="http://schemas.microsoft.com/office/drawing/2014/main" id="{5B3DECCE-E168-4F8D-8959-2161DE4811C4}"/>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2150571" y="3406993"/>
            <a:ext cx="1136613" cy="1154132"/>
          </a:xfrm>
          <a:prstGeom prst="rect">
            <a:avLst/>
          </a:prstGeom>
        </p:spPr>
      </p:pic>
    </p:spTree>
    <p:extLst>
      <p:ext uri="{BB962C8B-B14F-4D97-AF65-F5344CB8AC3E}">
        <p14:creationId xmlns:p14="http://schemas.microsoft.com/office/powerpoint/2010/main" val="57924163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1+#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0"/>
                                  </p:stCondLst>
                                  <p:childTnLst>
                                    <p:set>
                                      <p:cBhvr>
                                        <p:cTn id="10" dur="1" fill="hold">
                                          <p:stCondLst>
                                            <p:cond delay="0"/>
                                          </p:stCondLst>
                                        </p:cTn>
                                        <p:tgtEl>
                                          <p:spTgt spid="4">
                                            <p:txEl>
                                              <p:pRg st="0" end="0"/>
                                            </p:txEl>
                                          </p:spTgt>
                                        </p:tgtEl>
                                        <p:attrNameLst>
                                          <p:attrName>style.visibility</p:attrName>
                                        </p:attrNameLst>
                                      </p:cBhvr>
                                      <p:to>
                                        <p:strVal val="visible"/>
                                      </p:to>
                                    </p:set>
                                    <p:anim calcmode="lin" valueType="num">
                                      <p:cBhvr additive="base">
                                        <p:cTn id="11" dur="500" fill="hold"/>
                                        <p:tgtEl>
                                          <p:spTgt spid="4">
                                            <p:txEl>
                                              <p:pRg st="0" end="0"/>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4">
                                            <p:txEl>
                                              <p:pRg st="0" end="0"/>
                                            </p:txEl>
                                          </p:spTgt>
                                        </p:tgtEl>
                                        <p:attrNameLst>
                                          <p:attrName>ppt_y</p:attrName>
                                        </p:attrNameLst>
                                      </p:cBhvr>
                                      <p:tavLst>
                                        <p:tav tm="0">
                                          <p:val>
                                            <p:strVal val="#ppt_y"/>
                                          </p:val>
                                        </p:tav>
                                        <p:tav tm="100000">
                                          <p:val>
                                            <p:strVal val="#ppt_y"/>
                                          </p:val>
                                        </p:tav>
                                      </p:tavLst>
                                    </p:anim>
                                  </p:childTnLst>
                                </p:cTn>
                              </p:par>
                              <p:par>
                                <p:cTn id="13" presetID="49" presetClass="entr" presetSubtype="0" dur="1000" decel="100000" fill="hold" nodeType="withEffect">
                                  <p:stCondLst>
                                    <p:cond delay="250"/>
                                  </p:stCondLst>
                                  <p:childTnLst>
                                    <p:set>
                                      <p:cBhvr>
                                        <p:cTn id="14" dur="1" fill="hold">
                                          <p:stCondLst>
                                            <p:cond delay="0"/>
                                          </p:stCondLst>
                                        </p:cTn>
                                        <p:tgtEl>
                                          <p:spTgt spid="15"/>
                                        </p:tgtEl>
                                        <p:attrNameLst>
                                          <p:attrName>style.visibility</p:attrName>
                                        </p:attrNameLst>
                                      </p:cBhvr>
                                      <p:to>
                                        <p:strVal val="visible"/>
                                      </p:to>
                                    </p:set>
                                    <p:anim calcmode="lin" valueType="num">
                                      <p:cBhvr>
                                        <p:cTn id="15" dur="1000" fill="hold"/>
                                        <p:tgtEl>
                                          <p:spTgt spid="15"/>
                                        </p:tgtEl>
                                        <p:attrNameLst>
                                          <p:attrName>ppt_w</p:attrName>
                                        </p:attrNameLst>
                                      </p:cBhvr>
                                      <p:tavLst>
                                        <p:tav tm="0">
                                          <p:val>
                                            <p:fltVal val="0"/>
                                          </p:val>
                                        </p:tav>
                                        <p:tav tm="100000">
                                          <p:val>
                                            <p:strVal val="#ppt_w"/>
                                          </p:val>
                                        </p:tav>
                                      </p:tavLst>
                                    </p:anim>
                                    <p:anim calcmode="lin" valueType="num">
                                      <p:cBhvr>
                                        <p:cTn id="16" dur="1000" fill="hold"/>
                                        <p:tgtEl>
                                          <p:spTgt spid="15"/>
                                        </p:tgtEl>
                                        <p:attrNameLst>
                                          <p:attrName>ppt_h</p:attrName>
                                        </p:attrNameLst>
                                      </p:cBhvr>
                                      <p:tavLst>
                                        <p:tav tm="0">
                                          <p:val>
                                            <p:fltVal val="0"/>
                                          </p:val>
                                        </p:tav>
                                        <p:tav tm="100000">
                                          <p:val>
                                            <p:strVal val="#ppt_h"/>
                                          </p:val>
                                        </p:tav>
                                      </p:tavLst>
                                    </p:anim>
                                    <p:anim calcmode="lin" valueType="num">
                                      <p:cBhvr>
                                        <p:cTn id="17" dur="1000" fill="hold"/>
                                        <p:tgtEl>
                                          <p:spTgt spid="15"/>
                                        </p:tgtEl>
                                        <p:attrNameLst>
                                          <p:attrName>style.rotation</p:attrName>
                                        </p:attrNameLst>
                                      </p:cBhvr>
                                      <p:tavLst>
                                        <p:tav tm="0">
                                          <p:val>
                                            <p:fltVal val="360"/>
                                          </p:val>
                                        </p:tav>
                                        <p:tav tm="100000">
                                          <p:val>
                                            <p:fltVal val="0"/>
                                          </p:val>
                                        </p:tav>
                                      </p:tavLst>
                                    </p:anim>
                                    <p:animEffect transition="in" filter="fade">
                                      <p:cBhvr>
                                        <p:cTn id="18" dur="1000"/>
                                        <p:tgtEl>
                                          <p:spTgt spid="15"/>
                                        </p:tgtEl>
                                      </p:cBhvr>
                                    </p:animEffect>
                                  </p:childTnLst>
                                </p:cTn>
                              </p:par>
                              <p:par>
                                <p:cTn id="19" presetID="49" presetClass="entr" presetSubtype="0" dur="1000" decel="100000" fill="hold" grpId="0" nodeType="withEffect">
                                  <p:stCondLst>
                                    <p:cond delay="500"/>
                                  </p:stCondLst>
                                  <p:childTnLst>
                                    <p:set>
                                      <p:cBhvr>
                                        <p:cTn id="20" dur="1" fill="hold">
                                          <p:stCondLst>
                                            <p:cond delay="0"/>
                                          </p:stCondLst>
                                        </p:cTn>
                                        <p:tgtEl>
                                          <p:spTgt spid="25"/>
                                        </p:tgtEl>
                                        <p:attrNameLst>
                                          <p:attrName>style.visibility</p:attrName>
                                        </p:attrNameLst>
                                      </p:cBhvr>
                                      <p:to>
                                        <p:strVal val="visible"/>
                                      </p:to>
                                    </p:set>
                                    <p:anim calcmode="lin" valueType="num">
                                      <p:cBhvr>
                                        <p:cTn id="21" dur="1000" fill="hold"/>
                                        <p:tgtEl>
                                          <p:spTgt spid="25"/>
                                        </p:tgtEl>
                                        <p:attrNameLst>
                                          <p:attrName>ppt_w</p:attrName>
                                        </p:attrNameLst>
                                      </p:cBhvr>
                                      <p:tavLst>
                                        <p:tav tm="0">
                                          <p:val>
                                            <p:fltVal val="0"/>
                                          </p:val>
                                        </p:tav>
                                        <p:tav tm="100000">
                                          <p:val>
                                            <p:strVal val="#ppt_w"/>
                                          </p:val>
                                        </p:tav>
                                      </p:tavLst>
                                    </p:anim>
                                    <p:anim calcmode="lin" valueType="num">
                                      <p:cBhvr>
                                        <p:cTn id="22" dur="1000" fill="hold"/>
                                        <p:tgtEl>
                                          <p:spTgt spid="25"/>
                                        </p:tgtEl>
                                        <p:attrNameLst>
                                          <p:attrName>ppt_h</p:attrName>
                                        </p:attrNameLst>
                                      </p:cBhvr>
                                      <p:tavLst>
                                        <p:tav tm="0">
                                          <p:val>
                                            <p:fltVal val="0"/>
                                          </p:val>
                                        </p:tav>
                                        <p:tav tm="100000">
                                          <p:val>
                                            <p:strVal val="#ppt_h"/>
                                          </p:val>
                                        </p:tav>
                                      </p:tavLst>
                                    </p:anim>
                                    <p:anim calcmode="lin" valueType="num">
                                      <p:cBhvr>
                                        <p:cTn id="23" dur="1000" fill="hold"/>
                                        <p:tgtEl>
                                          <p:spTgt spid="25"/>
                                        </p:tgtEl>
                                        <p:attrNameLst>
                                          <p:attrName>style.rotation</p:attrName>
                                        </p:attrNameLst>
                                      </p:cBhvr>
                                      <p:tavLst>
                                        <p:tav tm="0">
                                          <p:val>
                                            <p:fltVal val="360"/>
                                          </p:val>
                                        </p:tav>
                                        <p:tav tm="100000">
                                          <p:val>
                                            <p:fltVal val="0"/>
                                          </p:val>
                                        </p:tav>
                                      </p:tavLst>
                                    </p:anim>
                                    <p:animEffect transition="in" filter="fade">
                                      <p:cBhvr>
                                        <p:cTn id="24" dur="1000"/>
                                        <p:tgtEl>
                                          <p:spTgt spid="25"/>
                                        </p:tgtEl>
                                      </p:cBhvr>
                                    </p:animEffect>
                                  </p:childTnLst>
                                </p:cTn>
                              </p:par>
                            </p:childTnLst>
                          </p:cTn>
                        </p:par>
                        <p:par>
                          <p:cTn id="25" fill="hold">
                            <p:stCondLst>
                              <p:cond delay="1500"/>
                            </p:stCondLst>
                            <p:childTnLst>
                              <p:par>
                                <p:cTn id="26" presetID="2" presetClass="entr" presetSubtype="2" decel="100000" fill="hold" grpId="0" nodeType="afterEffect">
                                  <p:stCondLst>
                                    <p:cond delay="0"/>
                                  </p:stCondLst>
                                  <p:childTnLst>
                                    <p:set>
                                      <p:cBhvr>
                                        <p:cTn id="27" dur="1" fill="hold">
                                          <p:stCondLst>
                                            <p:cond delay="0"/>
                                          </p:stCondLst>
                                        </p:cTn>
                                        <p:tgtEl>
                                          <p:spTgt spid="8"/>
                                        </p:tgtEl>
                                        <p:attrNameLst>
                                          <p:attrName>style.visibility</p:attrName>
                                        </p:attrNameLst>
                                      </p:cBhvr>
                                      <p:to>
                                        <p:strVal val="visible"/>
                                      </p:to>
                                    </p:set>
                                    <p:anim calcmode="lin" valueType="num">
                                      <p:cBhvr additive="base">
                                        <p:cTn id="28" dur="1000" fill="hold"/>
                                        <p:tgtEl>
                                          <p:spTgt spid="8"/>
                                        </p:tgtEl>
                                        <p:attrNameLst>
                                          <p:attrName>ppt_x</p:attrName>
                                        </p:attrNameLst>
                                      </p:cBhvr>
                                      <p:tavLst>
                                        <p:tav tm="0">
                                          <p:val>
                                            <p:strVal val="1+#ppt_w/2"/>
                                          </p:val>
                                        </p:tav>
                                        <p:tav tm="100000">
                                          <p:val>
                                            <p:strVal val="#ppt_x"/>
                                          </p:val>
                                        </p:tav>
                                      </p:tavLst>
                                    </p:anim>
                                    <p:anim calcmode="lin" valueType="num">
                                      <p:cBhvr additive="base">
                                        <p:cTn id="29" dur="1000" fill="hold"/>
                                        <p:tgtEl>
                                          <p:spTgt spid="8"/>
                                        </p:tgtEl>
                                        <p:attrNameLst>
                                          <p:attrName>ppt_y</p:attrName>
                                        </p:attrNameLst>
                                      </p:cBhvr>
                                      <p:tavLst>
                                        <p:tav tm="0">
                                          <p:val>
                                            <p:strVal val="#ppt_y"/>
                                          </p:val>
                                        </p:tav>
                                        <p:tav tm="100000">
                                          <p:val>
                                            <p:strVal val="#ppt_y"/>
                                          </p:val>
                                        </p:tav>
                                      </p:tavLst>
                                    </p:anim>
                                  </p:childTnLst>
                                </p:cTn>
                              </p:par>
                            </p:childTnLst>
                          </p:cTn>
                        </p:par>
                        <p:par>
                          <p:cTn id="30" fill="hold">
                            <p:stCondLst>
                              <p:cond delay="2500"/>
                            </p:stCondLst>
                            <p:childTnLst>
                              <p:par>
                                <p:cTn id="31" presetID="2" presetClass="entr" presetSubtype="2" decel="100000" fill="hold" grpId="0" nodeType="afterEffect">
                                  <p:stCondLst>
                                    <p:cond delay="0"/>
                                  </p:stCondLst>
                                  <p:childTnLst>
                                    <p:set>
                                      <p:cBhvr>
                                        <p:cTn id="32" dur="1" fill="hold">
                                          <p:stCondLst>
                                            <p:cond delay="0"/>
                                          </p:stCondLst>
                                        </p:cTn>
                                        <p:tgtEl>
                                          <p:spTgt spid="10"/>
                                        </p:tgtEl>
                                        <p:attrNameLst>
                                          <p:attrName>style.visibility</p:attrName>
                                        </p:attrNameLst>
                                      </p:cBhvr>
                                      <p:to>
                                        <p:strVal val="visible"/>
                                      </p:to>
                                    </p:set>
                                    <p:anim calcmode="lin" valueType="num">
                                      <p:cBhvr additive="base">
                                        <p:cTn id="33" dur="1000" fill="hold"/>
                                        <p:tgtEl>
                                          <p:spTgt spid="10"/>
                                        </p:tgtEl>
                                        <p:attrNameLst>
                                          <p:attrName>ppt_x</p:attrName>
                                        </p:attrNameLst>
                                      </p:cBhvr>
                                      <p:tavLst>
                                        <p:tav tm="0">
                                          <p:val>
                                            <p:strVal val="1+#ppt_w/2"/>
                                          </p:val>
                                        </p:tav>
                                        <p:tav tm="100000">
                                          <p:val>
                                            <p:strVal val="#ppt_x"/>
                                          </p:val>
                                        </p:tav>
                                      </p:tavLst>
                                    </p:anim>
                                    <p:anim calcmode="lin" valueType="num">
                                      <p:cBhvr additive="base">
                                        <p:cTn id="34" dur="1000" fill="hold"/>
                                        <p:tgtEl>
                                          <p:spTgt spid="10"/>
                                        </p:tgtEl>
                                        <p:attrNameLst>
                                          <p:attrName>ppt_y</p:attrName>
                                        </p:attrNameLst>
                                      </p:cBhvr>
                                      <p:tavLst>
                                        <p:tav tm="0">
                                          <p:val>
                                            <p:strVal val="#ppt_y"/>
                                          </p:val>
                                        </p:tav>
                                        <p:tav tm="100000">
                                          <p:val>
                                            <p:strVal val="#ppt_y"/>
                                          </p:val>
                                        </p:tav>
                                      </p:tavLst>
                                    </p:anim>
                                  </p:childTnLst>
                                </p:cTn>
                              </p:par>
                            </p:childTnLst>
                          </p:cTn>
                        </p:par>
                        <p:par>
                          <p:cTn id="35" fill="hold">
                            <p:stCondLst>
                              <p:cond delay="3500"/>
                            </p:stCondLst>
                            <p:childTnLst>
                              <p:par>
                                <p:cTn id="36" presetID="2" presetClass="entr" presetSubtype="2" decel="100000" fill="hold" grpId="0" nodeType="afterEffect">
                                  <p:stCondLst>
                                    <p:cond delay="0"/>
                                  </p:stCondLst>
                                  <p:childTnLst>
                                    <p:set>
                                      <p:cBhvr>
                                        <p:cTn id="37" dur="1" fill="hold">
                                          <p:stCondLst>
                                            <p:cond delay="0"/>
                                          </p:stCondLst>
                                        </p:cTn>
                                        <p:tgtEl>
                                          <p:spTgt spid="11"/>
                                        </p:tgtEl>
                                        <p:attrNameLst>
                                          <p:attrName>style.visibility</p:attrName>
                                        </p:attrNameLst>
                                      </p:cBhvr>
                                      <p:to>
                                        <p:strVal val="visible"/>
                                      </p:to>
                                    </p:set>
                                    <p:anim calcmode="lin" valueType="num">
                                      <p:cBhvr additive="base">
                                        <p:cTn id="38" dur="1000" fill="hold"/>
                                        <p:tgtEl>
                                          <p:spTgt spid="11"/>
                                        </p:tgtEl>
                                        <p:attrNameLst>
                                          <p:attrName>ppt_x</p:attrName>
                                        </p:attrNameLst>
                                      </p:cBhvr>
                                      <p:tavLst>
                                        <p:tav tm="0">
                                          <p:val>
                                            <p:strVal val="1+#ppt_w/2"/>
                                          </p:val>
                                        </p:tav>
                                        <p:tav tm="100000">
                                          <p:val>
                                            <p:strVal val="#ppt_x"/>
                                          </p:val>
                                        </p:tav>
                                      </p:tavLst>
                                    </p:anim>
                                    <p:anim calcmode="lin" valueType="num">
                                      <p:cBhvr additive="base">
                                        <p:cTn id="39" dur="1000" fill="hold"/>
                                        <p:tgtEl>
                                          <p:spTgt spid="11"/>
                                        </p:tgtEl>
                                        <p:attrNameLst>
                                          <p:attrName>ppt_y</p:attrName>
                                        </p:attrNameLst>
                                      </p:cBhvr>
                                      <p:tavLst>
                                        <p:tav tm="0">
                                          <p:val>
                                            <p:strVal val="#ppt_y"/>
                                          </p:val>
                                        </p:tav>
                                        <p:tav tm="100000">
                                          <p:val>
                                            <p:strVal val="#ppt_y"/>
                                          </p:val>
                                        </p:tav>
                                      </p:tavLst>
                                    </p:anim>
                                  </p:childTnLst>
                                </p:cTn>
                              </p:par>
                            </p:childTnLst>
                          </p:cTn>
                        </p:par>
                        <p:par>
                          <p:cTn id="40" fill="hold">
                            <p:stCondLst>
                              <p:cond delay="4500"/>
                            </p:stCondLst>
                            <p:childTnLst>
                              <p:par>
                                <p:cTn id="41" presetID="2" presetClass="entr" presetSubtype="2" decel="100000" fill="hold" grpId="0" nodeType="afterEffect">
                                  <p:stCondLst>
                                    <p:cond delay="0"/>
                                  </p:stCondLst>
                                  <p:childTnLst>
                                    <p:set>
                                      <p:cBhvr>
                                        <p:cTn id="42" dur="1" fill="hold">
                                          <p:stCondLst>
                                            <p:cond delay="0"/>
                                          </p:stCondLst>
                                        </p:cTn>
                                        <p:tgtEl>
                                          <p:spTgt spid="12"/>
                                        </p:tgtEl>
                                        <p:attrNameLst>
                                          <p:attrName>style.visibility</p:attrName>
                                        </p:attrNameLst>
                                      </p:cBhvr>
                                      <p:to>
                                        <p:strVal val="visible"/>
                                      </p:to>
                                    </p:set>
                                    <p:anim calcmode="lin" valueType="num">
                                      <p:cBhvr additive="base">
                                        <p:cTn id="43" dur="1000" fill="hold"/>
                                        <p:tgtEl>
                                          <p:spTgt spid="12"/>
                                        </p:tgtEl>
                                        <p:attrNameLst>
                                          <p:attrName>ppt_x</p:attrName>
                                        </p:attrNameLst>
                                      </p:cBhvr>
                                      <p:tavLst>
                                        <p:tav tm="0">
                                          <p:val>
                                            <p:strVal val="1+#ppt_w/2"/>
                                          </p:val>
                                        </p:tav>
                                        <p:tav tm="100000">
                                          <p:val>
                                            <p:strVal val="#ppt_x"/>
                                          </p:val>
                                        </p:tav>
                                      </p:tavLst>
                                    </p:anim>
                                    <p:anim calcmode="lin" valueType="num">
                                      <p:cBhvr additive="base">
                                        <p:cTn id="44" dur="1000" fill="hold"/>
                                        <p:tgtEl>
                                          <p:spTgt spid="12"/>
                                        </p:tgtEl>
                                        <p:attrNameLst>
                                          <p:attrName>ppt_y</p:attrName>
                                        </p:attrNameLst>
                                      </p:cBhvr>
                                      <p:tavLst>
                                        <p:tav tm="0">
                                          <p:val>
                                            <p:strVal val="#ppt_y"/>
                                          </p:val>
                                        </p:tav>
                                        <p:tav tm="100000">
                                          <p:val>
                                            <p:strVal val="#ppt_y"/>
                                          </p:val>
                                        </p:tav>
                                      </p:tavLst>
                                    </p:anim>
                                  </p:childTnLst>
                                </p:cTn>
                              </p:par>
                            </p:childTnLst>
                          </p:cTn>
                        </p:par>
                        <p:par>
                          <p:cTn id="45" fill="hold">
                            <p:stCondLst>
                              <p:cond delay="5500"/>
                            </p:stCondLst>
                            <p:childTnLst>
                              <p:par>
                                <p:cTn id="46" presetID="2" presetClass="entr" presetSubtype="2" decel="100000" fill="hold" grpId="0" nodeType="afterEffect">
                                  <p:stCondLst>
                                    <p:cond delay="0"/>
                                  </p:stCondLst>
                                  <p:childTnLst>
                                    <p:set>
                                      <p:cBhvr>
                                        <p:cTn id="47" dur="1" fill="hold">
                                          <p:stCondLst>
                                            <p:cond delay="0"/>
                                          </p:stCondLst>
                                        </p:cTn>
                                        <p:tgtEl>
                                          <p:spTgt spid="14"/>
                                        </p:tgtEl>
                                        <p:attrNameLst>
                                          <p:attrName>style.visibility</p:attrName>
                                        </p:attrNameLst>
                                      </p:cBhvr>
                                      <p:to>
                                        <p:strVal val="visible"/>
                                      </p:to>
                                    </p:set>
                                    <p:anim calcmode="lin" valueType="num">
                                      <p:cBhvr additive="base">
                                        <p:cTn id="48" dur="1000" fill="hold"/>
                                        <p:tgtEl>
                                          <p:spTgt spid="14"/>
                                        </p:tgtEl>
                                        <p:attrNameLst>
                                          <p:attrName>ppt_x</p:attrName>
                                        </p:attrNameLst>
                                      </p:cBhvr>
                                      <p:tavLst>
                                        <p:tav tm="0">
                                          <p:val>
                                            <p:strVal val="1+#ppt_w/2"/>
                                          </p:val>
                                        </p:tav>
                                        <p:tav tm="100000">
                                          <p:val>
                                            <p:strVal val="#ppt_x"/>
                                          </p:val>
                                        </p:tav>
                                      </p:tavLst>
                                    </p:anim>
                                    <p:anim calcmode="lin" valueType="num">
                                      <p:cBhvr additive="base">
                                        <p:cTn id="49" dur="1000" fill="hold"/>
                                        <p:tgtEl>
                                          <p:spTgt spid="14"/>
                                        </p:tgtEl>
                                        <p:attrNameLst>
                                          <p:attrName>ppt_y</p:attrName>
                                        </p:attrNameLst>
                                      </p:cBhvr>
                                      <p:tavLst>
                                        <p:tav tm="0">
                                          <p:val>
                                            <p:strVal val="#ppt_y"/>
                                          </p:val>
                                        </p:tav>
                                        <p:tav tm="100000">
                                          <p:val>
                                            <p:strVal val="#ppt_y"/>
                                          </p:val>
                                        </p:tav>
                                      </p:tavLst>
                                    </p:anim>
                                  </p:childTnLst>
                                </p:cTn>
                              </p:par>
                            </p:childTnLst>
                          </p:cTn>
                        </p:par>
                        <p:par>
                          <p:cTn id="50" fill="hold">
                            <p:stCondLst>
                              <p:cond delay="6500"/>
                            </p:stCondLst>
                            <p:childTnLst>
                              <p:par>
                                <p:cTn id="51" presetID="2" presetClass="entr" presetSubtype="2" decel="100000" fill="hold" grpId="0" nodeType="afterEffect">
                                  <p:stCondLst>
                                    <p:cond delay="0"/>
                                  </p:stCondLst>
                                  <p:childTnLst>
                                    <p:set>
                                      <p:cBhvr>
                                        <p:cTn id="52" dur="1" fill="hold">
                                          <p:stCondLst>
                                            <p:cond delay="0"/>
                                          </p:stCondLst>
                                        </p:cTn>
                                        <p:tgtEl>
                                          <p:spTgt spid="26"/>
                                        </p:tgtEl>
                                        <p:attrNameLst>
                                          <p:attrName>style.visibility</p:attrName>
                                        </p:attrNameLst>
                                      </p:cBhvr>
                                      <p:to>
                                        <p:strVal val="visible"/>
                                      </p:to>
                                    </p:set>
                                    <p:anim calcmode="lin" valueType="num">
                                      <p:cBhvr additive="base">
                                        <p:cTn id="53" dur="1000" fill="hold"/>
                                        <p:tgtEl>
                                          <p:spTgt spid="26"/>
                                        </p:tgtEl>
                                        <p:attrNameLst>
                                          <p:attrName>ppt_x</p:attrName>
                                        </p:attrNameLst>
                                      </p:cBhvr>
                                      <p:tavLst>
                                        <p:tav tm="0">
                                          <p:val>
                                            <p:strVal val="1+#ppt_w/2"/>
                                          </p:val>
                                        </p:tav>
                                        <p:tav tm="100000">
                                          <p:val>
                                            <p:strVal val="#ppt_x"/>
                                          </p:val>
                                        </p:tav>
                                      </p:tavLst>
                                    </p:anim>
                                    <p:anim calcmode="lin" valueType="num">
                                      <p:cBhvr additive="base">
                                        <p:cTn id="54" dur="1000" fill="hold"/>
                                        <p:tgtEl>
                                          <p:spTgt spid="26"/>
                                        </p:tgtEl>
                                        <p:attrNameLst>
                                          <p:attrName>ppt_y</p:attrName>
                                        </p:attrNameLst>
                                      </p:cBhvr>
                                      <p:tavLst>
                                        <p:tav tm="0">
                                          <p:val>
                                            <p:strVal val="#ppt_y"/>
                                          </p:val>
                                        </p:tav>
                                        <p:tav tm="100000">
                                          <p:val>
                                            <p:strVal val="#ppt_y"/>
                                          </p:val>
                                        </p:tav>
                                      </p:tavLst>
                                    </p:anim>
                                  </p:childTnLst>
                                </p:cTn>
                              </p:par>
                            </p:childTnLst>
                          </p:cTn>
                        </p:par>
                        <p:par>
                          <p:cTn id="55" fill="hold">
                            <p:stCondLst>
                              <p:cond delay="7500"/>
                            </p:stCondLst>
                            <p:childTnLst>
                              <p:par>
                                <p:cTn id="56" presetID="2" presetClass="entr" presetSubtype="2" decel="100000" fill="hold" grpId="0" nodeType="afterEffect">
                                  <p:stCondLst>
                                    <p:cond delay="0"/>
                                  </p:stCondLst>
                                  <p:childTnLst>
                                    <p:set>
                                      <p:cBhvr>
                                        <p:cTn id="57" dur="1" fill="hold">
                                          <p:stCondLst>
                                            <p:cond delay="0"/>
                                          </p:stCondLst>
                                        </p:cTn>
                                        <p:tgtEl>
                                          <p:spTgt spid="27"/>
                                        </p:tgtEl>
                                        <p:attrNameLst>
                                          <p:attrName>style.visibility</p:attrName>
                                        </p:attrNameLst>
                                      </p:cBhvr>
                                      <p:to>
                                        <p:strVal val="visible"/>
                                      </p:to>
                                    </p:set>
                                    <p:anim calcmode="lin" valueType="num">
                                      <p:cBhvr additive="base">
                                        <p:cTn id="58" dur="1000" fill="hold"/>
                                        <p:tgtEl>
                                          <p:spTgt spid="27"/>
                                        </p:tgtEl>
                                        <p:attrNameLst>
                                          <p:attrName>ppt_x</p:attrName>
                                        </p:attrNameLst>
                                      </p:cBhvr>
                                      <p:tavLst>
                                        <p:tav tm="0">
                                          <p:val>
                                            <p:strVal val="1+#ppt_w/2"/>
                                          </p:val>
                                        </p:tav>
                                        <p:tav tm="100000">
                                          <p:val>
                                            <p:strVal val="#ppt_x"/>
                                          </p:val>
                                        </p:tav>
                                      </p:tavLst>
                                    </p:anim>
                                    <p:anim calcmode="lin" valueType="num">
                                      <p:cBhvr additive="base">
                                        <p:cTn id="59" dur="1000" fill="hold"/>
                                        <p:tgtEl>
                                          <p:spTgt spid="2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4" grpId="0" build="p"/>
      <p:bldP spid="25" grpId="0"/>
      <p:bldP spid="8" grpId="0"/>
      <p:bldP spid="10" grpId="0"/>
      <p:bldP spid="11" grpId="0"/>
      <p:bldP spid="12" grpId="0"/>
      <p:bldP spid="14" grpId="0"/>
      <p:bldP spid="26" grpId="0"/>
      <p:bldP spid="27"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תמונה 9" descr="תמונה שמכילה גרפיקה, סמל, לוגו, אומנות קליפיפם&#10;&#10;התיאור נוצר באופן אוטומטי">
            <a:extLst>
              <a:ext uri="{FF2B5EF4-FFF2-40B4-BE49-F238E27FC236}">
                <a16:creationId xmlns:a16="http://schemas.microsoft.com/office/drawing/2014/main" id="{B236C314-8620-1C9E-902A-DB178920C945}"/>
              </a:ext>
            </a:extLst>
          </p:cNvPr>
          <p:cNvPicPr>
            <a:picLocks noChangeAspect="1"/>
          </p:cNvPicPr>
          <p:nvPr/>
        </p:nvPicPr>
        <p:blipFill>
          <a:blip r:embed="rId2">
            <a:alphaModFix amt="13000"/>
            <a:extLst>
              <a:ext uri="{28A0092B-C50C-407E-A947-70E740481C1C}">
                <a14:useLocalDpi xmlns:a14="http://schemas.microsoft.com/office/drawing/2010/main" val="0"/>
              </a:ext>
            </a:extLst>
          </a:blip>
          <a:stretch>
            <a:fillRect/>
          </a:stretch>
        </p:blipFill>
        <p:spPr>
          <a:xfrm>
            <a:off x="3306061" y="1046562"/>
            <a:ext cx="5579878" cy="5579878"/>
          </a:xfrm>
          <a:prstGeom prst="rect">
            <a:avLst/>
          </a:prstGeom>
        </p:spPr>
      </p:pic>
      <p:sp>
        <p:nvSpPr>
          <p:cNvPr id="2" name="מציין מיקום של מספר שקופית 1">
            <a:extLst>
              <a:ext uri="{FF2B5EF4-FFF2-40B4-BE49-F238E27FC236}">
                <a16:creationId xmlns:a16="http://schemas.microsoft.com/office/drawing/2014/main" id="{ECCCC75E-0483-B563-B281-F5B00A6B3A59}"/>
              </a:ext>
            </a:extLst>
          </p:cNvPr>
          <p:cNvSpPr>
            <a:spLocks noGrp="1"/>
          </p:cNvSpPr>
          <p:nvPr>
            <p:ph type="sldNum" sz="quarter" idx="10"/>
          </p:nvPr>
        </p:nvSpPr>
        <p:spPr/>
        <p:txBody>
          <a:bodyPr/>
          <a:lstStyle/>
          <a:p>
            <a:fld id="{A04BEB4F-8CE1-4F18-986F-6CE0A0BE9470}" type="slidenum">
              <a:rPr lang="de-DE" smtClean="0"/>
              <a:t>13</a:t>
            </a:fld>
            <a:endParaRPr lang="de-DE"/>
          </a:p>
        </p:txBody>
      </p:sp>
      <p:sp>
        <p:nvSpPr>
          <p:cNvPr id="3" name="Title 1">
            <a:extLst>
              <a:ext uri="{FF2B5EF4-FFF2-40B4-BE49-F238E27FC236}">
                <a16:creationId xmlns:a16="http://schemas.microsoft.com/office/drawing/2014/main" id="{C05F825E-D0D4-82CE-F2E7-A43B74AA5E85}"/>
              </a:ext>
            </a:extLst>
          </p:cNvPr>
          <p:cNvSpPr txBox="1"/>
          <p:nvPr/>
        </p:nvSpPr>
        <p:spPr>
          <a:xfrm>
            <a:off x="815952" y="733402"/>
            <a:ext cx="10560096" cy="767737"/>
          </a:xfrm>
          <a:prstGeom prst="rect">
            <a:avLst/>
          </a:prstGeom>
        </p:spPr>
        <p:txBody>
          <a:bodyPr lIns="0" tIns="0" rIns="0" bIns="0" anchor="b">
            <a:normAutofit/>
          </a:bodyPr>
          <a:lstStyle>
            <a:lvl1pPr algn="l" defTabSz="914400" rtl="0" eaLnBrk="1" latinLnBrk="0" hangingPunct="1">
              <a:lnSpc>
                <a:spcPct val="100000"/>
              </a:lnSpc>
              <a:spcBef>
                <a:spcPct val="0"/>
              </a:spcBef>
              <a:buNone/>
              <a:defRPr sz="2800" kern="1200">
                <a:solidFill>
                  <a:schemeClr val="tx2"/>
                </a:solidFill>
                <a:latin typeface="+mj-lt"/>
                <a:ea typeface="+mj-ea"/>
                <a:cs typeface="+mj-cs"/>
              </a:defRPr>
            </a:lvl1pPr>
          </a:lstStyle>
          <a:p>
            <a:pPr algn="r" rtl="1"/>
            <a:r>
              <a:rPr lang="he-IL" b="1" dirty="0">
                <a:effectLst>
                  <a:outerShdw blurRad="38100" dist="38100" dir="2700000" algn="tl">
                    <a:srgbClr val="000000">
                      <a:alpha val="43137"/>
                    </a:srgbClr>
                  </a:outerShdw>
                </a:effectLst>
                <a:latin typeface="Calibri" panose="020F0502020204030204" pitchFamily="34" charset="0"/>
                <a:ea typeface="Calibri" panose="020F0502020204030204" pitchFamily="34" charset="0"/>
                <a:cs typeface="Calibri" panose="020F0502020204030204" pitchFamily="34" charset="0"/>
              </a:rPr>
              <a:t>חברות, נציגויות נוספות מקבוצת </a:t>
            </a:r>
            <a:r>
              <a:rPr lang="he-IL" b="1" dirty="0" err="1">
                <a:effectLst>
                  <a:outerShdw blurRad="38100" dist="38100" dir="2700000" algn="tl">
                    <a:srgbClr val="000000">
                      <a:alpha val="43137"/>
                    </a:srgbClr>
                  </a:outerShdw>
                </a:effectLst>
                <a:latin typeface="Calibri" panose="020F0502020204030204" pitchFamily="34" charset="0"/>
                <a:ea typeface="Calibri" panose="020F0502020204030204" pitchFamily="34" charset="0"/>
                <a:cs typeface="Calibri" panose="020F0502020204030204" pitchFamily="34" charset="0"/>
              </a:rPr>
              <a:t>פלטרנספורט</a:t>
            </a:r>
            <a:r>
              <a:rPr lang="he-IL" b="1" dirty="0">
                <a:effectLst>
                  <a:outerShdw blurRad="38100" dist="38100" dir="2700000" algn="tl">
                    <a:srgbClr val="000000">
                      <a:alpha val="43137"/>
                    </a:srgbClr>
                  </a:outerShdw>
                </a:effectLst>
                <a:latin typeface="Calibri" panose="020F0502020204030204" pitchFamily="34" charset="0"/>
                <a:ea typeface="Calibri" panose="020F0502020204030204" pitchFamily="34" charset="0"/>
                <a:cs typeface="Calibri" panose="020F0502020204030204" pitchFamily="34" charset="0"/>
              </a:rPr>
              <a:t> ושותפויות</a:t>
            </a:r>
            <a:endParaRPr lang="en-US" b="1" dirty="0">
              <a:effectLst>
                <a:outerShdw blurRad="38100" dist="38100" dir="2700000" algn="tl">
                  <a:srgbClr val="000000">
                    <a:alpha val="43137"/>
                  </a:srgbClr>
                </a:outerShdw>
              </a:effectLst>
              <a:latin typeface="Calibri" panose="020F0502020204030204" pitchFamily="34" charset="0"/>
              <a:ea typeface="Calibri" panose="020F0502020204030204" pitchFamily="34" charset="0"/>
              <a:cs typeface="Calibri" panose="020F0502020204030204" pitchFamily="34" charset="0"/>
            </a:endParaRPr>
          </a:p>
          <a:p>
            <a:endParaRPr lang="de-DE" sz="1800" dirty="0"/>
          </a:p>
        </p:txBody>
      </p:sp>
      <p:sp>
        <p:nvSpPr>
          <p:cNvPr id="4" name="Rectangle 23">
            <a:extLst>
              <a:ext uri="{FF2B5EF4-FFF2-40B4-BE49-F238E27FC236}">
                <a16:creationId xmlns:a16="http://schemas.microsoft.com/office/drawing/2014/main" id="{3B44CE22-FC81-37E9-7145-8056A5E2CD0E}"/>
              </a:ext>
            </a:extLst>
          </p:cNvPr>
          <p:cNvSpPr/>
          <p:nvPr/>
        </p:nvSpPr>
        <p:spPr>
          <a:xfrm>
            <a:off x="8490575" y="3224720"/>
            <a:ext cx="2539349" cy="830997"/>
          </a:xfrm>
          <a:prstGeom prst="rect">
            <a:avLst/>
          </a:prstGeom>
        </p:spPr>
        <p:txBody>
          <a:bodyPr wrap="square">
            <a:spAutoFit/>
          </a:bodyPr>
          <a:lstStyle/>
          <a:p>
            <a:pPr lvl="0" algn="ctr" rtl="1"/>
            <a:r>
              <a:rPr lang="he-IL" sz="1600" dirty="0">
                <a:latin typeface="Calibri" panose="020F0502020204030204" pitchFamily="34" charset="0"/>
                <a:ea typeface="Calibri" panose="020F0502020204030204" pitchFamily="34" charset="0"/>
                <a:cs typeface="Calibri" panose="020F0502020204030204" pitchFamily="34" charset="0"/>
              </a:rPr>
              <a:t>אטלס </a:t>
            </a:r>
            <a:r>
              <a:rPr lang="he-IL" sz="1600" dirty="0" err="1">
                <a:latin typeface="Calibri" panose="020F0502020204030204" pitchFamily="34" charset="0"/>
                <a:ea typeface="Calibri" panose="020F0502020204030204" pitchFamily="34" charset="0"/>
                <a:cs typeface="Calibri" panose="020F0502020204030204" pitchFamily="34" charset="0"/>
              </a:rPr>
              <a:t>לוג'יסטיקס</a:t>
            </a:r>
            <a:r>
              <a:rPr lang="he-IL" sz="1600" dirty="0">
                <a:latin typeface="Calibri" panose="020F0502020204030204" pitchFamily="34" charset="0"/>
                <a:ea typeface="Calibri" panose="020F0502020204030204" pitchFamily="34" charset="0"/>
                <a:cs typeface="Calibri" panose="020F0502020204030204" pitchFamily="34" charset="0"/>
              </a:rPr>
              <a:t> הינה חברת שילוח המתמקצעת בפרויקטים ובמשימות מיוחדות</a:t>
            </a:r>
            <a:endParaRPr lang="en-US" sz="1600" dirty="0">
              <a:latin typeface="Calibri" panose="020F0502020204030204" pitchFamily="34" charset="0"/>
              <a:ea typeface="Calibri" panose="020F0502020204030204" pitchFamily="34" charset="0"/>
              <a:cs typeface="Calibri" panose="020F0502020204030204" pitchFamily="34" charset="0"/>
            </a:endParaRPr>
          </a:p>
        </p:txBody>
      </p:sp>
      <p:sp>
        <p:nvSpPr>
          <p:cNvPr id="5" name="Rectangle 23">
            <a:extLst>
              <a:ext uri="{FF2B5EF4-FFF2-40B4-BE49-F238E27FC236}">
                <a16:creationId xmlns:a16="http://schemas.microsoft.com/office/drawing/2014/main" id="{874C556B-EE96-5806-A68B-678A89BB5090}"/>
              </a:ext>
            </a:extLst>
          </p:cNvPr>
          <p:cNvSpPr/>
          <p:nvPr/>
        </p:nvSpPr>
        <p:spPr>
          <a:xfrm>
            <a:off x="4808033" y="2712248"/>
            <a:ext cx="2664698" cy="830997"/>
          </a:xfrm>
          <a:prstGeom prst="rect">
            <a:avLst/>
          </a:prstGeom>
        </p:spPr>
        <p:txBody>
          <a:bodyPr wrap="square">
            <a:spAutoFit/>
          </a:bodyPr>
          <a:lstStyle/>
          <a:p>
            <a:pPr lvl="0" algn="ctr" rtl="1"/>
            <a:r>
              <a:rPr lang="he-IL" sz="1600" dirty="0">
                <a:latin typeface="Calibri" panose="020F0502020204030204" pitchFamily="34" charset="0"/>
                <a:ea typeface="Calibri" panose="020F0502020204030204" pitchFamily="34" charset="0"/>
                <a:cs typeface="Calibri" panose="020F0502020204030204" pitchFamily="34" charset="0"/>
              </a:rPr>
              <a:t>"</a:t>
            </a:r>
            <a:r>
              <a:rPr lang="en-US" sz="1600" dirty="0" err="1">
                <a:latin typeface="Calibri" panose="020F0502020204030204" pitchFamily="34" charset="0"/>
                <a:ea typeface="Calibri" panose="020F0502020204030204" pitchFamily="34" charset="0"/>
                <a:cs typeface="Calibri" panose="020F0502020204030204" pitchFamily="34" charset="0"/>
              </a:rPr>
              <a:t>Peltransport</a:t>
            </a:r>
            <a:r>
              <a:rPr lang="en-US" sz="1600" dirty="0">
                <a:latin typeface="Calibri" panose="020F0502020204030204" pitchFamily="34" charset="0"/>
                <a:ea typeface="Calibri" panose="020F0502020204030204" pitchFamily="34" charset="0"/>
                <a:cs typeface="Calibri" panose="020F0502020204030204" pitchFamily="34" charset="0"/>
              </a:rPr>
              <a:t> E-commerce</a:t>
            </a:r>
            <a:r>
              <a:rPr lang="he-IL" sz="1600" dirty="0">
                <a:latin typeface="Calibri" panose="020F0502020204030204" pitchFamily="34" charset="0"/>
                <a:ea typeface="Calibri" panose="020F0502020204030204" pitchFamily="34" charset="0"/>
                <a:cs typeface="Calibri" panose="020F0502020204030204" pitchFamily="34" charset="0"/>
              </a:rPr>
              <a:t>"</a:t>
            </a:r>
          </a:p>
          <a:p>
            <a:pPr lvl="0" algn="ctr" rtl="1"/>
            <a:r>
              <a:rPr lang="he-IL" sz="1600" dirty="0">
                <a:latin typeface="Calibri" panose="020F0502020204030204" pitchFamily="34" charset="0"/>
                <a:ea typeface="Calibri" panose="020F0502020204030204" pitchFamily="34" charset="0"/>
                <a:cs typeface="Calibri" panose="020F0502020204030204" pitchFamily="34" charset="0"/>
              </a:rPr>
              <a:t>שחרור ממכס והפצת מטעני בלדרות (סחר מקוון)</a:t>
            </a:r>
            <a:endParaRPr lang="en-US" sz="1600" dirty="0">
              <a:latin typeface="Calibri" panose="020F0502020204030204" pitchFamily="34" charset="0"/>
              <a:ea typeface="Calibri" panose="020F0502020204030204" pitchFamily="34" charset="0"/>
              <a:cs typeface="Calibri" panose="020F0502020204030204" pitchFamily="34" charset="0"/>
            </a:endParaRPr>
          </a:p>
        </p:txBody>
      </p:sp>
      <p:pic>
        <p:nvPicPr>
          <p:cNvPr id="7" name="תמונה 6" descr="תמונה שמכילה גופן, גרפיקה, לוגו, טקסט&#10;&#10;התיאור נוצר באופן אוטומטי">
            <a:extLst>
              <a:ext uri="{FF2B5EF4-FFF2-40B4-BE49-F238E27FC236}">
                <a16:creationId xmlns:a16="http://schemas.microsoft.com/office/drawing/2014/main" id="{D760AB9D-0D9C-E0D8-AA23-6BA90B310F9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79487" y="2374212"/>
            <a:ext cx="1828032" cy="391990"/>
          </a:xfrm>
          <a:prstGeom prst="rect">
            <a:avLst/>
          </a:prstGeom>
        </p:spPr>
      </p:pic>
      <p:sp>
        <p:nvSpPr>
          <p:cNvPr id="8" name="Rectangle 23">
            <a:extLst>
              <a:ext uri="{FF2B5EF4-FFF2-40B4-BE49-F238E27FC236}">
                <a16:creationId xmlns:a16="http://schemas.microsoft.com/office/drawing/2014/main" id="{BB433C7C-CE76-E451-F95C-FFD7B84AE836}"/>
              </a:ext>
            </a:extLst>
          </p:cNvPr>
          <p:cNvSpPr/>
          <p:nvPr/>
        </p:nvSpPr>
        <p:spPr>
          <a:xfrm>
            <a:off x="1061154" y="3191450"/>
            <a:ext cx="2664698" cy="1077218"/>
          </a:xfrm>
          <a:prstGeom prst="rect">
            <a:avLst/>
          </a:prstGeom>
        </p:spPr>
        <p:txBody>
          <a:bodyPr wrap="square">
            <a:spAutoFit/>
          </a:bodyPr>
          <a:lstStyle/>
          <a:p>
            <a:pPr lvl="0" algn="ctr" rtl="1"/>
            <a:r>
              <a:rPr lang="en-US" sz="1600" dirty="0">
                <a:latin typeface="Calibri" panose="020F0502020204030204" pitchFamily="34" charset="0"/>
                <a:ea typeface="Calibri" panose="020F0502020204030204" pitchFamily="34" charset="0"/>
                <a:cs typeface="Calibri" panose="020F0502020204030204" pitchFamily="34" charset="0"/>
              </a:rPr>
              <a:t>GSA</a:t>
            </a:r>
            <a:r>
              <a:rPr lang="he-IL" sz="1600" dirty="0">
                <a:latin typeface="Calibri" panose="020F0502020204030204" pitchFamily="34" charset="0"/>
                <a:ea typeface="Calibri" panose="020F0502020204030204" pitchFamily="34" charset="0"/>
                <a:cs typeface="Calibri" panose="020F0502020204030204" pitchFamily="34" charset="0"/>
              </a:rPr>
              <a:t> בישראל של חברת "</a:t>
            </a:r>
            <a:r>
              <a:rPr lang="he-IL" sz="1600" dirty="0" err="1">
                <a:latin typeface="Calibri" panose="020F0502020204030204" pitchFamily="34" charset="0"/>
                <a:ea typeface="Calibri" panose="020F0502020204030204" pitchFamily="34" charset="0"/>
                <a:cs typeface="Calibri" panose="020F0502020204030204" pitchFamily="34" charset="0"/>
              </a:rPr>
              <a:t>אנווירטויינר</a:t>
            </a:r>
            <a:r>
              <a:rPr lang="he-IL" sz="1600" dirty="0">
                <a:latin typeface="Calibri" panose="020F0502020204030204" pitchFamily="34" charset="0"/>
                <a:ea typeface="Calibri" panose="020F0502020204030204" pitchFamily="34" charset="0"/>
                <a:cs typeface="Calibri" panose="020F0502020204030204" pitchFamily="34" charset="0"/>
              </a:rPr>
              <a:t>". החברה המובילה בעולם ביצור ואספקת מכולות מבוקרות טמפרטורה לכלי טיס</a:t>
            </a:r>
            <a:endParaRPr lang="en-US" sz="1600" dirty="0">
              <a:latin typeface="Calibri" panose="020F0502020204030204" pitchFamily="34" charset="0"/>
              <a:ea typeface="Calibri" panose="020F0502020204030204" pitchFamily="34" charset="0"/>
              <a:cs typeface="Calibri" panose="020F0502020204030204" pitchFamily="34" charset="0"/>
            </a:endParaRPr>
          </a:p>
        </p:txBody>
      </p:sp>
      <p:pic>
        <p:nvPicPr>
          <p:cNvPr id="14" name="תמונה 13" descr="תמונה שמכילה טקסט, לוגו, גופן, סמל&#10;&#10;התיאור נוצר באופן אוטומטי">
            <a:extLst>
              <a:ext uri="{FF2B5EF4-FFF2-40B4-BE49-F238E27FC236}">
                <a16:creationId xmlns:a16="http://schemas.microsoft.com/office/drawing/2014/main" id="{E9AFC9EE-F8FC-EEB5-A4C3-AF2B53C223B3}"/>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8688090" y="1953285"/>
            <a:ext cx="2119226" cy="1193525"/>
          </a:xfrm>
          <a:prstGeom prst="rect">
            <a:avLst/>
          </a:prstGeom>
        </p:spPr>
      </p:pic>
      <p:pic>
        <p:nvPicPr>
          <p:cNvPr id="18" name="תמונה 17" descr="תמונה שמכילה שחור, חשיכה&#10;&#10;התיאור נוצר באופן אוטומטי">
            <a:extLst>
              <a:ext uri="{FF2B5EF4-FFF2-40B4-BE49-F238E27FC236}">
                <a16:creationId xmlns:a16="http://schemas.microsoft.com/office/drawing/2014/main" id="{EDD42C6A-2021-773F-E6C3-B31DBE9FC46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018094" y="1615037"/>
            <a:ext cx="2119226" cy="909148"/>
          </a:xfrm>
          <a:prstGeom prst="rect">
            <a:avLst/>
          </a:prstGeom>
        </p:spPr>
      </p:pic>
      <p:pic>
        <p:nvPicPr>
          <p:cNvPr id="9" name="תמונה 8" descr="תמונה שמכילה לוגו, גופן, גרפיקה, עיצוב גרפי&#10;&#10;התיאור נוצר באופן אוטומטי">
            <a:extLst>
              <a:ext uri="{FF2B5EF4-FFF2-40B4-BE49-F238E27FC236}">
                <a16:creationId xmlns:a16="http://schemas.microsoft.com/office/drawing/2014/main" id="{65FD6EC3-002B-BFDE-4E10-A2EB418E34A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885939" y="4437300"/>
            <a:ext cx="2444608" cy="907618"/>
          </a:xfrm>
          <a:prstGeom prst="rect">
            <a:avLst/>
          </a:prstGeom>
        </p:spPr>
      </p:pic>
      <p:sp>
        <p:nvSpPr>
          <p:cNvPr id="11" name="Rectangle 23">
            <a:extLst>
              <a:ext uri="{FF2B5EF4-FFF2-40B4-BE49-F238E27FC236}">
                <a16:creationId xmlns:a16="http://schemas.microsoft.com/office/drawing/2014/main" id="{05B25C7D-A136-4E38-C52B-6893DB155E75}"/>
              </a:ext>
            </a:extLst>
          </p:cNvPr>
          <p:cNvSpPr/>
          <p:nvPr/>
        </p:nvSpPr>
        <p:spPr>
          <a:xfrm>
            <a:off x="8690439" y="5400903"/>
            <a:ext cx="2685608" cy="1046440"/>
          </a:xfrm>
          <a:prstGeom prst="rect">
            <a:avLst/>
          </a:prstGeom>
        </p:spPr>
        <p:txBody>
          <a:bodyPr wrap="square">
            <a:spAutoFit/>
          </a:bodyPr>
          <a:lstStyle/>
          <a:p>
            <a:pPr lvl="0" algn="ctr" rtl="1"/>
            <a:r>
              <a:rPr lang="he-IL" sz="1600" dirty="0" err="1">
                <a:latin typeface="Calibri" panose="020F0502020204030204" pitchFamily="34" charset="0"/>
                <a:ea typeface="Calibri" panose="020F0502020204030204" pitchFamily="34" charset="0"/>
                <a:cs typeface="Calibri" panose="020F0502020204030204" pitchFamily="34" charset="0"/>
              </a:rPr>
              <a:t>פלטרנספורט</a:t>
            </a:r>
            <a:r>
              <a:rPr lang="he-IL" sz="1600" dirty="0">
                <a:latin typeface="Calibri" panose="020F0502020204030204" pitchFamily="34" charset="0"/>
                <a:ea typeface="Calibri" panose="020F0502020204030204" pitchFamily="34" charset="0"/>
                <a:cs typeface="Calibri" panose="020F0502020204030204" pitchFamily="34" charset="0"/>
              </a:rPr>
              <a:t> שותפה בחברת </a:t>
            </a:r>
            <a:r>
              <a:rPr lang="en-US" sz="1600" dirty="0">
                <a:latin typeface="Calibri" panose="020F0502020204030204" pitchFamily="34" charset="0"/>
                <a:ea typeface="Calibri" panose="020F0502020204030204" pitchFamily="34" charset="0"/>
                <a:cs typeface="Calibri" panose="020F0502020204030204" pitchFamily="34" charset="0"/>
              </a:rPr>
              <a:t>ACI</a:t>
            </a:r>
            <a:r>
              <a:rPr lang="he-IL" sz="1600" dirty="0">
                <a:latin typeface="Calibri" panose="020F0502020204030204" pitchFamily="34" charset="0"/>
                <a:ea typeface="Calibri" panose="020F0502020204030204" pitchFamily="34" charset="0"/>
                <a:cs typeface="Calibri" panose="020F0502020204030204" pitchFamily="34" charset="0"/>
              </a:rPr>
              <a:t>, חברה המתמחה </a:t>
            </a:r>
            <a:r>
              <a:rPr lang="he-IL" sz="1600" dirty="0" err="1">
                <a:latin typeface="Calibri" panose="020F0502020204030204" pitchFamily="34" charset="0"/>
                <a:ea typeface="Calibri" panose="020F0502020204030204" pitchFamily="34" charset="0"/>
                <a:cs typeface="Calibri" panose="020F0502020204030204" pitchFamily="34" charset="0"/>
              </a:rPr>
              <a:t>בקונסולידציות</a:t>
            </a:r>
            <a:r>
              <a:rPr lang="he-IL" sz="1600" dirty="0">
                <a:latin typeface="Calibri" panose="020F0502020204030204" pitchFamily="34" charset="0"/>
                <a:ea typeface="Calibri" panose="020F0502020204030204" pitchFamily="34" charset="0"/>
                <a:cs typeface="Calibri" panose="020F0502020204030204" pitchFamily="34" charset="0"/>
              </a:rPr>
              <a:t> אוויריות.</a:t>
            </a:r>
          </a:p>
          <a:p>
            <a:pPr lvl="0" algn="ctr" rtl="1"/>
            <a:r>
              <a:rPr lang="he-IL" sz="1400" b="1" dirty="0">
                <a:latin typeface="Calibri" panose="020F0502020204030204" pitchFamily="34" charset="0"/>
                <a:ea typeface="Calibri" panose="020F0502020204030204" pitchFamily="34" charset="0"/>
                <a:cs typeface="Calibri" panose="020F0502020204030204" pitchFamily="34" charset="0"/>
              </a:rPr>
              <a:t>בשותפות עם אל-על.</a:t>
            </a:r>
          </a:p>
        </p:txBody>
      </p:sp>
      <p:pic>
        <p:nvPicPr>
          <p:cNvPr id="13" name="תמונה 12" descr="תמונה שמכילה לוגו, גופן, סמל, דגל&#10;&#10;התיאור נוצר באופן אוטומטי">
            <a:extLst>
              <a:ext uri="{FF2B5EF4-FFF2-40B4-BE49-F238E27FC236}">
                <a16:creationId xmlns:a16="http://schemas.microsoft.com/office/drawing/2014/main" id="{4F0784E7-13A0-F015-B4CE-C797DCA8A13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55485" y="4440043"/>
            <a:ext cx="3248025" cy="904875"/>
          </a:xfrm>
          <a:prstGeom prst="rect">
            <a:avLst/>
          </a:prstGeom>
        </p:spPr>
      </p:pic>
      <p:sp>
        <p:nvSpPr>
          <p:cNvPr id="15" name="Rectangle 23">
            <a:extLst>
              <a:ext uri="{FF2B5EF4-FFF2-40B4-BE49-F238E27FC236}">
                <a16:creationId xmlns:a16="http://schemas.microsoft.com/office/drawing/2014/main" id="{E07FA830-1A06-FA4F-9BAA-3681B16B78D6}"/>
              </a:ext>
            </a:extLst>
          </p:cNvPr>
          <p:cNvSpPr/>
          <p:nvPr/>
        </p:nvSpPr>
        <p:spPr>
          <a:xfrm>
            <a:off x="993058" y="5457639"/>
            <a:ext cx="2607445" cy="830997"/>
          </a:xfrm>
          <a:prstGeom prst="rect">
            <a:avLst/>
          </a:prstGeom>
        </p:spPr>
        <p:txBody>
          <a:bodyPr wrap="square">
            <a:spAutoFit/>
          </a:bodyPr>
          <a:lstStyle/>
          <a:p>
            <a:pPr lvl="0" algn="ctr" rtl="1"/>
            <a:r>
              <a:rPr lang="he-IL" sz="1600" dirty="0" err="1">
                <a:latin typeface="Calibri" panose="020F0502020204030204" pitchFamily="34" charset="0"/>
                <a:ea typeface="Calibri" panose="020F0502020204030204" pitchFamily="34" charset="0"/>
                <a:cs typeface="Calibri" panose="020F0502020204030204" pitchFamily="34" charset="0"/>
              </a:rPr>
              <a:t>פלטרנספורט</a:t>
            </a:r>
            <a:r>
              <a:rPr lang="he-IL" sz="1600" dirty="0">
                <a:latin typeface="Calibri" panose="020F0502020204030204" pitchFamily="34" charset="0"/>
                <a:ea typeface="Calibri" panose="020F0502020204030204" pitchFamily="34" charset="0"/>
                <a:cs typeface="Calibri" panose="020F0502020204030204" pitchFamily="34" charset="0"/>
              </a:rPr>
              <a:t> שותפה בחברת </a:t>
            </a:r>
            <a:r>
              <a:rPr lang="en-US" sz="1600" dirty="0">
                <a:latin typeface="Calibri" panose="020F0502020204030204" pitchFamily="34" charset="0"/>
                <a:ea typeface="Calibri" panose="020F0502020204030204" pitchFamily="34" charset="0"/>
                <a:cs typeface="Calibri" panose="020F0502020204030204" pitchFamily="34" charset="0"/>
              </a:rPr>
              <a:t>OCI</a:t>
            </a:r>
            <a:r>
              <a:rPr lang="he-IL" sz="1600" dirty="0">
                <a:latin typeface="Calibri" panose="020F0502020204030204" pitchFamily="34" charset="0"/>
                <a:ea typeface="Calibri" panose="020F0502020204030204" pitchFamily="34" charset="0"/>
                <a:cs typeface="Calibri" panose="020F0502020204030204" pitchFamily="34" charset="0"/>
              </a:rPr>
              <a:t>, חברה המתמחה </a:t>
            </a:r>
            <a:r>
              <a:rPr lang="he-IL" sz="1600" dirty="0" err="1">
                <a:latin typeface="Calibri" panose="020F0502020204030204" pitchFamily="34" charset="0"/>
                <a:ea typeface="Calibri" panose="020F0502020204030204" pitchFamily="34" charset="0"/>
                <a:cs typeface="Calibri" panose="020F0502020204030204" pitchFamily="34" charset="0"/>
              </a:rPr>
              <a:t>בקונסולידציות</a:t>
            </a:r>
            <a:r>
              <a:rPr lang="en-US" sz="1600" dirty="0">
                <a:latin typeface="Calibri" panose="020F0502020204030204" pitchFamily="34" charset="0"/>
                <a:ea typeface="Calibri" panose="020F0502020204030204" pitchFamily="34" charset="0"/>
                <a:cs typeface="Calibri" panose="020F0502020204030204" pitchFamily="34" charset="0"/>
              </a:rPr>
              <a:t> </a:t>
            </a:r>
            <a:r>
              <a:rPr lang="he-IL" sz="1600" dirty="0">
                <a:latin typeface="Calibri" panose="020F0502020204030204" pitchFamily="34" charset="0"/>
                <a:ea typeface="Calibri" panose="020F0502020204030204" pitchFamily="34" charset="0"/>
                <a:cs typeface="Calibri" panose="020F0502020204030204" pitchFamily="34" charset="0"/>
              </a:rPr>
              <a:t>ימיות.</a:t>
            </a:r>
            <a:endParaRPr lang="en-US" sz="1600" dirty="0">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87021463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1000" fill="hold"/>
                                        <p:tgtEl>
                                          <p:spTgt spid="3"/>
                                        </p:tgtEl>
                                        <p:attrNameLst>
                                          <p:attrName>ppt_x</p:attrName>
                                        </p:attrNameLst>
                                      </p:cBhvr>
                                      <p:tavLst>
                                        <p:tav tm="0">
                                          <p:val>
                                            <p:strVal val="1+#ppt_w/2"/>
                                          </p:val>
                                        </p:tav>
                                        <p:tav tm="100000">
                                          <p:val>
                                            <p:strVal val="#ppt_x"/>
                                          </p:val>
                                        </p:tav>
                                      </p:tavLst>
                                    </p:anim>
                                    <p:anim calcmode="lin" valueType="num">
                                      <p:cBhvr additive="base">
                                        <p:cTn id="8" dur="1000" fill="hold"/>
                                        <p:tgtEl>
                                          <p:spTgt spid="3"/>
                                        </p:tgtEl>
                                        <p:attrNameLst>
                                          <p:attrName>ppt_y</p:attrName>
                                        </p:attrNameLst>
                                      </p:cBhvr>
                                      <p:tavLst>
                                        <p:tav tm="0">
                                          <p:val>
                                            <p:strVal val="#ppt_y"/>
                                          </p:val>
                                        </p:tav>
                                        <p:tav tm="100000">
                                          <p:val>
                                            <p:strVal val="#ppt_y"/>
                                          </p:val>
                                        </p:tav>
                                      </p:tavLst>
                                    </p:anim>
                                  </p:childTnLst>
                                </p:cTn>
                              </p:par>
                              <p:par>
                                <p:cTn id="9" presetID="42" presetClass="entr" presetSubtype="0" fill="hold" nodeType="with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1000"/>
                                        <p:tgtEl>
                                          <p:spTgt spid="7"/>
                                        </p:tgtEl>
                                      </p:cBhvr>
                                    </p:animEffect>
                                    <p:anim calcmode="lin" valueType="num">
                                      <p:cBhvr>
                                        <p:cTn id="12" dur="1000" fill="hold"/>
                                        <p:tgtEl>
                                          <p:spTgt spid="7"/>
                                        </p:tgtEl>
                                        <p:attrNameLst>
                                          <p:attrName>ppt_x</p:attrName>
                                        </p:attrNameLst>
                                      </p:cBhvr>
                                      <p:tavLst>
                                        <p:tav tm="0">
                                          <p:val>
                                            <p:strVal val="#ppt_x"/>
                                          </p:val>
                                        </p:tav>
                                        <p:tav tm="100000">
                                          <p:val>
                                            <p:strVal val="#ppt_x"/>
                                          </p:val>
                                        </p:tav>
                                      </p:tavLst>
                                    </p:anim>
                                    <p:anim calcmode="lin" valueType="num">
                                      <p:cBhvr>
                                        <p:cTn id="13" dur="1000" fill="hold"/>
                                        <p:tgtEl>
                                          <p:spTgt spid="7"/>
                                        </p:tgtEl>
                                        <p:attrNameLst>
                                          <p:attrName>ppt_y</p:attrName>
                                        </p:attrNameLst>
                                      </p:cBhvr>
                                      <p:tavLst>
                                        <p:tav tm="0">
                                          <p:val>
                                            <p:strVal val="#ppt_y+.1"/>
                                          </p:val>
                                        </p:tav>
                                        <p:tav tm="100000">
                                          <p:val>
                                            <p:strVal val="#ppt_y"/>
                                          </p:val>
                                        </p:tav>
                                      </p:tavLst>
                                    </p:anim>
                                  </p:childTnLst>
                                </p:cTn>
                              </p:par>
                              <p:par>
                                <p:cTn id="14" presetID="42" presetClass="entr" presetSubtype="0" fill="hold" nodeType="withEffect">
                                  <p:stCondLst>
                                    <p:cond delay="0"/>
                                  </p:stCondLst>
                                  <p:childTnLst>
                                    <p:set>
                                      <p:cBhvr>
                                        <p:cTn id="15" dur="1" fill="hold">
                                          <p:stCondLst>
                                            <p:cond delay="0"/>
                                          </p:stCondLst>
                                        </p:cTn>
                                        <p:tgtEl>
                                          <p:spTgt spid="18"/>
                                        </p:tgtEl>
                                        <p:attrNameLst>
                                          <p:attrName>style.visibility</p:attrName>
                                        </p:attrNameLst>
                                      </p:cBhvr>
                                      <p:to>
                                        <p:strVal val="visible"/>
                                      </p:to>
                                    </p:set>
                                    <p:animEffect transition="in" filter="fade">
                                      <p:cBhvr>
                                        <p:cTn id="16" dur="1000"/>
                                        <p:tgtEl>
                                          <p:spTgt spid="18"/>
                                        </p:tgtEl>
                                      </p:cBhvr>
                                    </p:animEffect>
                                    <p:anim calcmode="lin" valueType="num">
                                      <p:cBhvr>
                                        <p:cTn id="17" dur="1000" fill="hold"/>
                                        <p:tgtEl>
                                          <p:spTgt spid="18"/>
                                        </p:tgtEl>
                                        <p:attrNameLst>
                                          <p:attrName>ppt_x</p:attrName>
                                        </p:attrNameLst>
                                      </p:cBhvr>
                                      <p:tavLst>
                                        <p:tav tm="0">
                                          <p:val>
                                            <p:strVal val="#ppt_x"/>
                                          </p:val>
                                        </p:tav>
                                        <p:tav tm="100000">
                                          <p:val>
                                            <p:strVal val="#ppt_x"/>
                                          </p:val>
                                        </p:tav>
                                      </p:tavLst>
                                    </p:anim>
                                    <p:anim calcmode="lin" valueType="num">
                                      <p:cBhvr>
                                        <p:cTn id="18" dur="1000" fill="hold"/>
                                        <p:tgtEl>
                                          <p:spTgt spid="18"/>
                                        </p:tgtEl>
                                        <p:attrNameLst>
                                          <p:attrName>ppt_y</p:attrName>
                                        </p:attrNameLst>
                                      </p:cBhvr>
                                      <p:tavLst>
                                        <p:tav tm="0">
                                          <p:val>
                                            <p:strVal val="#ppt_y+.1"/>
                                          </p:val>
                                        </p:tav>
                                        <p:tav tm="100000">
                                          <p:val>
                                            <p:strVal val="#ppt_y"/>
                                          </p:val>
                                        </p:tav>
                                      </p:tavLst>
                                    </p:anim>
                                  </p:childTnLst>
                                </p:cTn>
                              </p:par>
                              <p:par>
                                <p:cTn id="19" presetID="42" presetClass="entr" presetSubtype="0" fill="hold" nodeType="withEffect">
                                  <p:stCondLst>
                                    <p:cond delay="0"/>
                                  </p:stCondLst>
                                  <p:childTnLst>
                                    <p:set>
                                      <p:cBhvr>
                                        <p:cTn id="20" dur="1" fill="hold">
                                          <p:stCondLst>
                                            <p:cond delay="0"/>
                                          </p:stCondLst>
                                        </p:cTn>
                                        <p:tgtEl>
                                          <p:spTgt spid="14"/>
                                        </p:tgtEl>
                                        <p:attrNameLst>
                                          <p:attrName>style.visibility</p:attrName>
                                        </p:attrNameLst>
                                      </p:cBhvr>
                                      <p:to>
                                        <p:strVal val="visible"/>
                                      </p:to>
                                    </p:set>
                                    <p:animEffect transition="in" filter="fade">
                                      <p:cBhvr>
                                        <p:cTn id="21" dur="1000"/>
                                        <p:tgtEl>
                                          <p:spTgt spid="14"/>
                                        </p:tgtEl>
                                      </p:cBhvr>
                                    </p:animEffect>
                                    <p:anim calcmode="lin" valueType="num">
                                      <p:cBhvr>
                                        <p:cTn id="22" dur="1000" fill="hold"/>
                                        <p:tgtEl>
                                          <p:spTgt spid="14"/>
                                        </p:tgtEl>
                                        <p:attrNameLst>
                                          <p:attrName>ppt_x</p:attrName>
                                        </p:attrNameLst>
                                      </p:cBhvr>
                                      <p:tavLst>
                                        <p:tav tm="0">
                                          <p:val>
                                            <p:strVal val="#ppt_x"/>
                                          </p:val>
                                        </p:tav>
                                        <p:tav tm="100000">
                                          <p:val>
                                            <p:strVal val="#ppt_x"/>
                                          </p:val>
                                        </p:tav>
                                      </p:tavLst>
                                    </p:anim>
                                    <p:anim calcmode="lin" valueType="num">
                                      <p:cBhvr>
                                        <p:cTn id="23" dur="1000" fill="hold"/>
                                        <p:tgtEl>
                                          <p:spTgt spid="14"/>
                                        </p:tgtEl>
                                        <p:attrNameLst>
                                          <p:attrName>ppt_y</p:attrName>
                                        </p:attrNameLst>
                                      </p:cBhvr>
                                      <p:tavLst>
                                        <p:tav tm="0">
                                          <p:val>
                                            <p:strVal val="#ppt_y+.1"/>
                                          </p:val>
                                        </p:tav>
                                        <p:tav tm="100000">
                                          <p:val>
                                            <p:strVal val="#ppt_y"/>
                                          </p:val>
                                        </p:tav>
                                      </p:tavLst>
                                    </p:anim>
                                  </p:childTnLst>
                                </p:cTn>
                              </p:par>
                              <p:par>
                                <p:cTn id="24" presetID="42" presetClass="entr" presetSubtype="0" fill="hold" grpId="0" nodeType="with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fade">
                                      <p:cBhvr>
                                        <p:cTn id="26" dur="1000"/>
                                        <p:tgtEl>
                                          <p:spTgt spid="11"/>
                                        </p:tgtEl>
                                      </p:cBhvr>
                                    </p:animEffect>
                                    <p:anim calcmode="lin" valueType="num">
                                      <p:cBhvr>
                                        <p:cTn id="27" dur="1000" fill="hold"/>
                                        <p:tgtEl>
                                          <p:spTgt spid="11"/>
                                        </p:tgtEl>
                                        <p:attrNameLst>
                                          <p:attrName>ppt_x</p:attrName>
                                        </p:attrNameLst>
                                      </p:cBhvr>
                                      <p:tavLst>
                                        <p:tav tm="0">
                                          <p:val>
                                            <p:strVal val="#ppt_x"/>
                                          </p:val>
                                        </p:tav>
                                        <p:tav tm="100000">
                                          <p:val>
                                            <p:strVal val="#ppt_x"/>
                                          </p:val>
                                        </p:tav>
                                      </p:tavLst>
                                    </p:anim>
                                    <p:anim calcmode="lin" valueType="num">
                                      <p:cBhvr>
                                        <p:cTn id="28" dur="1000" fill="hold"/>
                                        <p:tgtEl>
                                          <p:spTgt spid="11"/>
                                        </p:tgtEl>
                                        <p:attrNameLst>
                                          <p:attrName>ppt_y</p:attrName>
                                        </p:attrNameLst>
                                      </p:cBhvr>
                                      <p:tavLst>
                                        <p:tav tm="0">
                                          <p:val>
                                            <p:strVal val="#ppt_y+.1"/>
                                          </p:val>
                                        </p:tav>
                                        <p:tav tm="100000">
                                          <p:val>
                                            <p:strVal val="#ppt_y"/>
                                          </p:val>
                                        </p:tav>
                                      </p:tavLst>
                                    </p:anim>
                                  </p:childTnLst>
                                </p:cTn>
                              </p:par>
                              <p:par>
                                <p:cTn id="29" presetID="42" presetClass="entr" presetSubtype="0" fill="hold" grpId="0" nodeType="withEffect">
                                  <p:stCondLst>
                                    <p:cond delay="0"/>
                                  </p:stCondLst>
                                  <p:childTnLst>
                                    <p:set>
                                      <p:cBhvr>
                                        <p:cTn id="30" dur="1" fill="hold">
                                          <p:stCondLst>
                                            <p:cond delay="0"/>
                                          </p:stCondLst>
                                        </p:cTn>
                                        <p:tgtEl>
                                          <p:spTgt spid="15"/>
                                        </p:tgtEl>
                                        <p:attrNameLst>
                                          <p:attrName>style.visibility</p:attrName>
                                        </p:attrNameLst>
                                      </p:cBhvr>
                                      <p:to>
                                        <p:strVal val="visible"/>
                                      </p:to>
                                    </p:set>
                                    <p:animEffect transition="in" filter="fade">
                                      <p:cBhvr>
                                        <p:cTn id="31" dur="1000"/>
                                        <p:tgtEl>
                                          <p:spTgt spid="15"/>
                                        </p:tgtEl>
                                      </p:cBhvr>
                                    </p:animEffect>
                                    <p:anim calcmode="lin" valueType="num">
                                      <p:cBhvr>
                                        <p:cTn id="32" dur="1000" fill="hold"/>
                                        <p:tgtEl>
                                          <p:spTgt spid="15"/>
                                        </p:tgtEl>
                                        <p:attrNameLst>
                                          <p:attrName>ppt_x</p:attrName>
                                        </p:attrNameLst>
                                      </p:cBhvr>
                                      <p:tavLst>
                                        <p:tav tm="0">
                                          <p:val>
                                            <p:strVal val="#ppt_x"/>
                                          </p:val>
                                        </p:tav>
                                        <p:tav tm="100000">
                                          <p:val>
                                            <p:strVal val="#ppt_x"/>
                                          </p:val>
                                        </p:tav>
                                      </p:tavLst>
                                    </p:anim>
                                    <p:anim calcmode="lin" valueType="num">
                                      <p:cBhvr>
                                        <p:cTn id="33" dur="1000" fill="hold"/>
                                        <p:tgtEl>
                                          <p:spTgt spid="15"/>
                                        </p:tgtEl>
                                        <p:attrNameLst>
                                          <p:attrName>ppt_y</p:attrName>
                                        </p:attrNameLst>
                                      </p:cBhvr>
                                      <p:tavLst>
                                        <p:tav tm="0">
                                          <p:val>
                                            <p:strVal val="#ppt_y+.1"/>
                                          </p:val>
                                        </p:tav>
                                        <p:tav tm="100000">
                                          <p:val>
                                            <p:strVal val="#ppt_y"/>
                                          </p:val>
                                        </p:tav>
                                      </p:tavLst>
                                    </p:anim>
                                  </p:childTnLst>
                                </p:cTn>
                              </p:par>
                              <p:par>
                                <p:cTn id="34" presetID="42" presetClass="entr" presetSubtype="0" fill="hold" nodeType="withEffect">
                                  <p:stCondLst>
                                    <p:cond delay="0"/>
                                  </p:stCondLst>
                                  <p:childTnLst>
                                    <p:set>
                                      <p:cBhvr>
                                        <p:cTn id="35" dur="1" fill="hold">
                                          <p:stCondLst>
                                            <p:cond delay="0"/>
                                          </p:stCondLst>
                                        </p:cTn>
                                        <p:tgtEl>
                                          <p:spTgt spid="9"/>
                                        </p:tgtEl>
                                        <p:attrNameLst>
                                          <p:attrName>style.visibility</p:attrName>
                                        </p:attrNameLst>
                                      </p:cBhvr>
                                      <p:to>
                                        <p:strVal val="visible"/>
                                      </p:to>
                                    </p:set>
                                    <p:animEffect transition="in" filter="fade">
                                      <p:cBhvr>
                                        <p:cTn id="36" dur="1000"/>
                                        <p:tgtEl>
                                          <p:spTgt spid="9"/>
                                        </p:tgtEl>
                                      </p:cBhvr>
                                    </p:animEffect>
                                    <p:anim calcmode="lin" valueType="num">
                                      <p:cBhvr>
                                        <p:cTn id="37" dur="1000" fill="hold"/>
                                        <p:tgtEl>
                                          <p:spTgt spid="9"/>
                                        </p:tgtEl>
                                        <p:attrNameLst>
                                          <p:attrName>ppt_x</p:attrName>
                                        </p:attrNameLst>
                                      </p:cBhvr>
                                      <p:tavLst>
                                        <p:tav tm="0">
                                          <p:val>
                                            <p:strVal val="#ppt_x"/>
                                          </p:val>
                                        </p:tav>
                                        <p:tav tm="100000">
                                          <p:val>
                                            <p:strVal val="#ppt_x"/>
                                          </p:val>
                                        </p:tav>
                                      </p:tavLst>
                                    </p:anim>
                                    <p:anim calcmode="lin" valueType="num">
                                      <p:cBhvr>
                                        <p:cTn id="38" dur="1000" fill="hold"/>
                                        <p:tgtEl>
                                          <p:spTgt spid="9"/>
                                        </p:tgtEl>
                                        <p:attrNameLst>
                                          <p:attrName>ppt_y</p:attrName>
                                        </p:attrNameLst>
                                      </p:cBhvr>
                                      <p:tavLst>
                                        <p:tav tm="0">
                                          <p:val>
                                            <p:strVal val="#ppt_y+.1"/>
                                          </p:val>
                                        </p:tav>
                                        <p:tav tm="100000">
                                          <p:val>
                                            <p:strVal val="#ppt_y"/>
                                          </p:val>
                                        </p:tav>
                                      </p:tavLst>
                                    </p:anim>
                                  </p:childTnLst>
                                </p:cTn>
                              </p:par>
                              <p:par>
                                <p:cTn id="39" presetID="42" presetClass="entr" presetSubtype="0" fill="hold" nodeType="withEffect">
                                  <p:stCondLst>
                                    <p:cond delay="0"/>
                                  </p:stCondLst>
                                  <p:childTnLst>
                                    <p:set>
                                      <p:cBhvr>
                                        <p:cTn id="40" dur="1" fill="hold">
                                          <p:stCondLst>
                                            <p:cond delay="0"/>
                                          </p:stCondLst>
                                        </p:cTn>
                                        <p:tgtEl>
                                          <p:spTgt spid="13"/>
                                        </p:tgtEl>
                                        <p:attrNameLst>
                                          <p:attrName>style.visibility</p:attrName>
                                        </p:attrNameLst>
                                      </p:cBhvr>
                                      <p:to>
                                        <p:strVal val="visible"/>
                                      </p:to>
                                    </p:set>
                                    <p:animEffect transition="in" filter="fade">
                                      <p:cBhvr>
                                        <p:cTn id="41" dur="1000"/>
                                        <p:tgtEl>
                                          <p:spTgt spid="13"/>
                                        </p:tgtEl>
                                      </p:cBhvr>
                                    </p:animEffect>
                                    <p:anim calcmode="lin" valueType="num">
                                      <p:cBhvr>
                                        <p:cTn id="42" dur="1000" fill="hold"/>
                                        <p:tgtEl>
                                          <p:spTgt spid="13"/>
                                        </p:tgtEl>
                                        <p:attrNameLst>
                                          <p:attrName>ppt_x</p:attrName>
                                        </p:attrNameLst>
                                      </p:cBhvr>
                                      <p:tavLst>
                                        <p:tav tm="0">
                                          <p:val>
                                            <p:strVal val="#ppt_x"/>
                                          </p:val>
                                        </p:tav>
                                        <p:tav tm="100000">
                                          <p:val>
                                            <p:strVal val="#ppt_x"/>
                                          </p:val>
                                        </p:tav>
                                      </p:tavLst>
                                    </p:anim>
                                    <p:anim calcmode="lin" valueType="num">
                                      <p:cBhvr>
                                        <p:cTn id="43" dur="1000" fill="hold"/>
                                        <p:tgtEl>
                                          <p:spTgt spid="13"/>
                                        </p:tgtEl>
                                        <p:attrNameLst>
                                          <p:attrName>ppt_y</p:attrName>
                                        </p:attrNameLst>
                                      </p:cBhvr>
                                      <p:tavLst>
                                        <p:tav tm="0">
                                          <p:val>
                                            <p:strVal val="#ppt_y+.1"/>
                                          </p:val>
                                        </p:tav>
                                        <p:tav tm="100000">
                                          <p:val>
                                            <p:strVal val="#ppt_y"/>
                                          </p:val>
                                        </p:tav>
                                      </p:tavLst>
                                    </p:anim>
                                  </p:childTnLst>
                                </p:cTn>
                              </p:par>
                              <p:par>
                                <p:cTn id="44" presetID="42" presetClass="entr" presetSubtype="0" fill="hold" grpId="0" nodeType="withEffect">
                                  <p:stCondLst>
                                    <p:cond delay="0"/>
                                  </p:stCondLst>
                                  <p:childTnLst>
                                    <p:set>
                                      <p:cBhvr>
                                        <p:cTn id="45" dur="1" fill="hold">
                                          <p:stCondLst>
                                            <p:cond delay="0"/>
                                          </p:stCondLst>
                                        </p:cTn>
                                        <p:tgtEl>
                                          <p:spTgt spid="4"/>
                                        </p:tgtEl>
                                        <p:attrNameLst>
                                          <p:attrName>style.visibility</p:attrName>
                                        </p:attrNameLst>
                                      </p:cBhvr>
                                      <p:to>
                                        <p:strVal val="visible"/>
                                      </p:to>
                                    </p:set>
                                    <p:animEffect transition="in" filter="fade">
                                      <p:cBhvr>
                                        <p:cTn id="46" dur="1000"/>
                                        <p:tgtEl>
                                          <p:spTgt spid="4"/>
                                        </p:tgtEl>
                                      </p:cBhvr>
                                    </p:animEffect>
                                    <p:anim calcmode="lin" valueType="num">
                                      <p:cBhvr>
                                        <p:cTn id="47" dur="1000" fill="hold"/>
                                        <p:tgtEl>
                                          <p:spTgt spid="4"/>
                                        </p:tgtEl>
                                        <p:attrNameLst>
                                          <p:attrName>ppt_x</p:attrName>
                                        </p:attrNameLst>
                                      </p:cBhvr>
                                      <p:tavLst>
                                        <p:tav tm="0">
                                          <p:val>
                                            <p:strVal val="#ppt_x"/>
                                          </p:val>
                                        </p:tav>
                                        <p:tav tm="100000">
                                          <p:val>
                                            <p:strVal val="#ppt_x"/>
                                          </p:val>
                                        </p:tav>
                                      </p:tavLst>
                                    </p:anim>
                                    <p:anim calcmode="lin" valueType="num">
                                      <p:cBhvr>
                                        <p:cTn id="48" dur="1000" fill="hold"/>
                                        <p:tgtEl>
                                          <p:spTgt spid="4"/>
                                        </p:tgtEl>
                                        <p:attrNameLst>
                                          <p:attrName>ppt_y</p:attrName>
                                        </p:attrNameLst>
                                      </p:cBhvr>
                                      <p:tavLst>
                                        <p:tav tm="0">
                                          <p:val>
                                            <p:strVal val="#ppt_y+.1"/>
                                          </p:val>
                                        </p:tav>
                                        <p:tav tm="100000">
                                          <p:val>
                                            <p:strVal val="#ppt_y"/>
                                          </p:val>
                                        </p:tav>
                                      </p:tavLst>
                                    </p:anim>
                                  </p:childTnLst>
                                </p:cTn>
                              </p:par>
                              <p:par>
                                <p:cTn id="49" presetID="42" presetClass="entr" presetSubtype="0" fill="hold" grpId="0" nodeType="withEffect">
                                  <p:stCondLst>
                                    <p:cond delay="0"/>
                                  </p:stCondLst>
                                  <p:childTnLst>
                                    <p:set>
                                      <p:cBhvr>
                                        <p:cTn id="50" dur="1" fill="hold">
                                          <p:stCondLst>
                                            <p:cond delay="0"/>
                                          </p:stCondLst>
                                        </p:cTn>
                                        <p:tgtEl>
                                          <p:spTgt spid="5"/>
                                        </p:tgtEl>
                                        <p:attrNameLst>
                                          <p:attrName>style.visibility</p:attrName>
                                        </p:attrNameLst>
                                      </p:cBhvr>
                                      <p:to>
                                        <p:strVal val="visible"/>
                                      </p:to>
                                    </p:set>
                                    <p:animEffect transition="in" filter="fade">
                                      <p:cBhvr>
                                        <p:cTn id="51" dur="1000"/>
                                        <p:tgtEl>
                                          <p:spTgt spid="5"/>
                                        </p:tgtEl>
                                      </p:cBhvr>
                                    </p:animEffect>
                                    <p:anim calcmode="lin" valueType="num">
                                      <p:cBhvr>
                                        <p:cTn id="52" dur="1000" fill="hold"/>
                                        <p:tgtEl>
                                          <p:spTgt spid="5"/>
                                        </p:tgtEl>
                                        <p:attrNameLst>
                                          <p:attrName>ppt_x</p:attrName>
                                        </p:attrNameLst>
                                      </p:cBhvr>
                                      <p:tavLst>
                                        <p:tav tm="0">
                                          <p:val>
                                            <p:strVal val="#ppt_x"/>
                                          </p:val>
                                        </p:tav>
                                        <p:tav tm="100000">
                                          <p:val>
                                            <p:strVal val="#ppt_x"/>
                                          </p:val>
                                        </p:tav>
                                      </p:tavLst>
                                    </p:anim>
                                    <p:anim calcmode="lin" valueType="num">
                                      <p:cBhvr>
                                        <p:cTn id="53" dur="1000" fill="hold"/>
                                        <p:tgtEl>
                                          <p:spTgt spid="5"/>
                                        </p:tgtEl>
                                        <p:attrNameLst>
                                          <p:attrName>ppt_y</p:attrName>
                                        </p:attrNameLst>
                                      </p:cBhvr>
                                      <p:tavLst>
                                        <p:tav tm="0">
                                          <p:val>
                                            <p:strVal val="#ppt_y+.1"/>
                                          </p:val>
                                        </p:tav>
                                        <p:tav tm="100000">
                                          <p:val>
                                            <p:strVal val="#ppt_y"/>
                                          </p:val>
                                        </p:tav>
                                      </p:tavLst>
                                    </p:anim>
                                  </p:childTnLst>
                                </p:cTn>
                              </p:par>
                              <p:par>
                                <p:cTn id="54" presetID="42" presetClass="entr" presetSubtype="0" fill="hold" grpId="0" nodeType="withEffect">
                                  <p:stCondLst>
                                    <p:cond delay="0"/>
                                  </p:stCondLst>
                                  <p:childTnLst>
                                    <p:set>
                                      <p:cBhvr>
                                        <p:cTn id="55" dur="1" fill="hold">
                                          <p:stCondLst>
                                            <p:cond delay="0"/>
                                          </p:stCondLst>
                                        </p:cTn>
                                        <p:tgtEl>
                                          <p:spTgt spid="8"/>
                                        </p:tgtEl>
                                        <p:attrNameLst>
                                          <p:attrName>style.visibility</p:attrName>
                                        </p:attrNameLst>
                                      </p:cBhvr>
                                      <p:to>
                                        <p:strVal val="visible"/>
                                      </p:to>
                                    </p:set>
                                    <p:animEffect transition="in" filter="fade">
                                      <p:cBhvr>
                                        <p:cTn id="56" dur="1000"/>
                                        <p:tgtEl>
                                          <p:spTgt spid="8"/>
                                        </p:tgtEl>
                                      </p:cBhvr>
                                    </p:animEffect>
                                    <p:anim calcmode="lin" valueType="num">
                                      <p:cBhvr>
                                        <p:cTn id="57" dur="1000" fill="hold"/>
                                        <p:tgtEl>
                                          <p:spTgt spid="8"/>
                                        </p:tgtEl>
                                        <p:attrNameLst>
                                          <p:attrName>ppt_x</p:attrName>
                                        </p:attrNameLst>
                                      </p:cBhvr>
                                      <p:tavLst>
                                        <p:tav tm="0">
                                          <p:val>
                                            <p:strVal val="#ppt_x"/>
                                          </p:val>
                                        </p:tav>
                                        <p:tav tm="100000">
                                          <p:val>
                                            <p:strVal val="#ppt_x"/>
                                          </p:val>
                                        </p:tav>
                                      </p:tavLst>
                                    </p:anim>
                                    <p:anim calcmode="lin" valueType="num">
                                      <p:cBhvr>
                                        <p:cTn id="58" dur="1000" fill="hold"/>
                                        <p:tgtEl>
                                          <p:spTgt spid="8"/>
                                        </p:tgtEl>
                                        <p:attrNameLst>
                                          <p:attrName>ppt_y</p:attrName>
                                        </p:attrNameLst>
                                      </p:cBhvr>
                                      <p:tavLst>
                                        <p:tav tm="0">
                                          <p:val>
                                            <p:strVal val="#ppt_y+.1"/>
                                          </p:val>
                                        </p:tav>
                                        <p:tav tm="100000">
                                          <p:val>
                                            <p:strVal val="#ppt_y"/>
                                          </p:val>
                                        </p:tav>
                                      </p:tavLst>
                                    </p:anim>
                                  </p:childTnLst>
                                </p:cTn>
                              </p:par>
                            </p:childTnLst>
                          </p:cTn>
                        </p:par>
                        <p:par>
                          <p:cTn id="59" fill="hold">
                            <p:stCondLst>
                              <p:cond delay="1000"/>
                            </p:stCondLst>
                            <p:childTnLst>
                              <p:par>
                                <p:cTn id="60" presetID="21" presetClass="entr" presetSubtype="1" fill="hold" nodeType="afterEffect">
                                  <p:stCondLst>
                                    <p:cond delay="0"/>
                                  </p:stCondLst>
                                  <p:childTnLst>
                                    <p:set>
                                      <p:cBhvr>
                                        <p:cTn id="61" dur="1" fill="hold">
                                          <p:stCondLst>
                                            <p:cond delay="0"/>
                                          </p:stCondLst>
                                        </p:cTn>
                                        <p:tgtEl>
                                          <p:spTgt spid="10"/>
                                        </p:tgtEl>
                                        <p:attrNameLst>
                                          <p:attrName>style.visibility</p:attrName>
                                        </p:attrNameLst>
                                      </p:cBhvr>
                                      <p:to>
                                        <p:strVal val="visible"/>
                                      </p:to>
                                    </p:set>
                                    <p:animEffect transition="in" filter="wheel(1)">
                                      <p:cBhvr>
                                        <p:cTn id="62" dur="20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p:bldP spid="5" grpId="0"/>
      <p:bldP spid="8" grpId="0"/>
      <p:bldP spid="11" grpId="0"/>
      <p:bldP spid="15"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קבוצה 6">
            <a:extLst>
              <a:ext uri="{FF2B5EF4-FFF2-40B4-BE49-F238E27FC236}">
                <a16:creationId xmlns:a16="http://schemas.microsoft.com/office/drawing/2014/main" id="{A4E8C479-51FC-411D-AF26-9D726359144C}"/>
              </a:ext>
            </a:extLst>
          </p:cNvPr>
          <p:cNvGrpSpPr/>
          <p:nvPr/>
        </p:nvGrpSpPr>
        <p:grpSpPr>
          <a:xfrm>
            <a:off x="4984750" y="-6804548"/>
            <a:ext cx="2234982" cy="6657974"/>
            <a:chOff x="4984750" y="-6804548"/>
            <a:chExt cx="2234982" cy="6657974"/>
          </a:xfrm>
        </p:grpSpPr>
        <p:pic>
          <p:nvPicPr>
            <p:cNvPr id="26" name="Picture Placeholder 6">
              <a:extLst>
                <a:ext uri="{FF2B5EF4-FFF2-40B4-BE49-F238E27FC236}">
                  <a16:creationId xmlns:a16="http://schemas.microsoft.com/office/drawing/2014/main" id="{ECEC4462-78B0-6426-AAAF-1375CF1DDC71}"/>
                </a:ext>
              </a:extLst>
            </p:cNvPr>
            <p:cNvPicPr>
              <a:picLocks/>
            </p:cNvPicPr>
            <p:nvPr/>
          </p:nvPicPr>
          <p:blipFill>
            <a:blip r:embed="rId2" cstate="print">
              <a:extLst>
                <a:ext uri="{28A0092B-C50C-407E-A947-70E740481C1C}">
                  <a14:useLocalDpi xmlns:a14="http://schemas.microsoft.com/office/drawing/2010/main" val="0"/>
                </a:ext>
              </a:extLst>
            </a:blip>
            <a:stretch>
              <a:fillRect/>
            </a:stretch>
          </p:blipFill>
          <p:spPr bwMode="auto">
            <a:xfrm>
              <a:off x="4984750" y="-6804548"/>
              <a:ext cx="2234982" cy="3232150"/>
            </a:xfrm>
            <a:custGeom>
              <a:avLst/>
              <a:gdLst>
                <a:gd name="T0" fmla="*/ 167221 w 2222500"/>
                <a:gd name="T1" fmla="*/ 0 h 3232150"/>
                <a:gd name="T2" fmla="*/ 2055279 w 2222500"/>
                <a:gd name="T3" fmla="*/ 0 h 3232150"/>
                <a:gd name="T4" fmla="*/ 2222500 w 2222500"/>
                <a:gd name="T5" fmla="*/ 167221 h 3232150"/>
                <a:gd name="T6" fmla="*/ 2222500 w 2222500"/>
                <a:gd name="T7" fmla="*/ 3064929 h 3232150"/>
                <a:gd name="T8" fmla="*/ 2055279 w 2222500"/>
                <a:gd name="T9" fmla="*/ 3232150 h 3232150"/>
                <a:gd name="T10" fmla="*/ 167221 w 2222500"/>
                <a:gd name="T11" fmla="*/ 3232150 h 3232150"/>
                <a:gd name="T12" fmla="*/ 0 w 2222500"/>
                <a:gd name="T13" fmla="*/ 3064929 h 3232150"/>
                <a:gd name="T14" fmla="*/ 0 w 2222500"/>
                <a:gd name="T15" fmla="*/ 167221 h 3232150"/>
                <a:gd name="T16" fmla="*/ 167221 w 2222500"/>
                <a:gd name="T17" fmla="*/ 0 h 323215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222500" h="3232150">
                  <a:moveTo>
                    <a:pt x="167221" y="0"/>
                  </a:moveTo>
                  <a:lnTo>
                    <a:pt x="2055279" y="0"/>
                  </a:lnTo>
                  <a:cubicBezTo>
                    <a:pt x="2147633" y="0"/>
                    <a:pt x="2222500" y="74867"/>
                    <a:pt x="2222500" y="167221"/>
                  </a:cubicBezTo>
                  <a:lnTo>
                    <a:pt x="2222500" y="3064929"/>
                  </a:lnTo>
                  <a:cubicBezTo>
                    <a:pt x="2222500" y="3157283"/>
                    <a:pt x="2147633" y="3232150"/>
                    <a:pt x="2055279" y="3232150"/>
                  </a:cubicBezTo>
                  <a:lnTo>
                    <a:pt x="167221" y="3232150"/>
                  </a:lnTo>
                  <a:cubicBezTo>
                    <a:pt x="74867" y="3232150"/>
                    <a:pt x="0" y="3157283"/>
                    <a:pt x="0" y="3064929"/>
                  </a:cubicBezTo>
                  <a:lnTo>
                    <a:pt x="0" y="167221"/>
                  </a:lnTo>
                  <a:cubicBezTo>
                    <a:pt x="0" y="74867"/>
                    <a:pt x="74867" y="0"/>
                    <a:pt x="167221" y="0"/>
                  </a:cubicBezTo>
                  <a:close/>
                </a:path>
              </a:pathLst>
            </a:custGeom>
            <a:blipFill dpi="0" rotWithShape="0">
              <a:blip r:embed="rId3"/>
              <a:tile tx="0" ty="0" sx="100000" sy="100000" flip="none" algn="tl"/>
            </a:blipFill>
            <a:ln>
              <a:noFill/>
            </a:ln>
            <a:extLst>
              <a:ext uri="{91240B29-F687-4F45-9708-019B960494DF}">
                <a14:hiddenLine xmlns:a14="http://schemas.microsoft.com/office/drawing/2010/main" w="9525">
                  <a:solidFill>
                    <a:srgbClr val="000000"/>
                  </a:solidFill>
                  <a:round/>
                  <a:headEnd/>
                  <a:tailEnd/>
                </a14:hiddenLine>
              </a:ext>
            </a:extLst>
          </p:spPr>
        </p:pic>
        <p:pic>
          <p:nvPicPr>
            <p:cNvPr id="30" name="Picture Placeholder 6">
              <a:extLst>
                <a:ext uri="{FF2B5EF4-FFF2-40B4-BE49-F238E27FC236}">
                  <a16:creationId xmlns:a16="http://schemas.microsoft.com/office/drawing/2014/main" id="{45E796B4-225E-9823-711B-7B3AC2BD7F0F}"/>
                </a:ext>
              </a:extLst>
            </p:cNvPr>
            <p:cNvPicPr>
              <a:picLocks/>
            </p:cNvPicPr>
            <p:nvPr/>
          </p:nvPicPr>
          <p:blipFill>
            <a:blip r:embed="rId4" cstate="print">
              <a:extLst>
                <a:ext uri="{28A0092B-C50C-407E-A947-70E740481C1C}">
                  <a14:useLocalDpi xmlns:a14="http://schemas.microsoft.com/office/drawing/2010/main" val="0"/>
                </a:ext>
              </a:extLst>
            </a:blip>
            <a:stretch>
              <a:fillRect/>
            </a:stretch>
          </p:blipFill>
          <p:spPr bwMode="auto">
            <a:xfrm>
              <a:off x="4984750" y="-3378724"/>
              <a:ext cx="2234982" cy="3232150"/>
            </a:xfrm>
            <a:custGeom>
              <a:avLst/>
              <a:gdLst>
                <a:gd name="T0" fmla="*/ 167221 w 2222500"/>
                <a:gd name="T1" fmla="*/ 0 h 3232150"/>
                <a:gd name="T2" fmla="*/ 2055279 w 2222500"/>
                <a:gd name="T3" fmla="*/ 0 h 3232150"/>
                <a:gd name="T4" fmla="*/ 2222500 w 2222500"/>
                <a:gd name="T5" fmla="*/ 167221 h 3232150"/>
                <a:gd name="T6" fmla="*/ 2222500 w 2222500"/>
                <a:gd name="T7" fmla="*/ 3064929 h 3232150"/>
                <a:gd name="T8" fmla="*/ 2055279 w 2222500"/>
                <a:gd name="T9" fmla="*/ 3232150 h 3232150"/>
                <a:gd name="T10" fmla="*/ 167221 w 2222500"/>
                <a:gd name="T11" fmla="*/ 3232150 h 3232150"/>
                <a:gd name="T12" fmla="*/ 0 w 2222500"/>
                <a:gd name="T13" fmla="*/ 3064929 h 3232150"/>
                <a:gd name="T14" fmla="*/ 0 w 2222500"/>
                <a:gd name="T15" fmla="*/ 167221 h 3232150"/>
                <a:gd name="T16" fmla="*/ 167221 w 2222500"/>
                <a:gd name="T17" fmla="*/ 0 h 323215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222500" h="3232150">
                  <a:moveTo>
                    <a:pt x="167221" y="0"/>
                  </a:moveTo>
                  <a:lnTo>
                    <a:pt x="2055279" y="0"/>
                  </a:lnTo>
                  <a:cubicBezTo>
                    <a:pt x="2147633" y="0"/>
                    <a:pt x="2222500" y="74867"/>
                    <a:pt x="2222500" y="167221"/>
                  </a:cubicBezTo>
                  <a:lnTo>
                    <a:pt x="2222500" y="3064929"/>
                  </a:lnTo>
                  <a:cubicBezTo>
                    <a:pt x="2222500" y="3157283"/>
                    <a:pt x="2147633" y="3232150"/>
                    <a:pt x="2055279" y="3232150"/>
                  </a:cubicBezTo>
                  <a:lnTo>
                    <a:pt x="167221" y="3232150"/>
                  </a:lnTo>
                  <a:cubicBezTo>
                    <a:pt x="74867" y="3232150"/>
                    <a:pt x="0" y="3157283"/>
                    <a:pt x="0" y="3064929"/>
                  </a:cubicBezTo>
                  <a:lnTo>
                    <a:pt x="0" y="167221"/>
                  </a:lnTo>
                  <a:cubicBezTo>
                    <a:pt x="0" y="74867"/>
                    <a:pt x="74867" y="0"/>
                    <a:pt x="167221" y="0"/>
                  </a:cubicBezTo>
                  <a:close/>
                </a:path>
              </a:pathLst>
            </a:custGeom>
            <a:blipFill dpi="0" rotWithShape="0">
              <a:blip r:embed="rId3"/>
              <a:tile tx="0" ty="0" sx="100000" sy="100000" flip="none" algn="tl"/>
            </a:blipFill>
            <a:ln>
              <a:noFill/>
            </a:ln>
            <a:extLst>
              <a:ext uri="{91240B29-F687-4F45-9708-019B960494DF}">
                <a14:hiddenLine xmlns:a14="http://schemas.microsoft.com/office/drawing/2010/main" w="9525">
                  <a:solidFill>
                    <a:srgbClr val="000000"/>
                  </a:solidFill>
                  <a:round/>
                  <a:headEnd/>
                  <a:tailEnd/>
                </a14:hiddenLine>
              </a:ext>
            </a:extLst>
          </p:spPr>
        </p:pic>
      </p:grpSp>
      <p:grpSp>
        <p:nvGrpSpPr>
          <p:cNvPr id="8" name="קבוצה 7">
            <a:extLst>
              <a:ext uri="{FF2B5EF4-FFF2-40B4-BE49-F238E27FC236}">
                <a16:creationId xmlns:a16="http://schemas.microsoft.com/office/drawing/2014/main" id="{914B4481-178B-4CBD-837F-9B2E6436EB3F}"/>
              </a:ext>
            </a:extLst>
          </p:cNvPr>
          <p:cNvGrpSpPr/>
          <p:nvPr/>
        </p:nvGrpSpPr>
        <p:grpSpPr>
          <a:xfrm>
            <a:off x="4984641" y="-6804548"/>
            <a:ext cx="2234982" cy="6658102"/>
            <a:chOff x="7410873" y="-6804676"/>
            <a:chExt cx="2234982" cy="6658102"/>
          </a:xfrm>
        </p:grpSpPr>
        <p:pic>
          <p:nvPicPr>
            <p:cNvPr id="36" name="Picture Placeholder 6">
              <a:extLst>
                <a:ext uri="{FF2B5EF4-FFF2-40B4-BE49-F238E27FC236}">
                  <a16:creationId xmlns:a16="http://schemas.microsoft.com/office/drawing/2014/main" id="{C396DF38-47B1-CFBC-A675-3E82AB96993D}"/>
                </a:ext>
              </a:extLst>
            </p:cNvPr>
            <p:cNvPicPr>
              <a:picLocks/>
            </p:cNvPicPr>
            <p:nvPr/>
          </p:nvPicPr>
          <p:blipFill>
            <a:blip r:embed="rId5">
              <a:extLst>
                <a:ext uri="{28A0092B-C50C-407E-A947-70E740481C1C}">
                  <a14:useLocalDpi xmlns:a14="http://schemas.microsoft.com/office/drawing/2010/main" val="0"/>
                </a:ext>
              </a:extLst>
            </a:blip>
            <a:stretch>
              <a:fillRect/>
            </a:stretch>
          </p:blipFill>
          <p:spPr bwMode="auto">
            <a:xfrm>
              <a:off x="7423355" y="-3378724"/>
              <a:ext cx="2222500" cy="3232150"/>
            </a:xfrm>
            <a:custGeom>
              <a:avLst/>
              <a:gdLst>
                <a:gd name="T0" fmla="*/ 167221 w 2222500"/>
                <a:gd name="T1" fmla="*/ 0 h 3232150"/>
                <a:gd name="T2" fmla="*/ 2055279 w 2222500"/>
                <a:gd name="T3" fmla="*/ 0 h 3232150"/>
                <a:gd name="T4" fmla="*/ 2222500 w 2222500"/>
                <a:gd name="T5" fmla="*/ 167221 h 3232150"/>
                <a:gd name="T6" fmla="*/ 2222500 w 2222500"/>
                <a:gd name="T7" fmla="*/ 3064929 h 3232150"/>
                <a:gd name="T8" fmla="*/ 2055279 w 2222500"/>
                <a:gd name="T9" fmla="*/ 3232150 h 3232150"/>
                <a:gd name="T10" fmla="*/ 167221 w 2222500"/>
                <a:gd name="T11" fmla="*/ 3232150 h 3232150"/>
                <a:gd name="T12" fmla="*/ 0 w 2222500"/>
                <a:gd name="T13" fmla="*/ 3064929 h 3232150"/>
                <a:gd name="T14" fmla="*/ 0 w 2222500"/>
                <a:gd name="T15" fmla="*/ 167221 h 3232150"/>
                <a:gd name="T16" fmla="*/ 167221 w 2222500"/>
                <a:gd name="T17" fmla="*/ 0 h 323215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222500" h="3232150">
                  <a:moveTo>
                    <a:pt x="167221" y="0"/>
                  </a:moveTo>
                  <a:lnTo>
                    <a:pt x="2055279" y="0"/>
                  </a:lnTo>
                  <a:cubicBezTo>
                    <a:pt x="2147633" y="0"/>
                    <a:pt x="2222500" y="74867"/>
                    <a:pt x="2222500" y="167221"/>
                  </a:cubicBezTo>
                  <a:lnTo>
                    <a:pt x="2222500" y="3064929"/>
                  </a:lnTo>
                  <a:cubicBezTo>
                    <a:pt x="2222500" y="3157283"/>
                    <a:pt x="2147633" y="3232150"/>
                    <a:pt x="2055279" y="3232150"/>
                  </a:cubicBezTo>
                  <a:lnTo>
                    <a:pt x="167221" y="3232150"/>
                  </a:lnTo>
                  <a:cubicBezTo>
                    <a:pt x="74867" y="3232150"/>
                    <a:pt x="0" y="3157283"/>
                    <a:pt x="0" y="3064929"/>
                  </a:cubicBezTo>
                  <a:lnTo>
                    <a:pt x="0" y="167221"/>
                  </a:lnTo>
                  <a:cubicBezTo>
                    <a:pt x="0" y="74867"/>
                    <a:pt x="74867" y="0"/>
                    <a:pt x="167221" y="0"/>
                  </a:cubicBezTo>
                  <a:close/>
                </a:path>
              </a:pathLst>
            </a:custGeom>
            <a:blipFill dpi="0" rotWithShape="0">
              <a:blip r:embed="rId3"/>
              <a:tile tx="0" ty="0" sx="100000" sy="100000" flip="none" algn="tl"/>
            </a:blipFill>
            <a:ln>
              <a:noFill/>
            </a:ln>
            <a:extLst>
              <a:ext uri="{91240B29-F687-4F45-9708-019B960494DF}">
                <a14:hiddenLine xmlns:a14="http://schemas.microsoft.com/office/drawing/2010/main" w="9525">
                  <a:solidFill>
                    <a:srgbClr val="000000"/>
                  </a:solidFill>
                  <a:round/>
                  <a:headEnd/>
                  <a:tailEnd/>
                </a14:hiddenLine>
              </a:ext>
            </a:extLst>
          </p:spPr>
        </p:pic>
        <p:pic>
          <p:nvPicPr>
            <p:cNvPr id="35" name="Picture Placeholder 6">
              <a:extLst>
                <a:ext uri="{FF2B5EF4-FFF2-40B4-BE49-F238E27FC236}">
                  <a16:creationId xmlns:a16="http://schemas.microsoft.com/office/drawing/2014/main" id="{BD308BB6-1FCA-96D1-E2DB-3DF5DB9F2A12}"/>
                </a:ext>
              </a:extLst>
            </p:cNvPr>
            <p:cNvPicPr>
              <a:picLocks/>
            </p:cNvPicPr>
            <p:nvPr/>
          </p:nvPicPr>
          <p:blipFill>
            <a:blip r:embed="rId6" cstate="print">
              <a:extLst>
                <a:ext uri="{28A0092B-C50C-407E-A947-70E740481C1C}">
                  <a14:useLocalDpi xmlns:a14="http://schemas.microsoft.com/office/drawing/2010/main" val="0"/>
                </a:ext>
              </a:extLst>
            </a:blip>
            <a:stretch>
              <a:fillRect/>
            </a:stretch>
          </p:blipFill>
          <p:spPr bwMode="auto">
            <a:xfrm>
              <a:off x="7410873" y="-6804676"/>
              <a:ext cx="2234982" cy="3232150"/>
            </a:xfrm>
            <a:custGeom>
              <a:avLst/>
              <a:gdLst>
                <a:gd name="T0" fmla="*/ 167221 w 2222500"/>
                <a:gd name="T1" fmla="*/ 0 h 3232150"/>
                <a:gd name="T2" fmla="*/ 2055279 w 2222500"/>
                <a:gd name="T3" fmla="*/ 0 h 3232150"/>
                <a:gd name="T4" fmla="*/ 2222500 w 2222500"/>
                <a:gd name="T5" fmla="*/ 167221 h 3232150"/>
                <a:gd name="T6" fmla="*/ 2222500 w 2222500"/>
                <a:gd name="T7" fmla="*/ 3064929 h 3232150"/>
                <a:gd name="T8" fmla="*/ 2055279 w 2222500"/>
                <a:gd name="T9" fmla="*/ 3232150 h 3232150"/>
                <a:gd name="T10" fmla="*/ 167221 w 2222500"/>
                <a:gd name="T11" fmla="*/ 3232150 h 3232150"/>
                <a:gd name="T12" fmla="*/ 0 w 2222500"/>
                <a:gd name="T13" fmla="*/ 3064929 h 3232150"/>
                <a:gd name="T14" fmla="*/ 0 w 2222500"/>
                <a:gd name="T15" fmla="*/ 167221 h 3232150"/>
                <a:gd name="T16" fmla="*/ 167221 w 2222500"/>
                <a:gd name="T17" fmla="*/ 0 h 323215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222500" h="3232150">
                  <a:moveTo>
                    <a:pt x="167221" y="0"/>
                  </a:moveTo>
                  <a:lnTo>
                    <a:pt x="2055279" y="0"/>
                  </a:lnTo>
                  <a:cubicBezTo>
                    <a:pt x="2147633" y="0"/>
                    <a:pt x="2222500" y="74867"/>
                    <a:pt x="2222500" y="167221"/>
                  </a:cubicBezTo>
                  <a:lnTo>
                    <a:pt x="2222500" y="3064929"/>
                  </a:lnTo>
                  <a:cubicBezTo>
                    <a:pt x="2222500" y="3157283"/>
                    <a:pt x="2147633" y="3232150"/>
                    <a:pt x="2055279" y="3232150"/>
                  </a:cubicBezTo>
                  <a:lnTo>
                    <a:pt x="167221" y="3232150"/>
                  </a:lnTo>
                  <a:cubicBezTo>
                    <a:pt x="74867" y="3232150"/>
                    <a:pt x="0" y="3157283"/>
                    <a:pt x="0" y="3064929"/>
                  </a:cubicBezTo>
                  <a:lnTo>
                    <a:pt x="0" y="167221"/>
                  </a:lnTo>
                  <a:cubicBezTo>
                    <a:pt x="0" y="74867"/>
                    <a:pt x="74867" y="0"/>
                    <a:pt x="167221" y="0"/>
                  </a:cubicBezTo>
                  <a:close/>
                </a:path>
              </a:pathLst>
            </a:custGeom>
            <a:blipFill dpi="0" rotWithShape="0">
              <a:blip r:embed="rId3"/>
              <a:tile tx="0" ty="0" sx="100000" sy="100000" flip="none" algn="tl"/>
            </a:blipFill>
            <a:ln>
              <a:noFill/>
            </a:ln>
            <a:extLst>
              <a:ext uri="{91240B29-F687-4F45-9708-019B960494DF}">
                <a14:hiddenLine xmlns:a14="http://schemas.microsoft.com/office/drawing/2010/main" w="9525">
                  <a:solidFill>
                    <a:srgbClr val="000000"/>
                  </a:solidFill>
                  <a:round/>
                  <a:headEnd/>
                  <a:tailEnd/>
                </a14:hiddenLine>
              </a:ext>
            </a:extLst>
          </p:spPr>
        </p:pic>
      </p:grpSp>
      <p:sp>
        <p:nvSpPr>
          <p:cNvPr id="2" name="Titel 1">
            <a:extLst>
              <a:ext uri="{FF2B5EF4-FFF2-40B4-BE49-F238E27FC236}">
                <a16:creationId xmlns:a16="http://schemas.microsoft.com/office/drawing/2014/main" id="{33938A93-42DB-2B96-3CA4-B35641C8A5B2}"/>
              </a:ext>
            </a:extLst>
          </p:cNvPr>
          <p:cNvSpPr txBox="1"/>
          <p:nvPr/>
        </p:nvSpPr>
        <p:spPr>
          <a:xfrm>
            <a:off x="8315544" y="600253"/>
            <a:ext cx="3479800" cy="956036"/>
          </a:xfrm>
          <a:prstGeom prst="rect">
            <a:avLst/>
          </a:prstGeom>
        </p:spPr>
        <p:txBody>
          <a:bodyPr lIns="0" anchor="t"/>
          <a:lstStyle>
            <a:lvl1pPr algn="l" defTabSz="914400" rtl="0" eaLnBrk="1" latinLnBrk="0" hangingPunct="1">
              <a:lnSpc>
                <a:spcPct val="100000"/>
              </a:lnSpc>
              <a:spcBef>
                <a:spcPct val="0"/>
              </a:spcBef>
              <a:buNone/>
              <a:defRPr sz="2800" kern="1200">
                <a:solidFill>
                  <a:schemeClr val="tx2"/>
                </a:solidFill>
                <a:latin typeface="+mj-lt"/>
                <a:ea typeface="+mj-ea"/>
                <a:cs typeface="+mj-cs"/>
              </a:defRPr>
            </a:lvl1pPr>
          </a:lstStyle>
          <a:p>
            <a:pPr algn="r" rtl="1"/>
            <a:r>
              <a:rPr lang="he-IL" b="1" dirty="0" err="1">
                <a:effectLst>
                  <a:outerShdw blurRad="38100" dist="38100" dir="2700000" algn="tl">
                    <a:srgbClr val="000000">
                      <a:alpha val="43137"/>
                    </a:srgbClr>
                  </a:outerShdw>
                </a:effectLst>
                <a:latin typeface="Calibri" panose="020F0502020204030204" pitchFamily="34" charset="0"/>
                <a:ea typeface="Calibri" panose="020F0502020204030204" pitchFamily="34" charset="0"/>
                <a:cs typeface="Calibri" panose="020F0502020204030204" pitchFamily="34" charset="0"/>
              </a:rPr>
              <a:t>חזון</a:t>
            </a:r>
            <a:r>
              <a:rPr lang="he-IL" b="1" dirty="0">
                <a:effectLst>
                  <a:outerShdw blurRad="38100" dist="38100" dir="2700000" algn="tl">
                    <a:srgbClr val="000000">
                      <a:alpha val="43137"/>
                    </a:srgbClr>
                  </a:outerShdw>
                </a:effectLst>
                <a:latin typeface="Calibri" panose="020F0502020204030204" pitchFamily="34" charset="0"/>
                <a:ea typeface="Calibri" panose="020F0502020204030204" pitchFamily="34" charset="0"/>
                <a:cs typeface="Calibri" panose="020F0502020204030204" pitchFamily="34" charset="0"/>
              </a:rPr>
              <a:t> טכנולוגי</a:t>
            </a:r>
          </a:p>
          <a:p>
            <a:pPr algn="r" rtl="1"/>
            <a:r>
              <a:rPr lang="he-IL" sz="2000" b="1" dirty="0">
                <a:effectLst>
                  <a:outerShdw blurRad="38100" dist="38100" dir="2700000" algn="tl">
                    <a:srgbClr val="000000">
                      <a:alpha val="43137"/>
                    </a:srgbClr>
                  </a:outerShdw>
                </a:effectLst>
                <a:latin typeface="Calibri" panose="020F0502020204030204" pitchFamily="34" charset="0"/>
                <a:ea typeface="Calibri" panose="020F0502020204030204" pitchFamily="34" charset="0"/>
                <a:cs typeface="Calibri" panose="020F0502020204030204" pitchFamily="34" charset="0"/>
              </a:rPr>
              <a:t>חדשנות בסביבה הלוגיסטית</a:t>
            </a:r>
            <a:endParaRPr lang="en-US" sz="2000" b="1" dirty="0">
              <a:effectLst>
                <a:outerShdw blurRad="38100" dist="38100" dir="2700000" algn="tl">
                  <a:srgbClr val="000000">
                    <a:alpha val="43137"/>
                  </a:srgbClr>
                </a:outerShdw>
              </a:effectLst>
              <a:latin typeface="Calibri" panose="020F0502020204030204" pitchFamily="34" charset="0"/>
              <a:ea typeface="Calibri" panose="020F0502020204030204" pitchFamily="34" charset="0"/>
              <a:cs typeface="Calibri" panose="020F0502020204030204" pitchFamily="34" charset="0"/>
            </a:endParaRPr>
          </a:p>
        </p:txBody>
      </p:sp>
      <p:sp>
        <p:nvSpPr>
          <p:cNvPr id="3" name="Textplatzhalter 4">
            <a:extLst>
              <a:ext uri="{FF2B5EF4-FFF2-40B4-BE49-F238E27FC236}">
                <a16:creationId xmlns:a16="http://schemas.microsoft.com/office/drawing/2014/main" id="{0A2CA061-BE65-5E0B-5420-D86C3EA1F049}"/>
              </a:ext>
            </a:extLst>
          </p:cNvPr>
          <p:cNvSpPr txBox="1"/>
          <p:nvPr/>
        </p:nvSpPr>
        <p:spPr>
          <a:xfrm>
            <a:off x="7423355" y="1477632"/>
            <a:ext cx="4371989" cy="3045208"/>
          </a:xfrm>
          <a:prstGeom prst="rect">
            <a:avLst/>
          </a:prstGeom>
        </p:spPr>
        <p:txBody>
          <a:bodyPr lIns="0" tIns="45720" rIns="91440" bIns="45720" anchor="t">
            <a:normAutofit fontScale="92500" lnSpcReduction="10000"/>
          </a:bodyPr>
          <a:lstStyle>
            <a:lvl1pPr marL="266700" marR="0" indent="-266700" algn="l" defTabSz="1644650" rtl="0" eaLnBrk="0" fontAlgn="base" latinLnBrk="0" hangingPunct="0">
              <a:lnSpc>
                <a:spcPct val="130000"/>
              </a:lnSpc>
              <a:spcBef>
                <a:spcPct val="0"/>
              </a:spcBef>
              <a:spcAft>
                <a:spcPts val="1200"/>
              </a:spcAft>
              <a:buClr>
                <a:srgbClr val="004C99"/>
              </a:buClr>
              <a:buSzPct val="120000"/>
              <a:buFontTx/>
              <a:buBlip>
                <a:blip r:embed="rId7"/>
              </a:buBlip>
              <a:defRPr sz="1800" kern="1200">
                <a:solidFill>
                  <a:schemeClr val="tx1"/>
                </a:solidFill>
                <a:latin typeface="+mn-lt"/>
                <a:ea typeface="+mn-ea"/>
                <a:cs typeface="+mn-cs"/>
              </a:defRPr>
            </a:lvl1pPr>
            <a:lvl2pPr marL="630238" marR="0" indent="-268288" algn="l" defTabSz="1644650" rtl="0" eaLnBrk="0" fontAlgn="base" latinLnBrk="0" hangingPunct="0">
              <a:lnSpc>
                <a:spcPct val="130000"/>
              </a:lnSpc>
              <a:spcBef>
                <a:spcPct val="0"/>
              </a:spcBef>
              <a:spcAft>
                <a:spcPts val="1200"/>
              </a:spcAft>
              <a:buClr>
                <a:srgbClr val="004C99"/>
              </a:buClr>
              <a:buSzPct val="120000"/>
              <a:buFontTx/>
              <a:buBlip>
                <a:blip r:embed="rId7"/>
              </a:buBlip>
              <a:defRPr sz="1800" kern="1200">
                <a:solidFill>
                  <a:schemeClr val="tx1"/>
                </a:solidFill>
                <a:latin typeface="+mn-lt"/>
                <a:ea typeface="+mn-ea"/>
                <a:cs typeface="+mn-cs"/>
              </a:defRPr>
            </a:lvl2pPr>
            <a:lvl3pPr marL="990600" marR="0" indent="-274638" algn="l" defTabSz="1644650" rtl="0" eaLnBrk="0" fontAlgn="base" latinLnBrk="0" hangingPunct="0">
              <a:lnSpc>
                <a:spcPct val="130000"/>
              </a:lnSpc>
              <a:spcBef>
                <a:spcPct val="0"/>
              </a:spcBef>
              <a:spcAft>
                <a:spcPts val="1200"/>
              </a:spcAft>
              <a:buClr>
                <a:srgbClr val="004C99"/>
              </a:buClr>
              <a:buSzPct val="120000"/>
              <a:buFontTx/>
              <a:buBlip>
                <a:blip r:embed="rId7"/>
              </a:buBlip>
              <a:defRPr sz="1800" kern="1200">
                <a:solidFill>
                  <a:schemeClr val="tx1"/>
                </a:solidFill>
                <a:latin typeface="+mn-lt"/>
                <a:ea typeface="+mn-ea"/>
                <a:cs typeface="+mn-cs"/>
              </a:defRPr>
            </a:lvl3pPr>
            <a:lvl4pPr marL="1343025" marR="0" indent="-263525" algn="l" defTabSz="1644650" rtl="0" eaLnBrk="0" fontAlgn="base" latinLnBrk="0" hangingPunct="0">
              <a:lnSpc>
                <a:spcPct val="130000"/>
              </a:lnSpc>
              <a:spcBef>
                <a:spcPct val="0"/>
              </a:spcBef>
              <a:spcAft>
                <a:spcPts val="1200"/>
              </a:spcAft>
              <a:buClr>
                <a:srgbClr val="004C99"/>
              </a:buClr>
              <a:buSzPct val="120000"/>
              <a:buFontTx/>
              <a:buBlip>
                <a:blip r:embed="rId7"/>
              </a:buBlip>
              <a:defRPr sz="1800" kern="1200">
                <a:solidFill>
                  <a:schemeClr val="tx1"/>
                </a:solidFill>
                <a:latin typeface="+mn-lt"/>
                <a:ea typeface="+mn-ea"/>
                <a:cs typeface="+mn-cs"/>
              </a:defRPr>
            </a:lvl4pPr>
            <a:lvl5pPr marL="1704975" marR="0" indent="-271463" algn="l" defTabSz="1644650" rtl="0" eaLnBrk="0" fontAlgn="base" latinLnBrk="0" hangingPunct="0">
              <a:lnSpc>
                <a:spcPct val="130000"/>
              </a:lnSpc>
              <a:spcBef>
                <a:spcPct val="0"/>
              </a:spcBef>
              <a:spcAft>
                <a:spcPts val="1200"/>
              </a:spcAft>
              <a:buClr>
                <a:srgbClr val="004C99"/>
              </a:buClr>
              <a:buSzPct val="120000"/>
              <a:buFontTx/>
              <a:buBlip>
                <a:blip r:embed="rId7"/>
              </a:buBlip>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rtl="1">
              <a:lnSpc>
                <a:spcPct val="100000"/>
              </a:lnSpc>
              <a:spcAft>
                <a:spcPts val="0"/>
              </a:spcAft>
              <a:buNone/>
            </a:pPr>
            <a:r>
              <a:rPr lang="he-IL" sz="1400" dirty="0" err="1">
                <a:solidFill>
                  <a:srgbClr val="3C5B7B">
                    <a:alpha val="70000"/>
                  </a:srgbClr>
                </a:solidFill>
                <a:latin typeface="Calibri"/>
                <a:ea typeface="Calibri" panose="020F0502020204030204" pitchFamily="34" charset="0"/>
                <a:cs typeface="Calibri"/>
              </a:rPr>
              <a:t>פלטרנספורט</a:t>
            </a:r>
            <a:r>
              <a:rPr lang="he-IL" sz="1400" dirty="0">
                <a:solidFill>
                  <a:srgbClr val="3C5B7B">
                    <a:alpha val="70000"/>
                  </a:srgbClr>
                </a:solidFill>
                <a:latin typeface="Calibri"/>
                <a:ea typeface="Calibri" panose="020F0502020204030204" pitchFamily="34" charset="0"/>
                <a:cs typeface="Calibri"/>
              </a:rPr>
              <a:t> שואפת להוביל ולהיות מחלוצי הקדמה הטכנולוגית בעולם הסחר הבינלאומי ולקדם את ממשקי המערכות השונות לעידן הדיגיטלי באופן מלא.</a:t>
            </a:r>
          </a:p>
          <a:p>
            <a:pPr marL="0" indent="0" algn="r" rtl="1">
              <a:lnSpc>
                <a:spcPct val="100000"/>
              </a:lnSpc>
              <a:spcAft>
                <a:spcPts val="0"/>
              </a:spcAft>
              <a:buNone/>
            </a:pPr>
            <a:r>
              <a:rPr lang="he-IL" sz="1400" dirty="0">
                <a:solidFill>
                  <a:srgbClr val="3C5B7B">
                    <a:alpha val="70000"/>
                  </a:srgbClr>
                </a:solidFill>
                <a:latin typeface="Calibri"/>
                <a:ea typeface="Calibri" panose="020F0502020204030204" pitchFamily="34" charset="0"/>
                <a:cs typeface="Calibri"/>
              </a:rPr>
              <a:t>החזון הטכנולוגי שלנו מורכב בעיקרו מנגישות, זמינות, שיתוף מידע וחיסכון בנייר (</a:t>
            </a:r>
            <a:r>
              <a:rPr lang="en-US" sz="1400" dirty="0">
                <a:solidFill>
                  <a:srgbClr val="3C5B7B">
                    <a:alpha val="70000"/>
                  </a:srgbClr>
                </a:solidFill>
                <a:latin typeface="Calibri"/>
                <a:ea typeface="Calibri" panose="020F0502020204030204" pitchFamily="34" charset="0"/>
                <a:cs typeface="Calibri"/>
              </a:rPr>
              <a:t>Paperless</a:t>
            </a:r>
            <a:r>
              <a:rPr lang="he-IL" sz="1400" dirty="0">
                <a:solidFill>
                  <a:srgbClr val="3C5B7B">
                    <a:alpha val="70000"/>
                  </a:srgbClr>
                </a:solidFill>
                <a:latin typeface="Calibri"/>
                <a:ea typeface="Calibri" panose="020F0502020204030204" pitchFamily="34" charset="0"/>
                <a:cs typeface="Calibri"/>
              </a:rPr>
              <a:t>) תוך שימוש באמצעים טכנולוגיים.</a:t>
            </a:r>
          </a:p>
          <a:p>
            <a:pPr algn="r" rtl="1">
              <a:lnSpc>
                <a:spcPct val="100000"/>
              </a:lnSpc>
              <a:spcAft>
                <a:spcPts val="0"/>
              </a:spcAft>
              <a:buFont typeface="Arial" panose="020B0604020202020204" pitchFamily="34" charset="0"/>
              <a:buChar char="•"/>
            </a:pPr>
            <a:r>
              <a:rPr lang="he-IL" sz="1400" dirty="0">
                <a:solidFill>
                  <a:srgbClr val="3C5B7B">
                    <a:alpha val="70000"/>
                  </a:srgbClr>
                </a:solidFill>
                <a:latin typeface="Calibri"/>
                <a:ea typeface="Calibri" panose="020F0502020204030204" pitchFamily="34" charset="0"/>
                <a:cs typeface="Calibri"/>
              </a:rPr>
              <a:t>היכולת להיות מקושר בכל זמן ובכל מקום ולקבל מידע בעבור המשלוחים בלחיצת כפתור או באמצעות הודעות "דחיפה" מהמערכת הממוחשבת.</a:t>
            </a:r>
          </a:p>
          <a:p>
            <a:pPr algn="r" rtl="1">
              <a:lnSpc>
                <a:spcPct val="100000"/>
              </a:lnSpc>
              <a:spcAft>
                <a:spcPts val="0"/>
              </a:spcAft>
              <a:buFont typeface="Arial" panose="020B0604020202020204" pitchFamily="34" charset="0"/>
              <a:buChar char="•"/>
            </a:pPr>
            <a:r>
              <a:rPr lang="he-IL" sz="1400" dirty="0">
                <a:solidFill>
                  <a:srgbClr val="3C5B7B">
                    <a:alpha val="70000"/>
                  </a:srgbClr>
                </a:solidFill>
                <a:latin typeface="Calibri"/>
                <a:ea typeface="Calibri" panose="020F0502020204030204" pitchFamily="34" charset="0"/>
                <a:cs typeface="Calibri"/>
              </a:rPr>
              <a:t>מערכת "</a:t>
            </a:r>
            <a:r>
              <a:rPr lang="en-US" sz="1400" b="1" dirty="0">
                <a:solidFill>
                  <a:srgbClr val="3C5B7B">
                    <a:alpha val="70000"/>
                  </a:srgbClr>
                </a:solidFill>
                <a:latin typeface="Calibri"/>
                <a:ea typeface="Calibri" panose="020F0502020204030204" pitchFamily="34" charset="0"/>
                <a:cs typeface="Calibri"/>
              </a:rPr>
              <a:t>Peltransport-Connect</a:t>
            </a:r>
            <a:r>
              <a:rPr lang="he-IL" sz="1400" b="1" dirty="0">
                <a:solidFill>
                  <a:srgbClr val="3C5B7B">
                    <a:alpha val="70000"/>
                  </a:srgbClr>
                </a:solidFill>
                <a:latin typeface="Calibri"/>
                <a:ea typeface="Calibri" panose="020F0502020204030204" pitchFamily="34" charset="0"/>
                <a:cs typeface="Calibri"/>
              </a:rPr>
              <a:t>" </a:t>
            </a:r>
            <a:r>
              <a:rPr lang="he-IL" sz="1400" dirty="0">
                <a:solidFill>
                  <a:srgbClr val="3C5B7B">
                    <a:alpha val="70000"/>
                  </a:srgbClr>
                </a:solidFill>
                <a:latin typeface="Calibri"/>
                <a:ea typeface="Calibri" panose="020F0502020204030204" pitchFamily="34" charset="0"/>
                <a:cs typeface="Calibri"/>
              </a:rPr>
              <a:t>המאפשרת מעקב מטענים מקצה לקצה הכוללת צפיה במסמכים ונתונים נוספים לכל משלוח יבוא/יצוא/</a:t>
            </a:r>
            <a:r>
              <a:rPr lang="he-IL" sz="1400" dirty="0" err="1">
                <a:solidFill>
                  <a:srgbClr val="3C5B7B">
                    <a:alpha val="70000"/>
                  </a:srgbClr>
                </a:solidFill>
                <a:latin typeface="Calibri"/>
                <a:ea typeface="Calibri" panose="020F0502020204030204" pitchFamily="34" charset="0"/>
                <a:cs typeface="Calibri"/>
              </a:rPr>
              <a:t>דרופ</a:t>
            </a:r>
            <a:r>
              <a:rPr lang="he-IL" sz="1400" dirty="0">
                <a:solidFill>
                  <a:srgbClr val="3C5B7B">
                    <a:alpha val="70000"/>
                  </a:srgbClr>
                </a:solidFill>
                <a:latin typeface="Calibri"/>
                <a:ea typeface="Calibri" panose="020F0502020204030204" pitchFamily="34" charset="0"/>
                <a:cs typeface="Calibri"/>
              </a:rPr>
              <a:t> הכוללת שילוח או שחרור ממכס בלבד.</a:t>
            </a:r>
          </a:p>
          <a:p>
            <a:pPr algn="r" rtl="1">
              <a:lnSpc>
                <a:spcPct val="100000"/>
              </a:lnSpc>
              <a:spcAft>
                <a:spcPts val="0"/>
              </a:spcAft>
              <a:buFont typeface="Arial" panose="020B0604020202020204" pitchFamily="34" charset="0"/>
              <a:buChar char="•"/>
            </a:pPr>
            <a:r>
              <a:rPr lang="he-IL" sz="1400" dirty="0">
                <a:solidFill>
                  <a:srgbClr val="3C5B7B">
                    <a:alpha val="70000"/>
                  </a:srgbClr>
                </a:solidFill>
                <a:latin typeface="Calibri"/>
                <a:ea typeface="Calibri" panose="020F0502020204030204" pitchFamily="34" charset="0"/>
                <a:cs typeface="Calibri"/>
              </a:rPr>
              <a:t>העברת מסרים דיגיטליים כדוגמת ניירת וחשבוניות ולמעט בהדפסת מסמכים ככל הניתן.</a:t>
            </a:r>
          </a:p>
          <a:p>
            <a:pPr algn="r" rtl="1">
              <a:lnSpc>
                <a:spcPct val="100000"/>
              </a:lnSpc>
              <a:spcAft>
                <a:spcPts val="0"/>
              </a:spcAft>
              <a:buFont typeface="Arial" panose="020B0604020202020204" pitchFamily="34" charset="0"/>
              <a:buChar char="•"/>
            </a:pPr>
            <a:r>
              <a:rPr lang="he-IL" sz="1400" dirty="0">
                <a:solidFill>
                  <a:srgbClr val="3C5B7B">
                    <a:alpha val="70000"/>
                  </a:srgbClr>
                </a:solidFill>
                <a:latin typeface="Calibri"/>
                <a:ea typeface="Calibri" panose="020F0502020204030204" pitchFamily="34" charset="0"/>
                <a:cs typeface="Calibri"/>
              </a:rPr>
              <a:t>התממשקות בין מערכות מחשוב שונות ושיתוף מידע ומסרים בצורה פשוטה וחכמה.</a:t>
            </a:r>
          </a:p>
          <a:p>
            <a:pPr algn="r" rtl="1">
              <a:lnSpc>
                <a:spcPct val="100000"/>
              </a:lnSpc>
              <a:spcAft>
                <a:spcPts val="0"/>
              </a:spcAft>
              <a:buFont typeface="Arial" panose="020B0604020202020204" pitchFamily="34" charset="0"/>
              <a:buChar char="•"/>
            </a:pPr>
            <a:r>
              <a:rPr lang="he-IL" sz="1400" dirty="0">
                <a:solidFill>
                  <a:srgbClr val="3C5B7B">
                    <a:alpha val="70000"/>
                  </a:srgbClr>
                </a:solidFill>
                <a:latin typeface="Calibri"/>
                <a:ea typeface="Calibri" panose="020F0502020204030204" pitchFamily="34" charset="0"/>
                <a:cs typeface="Calibri"/>
              </a:rPr>
              <a:t>הנפקת דו"חות אוטומטיים לפי צרכי הלקוחות</a:t>
            </a:r>
          </a:p>
        </p:txBody>
      </p:sp>
      <p:sp>
        <p:nvSpPr>
          <p:cNvPr id="6" name="Textplatzhalter 4">
            <a:extLst>
              <a:ext uri="{FF2B5EF4-FFF2-40B4-BE49-F238E27FC236}">
                <a16:creationId xmlns:a16="http://schemas.microsoft.com/office/drawing/2014/main" id="{882356FA-1040-EA51-85F4-4E9D96788D8E}"/>
              </a:ext>
            </a:extLst>
          </p:cNvPr>
          <p:cNvSpPr txBox="1"/>
          <p:nvPr/>
        </p:nvSpPr>
        <p:spPr>
          <a:xfrm>
            <a:off x="383956" y="2399135"/>
            <a:ext cx="4371989" cy="1490661"/>
          </a:xfrm>
          <a:prstGeom prst="rect">
            <a:avLst/>
          </a:prstGeom>
        </p:spPr>
        <p:txBody>
          <a:bodyPr lIns="0" tIns="45720" rIns="91440" bIns="45720" anchor="t">
            <a:normAutofit/>
          </a:bodyPr>
          <a:lstStyle>
            <a:lvl1pPr marL="266700" marR="0" indent="-266700" algn="l" defTabSz="1644650" rtl="0" eaLnBrk="0" fontAlgn="base" latinLnBrk="0" hangingPunct="0">
              <a:lnSpc>
                <a:spcPct val="130000"/>
              </a:lnSpc>
              <a:spcBef>
                <a:spcPct val="0"/>
              </a:spcBef>
              <a:spcAft>
                <a:spcPts val="1200"/>
              </a:spcAft>
              <a:buClr>
                <a:srgbClr val="004C99"/>
              </a:buClr>
              <a:buSzPct val="120000"/>
              <a:buFontTx/>
              <a:buBlip>
                <a:blip r:embed="rId7"/>
              </a:buBlip>
              <a:defRPr sz="1800" kern="1200">
                <a:solidFill>
                  <a:schemeClr val="tx1"/>
                </a:solidFill>
                <a:latin typeface="+mn-lt"/>
                <a:ea typeface="+mn-ea"/>
                <a:cs typeface="+mn-cs"/>
              </a:defRPr>
            </a:lvl1pPr>
            <a:lvl2pPr marL="630238" marR="0" indent="-268288" algn="l" defTabSz="1644650" rtl="0" eaLnBrk="0" fontAlgn="base" latinLnBrk="0" hangingPunct="0">
              <a:lnSpc>
                <a:spcPct val="130000"/>
              </a:lnSpc>
              <a:spcBef>
                <a:spcPct val="0"/>
              </a:spcBef>
              <a:spcAft>
                <a:spcPts val="1200"/>
              </a:spcAft>
              <a:buClr>
                <a:srgbClr val="004C99"/>
              </a:buClr>
              <a:buSzPct val="120000"/>
              <a:buFontTx/>
              <a:buBlip>
                <a:blip r:embed="rId7"/>
              </a:buBlip>
              <a:defRPr sz="1800" kern="1200">
                <a:solidFill>
                  <a:schemeClr val="tx1"/>
                </a:solidFill>
                <a:latin typeface="+mn-lt"/>
                <a:ea typeface="+mn-ea"/>
                <a:cs typeface="+mn-cs"/>
              </a:defRPr>
            </a:lvl2pPr>
            <a:lvl3pPr marL="990600" marR="0" indent="-274638" algn="l" defTabSz="1644650" rtl="0" eaLnBrk="0" fontAlgn="base" latinLnBrk="0" hangingPunct="0">
              <a:lnSpc>
                <a:spcPct val="130000"/>
              </a:lnSpc>
              <a:spcBef>
                <a:spcPct val="0"/>
              </a:spcBef>
              <a:spcAft>
                <a:spcPts val="1200"/>
              </a:spcAft>
              <a:buClr>
                <a:srgbClr val="004C99"/>
              </a:buClr>
              <a:buSzPct val="120000"/>
              <a:buFontTx/>
              <a:buBlip>
                <a:blip r:embed="rId7"/>
              </a:buBlip>
              <a:defRPr sz="1800" kern="1200">
                <a:solidFill>
                  <a:schemeClr val="tx1"/>
                </a:solidFill>
                <a:latin typeface="+mn-lt"/>
                <a:ea typeface="+mn-ea"/>
                <a:cs typeface="+mn-cs"/>
              </a:defRPr>
            </a:lvl3pPr>
            <a:lvl4pPr marL="1343025" marR="0" indent="-263525" algn="l" defTabSz="1644650" rtl="0" eaLnBrk="0" fontAlgn="base" latinLnBrk="0" hangingPunct="0">
              <a:lnSpc>
                <a:spcPct val="130000"/>
              </a:lnSpc>
              <a:spcBef>
                <a:spcPct val="0"/>
              </a:spcBef>
              <a:spcAft>
                <a:spcPts val="1200"/>
              </a:spcAft>
              <a:buClr>
                <a:srgbClr val="004C99"/>
              </a:buClr>
              <a:buSzPct val="120000"/>
              <a:buFontTx/>
              <a:buBlip>
                <a:blip r:embed="rId7"/>
              </a:buBlip>
              <a:defRPr sz="1800" kern="1200">
                <a:solidFill>
                  <a:schemeClr val="tx1"/>
                </a:solidFill>
                <a:latin typeface="+mn-lt"/>
                <a:ea typeface="+mn-ea"/>
                <a:cs typeface="+mn-cs"/>
              </a:defRPr>
            </a:lvl4pPr>
            <a:lvl5pPr marL="1704975" marR="0" indent="-271463" algn="l" defTabSz="1644650" rtl="0" eaLnBrk="0" fontAlgn="base" latinLnBrk="0" hangingPunct="0">
              <a:lnSpc>
                <a:spcPct val="130000"/>
              </a:lnSpc>
              <a:spcBef>
                <a:spcPct val="0"/>
              </a:spcBef>
              <a:spcAft>
                <a:spcPts val="1200"/>
              </a:spcAft>
              <a:buClr>
                <a:srgbClr val="004C99"/>
              </a:buClr>
              <a:buSzPct val="120000"/>
              <a:buFontTx/>
              <a:buBlip>
                <a:blip r:embed="rId7"/>
              </a:buBlip>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rtl="1">
              <a:lnSpc>
                <a:spcPct val="100000"/>
              </a:lnSpc>
              <a:spcAft>
                <a:spcPts val="600"/>
              </a:spcAft>
              <a:buNone/>
            </a:pPr>
            <a:r>
              <a:rPr lang="he-IL" sz="1600" b="1" dirty="0" err="1">
                <a:solidFill>
                  <a:schemeClr val="accent1"/>
                </a:solidFill>
                <a:effectLst>
                  <a:outerShdw blurRad="38100" dist="38100" dir="2700000" algn="tl">
                    <a:srgbClr val="000000">
                      <a:alpha val="43137"/>
                    </a:srgbClr>
                  </a:outerShdw>
                </a:effectLst>
                <a:latin typeface="Calibri"/>
                <a:ea typeface="Calibri" panose="020F0502020204030204" pitchFamily="34" charset="0"/>
                <a:cs typeface="Calibri"/>
              </a:rPr>
              <a:t>עמיטל</a:t>
            </a:r>
            <a:r>
              <a:rPr lang="he-IL" sz="1600" b="1" dirty="0">
                <a:solidFill>
                  <a:schemeClr val="accent1"/>
                </a:solidFill>
                <a:effectLst>
                  <a:outerShdw blurRad="38100" dist="38100" dir="2700000" algn="tl">
                    <a:srgbClr val="000000">
                      <a:alpha val="43137"/>
                    </a:srgbClr>
                  </a:outerShdw>
                </a:effectLst>
                <a:latin typeface="Calibri"/>
                <a:ea typeface="Calibri" panose="020F0502020204030204" pitchFamily="34" charset="0"/>
                <a:cs typeface="Calibri"/>
              </a:rPr>
              <a:t> דאטה</a:t>
            </a:r>
            <a:endParaRPr lang="en-US" sz="1900" dirty="0">
              <a:solidFill>
                <a:srgbClr val="343A3F"/>
              </a:solidFill>
              <a:latin typeface="Roboto Light"/>
              <a:ea typeface="Roboto Light"/>
              <a:cs typeface="Arial"/>
            </a:endParaRPr>
          </a:p>
          <a:p>
            <a:pPr marL="0" indent="0" algn="r" rtl="1">
              <a:lnSpc>
                <a:spcPct val="100000"/>
              </a:lnSpc>
              <a:spcAft>
                <a:spcPts val="0"/>
              </a:spcAft>
              <a:buNone/>
            </a:pPr>
            <a:r>
              <a:rPr lang="he-IL" sz="1400" dirty="0" err="1">
                <a:solidFill>
                  <a:srgbClr val="3C5B7B">
                    <a:alpha val="70000"/>
                  </a:srgbClr>
                </a:solidFill>
                <a:latin typeface="Calibri"/>
                <a:ea typeface="Calibri" panose="020F0502020204030204" pitchFamily="34" charset="0"/>
                <a:cs typeface="Calibri"/>
              </a:rPr>
              <a:t>פלטרנספורט</a:t>
            </a:r>
            <a:r>
              <a:rPr lang="he-IL" sz="1400" dirty="0">
                <a:solidFill>
                  <a:srgbClr val="3C5B7B">
                    <a:alpha val="70000"/>
                  </a:srgbClr>
                </a:solidFill>
                <a:latin typeface="Calibri"/>
                <a:ea typeface="Calibri" panose="020F0502020204030204" pitchFamily="34" charset="0"/>
                <a:cs typeface="Calibri"/>
              </a:rPr>
              <a:t> שותפה בבעלות בית התוכנה "</a:t>
            </a:r>
            <a:r>
              <a:rPr lang="he-IL" sz="1400" dirty="0" err="1">
                <a:solidFill>
                  <a:srgbClr val="3C5B7B">
                    <a:alpha val="70000"/>
                  </a:srgbClr>
                </a:solidFill>
                <a:latin typeface="Calibri"/>
                <a:ea typeface="Calibri" panose="020F0502020204030204" pitchFamily="34" charset="0"/>
                <a:cs typeface="Calibri"/>
              </a:rPr>
              <a:t>עמיטל</a:t>
            </a:r>
            <a:r>
              <a:rPr lang="he-IL" sz="1400" dirty="0">
                <a:solidFill>
                  <a:srgbClr val="3C5B7B">
                    <a:alpha val="70000"/>
                  </a:srgbClr>
                </a:solidFill>
                <a:latin typeface="Calibri"/>
                <a:ea typeface="Calibri" panose="020F0502020204030204" pitchFamily="34" charset="0"/>
                <a:cs typeface="Calibri"/>
              </a:rPr>
              <a:t> דאטה" – בית תוכנה המתמחה בפיתוח ושיווק פתרונות מחשוב לארגונים העוסקים בסחר בינלאומי אשר פיתחו את תוכנת </a:t>
            </a:r>
            <a:r>
              <a:rPr lang="en-US" sz="1400" dirty="0" err="1">
                <a:solidFill>
                  <a:srgbClr val="3C5B7B">
                    <a:alpha val="70000"/>
                  </a:srgbClr>
                </a:solidFill>
                <a:latin typeface="Calibri"/>
                <a:ea typeface="Calibri" panose="020F0502020204030204" pitchFamily="34" charset="0"/>
                <a:cs typeface="Calibri"/>
              </a:rPr>
              <a:t>UniFreight</a:t>
            </a:r>
            <a:r>
              <a:rPr lang="he-IL" sz="1400" dirty="0">
                <a:solidFill>
                  <a:srgbClr val="3C5B7B">
                    <a:alpha val="70000"/>
                  </a:srgbClr>
                </a:solidFill>
                <a:latin typeface="Calibri"/>
                <a:ea typeface="Calibri" panose="020F0502020204030204" pitchFamily="34" charset="0"/>
                <a:cs typeface="Calibri"/>
              </a:rPr>
              <a:t>, הלוא היא התוכנה המובילה בישראל להתקשרות בין סוכני המכס והמשלחים הבינלאומיים אל מול המכס הישראלי.</a:t>
            </a:r>
          </a:p>
        </p:txBody>
      </p:sp>
      <p:sp>
        <p:nvSpPr>
          <p:cNvPr id="9" name="Titel 1">
            <a:extLst>
              <a:ext uri="{FF2B5EF4-FFF2-40B4-BE49-F238E27FC236}">
                <a16:creationId xmlns:a16="http://schemas.microsoft.com/office/drawing/2014/main" id="{3FF30A44-0B4E-69AD-3788-E520E699838D}"/>
              </a:ext>
            </a:extLst>
          </p:cNvPr>
          <p:cNvSpPr txBox="1"/>
          <p:nvPr/>
        </p:nvSpPr>
        <p:spPr>
          <a:xfrm>
            <a:off x="730327" y="5156633"/>
            <a:ext cx="3704645" cy="956036"/>
          </a:xfrm>
          <a:prstGeom prst="rect">
            <a:avLst/>
          </a:prstGeom>
        </p:spPr>
        <p:txBody>
          <a:bodyPr lIns="0" anchor="b"/>
          <a:lstStyle>
            <a:lvl1pPr algn="l" defTabSz="914400" rtl="0" eaLnBrk="1" latinLnBrk="0" hangingPunct="1">
              <a:lnSpc>
                <a:spcPct val="100000"/>
              </a:lnSpc>
              <a:spcBef>
                <a:spcPct val="0"/>
              </a:spcBef>
              <a:buNone/>
              <a:defRPr sz="2800" kern="1200">
                <a:solidFill>
                  <a:schemeClr val="tx2"/>
                </a:solidFill>
                <a:latin typeface="+mj-lt"/>
                <a:ea typeface="+mj-ea"/>
                <a:cs typeface="+mj-cs"/>
              </a:defRPr>
            </a:lvl1pPr>
          </a:lstStyle>
          <a:p>
            <a:r>
              <a:rPr lang="en-US" sz="2400" dirty="0">
                <a:latin typeface="AccordAlternate" panose="02000000000000000000" pitchFamily="50" charset="0"/>
              </a:rPr>
              <a:t>“We want to be the innovation engine of the logistics ecosystem”</a:t>
            </a:r>
          </a:p>
        </p:txBody>
      </p:sp>
      <p:grpSp>
        <p:nvGrpSpPr>
          <p:cNvPr id="33" name="קבוצה 32">
            <a:extLst>
              <a:ext uri="{FF2B5EF4-FFF2-40B4-BE49-F238E27FC236}">
                <a16:creationId xmlns:a16="http://schemas.microsoft.com/office/drawing/2014/main" id="{FC1C5AEC-5EE4-4C85-AD39-3CAD5BCEDBE6}"/>
              </a:ext>
            </a:extLst>
          </p:cNvPr>
          <p:cNvGrpSpPr/>
          <p:nvPr/>
        </p:nvGrpSpPr>
        <p:grpSpPr>
          <a:xfrm>
            <a:off x="4972159" y="0"/>
            <a:ext cx="2234982" cy="6658102"/>
            <a:chOff x="7410873" y="-6804676"/>
            <a:chExt cx="2234982" cy="6658102"/>
          </a:xfrm>
        </p:grpSpPr>
        <p:pic>
          <p:nvPicPr>
            <p:cNvPr id="37" name="Picture Placeholder 6">
              <a:extLst>
                <a:ext uri="{FF2B5EF4-FFF2-40B4-BE49-F238E27FC236}">
                  <a16:creationId xmlns:a16="http://schemas.microsoft.com/office/drawing/2014/main" id="{E2327A8B-4848-4D3D-981E-09CC1A07FB1C}"/>
                </a:ext>
              </a:extLst>
            </p:cNvPr>
            <p:cNvPicPr>
              <a:picLocks/>
            </p:cNvPicPr>
            <p:nvPr/>
          </p:nvPicPr>
          <p:blipFill>
            <a:blip r:embed="rId5">
              <a:extLst>
                <a:ext uri="{28A0092B-C50C-407E-A947-70E740481C1C}">
                  <a14:useLocalDpi xmlns:a14="http://schemas.microsoft.com/office/drawing/2010/main" val="0"/>
                </a:ext>
              </a:extLst>
            </a:blip>
            <a:stretch>
              <a:fillRect/>
            </a:stretch>
          </p:blipFill>
          <p:spPr bwMode="auto">
            <a:xfrm>
              <a:off x="7423355" y="-3378724"/>
              <a:ext cx="2222500" cy="3232150"/>
            </a:xfrm>
            <a:custGeom>
              <a:avLst/>
              <a:gdLst>
                <a:gd name="T0" fmla="*/ 167221 w 2222500"/>
                <a:gd name="T1" fmla="*/ 0 h 3232150"/>
                <a:gd name="T2" fmla="*/ 2055279 w 2222500"/>
                <a:gd name="T3" fmla="*/ 0 h 3232150"/>
                <a:gd name="T4" fmla="*/ 2222500 w 2222500"/>
                <a:gd name="T5" fmla="*/ 167221 h 3232150"/>
                <a:gd name="T6" fmla="*/ 2222500 w 2222500"/>
                <a:gd name="T7" fmla="*/ 3064929 h 3232150"/>
                <a:gd name="T8" fmla="*/ 2055279 w 2222500"/>
                <a:gd name="T9" fmla="*/ 3232150 h 3232150"/>
                <a:gd name="T10" fmla="*/ 167221 w 2222500"/>
                <a:gd name="T11" fmla="*/ 3232150 h 3232150"/>
                <a:gd name="T12" fmla="*/ 0 w 2222500"/>
                <a:gd name="T13" fmla="*/ 3064929 h 3232150"/>
                <a:gd name="T14" fmla="*/ 0 w 2222500"/>
                <a:gd name="T15" fmla="*/ 167221 h 3232150"/>
                <a:gd name="T16" fmla="*/ 167221 w 2222500"/>
                <a:gd name="T17" fmla="*/ 0 h 323215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222500" h="3232150">
                  <a:moveTo>
                    <a:pt x="167221" y="0"/>
                  </a:moveTo>
                  <a:lnTo>
                    <a:pt x="2055279" y="0"/>
                  </a:lnTo>
                  <a:cubicBezTo>
                    <a:pt x="2147633" y="0"/>
                    <a:pt x="2222500" y="74867"/>
                    <a:pt x="2222500" y="167221"/>
                  </a:cubicBezTo>
                  <a:lnTo>
                    <a:pt x="2222500" y="3064929"/>
                  </a:lnTo>
                  <a:cubicBezTo>
                    <a:pt x="2222500" y="3157283"/>
                    <a:pt x="2147633" y="3232150"/>
                    <a:pt x="2055279" y="3232150"/>
                  </a:cubicBezTo>
                  <a:lnTo>
                    <a:pt x="167221" y="3232150"/>
                  </a:lnTo>
                  <a:cubicBezTo>
                    <a:pt x="74867" y="3232150"/>
                    <a:pt x="0" y="3157283"/>
                    <a:pt x="0" y="3064929"/>
                  </a:cubicBezTo>
                  <a:lnTo>
                    <a:pt x="0" y="167221"/>
                  </a:lnTo>
                  <a:cubicBezTo>
                    <a:pt x="0" y="74867"/>
                    <a:pt x="74867" y="0"/>
                    <a:pt x="167221" y="0"/>
                  </a:cubicBezTo>
                  <a:close/>
                </a:path>
              </a:pathLst>
            </a:custGeom>
            <a:blipFill dpi="0" rotWithShape="0">
              <a:blip r:embed="rId3"/>
              <a:tile tx="0" ty="0" sx="100000" sy="100000" flip="none" algn="tl"/>
            </a:blipFill>
            <a:ln>
              <a:noFill/>
            </a:ln>
            <a:extLst>
              <a:ext uri="{91240B29-F687-4F45-9708-019B960494DF}">
                <a14:hiddenLine xmlns:a14="http://schemas.microsoft.com/office/drawing/2010/main" w="9525">
                  <a:solidFill>
                    <a:srgbClr val="000000"/>
                  </a:solidFill>
                  <a:round/>
                  <a:headEnd/>
                  <a:tailEnd/>
                </a14:hiddenLine>
              </a:ext>
            </a:extLst>
          </p:spPr>
        </p:pic>
        <p:pic>
          <p:nvPicPr>
            <p:cNvPr id="38" name="Picture Placeholder 6">
              <a:extLst>
                <a:ext uri="{FF2B5EF4-FFF2-40B4-BE49-F238E27FC236}">
                  <a16:creationId xmlns:a16="http://schemas.microsoft.com/office/drawing/2014/main" id="{42467108-BD7C-4305-BE03-0BAA7E910602}"/>
                </a:ext>
              </a:extLst>
            </p:cNvPr>
            <p:cNvPicPr>
              <a:picLocks/>
            </p:cNvPicPr>
            <p:nvPr/>
          </p:nvPicPr>
          <p:blipFill>
            <a:blip r:embed="rId6" cstate="print">
              <a:extLst>
                <a:ext uri="{28A0092B-C50C-407E-A947-70E740481C1C}">
                  <a14:useLocalDpi xmlns:a14="http://schemas.microsoft.com/office/drawing/2010/main" val="0"/>
                </a:ext>
              </a:extLst>
            </a:blip>
            <a:stretch>
              <a:fillRect/>
            </a:stretch>
          </p:blipFill>
          <p:spPr bwMode="auto">
            <a:xfrm>
              <a:off x="7410873" y="-6804676"/>
              <a:ext cx="2234982" cy="3232150"/>
            </a:xfrm>
            <a:custGeom>
              <a:avLst/>
              <a:gdLst>
                <a:gd name="T0" fmla="*/ 167221 w 2222500"/>
                <a:gd name="T1" fmla="*/ 0 h 3232150"/>
                <a:gd name="T2" fmla="*/ 2055279 w 2222500"/>
                <a:gd name="T3" fmla="*/ 0 h 3232150"/>
                <a:gd name="T4" fmla="*/ 2222500 w 2222500"/>
                <a:gd name="T5" fmla="*/ 167221 h 3232150"/>
                <a:gd name="T6" fmla="*/ 2222500 w 2222500"/>
                <a:gd name="T7" fmla="*/ 3064929 h 3232150"/>
                <a:gd name="T8" fmla="*/ 2055279 w 2222500"/>
                <a:gd name="T9" fmla="*/ 3232150 h 3232150"/>
                <a:gd name="T10" fmla="*/ 167221 w 2222500"/>
                <a:gd name="T11" fmla="*/ 3232150 h 3232150"/>
                <a:gd name="T12" fmla="*/ 0 w 2222500"/>
                <a:gd name="T13" fmla="*/ 3064929 h 3232150"/>
                <a:gd name="T14" fmla="*/ 0 w 2222500"/>
                <a:gd name="T15" fmla="*/ 167221 h 3232150"/>
                <a:gd name="T16" fmla="*/ 167221 w 2222500"/>
                <a:gd name="T17" fmla="*/ 0 h 323215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222500" h="3232150">
                  <a:moveTo>
                    <a:pt x="167221" y="0"/>
                  </a:moveTo>
                  <a:lnTo>
                    <a:pt x="2055279" y="0"/>
                  </a:lnTo>
                  <a:cubicBezTo>
                    <a:pt x="2147633" y="0"/>
                    <a:pt x="2222500" y="74867"/>
                    <a:pt x="2222500" y="167221"/>
                  </a:cubicBezTo>
                  <a:lnTo>
                    <a:pt x="2222500" y="3064929"/>
                  </a:lnTo>
                  <a:cubicBezTo>
                    <a:pt x="2222500" y="3157283"/>
                    <a:pt x="2147633" y="3232150"/>
                    <a:pt x="2055279" y="3232150"/>
                  </a:cubicBezTo>
                  <a:lnTo>
                    <a:pt x="167221" y="3232150"/>
                  </a:lnTo>
                  <a:cubicBezTo>
                    <a:pt x="74867" y="3232150"/>
                    <a:pt x="0" y="3157283"/>
                    <a:pt x="0" y="3064929"/>
                  </a:cubicBezTo>
                  <a:lnTo>
                    <a:pt x="0" y="167221"/>
                  </a:lnTo>
                  <a:cubicBezTo>
                    <a:pt x="0" y="74867"/>
                    <a:pt x="74867" y="0"/>
                    <a:pt x="167221" y="0"/>
                  </a:cubicBezTo>
                  <a:close/>
                </a:path>
              </a:pathLst>
            </a:custGeom>
            <a:blipFill dpi="0" rotWithShape="0">
              <a:blip r:embed="rId3"/>
              <a:tile tx="0" ty="0" sx="100000" sy="100000" flip="none" algn="tl"/>
            </a:blipFill>
            <a:ln>
              <a:noFill/>
            </a:ln>
            <a:extLst>
              <a:ext uri="{91240B29-F687-4F45-9708-019B960494DF}">
                <a14:hiddenLine xmlns:a14="http://schemas.microsoft.com/office/drawing/2010/main" w="9525">
                  <a:solidFill>
                    <a:srgbClr val="000000"/>
                  </a:solidFill>
                  <a:round/>
                  <a:headEnd/>
                  <a:tailEnd/>
                </a14:hiddenLine>
              </a:ext>
            </a:extLst>
          </p:spPr>
        </p:pic>
      </p:grpSp>
      <p:sp>
        <p:nvSpPr>
          <p:cNvPr id="24" name="Rectangle: Top Corners Rounded 23">
            <a:extLst>
              <a:ext uri="{FF2B5EF4-FFF2-40B4-BE49-F238E27FC236}">
                <a16:creationId xmlns:a16="http://schemas.microsoft.com/office/drawing/2014/main" id="{CC3AD7BE-3561-56D7-2B79-1FB5EBCEEAFD}"/>
              </a:ext>
            </a:extLst>
          </p:cNvPr>
          <p:cNvSpPr/>
          <p:nvPr/>
        </p:nvSpPr>
        <p:spPr>
          <a:xfrm>
            <a:off x="4984750" y="5367338"/>
            <a:ext cx="2228632" cy="1490662"/>
          </a:xfrm>
          <a:prstGeom prst="round2SameRect">
            <a:avLst>
              <a:gd name="adj1" fmla="val 5842"/>
              <a:gd name="adj2" fmla="val 0"/>
            </a:avLst>
          </a:prstGeom>
          <a:gradFill>
            <a:gsLst>
              <a:gs pos="0">
                <a:schemeClr val="tx2"/>
              </a:gs>
              <a:gs pos="100000">
                <a:schemeClr val="tx2">
                  <a:alpha val="0"/>
                </a:schemeClr>
              </a:gs>
            </a:gsLst>
            <a:lin ang="162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eaLnBrk="1" fontAlgn="auto" hangingPunct="1">
              <a:spcBef>
                <a:spcPct val="0"/>
              </a:spcBef>
              <a:spcAft>
                <a:spcPct val="0"/>
              </a:spcAft>
              <a:defRPr/>
            </a:pPr>
            <a:endParaRPr lang="en-ID"/>
          </a:p>
        </p:txBody>
      </p:sp>
      <p:sp>
        <p:nvSpPr>
          <p:cNvPr id="23" name="Rectangle: Top Corners Rounded 22">
            <a:extLst>
              <a:ext uri="{FF2B5EF4-FFF2-40B4-BE49-F238E27FC236}">
                <a16:creationId xmlns:a16="http://schemas.microsoft.com/office/drawing/2014/main" id="{75950A25-8E50-DC00-11AE-76FE246458F2}"/>
              </a:ext>
            </a:extLst>
          </p:cNvPr>
          <p:cNvSpPr/>
          <p:nvPr/>
        </p:nvSpPr>
        <p:spPr>
          <a:xfrm rot="10800000">
            <a:off x="4972268" y="-14602"/>
            <a:ext cx="2228632" cy="1229710"/>
          </a:xfrm>
          <a:prstGeom prst="round2SameRect">
            <a:avLst>
              <a:gd name="adj1" fmla="val 5842"/>
              <a:gd name="adj2" fmla="val 0"/>
            </a:avLst>
          </a:prstGeom>
          <a:gradFill flip="none" rotWithShape="1">
            <a:gsLst>
              <a:gs pos="0">
                <a:schemeClr val="tx2"/>
              </a:gs>
              <a:gs pos="100000">
                <a:schemeClr val="tx2">
                  <a:alpha val="0"/>
                </a:schemeClr>
              </a:gs>
            </a:gsLst>
            <a:lin ang="162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eaLnBrk="1" fontAlgn="auto" hangingPunct="1">
              <a:spcBef>
                <a:spcPct val="0"/>
              </a:spcBef>
              <a:spcAft>
                <a:spcPct val="0"/>
              </a:spcAft>
              <a:defRPr/>
            </a:pPr>
            <a:endParaRPr lang="en-ID"/>
          </a:p>
        </p:txBody>
      </p:sp>
    </p:spTree>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xit" presetSubtype="1" fill="hold" nodeType="withEffect">
                                  <p:stCondLst>
                                    <p:cond delay="0"/>
                                  </p:stCondLst>
                                  <p:childTnLst>
                                    <p:anim calcmode="lin" valueType="num">
                                      <p:cBhvr additive="base">
                                        <p:cTn id="6" dur="4850"/>
                                        <p:tgtEl>
                                          <p:spTgt spid="33"/>
                                        </p:tgtEl>
                                        <p:attrNameLst>
                                          <p:attrName>ppt_x</p:attrName>
                                        </p:attrNameLst>
                                      </p:cBhvr>
                                      <p:tavLst>
                                        <p:tav tm="0">
                                          <p:val>
                                            <p:strVal val="ppt_x"/>
                                          </p:val>
                                        </p:tav>
                                        <p:tav tm="100000">
                                          <p:val>
                                            <p:strVal val="ppt_x"/>
                                          </p:val>
                                        </p:tav>
                                      </p:tavLst>
                                    </p:anim>
                                    <p:anim calcmode="lin" valueType="num">
                                      <p:cBhvr additive="base">
                                        <p:cTn id="7" dur="4850"/>
                                        <p:tgtEl>
                                          <p:spTgt spid="33"/>
                                        </p:tgtEl>
                                        <p:attrNameLst>
                                          <p:attrName>ppt_y</p:attrName>
                                        </p:attrNameLst>
                                      </p:cBhvr>
                                      <p:tavLst>
                                        <p:tav tm="0">
                                          <p:val>
                                            <p:strVal val="ppt_y"/>
                                          </p:val>
                                        </p:tav>
                                        <p:tav tm="100000">
                                          <p:val>
                                            <p:strVal val="0-ppt_h/2"/>
                                          </p:val>
                                        </p:tav>
                                      </p:tavLst>
                                    </p:anim>
                                    <p:set>
                                      <p:cBhvr>
                                        <p:cTn id="8" dur="1" fill="hold">
                                          <p:stCondLst>
                                            <p:cond delay="4849"/>
                                          </p:stCondLst>
                                        </p:cTn>
                                        <p:tgtEl>
                                          <p:spTgt spid="33"/>
                                        </p:tgtEl>
                                        <p:attrNameLst>
                                          <p:attrName>style.visibility</p:attrName>
                                        </p:attrNameLst>
                                      </p:cBhvr>
                                      <p:to>
                                        <p:strVal val="hidden"/>
                                      </p:to>
                                    </p:set>
                                  </p:childTnLst>
                                </p:cTn>
                              </p:par>
                              <p:par>
                                <p:cTn id="9" presetID="2" presetClass="entr" presetSubtype="4" repeatCount="indefinite" fill="hold" nodeType="withEffect">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10000" fill="hold"/>
                                        <p:tgtEl>
                                          <p:spTgt spid="7"/>
                                        </p:tgtEl>
                                        <p:attrNameLst>
                                          <p:attrName>ppt_x</p:attrName>
                                        </p:attrNameLst>
                                      </p:cBhvr>
                                      <p:tavLst>
                                        <p:tav tm="0">
                                          <p:val>
                                            <p:strVal val="#ppt_x"/>
                                          </p:val>
                                        </p:tav>
                                        <p:tav tm="100000">
                                          <p:val>
                                            <p:strVal val="#ppt_x"/>
                                          </p:val>
                                        </p:tav>
                                      </p:tavLst>
                                    </p:anim>
                                    <p:anim calcmode="lin" valueType="num">
                                      <p:cBhvr additive="base">
                                        <p:cTn id="12" dur="10000" fill="hold"/>
                                        <p:tgtEl>
                                          <p:spTgt spid="7"/>
                                        </p:tgtEl>
                                        <p:attrNameLst>
                                          <p:attrName>ppt_y</p:attrName>
                                        </p:attrNameLst>
                                      </p:cBhvr>
                                      <p:tavLst>
                                        <p:tav tm="0">
                                          <p:val>
                                            <p:strVal val="1+#ppt_h/2"/>
                                          </p:val>
                                        </p:tav>
                                        <p:tav tm="100000">
                                          <p:val>
                                            <p:strVal val="#ppt_y"/>
                                          </p:val>
                                        </p:tav>
                                      </p:tavLst>
                                    </p:anim>
                                  </p:childTnLst>
                                </p:cTn>
                              </p:par>
                              <p:par>
                                <p:cTn id="13" presetID="2" presetClass="entr" presetSubtype="4" repeatCount="indefinite" fill="hold" nodeType="withEffect">
                                  <p:stCondLst>
                                    <p:cond delay="5000"/>
                                  </p:stCondLst>
                                  <p:childTnLst>
                                    <p:set>
                                      <p:cBhvr>
                                        <p:cTn id="14" dur="1" fill="hold">
                                          <p:stCondLst>
                                            <p:cond delay="0"/>
                                          </p:stCondLst>
                                        </p:cTn>
                                        <p:tgtEl>
                                          <p:spTgt spid="8"/>
                                        </p:tgtEl>
                                        <p:attrNameLst>
                                          <p:attrName>style.visibility</p:attrName>
                                        </p:attrNameLst>
                                      </p:cBhvr>
                                      <p:to>
                                        <p:strVal val="visible"/>
                                      </p:to>
                                    </p:set>
                                    <p:anim calcmode="lin" valueType="num">
                                      <p:cBhvr additive="base">
                                        <p:cTn id="15" dur="10000" fill="hold"/>
                                        <p:tgtEl>
                                          <p:spTgt spid="8"/>
                                        </p:tgtEl>
                                        <p:attrNameLst>
                                          <p:attrName>ppt_x</p:attrName>
                                        </p:attrNameLst>
                                      </p:cBhvr>
                                      <p:tavLst>
                                        <p:tav tm="0">
                                          <p:val>
                                            <p:strVal val="#ppt_x"/>
                                          </p:val>
                                        </p:tav>
                                        <p:tav tm="100000">
                                          <p:val>
                                            <p:strVal val="#ppt_x"/>
                                          </p:val>
                                        </p:tav>
                                      </p:tavLst>
                                    </p:anim>
                                    <p:anim calcmode="lin" valueType="num">
                                      <p:cBhvr additive="base">
                                        <p:cTn id="16" dur="10000" fill="hold"/>
                                        <p:tgtEl>
                                          <p:spTgt spid="8"/>
                                        </p:tgtEl>
                                        <p:attrNameLst>
                                          <p:attrName>ppt_y</p:attrName>
                                        </p:attrNameLst>
                                      </p:cBhvr>
                                      <p:tavLst>
                                        <p:tav tm="0">
                                          <p:val>
                                            <p:strVal val="1+#ppt_h/2"/>
                                          </p:val>
                                        </p:tav>
                                        <p:tav tm="100000">
                                          <p:val>
                                            <p:strVal val="#ppt_y"/>
                                          </p:val>
                                        </p:tav>
                                      </p:tavLst>
                                    </p:anim>
                                  </p:childTnLst>
                                </p:cTn>
                              </p:par>
                              <p:par>
                                <p:cTn id="17" presetID="2" presetClass="entr" presetSubtype="2" fill="hold" grpId="0" nodeType="withEffect">
                                  <p:stCondLst>
                                    <p:cond delay="0"/>
                                  </p:stCondLst>
                                  <p:childTnLst>
                                    <p:set>
                                      <p:cBhvr>
                                        <p:cTn id="18" dur="1" fill="hold">
                                          <p:stCondLst>
                                            <p:cond delay="0"/>
                                          </p:stCondLst>
                                        </p:cTn>
                                        <p:tgtEl>
                                          <p:spTgt spid="2"/>
                                        </p:tgtEl>
                                        <p:attrNameLst>
                                          <p:attrName>style.visibility</p:attrName>
                                        </p:attrNameLst>
                                      </p:cBhvr>
                                      <p:to>
                                        <p:strVal val="visible"/>
                                      </p:to>
                                    </p:set>
                                    <p:anim calcmode="lin" valueType="num">
                                      <p:cBhvr additive="base">
                                        <p:cTn id="19" dur="500" fill="hold"/>
                                        <p:tgtEl>
                                          <p:spTgt spid="2"/>
                                        </p:tgtEl>
                                        <p:attrNameLst>
                                          <p:attrName>ppt_x</p:attrName>
                                        </p:attrNameLst>
                                      </p:cBhvr>
                                      <p:tavLst>
                                        <p:tav tm="0">
                                          <p:val>
                                            <p:strVal val="1+#ppt_w/2"/>
                                          </p:val>
                                        </p:tav>
                                        <p:tav tm="100000">
                                          <p:val>
                                            <p:strVal val="#ppt_x"/>
                                          </p:val>
                                        </p:tav>
                                      </p:tavLst>
                                    </p:anim>
                                    <p:anim calcmode="lin" valueType="num">
                                      <p:cBhvr additive="base">
                                        <p:cTn id="20" dur="500" fill="hold"/>
                                        <p:tgtEl>
                                          <p:spTgt spid="2"/>
                                        </p:tgtEl>
                                        <p:attrNameLst>
                                          <p:attrName>ppt_y</p:attrName>
                                        </p:attrNameLst>
                                      </p:cBhvr>
                                      <p:tavLst>
                                        <p:tav tm="0">
                                          <p:val>
                                            <p:strVal val="#ppt_y"/>
                                          </p:val>
                                        </p:tav>
                                        <p:tav tm="100000">
                                          <p:val>
                                            <p:strVal val="#ppt_y"/>
                                          </p:val>
                                        </p:tav>
                                      </p:tavLst>
                                    </p:anim>
                                  </p:childTnLst>
                                </p:cTn>
                              </p:par>
                              <p:par>
                                <p:cTn id="21" presetID="2" presetClass="entr" presetSubtype="2" decel="100000" fill="hold" grpId="0" nodeType="withEffect">
                                  <p:stCondLst>
                                    <p:cond delay="0"/>
                                  </p:stCondLst>
                                  <p:childTnLst>
                                    <p:set>
                                      <p:cBhvr>
                                        <p:cTn id="22" dur="1" fill="hold">
                                          <p:stCondLst>
                                            <p:cond delay="0"/>
                                          </p:stCondLst>
                                        </p:cTn>
                                        <p:tgtEl>
                                          <p:spTgt spid="3"/>
                                        </p:tgtEl>
                                        <p:attrNameLst>
                                          <p:attrName>style.visibility</p:attrName>
                                        </p:attrNameLst>
                                      </p:cBhvr>
                                      <p:to>
                                        <p:strVal val="visible"/>
                                      </p:to>
                                    </p:set>
                                    <p:anim calcmode="lin" valueType="num">
                                      <p:cBhvr additive="base">
                                        <p:cTn id="23" dur="1000" fill="hold"/>
                                        <p:tgtEl>
                                          <p:spTgt spid="3"/>
                                        </p:tgtEl>
                                        <p:attrNameLst>
                                          <p:attrName>ppt_x</p:attrName>
                                        </p:attrNameLst>
                                      </p:cBhvr>
                                      <p:tavLst>
                                        <p:tav tm="0">
                                          <p:val>
                                            <p:strVal val="1+#ppt_w/2"/>
                                          </p:val>
                                        </p:tav>
                                        <p:tav tm="100000">
                                          <p:val>
                                            <p:strVal val="#ppt_x"/>
                                          </p:val>
                                        </p:tav>
                                      </p:tavLst>
                                    </p:anim>
                                    <p:anim calcmode="lin" valueType="num">
                                      <p:cBhvr additive="base">
                                        <p:cTn id="24" dur="1000" fill="hold"/>
                                        <p:tgtEl>
                                          <p:spTgt spid="3"/>
                                        </p:tgtEl>
                                        <p:attrNameLst>
                                          <p:attrName>ppt_y</p:attrName>
                                        </p:attrNameLst>
                                      </p:cBhvr>
                                      <p:tavLst>
                                        <p:tav tm="0">
                                          <p:val>
                                            <p:strVal val="#ppt_y"/>
                                          </p:val>
                                        </p:tav>
                                        <p:tav tm="100000">
                                          <p:val>
                                            <p:strVal val="#ppt_y"/>
                                          </p:val>
                                        </p:tav>
                                      </p:tavLst>
                                    </p:anim>
                                  </p:childTnLst>
                                </p:cTn>
                              </p:par>
                              <p:par>
                                <p:cTn id="25" presetID="2" presetClass="entr" presetSubtype="8" decel="100000" fill="hold" grpId="0" nodeType="withEffect">
                                  <p:stCondLst>
                                    <p:cond delay="500"/>
                                  </p:stCondLst>
                                  <p:childTnLst>
                                    <p:set>
                                      <p:cBhvr>
                                        <p:cTn id="26" dur="1" fill="hold">
                                          <p:stCondLst>
                                            <p:cond delay="0"/>
                                          </p:stCondLst>
                                        </p:cTn>
                                        <p:tgtEl>
                                          <p:spTgt spid="6"/>
                                        </p:tgtEl>
                                        <p:attrNameLst>
                                          <p:attrName>style.visibility</p:attrName>
                                        </p:attrNameLst>
                                      </p:cBhvr>
                                      <p:to>
                                        <p:strVal val="visible"/>
                                      </p:to>
                                    </p:set>
                                    <p:anim calcmode="lin" valueType="num">
                                      <p:cBhvr additive="base">
                                        <p:cTn id="27" dur="1000" fill="hold"/>
                                        <p:tgtEl>
                                          <p:spTgt spid="6"/>
                                        </p:tgtEl>
                                        <p:attrNameLst>
                                          <p:attrName>ppt_x</p:attrName>
                                        </p:attrNameLst>
                                      </p:cBhvr>
                                      <p:tavLst>
                                        <p:tav tm="0">
                                          <p:val>
                                            <p:strVal val="0-#ppt_w/2"/>
                                          </p:val>
                                        </p:tav>
                                        <p:tav tm="100000">
                                          <p:val>
                                            <p:strVal val="#ppt_x"/>
                                          </p:val>
                                        </p:tav>
                                      </p:tavLst>
                                    </p:anim>
                                    <p:anim calcmode="lin" valueType="num">
                                      <p:cBhvr additive="base">
                                        <p:cTn id="28" dur="1000" fill="hold"/>
                                        <p:tgtEl>
                                          <p:spTgt spid="6"/>
                                        </p:tgtEl>
                                        <p:attrNameLst>
                                          <p:attrName>ppt_y</p:attrName>
                                        </p:attrNameLst>
                                      </p:cBhvr>
                                      <p:tavLst>
                                        <p:tav tm="0">
                                          <p:val>
                                            <p:strVal val="#ppt_y"/>
                                          </p:val>
                                        </p:tav>
                                        <p:tav tm="100000">
                                          <p:val>
                                            <p:strVal val="#ppt_y"/>
                                          </p:val>
                                        </p:tav>
                                      </p:tavLst>
                                    </p:anim>
                                  </p:childTnLst>
                                </p:cTn>
                              </p:par>
                              <p:par>
                                <p:cTn id="29" presetID="21" presetClass="entr" presetSubtype="8" fill="hold" grpId="0" nodeType="withEffect">
                                  <p:stCondLst>
                                    <p:cond delay="1500"/>
                                  </p:stCondLst>
                                  <p:childTnLst>
                                    <p:set>
                                      <p:cBhvr>
                                        <p:cTn id="30" dur="1" fill="hold">
                                          <p:stCondLst>
                                            <p:cond delay="0"/>
                                          </p:stCondLst>
                                        </p:cTn>
                                        <p:tgtEl>
                                          <p:spTgt spid="9"/>
                                        </p:tgtEl>
                                        <p:attrNameLst>
                                          <p:attrName>style.visibility</p:attrName>
                                        </p:attrNameLst>
                                      </p:cBhvr>
                                      <p:to>
                                        <p:strVal val="visible"/>
                                      </p:to>
                                    </p:set>
                                    <p:animEffect transition="in" filter="wheel(8)">
                                      <p:cBhvr>
                                        <p:cTn id="31" dur="2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p:bldP spid="6" grpId="0"/>
      <p:bldP spid="9"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TextBox 40">
            <a:extLst>
              <a:ext uri="{FF2B5EF4-FFF2-40B4-BE49-F238E27FC236}">
                <a16:creationId xmlns:a16="http://schemas.microsoft.com/office/drawing/2014/main" id="{9D3CC50F-52DB-4991-87C3-BAA6BF4C61CA}"/>
              </a:ext>
            </a:extLst>
          </p:cNvPr>
          <p:cNvSpPr txBox="1"/>
          <p:nvPr/>
        </p:nvSpPr>
        <p:spPr>
          <a:xfrm>
            <a:off x="7914973" y="163426"/>
            <a:ext cx="4061354" cy="769441"/>
          </a:xfrm>
          <a:prstGeom prst="rect">
            <a:avLst/>
          </a:prstGeom>
          <a:noFill/>
        </p:spPr>
        <p:txBody>
          <a:bodyPr wrap="square" rtlCol="0" anchor="ctr">
            <a:spAutoFit/>
          </a:bodyPr>
          <a:lstStyle/>
          <a:p>
            <a:pPr marL="0" marR="0" lvl="0" indent="0" algn="r" defTabSz="914400" rtl="1" eaLnBrk="1" fontAlgn="auto" latinLnBrk="0" hangingPunct="1">
              <a:lnSpc>
                <a:spcPct val="100000"/>
              </a:lnSpc>
              <a:spcBef>
                <a:spcPct val="0"/>
              </a:spcBef>
              <a:spcAft>
                <a:spcPct val="0"/>
              </a:spcAft>
              <a:buClrTx/>
              <a:buSzTx/>
              <a:buFontTx/>
              <a:buNone/>
              <a:defRPr/>
            </a:pPr>
            <a:r>
              <a:rPr kumimoji="0" lang="he-IL" sz="4400" b="1" i="0" u="none" strike="noStrike" kern="1200" cap="none" spc="0" normalizeH="0" baseline="0" noProof="0">
                <a:ln>
                  <a:noFill/>
                </a:ln>
                <a:solidFill>
                  <a:srgbClr val="004C99"/>
                </a:solidFill>
                <a:effectLst>
                  <a:outerShdw blurRad="38100" dist="38100" dir="2700000" algn="tl">
                    <a:srgbClr val="000000">
                      <a:alpha val="43137"/>
                    </a:srgbClr>
                  </a:outerShdw>
                </a:effectLst>
                <a:uLnTx/>
                <a:uFillTx/>
                <a:latin typeface="Univia Pro"/>
                <a:ea typeface="+mn-ea"/>
                <a:cs typeface="+mn-cs"/>
              </a:rPr>
              <a:t>סטנדרט השירות</a:t>
            </a:r>
            <a:endParaRPr kumimoji="0" lang="en-US" sz="4400" b="1" i="0" u="none" strike="noStrike" kern="1200" cap="none" spc="0" normalizeH="0" baseline="0" noProof="0">
              <a:ln>
                <a:noFill/>
              </a:ln>
              <a:solidFill>
                <a:srgbClr val="004C99"/>
              </a:solidFill>
              <a:effectLst>
                <a:outerShdw blurRad="38100" dist="38100" dir="2700000" algn="tl">
                  <a:srgbClr val="000000">
                    <a:alpha val="43137"/>
                  </a:srgbClr>
                </a:outerShdw>
              </a:effectLst>
              <a:uLnTx/>
              <a:uFillTx/>
              <a:latin typeface="Univia Pro"/>
              <a:ea typeface="+mn-ea"/>
              <a:cs typeface="+mn-cs"/>
            </a:endParaRPr>
          </a:p>
        </p:txBody>
      </p:sp>
      <p:sp>
        <p:nvSpPr>
          <p:cNvPr id="3" name="TextBox 40">
            <a:extLst>
              <a:ext uri="{FF2B5EF4-FFF2-40B4-BE49-F238E27FC236}">
                <a16:creationId xmlns:a16="http://schemas.microsoft.com/office/drawing/2014/main" id="{8E11C7B1-2AC6-B0E1-C95C-24896891E387}"/>
              </a:ext>
            </a:extLst>
          </p:cNvPr>
          <p:cNvSpPr txBox="1"/>
          <p:nvPr/>
        </p:nvSpPr>
        <p:spPr>
          <a:xfrm>
            <a:off x="10043429" y="1109153"/>
            <a:ext cx="1479963" cy="707758"/>
          </a:xfrm>
          <a:prstGeom prst="rect">
            <a:avLst/>
          </a:prstGeom>
          <a:noFill/>
        </p:spPr>
        <p:txBody>
          <a:bodyPr wrap="square" rtlCol="0" anchor="ctr">
            <a:spAutoFit/>
          </a:bodyPr>
          <a:lstStyle/>
          <a:p>
            <a:pPr marL="0" marR="0" lvl="0" indent="0" algn="r" defTabSz="914400" rtl="1" eaLnBrk="1" fontAlgn="auto" latinLnBrk="0" hangingPunct="1">
              <a:lnSpc>
                <a:spcPct val="100000"/>
              </a:lnSpc>
              <a:spcBef>
                <a:spcPct val="0"/>
              </a:spcBef>
              <a:spcAft>
                <a:spcPct val="0"/>
              </a:spcAft>
              <a:buClrTx/>
              <a:buSzTx/>
              <a:buFontTx/>
              <a:buNone/>
              <a:defRPr/>
            </a:pPr>
            <a:r>
              <a:rPr lang="he-IL" sz="3999" b="1">
                <a:solidFill>
                  <a:srgbClr val="004C99"/>
                </a:solidFill>
                <a:latin typeface="Calibri" panose="020F0502020204030204" pitchFamily="34" charset="0"/>
                <a:ea typeface="Calibri" panose="020F0502020204030204" pitchFamily="34" charset="0"/>
                <a:cs typeface="Calibri" panose="020F0502020204030204" pitchFamily="34" charset="0"/>
              </a:rPr>
              <a:t>זמינות</a:t>
            </a:r>
            <a:endParaRPr kumimoji="0" lang="en-US" sz="3999" b="1" i="0" u="none" strike="noStrike" kern="1200" cap="none" spc="0" normalizeH="0" baseline="0" noProof="0">
              <a:ln>
                <a:noFill/>
              </a:ln>
              <a:solidFill>
                <a:srgbClr val="004C99"/>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8" name="TextBox 38">
            <a:extLst>
              <a:ext uri="{FF2B5EF4-FFF2-40B4-BE49-F238E27FC236}">
                <a16:creationId xmlns:a16="http://schemas.microsoft.com/office/drawing/2014/main" id="{ABF92790-707F-65C2-F88B-D87CC2EE56EE}"/>
              </a:ext>
            </a:extLst>
          </p:cNvPr>
          <p:cNvSpPr txBox="1"/>
          <p:nvPr/>
        </p:nvSpPr>
        <p:spPr>
          <a:xfrm>
            <a:off x="6457654" y="1635449"/>
            <a:ext cx="5065737" cy="2185214"/>
          </a:xfrm>
          <a:prstGeom prst="rect">
            <a:avLst/>
          </a:prstGeom>
          <a:noFill/>
        </p:spPr>
        <p:txBody>
          <a:bodyPr wrap="square" rtlCol="0" anchor="ctr">
            <a:spAutoFit/>
          </a:bodyPr>
          <a:lstStyle/>
          <a:p>
            <a:pPr marL="285750" marR="0" lvl="0" indent="-285750" algn="r" defTabSz="914400" rtl="1" eaLnBrk="1" fontAlgn="auto" latinLnBrk="0" hangingPunct="1">
              <a:lnSpc>
                <a:spcPct val="100000"/>
              </a:lnSpc>
              <a:spcBef>
                <a:spcPct val="0"/>
              </a:spcBef>
              <a:spcAft>
                <a:spcPts val="600"/>
              </a:spcAft>
              <a:buClrTx/>
              <a:buSzTx/>
              <a:buFont typeface="Arial" panose="020B0604020202020204" pitchFamily="34" charset="0"/>
              <a:buChar char="•"/>
              <a:defRPr/>
            </a:pPr>
            <a:r>
              <a:rPr kumimoji="0" lang="he-IL" sz="1400" b="1" i="0" u="none" strike="noStrike" kern="1200" cap="none" spc="0" normalizeH="0" baseline="0" noProof="0" dirty="0">
                <a:ln>
                  <a:noFill/>
                </a:ln>
                <a:solidFill>
                  <a:srgbClr val="3C5B7B">
                    <a:alpha val="70000"/>
                  </a:srgbClr>
                </a:solidFill>
                <a:effectLst/>
                <a:uLnTx/>
                <a:uFillTx/>
                <a:latin typeface="Calibri" panose="020F0502020204030204" pitchFamily="34" charset="0"/>
                <a:ea typeface="Calibri" panose="020F0502020204030204" pitchFamily="34" charset="0"/>
                <a:cs typeface="Calibri" panose="020F0502020204030204" pitchFamily="34" charset="0"/>
              </a:rPr>
              <a:t>פעילות החברה בשגרה </a:t>
            </a:r>
            <a:r>
              <a:rPr lang="he-IL" sz="1400" b="1" dirty="0">
                <a:solidFill>
                  <a:srgbClr val="3C5B7B">
                    <a:alpha val="70000"/>
                  </a:srgbClr>
                </a:solidFill>
                <a:latin typeface="Calibri" panose="020F0502020204030204" pitchFamily="34" charset="0"/>
                <a:ea typeface="Calibri" panose="020F0502020204030204" pitchFamily="34" charset="0"/>
                <a:cs typeface="Calibri" panose="020F0502020204030204" pitchFamily="34" charset="0"/>
              </a:rPr>
              <a:t>הינה בימים א'-ה' בין השעות 8:00 – 16:30.</a:t>
            </a:r>
            <a:endParaRPr lang="en-US" sz="1400" b="1" dirty="0">
              <a:solidFill>
                <a:srgbClr val="3C5B7B">
                  <a:alpha val="70000"/>
                </a:srgbClr>
              </a:solidFill>
              <a:latin typeface="Calibri" panose="020F0502020204030204" pitchFamily="34" charset="0"/>
              <a:ea typeface="Calibri" panose="020F0502020204030204" pitchFamily="34" charset="0"/>
              <a:cs typeface="Calibri" panose="020F0502020204030204" pitchFamily="34" charset="0"/>
            </a:endParaRPr>
          </a:p>
          <a:p>
            <a:pPr marL="285750" marR="0" lvl="0" indent="-285750" algn="r" defTabSz="914400" rtl="1" eaLnBrk="1" fontAlgn="auto" latinLnBrk="0" hangingPunct="1">
              <a:lnSpc>
                <a:spcPct val="100000"/>
              </a:lnSpc>
              <a:spcBef>
                <a:spcPct val="0"/>
              </a:spcBef>
              <a:spcAft>
                <a:spcPts val="600"/>
              </a:spcAft>
              <a:buClrTx/>
              <a:buSzTx/>
              <a:buFont typeface="Arial" panose="020B0604020202020204" pitchFamily="34" charset="0"/>
              <a:buChar char="•"/>
              <a:defRPr/>
            </a:pPr>
            <a:r>
              <a:rPr lang="he-IL" sz="1400" b="1" dirty="0">
                <a:solidFill>
                  <a:srgbClr val="3C5B7B">
                    <a:alpha val="70000"/>
                  </a:srgbClr>
                </a:solidFill>
                <a:latin typeface="Calibri" panose="020F0502020204030204" pitchFamily="34" charset="0"/>
                <a:ea typeface="Calibri" panose="020F0502020204030204" pitchFamily="34" charset="0"/>
                <a:cs typeface="Calibri" panose="020F0502020204030204" pitchFamily="34" charset="0"/>
              </a:rPr>
              <a:t>בשעות הפעילות של החברה, כל אנשי הצוות של </a:t>
            </a:r>
            <a:r>
              <a:rPr lang="he-IL" sz="1400" b="1" dirty="0" err="1">
                <a:solidFill>
                  <a:srgbClr val="3C5B7B">
                    <a:alpha val="70000"/>
                  </a:srgbClr>
                </a:solidFill>
                <a:latin typeface="Calibri" panose="020F0502020204030204" pitchFamily="34" charset="0"/>
                <a:ea typeface="Calibri" panose="020F0502020204030204" pitchFamily="34" charset="0"/>
                <a:cs typeface="Calibri" panose="020F0502020204030204" pitchFamily="34" charset="0"/>
              </a:rPr>
              <a:t>פלטרנספורט</a:t>
            </a:r>
            <a:r>
              <a:rPr lang="he-IL" sz="1400" b="1" dirty="0">
                <a:solidFill>
                  <a:srgbClr val="3C5B7B">
                    <a:alpha val="70000"/>
                  </a:srgbClr>
                </a:solidFill>
                <a:latin typeface="Calibri" panose="020F0502020204030204" pitchFamily="34" charset="0"/>
                <a:ea typeface="Calibri" panose="020F0502020204030204" pitchFamily="34" charset="0"/>
                <a:cs typeface="Calibri" panose="020F0502020204030204" pitchFamily="34" charset="0"/>
              </a:rPr>
              <a:t> זמינים </a:t>
            </a:r>
            <a:r>
              <a:rPr lang="he-IL" sz="1400" b="1" u="sng" dirty="0">
                <a:solidFill>
                  <a:srgbClr val="3C5B7B">
                    <a:alpha val="70000"/>
                  </a:srgbClr>
                </a:solidFill>
                <a:latin typeface="Calibri" panose="020F0502020204030204" pitchFamily="34" charset="0"/>
                <a:ea typeface="Calibri" panose="020F0502020204030204" pitchFamily="34" charset="0"/>
                <a:cs typeface="Calibri" panose="020F0502020204030204" pitchFamily="34" charset="0"/>
              </a:rPr>
              <a:t>מידית</a:t>
            </a:r>
            <a:r>
              <a:rPr lang="he-IL" sz="1400" b="1" dirty="0">
                <a:solidFill>
                  <a:srgbClr val="3C5B7B">
                    <a:alpha val="70000"/>
                  </a:srgbClr>
                </a:solidFill>
                <a:latin typeface="Calibri" panose="020F0502020204030204" pitchFamily="34" charset="0"/>
                <a:ea typeface="Calibri" panose="020F0502020204030204" pitchFamily="34" charset="0"/>
                <a:cs typeface="Calibri" panose="020F0502020204030204" pitchFamily="34" charset="0"/>
              </a:rPr>
              <a:t> בטלפונים המשרדיים, הניידים, הודעות </a:t>
            </a:r>
            <a:r>
              <a:rPr lang="en-US" sz="1400" b="1" dirty="0">
                <a:solidFill>
                  <a:srgbClr val="3C5B7B">
                    <a:alpha val="70000"/>
                  </a:srgbClr>
                </a:solidFill>
                <a:latin typeface="Calibri" panose="020F0502020204030204" pitchFamily="34" charset="0"/>
                <a:ea typeface="Calibri" panose="020F0502020204030204" pitchFamily="34" charset="0"/>
                <a:cs typeface="Calibri" panose="020F0502020204030204" pitchFamily="34" charset="0"/>
              </a:rPr>
              <a:t>WhatsApp</a:t>
            </a:r>
            <a:r>
              <a:rPr lang="he-IL" sz="1400" b="1" dirty="0">
                <a:solidFill>
                  <a:srgbClr val="3C5B7B">
                    <a:alpha val="70000"/>
                  </a:srgbClr>
                </a:solidFill>
                <a:latin typeface="Calibri" panose="020F0502020204030204" pitchFamily="34" charset="0"/>
                <a:ea typeface="Calibri" panose="020F0502020204030204" pitchFamily="34" charset="0"/>
                <a:cs typeface="Calibri" panose="020F0502020204030204" pitchFamily="34" charset="0"/>
              </a:rPr>
              <a:t> ובדואר האלקטרוני.</a:t>
            </a:r>
          </a:p>
          <a:p>
            <a:pPr marL="285750" marR="0" lvl="0" indent="-285750" algn="r" defTabSz="914400" rtl="1" eaLnBrk="1" fontAlgn="auto" latinLnBrk="0" hangingPunct="1">
              <a:lnSpc>
                <a:spcPct val="100000"/>
              </a:lnSpc>
              <a:spcBef>
                <a:spcPct val="0"/>
              </a:spcBef>
              <a:spcAft>
                <a:spcPct val="0"/>
              </a:spcAft>
              <a:buClrTx/>
              <a:buSzTx/>
              <a:buFont typeface="Arial" panose="020B0604020202020204" pitchFamily="34" charset="0"/>
              <a:buChar char="•"/>
              <a:defRPr/>
            </a:pPr>
            <a:r>
              <a:rPr lang="he-IL" sz="1400" b="1" dirty="0">
                <a:solidFill>
                  <a:srgbClr val="3C5B7B">
                    <a:alpha val="70000"/>
                  </a:srgbClr>
                </a:solidFill>
                <a:latin typeface="Calibri" panose="020F0502020204030204" pitchFamily="34" charset="0"/>
                <a:ea typeface="Calibri" panose="020F0502020204030204" pitchFamily="34" charset="0"/>
                <a:cs typeface="Calibri" panose="020F0502020204030204" pitchFamily="34" charset="0"/>
              </a:rPr>
              <a:t>מחוץ לשעות הפעילות, אנשי הצוות זמינים בטלפונים הניידים לכל שאלה, בקשה או בירור.</a:t>
            </a:r>
          </a:p>
          <a:p>
            <a:pPr marL="285750" marR="0" lvl="0" indent="-285750" algn="r" defTabSz="914400" rtl="1" eaLnBrk="1" fontAlgn="auto" latinLnBrk="0" hangingPunct="1">
              <a:lnSpc>
                <a:spcPct val="100000"/>
              </a:lnSpc>
              <a:spcBef>
                <a:spcPct val="0"/>
              </a:spcBef>
              <a:spcAft>
                <a:spcPct val="0"/>
              </a:spcAft>
              <a:buClrTx/>
              <a:buSzTx/>
              <a:buFont typeface="Arial" panose="020B0604020202020204" pitchFamily="34" charset="0"/>
              <a:buChar char="•"/>
              <a:defRPr/>
            </a:pPr>
            <a:r>
              <a:rPr lang="he-IL" sz="1400" b="1" dirty="0">
                <a:solidFill>
                  <a:srgbClr val="3C5B7B">
                    <a:alpha val="70000"/>
                  </a:srgbClr>
                </a:solidFill>
                <a:latin typeface="Calibri" panose="020F0502020204030204" pitchFamily="34" charset="0"/>
                <a:ea typeface="Calibri" panose="020F0502020204030204" pitchFamily="34" charset="0"/>
                <a:cs typeface="Calibri" panose="020F0502020204030204" pitchFamily="34" charset="0"/>
              </a:rPr>
              <a:t>מטענים מסוג </a:t>
            </a:r>
            <a:r>
              <a:rPr lang="en-US" sz="1400" b="1" dirty="0">
                <a:solidFill>
                  <a:srgbClr val="3C5B7B">
                    <a:alpha val="70000"/>
                  </a:srgbClr>
                </a:solidFill>
                <a:latin typeface="Calibri" panose="020F0502020204030204" pitchFamily="34" charset="0"/>
                <a:ea typeface="Calibri" panose="020F0502020204030204" pitchFamily="34" charset="0"/>
                <a:cs typeface="Calibri" panose="020F0502020204030204" pitchFamily="34" charset="0"/>
              </a:rPr>
              <a:t>Time Critical</a:t>
            </a:r>
            <a:r>
              <a:rPr lang="he-IL" sz="1400" b="1" dirty="0">
                <a:solidFill>
                  <a:srgbClr val="3C5B7B">
                    <a:alpha val="70000"/>
                  </a:srgbClr>
                </a:solidFill>
                <a:latin typeface="Calibri" panose="020F0502020204030204" pitchFamily="34" charset="0"/>
                <a:ea typeface="Calibri" panose="020F0502020204030204" pitchFamily="34" charset="0"/>
                <a:cs typeface="Calibri" panose="020F0502020204030204" pitchFamily="34" charset="0"/>
              </a:rPr>
              <a:t> יטופלו ככל שיידרש גם מחוץ לשעות הפעילות של החברה.</a:t>
            </a:r>
          </a:p>
          <a:p>
            <a:pPr marL="0" marR="0" lvl="0" indent="0" algn="r" defTabSz="914400" rtl="1" eaLnBrk="1" fontAlgn="auto" latinLnBrk="0" hangingPunct="1">
              <a:lnSpc>
                <a:spcPct val="100000"/>
              </a:lnSpc>
              <a:spcBef>
                <a:spcPct val="0"/>
              </a:spcBef>
              <a:spcAft>
                <a:spcPct val="0"/>
              </a:spcAft>
              <a:buClrTx/>
              <a:buSzTx/>
              <a:buFontTx/>
              <a:buNone/>
              <a:defRPr/>
            </a:pPr>
            <a:endParaRPr lang="he-IL" sz="1400" b="1" dirty="0">
              <a:solidFill>
                <a:srgbClr val="3C5B7B">
                  <a:alpha val="70000"/>
                </a:srgbClr>
              </a:solidFill>
              <a:latin typeface="Calibri" panose="020F0502020204030204" pitchFamily="34" charset="0"/>
              <a:ea typeface="Calibri" panose="020F0502020204030204" pitchFamily="34" charset="0"/>
              <a:cs typeface="Calibri" panose="020F0502020204030204" pitchFamily="34" charset="0"/>
            </a:endParaRPr>
          </a:p>
        </p:txBody>
      </p:sp>
      <p:sp>
        <p:nvSpPr>
          <p:cNvPr id="10" name="TextBox 40">
            <a:extLst>
              <a:ext uri="{FF2B5EF4-FFF2-40B4-BE49-F238E27FC236}">
                <a16:creationId xmlns:a16="http://schemas.microsoft.com/office/drawing/2014/main" id="{7402CB41-E8E1-AE10-94DD-4DC4BF3E7B0D}"/>
              </a:ext>
            </a:extLst>
          </p:cNvPr>
          <p:cNvSpPr txBox="1"/>
          <p:nvPr/>
        </p:nvSpPr>
        <p:spPr>
          <a:xfrm>
            <a:off x="3048000" y="1722063"/>
            <a:ext cx="2686346" cy="707758"/>
          </a:xfrm>
          <a:prstGeom prst="rect">
            <a:avLst/>
          </a:prstGeom>
          <a:noFill/>
        </p:spPr>
        <p:txBody>
          <a:bodyPr wrap="square" rtlCol="0" anchor="ctr">
            <a:spAutoFit/>
          </a:bodyPr>
          <a:lstStyle/>
          <a:p>
            <a:pPr marL="0" marR="0" lvl="0" indent="0" algn="r" defTabSz="914400" rtl="1" eaLnBrk="1" fontAlgn="auto" latinLnBrk="0" hangingPunct="1">
              <a:lnSpc>
                <a:spcPct val="100000"/>
              </a:lnSpc>
              <a:spcBef>
                <a:spcPct val="0"/>
              </a:spcBef>
              <a:spcAft>
                <a:spcPct val="0"/>
              </a:spcAft>
              <a:buClrTx/>
              <a:buSzTx/>
              <a:buFontTx/>
              <a:buNone/>
              <a:defRPr/>
            </a:pPr>
            <a:r>
              <a:rPr lang="he-IL" sz="3999" b="1" dirty="0">
                <a:solidFill>
                  <a:srgbClr val="004C99"/>
                </a:solidFill>
                <a:latin typeface="Calibri" panose="020F0502020204030204" pitchFamily="34" charset="0"/>
                <a:ea typeface="Calibri" panose="020F0502020204030204" pitchFamily="34" charset="0"/>
                <a:cs typeface="Calibri" panose="020F0502020204030204" pitchFamily="34" charset="0"/>
              </a:rPr>
              <a:t>זמן הטיפול</a:t>
            </a:r>
            <a:endParaRPr kumimoji="0" lang="en-US" sz="3999" b="1" i="0" u="none" strike="noStrike" kern="1200" cap="none" spc="0" normalizeH="0" baseline="0" noProof="0" dirty="0">
              <a:ln>
                <a:noFill/>
              </a:ln>
              <a:solidFill>
                <a:srgbClr val="004C99"/>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11" name="TextBox 38">
            <a:extLst>
              <a:ext uri="{FF2B5EF4-FFF2-40B4-BE49-F238E27FC236}">
                <a16:creationId xmlns:a16="http://schemas.microsoft.com/office/drawing/2014/main" id="{E6E2DF00-0219-0269-9AF9-8B575B58179B}"/>
              </a:ext>
            </a:extLst>
          </p:cNvPr>
          <p:cNvSpPr txBox="1"/>
          <p:nvPr/>
        </p:nvSpPr>
        <p:spPr>
          <a:xfrm>
            <a:off x="668609" y="2535287"/>
            <a:ext cx="5065737" cy="1831271"/>
          </a:xfrm>
          <a:prstGeom prst="rect">
            <a:avLst/>
          </a:prstGeom>
          <a:noFill/>
        </p:spPr>
        <p:txBody>
          <a:bodyPr wrap="square" rtlCol="0" anchor="ctr">
            <a:spAutoFit/>
          </a:bodyPr>
          <a:lstStyle/>
          <a:p>
            <a:pPr marL="285750" marR="0" lvl="0" indent="-285750" algn="r" defTabSz="914400" rtl="1" eaLnBrk="1" fontAlgn="auto" latinLnBrk="0" hangingPunct="1">
              <a:lnSpc>
                <a:spcPct val="100000"/>
              </a:lnSpc>
              <a:spcBef>
                <a:spcPct val="0"/>
              </a:spcBef>
              <a:spcAft>
                <a:spcPts val="600"/>
              </a:spcAft>
              <a:buClrTx/>
              <a:buSzTx/>
              <a:buFont typeface="Arial" panose="020B0604020202020204" pitchFamily="34" charset="0"/>
              <a:buChar char="•"/>
              <a:defRPr/>
            </a:pPr>
            <a:r>
              <a:rPr kumimoji="0" lang="he-IL" sz="1400" b="1" i="0" u="none" strike="noStrike" kern="1200" cap="none" spc="0" normalizeH="0" baseline="0" noProof="0" dirty="0">
                <a:ln>
                  <a:noFill/>
                </a:ln>
                <a:solidFill>
                  <a:srgbClr val="3C5B7B">
                    <a:alpha val="70000"/>
                  </a:srgbClr>
                </a:solidFill>
                <a:effectLst/>
                <a:uLnTx/>
                <a:uFillTx/>
                <a:latin typeface="Calibri" panose="020F0502020204030204" pitchFamily="34" charset="0"/>
                <a:ea typeface="Calibri" panose="020F0502020204030204" pitchFamily="34" charset="0"/>
                <a:cs typeface="Calibri" panose="020F0502020204030204" pitchFamily="34" charset="0"/>
              </a:rPr>
              <a:t>עם קבלת הפניה אנשי הצוות יחלו לפעול מידית.</a:t>
            </a:r>
          </a:p>
          <a:p>
            <a:pPr marL="285750" marR="0" lvl="0" indent="-285750" algn="r" defTabSz="914400" rtl="1" eaLnBrk="1" fontAlgn="auto" latinLnBrk="0" hangingPunct="1">
              <a:lnSpc>
                <a:spcPct val="100000"/>
              </a:lnSpc>
              <a:spcBef>
                <a:spcPct val="0"/>
              </a:spcBef>
              <a:spcAft>
                <a:spcPts val="600"/>
              </a:spcAft>
              <a:buClrTx/>
              <a:buSzTx/>
              <a:buFont typeface="Arial" panose="020B0604020202020204" pitchFamily="34" charset="0"/>
              <a:buChar char="•"/>
              <a:defRPr/>
            </a:pPr>
            <a:r>
              <a:rPr lang="he-IL" sz="1400" b="1" dirty="0">
                <a:solidFill>
                  <a:srgbClr val="3C5B7B">
                    <a:alpha val="70000"/>
                  </a:srgbClr>
                </a:solidFill>
                <a:latin typeface="Calibri" panose="020F0502020204030204" pitchFamily="34" charset="0"/>
                <a:ea typeface="Calibri" panose="020F0502020204030204" pitchFamily="34" charset="0"/>
                <a:cs typeface="Calibri" panose="020F0502020204030204" pitchFamily="34" charset="0"/>
              </a:rPr>
              <a:t>היעד שהחברה הציבה לעצמה הוא שחרור טובין במהירות מקסימלית וללא עיכוב.</a:t>
            </a:r>
          </a:p>
          <a:p>
            <a:pPr marL="285750" marR="0" lvl="0" indent="-285750" algn="r" defTabSz="914400" rtl="1" eaLnBrk="1" fontAlgn="auto" latinLnBrk="0" hangingPunct="1">
              <a:lnSpc>
                <a:spcPct val="100000"/>
              </a:lnSpc>
              <a:spcBef>
                <a:spcPct val="0"/>
              </a:spcBef>
              <a:spcAft>
                <a:spcPts val="600"/>
              </a:spcAft>
              <a:buClrTx/>
              <a:buSzTx/>
              <a:buFont typeface="Arial" panose="020B0604020202020204" pitchFamily="34" charset="0"/>
              <a:buChar char="•"/>
              <a:defRPr/>
            </a:pPr>
            <a:r>
              <a:rPr lang="he-IL" sz="1400" b="1" dirty="0">
                <a:solidFill>
                  <a:srgbClr val="3C5B7B">
                    <a:alpha val="70000"/>
                  </a:srgbClr>
                </a:solidFill>
                <a:latin typeface="Calibri" panose="020F0502020204030204" pitchFamily="34" charset="0"/>
                <a:ea typeface="Calibri" panose="020F0502020204030204" pitchFamily="34" charset="0"/>
                <a:cs typeface="Calibri" panose="020F0502020204030204" pitchFamily="34" charset="0"/>
              </a:rPr>
              <a:t>קבלת מסמכים עד השעה 13:00 תאפשר את שחרור הטובין מפיקוח המכס עד לסיום יום העבודה הנוכחי (בכפוף לזמינות המטען).</a:t>
            </a:r>
          </a:p>
          <a:p>
            <a:pPr marL="285750" marR="0" lvl="0" indent="-285750" algn="r" defTabSz="914400" rtl="1" eaLnBrk="1" fontAlgn="auto" latinLnBrk="0" hangingPunct="1">
              <a:lnSpc>
                <a:spcPct val="100000"/>
              </a:lnSpc>
              <a:spcBef>
                <a:spcPct val="0"/>
              </a:spcBef>
              <a:spcAft>
                <a:spcPts val="600"/>
              </a:spcAft>
              <a:buClrTx/>
              <a:buSzTx/>
              <a:buFont typeface="Arial" panose="020B0604020202020204" pitchFamily="34" charset="0"/>
              <a:buChar char="•"/>
              <a:defRPr/>
            </a:pPr>
            <a:r>
              <a:rPr lang="he-IL" sz="1400" b="1" dirty="0">
                <a:solidFill>
                  <a:srgbClr val="3C5B7B">
                    <a:alpha val="70000"/>
                  </a:srgbClr>
                </a:solidFill>
                <a:latin typeface="Calibri" panose="020F0502020204030204" pitchFamily="34" charset="0"/>
                <a:ea typeface="Calibri" panose="020F0502020204030204" pitchFamily="34" charset="0"/>
                <a:cs typeface="Calibri" panose="020F0502020204030204" pitchFamily="34" charset="0"/>
              </a:rPr>
              <a:t>מטעני </a:t>
            </a:r>
            <a:r>
              <a:rPr lang="en-US" sz="1400" b="1" dirty="0">
                <a:solidFill>
                  <a:srgbClr val="3C5B7B">
                    <a:alpha val="70000"/>
                  </a:srgbClr>
                </a:solidFill>
                <a:latin typeface="Calibri" panose="020F0502020204030204" pitchFamily="34" charset="0"/>
                <a:ea typeface="Calibri" panose="020F0502020204030204" pitchFamily="34" charset="0"/>
                <a:cs typeface="Calibri" panose="020F0502020204030204" pitchFamily="34" charset="0"/>
              </a:rPr>
              <a:t>Time Critical</a:t>
            </a:r>
            <a:r>
              <a:rPr lang="he-IL" sz="1400" b="1" dirty="0">
                <a:solidFill>
                  <a:srgbClr val="3C5B7B">
                    <a:alpha val="70000"/>
                  </a:srgbClr>
                </a:solidFill>
                <a:latin typeface="Calibri" panose="020F0502020204030204" pitchFamily="34" charset="0"/>
                <a:ea typeface="Calibri" panose="020F0502020204030204" pitchFamily="34" charset="0"/>
                <a:cs typeface="Calibri" panose="020F0502020204030204" pitchFamily="34" charset="0"/>
              </a:rPr>
              <a:t> יטופלו מבעוד מועד ויהיו מוכנים לשחרור טרם הזמינות הן בתהליך "מסירה ישירה" והן בתהליך הגשה אוטומטית.</a:t>
            </a:r>
          </a:p>
        </p:txBody>
      </p:sp>
      <p:sp>
        <p:nvSpPr>
          <p:cNvPr id="12" name="TextBox 40">
            <a:extLst>
              <a:ext uri="{FF2B5EF4-FFF2-40B4-BE49-F238E27FC236}">
                <a16:creationId xmlns:a16="http://schemas.microsoft.com/office/drawing/2014/main" id="{2C8C6E1D-B6AA-F271-91F8-431BE84D474E}"/>
              </a:ext>
            </a:extLst>
          </p:cNvPr>
          <p:cNvSpPr txBox="1"/>
          <p:nvPr/>
        </p:nvSpPr>
        <p:spPr>
          <a:xfrm>
            <a:off x="8514735" y="3639201"/>
            <a:ext cx="3008656" cy="707758"/>
          </a:xfrm>
          <a:prstGeom prst="rect">
            <a:avLst/>
          </a:prstGeom>
          <a:noFill/>
        </p:spPr>
        <p:txBody>
          <a:bodyPr wrap="square" rtlCol="0" anchor="ctr">
            <a:spAutoFit/>
          </a:bodyPr>
          <a:lstStyle/>
          <a:p>
            <a:pPr marL="0" marR="0" lvl="0" indent="0" algn="r" defTabSz="914400" rtl="1" eaLnBrk="1" fontAlgn="auto" latinLnBrk="0" hangingPunct="1">
              <a:lnSpc>
                <a:spcPct val="100000"/>
              </a:lnSpc>
              <a:spcBef>
                <a:spcPct val="0"/>
              </a:spcBef>
              <a:spcAft>
                <a:spcPct val="0"/>
              </a:spcAft>
              <a:buClrTx/>
              <a:buSzTx/>
              <a:buFontTx/>
              <a:buNone/>
              <a:defRPr/>
            </a:pPr>
            <a:r>
              <a:rPr lang="he-IL" sz="3999" b="1">
                <a:solidFill>
                  <a:srgbClr val="004C99"/>
                </a:solidFill>
                <a:latin typeface="Calibri" panose="020F0502020204030204" pitchFamily="34" charset="0"/>
                <a:ea typeface="Calibri" panose="020F0502020204030204" pitchFamily="34" charset="0"/>
                <a:cs typeface="Calibri" panose="020F0502020204030204" pitchFamily="34" charset="0"/>
              </a:rPr>
              <a:t>איכות השירות</a:t>
            </a:r>
            <a:endParaRPr kumimoji="0" lang="en-US" sz="3999" b="1" i="0" u="none" strike="noStrike" kern="1200" cap="none" spc="0" normalizeH="0" baseline="0" noProof="0">
              <a:ln>
                <a:noFill/>
              </a:ln>
              <a:solidFill>
                <a:srgbClr val="004C99"/>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13" name="TextBox 38">
            <a:extLst>
              <a:ext uri="{FF2B5EF4-FFF2-40B4-BE49-F238E27FC236}">
                <a16:creationId xmlns:a16="http://schemas.microsoft.com/office/drawing/2014/main" id="{2DBD5932-1F07-7313-56BD-5BC56451FAF2}"/>
              </a:ext>
            </a:extLst>
          </p:cNvPr>
          <p:cNvSpPr txBox="1"/>
          <p:nvPr/>
        </p:nvSpPr>
        <p:spPr>
          <a:xfrm>
            <a:off x="6457654" y="4239237"/>
            <a:ext cx="5065737" cy="1908215"/>
          </a:xfrm>
          <a:prstGeom prst="rect">
            <a:avLst/>
          </a:prstGeom>
          <a:noFill/>
        </p:spPr>
        <p:txBody>
          <a:bodyPr wrap="square" rtlCol="0" anchor="ctr">
            <a:spAutoFit/>
          </a:bodyPr>
          <a:lstStyle/>
          <a:p>
            <a:pPr marL="285750" marR="0" lvl="0" indent="-285750" algn="r" defTabSz="914400" rtl="1" eaLnBrk="1" fontAlgn="auto" latinLnBrk="0" hangingPunct="1">
              <a:lnSpc>
                <a:spcPct val="100000"/>
              </a:lnSpc>
              <a:spcBef>
                <a:spcPct val="0"/>
              </a:spcBef>
              <a:spcAft>
                <a:spcPts val="600"/>
              </a:spcAft>
              <a:buClrTx/>
              <a:buSzTx/>
              <a:buFont typeface="Arial" panose="020B0604020202020204" pitchFamily="34" charset="0"/>
              <a:buChar char="•"/>
              <a:defRPr/>
            </a:pPr>
            <a:r>
              <a:rPr kumimoji="0" lang="he-IL" sz="1400" b="1" i="0" u="none" strike="noStrike" kern="1200" cap="none" spc="0" normalizeH="0" baseline="0" noProof="0" dirty="0">
                <a:ln>
                  <a:noFill/>
                </a:ln>
                <a:solidFill>
                  <a:srgbClr val="3C5B7B">
                    <a:alpha val="70000"/>
                  </a:srgbClr>
                </a:solidFill>
                <a:effectLst/>
                <a:uLnTx/>
                <a:uFillTx/>
                <a:latin typeface="Calibri" panose="020F0502020204030204" pitchFamily="34" charset="0"/>
                <a:ea typeface="Calibri" panose="020F0502020204030204" pitchFamily="34" charset="0"/>
                <a:cs typeface="Calibri" panose="020F0502020204030204" pitchFamily="34" charset="0"/>
              </a:rPr>
              <a:t>כל אנשי הצוות עוברים סדנאות לשיפור איכות השירות מעת לעת.</a:t>
            </a:r>
          </a:p>
          <a:p>
            <a:pPr marL="285750" marR="0" lvl="0" indent="-285750" algn="r" defTabSz="914400" rtl="1" eaLnBrk="1" fontAlgn="auto" latinLnBrk="0" hangingPunct="1">
              <a:lnSpc>
                <a:spcPct val="100000"/>
              </a:lnSpc>
              <a:spcBef>
                <a:spcPct val="0"/>
              </a:spcBef>
              <a:spcAft>
                <a:spcPts val="600"/>
              </a:spcAft>
              <a:buClrTx/>
              <a:buSzTx/>
              <a:buFont typeface="Arial" panose="020B0604020202020204" pitchFamily="34" charset="0"/>
              <a:buChar char="•"/>
              <a:defRPr/>
            </a:pPr>
            <a:r>
              <a:rPr lang="he-IL" sz="1400" b="1" dirty="0" err="1">
                <a:solidFill>
                  <a:srgbClr val="3C5B7B">
                    <a:alpha val="70000"/>
                  </a:srgbClr>
                </a:solidFill>
                <a:latin typeface="Calibri" panose="020F0502020204030204" pitchFamily="34" charset="0"/>
                <a:ea typeface="Calibri" panose="020F0502020204030204" pitchFamily="34" charset="0"/>
                <a:cs typeface="Calibri" panose="020F0502020204030204" pitchFamily="34" charset="0"/>
              </a:rPr>
              <a:t>פלטרנספורט</a:t>
            </a:r>
            <a:r>
              <a:rPr lang="he-IL" sz="1400" b="1" dirty="0">
                <a:solidFill>
                  <a:srgbClr val="3C5B7B">
                    <a:alpha val="70000"/>
                  </a:srgbClr>
                </a:solidFill>
                <a:latin typeface="Calibri" panose="020F0502020204030204" pitchFamily="34" charset="0"/>
                <a:ea typeface="Calibri" panose="020F0502020204030204" pitchFamily="34" charset="0"/>
                <a:cs typeface="Calibri" panose="020F0502020204030204" pitchFamily="34" charset="0"/>
              </a:rPr>
              <a:t> מקיימת סקרי שביעות רצון לקוחות מעת לעת במטרה לשמר רמת שירות גבוה.</a:t>
            </a:r>
          </a:p>
          <a:p>
            <a:pPr marL="285750" marR="0" lvl="0" indent="-285750" algn="r" defTabSz="914400" rtl="1" eaLnBrk="1" fontAlgn="auto" latinLnBrk="0" hangingPunct="1">
              <a:lnSpc>
                <a:spcPct val="100000"/>
              </a:lnSpc>
              <a:spcBef>
                <a:spcPct val="0"/>
              </a:spcBef>
              <a:spcAft>
                <a:spcPts val="600"/>
              </a:spcAft>
              <a:buClrTx/>
              <a:buSzTx/>
              <a:buFont typeface="Arial" panose="020B0604020202020204" pitchFamily="34" charset="0"/>
              <a:buChar char="•"/>
              <a:defRPr/>
            </a:pPr>
            <a:r>
              <a:rPr lang="he-IL" sz="1400" b="1" dirty="0">
                <a:solidFill>
                  <a:srgbClr val="3C5B7B">
                    <a:alpha val="70000"/>
                  </a:srgbClr>
                </a:solidFill>
                <a:latin typeface="Calibri" panose="020F0502020204030204" pitchFamily="34" charset="0"/>
                <a:ea typeface="Calibri" panose="020F0502020204030204" pitchFamily="34" charset="0"/>
                <a:cs typeface="Calibri" panose="020F0502020204030204" pitchFamily="34" charset="0"/>
              </a:rPr>
              <a:t>החברה לוקחת לתשומת ליבה כל ביקורת, חיובית או שלילית במטרה לשמר נקודות חיובית ולשפר נקודות שליליות.</a:t>
            </a:r>
          </a:p>
          <a:p>
            <a:pPr marL="285750" marR="0" lvl="0" indent="-285750" algn="r" defTabSz="914400" rtl="1" eaLnBrk="1" fontAlgn="auto" latinLnBrk="0" hangingPunct="1">
              <a:lnSpc>
                <a:spcPct val="100000"/>
              </a:lnSpc>
              <a:spcBef>
                <a:spcPct val="0"/>
              </a:spcBef>
              <a:spcAft>
                <a:spcPts val="600"/>
              </a:spcAft>
              <a:buClrTx/>
              <a:buSzTx/>
              <a:buFont typeface="Arial" panose="020B0604020202020204" pitchFamily="34" charset="0"/>
              <a:buChar char="•"/>
              <a:defRPr/>
            </a:pPr>
            <a:r>
              <a:rPr lang="he-IL" sz="1400" b="1" dirty="0">
                <a:solidFill>
                  <a:srgbClr val="3C5B7B">
                    <a:alpha val="70000"/>
                  </a:srgbClr>
                </a:solidFill>
                <a:latin typeface="Calibri" panose="020F0502020204030204" pitchFamily="34" charset="0"/>
                <a:ea typeface="Calibri" panose="020F0502020204030204" pitchFamily="34" charset="0"/>
                <a:cs typeface="Calibri" panose="020F0502020204030204" pitchFamily="34" charset="0"/>
              </a:rPr>
              <a:t>כל אירוע חריג מתוחקר ומתועד לצורך הפקת לקחים ותיקון נהלים.</a:t>
            </a:r>
          </a:p>
          <a:p>
            <a:pPr marL="0" marR="0" lvl="0" indent="0" algn="r" defTabSz="914400" rtl="1" eaLnBrk="1" fontAlgn="auto" latinLnBrk="0" hangingPunct="1">
              <a:lnSpc>
                <a:spcPct val="100000"/>
              </a:lnSpc>
              <a:spcBef>
                <a:spcPct val="0"/>
              </a:spcBef>
              <a:spcAft>
                <a:spcPct val="0"/>
              </a:spcAft>
              <a:buClrTx/>
              <a:buSzTx/>
              <a:buFontTx/>
              <a:buNone/>
              <a:defRPr/>
            </a:pPr>
            <a:endParaRPr lang="he-IL" sz="1400" b="1" dirty="0">
              <a:solidFill>
                <a:srgbClr val="3C5B7B">
                  <a:alpha val="70000"/>
                </a:srgbClr>
              </a:solidFill>
              <a:latin typeface="Calibri" panose="020F0502020204030204" pitchFamily="34" charset="0"/>
              <a:ea typeface="Calibri" panose="020F0502020204030204" pitchFamily="34" charset="0"/>
              <a:cs typeface="Calibri" panose="020F0502020204030204" pitchFamily="34" charset="0"/>
            </a:endParaRPr>
          </a:p>
        </p:txBody>
      </p:sp>
      <p:sp>
        <p:nvSpPr>
          <p:cNvPr id="14" name="TextBox 40">
            <a:extLst>
              <a:ext uri="{FF2B5EF4-FFF2-40B4-BE49-F238E27FC236}">
                <a16:creationId xmlns:a16="http://schemas.microsoft.com/office/drawing/2014/main" id="{2C4CC121-DC8F-676E-AB85-F6E97BFE626E}"/>
              </a:ext>
            </a:extLst>
          </p:cNvPr>
          <p:cNvSpPr txBox="1"/>
          <p:nvPr/>
        </p:nvSpPr>
        <p:spPr>
          <a:xfrm>
            <a:off x="2148572" y="4792501"/>
            <a:ext cx="3585774" cy="707758"/>
          </a:xfrm>
          <a:prstGeom prst="rect">
            <a:avLst/>
          </a:prstGeom>
          <a:noFill/>
        </p:spPr>
        <p:txBody>
          <a:bodyPr wrap="square" rtlCol="0" anchor="ctr">
            <a:spAutoFit/>
          </a:bodyPr>
          <a:lstStyle/>
          <a:p>
            <a:pPr marL="0" marR="0" lvl="0" indent="0" algn="r" defTabSz="914400" rtl="1" eaLnBrk="1" fontAlgn="auto" latinLnBrk="0" hangingPunct="1">
              <a:lnSpc>
                <a:spcPct val="100000"/>
              </a:lnSpc>
              <a:spcBef>
                <a:spcPct val="0"/>
              </a:spcBef>
              <a:spcAft>
                <a:spcPct val="0"/>
              </a:spcAft>
              <a:buClrTx/>
              <a:buSzTx/>
              <a:buFontTx/>
              <a:buNone/>
              <a:defRPr/>
            </a:pPr>
            <a:r>
              <a:rPr lang="he-IL" sz="3999" b="1">
                <a:solidFill>
                  <a:srgbClr val="004C99"/>
                </a:solidFill>
                <a:latin typeface="Calibri" panose="020F0502020204030204" pitchFamily="34" charset="0"/>
                <a:ea typeface="Calibri" panose="020F0502020204030204" pitchFamily="34" charset="0"/>
                <a:cs typeface="Calibri" panose="020F0502020204030204" pitchFamily="34" charset="0"/>
              </a:rPr>
              <a:t>אחריות מקצועית</a:t>
            </a:r>
            <a:endParaRPr kumimoji="0" lang="en-US" sz="3999" b="1" i="0" u="none" strike="noStrike" kern="1200" cap="none" spc="0" normalizeH="0" baseline="0" noProof="0">
              <a:ln>
                <a:noFill/>
              </a:ln>
              <a:solidFill>
                <a:srgbClr val="004C99"/>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17" name="TextBox 38">
            <a:extLst>
              <a:ext uri="{FF2B5EF4-FFF2-40B4-BE49-F238E27FC236}">
                <a16:creationId xmlns:a16="http://schemas.microsoft.com/office/drawing/2014/main" id="{51E815FF-5B28-B01B-6D0C-830E46F0C243}"/>
              </a:ext>
            </a:extLst>
          </p:cNvPr>
          <p:cNvSpPr txBox="1"/>
          <p:nvPr/>
        </p:nvSpPr>
        <p:spPr>
          <a:xfrm>
            <a:off x="560441" y="5516940"/>
            <a:ext cx="5173906" cy="523220"/>
          </a:xfrm>
          <a:prstGeom prst="rect">
            <a:avLst/>
          </a:prstGeom>
          <a:noFill/>
        </p:spPr>
        <p:txBody>
          <a:bodyPr wrap="square" rtlCol="0" anchor="ctr">
            <a:spAutoFit/>
          </a:bodyPr>
          <a:lstStyle/>
          <a:p>
            <a:pPr marL="285750" marR="0" lvl="0" indent="-285750" algn="r" defTabSz="914400" rtl="1" eaLnBrk="1" fontAlgn="auto" latinLnBrk="0" hangingPunct="1">
              <a:lnSpc>
                <a:spcPct val="100000"/>
              </a:lnSpc>
              <a:spcBef>
                <a:spcPct val="0"/>
              </a:spcBef>
              <a:spcAft>
                <a:spcPts val="600"/>
              </a:spcAft>
              <a:buClrTx/>
              <a:buSzTx/>
              <a:buFont typeface="Arial" panose="020B0604020202020204" pitchFamily="34" charset="0"/>
              <a:buChar char="•"/>
              <a:defRPr/>
            </a:pPr>
            <a:r>
              <a:rPr kumimoji="0" lang="he-IL" sz="1400" b="1" i="0" u="none" strike="noStrike" kern="1200" cap="none" spc="0" normalizeH="0" baseline="0" noProof="0" dirty="0" err="1">
                <a:ln>
                  <a:noFill/>
                </a:ln>
                <a:solidFill>
                  <a:srgbClr val="3C5B7B">
                    <a:alpha val="70000"/>
                  </a:srgbClr>
                </a:solidFill>
                <a:effectLst/>
                <a:uLnTx/>
                <a:uFillTx/>
                <a:latin typeface="Calibri" panose="020F0502020204030204" pitchFamily="34" charset="0"/>
                <a:ea typeface="Calibri" panose="020F0502020204030204" pitchFamily="34" charset="0"/>
                <a:cs typeface="Calibri" panose="020F0502020204030204" pitchFamily="34" charset="0"/>
              </a:rPr>
              <a:t>פלטרנספורט</a:t>
            </a:r>
            <a:r>
              <a:rPr kumimoji="0" lang="he-IL" sz="1400" b="1" i="0" u="none" strike="noStrike" kern="1200" cap="none" spc="0" normalizeH="0" baseline="0" noProof="0" dirty="0">
                <a:ln>
                  <a:noFill/>
                </a:ln>
                <a:solidFill>
                  <a:srgbClr val="3C5B7B">
                    <a:alpha val="70000"/>
                  </a:srgbClr>
                </a:solidFill>
                <a:effectLst/>
                <a:uLnTx/>
                <a:uFillTx/>
                <a:latin typeface="Calibri" panose="020F0502020204030204" pitchFamily="34" charset="0"/>
                <a:ea typeface="Calibri" panose="020F0502020204030204" pitchFamily="34" charset="0"/>
                <a:cs typeface="Calibri" panose="020F0502020204030204" pitchFamily="34" charset="0"/>
              </a:rPr>
              <a:t> חברה ב- </a:t>
            </a:r>
            <a:r>
              <a:rPr kumimoji="0" lang="en-US" sz="1400" b="1" i="0" u="none" strike="noStrike" kern="1200" cap="none" spc="0" normalizeH="0" baseline="0" noProof="0" dirty="0">
                <a:ln>
                  <a:noFill/>
                </a:ln>
                <a:solidFill>
                  <a:srgbClr val="3C5B7B">
                    <a:alpha val="70000"/>
                  </a:srgbClr>
                </a:solidFill>
                <a:effectLst/>
                <a:uLnTx/>
                <a:uFillTx/>
                <a:latin typeface="Calibri" panose="020F0502020204030204" pitchFamily="34" charset="0"/>
                <a:ea typeface="Calibri" panose="020F0502020204030204" pitchFamily="34" charset="0"/>
                <a:cs typeface="Calibri" panose="020F0502020204030204" pitchFamily="34" charset="0"/>
              </a:rPr>
              <a:t>TT CLUB</a:t>
            </a:r>
            <a:r>
              <a:rPr kumimoji="0" lang="he-IL" sz="1400" b="1" i="0" u="none" strike="noStrike" kern="1200" cap="none" spc="0" normalizeH="0" baseline="0" noProof="0" dirty="0">
                <a:ln>
                  <a:noFill/>
                </a:ln>
                <a:solidFill>
                  <a:srgbClr val="3C5B7B">
                    <a:alpha val="70000"/>
                  </a:srgbClr>
                </a:solidFill>
                <a:effectLst/>
                <a:uLnTx/>
                <a:uFillTx/>
                <a:latin typeface="Calibri" panose="020F0502020204030204" pitchFamily="34" charset="0"/>
                <a:ea typeface="Calibri" panose="020F0502020204030204" pitchFamily="34" charset="0"/>
                <a:cs typeface="Calibri" panose="020F0502020204030204" pitchFamily="34" charset="0"/>
              </a:rPr>
              <a:t>, גוף עולמי לביטוח אחריות מקצועית בתחום הלוגיסטיקה הבינ"ל אשר מיוצגת בישראל ע"י חברת מ. דיזינגוף</a:t>
            </a:r>
            <a:r>
              <a:rPr lang="he-IL" sz="1400" b="1" dirty="0">
                <a:solidFill>
                  <a:srgbClr val="3C5B7B">
                    <a:alpha val="70000"/>
                  </a:srgbClr>
                </a:solidFill>
                <a:latin typeface="Calibri" panose="020F0502020204030204" pitchFamily="34" charset="0"/>
                <a:ea typeface="Calibri" panose="020F0502020204030204" pitchFamily="34" charset="0"/>
                <a:cs typeface="Calibri" panose="020F0502020204030204" pitchFamily="34" charset="0"/>
              </a:rPr>
              <a:t>.</a:t>
            </a:r>
            <a:endParaRPr kumimoji="0" lang="he-IL" sz="1400" b="1" i="0" u="none" strike="noStrike" kern="1200" cap="none" spc="0" normalizeH="0" baseline="0" noProof="0" dirty="0">
              <a:ln>
                <a:noFill/>
              </a:ln>
              <a:solidFill>
                <a:srgbClr val="3C5B7B">
                  <a:alpha val="70000"/>
                </a:srgbClr>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0631628"/>
      </p:ext>
    </p:extLst>
  </p:cSld>
  <p:clrMapOvr>
    <a:masterClrMapping/>
  </p:clrMapOvr>
  <p:transition spd="slow">
    <p:push dir="u"/>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D577B2F-79C2-3AEA-93A6-40F7F4372F0C}"/>
              </a:ext>
            </a:extLst>
          </p:cNvPr>
          <p:cNvSpPr>
            <a:spLocks noGrp="1"/>
          </p:cNvSpPr>
          <p:nvPr>
            <p:ph type="title" idx="4294967295"/>
          </p:nvPr>
        </p:nvSpPr>
        <p:spPr>
          <a:xfrm>
            <a:off x="1268236" y="657430"/>
            <a:ext cx="10560096" cy="478584"/>
          </a:xfrm>
        </p:spPr>
        <p:txBody>
          <a:bodyPr/>
          <a:lstStyle/>
          <a:p>
            <a:pPr algn="r" rtl="1"/>
            <a:r>
              <a:rPr lang="he-IL" b="1">
                <a:effectLst>
                  <a:outerShdw blurRad="38100" dist="38100" dir="2700000" algn="tl">
                    <a:srgbClr val="000000">
                      <a:alpha val="43137"/>
                    </a:srgbClr>
                  </a:outerShdw>
                </a:effectLst>
                <a:latin typeface="Calibri" panose="020F0502020204030204" pitchFamily="34" charset="0"/>
                <a:ea typeface="Calibri" panose="020F0502020204030204" pitchFamily="34" charset="0"/>
                <a:cs typeface="Calibri" panose="020F0502020204030204" pitchFamily="34" charset="0"/>
              </a:rPr>
              <a:t>המשכיות עסקית והתאוששות מאסון - </a:t>
            </a:r>
            <a:r>
              <a:rPr lang="en-US" b="1">
                <a:effectLst>
                  <a:outerShdw blurRad="38100" dist="38100" dir="2700000" algn="tl">
                    <a:srgbClr val="000000">
                      <a:alpha val="43137"/>
                    </a:srgbClr>
                  </a:outerShdw>
                </a:effectLst>
                <a:latin typeface="Calibri" panose="020F0502020204030204" pitchFamily="34" charset="0"/>
                <a:ea typeface="Calibri" panose="020F0502020204030204" pitchFamily="34" charset="0"/>
                <a:cs typeface="Calibri" panose="020F0502020204030204" pitchFamily="34" charset="0"/>
              </a:rPr>
              <a:t>Disaster Recovery Plan</a:t>
            </a:r>
            <a:endParaRPr lang="de-DE" b="1">
              <a:effectLst>
                <a:outerShdw blurRad="38100" dist="38100" dir="2700000" algn="tl">
                  <a:srgbClr val="000000">
                    <a:alpha val="43137"/>
                  </a:srgbClr>
                </a:outerShdw>
              </a:effectLst>
              <a:latin typeface="Calibri" panose="020F0502020204030204" pitchFamily="34" charset="0"/>
              <a:ea typeface="Calibri" panose="020F0502020204030204" pitchFamily="34" charset="0"/>
              <a:cs typeface="Calibri" panose="020F0502020204030204" pitchFamily="34" charset="0"/>
            </a:endParaRPr>
          </a:p>
        </p:txBody>
      </p:sp>
      <p:sp>
        <p:nvSpPr>
          <p:cNvPr id="3" name="Foliennummernplatzhalter 2">
            <a:extLst>
              <a:ext uri="{FF2B5EF4-FFF2-40B4-BE49-F238E27FC236}">
                <a16:creationId xmlns:a16="http://schemas.microsoft.com/office/drawing/2014/main" id="{587166A4-6E95-63B2-0513-48B6EE43F7A7}"/>
              </a:ext>
            </a:extLst>
          </p:cNvPr>
          <p:cNvSpPr>
            <a:spLocks noGrp="1"/>
          </p:cNvSpPr>
          <p:nvPr>
            <p:ph type="sldNum" sz="quarter" idx="10"/>
          </p:nvPr>
        </p:nvSpPr>
        <p:spPr/>
        <p:txBody>
          <a:bodyPr/>
          <a:lstStyle/>
          <a:p>
            <a:fld id="{A04BEB4F-8CE1-4F18-986F-6CE0A0BE9470}" type="slidenum">
              <a:rPr lang="de-DE" smtClean="0"/>
              <a:t>16</a:t>
            </a:fld>
            <a:endParaRPr lang="de-DE"/>
          </a:p>
        </p:txBody>
      </p:sp>
      <p:sp>
        <p:nvSpPr>
          <p:cNvPr id="6" name="Textplatzhalter 3">
            <a:extLst>
              <a:ext uri="{FF2B5EF4-FFF2-40B4-BE49-F238E27FC236}">
                <a16:creationId xmlns:a16="http://schemas.microsoft.com/office/drawing/2014/main" id="{8B3A383D-4CAF-34C2-AEDD-8DB34CFF95BB}"/>
              </a:ext>
            </a:extLst>
          </p:cNvPr>
          <p:cNvSpPr txBox="1">
            <a:spLocks/>
          </p:cNvSpPr>
          <p:nvPr/>
        </p:nvSpPr>
        <p:spPr>
          <a:xfrm>
            <a:off x="5702711" y="1611696"/>
            <a:ext cx="6125622" cy="4671117"/>
          </a:xfrm>
          <a:prstGeom prst="rect">
            <a:avLst/>
          </a:prstGeom>
        </p:spPr>
        <p:txBody>
          <a:bodyPr>
            <a:normAutofit fontScale="92500" lnSpcReduction="10000"/>
          </a:bodyPr>
          <a:lstStyle>
            <a:lvl1pPr marL="266700" marR="0" indent="-266700" algn="l" defTabSz="1644650" rtl="0" eaLnBrk="0" fontAlgn="base" latinLnBrk="0" hangingPunct="0">
              <a:lnSpc>
                <a:spcPct val="130000"/>
              </a:lnSpc>
              <a:spcBef>
                <a:spcPct val="0"/>
              </a:spcBef>
              <a:spcAft>
                <a:spcPts val="1200"/>
              </a:spcAft>
              <a:buClr>
                <a:srgbClr val="004C99"/>
              </a:buClr>
              <a:buSzPct val="120000"/>
              <a:buFontTx/>
              <a:buBlip>
                <a:blip r:embed="rId2"/>
              </a:buBlip>
              <a:defRPr sz="1800" kern="1200">
                <a:solidFill>
                  <a:schemeClr val="tx1"/>
                </a:solidFill>
                <a:latin typeface="+mn-lt"/>
                <a:ea typeface="+mn-ea"/>
                <a:cs typeface="+mn-cs"/>
              </a:defRPr>
            </a:lvl1pPr>
            <a:lvl2pPr marL="630238" marR="0" indent="-268288" algn="l" defTabSz="1644650" rtl="0" eaLnBrk="0" fontAlgn="base" latinLnBrk="0" hangingPunct="0">
              <a:lnSpc>
                <a:spcPct val="130000"/>
              </a:lnSpc>
              <a:spcBef>
                <a:spcPct val="0"/>
              </a:spcBef>
              <a:spcAft>
                <a:spcPts val="1200"/>
              </a:spcAft>
              <a:buClr>
                <a:srgbClr val="004C99"/>
              </a:buClr>
              <a:buSzPct val="120000"/>
              <a:buFontTx/>
              <a:buBlip>
                <a:blip r:embed="rId2"/>
              </a:buBlip>
              <a:defRPr sz="1800" kern="1200">
                <a:solidFill>
                  <a:schemeClr val="tx1"/>
                </a:solidFill>
                <a:latin typeface="+mn-lt"/>
                <a:ea typeface="+mn-ea"/>
                <a:cs typeface="+mn-cs"/>
              </a:defRPr>
            </a:lvl2pPr>
            <a:lvl3pPr marL="990600" marR="0" indent="-274638" algn="l" defTabSz="1644650" rtl="0" eaLnBrk="0" fontAlgn="base" latinLnBrk="0" hangingPunct="0">
              <a:lnSpc>
                <a:spcPct val="130000"/>
              </a:lnSpc>
              <a:spcBef>
                <a:spcPct val="0"/>
              </a:spcBef>
              <a:spcAft>
                <a:spcPts val="1200"/>
              </a:spcAft>
              <a:buClr>
                <a:srgbClr val="004C99"/>
              </a:buClr>
              <a:buSzPct val="120000"/>
              <a:buFontTx/>
              <a:buBlip>
                <a:blip r:embed="rId2"/>
              </a:buBlip>
              <a:defRPr sz="1800" kern="1200">
                <a:solidFill>
                  <a:schemeClr val="tx1"/>
                </a:solidFill>
                <a:latin typeface="+mn-lt"/>
                <a:ea typeface="+mn-ea"/>
                <a:cs typeface="+mn-cs"/>
              </a:defRPr>
            </a:lvl3pPr>
            <a:lvl4pPr marL="1343025" marR="0" indent="-263525" algn="l" defTabSz="1644650" rtl="0" eaLnBrk="0" fontAlgn="base" latinLnBrk="0" hangingPunct="0">
              <a:lnSpc>
                <a:spcPct val="130000"/>
              </a:lnSpc>
              <a:spcBef>
                <a:spcPct val="0"/>
              </a:spcBef>
              <a:spcAft>
                <a:spcPts val="1200"/>
              </a:spcAft>
              <a:buClr>
                <a:srgbClr val="004C99"/>
              </a:buClr>
              <a:buSzPct val="120000"/>
              <a:buFontTx/>
              <a:buBlip>
                <a:blip r:embed="rId2"/>
              </a:buBlip>
              <a:defRPr sz="1800" kern="1200">
                <a:solidFill>
                  <a:schemeClr val="tx1"/>
                </a:solidFill>
                <a:latin typeface="+mn-lt"/>
                <a:ea typeface="+mn-ea"/>
                <a:cs typeface="+mn-cs"/>
              </a:defRPr>
            </a:lvl4pPr>
            <a:lvl5pPr marL="1704975" marR="0" indent="-271463" algn="l" defTabSz="1644650" rtl="0" eaLnBrk="0" fontAlgn="base" latinLnBrk="0" hangingPunct="0">
              <a:lnSpc>
                <a:spcPct val="130000"/>
              </a:lnSpc>
              <a:spcBef>
                <a:spcPct val="0"/>
              </a:spcBef>
              <a:spcAft>
                <a:spcPts val="1200"/>
              </a:spcAft>
              <a:buClr>
                <a:srgbClr val="004C99"/>
              </a:buClr>
              <a:buSzPct val="120000"/>
              <a:buFontTx/>
              <a:buBlip>
                <a:blip r:embed="rId2"/>
              </a:buBlip>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rtl="1">
              <a:buFontTx/>
              <a:buNone/>
            </a:pPr>
            <a:r>
              <a:rPr lang="he-IL" dirty="0" err="1">
                <a:latin typeface="Calibri" panose="020F0502020204030204" pitchFamily="34" charset="0"/>
                <a:ea typeface="Calibri" panose="020F0502020204030204" pitchFamily="34" charset="0"/>
                <a:cs typeface="Calibri" panose="020F0502020204030204" pitchFamily="34" charset="0"/>
              </a:rPr>
              <a:t>פלטרנספורט</a:t>
            </a:r>
            <a:r>
              <a:rPr lang="he-IL" dirty="0">
                <a:latin typeface="Calibri" panose="020F0502020204030204" pitchFamily="34" charset="0"/>
                <a:ea typeface="Calibri" panose="020F0502020204030204" pitchFamily="34" charset="0"/>
                <a:cs typeface="Calibri" panose="020F0502020204030204" pitchFamily="34" charset="0"/>
              </a:rPr>
              <a:t> מחזיקה בנוהל </a:t>
            </a:r>
            <a:r>
              <a:rPr lang="en-US" dirty="0">
                <a:latin typeface="Calibri" panose="020F0502020204030204" pitchFamily="34" charset="0"/>
                <a:ea typeface="Calibri" panose="020F0502020204030204" pitchFamily="34" charset="0"/>
                <a:cs typeface="Calibri" panose="020F0502020204030204" pitchFamily="34" charset="0"/>
              </a:rPr>
              <a:t>DRP</a:t>
            </a:r>
            <a:r>
              <a:rPr lang="he-IL" dirty="0">
                <a:latin typeface="Calibri" panose="020F0502020204030204" pitchFamily="34" charset="0"/>
                <a:ea typeface="Calibri" panose="020F0502020204030204" pitchFamily="34" charset="0"/>
                <a:cs typeface="Calibri" panose="020F0502020204030204" pitchFamily="34" charset="0"/>
              </a:rPr>
              <a:t> מספר </a:t>
            </a:r>
            <a:r>
              <a:rPr lang="en-US" dirty="0">
                <a:latin typeface="Calibri" panose="020F0502020204030204" pitchFamily="34" charset="0"/>
                <a:ea typeface="Calibri" panose="020F0502020204030204" pitchFamily="34" charset="0"/>
                <a:cs typeface="Calibri" panose="020F0502020204030204" pitchFamily="34" charset="0"/>
              </a:rPr>
              <a:t>EF-04-00</a:t>
            </a:r>
            <a:r>
              <a:rPr lang="he-IL" dirty="0">
                <a:latin typeface="Calibri" panose="020F0502020204030204" pitchFamily="34" charset="0"/>
                <a:ea typeface="Calibri" panose="020F0502020204030204" pitchFamily="34" charset="0"/>
                <a:cs typeface="Calibri" panose="020F0502020204030204" pitchFamily="34" charset="0"/>
              </a:rPr>
              <a:t> משנת 2024 המגדיר את הפעולות הנדרשות לביצוע במקרה אסון לצורך חזרה לפעילות.</a:t>
            </a:r>
          </a:p>
          <a:p>
            <a:pPr marL="0" indent="0" algn="r" rtl="1">
              <a:buNone/>
            </a:pPr>
            <a:r>
              <a:rPr lang="he-IL" dirty="0" err="1">
                <a:latin typeface="Calibri" panose="020F0502020204030204" pitchFamily="34" charset="0"/>
                <a:ea typeface="Calibri" panose="020F0502020204030204" pitchFamily="34" charset="0"/>
                <a:cs typeface="Calibri" panose="020F0502020204030204" pitchFamily="34" charset="0"/>
              </a:rPr>
              <a:t>פלטרנספורט</a:t>
            </a:r>
            <a:r>
              <a:rPr lang="he-IL" dirty="0">
                <a:latin typeface="Calibri" panose="020F0502020204030204" pitchFamily="34" charset="0"/>
                <a:ea typeface="Calibri" panose="020F0502020204030204" pitchFamily="34" charset="0"/>
                <a:cs typeface="Calibri" panose="020F0502020204030204" pitchFamily="34" charset="0"/>
              </a:rPr>
              <a:t> הינה חלק ממערך משק לשעת חירום (מל"ח) של מדינת ישראל.</a:t>
            </a:r>
          </a:p>
          <a:p>
            <a:pPr marL="0" indent="0" algn="r" rtl="1">
              <a:buFontTx/>
              <a:buNone/>
            </a:pPr>
            <a:r>
              <a:rPr lang="he-IL" dirty="0">
                <a:latin typeface="Calibri" panose="020F0502020204030204" pitchFamily="34" charset="0"/>
                <a:ea typeface="Calibri" panose="020F0502020204030204" pitchFamily="34" charset="0"/>
                <a:cs typeface="Calibri" panose="020F0502020204030204" pitchFamily="34" charset="0"/>
              </a:rPr>
              <a:t>במקרה של אסון הנובע מ-"שעת חירום" כמוגדר בתקנות פיקוד העורף, החברה ממשיכה לתפקד ע"פ הנחיות פיקוד העורף לרבות הגעת עובדים למשרדי החברה, כפי שכבר חווינו במלחמות ישראל ובסגרי מגפת </a:t>
            </a:r>
            <a:r>
              <a:rPr lang="en-US" dirty="0">
                <a:latin typeface="Calibri" panose="020F0502020204030204" pitchFamily="34" charset="0"/>
                <a:ea typeface="Calibri" panose="020F0502020204030204" pitchFamily="34" charset="0"/>
                <a:cs typeface="Calibri" panose="020F0502020204030204" pitchFamily="34" charset="0"/>
              </a:rPr>
              <a:t>Covid19</a:t>
            </a:r>
            <a:r>
              <a:rPr lang="he-IL" dirty="0">
                <a:latin typeface="Calibri" panose="020F0502020204030204" pitchFamily="34" charset="0"/>
                <a:ea typeface="Calibri" panose="020F0502020204030204" pitchFamily="34" charset="0"/>
                <a:cs typeface="Calibri" panose="020F0502020204030204" pitchFamily="34" charset="0"/>
              </a:rPr>
              <a:t>.</a:t>
            </a:r>
          </a:p>
          <a:p>
            <a:pPr marL="0" indent="0" algn="r" rtl="1">
              <a:buNone/>
            </a:pPr>
            <a:r>
              <a:rPr lang="he-IL" dirty="0">
                <a:latin typeface="Calibri" panose="020F0502020204030204" pitchFamily="34" charset="0"/>
                <a:ea typeface="Calibri" panose="020F0502020204030204" pitchFamily="34" charset="0"/>
                <a:cs typeface="Calibri" panose="020F0502020204030204" pitchFamily="34" charset="0"/>
              </a:rPr>
              <a:t>במצב חירום שלא יאפשר תפקוד תקין של מערך סחר החוץ של ישראל, </a:t>
            </a:r>
            <a:r>
              <a:rPr lang="he-IL" dirty="0" err="1">
                <a:latin typeface="Calibri" panose="020F0502020204030204" pitchFamily="34" charset="0"/>
                <a:ea typeface="Calibri" panose="020F0502020204030204" pitchFamily="34" charset="0"/>
                <a:cs typeface="Calibri" panose="020F0502020204030204" pitchFamily="34" charset="0"/>
              </a:rPr>
              <a:t>פלטרנספורט</a:t>
            </a:r>
            <a:r>
              <a:rPr lang="he-IL" dirty="0">
                <a:latin typeface="Calibri" panose="020F0502020204030204" pitchFamily="34" charset="0"/>
                <a:ea typeface="Calibri" panose="020F0502020204030204" pitchFamily="34" charset="0"/>
                <a:cs typeface="Calibri" panose="020F0502020204030204" pitchFamily="34" charset="0"/>
              </a:rPr>
              <a:t> תעמוד בקשר מול כל הגורמים הרלוונטיים בבתי המכס, בהנהלת המכס וכל גורם ממשלתי אחר - באופן ישיר ו/או באמצעות ארגון סוכני המכס - ע"מ שנוכל לתפעל ולהתיר משלוחי יבוא/יצוא שיוגדרו כבעלי אופי רגיש ושאינם סובלים דיחוי וזאת בהתאם לנהלים שיוגדרו בשעת החירום ע"י הגופים הממשלתיים השונים.</a:t>
            </a:r>
          </a:p>
          <a:p>
            <a:pPr marL="0" indent="0" algn="r" rtl="1">
              <a:buFontTx/>
              <a:buNone/>
            </a:pPr>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7" name="Textplatzhalter 4">
            <a:extLst>
              <a:ext uri="{FF2B5EF4-FFF2-40B4-BE49-F238E27FC236}">
                <a16:creationId xmlns:a16="http://schemas.microsoft.com/office/drawing/2014/main" id="{E409D586-845E-4815-ACD6-BA10A4577839}"/>
              </a:ext>
            </a:extLst>
          </p:cNvPr>
          <p:cNvSpPr txBox="1"/>
          <p:nvPr/>
        </p:nvSpPr>
        <p:spPr>
          <a:xfrm>
            <a:off x="707924" y="2404551"/>
            <a:ext cx="4994788" cy="4232223"/>
          </a:xfrm>
          <a:prstGeom prst="rect">
            <a:avLst/>
          </a:prstGeom>
        </p:spPr>
        <p:txBody>
          <a:bodyPr lIns="0">
            <a:normAutofit fontScale="92500" lnSpcReduction="10000"/>
          </a:bodyPr>
          <a:lstStyle>
            <a:lvl1pPr marL="266700" marR="0" indent="-266700" algn="l" defTabSz="1644650" rtl="0" eaLnBrk="0" fontAlgn="base" latinLnBrk="0" hangingPunct="0">
              <a:lnSpc>
                <a:spcPct val="130000"/>
              </a:lnSpc>
              <a:spcBef>
                <a:spcPct val="0"/>
              </a:spcBef>
              <a:spcAft>
                <a:spcPts val="1200"/>
              </a:spcAft>
              <a:buClr>
                <a:srgbClr val="004C99"/>
              </a:buClr>
              <a:buSzPct val="120000"/>
              <a:buFontTx/>
              <a:buBlip>
                <a:blip r:embed="rId2"/>
              </a:buBlip>
              <a:defRPr sz="1800" kern="1200">
                <a:solidFill>
                  <a:schemeClr val="tx1"/>
                </a:solidFill>
                <a:latin typeface="+mn-lt"/>
                <a:ea typeface="+mn-ea"/>
                <a:cs typeface="+mn-cs"/>
              </a:defRPr>
            </a:lvl1pPr>
            <a:lvl2pPr marL="630238" marR="0" indent="-268288" algn="l" defTabSz="1644650" rtl="0" eaLnBrk="0" fontAlgn="base" latinLnBrk="0" hangingPunct="0">
              <a:lnSpc>
                <a:spcPct val="130000"/>
              </a:lnSpc>
              <a:spcBef>
                <a:spcPct val="0"/>
              </a:spcBef>
              <a:spcAft>
                <a:spcPts val="1200"/>
              </a:spcAft>
              <a:buClr>
                <a:srgbClr val="004C99"/>
              </a:buClr>
              <a:buSzPct val="120000"/>
              <a:buFontTx/>
              <a:buBlip>
                <a:blip r:embed="rId2"/>
              </a:buBlip>
              <a:defRPr sz="1800" kern="1200">
                <a:solidFill>
                  <a:schemeClr val="tx1"/>
                </a:solidFill>
                <a:latin typeface="+mn-lt"/>
                <a:ea typeface="+mn-ea"/>
                <a:cs typeface="+mn-cs"/>
              </a:defRPr>
            </a:lvl2pPr>
            <a:lvl3pPr marL="990600" marR="0" indent="-274638" algn="l" defTabSz="1644650" rtl="0" eaLnBrk="0" fontAlgn="base" latinLnBrk="0" hangingPunct="0">
              <a:lnSpc>
                <a:spcPct val="130000"/>
              </a:lnSpc>
              <a:spcBef>
                <a:spcPct val="0"/>
              </a:spcBef>
              <a:spcAft>
                <a:spcPts val="1200"/>
              </a:spcAft>
              <a:buClr>
                <a:srgbClr val="004C99"/>
              </a:buClr>
              <a:buSzPct val="120000"/>
              <a:buFontTx/>
              <a:buBlip>
                <a:blip r:embed="rId2"/>
              </a:buBlip>
              <a:defRPr sz="1800" kern="1200">
                <a:solidFill>
                  <a:schemeClr val="tx1"/>
                </a:solidFill>
                <a:latin typeface="+mn-lt"/>
                <a:ea typeface="+mn-ea"/>
                <a:cs typeface="+mn-cs"/>
              </a:defRPr>
            </a:lvl3pPr>
            <a:lvl4pPr marL="1343025" marR="0" indent="-263525" algn="l" defTabSz="1644650" rtl="0" eaLnBrk="0" fontAlgn="base" latinLnBrk="0" hangingPunct="0">
              <a:lnSpc>
                <a:spcPct val="130000"/>
              </a:lnSpc>
              <a:spcBef>
                <a:spcPct val="0"/>
              </a:spcBef>
              <a:spcAft>
                <a:spcPts val="1200"/>
              </a:spcAft>
              <a:buClr>
                <a:srgbClr val="004C99"/>
              </a:buClr>
              <a:buSzPct val="120000"/>
              <a:buFontTx/>
              <a:buBlip>
                <a:blip r:embed="rId2"/>
              </a:buBlip>
              <a:defRPr sz="1800" kern="1200">
                <a:solidFill>
                  <a:schemeClr val="tx1"/>
                </a:solidFill>
                <a:latin typeface="+mn-lt"/>
                <a:ea typeface="+mn-ea"/>
                <a:cs typeface="+mn-cs"/>
              </a:defRPr>
            </a:lvl4pPr>
            <a:lvl5pPr marL="1704975" marR="0" indent="-271463" algn="l" defTabSz="1644650" rtl="0" eaLnBrk="0" fontAlgn="base" latinLnBrk="0" hangingPunct="0">
              <a:lnSpc>
                <a:spcPct val="130000"/>
              </a:lnSpc>
              <a:spcBef>
                <a:spcPct val="0"/>
              </a:spcBef>
              <a:spcAft>
                <a:spcPts val="1200"/>
              </a:spcAft>
              <a:buClr>
                <a:srgbClr val="004C99"/>
              </a:buClr>
              <a:buSzPct val="120000"/>
              <a:buFontTx/>
              <a:buBlip>
                <a:blip r:embed="rId2"/>
              </a:buBlip>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rtl="1">
              <a:lnSpc>
                <a:spcPct val="100000"/>
              </a:lnSpc>
              <a:buNone/>
            </a:pPr>
            <a:r>
              <a:rPr lang="he-IL" sz="2000" b="1" dirty="0">
                <a:solidFill>
                  <a:schemeClr val="accent1"/>
                </a:solidFill>
                <a:latin typeface="Calibri" panose="020F0502020204030204" pitchFamily="34" charset="0"/>
                <a:ea typeface="Calibri" panose="020F0502020204030204" pitchFamily="34" charset="0"/>
                <a:cs typeface="Calibri" panose="020F0502020204030204" pitchFamily="34" charset="0"/>
              </a:rPr>
              <a:t>נקודות מרכזיות מתוך נוהל </a:t>
            </a:r>
            <a:r>
              <a:rPr lang="en-US" sz="2000" b="1" dirty="0">
                <a:solidFill>
                  <a:schemeClr val="accent1"/>
                </a:solidFill>
                <a:latin typeface="Calibri" panose="020F0502020204030204" pitchFamily="34" charset="0"/>
                <a:ea typeface="Calibri" panose="020F0502020204030204" pitchFamily="34" charset="0"/>
                <a:cs typeface="Calibri" panose="020F0502020204030204" pitchFamily="34" charset="0"/>
              </a:rPr>
              <a:t>DRP</a:t>
            </a:r>
          </a:p>
          <a:p>
            <a:pPr algn="r" rtl="1">
              <a:lnSpc>
                <a:spcPct val="100000"/>
              </a:lnSpc>
              <a:buFont typeface="Arial" panose="020B0604020202020204" pitchFamily="34" charset="0"/>
              <a:buChar char="•"/>
            </a:pPr>
            <a:r>
              <a:rPr lang="he-IL" b="1" dirty="0">
                <a:solidFill>
                  <a:srgbClr val="3C5B7B">
                    <a:alpha val="70000"/>
                  </a:srgbClr>
                </a:solidFill>
                <a:latin typeface="Calibri" panose="020F0502020204030204" pitchFamily="34" charset="0"/>
                <a:ea typeface="Calibri" panose="020F0502020204030204" pitchFamily="34" charset="0"/>
                <a:cs typeface="Calibri" panose="020F0502020204030204" pitchFamily="34" charset="0"/>
              </a:rPr>
              <a:t>מערכות המידע של החברה מאוחסנות בשרתי הענן של חברת </a:t>
            </a:r>
            <a:r>
              <a:rPr lang="en-US" b="1" dirty="0">
                <a:solidFill>
                  <a:srgbClr val="3C5B7B">
                    <a:alpha val="70000"/>
                  </a:srgbClr>
                </a:solidFill>
                <a:latin typeface="Calibri" panose="020F0502020204030204" pitchFamily="34" charset="0"/>
                <a:ea typeface="Calibri" panose="020F0502020204030204" pitchFamily="34" charset="0"/>
                <a:cs typeface="Calibri" panose="020F0502020204030204" pitchFamily="34" charset="0"/>
              </a:rPr>
              <a:t>We </a:t>
            </a:r>
            <a:r>
              <a:rPr lang="en-US" b="1" dirty="0" err="1">
                <a:solidFill>
                  <a:srgbClr val="3C5B7B">
                    <a:alpha val="70000"/>
                  </a:srgbClr>
                </a:solidFill>
                <a:latin typeface="Calibri" panose="020F0502020204030204" pitchFamily="34" charset="0"/>
                <a:ea typeface="Calibri" panose="020F0502020204030204" pitchFamily="34" charset="0"/>
                <a:cs typeface="Calibri" panose="020F0502020204030204" pitchFamily="34" charset="0"/>
              </a:rPr>
              <a:t>Ankor</a:t>
            </a:r>
            <a:r>
              <a:rPr lang="he-IL" b="1" dirty="0">
                <a:solidFill>
                  <a:srgbClr val="3C5B7B">
                    <a:alpha val="70000"/>
                  </a:srgbClr>
                </a:solidFill>
                <a:latin typeface="Calibri" panose="020F0502020204030204" pitchFamily="34" charset="0"/>
                <a:ea typeface="Calibri" panose="020F0502020204030204" pitchFamily="34" charset="0"/>
                <a:cs typeface="Calibri" panose="020F0502020204030204" pitchFamily="34" charset="0"/>
              </a:rPr>
              <a:t>. כל הציוד והתשתיות נמצאים בחוות השרתים של בזק הנחשבת לאחת המאובטחות בישראל.</a:t>
            </a:r>
            <a:endParaRPr lang="en-US" b="1" dirty="0">
              <a:solidFill>
                <a:srgbClr val="3C5B7B">
                  <a:alpha val="70000"/>
                </a:srgbClr>
              </a:solidFill>
              <a:latin typeface="Calibri" panose="020F0502020204030204" pitchFamily="34" charset="0"/>
              <a:ea typeface="Calibri" panose="020F0502020204030204" pitchFamily="34" charset="0"/>
              <a:cs typeface="Calibri" panose="020F0502020204030204" pitchFamily="34" charset="0"/>
            </a:endParaRPr>
          </a:p>
          <a:p>
            <a:pPr algn="r" rtl="1">
              <a:lnSpc>
                <a:spcPct val="100000"/>
              </a:lnSpc>
              <a:buFont typeface="Arial" panose="020B0604020202020204" pitchFamily="34" charset="0"/>
              <a:buChar char="•"/>
            </a:pPr>
            <a:r>
              <a:rPr lang="he-IL" b="1" dirty="0">
                <a:solidFill>
                  <a:srgbClr val="3C5B7B">
                    <a:alpha val="70000"/>
                  </a:srgbClr>
                </a:solidFill>
                <a:latin typeface="Calibri" panose="020F0502020204030204" pitchFamily="34" charset="0"/>
                <a:ea typeface="Calibri" panose="020F0502020204030204" pitchFamily="34" charset="0"/>
                <a:cs typeface="Calibri" panose="020F0502020204030204" pitchFamily="34" charset="0"/>
              </a:rPr>
              <a:t>הנתונים מגובים באופן אוטומטי מספר פעמים ביום באתר מקומי וביעד מרוחק.</a:t>
            </a:r>
          </a:p>
          <a:p>
            <a:pPr algn="r" rtl="1">
              <a:lnSpc>
                <a:spcPct val="100000"/>
              </a:lnSpc>
              <a:buFont typeface="Arial" panose="020B0604020202020204" pitchFamily="34" charset="0"/>
              <a:buChar char="•"/>
            </a:pPr>
            <a:r>
              <a:rPr lang="he-IL" b="1" dirty="0">
                <a:solidFill>
                  <a:srgbClr val="3C5B7B">
                    <a:alpha val="70000"/>
                  </a:srgbClr>
                </a:solidFill>
                <a:latin typeface="Calibri" panose="020F0502020204030204" pitchFamily="34" charset="0"/>
                <a:ea typeface="Calibri" panose="020F0502020204030204" pitchFamily="34" charset="0"/>
                <a:cs typeface="Calibri" panose="020F0502020204030204" pitchFamily="34" charset="0"/>
              </a:rPr>
              <a:t>במקרה של אסון שימנע את האפשרות לשימוש במשרד הראשי או בסניפים, ניתן להמשיך פעילות מהסניפים האחרים של החברה.</a:t>
            </a:r>
          </a:p>
          <a:p>
            <a:pPr algn="r" rtl="1">
              <a:lnSpc>
                <a:spcPct val="100000"/>
              </a:lnSpc>
              <a:buFont typeface="Arial" panose="020B0604020202020204" pitchFamily="34" charset="0"/>
              <a:buChar char="•"/>
            </a:pPr>
            <a:r>
              <a:rPr lang="he-IL" b="1" dirty="0">
                <a:solidFill>
                  <a:srgbClr val="3C5B7B">
                    <a:alpha val="70000"/>
                  </a:srgbClr>
                </a:solidFill>
                <a:latin typeface="Calibri" panose="020F0502020204030204" pitchFamily="34" charset="0"/>
                <a:ea typeface="Calibri" panose="020F0502020204030204" pitchFamily="34" charset="0"/>
                <a:cs typeface="Calibri" panose="020F0502020204030204" pitchFamily="34" charset="0"/>
              </a:rPr>
              <a:t>סניף נתב"ג מהווה חלופה ראשונה במידה ולא ניתן להשתמש במשרדיה הראשיים של החברה.</a:t>
            </a:r>
          </a:p>
          <a:p>
            <a:pPr algn="r" rtl="1">
              <a:lnSpc>
                <a:spcPct val="100000"/>
              </a:lnSpc>
              <a:buFont typeface="Arial" panose="020B0604020202020204" pitchFamily="34" charset="0"/>
              <a:buChar char="•"/>
            </a:pPr>
            <a:r>
              <a:rPr lang="he-IL" b="1" dirty="0">
                <a:solidFill>
                  <a:srgbClr val="3C5B7B">
                    <a:alpha val="70000"/>
                  </a:srgbClr>
                </a:solidFill>
                <a:latin typeface="Calibri" panose="020F0502020204030204" pitchFamily="34" charset="0"/>
                <a:ea typeface="Calibri" panose="020F0502020204030204" pitchFamily="34" charset="0"/>
                <a:cs typeface="Calibri" panose="020F0502020204030204" pitchFamily="34" charset="0"/>
              </a:rPr>
              <a:t>לכל מנהלי החברה, ראשי הצוותים ולרוב העובדים יש גישה מהבית למחשבי החברה וכבר היום ניתן לבצע עבודה רציפה מהבית ללא תלות בסניף הראשי.</a:t>
            </a:r>
          </a:p>
        </p:txBody>
      </p:sp>
    </p:spTree>
    <p:extLst>
      <p:ext uri="{BB962C8B-B14F-4D97-AF65-F5344CB8AC3E}">
        <p14:creationId xmlns:p14="http://schemas.microsoft.com/office/powerpoint/2010/main" val="198203316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1+#ppt_w/2"/>
                                          </p:val>
                                        </p:tav>
                                        <p:tav tm="100000">
                                          <p:val>
                                            <p:strVal val="#ppt_x"/>
                                          </p:val>
                                        </p:tav>
                                      </p:tavLst>
                                    </p:anim>
                                    <p:anim calcmode="lin" valueType="num">
                                      <p:cBhvr additive="base">
                                        <p:cTn id="8" dur="1000" fill="hold"/>
                                        <p:tgtEl>
                                          <p:spTgt spid="2"/>
                                        </p:tgtEl>
                                        <p:attrNameLst>
                                          <p:attrName>ppt_y</p:attrName>
                                        </p:attrNameLst>
                                      </p:cBhvr>
                                      <p:tavLst>
                                        <p:tav tm="0">
                                          <p:val>
                                            <p:strVal val="#ppt_y"/>
                                          </p:val>
                                        </p:tav>
                                        <p:tav tm="100000">
                                          <p:val>
                                            <p:strVal val="#ppt_y"/>
                                          </p:val>
                                        </p:tav>
                                      </p:tavLst>
                                    </p:anim>
                                  </p:childTnLst>
                                </p:cTn>
                              </p:par>
                              <p:par>
                                <p:cTn id="9" presetID="2" presetClass="entr" presetSubtype="1" fill="hold" grpId="0" nodeType="withEffect">
                                  <p:stCondLst>
                                    <p:cond delay="0"/>
                                  </p:stCondLst>
                                  <p:childTnLst>
                                    <p:set>
                                      <p:cBhvr>
                                        <p:cTn id="10" dur="1" fill="hold">
                                          <p:stCondLst>
                                            <p:cond delay="0"/>
                                          </p:stCondLst>
                                        </p:cTn>
                                        <p:tgtEl>
                                          <p:spTgt spid="6"/>
                                        </p:tgtEl>
                                        <p:attrNameLst>
                                          <p:attrName>style.visibility</p:attrName>
                                        </p:attrNameLst>
                                      </p:cBhvr>
                                      <p:to>
                                        <p:strVal val="visible"/>
                                      </p:to>
                                    </p:set>
                                    <p:anim calcmode="lin" valueType="num">
                                      <p:cBhvr additive="base">
                                        <p:cTn id="11" dur="500" fill="hold"/>
                                        <p:tgtEl>
                                          <p:spTgt spid="6"/>
                                        </p:tgtEl>
                                        <p:attrNameLst>
                                          <p:attrName>ppt_x</p:attrName>
                                        </p:attrNameLst>
                                      </p:cBhvr>
                                      <p:tavLst>
                                        <p:tav tm="0">
                                          <p:val>
                                            <p:strVal val="#ppt_x"/>
                                          </p:val>
                                        </p:tav>
                                        <p:tav tm="100000">
                                          <p:val>
                                            <p:strVal val="#ppt_x"/>
                                          </p:val>
                                        </p:tav>
                                      </p:tavLst>
                                    </p:anim>
                                    <p:anim calcmode="lin" valueType="num">
                                      <p:cBhvr additive="base">
                                        <p:cTn id="12" dur="500" fill="hold"/>
                                        <p:tgtEl>
                                          <p:spTgt spid="6"/>
                                        </p:tgtEl>
                                        <p:attrNameLst>
                                          <p:attrName>ppt_y</p:attrName>
                                        </p:attrNameLst>
                                      </p:cBhvr>
                                      <p:tavLst>
                                        <p:tav tm="0">
                                          <p:val>
                                            <p:strVal val="0-#ppt_h/2"/>
                                          </p:val>
                                        </p:tav>
                                        <p:tav tm="100000">
                                          <p:val>
                                            <p:strVal val="#ppt_y"/>
                                          </p:val>
                                        </p:tav>
                                      </p:tavLst>
                                    </p:anim>
                                  </p:childTnLst>
                                </p:cTn>
                              </p:par>
                            </p:childTnLst>
                          </p:cTn>
                        </p:par>
                        <p:par>
                          <p:cTn id="13" fill="hold">
                            <p:stCondLst>
                              <p:cond delay="1000"/>
                            </p:stCondLst>
                            <p:childTnLst>
                              <p:par>
                                <p:cTn id="14" presetID="2" presetClass="entr" presetSubtype="4" decel="100000" fill="hold" grpId="0" nodeType="afterEffect">
                                  <p:stCondLst>
                                    <p:cond delay="0"/>
                                  </p:stCondLst>
                                  <p:childTnLst>
                                    <p:set>
                                      <p:cBhvr>
                                        <p:cTn id="15" dur="1" fill="hold">
                                          <p:stCondLst>
                                            <p:cond delay="0"/>
                                          </p:stCondLst>
                                        </p:cTn>
                                        <p:tgtEl>
                                          <p:spTgt spid="7"/>
                                        </p:tgtEl>
                                        <p:attrNameLst>
                                          <p:attrName>style.visibility</p:attrName>
                                        </p:attrNameLst>
                                      </p:cBhvr>
                                      <p:to>
                                        <p:strVal val="visible"/>
                                      </p:to>
                                    </p:set>
                                    <p:anim calcmode="lin" valueType="num">
                                      <p:cBhvr additive="base">
                                        <p:cTn id="16" dur="1000" fill="hold"/>
                                        <p:tgtEl>
                                          <p:spTgt spid="7"/>
                                        </p:tgtEl>
                                        <p:attrNameLst>
                                          <p:attrName>ppt_x</p:attrName>
                                        </p:attrNameLst>
                                      </p:cBhvr>
                                      <p:tavLst>
                                        <p:tav tm="0">
                                          <p:val>
                                            <p:strVal val="#ppt_x"/>
                                          </p:val>
                                        </p:tav>
                                        <p:tav tm="100000">
                                          <p:val>
                                            <p:strVal val="#ppt_x"/>
                                          </p:val>
                                        </p:tav>
                                      </p:tavLst>
                                    </p:anim>
                                    <p:anim calcmode="lin" valueType="num">
                                      <p:cBhvr additive="base">
                                        <p:cTn id="17" dur="10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6" grpId="0"/>
      <p:bldP spid="7"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6BEEC3E-0A3F-111A-1516-41351E370192}"/>
              </a:ext>
            </a:extLst>
          </p:cNvPr>
          <p:cNvSpPr txBox="1"/>
          <p:nvPr/>
        </p:nvSpPr>
        <p:spPr>
          <a:xfrm>
            <a:off x="7264399" y="728663"/>
            <a:ext cx="4108464" cy="767737"/>
          </a:xfrm>
          <a:prstGeom prst="rect">
            <a:avLst/>
          </a:prstGeom>
        </p:spPr>
        <p:txBody>
          <a:bodyPr lIns="0" rIns="0">
            <a:normAutofit/>
          </a:bodyPr>
          <a:lstStyle>
            <a:lvl1pPr algn="l" defTabSz="914400" rtl="0" eaLnBrk="1" latinLnBrk="0" hangingPunct="1">
              <a:lnSpc>
                <a:spcPct val="100000"/>
              </a:lnSpc>
              <a:spcBef>
                <a:spcPct val="0"/>
              </a:spcBef>
              <a:buNone/>
              <a:defRPr sz="2800" kern="1200">
                <a:solidFill>
                  <a:schemeClr val="tx2"/>
                </a:solidFill>
                <a:latin typeface="+mj-lt"/>
                <a:ea typeface="+mj-ea"/>
                <a:cs typeface="+mj-cs"/>
              </a:defRPr>
            </a:lvl1pPr>
          </a:lstStyle>
          <a:p>
            <a:pPr algn="r" rtl="1"/>
            <a:r>
              <a:rPr lang="he-IL" b="1">
                <a:effectLst>
                  <a:outerShdw blurRad="38100" dist="38100" dir="2700000" algn="tl">
                    <a:srgbClr val="000000">
                      <a:alpha val="43137"/>
                    </a:srgbClr>
                  </a:outerShdw>
                </a:effectLst>
                <a:latin typeface="Calibri" panose="020F0502020204030204" pitchFamily="34" charset="0"/>
                <a:ea typeface="Calibri" panose="020F0502020204030204" pitchFamily="34" charset="0"/>
                <a:cs typeface="Calibri" panose="020F0502020204030204" pitchFamily="34" charset="0"/>
              </a:rPr>
              <a:t>הסמכות, תעודות וחברויות</a:t>
            </a:r>
            <a:endParaRPr lang="de-DE">
              <a:effectLst>
                <a:outerShdw blurRad="38100" dist="38100" dir="2700000" algn="tl">
                  <a:srgbClr val="000000">
                    <a:alpha val="43137"/>
                  </a:srgbClr>
                </a:outerShdw>
              </a:effectLst>
              <a:latin typeface="Calibri" panose="020F0502020204030204" pitchFamily="34" charset="0"/>
              <a:ea typeface="Calibri" panose="020F0502020204030204" pitchFamily="34" charset="0"/>
              <a:cs typeface="Calibri" panose="020F0502020204030204" pitchFamily="34" charset="0"/>
            </a:endParaRPr>
          </a:p>
        </p:txBody>
      </p:sp>
      <p:sp>
        <p:nvSpPr>
          <p:cNvPr id="3" name="Textplatzhalter 3">
            <a:extLst>
              <a:ext uri="{FF2B5EF4-FFF2-40B4-BE49-F238E27FC236}">
                <a16:creationId xmlns:a16="http://schemas.microsoft.com/office/drawing/2014/main" id="{CD730FEF-22F7-93B9-81D6-7E4DC593EA55}"/>
              </a:ext>
            </a:extLst>
          </p:cNvPr>
          <p:cNvSpPr txBox="1"/>
          <p:nvPr/>
        </p:nvSpPr>
        <p:spPr>
          <a:xfrm>
            <a:off x="7264399" y="1656791"/>
            <a:ext cx="4108463" cy="4338638"/>
          </a:xfrm>
          <a:prstGeom prst="rect">
            <a:avLst/>
          </a:prstGeom>
        </p:spPr>
        <p:txBody>
          <a:bodyPr lIns="0" rIns="0">
            <a:noAutofit/>
          </a:bodyPr>
          <a:lstStyle>
            <a:lvl1pPr marL="266700" marR="0" indent="-266700" algn="l" defTabSz="1644650" rtl="0" eaLnBrk="0" fontAlgn="base" latinLnBrk="0" hangingPunct="0">
              <a:lnSpc>
                <a:spcPct val="130000"/>
              </a:lnSpc>
              <a:spcBef>
                <a:spcPct val="0"/>
              </a:spcBef>
              <a:spcAft>
                <a:spcPts val="1200"/>
              </a:spcAft>
              <a:buClr>
                <a:srgbClr val="004C99"/>
              </a:buClr>
              <a:buSzPct val="120000"/>
              <a:buFontTx/>
              <a:buBlip>
                <a:blip r:embed="rId2"/>
              </a:buBlip>
              <a:defRPr sz="1800" kern="1200">
                <a:solidFill>
                  <a:schemeClr val="tx1"/>
                </a:solidFill>
                <a:latin typeface="+mn-lt"/>
                <a:ea typeface="+mn-ea"/>
                <a:cs typeface="+mn-cs"/>
              </a:defRPr>
            </a:lvl1pPr>
            <a:lvl2pPr marL="630238" marR="0" indent="-268288" algn="l" defTabSz="1644650" rtl="0" eaLnBrk="0" fontAlgn="base" latinLnBrk="0" hangingPunct="0">
              <a:lnSpc>
                <a:spcPct val="130000"/>
              </a:lnSpc>
              <a:spcBef>
                <a:spcPct val="0"/>
              </a:spcBef>
              <a:spcAft>
                <a:spcPts val="1200"/>
              </a:spcAft>
              <a:buClr>
                <a:srgbClr val="004C99"/>
              </a:buClr>
              <a:buSzPct val="120000"/>
              <a:buFontTx/>
              <a:buBlip>
                <a:blip r:embed="rId2"/>
              </a:buBlip>
              <a:defRPr sz="1800" kern="1200">
                <a:solidFill>
                  <a:schemeClr val="tx1"/>
                </a:solidFill>
                <a:latin typeface="+mn-lt"/>
                <a:ea typeface="+mn-ea"/>
                <a:cs typeface="+mn-cs"/>
              </a:defRPr>
            </a:lvl2pPr>
            <a:lvl3pPr marL="990600" marR="0" indent="-274638" algn="l" defTabSz="1644650" rtl="0" eaLnBrk="0" fontAlgn="base" latinLnBrk="0" hangingPunct="0">
              <a:lnSpc>
                <a:spcPct val="130000"/>
              </a:lnSpc>
              <a:spcBef>
                <a:spcPct val="0"/>
              </a:spcBef>
              <a:spcAft>
                <a:spcPts val="1200"/>
              </a:spcAft>
              <a:buClr>
                <a:srgbClr val="004C99"/>
              </a:buClr>
              <a:buSzPct val="120000"/>
              <a:buFontTx/>
              <a:buBlip>
                <a:blip r:embed="rId2"/>
              </a:buBlip>
              <a:defRPr sz="1800" kern="1200">
                <a:solidFill>
                  <a:schemeClr val="tx1"/>
                </a:solidFill>
                <a:latin typeface="+mn-lt"/>
                <a:ea typeface="+mn-ea"/>
                <a:cs typeface="+mn-cs"/>
              </a:defRPr>
            </a:lvl3pPr>
            <a:lvl4pPr marL="1343025" marR="0" indent="-263525" algn="l" defTabSz="1644650" rtl="0" eaLnBrk="0" fontAlgn="base" latinLnBrk="0" hangingPunct="0">
              <a:lnSpc>
                <a:spcPct val="130000"/>
              </a:lnSpc>
              <a:spcBef>
                <a:spcPct val="0"/>
              </a:spcBef>
              <a:spcAft>
                <a:spcPts val="1200"/>
              </a:spcAft>
              <a:buClr>
                <a:srgbClr val="004C99"/>
              </a:buClr>
              <a:buSzPct val="120000"/>
              <a:buFontTx/>
              <a:buBlip>
                <a:blip r:embed="rId2"/>
              </a:buBlip>
              <a:defRPr sz="1800" kern="1200">
                <a:solidFill>
                  <a:schemeClr val="tx1"/>
                </a:solidFill>
                <a:latin typeface="+mn-lt"/>
                <a:ea typeface="+mn-ea"/>
                <a:cs typeface="+mn-cs"/>
              </a:defRPr>
            </a:lvl4pPr>
            <a:lvl5pPr marL="1704975" marR="0" indent="-271463" algn="l" defTabSz="1644650" rtl="0" eaLnBrk="0" fontAlgn="base" latinLnBrk="0" hangingPunct="0">
              <a:lnSpc>
                <a:spcPct val="130000"/>
              </a:lnSpc>
              <a:spcBef>
                <a:spcPct val="0"/>
              </a:spcBef>
              <a:spcAft>
                <a:spcPts val="1200"/>
              </a:spcAft>
              <a:buClr>
                <a:srgbClr val="004C99"/>
              </a:buClr>
              <a:buSzPct val="120000"/>
              <a:buFontTx/>
              <a:buBlip>
                <a:blip r:embed="rId2"/>
              </a:buBlip>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rtl="1">
              <a:lnSpc>
                <a:spcPct val="100000"/>
              </a:lnSpc>
              <a:buFontTx/>
              <a:buNone/>
            </a:pPr>
            <a:r>
              <a:rPr lang="he-IL" sz="1400" b="1" dirty="0">
                <a:solidFill>
                  <a:schemeClr val="accent1"/>
                </a:solidFill>
                <a:latin typeface="Roboto Bold" panose="02000000000000000000" pitchFamily="2" charset="0"/>
                <a:ea typeface="Roboto Bold" panose="02000000000000000000" pitchFamily="2" charset="0"/>
              </a:rPr>
              <a:t>אישורים רשמיים</a:t>
            </a:r>
            <a:endParaRPr lang="en-US" sz="1400" b="1" dirty="0">
              <a:solidFill>
                <a:schemeClr val="accent1"/>
              </a:solidFill>
              <a:latin typeface="Roboto Bold" panose="02000000000000000000" pitchFamily="2" charset="0"/>
              <a:ea typeface="Roboto Bold" panose="02000000000000000000" pitchFamily="2" charset="0"/>
            </a:endParaRPr>
          </a:p>
          <a:p>
            <a:pPr algn="r" rtl="1">
              <a:lnSpc>
                <a:spcPct val="100000"/>
              </a:lnSpc>
            </a:pPr>
            <a:r>
              <a:rPr lang="en-US" sz="1300" dirty="0">
                <a:latin typeface="Calibri" panose="020F0502020204030204" pitchFamily="34" charset="0"/>
                <a:ea typeface="Calibri" panose="020F0502020204030204" pitchFamily="34" charset="0"/>
                <a:cs typeface="Calibri" panose="020F0502020204030204" pitchFamily="34" charset="0"/>
              </a:rPr>
              <a:t>ISO 9001:2015</a:t>
            </a:r>
          </a:p>
          <a:p>
            <a:pPr algn="r" rtl="1">
              <a:lnSpc>
                <a:spcPct val="100000"/>
              </a:lnSpc>
            </a:pPr>
            <a:r>
              <a:rPr lang="he-IL" sz="1300" dirty="0">
                <a:latin typeface="Calibri" panose="020F0502020204030204" pitchFamily="34" charset="0"/>
                <a:ea typeface="Calibri" panose="020F0502020204030204" pitchFamily="34" charset="0"/>
                <a:cs typeface="Calibri" panose="020F0502020204030204" pitchFamily="34" charset="0"/>
              </a:rPr>
              <a:t>גורם כלכלי מאושר (</a:t>
            </a:r>
            <a:r>
              <a:rPr lang="en-US" sz="1300" dirty="0">
                <a:latin typeface="Calibri" panose="020F0502020204030204" pitchFamily="34" charset="0"/>
                <a:ea typeface="Calibri" panose="020F0502020204030204" pitchFamily="34" charset="0"/>
                <a:cs typeface="Calibri" panose="020F0502020204030204" pitchFamily="34" charset="0"/>
              </a:rPr>
              <a:t>AEO</a:t>
            </a:r>
            <a:r>
              <a:rPr lang="he-IL" sz="1300" dirty="0">
                <a:latin typeface="Calibri" panose="020F0502020204030204" pitchFamily="34" charset="0"/>
                <a:ea typeface="Calibri" panose="020F0502020204030204" pitchFamily="34" charset="0"/>
                <a:cs typeface="Calibri" panose="020F0502020204030204" pitchFamily="34" charset="0"/>
              </a:rPr>
              <a:t>)</a:t>
            </a:r>
            <a:endParaRPr lang="en-US" sz="1300" dirty="0">
              <a:latin typeface="Calibri" panose="020F0502020204030204" pitchFamily="34" charset="0"/>
              <a:ea typeface="Calibri" panose="020F0502020204030204" pitchFamily="34" charset="0"/>
              <a:cs typeface="Calibri" panose="020F0502020204030204" pitchFamily="34" charset="0"/>
            </a:endParaRPr>
          </a:p>
          <a:p>
            <a:pPr algn="r" rtl="1">
              <a:lnSpc>
                <a:spcPct val="100000"/>
              </a:lnSpc>
            </a:pPr>
            <a:r>
              <a:rPr lang="he-IL" sz="1300" dirty="0">
                <a:latin typeface="Calibri" panose="020F0502020204030204" pitchFamily="34" charset="0"/>
                <a:ea typeface="Calibri" panose="020F0502020204030204" pitchFamily="34" charset="0"/>
                <a:cs typeface="Calibri" panose="020F0502020204030204" pitchFamily="34" charset="0"/>
              </a:rPr>
              <a:t>מפעל חיוני – משק לשעת חירום (מל"ח)</a:t>
            </a:r>
            <a:endParaRPr lang="en-US" sz="1300" dirty="0">
              <a:latin typeface="Calibri" panose="020F0502020204030204" pitchFamily="34" charset="0"/>
              <a:ea typeface="Calibri" panose="020F0502020204030204" pitchFamily="34" charset="0"/>
              <a:cs typeface="Calibri" panose="020F0502020204030204" pitchFamily="34" charset="0"/>
            </a:endParaRPr>
          </a:p>
          <a:p>
            <a:pPr algn="r" rtl="1">
              <a:lnSpc>
                <a:spcPct val="100000"/>
              </a:lnSpc>
            </a:pPr>
            <a:r>
              <a:rPr lang="he-IL" sz="1300" dirty="0">
                <a:latin typeface="Calibri" panose="020F0502020204030204" pitchFamily="34" charset="0"/>
                <a:ea typeface="Calibri" panose="020F0502020204030204" pitchFamily="34" charset="0"/>
                <a:cs typeface="Calibri" panose="020F0502020204030204" pitchFamily="34" charset="0"/>
              </a:rPr>
              <a:t>רישיון להפעלת תאגיד סוכן מכס ומשלח בינ"ל</a:t>
            </a:r>
          </a:p>
          <a:p>
            <a:pPr algn="r" rtl="1">
              <a:lnSpc>
                <a:spcPct val="100000"/>
              </a:lnSpc>
            </a:pPr>
            <a:r>
              <a:rPr lang="he-IL" sz="1300" dirty="0">
                <a:latin typeface="Calibri" panose="020F0502020204030204" pitchFamily="34" charset="0"/>
                <a:ea typeface="Calibri" panose="020F0502020204030204" pitchFamily="34" charset="0"/>
                <a:cs typeface="Calibri" panose="020F0502020204030204" pitchFamily="34" charset="0"/>
              </a:rPr>
              <a:t>ספק מאושר ע"י משרד הביטחון</a:t>
            </a:r>
            <a:endParaRPr lang="en-US" sz="1300" dirty="0"/>
          </a:p>
          <a:p>
            <a:pPr marL="0" indent="0" algn="r" rtl="1">
              <a:lnSpc>
                <a:spcPct val="100000"/>
              </a:lnSpc>
              <a:buFontTx/>
              <a:buNone/>
            </a:pPr>
            <a:r>
              <a:rPr lang="he-IL" sz="1400" b="1" dirty="0">
                <a:solidFill>
                  <a:schemeClr val="accent1"/>
                </a:solidFill>
                <a:latin typeface="Roboto Bold" panose="02000000000000000000" pitchFamily="2" charset="0"/>
                <a:ea typeface="Roboto Bold" panose="02000000000000000000" pitchFamily="2" charset="0"/>
              </a:rPr>
              <a:t>חברויות</a:t>
            </a:r>
            <a:r>
              <a:rPr lang="he-IL" sz="1300" dirty="0">
                <a:solidFill>
                  <a:schemeClr val="accent1"/>
                </a:solidFill>
                <a:latin typeface="Roboto Bold" panose="02000000000000000000" pitchFamily="2" charset="0"/>
                <a:ea typeface="Roboto Bold" panose="02000000000000000000" pitchFamily="2" charset="0"/>
              </a:rPr>
              <a:t> </a:t>
            </a:r>
            <a:endParaRPr lang="en-US" sz="1300" dirty="0">
              <a:solidFill>
                <a:schemeClr val="accent1"/>
              </a:solidFill>
              <a:latin typeface="Roboto Bold" panose="02000000000000000000" pitchFamily="2" charset="0"/>
              <a:ea typeface="Roboto Bold" panose="02000000000000000000" pitchFamily="2" charset="0"/>
            </a:endParaRPr>
          </a:p>
          <a:p>
            <a:pPr algn="r" rtl="1">
              <a:lnSpc>
                <a:spcPct val="100000"/>
              </a:lnSpc>
            </a:pPr>
            <a:r>
              <a:rPr lang="en-US" sz="1300" dirty="0"/>
              <a:t>IATA</a:t>
            </a:r>
          </a:p>
          <a:p>
            <a:pPr algn="r" rtl="1">
              <a:lnSpc>
                <a:spcPct val="100000"/>
              </a:lnSpc>
            </a:pPr>
            <a:r>
              <a:rPr lang="en-US" sz="1300" dirty="0"/>
              <a:t>FIATA</a:t>
            </a:r>
            <a:endParaRPr lang="he-IL" sz="1300" dirty="0"/>
          </a:p>
          <a:p>
            <a:pPr algn="r" rtl="1">
              <a:lnSpc>
                <a:spcPct val="100000"/>
              </a:lnSpc>
            </a:pPr>
            <a:r>
              <a:rPr lang="en-US" sz="1300" dirty="0"/>
              <a:t>TT Club</a:t>
            </a:r>
          </a:p>
          <a:p>
            <a:pPr algn="r" rtl="1">
              <a:lnSpc>
                <a:spcPct val="100000"/>
              </a:lnSpc>
            </a:pPr>
            <a:r>
              <a:rPr lang="he-IL" sz="1300" dirty="0"/>
              <a:t>לשכת המסחר</a:t>
            </a:r>
          </a:p>
          <a:p>
            <a:pPr algn="r" rtl="1">
              <a:lnSpc>
                <a:spcPct val="100000"/>
              </a:lnSpc>
            </a:pPr>
            <a:r>
              <a:rPr lang="he-IL" sz="1300" dirty="0"/>
              <a:t>ארגון סוכני המכס והמשלחים הבינלאומיים</a:t>
            </a:r>
            <a:endParaRPr lang="en-US" sz="1300" dirty="0"/>
          </a:p>
        </p:txBody>
      </p:sp>
      <p:graphicFrame>
        <p:nvGraphicFramePr>
          <p:cNvPr id="5" name="אובייקט 4">
            <a:extLst>
              <a:ext uri="{FF2B5EF4-FFF2-40B4-BE49-F238E27FC236}">
                <a16:creationId xmlns:a16="http://schemas.microsoft.com/office/drawing/2014/main" id="{5F5E96EB-BE67-4E23-9EEE-140C90F8D82D}"/>
              </a:ext>
            </a:extLst>
          </p:cNvPr>
          <p:cNvGraphicFramePr>
            <a:graphicFrameLocks noChangeAspect="1"/>
          </p:cNvGraphicFramePr>
          <p:nvPr>
            <p:extLst>
              <p:ext uri="{D42A27DB-BD31-4B8C-83A1-F6EECF244321}">
                <p14:modId xmlns:p14="http://schemas.microsoft.com/office/powerpoint/2010/main" val="1954546480"/>
              </p:ext>
            </p:extLst>
          </p:nvPr>
        </p:nvGraphicFramePr>
        <p:xfrm>
          <a:off x="4430409" y="508862"/>
          <a:ext cx="2072396" cy="3051376"/>
        </p:xfrm>
        <a:graphic>
          <a:graphicData uri="http://schemas.openxmlformats.org/presentationml/2006/ole">
            <mc:AlternateContent xmlns:mc="http://schemas.openxmlformats.org/markup-compatibility/2006">
              <mc:Choice xmlns:v="urn:schemas-microsoft-com:vml" Requires="v">
                <p:oleObj name="PDF" r:id="rId3" imgW="0" imgH="360" progId="FoxitReader.Document">
                  <p:embed/>
                </p:oleObj>
              </mc:Choice>
              <mc:Fallback>
                <p:oleObj name="PDF" r:id="rId3" imgW="0" imgH="360" progId="FoxitReader.Document">
                  <p:embed/>
                  <p:pic>
                    <p:nvPicPr>
                      <p:cNvPr id="0" name=""/>
                      <p:cNvPicPr/>
                      <p:nvPr/>
                    </p:nvPicPr>
                    <p:blipFill>
                      <a:blip r:embed="rId4"/>
                      <a:stretch>
                        <a:fillRect/>
                      </a:stretch>
                    </p:blipFill>
                    <p:spPr>
                      <a:xfrm>
                        <a:off x="4430409" y="508862"/>
                        <a:ext cx="2072396" cy="3051376"/>
                      </a:xfrm>
                      <a:prstGeom prst="rect">
                        <a:avLst/>
                      </a:prstGeom>
                    </p:spPr>
                  </p:pic>
                </p:oleObj>
              </mc:Fallback>
            </mc:AlternateContent>
          </a:graphicData>
        </a:graphic>
      </p:graphicFrame>
      <p:graphicFrame>
        <p:nvGraphicFramePr>
          <p:cNvPr id="6" name="אובייקט 5">
            <a:extLst>
              <a:ext uri="{FF2B5EF4-FFF2-40B4-BE49-F238E27FC236}">
                <a16:creationId xmlns:a16="http://schemas.microsoft.com/office/drawing/2014/main" id="{A5A1204D-3350-44ED-AD37-40646492485D}"/>
              </a:ext>
            </a:extLst>
          </p:cNvPr>
          <p:cNvGraphicFramePr>
            <a:graphicFrameLocks noChangeAspect="1"/>
          </p:cNvGraphicFramePr>
          <p:nvPr>
            <p:extLst>
              <p:ext uri="{D42A27DB-BD31-4B8C-83A1-F6EECF244321}">
                <p14:modId xmlns:p14="http://schemas.microsoft.com/office/powerpoint/2010/main" val="1951049349"/>
              </p:ext>
            </p:extLst>
          </p:nvPr>
        </p:nvGraphicFramePr>
        <p:xfrm>
          <a:off x="3289413" y="1112531"/>
          <a:ext cx="2213719" cy="3189288"/>
        </p:xfrm>
        <a:graphic>
          <a:graphicData uri="http://schemas.openxmlformats.org/presentationml/2006/ole">
            <mc:AlternateContent xmlns:mc="http://schemas.openxmlformats.org/markup-compatibility/2006">
              <mc:Choice xmlns:v="urn:schemas-microsoft-com:vml" Requires="v">
                <p:oleObj name="PDF" r:id="rId5" imgW="0" imgH="360" progId="FoxitReader.Document">
                  <p:embed/>
                </p:oleObj>
              </mc:Choice>
              <mc:Fallback>
                <p:oleObj name="PDF" r:id="rId5" imgW="0" imgH="360" progId="FoxitReader.Document">
                  <p:embed/>
                  <p:pic>
                    <p:nvPicPr>
                      <p:cNvPr id="0" name=""/>
                      <p:cNvPicPr/>
                      <p:nvPr/>
                    </p:nvPicPr>
                    <p:blipFill>
                      <a:blip r:embed="rId6"/>
                      <a:stretch>
                        <a:fillRect/>
                      </a:stretch>
                    </p:blipFill>
                    <p:spPr>
                      <a:xfrm>
                        <a:off x="3289413" y="1112531"/>
                        <a:ext cx="2213719" cy="3189288"/>
                      </a:xfrm>
                      <a:prstGeom prst="rect">
                        <a:avLst/>
                      </a:prstGeom>
                    </p:spPr>
                  </p:pic>
                </p:oleObj>
              </mc:Fallback>
            </mc:AlternateContent>
          </a:graphicData>
        </a:graphic>
      </p:graphicFrame>
      <p:graphicFrame>
        <p:nvGraphicFramePr>
          <p:cNvPr id="7" name="אובייקט 6">
            <a:extLst>
              <a:ext uri="{FF2B5EF4-FFF2-40B4-BE49-F238E27FC236}">
                <a16:creationId xmlns:a16="http://schemas.microsoft.com/office/drawing/2014/main" id="{2A240B80-B669-4B83-BB7B-4FDC6127C1DA}"/>
              </a:ext>
            </a:extLst>
          </p:cNvPr>
          <p:cNvGraphicFramePr>
            <a:graphicFrameLocks noChangeAspect="1"/>
          </p:cNvGraphicFramePr>
          <p:nvPr>
            <p:extLst>
              <p:ext uri="{D42A27DB-BD31-4B8C-83A1-F6EECF244321}">
                <p14:modId xmlns:p14="http://schemas.microsoft.com/office/powerpoint/2010/main" val="1445435096"/>
              </p:ext>
            </p:extLst>
          </p:nvPr>
        </p:nvGraphicFramePr>
        <p:xfrm>
          <a:off x="2077327" y="2057097"/>
          <a:ext cx="2136972" cy="3122211"/>
        </p:xfrm>
        <a:graphic>
          <a:graphicData uri="http://schemas.openxmlformats.org/presentationml/2006/ole">
            <mc:AlternateContent xmlns:mc="http://schemas.openxmlformats.org/markup-compatibility/2006">
              <mc:Choice xmlns:v="urn:schemas-microsoft-com:vml" Requires="v">
                <p:oleObj name="PDF" r:id="rId7" imgW="0" imgH="360" progId="FoxitReader.Document">
                  <p:embed/>
                </p:oleObj>
              </mc:Choice>
              <mc:Fallback>
                <p:oleObj name="PDF" r:id="rId7" imgW="0" imgH="360" progId="FoxitReader.Document">
                  <p:embed/>
                  <p:pic>
                    <p:nvPicPr>
                      <p:cNvPr id="0" name=""/>
                      <p:cNvPicPr/>
                      <p:nvPr/>
                    </p:nvPicPr>
                    <p:blipFill>
                      <a:blip r:embed="rId8"/>
                      <a:stretch>
                        <a:fillRect/>
                      </a:stretch>
                    </p:blipFill>
                    <p:spPr>
                      <a:xfrm>
                        <a:off x="2077327" y="2057097"/>
                        <a:ext cx="2136972" cy="3122211"/>
                      </a:xfrm>
                      <a:prstGeom prst="rect">
                        <a:avLst/>
                      </a:prstGeom>
                    </p:spPr>
                  </p:pic>
                </p:oleObj>
              </mc:Fallback>
            </mc:AlternateContent>
          </a:graphicData>
        </a:graphic>
      </p:graphicFrame>
      <p:graphicFrame>
        <p:nvGraphicFramePr>
          <p:cNvPr id="9" name="אובייקט 8">
            <a:extLst>
              <a:ext uri="{FF2B5EF4-FFF2-40B4-BE49-F238E27FC236}">
                <a16:creationId xmlns:a16="http://schemas.microsoft.com/office/drawing/2014/main" id="{C58BFE62-5C95-4AF3-B2C9-A8715C3B9E9C}"/>
              </a:ext>
            </a:extLst>
          </p:cNvPr>
          <p:cNvGraphicFramePr>
            <a:graphicFrameLocks noChangeAspect="1"/>
          </p:cNvGraphicFramePr>
          <p:nvPr>
            <p:extLst>
              <p:ext uri="{D42A27DB-BD31-4B8C-83A1-F6EECF244321}">
                <p14:modId xmlns:p14="http://schemas.microsoft.com/office/powerpoint/2010/main" val="1794008009"/>
              </p:ext>
            </p:extLst>
          </p:nvPr>
        </p:nvGraphicFramePr>
        <p:xfrm>
          <a:off x="1431526" y="3072498"/>
          <a:ext cx="2237795" cy="3051376"/>
        </p:xfrm>
        <a:graphic>
          <a:graphicData uri="http://schemas.openxmlformats.org/presentationml/2006/ole">
            <mc:AlternateContent xmlns:mc="http://schemas.openxmlformats.org/markup-compatibility/2006">
              <mc:Choice xmlns:v="urn:schemas-microsoft-com:vml" Requires="v">
                <p:oleObj name="PDF" r:id="rId9" imgW="0" imgH="360" progId="FoxitReader.Document">
                  <p:embed/>
                </p:oleObj>
              </mc:Choice>
              <mc:Fallback>
                <p:oleObj name="PDF" r:id="rId9" imgW="0" imgH="360" progId="FoxitReader.Document">
                  <p:embed/>
                  <p:pic>
                    <p:nvPicPr>
                      <p:cNvPr id="0" name=""/>
                      <p:cNvPicPr/>
                      <p:nvPr/>
                    </p:nvPicPr>
                    <p:blipFill>
                      <a:blip r:embed="rId10"/>
                      <a:stretch>
                        <a:fillRect/>
                      </a:stretch>
                    </p:blipFill>
                    <p:spPr>
                      <a:xfrm>
                        <a:off x="1431526" y="3072498"/>
                        <a:ext cx="2237795" cy="3051376"/>
                      </a:xfrm>
                      <a:prstGeom prst="rect">
                        <a:avLst/>
                      </a:prstGeom>
                    </p:spPr>
                  </p:pic>
                </p:oleObj>
              </mc:Fallback>
            </mc:AlternateContent>
          </a:graphicData>
        </a:graphic>
      </p:graphicFrame>
      <p:graphicFrame>
        <p:nvGraphicFramePr>
          <p:cNvPr id="8" name="אובייקט 7">
            <a:extLst>
              <a:ext uri="{FF2B5EF4-FFF2-40B4-BE49-F238E27FC236}">
                <a16:creationId xmlns:a16="http://schemas.microsoft.com/office/drawing/2014/main" id="{FD3D294E-135A-454A-939A-2CAAC40D9287}"/>
              </a:ext>
            </a:extLst>
          </p:cNvPr>
          <p:cNvGraphicFramePr>
            <a:graphicFrameLocks noChangeAspect="1"/>
          </p:cNvGraphicFramePr>
          <p:nvPr>
            <p:extLst>
              <p:ext uri="{D42A27DB-BD31-4B8C-83A1-F6EECF244321}">
                <p14:modId xmlns:p14="http://schemas.microsoft.com/office/powerpoint/2010/main" val="174360425"/>
              </p:ext>
            </p:extLst>
          </p:nvPr>
        </p:nvGraphicFramePr>
        <p:xfrm>
          <a:off x="2639876" y="4614693"/>
          <a:ext cx="2864623" cy="2073797"/>
        </p:xfrm>
        <a:graphic>
          <a:graphicData uri="http://schemas.openxmlformats.org/presentationml/2006/ole">
            <mc:AlternateContent xmlns:mc="http://schemas.openxmlformats.org/markup-compatibility/2006">
              <mc:Choice xmlns:v="urn:schemas-microsoft-com:vml" Requires="v">
                <p:oleObj name="PDF" r:id="rId11" imgW="0" imgH="360" progId="FoxitReader.Document">
                  <p:embed/>
                </p:oleObj>
              </mc:Choice>
              <mc:Fallback>
                <p:oleObj name="PDF" r:id="rId11" imgW="0" imgH="360" progId="FoxitReader.Document">
                  <p:embed/>
                  <p:pic>
                    <p:nvPicPr>
                      <p:cNvPr id="0" name=""/>
                      <p:cNvPicPr/>
                      <p:nvPr/>
                    </p:nvPicPr>
                    <p:blipFill>
                      <a:blip r:embed="rId12"/>
                      <a:stretch>
                        <a:fillRect/>
                      </a:stretch>
                    </p:blipFill>
                    <p:spPr>
                      <a:xfrm>
                        <a:off x="2639876" y="4614693"/>
                        <a:ext cx="2864623" cy="2073797"/>
                      </a:xfrm>
                      <a:prstGeom prst="rect">
                        <a:avLst/>
                      </a:prstGeom>
                    </p:spPr>
                  </p:pic>
                </p:oleObj>
              </mc:Fallback>
            </mc:AlternateContent>
          </a:graphicData>
        </a:graphic>
      </p:graphicFrame>
      <p:graphicFrame>
        <p:nvGraphicFramePr>
          <p:cNvPr id="10" name="אובייקט 9">
            <a:extLst>
              <a:ext uri="{FF2B5EF4-FFF2-40B4-BE49-F238E27FC236}">
                <a16:creationId xmlns:a16="http://schemas.microsoft.com/office/drawing/2014/main" id="{9335D7A7-F459-47E4-BD73-23FB08805A99}"/>
              </a:ext>
            </a:extLst>
          </p:cNvPr>
          <p:cNvGraphicFramePr>
            <a:graphicFrameLocks noChangeAspect="1"/>
          </p:cNvGraphicFramePr>
          <p:nvPr>
            <p:extLst>
              <p:ext uri="{D42A27DB-BD31-4B8C-83A1-F6EECF244321}">
                <p14:modId xmlns:p14="http://schemas.microsoft.com/office/powerpoint/2010/main" val="3866742662"/>
              </p:ext>
            </p:extLst>
          </p:nvPr>
        </p:nvGraphicFramePr>
        <p:xfrm>
          <a:off x="5020602" y="3652607"/>
          <a:ext cx="1863000" cy="2696531"/>
        </p:xfrm>
        <a:graphic>
          <a:graphicData uri="http://schemas.openxmlformats.org/presentationml/2006/ole">
            <mc:AlternateContent xmlns:mc="http://schemas.openxmlformats.org/markup-compatibility/2006">
              <mc:Choice xmlns:v="urn:schemas-microsoft-com:vml" Requires="v">
                <p:oleObj name="PDF" r:id="rId13" imgW="0" imgH="360" progId="FoxitReader.Document">
                  <p:embed/>
                </p:oleObj>
              </mc:Choice>
              <mc:Fallback>
                <p:oleObj name="PDF" r:id="rId13" imgW="0" imgH="360" progId="FoxitReader.Document">
                  <p:embed/>
                  <p:pic>
                    <p:nvPicPr>
                      <p:cNvPr id="0" name=""/>
                      <p:cNvPicPr/>
                      <p:nvPr/>
                    </p:nvPicPr>
                    <p:blipFill>
                      <a:blip r:embed="rId14"/>
                      <a:stretch>
                        <a:fillRect/>
                      </a:stretch>
                    </p:blipFill>
                    <p:spPr>
                      <a:xfrm>
                        <a:off x="5020602" y="3652607"/>
                        <a:ext cx="1863000" cy="2696531"/>
                      </a:xfrm>
                      <a:prstGeom prst="rect">
                        <a:avLst/>
                      </a:prstGeom>
                    </p:spPr>
                  </p:pic>
                </p:oleObj>
              </mc:Fallback>
            </mc:AlternateContent>
          </a:graphicData>
        </a:graphic>
      </p:graphicFrame>
      <p:graphicFrame>
        <p:nvGraphicFramePr>
          <p:cNvPr id="11" name="אובייקט 10">
            <a:extLst>
              <a:ext uri="{FF2B5EF4-FFF2-40B4-BE49-F238E27FC236}">
                <a16:creationId xmlns:a16="http://schemas.microsoft.com/office/drawing/2014/main" id="{6D5F4B61-B688-45CF-9573-75C70F29F292}"/>
              </a:ext>
            </a:extLst>
          </p:cNvPr>
          <p:cNvGraphicFramePr>
            <a:graphicFrameLocks noChangeAspect="1"/>
          </p:cNvGraphicFramePr>
          <p:nvPr>
            <p:extLst>
              <p:ext uri="{D42A27DB-BD31-4B8C-83A1-F6EECF244321}">
                <p14:modId xmlns:p14="http://schemas.microsoft.com/office/powerpoint/2010/main" val="775832062"/>
              </p:ext>
            </p:extLst>
          </p:nvPr>
        </p:nvGraphicFramePr>
        <p:xfrm>
          <a:off x="5883929" y="2882061"/>
          <a:ext cx="1833957" cy="2654494"/>
        </p:xfrm>
        <a:graphic>
          <a:graphicData uri="http://schemas.openxmlformats.org/presentationml/2006/ole">
            <mc:AlternateContent xmlns:mc="http://schemas.openxmlformats.org/markup-compatibility/2006">
              <mc:Choice xmlns:v="urn:schemas-microsoft-com:vml" Requires="v">
                <p:oleObj name="PDF" r:id="rId15" imgW="0" imgH="360" progId="FoxitReader.Document">
                  <p:embed/>
                </p:oleObj>
              </mc:Choice>
              <mc:Fallback>
                <p:oleObj name="PDF" r:id="rId15" imgW="0" imgH="360" progId="FoxitReader.Document">
                  <p:embed/>
                  <p:pic>
                    <p:nvPicPr>
                      <p:cNvPr id="0" name=""/>
                      <p:cNvPicPr/>
                      <p:nvPr/>
                    </p:nvPicPr>
                    <p:blipFill>
                      <a:blip r:embed="rId16"/>
                      <a:stretch>
                        <a:fillRect/>
                      </a:stretch>
                    </p:blipFill>
                    <p:spPr>
                      <a:xfrm>
                        <a:off x="5883929" y="2882061"/>
                        <a:ext cx="1833957" cy="2654494"/>
                      </a:xfrm>
                      <a:prstGeom prst="rect">
                        <a:avLst/>
                      </a:prstGeom>
                    </p:spPr>
                  </p:pic>
                </p:oleObj>
              </mc:Fallback>
            </mc:AlternateContent>
          </a:graphicData>
        </a:graphic>
      </p:graphicFrame>
    </p:spTree>
    <p:extLst>
      <p:ext uri="{BB962C8B-B14F-4D97-AF65-F5344CB8AC3E}">
        <p14:creationId xmlns:p14="http://schemas.microsoft.com/office/powerpoint/2010/main" val="2646911428"/>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2" dur="1000" decel="10000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1+#ppt_w/2"/>
                                          </p:val>
                                        </p:tav>
                                        <p:tav tm="100000">
                                          <p:val>
                                            <p:strVal val="#ppt_x"/>
                                          </p:val>
                                        </p:tav>
                                      </p:tavLst>
                                    </p:anim>
                                    <p:anim calcmode="lin" valueType="num">
                                      <p:cBhvr additive="base">
                                        <p:cTn id="8" dur="1000" fill="hold"/>
                                        <p:tgtEl>
                                          <p:spTgt spid="2"/>
                                        </p:tgtEl>
                                        <p:attrNameLst>
                                          <p:attrName>ppt_y</p:attrName>
                                        </p:attrNameLst>
                                      </p:cBhvr>
                                      <p:tavLst>
                                        <p:tav tm="0">
                                          <p:val>
                                            <p:strVal val="#ppt_y"/>
                                          </p:val>
                                        </p:tav>
                                        <p:tav tm="100000">
                                          <p:val>
                                            <p:strVal val="#ppt_y"/>
                                          </p:val>
                                        </p:tav>
                                      </p:tavLst>
                                    </p:anim>
                                  </p:childTnLst>
                                </p:cTn>
                              </p:par>
                              <p:par>
                                <p:cTn id="9" presetID="2" presetClass="entr" presetSubtype="2" dur="1000" decel="100000" fill="hold" grpId="0" nodeType="withEffect">
                                  <p:stCondLst>
                                    <p:cond delay="25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1000" fill="hold"/>
                                        <p:tgtEl>
                                          <p:spTgt spid="3"/>
                                        </p:tgtEl>
                                        <p:attrNameLst>
                                          <p:attrName>ppt_x</p:attrName>
                                        </p:attrNameLst>
                                      </p:cBhvr>
                                      <p:tavLst>
                                        <p:tav tm="0">
                                          <p:val>
                                            <p:strVal val="1+#ppt_w/2"/>
                                          </p:val>
                                        </p:tav>
                                        <p:tav tm="100000">
                                          <p:val>
                                            <p:strVal val="#ppt_x"/>
                                          </p:val>
                                        </p:tav>
                                      </p:tavLst>
                                    </p:anim>
                                    <p:anim calcmode="lin" valueType="num">
                                      <p:cBhvr additive="base">
                                        <p:cTn id="12" dur="1000" fill="hold"/>
                                        <p:tgtEl>
                                          <p:spTgt spid="3"/>
                                        </p:tgtEl>
                                        <p:attrNameLst>
                                          <p:attrName>ppt_y</p:attrName>
                                        </p:attrNameLst>
                                      </p:cBhvr>
                                      <p:tavLst>
                                        <p:tav tm="0">
                                          <p:val>
                                            <p:strVal val="#ppt_y"/>
                                          </p:val>
                                        </p:tav>
                                        <p:tav tm="100000">
                                          <p:val>
                                            <p:strVal val="#ppt_y"/>
                                          </p:val>
                                        </p:tav>
                                      </p:tavLst>
                                    </p:anim>
                                  </p:childTnLst>
                                </p:cTn>
                              </p:par>
                            </p:childTnLst>
                          </p:cTn>
                        </p:par>
                        <p:par>
                          <p:cTn id="13" fill="hold">
                            <p:stCondLst>
                              <p:cond delay="1250"/>
                            </p:stCondLst>
                            <p:childTnLst>
                              <p:par>
                                <p:cTn id="14" presetID="2" presetClass="entr" presetSubtype="1" fill="hold" nodeType="afterEffect">
                                  <p:stCondLst>
                                    <p:cond delay="0"/>
                                  </p:stCondLst>
                                  <p:childTnLst>
                                    <p:set>
                                      <p:cBhvr>
                                        <p:cTn id="15" dur="1" fill="hold">
                                          <p:stCondLst>
                                            <p:cond delay="0"/>
                                          </p:stCondLst>
                                        </p:cTn>
                                        <p:tgtEl>
                                          <p:spTgt spid="5"/>
                                        </p:tgtEl>
                                        <p:attrNameLst>
                                          <p:attrName>style.visibility</p:attrName>
                                        </p:attrNameLst>
                                      </p:cBhvr>
                                      <p:to>
                                        <p:strVal val="visible"/>
                                      </p:to>
                                    </p:set>
                                    <p:anim calcmode="lin" valueType="num">
                                      <p:cBhvr additive="base">
                                        <p:cTn id="16" dur="250" fill="hold"/>
                                        <p:tgtEl>
                                          <p:spTgt spid="5"/>
                                        </p:tgtEl>
                                        <p:attrNameLst>
                                          <p:attrName>ppt_x</p:attrName>
                                        </p:attrNameLst>
                                      </p:cBhvr>
                                      <p:tavLst>
                                        <p:tav tm="0">
                                          <p:val>
                                            <p:strVal val="#ppt_x"/>
                                          </p:val>
                                        </p:tav>
                                        <p:tav tm="100000">
                                          <p:val>
                                            <p:strVal val="#ppt_x"/>
                                          </p:val>
                                        </p:tav>
                                      </p:tavLst>
                                    </p:anim>
                                    <p:anim calcmode="lin" valueType="num">
                                      <p:cBhvr additive="base">
                                        <p:cTn id="17" dur="250" fill="hold"/>
                                        <p:tgtEl>
                                          <p:spTgt spid="5"/>
                                        </p:tgtEl>
                                        <p:attrNameLst>
                                          <p:attrName>ppt_y</p:attrName>
                                        </p:attrNameLst>
                                      </p:cBhvr>
                                      <p:tavLst>
                                        <p:tav tm="0">
                                          <p:val>
                                            <p:strVal val="0-#ppt_h/2"/>
                                          </p:val>
                                        </p:tav>
                                        <p:tav tm="100000">
                                          <p:val>
                                            <p:strVal val="#ppt_y"/>
                                          </p:val>
                                        </p:tav>
                                      </p:tavLst>
                                    </p:anim>
                                  </p:childTnLst>
                                </p:cTn>
                              </p:par>
                            </p:childTnLst>
                          </p:cTn>
                        </p:par>
                        <p:par>
                          <p:cTn id="18" fill="hold">
                            <p:stCondLst>
                              <p:cond delay="1500"/>
                            </p:stCondLst>
                            <p:childTnLst>
                              <p:par>
                                <p:cTn id="19" presetID="2" presetClass="entr" presetSubtype="1" fill="hold" nodeType="afterEffect">
                                  <p:stCondLst>
                                    <p:cond delay="0"/>
                                  </p:stCondLst>
                                  <p:childTnLst>
                                    <p:set>
                                      <p:cBhvr>
                                        <p:cTn id="20" dur="1" fill="hold">
                                          <p:stCondLst>
                                            <p:cond delay="0"/>
                                          </p:stCondLst>
                                        </p:cTn>
                                        <p:tgtEl>
                                          <p:spTgt spid="6"/>
                                        </p:tgtEl>
                                        <p:attrNameLst>
                                          <p:attrName>style.visibility</p:attrName>
                                        </p:attrNameLst>
                                      </p:cBhvr>
                                      <p:to>
                                        <p:strVal val="visible"/>
                                      </p:to>
                                    </p:set>
                                    <p:anim calcmode="lin" valueType="num">
                                      <p:cBhvr additive="base">
                                        <p:cTn id="21" dur="250" fill="hold"/>
                                        <p:tgtEl>
                                          <p:spTgt spid="6"/>
                                        </p:tgtEl>
                                        <p:attrNameLst>
                                          <p:attrName>ppt_x</p:attrName>
                                        </p:attrNameLst>
                                      </p:cBhvr>
                                      <p:tavLst>
                                        <p:tav tm="0">
                                          <p:val>
                                            <p:strVal val="#ppt_x"/>
                                          </p:val>
                                        </p:tav>
                                        <p:tav tm="100000">
                                          <p:val>
                                            <p:strVal val="#ppt_x"/>
                                          </p:val>
                                        </p:tav>
                                      </p:tavLst>
                                    </p:anim>
                                    <p:anim calcmode="lin" valueType="num">
                                      <p:cBhvr additive="base">
                                        <p:cTn id="22" dur="250" fill="hold"/>
                                        <p:tgtEl>
                                          <p:spTgt spid="6"/>
                                        </p:tgtEl>
                                        <p:attrNameLst>
                                          <p:attrName>ppt_y</p:attrName>
                                        </p:attrNameLst>
                                      </p:cBhvr>
                                      <p:tavLst>
                                        <p:tav tm="0">
                                          <p:val>
                                            <p:strVal val="0-#ppt_h/2"/>
                                          </p:val>
                                        </p:tav>
                                        <p:tav tm="100000">
                                          <p:val>
                                            <p:strVal val="#ppt_y"/>
                                          </p:val>
                                        </p:tav>
                                      </p:tavLst>
                                    </p:anim>
                                  </p:childTnLst>
                                </p:cTn>
                              </p:par>
                            </p:childTnLst>
                          </p:cTn>
                        </p:par>
                        <p:par>
                          <p:cTn id="23" fill="hold">
                            <p:stCondLst>
                              <p:cond delay="1750"/>
                            </p:stCondLst>
                            <p:childTnLst>
                              <p:par>
                                <p:cTn id="24" presetID="2" presetClass="entr" presetSubtype="8" fill="hold" nodeType="afterEffect">
                                  <p:stCondLst>
                                    <p:cond delay="0"/>
                                  </p:stCondLst>
                                  <p:childTnLst>
                                    <p:set>
                                      <p:cBhvr>
                                        <p:cTn id="25" dur="1" fill="hold">
                                          <p:stCondLst>
                                            <p:cond delay="0"/>
                                          </p:stCondLst>
                                        </p:cTn>
                                        <p:tgtEl>
                                          <p:spTgt spid="7"/>
                                        </p:tgtEl>
                                        <p:attrNameLst>
                                          <p:attrName>style.visibility</p:attrName>
                                        </p:attrNameLst>
                                      </p:cBhvr>
                                      <p:to>
                                        <p:strVal val="visible"/>
                                      </p:to>
                                    </p:set>
                                    <p:anim calcmode="lin" valueType="num">
                                      <p:cBhvr additive="base">
                                        <p:cTn id="26" dur="250" fill="hold"/>
                                        <p:tgtEl>
                                          <p:spTgt spid="7"/>
                                        </p:tgtEl>
                                        <p:attrNameLst>
                                          <p:attrName>ppt_x</p:attrName>
                                        </p:attrNameLst>
                                      </p:cBhvr>
                                      <p:tavLst>
                                        <p:tav tm="0">
                                          <p:val>
                                            <p:strVal val="0-#ppt_w/2"/>
                                          </p:val>
                                        </p:tav>
                                        <p:tav tm="100000">
                                          <p:val>
                                            <p:strVal val="#ppt_x"/>
                                          </p:val>
                                        </p:tav>
                                      </p:tavLst>
                                    </p:anim>
                                    <p:anim calcmode="lin" valueType="num">
                                      <p:cBhvr additive="base">
                                        <p:cTn id="27" dur="250" fill="hold"/>
                                        <p:tgtEl>
                                          <p:spTgt spid="7"/>
                                        </p:tgtEl>
                                        <p:attrNameLst>
                                          <p:attrName>ppt_y</p:attrName>
                                        </p:attrNameLst>
                                      </p:cBhvr>
                                      <p:tavLst>
                                        <p:tav tm="0">
                                          <p:val>
                                            <p:strVal val="#ppt_y"/>
                                          </p:val>
                                        </p:tav>
                                        <p:tav tm="100000">
                                          <p:val>
                                            <p:strVal val="#ppt_y"/>
                                          </p:val>
                                        </p:tav>
                                      </p:tavLst>
                                    </p:anim>
                                  </p:childTnLst>
                                </p:cTn>
                              </p:par>
                            </p:childTnLst>
                          </p:cTn>
                        </p:par>
                        <p:par>
                          <p:cTn id="28" fill="hold">
                            <p:stCondLst>
                              <p:cond delay="2000"/>
                            </p:stCondLst>
                            <p:childTnLst>
                              <p:par>
                                <p:cTn id="29" presetID="2" presetClass="entr" presetSubtype="8" fill="hold" nodeType="afterEffect">
                                  <p:stCondLst>
                                    <p:cond delay="0"/>
                                  </p:stCondLst>
                                  <p:childTnLst>
                                    <p:set>
                                      <p:cBhvr>
                                        <p:cTn id="30" dur="1" fill="hold">
                                          <p:stCondLst>
                                            <p:cond delay="0"/>
                                          </p:stCondLst>
                                        </p:cTn>
                                        <p:tgtEl>
                                          <p:spTgt spid="9"/>
                                        </p:tgtEl>
                                        <p:attrNameLst>
                                          <p:attrName>style.visibility</p:attrName>
                                        </p:attrNameLst>
                                      </p:cBhvr>
                                      <p:to>
                                        <p:strVal val="visible"/>
                                      </p:to>
                                    </p:set>
                                    <p:anim calcmode="lin" valueType="num">
                                      <p:cBhvr additive="base">
                                        <p:cTn id="31" dur="250" fill="hold"/>
                                        <p:tgtEl>
                                          <p:spTgt spid="9"/>
                                        </p:tgtEl>
                                        <p:attrNameLst>
                                          <p:attrName>ppt_x</p:attrName>
                                        </p:attrNameLst>
                                      </p:cBhvr>
                                      <p:tavLst>
                                        <p:tav tm="0">
                                          <p:val>
                                            <p:strVal val="0-#ppt_w/2"/>
                                          </p:val>
                                        </p:tav>
                                        <p:tav tm="100000">
                                          <p:val>
                                            <p:strVal val="#ppt_x"/>
                                          </p:val>
                                        </p:tav>
                                      </p:tavLst>
                                    </p:anim>
                                    <p:anim calcmode="lin" valueType="num">
                                      <p:cBhvr additive="base">
                                        <p:cTn id="32" dur="250" fill="hold"/>
                                        <p:tgtEl>
                                          <p:spTgt spid="9"/>
                                        </p:tgtEl>
                                        <p:attrNameLst>
                                          <p:attrName>ppt_y</p:attrName>
                                        </p:attrNameLst>
                                      </p:cBhvr>
                                      <p:tavLst>
                                        <p:tav tm="0">
                                          <p:val>
                                            <p:strVal val="#ppt_y"/>
                                          </p:val>
                                        </p:tav>
                                        <p:tav tm="100000">
                                          <p:val>
                                            <p:strVal val="#ppt_y"/>
                                          </p:val>
                                        </p:tav>
                                      </p:tavLst>
                                    </p:anim>
                                  </p:childTnLst>
                                </p:cTn>
                              </p:par>
                            </p:childTnLst>
                          </p:cTn>
                        </p:par>
                        <p:par>
                          <p:cTn id="33" fill="hold">
                            <p:stCondLst>
                              <p:cond delay="2250"/>
                            </p:stCondLst>
                            <p:childTnLst>
                              <p:par>
                                <p:cTn id="34" presetID="2" presetClass="entr" presetSubtype="4" fill="hold" nodeType="afterEffect">
                                  <p:stCondLst>
                                    <p:cond delay="0"/>
                                  </p:stCondLst>
                                  <p:childTnLst>
                                    <p:set>
                                      <p:cBhvr>
                                        <p:cTn id="35" dur="1" fill="hold">
                                          <p:stCondLst>
                                            <p:cond delay="0"/>
                                          </p:stCondLst>
                                        </p:cTn>
                                        <p:tgtEl>
                                          <p:spTgt spid="8"/>
                                        </p:tgtEl>
                                        <p:attrNameLst>
                                          <p:attrName>style.visibility</p:attrName>
                                        </p:attrNameLst>
                                      </p:cBhvr>
                                      <p:to>
                                        <p:strVal val="visible"/>
                                      </p:to>
                                    </p:set>
                                    <p:anim calcmode="lin" valueType="num">
                                      <p:cBhvr additive="base">
                                        <p:cTn id="36" dur="250" fill="hold"/>
                                        <p:tgtEl>
                                          <p:spTgt spid="8"/>
                                        </p:tgtEl>
                                        <p:attrNameLst>
                                          <p:attrName>ppt_x</p:attrName>
                                        </p:attrNameLst>
                                      </p:cBhvr>
                                      <p:tavLst>
                                        <p:tav tm="0">
                                          <p:val>
                                            <p:strVal val="#ppt_x"/>
                                          </p:val>
                                        </p:tav>
                                        <p:tav tm="100000">
                                          <p:val>
                                            <p:strVal val="#ppt_x"/>
                                          </p:val>
                                        </p:tav>
                                      </p:tavLst>
                                    </p:anim>
                                    <p:anim calcmode="lin" valueType="num">
                                      <p:cBhvr additive="base">
                                        <p:cTn id="37" dur="250" fill="hold"/>
                                        <p:tgtEl>
                                          <p:spTgt spid="8"/>
                                        </p:tgtEl>
                                        <p:attrNameLst>
                                          <p:attrName>ppt_y</p:attrName>
                                        </p:attrNameLst>
                                      </p:cBhvr>
                                      <p:tavLst>
                                        <p:tav tm="0">
                                          <p:val>
                                            <p:strVal val="1+#ppt_h/2"/>
                                          </p:val>
                                        </p:tav>
                                        <p:tav tm="100000">
                                          <p:val>
                                            <p:strVal val="#ppt_y"/>
                                          </p:val>
                                        </p:tav>
                                      </p:tavLst>
                                    </p:anim>
                                  </p:childTnLst>
                                </p:cTn>
                              </p:par>
                            </p:childTnLst>
                          </p:cTn>
                        </p:par>
                        <p:par>
                          <p:cTn id="38" fill="hold">
                            <p:stCondLst>
                              <p:cond delay="2500"/>
                            </p:stCondLst>
                            <p:childTnLst>
                              <p:par>
                                <p:cTn id="39" presetID="2" presetClass="entr" presetSubtype="4" fill="hold" nodeType="afterEffect">
                                  <p:stCondLst>
                                    <p:cond delay="0"/>
                                  </p:stCondLst>
                                  <p:childTnLst>
                                    <p:set>
                                      <p:cBhvr>
                                        <p:cTn id="40" dur="1" fill="hold">
                                          <p:stCondLst>
                                            <p:cond delay="0"/>
                                          </p:stCondLst>
                                        </p:cTn>
                                        <p:tgtEl>
                                          <p:spTgt spid="10"/>
                                        </p:tgtEl>
                                        <p:attrNameLst>
                                          <p:attrName>style.visibility</p:attrName>
                                        </p:attrNameLst>
                                      </p:cBhvr>
                                      <p:to>
                                        <p:strVal val="visible"/>
                                      </p:to>
                                    </p:set>
                                    <p:anim calcmode="lin" valueType="num">
                                      <p:cBhvr additive="base">
                                        <p:cTn id="41" dur="250" fill="hold"/>
                                        <p:tgtEl>
                                          <p:spTgt spid="10"/>
                                        </p:tgtEl>
                                        <p:attrNameLst>
                                          <p:attrName>ppt_x</p:attrName>
                                        </p:attrNameLst>
                                      </p:cBhvr>
                                      <p:tavLst>
                                        <p:tav tm="0">
                                          <p:val>
                                            <p:strVal val="#ppt_x"/>
                                          </p:val>
                                        </p:tav>
                                        <p:tav tm="100000">
                                          <p:val>
                                            <p:strVal val="#ppt_x"/>
                                          </p:val>
                                        </p:tav>
                                      </p:tavLst>
                                    </p:anim>
                                    <p:anim calcmode="lin" valueType="num">
                                      <p:cBhvr additive="base">
                                        <p:cTn id="42" dur="250" fill="hold"/>
                                        <p:tgtEl>
                                          <p:spTgt spid="10"/>
                                        </p:tgtEl>
                                        <p:attrNameLst>
                                          <p:attrName>ppt_y</p:attrName>
                                        </p:attrNameLst>
                                      </p:cBhvr>
                                      <p:tavLst>
                                        <p:tav tm="0">
                                          <p:val>
                                            <p:strVal val="1+#ppt_h/2"/>
                                          </p:val>
                                        </p:tav>
                                        <p:tav tm="100000">
                                          <p:val>
                                            <p:strVal val="#ppt_y"/>
                                          </p:val>
                                        </p:tav>
                                      </p:tavLst>
                                    </p:anim>
                                  </p:childTnLst>
                                </p:cTn>
                              </p:par>
                            </p:childTnLst>
                          </p:cTn>
                        </p:par>
                        <p:par>
                          <p:cTn id="43" fill="hold">
                            <p:stCondLst>
                              <p:cond delay="2750"/>
                            </p:stCondLst>
                            <p:childTnLst>
                              <p:par>
                                <p:cTn id="44" presetID="2" presetClass="entr" presetSubtype="4" fill="hold" nodeType="afterEffect">
                                  <p:stCondLst>
                                    <p:cond delay="0"/>
                                  </p:stCondLst>
                                  <p:childTnLst>
                                    <p:set>
                                      <p:cBhvr>
                                        <p:cTn id="45" dur="1" fill="hold">
                                          <p:stCondLst>
                                            <p:cond delay="0"/>
                                          </p:stCondLst>
                                        </p:cTn>
                                        <p:tgtEl>
                                          <p:spTgt spid="11"/>
                                        </p:tgtEl>
                                        <p:attrNameLst>
                                          <p:attrName>style.visibility</p:attrName>
                                        </p:attrNameLst>
                                      </p:cBhvr>
                                      <p:to>
                                        <p:strVal val="visible"/>
                                      </p:to>
                                    </p:set>
                                    <p:anim calcmode="lin" valueType="num">
                                      <p:cBhvr additive="base">
                                        <p:cTn id="46" dur="250" fill="hold"/>
                                        <p:tgtEl>
                                          <p:spTgt spid="11"/>
                                        </p:tgtEl>
                                        <p:attrNameLst>
                                          <p:attrName>ppt_x</p:attrName>
                                        </p:attrNameLst>
                                      </p:cBhvr>
                                      <p:tavLst>
                                        <p:tav tm="0">
                                          <p:val>
                                            <p:strVal val="#ppt_x"/>
                                          </p:val>
                                        </p:tav>
                                        <p:tav tm="100000">
                                          <p:val>
                                            <p:strVal val="#ppt_x"/>
                                          </p:val>
                                        </p:tav>
                                      </p:tavLst>
                                    </p:anim>
                                    <p:anim calcmode="lin" valueType="num">
                                      <p:cBhvr additive="base">
                                        <p:cTn id="47" dur="250" fill="hold"/>
                                        <p:tgtEl>
                                          <p:spTgt spid="11"/>
                                        </p:tgtEl>
                                        <p:attrNameLst>
                                          <p:attrName>ppt_y</p:attrName>
                                        </p:attrNameLst>
                                      </p:cBhvr>
                                      <p:tavLst>
                                        <p:tav tm="0">
                                          <p:val>
                                            <p:strVal val="1+#ppt_h/2"/>
                                          </p:val>
                                        </p:tav>
                                        <p:tav tm="100000">
                                          <p:val>
                                            <p:strVal val="#ppt_y"/>
                                          </p:val>
                                        </p:tav>
                                      </p:tavLst>
                                    </p:anim>
                                  </p:childTnLst>
                                </p:cTn>
                              </p:par>
                            </p:childTnLst>
                          </p:cTn>
                        </p:par>
                      </p:childTnLst>
                    </p:cTn>
                  </p:par>
                  <p:par>
                    <p:cTn id="48" fill="hold">
                      <p:stCondLst>
                        <p:cond delay="indefinite"/>
                      </p:stCondLst>
                      <p:childTnLst>
                        <p:par>
                          <p:cTn id="49" fill="hold">
                            <p:stCondLst>
                              <p:cond delay="0"/>
                            </p:stCondLst>
                            <p:childTnLst>
                              <p:par>
                                <p:cTn id="50" presetID="31" presetClass="exit" presetSubtype="0" fill="hold" nodeType="clickEffect">
                                  <p:stCondLst>
                                    <p:cond delay="0"/>
                                  </p:stCondLst>
                                  <p:childTnLst>
                                    <p:anim calcmode="lin" valueType="num">
                                      <p:cBhvr>
                                        <p:cTn id="51" dur="1000"/>
                                        <p:tgtEl>
                                          <p:spTgt spid="5"/>
                                        </p:tgtEl>
                                        <p:attrNameLst>
                                          <p:attrName>ppt_w</p:attrName>
                                        </p:attrNameLst>
                                      </p:cBhvr>
                                      <p:tavLst>
                                        <p:tav tm="0">
                                          <p:val>
                                            <p:strVal val="ppt_w"/>
                                          </p:val>
                                        </p:tav>
                                        <p:tav tm="100000">
                                          <p:val>
                                            <p:fltVal val="0"/>
                                          </p:val>
                                        </p:tav>
                                      </p:tavLst>
                                    </p:anim>
                                    <p:anim calcmode="lin" valueType="num">
                                      <p:cBhvr>
                                        <p:cTn id="52" dur="1000"/>
                                        <p:tgtEl>
                                          <p:spTgt spid="5"/>
                                        </p:tgtEl>
                                        <p:attrNameLst>
                                          <p:attrName>ppt_h</p:attrName>
                                        </p:attrNameLst>
                                      </p:cBhvr>
                                      <p:tavLst>
                                        <p:tav tm="0">
                                          <p:val>
                                            <p:strVal val="ppt_h"/>
                                          </p:val>
                                        </p:tav>
                                        <p:tav tm="100000">
                                          <p:val>
                                            <p:fltVal val="0"/>
                                          </p:val>
                                        </p:tav>
                                      </p:tavLst>
                                    </p:anim>
                                    <p:anim calcmode="lin" valueType="num">
                                      <p:cBhvr>
                                        <p:cTn id="53" dur="1000"/>
                                        <p:tgtEl>
                                          <p:spTgt spid="5"/>
                                        </p:tgtEl>
                                        <p:attrNameLst>
                                          <p:attrName>style.rotation</p:attrName>
                                        </p:attrNameLst>
                                      </p:cBhvr>
                                      <p:tavLst>
                                        <p:tav tm="0">
                                          <p:val>
                                            <p:fltVal val="0"/>
                                          </p:val>
                                        </p:tav>
                                        <p:tav tm="100000">
                                          <p:val>
                                            <p:fltVal val="90"/>
                                          </p:val>
                                        </p:tav>
                                      </p:tavLst>
                                    </p:anim>
                                    <p:animEffect transition="out" filter="fade">
                                      <p:cBhvr>
                                        <p:cTn id="54" dur="1000"/>
                                        <p:tgtEl>
                                          <p:spTgt spid="5"/>
                                        </p:tgtEl>
                                      </p:cBhvr>
                                    </p:animEffect>
                                    <p:set>
                                      <p:cBhvr>
                                        <p:cTn id="55" dur="1" fill="hold">
                                          <p:stCondLst>
                                            <p:cond delay="999"/>
                                          </p:stCondLst>
                                        </p:cTn>
                                        <p:tgtEl>
                                          <p:spTgt spid="5"/>
                                        </p:tgtEl>
                                        <p:attrNameLst>
                                          <p:attrName>style.visibility</p:attrName>
                                        </p:attrNameLst>
                                      </p:cBhvr>
                                      <p:to>
                                        <p:strVal val="hidden"/>
                                      </p:to>
                                    </p:set>
                                  </p:childTnLst>
                                </p:cTn>
                              </p:par>
                              <p:par>
                                <p:cTn id="56" presetID="31" presetClass="exit" presetSubtype="0" fill="hold" nodeType="withEffect">
                                  <p:stCondLst>
                                    <p:cond delay="0"/>
                                  </p:stCondLst>
                                  <p:childTnLst>
                                    <p:anim calcmode="lin" valueType="num">
                                      <p:cBhvr>
                                        <p:cTn id="57" dur="1000"/>
                                        <p:tgtEl>
                                          <p:spTgt spid="6"/>
                                        </p:tgtEl>
                                        <p:attrNameLst>
                                          <p:attrName>ppt_w</p:attrName>
                                        </p:attrNameLst>
                                      </p:cBhvr>
                                      <p:tavLst>
                                        <p:tav tm="0">
                                          <p:val>
                                            <p:strVal val="ppt_w"/>
                                          </p:val>
                                        </p:tav>
                                        <p:tav tm="100000">
                                          <p:val>
                                            <p:fltVal val="0"/>
                                          </p:val>
                                        </p:tav>
                                      </p:tavLst>
                                    </p:anim>
                                    <p:anim calcmode="lin" valueType="num">
                                      <p:cBhvr>
                                        <p:cTn id="58" dur="1000"/>
                                        <p:tgtEl>
                                          <p:spTgt spid="6"/>
                                        </p:tgtEl>
                                        <p:attrNameLst>
                                          <p:attrName>ppt_h</p:attrName>
                                        </p:attrNameLst>
                                      </p:cBhvr>
                                      <p:tavLst>
                                        <p:tav tm="0">
                                          <p:val>
                                            <p:strVal val="ppt_h"/>
                                          </p:val>
                                        </p:tav>
                                        <p:tav tm="100000">
                                          <p:val>
                                            <p:fltVal val="0"/>
                                          </p:val>
                                        </p:tav>
                                      </p:tavLst>
                                    </p:anim>
                                    <p:anim calcmode="lin" valueType="num">
                                      <p:cBhvr>
                                        <p:cTn id="59" dur="1000"/>
                                        <p:tgtEl>
                                          <p:spTgt spid="6"/>
                                        </p:tgtEl>
                                        <p:attrNameLst>
                                          <p:attrName>style.rotation</p:attrName>
                                        </p:attrNameLst>
                                      </p:cBhvr>
                                      <p:tavLst>
                                        <p:tav tm="0">
                                          <p:val>
                                            <p:fltVal val="0"/>
                                          </p:val>
                                        </p:tav>
                                        <p:tav tm="100000">
                                          <p:val>
                                            <p:fltVal val="90"/>
                                          </p:val>
                                        </p:tav>
                                      </p:tavLst>
                                    </p:anim>
                                    <p:animEffect transition="out" filter="fade">
                                      <p:cBhvr>
                                        <p:cTn id="60" dur="1000"/>
                                        <p:tgtEl>
                                          <p:spTgt spid="6"/>
                                        </p:tgtEl>
                                      </p:cBhvr>
                                    </p:animEffect>
                                    <p:set>
                                      <p:cBhvr>
                                        <p:cTn id="61" dur="1" fill="hold">
                                          <p:stCondLst>
                                            <p:cond delay="999"/>
                                          </p:stCondLst>
                                        </p:cTn>
                                        <p:tgtEl>
                                          <p:spTgt spid="6"/>
                                        </p:tgtEl>
                                        <p:attrNameLst>
                                          <p:attrName>style.visibility</p:attrName>
                                        </p:attrNameLst>
                                      </p:cBhvr>
                                      <p:to>
                                        <p:strVal val="hidden"/>
                                      </p:to>
                                    </p:set>
                                  </p:childTnLst>
                                </p:cTn>
                              </p:par>
                              <p:par>
                                <p:cTn id="62" presetID="31" presetClass="exit" presetSubtype="0" fill="hold" nodeType="withEffect">
                                  <p:stCondLst>
                                    <p:cond delay="0"/>
                                  </p:stCondLst>
                                  <p:childTnLst>
                                    <p:anim calcmode="lin" valueType="num">
                                      <p:cBhvr>
                                        <p:cTn id="63" dur="1000"/>
                                        <p:tgtEl>
                                          <p:spTgt spid="7"/>
                                        </p:tgtEl>
                                        <p:attrNameLst>
                                          <p:attrName>ppt_w</p:attrName>
                                        </p:attrNameLst>
                                      </p:cBhvr>
                                      <p:tavLst>
                                        <p:tav tm="0">
                                          <p:val>
                                            <p:strVal val="ppt_w"/>
                                          </p:val>
                                        </p:tav>
                                        <p:tav tm="100000">
                                          <p:val>
                                            <p:fltVal val="0"/>
                                          </p:val>
                                        </p:tav>
                                      </p:tavLst>
                                    </p:anim>
                                    <p:anim calcmode="lin" valueType="num">
                                      <p:cBhvr>
                                        <p:cTn id="64" dur="1000"/>
                                        <p:tgtEl>
                                          <p:spTgt spid="7"/>
                                        </p:tgtEl>
                                        <p:attrNameLst>
                                          <p:attrName>ppt_h</p:attrName>
                                        </p:attrNameLst>
                                      </p:cBhvr>
                                      <p:tavLst>
                                        <p:tav tm="0">
                                          <p:val>
                                            <p:strVal val="ppt_h"/>
                                          </p:val>
                                        </p:tav>
                                        <p:tav tm="100000">
                                          <p:val>
                                            <p:fltVal val="0"/>
                                          </p:val>
                                        </p:tav>
                                      </p:tavLst>
                                    </p:anim>
                                    <p:anim calcmode="lin" valueType="num">
                                      <p:cBhvr>
                                        <p:cTn id="65" dur="1000"/>
                                        <p:tgtEl>
                                          <p:spTgt spid="7"/>
                                        </p:tgtEl>
                                        <p:attrNameLst>
                                          <p:attrName>style.rotation</p:attrName>
                                        </p:attrNameLst>
                                      </p:cBhvr>
                                      <p:tavLst>
                                        <p:tav tm="0">
                                          <p:val>
                                            <p:fltVal val="0"/>
                                          </p:val>
                                        </p:tav>
                                        <p:tav tm="100000">
                                          <p:val>
                                            <p:fltVal val="90"/>
                                          </p:val>
                                        </p:tav>
                                      </p:tavLst>
                                    </p:anim>
                                    <p:animEffect transition="out" filter="fade">
                                      <p:cBhvr>
                                        <p:cTn id="66" dur="1000"/>
                                        <p:tgtEl>
                                          <p:spTgt spid="7"/>
                                        </p:tgtEl>
                                      </p:cBhvr>
                                    </p:animEffect>
                                    <p:set>
                                      <p:cBhvr>
                                        <p:cTn id="67" dur="1" fill="hold">
                                          <p:stCondLst>
                                            <p:cond delay="999"/>
                                          </p:stCondLst>
                                        </p:cTn>
                                        <p:tgtEl>
                                          <p:spTgt spid="7"/>
                                        </p:tgtEl>
                                        <p:attrNameLst>
                                          <p:attrName>style.visibility</p:attrName>
                                        </p:attrNameLst>
                                      </p:cBhvr>
                                      <p:to>
                                        <p:strVal val="hidden"/>
                                      </p:to>
                                    </p:set>
                                  </p:childTnLst>
                                </p:cTn>
                              </p:par>
                              <p:par>
                                <p:cTn id="68" presetID="31" presetClass="exit" presetSubtype="0" fill="hold" nodeType="withEffect">
                                  <p:stCondLst>
                                    <p:cond delay="0"/>
                                  </p:stCondLst>
                                  <p:childTnLst>
                                    <p:anim calcmode="lin" valueType="num">
                                      <p:cBhvr>
                                        <p:cTn id="69" dur="1000"/>
                                        <p:tgtEl>
                                          <p:spTgt spid="9"/>
                                        </p:tgtEl>
                                        <p:attrNameLst>
                                          <p:attrName>ppt_w</p:attrName>
                                        </p:attrNameLst>
                                      </p:cBhvr>
                                      <p:tavLst>
                                        <p:tav tm="0">
                                          <p:val>
                                            <p:strVal val="ppt_w"/>
                                          </p:val>
                                        </p:tav>
                                        <p:tav tm="100000">
                                          <p:val>
                                            <p:fltVal val="0"/>
                                          </p:val>
                                        </p:tav>
                                      </p:tavLst>
                                    </p:anim>
                                    <p:anim calcmode="lin" valueType="num">
                                      <p:cBhvr>
                                        <p:cTn id="70" dur="1000"/>
                                        <p:tgtEl>
                                          <p:spTgt spid="9"/>
                                        </p:tgtEl>
                                        <p:attrNameLst>
                                          <p:attrName>ppt_h</p:attrName>
                                        </p:attrNameLst>
                                      </p:cBhvr>
                                      <p:tavLst>
                                        <p:tav tm="0">
                                          <p:val>
                                            <p:strVal val="ppt_h"/>
                                          </p:val>
                                        </p:tav>
                                        <p:tav tm="100000">
                                          <p:val>
                                            <p:fltVal val="0"/>
                                          </p:val>
                                        </p:tav>
                                      </p:tavLst>
                                    </p:anim>
                                    <p:anim calcmode="lin" valueType="num">
                                      <p:cBhvr>
                                        <p:cTn id="71" dur="1000"/>
                                        <p:tgtEl>
                                          <p:spTgt spid="9"/>
                                        </p:tgtEl>
                                        <p:attrNameLst>
                                          <p:attrName>style.rotation</p:attrName>
                                        </p:attrNameLst>
                                      </p:cBhvr>
                                      <p:tavLst>
                                        <p:tav tm="0">
                                          <p:val>
                                            <p:fltVal val="0"/>
                                          </p:val>
                                        </p:tav>
                                        <p:tav tm="100000">
                                          <p:val>
                                            <p:fltVal val="90"/>
                                          </p:val>
                                        </p:tav>
                                      </p:tavLst>
                                    </p:anim>
                                    <p:animEffect transition="out" filter="fade">
                                      <p:cBhvr>
                                        <p:cTn id="72" dur="1000"/>
                                        <p:tgtEl>
                                          <p:spTgt spid="9"/>
                                        </p:tgtEl>
                                      </p:cBhvr>
                                    </p:animEffect>
                                    <p:set>
                                      <p:cBhvr>
                                        <p:cTn id="73" dur="1" fill="hold">
                                          <p:stCondLst>
                                            <p:cond delay="999"/>
                                          </p:stCondLst>
                                        </p:cTn>
                                        <p:tgtEl>
                                          <p:spTgt spid="9"/>
                                        </p:tgtEl>
                                        <p:attrNameLst>
                                          <p:attrName>style.visibility</p:attrName>
                                        </p:attrNameLst>
                                      </p:cBhvr>
                                      <p:to>
                                        <p:strVal val="hidden"/>
                                      </p:to>
                                    </p:set>
                                  </p:childTnLst>
                                </p:cTn>
                              </p:par>
                              <p:par>
                                <p:cTn id="74" presetID="31" presetClass="exit" presetSubtype="0" fill="hold" nodeType="withEffect">
                                  <p:stCondLst>
                                    <p:cond delay="0"/>
                                  </p:stCondLst>
                                  <p:childTnLst>
                                    <p:anim calcmode="lin" valueType="num">
                                      <p:cBhvr>
                                        <p:cTn id="75" dur="1000"/>
                                        <p:tgtEl>
                                          <p:spTgt spid="8"/>
                                        </p:tgtEl>
                                        <p:attrNameLst>
                                          <p:attrName>ppt_w</p:attrName>
                                        </p:attrNameLst>
                                      </p:cBhvr>
                                      <p:tavLst>
                                        <p:tav tm="0">
                                          <p:val>
                                            <p:strVal val="ppt_w"/>
                                          </p:val>
                                        </p:tav>
                                        <p:tav tm="100000">
                                          <p:val>
                                            <p:fltVal val="0"/>
                                          </p:val>
                                        </p:tav>
                                      </p:tavLst>
                                    </p:anim>
                                    <p:anim calcmode="lin" valueType="num">
                                      <p:cBhvr>
                                        <p:cTn id="76" dur="1000"/>
                                        <p:tgtEl>
                                          <p:spTgt spid="8"/>
                                        </p:tgtEl>
                                        <p:attrNameLst>
                                          <p:attrName>ppt_h</p:attrName>
                                        </p:attrNameLst>
                                      </p:cBhvr>
                                      <p:tavLst>
                                        <p:tav tm="0">
                                          <p:val>
                                            <p:strVal val="ppt_h"/>
                                          </p:val>
                                        </p:tav>
                                        <p:tav tm="100000">
                                          <p:val>
                                            <p:fltVal val="0"/>
                                          </p:val>
                                        </p:tav>
                                      </p:tavLst>
                                    </p:anim>
                                    <p:anim calcmode="lin" valueType="num">
                                      <p:cBhvr>
                                        <p:cTn id="77" dur="1000"/>
                                        <p:tgtEl>
                                          <p:spTgt spid="8"/>
                                        </p:tgtEl>
                                        <p:attrNameLst>
                                          <p:attrName>style.rotation</p:attrName>
                                        </p:attrNameLst>
                                      </p:cBhvr>
                                      <p:tavLst>
                                        <p:tav tm="0">
                                          <p:val>
                                            <p:fltVal val="0"/>
                                          </p:val>
                                        </p:tav>
                                        <p:tav tm="100000">
                                          <p:val>
                                            <p:fltVal val="90"/>
                                          </p:val>
                                        </p:tav>
                                      </p:tavLst>
                                    </p:anim>
                                    <p:animEffect transition="out" filter="fade">
                                      <p:cBhvr>
                                        <p:cTn id="78" dur="1000"/>
                                        <p:tgtEl>
                                          <p:spTgt spid="8"/>
                                        </p:tgtEl>
                                      </p:cBhvr>
                                    </p:animEffect>
                                    <p:set>
                                      <p:cBhvr>
                                        <p:cTn id="79" dur="1" fill="hold">
                                          <p:stCondLst>
                                            <p:cond delay="999"/>
                                          </p:stCondLst>
                                        </p:cTn>
                                        <p:tgtEl>
                                          <p:spTgt spid="8"/>
                                        </p:tgtEl>
                                        <p:attrNameLst>
                                          <p:attrName>style.visibility</p:attrName>
                                        </p:attrNameLst>
                                      </p:cBhvr>
                                      <p:to>
                                        <p:strVal val="hidden"/>
                                      </p:to>
                                    </p:set>
                                  </p:childTnLst>
                                </p:cTn>
                              </p:par>
                              <p:par>
                                <p:cTn id="80" presetID="31" presetClass="exit" presetSubtype="0" fill="hold" nodeType="withEffect">
                                  <p:stCondLst>
                                    <p:cond delay="0"/>
                                  </p:stCondLst>
                                  <p:childTnLst>
                                    <p:anim calcmode="lin" valueType="num">
                                      <p:cBhvr>
                                        <p:cTn id="81" dur="1000"/>
                                        <p:tgtEl>
                                          <p:spTgt spid="10"/>
                                        </p:tgtEl>
                                        <p:attrNameLst>
                                          <p:attrName>ppt_w</p:attrName>
                                        </p:attrNameLst>
                                      </p:cBhvr>
                                      <p:tavLst>
                                        <p:tav tm="0">
                                          <p:val>
                                            <p:strVal val="ppt_w"/>
                                          </p:val>
                                        </p:tav>
                                        <p:tav tm="100000">
                                          <p:val>
                                            <p:fltVal val="0"/>
                                          </p:val>
                                        </p:tav>
                                      </p:tavLst>
                                    </p:anim>
                                    <p:anim calcmode="lin" valueType="num">
                                      <p:cBhvr>
                                        <p:cTn id="82" dur="1000"/>
                                        <p:tgtEl>
                                          <p:spTgt spid="10"/>
                                        </p:tgtEl>
                                        <p:attrNameLst>
                                          <p:attrName>ppt_h</p:attrName>
                                        </p:attrNameLst>
                                      </p:cBhvr>
                                      <p:tavLst>
                                        <p:tav tm="0">
                                          <p:val>
                                            <p:strVal val="ppt_h"/>
                                          </p:val>
                                        </p:tav>
                                        <p:tav tm="100000">
                                          <p:val>
                                            <p:fltVal val="0"/>
                                          </p:val>
                                        </p:tav>
                                      </p:tavLst>
                                    </p:anim>
                                    <p:anim calcmode="lin" valueType="num">
                                      <p:cBhvr>
                                        <p:cTn id="83" dur="1000"/>
                                        <p:tgtEl>
                                          <p:spTgt spid="10"/>
                                        </p:tgtEl>
                                        <p:attrNameLst>
                                          <p:attrName>style.rotation</p:attrName>
                                        </p:attrNameLst>
                                      </p:cBhvr>
                                      <p:tavLst>
                                        <p:tav tm="0">
                                          <p:val>
                                            <p:fltVal val="0"/>
                                          </p:val>
                                        </p:tav>
                                        <p:tav tm="100000">
                                          <p:val>
                                            <p:fltVal val="90"/>
                                          </p:val>
                                        </p:tav>
                                      </p:tavLst>
                                    </p:anim>
                                    <p:animEffect transition="out" filter="fade">
                                      <p:cBhvr>
                                        <p:cTn id="84" dur="1000"/>
                                        <p:tgtEl>
                                          <p:spTgt spid="10"/>
                                        </p:tgtEl>
                                      </p:cBhvr>
                                    </p:animEffect>
                                    <p:set>
                                      <p:cBhvr>
                                        <p:cTn id="85" dur="1" fill="hold">
                                          <p:stCondLst>
                                            <p:cond delay="999"/>
                                          </p:stCondLst>
                                        </p:cTn>
                                        <p:tgtEl>
                                          <p:spTgt spid="10"/>
                                        </p:tgtEl>
                                        <p:attrNameLst>
                                          <p:attrName>style.visibility</p:attrName>
                                        </p:attrNameLst>
                                      </p:cBhvr>
                                      <p:to>
                                        <p:strVal val="hidden"/>
                                      </p:to>
                                    </p:set>
                                  </p:childTnLst>
                                </p:cTn>
                              </p:par>
                              <p:par>
                                <p:cTn id="86" presetID="31" presetClass="exit" presetSubtype="0" fill="hold" nodeType="withEffect">
                                  <p:stCondLst>
                                    <p:cond delay="0"/>
                                  </p:stCondLst>
                                  <p:childTnLst>
                                    <p:anim calcmode="lin" valueType="num">
                                      <p:cBhvr>
                                        <p:cTn id="87" dur="1000"/>
                                        <p:tgtEl>
                                          <p:spTgt spid="11"/>
                                        </p:tgtEl>
                                        <p:attrNameLst>
                                          <p:attrName>ppt_w</p:attrName>
                                        </p:attrNameLst>
                                      </p:cBhvr>
                                      <p:tavLst>
                                        <p:tav tm="0">
                                          <p:val>
                                            <p:strVal val="ppt_w"/>
                                          </p:val>
                                        </p:tav>
                                        <p:tav tm="100000">
                                          <p:val>
                                            <p:fltVal val="0"/>
                                          </p:val>
                                        </p:tav>
                                      </p:tavLst>
                                    </p:anim>
                                    <p:anim calcmode="lin" valueType="num">
                                      <p:cBhvr>
                                        <p:cTn id="88" dur="1000"/>
                                        <p:tgtEl>
                                          <p:spTgt spid="11"/>
                                        </p:tgtEl>
                                        <p:attrNameLst>
                                          <p:attrName>ppt_h</p:attrName>
                                        </p:attrNameLst>
                                      </p:cBhvr>
                                      <p:tavLst>
                                        <p:tav tm="0">
                                          <p:val>
                                            <p:strVal val="ppt_h"/>
                                          </p:val>
                                        </p:tav>
                                        <p:tav tm="100000">
                                          <p:val>
                                            <p:fltVal val="0"/>
                                          </p:val>
                                        </p:tav>
                                      </p:tavLst>
                                    </p:anim>
                                    <p:anim calcmode="lin" valueType="num">
                                      <p:cBhvr>
                                        <p:cTn id="89" dur="1000"/>
                                        <p:tgtEl>
                                          <p:spTgt spid="11"/>
                                        </p:tgtEl>
                                        <p:attrNameLst>
                                          <p:attrName>style.rotation</p:attrName>
                                        </p:attrNameLst>
                                      </p:cBhvr>
                                      <p:tavLst>
                                        <p:tav tm="0">
                                          <p:val>
                                            <p:fltVal val="0"/>
                                          </p:val>
                                        </p:tav>
                                        <p:tav tm="100000">
                                          <p:val>
                                            <p:fltVal val="90"/>
                                          </p:val>
                                        </p:tav>
                                      </p:tavLst>
                                    </p:anim>
                                    <p:animEffect transition="out" filter="fade">
                                      <p:cBhvr>
                                        <p:cTn id="90" dur="1000"/>
                                        <p:tgtEl>
                                          <p:spTgt spid="11"/>
                                        </p:tgtEl>
                                      </p:cBhvr>
                                    </p:animEffect>
                                    <p:set>
                                      <p:cBhvr>
                                        <p:cTn id="91" dur="1" fill="hold">
                                          <p:stCondLst>
                                            <p:cond delay="999"/>
                                          </p:stCondLst>
                                        </p:cTn>
                                        <p:tgtEl>
                                          <p:spTgt spid="11"/>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p:bldLst>
  </p:timing>
</p:sld>
</file>

<file path=ppt/slides/slide18.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useBgFill="1">
        <p:nvSpPr>
          <p:cNvPr id="13" name="Freeform 9">
            <a:extLst>
              <a:ext uri="{FF2B5EF4-FFF2-40B4-BE49-F238E27FC236}">
                <a16:creationId xmlns:a16="http://schemas.microsoft.com/office/drawing/2014/main" id="{21DEF51E-9861-493F-ADC7-B73C2E79EAB3}"/>
              </a:ext>
            </a:extLst>
          </p:cNvPr>
          <p:cNvSpPr/>
          <p:nvPr/>
        </p:nvSpPr>
        <p:spPr bwMode="auto">
          <a:xfrm>
            <a:off x="6313588" y="447"/>
            <a:ext cx="5253941" cy="6857107"/>
          </a:xfrm>
          <a:custGeom>
            <a:avLst/>
            <a:gdLst>
              <a:gd name="T0" fmla="*/ 0 w 6620"/>
              <a:gd name="T1" fmla="*/ 0 h 8640"/>
              <a:gd name="T2" fmla="*/ 3077 w 6620"/>
              <a:gd name="T3" fmla="*/ 0 h 8640"/>
              <a:gd name="T4" fmla="*/ 6620 w 6620"/>
              <a:gd name="T5" fmla="*/ 4360 h 8640"/>
              <a:gd name="T6" fmla="*/ 3598 w 6620"/>
              <a:gd name="T7" fmla="*/ 8640 h 8640"/>
              <a:gd name="T8" fmla="*/ 0 w 6620"/>
              <a:gd name="T9" fmla="*/ 8640 h 8640"/>
              <a:gd name="T10" fmla="*/ 0 w 6620"/>
              <a:gd name="T11" fmla="*/ 0 h 8640"/>
            </a:gdLst>
            <a:ahLst/>
            <a:cxnLst>
              <a:cxn ang="0">
                <a:pos x="T0" y="T1"/>
              </a:cxn>
              <a:cxn ang="0">
                <a:pos x="T2" y="T3"/>
              </a:cxn>
              <a:cxn ang="0">
                <a:pos x="T4" y="T5"/>
              </a:cxn>
              <a:cxn ang="0">
                <a:pos x="T6" y="T7"/>
              </a:cxn>
              <a:cxn ang="0">
                <a:pos x="T8" y="T9"/>
              </a:cxn>
              <a:cxn ang="0">
                <a:pos x="T10" y="T11"/>
              </a:cxn>
            </a:cxnLst>
            <a:rect l="0" t="0" r="r" b="b"/>
            <a:pathLst>
              <a:path w="6620" h="8640">
                <a:moveTo>
                  <a:pt x="0" y="0"/>
                </a:moveTo>
                <a:lnTo>
                  <a:pt x="3077" y="0"/>
                </a:lnTo>
                <a:lnTo>
                  <a:pt x="6620" y="4360"/>
                </a:lnTo>
                <a:lnTo>
                  <a:pt x="3598" y="8640"/>
                </a:lnTo>
                <a:lnTo>
                  <a:pt x="0" y="8640"/>
                </a:lnTo>
                <a:lnTo>
                  <a:pt x="0" y="0"/>
                </a:lnTo>
                <a:close/>
              </a:path>
            </a:pathLst>
          </a:custGeom>
          <a:ln>
            <a:noFill/>
          </a:ln>
          <a:effectLst>
            <a:outerShdw blurRad="800100" dist="190500" algn="l" rotWithShape="0">
              <a:prstClr val="black">
                <a:alpha val="40000"/>
              </a:prstClr>
            </a:outerShdw>
          </a:effectLst>
        </p:spPr>
        <p:txBody>
          <a:bodyPr vert="horz" wrap="square" lIns="45714" tIns="22857" rIns="45714" bIns="22857" numCol="1" anchor="t" anchorCtr="0" compatLnSpc="1">
            <a:prstTxWarp prst="textNoShape">
              <a:avLst/>
            </a:prstTxWarp>
          </a:body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US" sz="900" b="0" i="0" u="none" strike="noStrike" kern="1200" cap="none" spc="0" normalizeH="0" baseline="0" noProof="0">
              <a:ln>
                <a:noFill/>
              </a:ln>
              <a:solidFill>
                <a:srgbClr val="343A3F"/>
              </a:solidFill>
              <a:effectLst/>
              <a:uLnTx/>
              <a:uFillTx/>
              <a:latin typeface="Roboto Light"/>
              <a:ea typeface="+mn-ea"/>
              <a:cs typeface="+mn-cs"/>
            </a:endParaRPr>
          </a:p>
        </p:txBody>
      </p:sp>
      <p:sp useBgFill="1">
        <p:nvSpPr>
          <p:cNvPr id="12" name="Freeform 9">
            <a:extLst>
              <a:ext uri="{FF2B5EF4-FFF2-40B4-BE49-F238E27FC236}">
                <a16:creationId xmlns:a16="http://schemas.microsoft.com/office/drawing/2014/main" id="{BE5757B4-405D-4CAE-B8FA-12517BF0CBCA}"/>
              </a:ext>
            </a:extLst>
          </p:cNvPr>
          <p:cNvSpPr/>
          <p:nvPr/>
        </p:nvSpPr>
        <p:spPr bwMode="auto">
          <a:xfrm>
            <a:off x="4040533" y="447"/>
            <a:ext cx="5253941" cy="6857107"/>
          </a:xfrm>
          <a:custGeom>
            <a:avLst/>
            <a:gdLst>
              <a:gd name="T0" fmla="*/ 0 w 6620"/>
              <a:gd name="T1" fmla="*/ 0 h 8640"/>
              <a:gd name="T2" fmla="*/ 3077 w 6620"/>
              <a:gd name="T3" fmla="*/ 0 h 8640"/>
              <a:gd name="T4" fmla="*/ 6620 w 6620"/>
              <a:gd name="T5" fmla="*/ 4360 h 8640"/>
              <a:gd name="T6" fmla="*/ 3598 w 6620"/>
              <a:gd name="T7" fmla="*/ 8640 h 8640"/>
              <a:gd name="T8" fmla="*/ 0 w 6620"/>
              <a:gd name="T9" fmla="*/ 8640 h 8640"/>
              <a:gd name="T10" fmla="*/ 0 w 6620"/>
              <a:gd name="T11" fmla="*/ 0 h 8640"/>
            </a:gdLst>
            <a:ahLst/>
            <a:cxnLst>
              <a:cxn ang="0">
                <a:pos x="T0" y="T1"/>
              </a:cxn>
              <a:cxn ang="0">
                <a:pos x="T2" y="T3"/>
              </a:cxn>
              <a:cxn ang="0">
                <a:pos x="T4" y="T5"/>
              </a:cxn>
              <a:cxn ang="0">
                <a:pos x="T6" y="T7"/>
              </a:cxn>
              <a:cxn ang="0">
                <a:pos x="T8" y="T9"/>
              </a:cxn>
              <a:cxn ang="0">
                <a:pos x="T10" y="T11"/>
              </a:cxn>
            </a:cxnLst>
            <a:rect l="0" t="0" r="r" b="b"/>
            <a:pathLst>
              <a:path w="6620" h="8640">
                <a:moveTo>
                  <a:pt x="0" y="0"/>
                </a:moveTo>
                <a:lnTo>
                  <a:pt x="3077" y="0"/>
                </a:lnTo>
                <a:lnTo>
                  <a:pt x="6620" y="4360"/>
                </a:lnTo>
                <a:lnTo>
                  <a:pt x="3598" y="8640"/>
                </a:lnTo>
                <a:lnTo>
                  <a:pt x="0" y="8640"/>
                </a:lnTo>
                <a:lnTo>
                  <a:pt x="0" y="0"/>
                </a:lnTo>
                <a:close/>
              </a:path>
            </a:pathLst>
          </a:custGeom>
          <a:ln>
            <a:noFill/>
          </a:ln>
          <a:effectLst>
            <a:outerShdw blurRad="800100" dist="190500" algn="l" rotWithShape="0">
              <a:prstClr val="black">
                <a:alpha val="40000"/>
              </a:prstClr>
            </a:outerShdw>
          </a:effectLst>
        </p:spPr>
        <p:txBody>
          <a:bodyPr vert="horz" wrap="square" lIns="45714" tIns="22857" rIns="45714" bIns="22857" numCol="1" anchor="t" anchorCtr="0" compatLnSpc="1">
            <a:prstTxWarp prst="textNoShape">
              <a:avLst/>
            </a:prstTxWarp>
          </a:body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US" sz="900" b="0" i="0" u="none" strike="noStrike" kern="1200" cap="none" spc="0" normalizeH="0" baseline="0" noProof="0">
              <a:ln>
                <a:noFill/>
              </a:ln>
              <a:solidFill>
                <a:srgbClr val="343A3F"/>
              </a:solidFill>
              <a:effectLst/>
              <a:uLnTx/>
              <a:uFillTx/>
              <a:latin typeface="Roboto Light"/>
              <a:ea typeface="+mn-ea"/>
              <a:cs typeface="+mn-cs"/>
            </a:endParaRPr>
          </a:p>
        </p:txBody>
      </p:sp>
      <p:sp useBgFill="1">
        <p:nvSpPr>
          <p:cNvPr id="11" name="Freeform 9">
            <a:extLst>
              <a:ext uri="{FF2B5EF4-FFF2-40B4-BE49-F238E27FC236}">
                <a16:creationId xmlns:a16="http://schemas.microsoft.com/office/drawing/2014/main" id="{AF121BA5-7F90-4A89-8CB4-FA2827833CF2}"/>
              </a:ext>
            </a:extLst>
          </p:cNvPr>
          <p:cNvSpPr/>
          <p:nvPr/>
        </p:nvSpPr>
        <p:spPr bwMode="auto">
          <a:xfrm>
            <a:off x="1843309" y="447"/>
            <a:ext cx="5253941" cy="6857107"/>
          </a:xfrm>
          <a:custGeom>
            <a:avLst/>
            <a:gdLst>
              <a:gd name="T0" fmla="*/ 0 w 6620"/>
              <a:gd name="T1" fmla="*/ 0 h 8640"/>
              <a:gd name="T2" fmla="*/ 3077 w 6620"/>
              <a:gd name="T3" fmla="*/ 0 h 8640"/>
              <a:gd name="T4" fmla="*/ 6620 w 6620"/>
              <a:gd name="T5" fmla="*/ 4360 h 8640"/>
              <a:gd name="T6" fmla="*/ 3598 w 6620"/>
              <a:gd name="T7" fmla="*/ 8640 h 8640"/>
              <a:gd name="T8" fmla="*/ 0 w 6620"/>
              <a:gd name="T9" fmla="*/ 8640 h 8640"/>
              <a:gd name="T10" fmla="*/ 0 w 6620"/>
              <a:gd name="T11" fmla="*/ 0 h 8640"/>
            </a:gdLst>
            <a:ahLst/>
            <a:cxnLst>
              <a:cxn ang="0">
                <a:pos x="T0" y="T1"/>
              </a:cxn>
              <a:cxn ang="0">
                <a:pos x="T2" y="T3"/>
              </a:cxn>
              <a:cxn ang="0">
                <a:pos x="T4" y="T5"/>
              </a:cxn>
              <a:cxn ang="0">
                <a:pos x="T6" y="T7"/>
              </a:cxn>
              <a:cxn ang="0">
                <a:pos x="T8" y="T9"/>
              </a:cxn>
              <a:cxn ang="0">
                <a:pos x="T10" y="T11"/>
              </a:cxn>
            </a:cxnLst>
            <a:rect l="0" t="0" r="r" b="b"/>
            <a:pathLst>
              <a:path w="6620" h="8640">
                <a:moveTo>
                  <a:pt x="0" y="0"/>
                </a:moveTo>
                <a:lnTo>
                  <a:pt x="3077" y="0"/>
                </a:lnTo>
                <a:lnTo>
                  <a:pt x="6620" y="4360"/>
                </a:lnTo>
                <a:lnTo>
                  <a:pt x="3598" y="8640"/>
                </a:lnTo>
                <a:lnTo>
                  <a:pt x="0" y="8640"/>
                </a:lnTo>
                <a:lnTo>
                  <a:pt x="0" y="0"/>
                </a:lnTo>
                <a:close/>
              </a:path>
            </a:pathLst>
          </a:custGeom>
          <a:ln>
            <a:noFill/>
          </a:ln>
          <a:effectLst>
            <a:outerShdw blurRad="800100" dist="190500" algn="l" rotWithShape="0">
              <a:prstClr val="black">
                <a:alpha val="40000"/>
              </a:prstClr>
            </a:outerShdw>
          </a:effectLst>
        </p:spPr>
        <p:txBody>
          <a:bodyPr vert="horz" wrap="square" lIns="45714" tIns="22857" rIns="45714" bIns="22857" numCol="1" anchor="t" anchorCtr="0" compatLnSpc="1">
            <a:prstTxWarp prst="textNoShape">
              <a:avLst/>
            </a:prstTxWarp>
          </a:body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US" sz="900" b="0" i="0" u="none" strike="noStrike" kern="1200" cap="none" spc="0" normalizeH="0" baseline="0" noProof="0">
              <a:ln>
                <a:noFill/>
              </a:ln>
              <a:solidFill>
                <a:srgbClr val="343A3F"/>
              </a:solidFill>
              <a:effectLst/>
              <a:uLnTx/>
              <a:uFillTx/>
              <a:latin typeface="Roboto Light"/>
              <a:ea typeface="+mn-ea"/>
              <a:cs typeface="+mn-cs"/>
            </a:endParaRPr>
          </a:p>
        </p:txBody>
      </p:sp>
      <p:sp useBgFill="1">
        <p:nvSpPr>
          <p:cNvPr id="10" name="Freeform 9">
            <a:extLst>
              <a:ext uri="{FF2B5EF4-FFF2-40B4-BE49-F238E27FC236}">
                <a16:creationId xmlns:a16="http://schemas.microsoft.com/office/drawing/2014/main" id="{319A6953-12CC-4AFD-961F-06A6DBF97AB0}"/>
              </a:ext>
            </a:extLst>
          </p:cNvPr>
          <p:cNvSpPr/>
          <p:nvPr/>
        </p:nvSpPr>
        <p:spPr bwMode="auto">
          <a:xfrm>
            <a:off x="0" y="447"/>
            <a:ext cx="5253941" cy="6857107"/>
          </a:xfrm>
          <a:custGeom>
            <a:avLst/>
            <a:gdLst>
              <a:gd name="T0" fmla="*/ 0 w 6620"/>
              <a:gd name="T1" fmla="*/ 0 h 8640"/>
              <a:gd name="T2" fmla="*/ 3077 w 6620"/>
              <a:gd name="T3" fmla="*/ 0 h 8640"/>
              <a:gd name="T4" fmla="*/ 6620 w 6620"/>
              <a:gd name="T5" fmla="*/ 4360 h 8640"/>
              <a:gd name="T6" fmla="*/ 3598 w 6620"/>
              <a:gd name="T7" fmla="*/ 8640 h 8640"/>
              <a:gd name="T8" fmla="*/ 0 w 6620"/>
              <a:gd name="T9" fmla="*/ 8640 h 8640"/>
              <a:gd name="T10" fmla="*/ 0 w 6620"/>
              <a:gd name="T11" fmla="*/ 0 h 8640"/>
            </a:gdLst>
            <a:ahLst/>
            <a:cxnLst>
              <a:cxn ang="0">
                <a:pos x="T0" y="T1"/>
              </a:cxn>
              <a:cxn ang="0">
                <a:pos x="T2" y="T3"/>
              </a:cxn>
              <a:cxn ang="0">
                <a:pos x="T4" y="T5"/>
              </a:cxn>
              <a:cxn ang="0">
                <a:pos x="T6" y="T7"/>
              </a:cxn>
              <a:cxn ang="0">
                <a:pos x="T8" y="T9"/>
              </a:cxn>
              <a:cxn ang="0">
                <a:pos x="T10" y="T11"/>
              </a:cxn>
            </a:cxnLst>
            <a:rect l="0" t="0" r="r" b="b"/>
            <a:pathLst>
              <a:path w="6620" h="8640">
                <a:moveTo>
                  <a:pt x="0" y="0"/>
                </a:moveTo>
                <a:lnTo>
                  <a:pt x="3077" y="0"/>
                </a:lnTo>
                <a:lnTo>
                  <a:pt x="6620" y="4360"/>
                </a:lnTo>
                <a:lnTo>
                  <a:pt x="3598" y="8640"/>
                </a:lnTo>
                <a:lnTo>
                  <a:pt x="0" y="8640"/>
                </a:lnTo>
                <a:lnTo>
                  <a:pt x="0" y="0"/>
                </a:lnTo>
                <a:close/>
              </a:path>
            </a:pathLst>
          </a:custGeom>
          <a:ln>
            <a:noFill/>
          </a:ln>
          <a:effectLst>
            <a:outerShdw blurRad="800100" dist="190500" algn="l" rotWithShape="0">
              <a:prstClr val="black">
                <a:alpha val="40000"/>
              </a:prstClr>
            </a:outerShdw>
          </a:effectLst>
        </p:spPr>
        <p:txBody>
          <a:bodyPr vert="horz" wrap="square" lIns="45714" tIns="22857" rIns="45714" bIns="22857" numCol="1" anchor="t" anchorCtr="0" compatLnSpc="1">
            <a:prstTxWarp prst="textNoShape">
              <a:avLst/>
            </a:prstTxWarp>
          </a:body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US" sz="900" b="0" i="0" u="none" strike="noStrike" kern="1200" cap="none" spc="0" normalizeH="0" baseline="0" noProof="0">
              <a:ln>
                <a:noFill/>
              </a:ln>
              <a:solidFill>
                <a:srgbClr val="343A3F"/>
              </a:solidFill>
              <a:effectLst/>
              <a:uLnTx/>
              <a:uFillTx/>
              <a:latin typeface="Roboto Light"/>
              <a:ea typeface="+mn-ea"/>
              <a:cs typeface="+mn-cs"/>
            </a:endParaRPr>
          </a:p>
        </p:txBody>
      </p:sp>
      <p:sp>
        <p:nvSpPr>
          <p:cNvPr id="16" name="Foliennummernplatzhalter 2">
            <a:extLst>
              <a:ext uri="{FF2B5EF4-FFF2-40B4-BE49-F238E27FC236}">
                <a16:creationId xmlns:a16="http://schemas.microsoft.com/office/drawing/2014/main" id="{2AC5683E-4E4B-4DB9-F80E-78C5FFD4BFC2}"/>
              </a:ext>
            </a:extLst>
          </p:cNvPr>
          <p:cNvSpPr>
            <a:spLocks noGrp="1"/>
          </p:cNvSpPr>
          <p:nvPr>
            <p:ph type="sldNum" sz="quarter" idx="10"/>
          </p:nvPr>
        </p:nvSpPr>
        <p:spPr>
          <a:xfrm>
            <a:off x="10401111" y="172800"/>
            <a:ext cx="974936" cy="365125"/>
          </a:xfrm>
        </p:spPr>
        <p:txBody>
          <a:bodyPr/>
          <a:lstStyle/>
          <a:p>
            <a:fld id="{A04BEB4F-8CE1-4F18-986F-6CE0A0BE9470}" type="slidenum">
              <a:rPr lang="de-DE" b="1" smtClean="0">
                <a:solidFill>
                  <a:schemeClr val="bg1"/>
                </a:solidFill>
                <a:latin typeface="Calibri" panose="020F0502020204030204" pitchFamily="34" charset="0"/>
                <a:ea typeface="Calibri" panose="020F0502020204030204" pitchFamily="34" charset="0"/>
                <a:cs typeface="Calibri" panose="020F0502020204030204" pitchFamily="34" charset="0"/>
              </a:rPr>
              <a:t>18</a:t>
            </a:fld>
            <a:endParaRPr lang="de-DE" b="1">
              <a:solidFill>
                <a:schemeClr val="bg1"/>
              </a:solidFill>
              <a:latin typeface="Calibri" panose="020F0502020204030204" pitchFamily="34" charset="0"/>
              <a:ea typeface="Calibri" panose="020F0502020204030204" pitchFamily="34" charset="0"/>
              <a:cs typeface="Calibri" panose="020F0502020204030204" pitchFamily="34" charset="0"/>
            </a:endParaRPr>
          </a:p>
        </p:txBody>
      </p:sp>
      <p:sp>
        <p:nvSpPr>
          <p:cNvPr id="2" name="Titel 3">
            <a:extLst>
              <a:ext uri="{FF2B5EF4-FFF2-40B4-BE49-F238E27FC236}">
                <a16:creationId xmlns:a16="http://schemas.microsoft.com/office/drawing/2014/main" id="{22B22A41-29C0-7BE7-56BC-943503975AE2}"/>
              </a:ext>
            </a:extLst>
          </p:cNvPr>
          <p:cNvSpPr txBox="1">
            <a:spLocks/>
          </p:cNvSpPr>
          <p:nvPr/>
        </p:nvSpPr>
        <p:spPr bwMode="auto">
          <a:xfrm>
            <a:off x="6461822" y="710278"/>
            <a:ext cx="4426757" cy="9464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defTabSz="914400" rtl="0" eaLnBrk="1" latinLnBrk="0" hangingPunct="1">
              <a:lnSpc>
                <a:spcPct val="100000"/>
              </a:lnSpc>
              <a:spcBef>
                <a:spcPct val="0"/>
              </a:spcBef>
              <a:buNone/>
              <a:defRPr sz="2800" kern="1200">
                <a:solidFill>
                  <a:schemeClr val="tx2"/>
                </a:solidFill>
                <a:latin typeface="+mj-lt"/>
                <a:ea typeface="+mj-ea"/>
                <a:cs typeface="+mj-cs"/>
              </a:defRPr>
            </a:lvl1pPr>
          </a:lstStyle>
          <a:p>
            <a:pPr algn="r" rtl="1"/>
            <a:r>
              <a:rPr lang="he-IL" sz="4800" b="1" dirty="0">
                <a:solidFill>
                  <a:schemeClr val="bg1"/>
                </a:solidFill>
                <a:effectLst>
                  <a:outerShdw blurRad="38100" dist="38100" dir="2700000" algn="tl">
                    <a:srgbClr val="000000">
                      <a:alpha val="43137"/>
                    </a:srgbClr>
                  </a:outerShdw>
                </a:effectLst>
                <a:latin typeface="Calibri" panose="020F0502020204030204" pitchFamily="34" charset="0"/>
                <a:ea typeface="Calibri" panose="020F0502020204030204" pitchFamily="34" charset="0"/>
                <a:cs typeface="Calibri" panose="020F0502020204030204" pitchFamily="34" charset="0"/>
              </a:rPr>
              <a:t>שירותי החברה</a:t>
            </a:r>
            <a:endParaRPr lang="de-DE" sz="4800" b="1" dirty="0">
              <a:solidFill>
                <a:schemeClr val="bg1"/>
              </a:solidFill>
              <a:effectLst>
                <a:outerShdw blurRad="38100" dist="38100" dir="2700000" algn="tl">
                  <a:srgbClr val="000000">
                    <a:alpha val="43137"/>
                  </a:srgbClr>
                </a:outerShdw>
              </a:effectLst>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807262095"/>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8" dur="1500" decel="10000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1500" fill="hold"/>
                                        <p:tgtEl>
                                          <p:spTgt spid="10"/>
                                        </p:tgtEl>
                                        <p:attrNameLst>
                                          <p:attrName>ppt_x</p:attrName>
                                        </p:attrNameLst>
                                      </p:cBhvr>
                                      <p:tavLst>
                                        <p:tav tm="0">
                                          <p:val>
                                            <p:strVal val="0-#ppt_w/2"/>
                                          </p:val>
                                        </p:tav>
                                        <p:tav tm="100000">
                                          <p:val>
                                            <p:strVal val="#ppt_x"/>
                                          </p:val>
                                        </p:tav>
                                      </p:tavLst>
                                    </p:anim>
                                    <p:anim calcmode="lin" valueType="num">
                                      <p:cBhvr additive="base">
                                        <p:cTn id="8" dur="1500" fill="hold"/>
                                        <p:tgtEl>
                                          <p:spTgt spid="10"/>
                                        </p:tgtEl>
                                        <p:attrNameLst>
                                          <p:attrName>ppt_y</p:attrName>
                                        </p:attrNameLst>
                                      </p:cBhvr>
                                      <p:tavLst>
                                        <p:tav tm="0">
                                          <p:val>
                                            <p:strVal val="#ppt_y"/>
                                          </p:val>
                                        </p:tav>
                                        <p:tav tm="100000">
                                          <p:val>
                                            <p:strVal val="#ppt_y"/>
                                          </p:val>
                                        </p:tav>
                                      </p:tavLst>
                                    </p:anim>
                                  </p:childTnLst>
                                </p:cTn>
                              </p:par>
                              <p:par>
                                <p:cTn id="9" presetID="6" presetClass="emph" presetSubtype="0" dur="6000" repeatCount="indefinite" accel="33000" decel="33000" autoRev="1" fill="hold" grpId="1" nodeType="withEffect">
                                  <p:stCondLst>
                                    <p:cond delay="0"/>
                                  </p:stCondLst>
                                  <p:childTnLst>
                                    <p:animScale>
                                      <p:cBhvr>
                                        <p:cTn id="10" dur="6000" fill="hold"/>
                                        <p:tgtEl>
                                          <p:spTgt spid="10"/>
                                        </p:tgtEl>
                                      </p:cBhvr>
                                      <p:by x="140000" y="140000"/>
                                    </p:animScale>
                                  </p:childTnLst>
                                </p:cTn>
                              </p:par>
                              <p:par>
                                <p:cTn id="11" presetID="35" presetClass="path" presetSubtype="0" dur="4200" repeatCount="indefinite" accel="50000" decel="50000" autoRev="1" fill="hold" grpId="2" nodeType="withEffect">
                                  <p:stCondLst>
                                    <p:cond delay="1500"/>
                                  </p:stCondLst>
                                  <p:childTnLst>
                                    <p:animMotion origin="layout" path="M -4.79167E-6 0 L -0.06367 0 " pathEditMode="relative" rAng="0" ptsTypes="AA">
                                      <p:cBhvr>
                                        <p:cTn id="12" dur="4200" fill="hold"/>
                                        <p:tgtEl>
                                          <p:spTgt spid="10"/>
                                        </p:tgtEl>
                                        <p:attrNameLst>
                                          <p:attrName>ppt_x</p:attrName>
                                          <p:attrName>ppt_y</p:attrName>
                                        </p:attrNameLst>
                                      </p:cBhvr>
                                      <p:rCtr x="-3190" y="0"/>
                                    </p:animMotion>
                                  </p:childTnLst>
                                </p:cTn>
                              </p:par>
                              <p:par>
                                <p:cTn id="13" presetID="2" presetClass="entr" presetSubtype="8" dur="1500" decel="100000" fill="hold" grpId="0" nodeType="withEffect">
                                  <p:stCondLst>
                                    <p:cond delay="100"/>
                                  </p:stCondLst>
                                  <p:childTnLst>
                                    <p:set>
                                      <p:cBhvr>
                                        <p:cTn id="14" dur="1" fill="hold">
                                          <p:stCondLst>
                                            <p:cond delay="0"/>
                                          </p:stCondLst>
                                        </p:cTn>
                                        <p:tgtEl>
                                          <p:spTgt spid="11"/>
                                        </p:tgtEl>
                                        <p:attrNameLst>
                                          <p:attrName>style.visibility</p:attrName>
                                        </p:attrNameLst>
                                      </p:cBhvr>
                                      <p:to>
                                        <p:strVal val="visible"/>
                                      </p:to>
                                    </p:set>
                                    <p:anim calcmode="lin" valueType="num">
                                      <p:cBhvr additive="base">
                                        <p:cTn id="15" dur="1500" fill="hold"/>
                                        <p:tgtEl>
                                          <p:spTgt spid="11"/>
                                        </p:tgtEl>
                                        <p:attrNameLst>
                                          <p:attrName>ppt_x</p:attrName>
                                        </p:attrNameLst>
                                      </p:cBhvr>
                                      <p:tavLst>
                                        <p:tav tm="0">
                                          <p:val>
                                            <p:strVal val="0-#ppt_w/2"/>
                                          </p:val>
                                        </p:tav>
                                        <p:tav tm="100000">
                                          <p:val>
                                            <p:strVal val="#ppt_x"/>
                                          </p:val>
                                        </p:tav>
                                      </p:tavLst>
                                    </p:anim>
                                    <p:anim calcmode="lin" valueType="num">
                                      <p:cBhvr additive="base">
                                        <p:cTn id="16" dur="1500" fill="hold"/>
                                        <p:tgtEl>
                                          <p:spTgt spid="11"/>
                                        </p:tgtEl>
                                        <p:attrNameLst>
                                          <p:attrName>ppt_y</p:attrName>
                                        </p:attrNameLst>
                                      </p:cBhvr>
                                      <p:tavLst>
                                        <p:tav tm="0">
                                          <p:val>
                                            <p:strVal val="#ppt_y"/>
                                          </p:val>
                                        </p:tav>
                                        <p:tav tm="100000">
                                          <p:val>
                                            <p:strVal val="#ppt_y"/>
                                          </p:val>
                                        </p:tav>
                                      </p:tavLst>
                                    </p:anim>
                                  </p:childTnLst>
                                </p:cTn>
                              </p:par>
                              <p:par>
                                <p:cTn id="17" presetID="6" presetClass="emph" presetSubtype="0" dur="6000" repeatCount="indefinite" accel="33000" decel="33000" autoRev="1" fill="hold" grpId="1" nodeType="withEffect">
                                  <p:stCondLst>
                                    <p:cond delay="100"/>
                                  </p:stCondLst>
                                  <p:childTnLst>
                                    <p:animScale>
                                      <p:cBhvr>
                                        <p:cTn id="18" dur="6000" fill="hold"/>
                                        <p:tgtEl>
                                          <p:spTgt spid="11"/>
                                        </p:tgtEl>
                                      </p:cBhvr>
                                      <p:by x="135000" y="135000"/>
                                    </p:animScale>
                                  </p:childTnLst>
                                </p:cTn>
                              </p:par>
                              <p:par>
                                <p:cTn id="19" presetID="35" presetClass="path" presetSubtype="0" dur="4200" repeatCount="indefinite" accel="50000" decel="50000" autoRev="1" fill="hold" grpId="2" nodeType="withEffect">
                                  <p:stCondLst>
                                    <p:cond delay="1600"/>
                                  </p:stCondLst>
                                  <p:childTnLst>
                                    <p:animMotion origin="layout" path="M 3.33333E-6 0 L -0.06368 0 " pathEditMode="relative" rAng="0" ptsTypes="AA">
                                      <p:cBhvr>
                                        <p:cTn id="20" dur="4200" fill="hold"/>
                                        <p:tgtEl>
                                          <p:spTgt spid="11"/>
                                        </p:tgtEl>
                                        <p:attrNameLst>
                                          <p:attrName>ppt_x</p:attrName>
                                          <p:attrName>ppt_y</p:attrName>
                                        </p:attrNameLst>
                                      </p:cBhvr>
                                      <p:rCtr x="-3190" y="0"/>
                                    </p:animMotion>
                                  </p:childTnLst>
                                </p:cTn>
                              </p:par>
                              <p:par>
                                <p:cTn id="21" presetID="2" presetClass="entr" presetSubtype="8" dur="1500" decel="100000" fill="hold" grpId="0" nodeType="withEffect">
                                  <p:stCondLst>
                                    <p:cond delay="200"/>
                                  </p:stCondLst>
                                  <p:childTnLst>
                                    <p:set>
                                      <p:cBhvr>
                                        <p:cTn id="22" dur="1" fill="hold">
                                          <p:stCondLst>
                                            <p:cond delay="0"/>
                                          </p:stCondLst>
                                        </p:cTn>
                                        <p:tgtEl>
                                          <p:spTgt spid="12"/>
                                        </p:tgtEl>
                                        <p:attrNameLst>
                                          <p:attrName>style.visibility</p:attrName>
                                        </p:attrNameLst>
                                      </p:cBhvr>
                                      <p:to>
                                        <p:strVal val="visible"/>
                                      </p:to>
                                    </p:set>
                                    <p:anim calcmode="lin" valueType="num">
                                      <p:cBhvr additive="base">
                                        <p:cTn id="23" dur="1500" fill="hold"/>
                                        <p:tgtEl>
                                          <p:spTgt spid="12"/>
                                        </p:tgtEl>
                                        <p:attrNameLst>
                                          <p:attrName>ppt_x</p:attrName>
                                        </p:attrNameLst>
                                      </p:cBhvr>
                                      <p:tavLst>
                                        <p:tav tm="0">
                                          <p:val>
                                            <p:strVal val="0-#ppt_w/2"/>
                                          </p:val>
                                        </p:tav>
                                        <p:tav tm="100000">
                                          <p:val>
                                            <p:strVal val="#ppt_x"/>
                                          </p:val>
                                        </p:tav>
                                      </p:tavLst>
                                    </p:anim>
                                    <p:anim calcmode="lin" valueType="num">
                                      <p:cBhvr additive="base">
                                        <p:cTn id="24" dur="1500" fill="hold"/>
                                        <p:tgtEl>
                                          <p:spTgt spid="12"/>
                                        </p:tgtEl>
                                        <p:attrNameLst>
                                          <p:attrName>ppt_y</p:attrName>
                                        </p:attrNameLst>
                                      </p:cBhvr>
                                      <p:tavLst>
                                        <p:tav tm="0">
                                          <p:val>
                                            <p:strVal val="#ppt_y"/>
                                          </p:val>
                                        </p:tav>
                                        <p:tav tm="100000">
                                          <p:val>
                                            <p:strVal val="#ppt_y"/>
                                          </p:val>
                                        </p:tav>
                                      </p:tavLst>
                                    </p:anim>
                                  </p:childTnLst>
                                </p:cTn>
                              </p:par>
                              <p:par>
                                <p:cTn id="25" presetID="6" presetClass="emph" presetSubtype="0" dur="6000" repeatCount="indefinite" accel="33000" decel="33000" autoRev="1" fill="hold" grpId="1" nodeType="withEffect">
                                  <p:stCondLst>
                                    <p:cond delay="200"/>
                                  </p:stCondLst>
                                  <p:childTnLst>
                                    <p:animScale>
                                      <p:cBhvr>
                                        <p:cTn id="26" dur="6000" fill="hold"/>
                                        <p:tgtEl>
                                          <p:spTgt spid="12"/>
                                        </p:tgtEl>
                                      </p:cBhvr>
                                      <p:by x="130000" y="130000"/>
                                    </p:animScale>
                                  </p:childTnLst>
                                </p:cTn>
                              </p:par>
                              <p:par>
                                <p:cTn id="27" presetID="35" presetClass="path" presetSubtype="0" dur="4200" repeatCount="indefinite" accel="50000" decel="50000" autoRev="1" fill="hold" grpId="2" nodeType="withEffect">
                                  <p:stCondLst>
                                    <p:cond delay="1700"/>
                                  </p:stCondLst>
                                  <p:childTnLst>
                                    <p:animMotion origin="layout" path="M 5E-6 0 L -0.06368 0 " pathEditMode="relative" rAng="0" ptsTypes="AA">
                                      <p:cBhvr>
                                        <p:cTn id="28" dur="4200" fill="hold"/>
                                        <p:tgtEl>
                                          <p:spTgt spid="12"/>
                                        </p:tgtEl>
                                        <p:attrNameLst>
                                          <p:attrName>ppt_x</p:attrName>
                                          <p:attrName>ppt_y</p:attrName>
                                        </p:attrNameLst>
                                      </p:cBhvr>
                                      <p:rCtr x="-3190" y="0"/>
                                    </p:animMotion>
                                  </p:childTnLst>
                                </p:cTn>
                              </p:par>
                              <p:par>
                                <p:cTn id="29" presetID="2" presetClass="entr" presetSubtype="8" dur="1500" decel="100000" fill="hold" grpId="0" nodeType="withEffect">
                                  <p:stCondLst>
                                    <p:cond delay="300"/>
                                  </p:stCondLst>
                                  <p:childTnLst>
                                    <p:set>
                                      <p:cBhvr>
                                        <p:cTn id="30" dur="1" fill="hold">
                                          <p:stCondLst>
                                            <p:cond delay="0"/>
                                          </p:stCondLst>
                                        </p:cTn>
                                        <p:tgtEl>
                                          <p:spTgt spid="13"/>
                                        </p:tgtEl>
                                        <p:attrNameLst>
                                          <p:attrName>style.visibility</p:attrName>
                                        </p:attrNameLst>
                                      </p:cBhvr>
                                      <p:to>
                                        <p:strVal val="visible"/>
                                      </p:to>
                                    </p:set>
                                    <p:anim calcmode="lin" valueType="num">
                                      <p:cBhvr additive="base">
                                        <p:cTn id="31" dur="1500" fill="hold"/>
                                        <p:tgtEl>
                                          <p:spTgt spid="13"/>
                                        </p:tgtEl>
                                        <p:attrNameLst>
                                          <p:attrName>ppt_x</p:attrName>
                                        </p:attrNameLst>
                                      </p:cBhvr>
                                      <p:tavLst>
                                        <p:tav tm="0">
                                          <p:val>
                                            <p:strVal val="0-#ppt_w/2"/>
                                          </p:val>
                                        </p:tav>
                                        <p:tav tm="100000">
                                          <p:val>
                                            <p:strVal val="#ppt_x"/>
                                          </p:val>
                                        </p:tav>
                                      </p:tavLst>
                                    </p:anim>
                                    <p:anim calcmode="lin" valueType="num">
                                      <p:cBhvr additive="base">
                                        <p:cTn id="32" dur="1500" fill="hold"/>
                                        <p:tgtEl>
                                          <p:spTgt spid="13"/>
                                        </p:tgtEl>
                                        <p:attrNameLst>
                                          <p:attrName>ppt_y</p:attrName>
                                        </p:attrNameLst>
                                      </p:cBhvr>
                                      <p:tavLst>
                                        <p:tav tm="0">
                                          <p:val>
                                            <p:strVal val="#ppt_y"/>
                                          </p:val>
                                        </p:tav>
                                        <p:tav tm="100000">
                                          <p:val>
                                            <p:strVal val="#ppt_y"/>
                                          </p:val>
                                        </p:tav>
                                      </p:tavLst>
                                    </p:anim>
                                  </p:childTnLst>
                                </p:cTn>
                              </p:par>
                              <p:par>
                                <p:cTn id="33" presetID="6" presetClass="emph" presetSubtype="0" dur="6000" repeatCount="indefinite" accel="33000" decel="33000" autoRev="1" fill="hold" grpId="1" nodeType="withEffect">
                                  <p:stCondLst>
                                    <p:cond delay="300"/>
                                  </p:stCondLst>
                                  <p:childTnLst>
                                    <p:animScale>
                                      <p:cBhvr>
                                        <p:cTn id="34" dur="6000" fill="hold"/>
                                        <p:tgtEl>
                                          <p:spTgt spid="13"/>
                                        </p:tgtEl>
                                      </p:cBhvr>
                                      <p:by x="125000" y="125000"/>
                                    </p:animScale>
                                  </p:childTnLst>
                                </p:cTn>
                              </p:par>
                              <p:par>
                                <p:cTn id="35" presetID="35" presetClass="path" presetSubtype="0" dur="4200" repeatCount="indefinite" accel="50000" decel="50000" autoRev="1" fill="hold" grpId="2" nodeType="withEffect">
                                  <p:stCondLst>
                                    <p:cond delay="1800"/>
                                  </p:stCondLst>
                                  <p:childTnLst>
                                    <p:animMotion origin="layout" path="M -3.33333E-6 0 L -0.06367 0 " pathEditMode="relative" rAng="0" ptsTypes="AA">
                                      <p:cBhvr>
                                        <p:cTn id="36" dur="4200" fill="hold"/>
                                        <p:tgtEl>
                                          <p:spTgt spid="13"/>
                                        </p:tgtEl>
                                        <p:attrNameLst>
                                          <p:attrName>ppt_x</p:attrName>
                                          <p:attrName>ppt_y</p:attrName>
                                        </p:attrNameLst>
                                      </p:cBhvr>
                                      <p:rCtr x="-3190" y="0"/>
                                    </p:animMotion>
                                  </p:childTnLst>
                                </p:cTn>
                              </p:par>
                              <p:par>
                                <p:cTn id="37" presetID="2" presetClass="entr" presetSubtype="8" dur="1000" decel="100000" fill="hold" grpId="0" nodeType="withEffect">
                                  <p:stCondLst>
                                    <p:cond delay="0"/>
                                  </p:stCondLst>
                                  <p:childTnLst>
                                    <p:set>
                                      <p:cBhvr>
                                        <p:cTn id="38" dur="1" fill="hold">
                                          <p:stCondLst>
                                            <p:cond delay="0"/>
                                          </p:stCondLst>
                                        </p:cTn>
                                        <p:tgtEl>
                                          <p:spTgt spid="2"/>
                                        </p:tgtEl>
                                        <p:attrNameLst>
                                          <p:attrName>style.visibility</p:attrName>
                                        </p:attrNameLst>
                                      </p:cBhvr>
                                      <p:to>
                                        <p:strVal val="visible"/>
                                      </p:to>
                                    </p:set>
                                    <p:anim calcmode="lin" valueType="num">
                                      <p:cBhvr additive="base">
                                        <p:cTn id="39" dur="1000" fill="hold"/>
                                        <p:tgtEl>
                                          <p:spTgt spid="2"/>
                                        </p:tgtEl>
                                        <p:attrNameLst>
                                          <p:attrName>ppt_x</p:attrName>
                                        </p:attrNameLst>
                                      </p:cBhvr>
                                      <p:tavLst>
                                        <p:tav tm="0">
                                          <p:val>
                                            <p:strVal val="0-#ppt_w/2"/>
                                          </p:val>
                                        </p:tav>
                                        <p:tav tm="100000">
                                          <p:val>
                                            <p:strVal val="#ppt_x"/>
                                          </p:val>
                                        </p:tav>
                                      </p:tavLst>
                                    </p:anim>
                                    <p:anim calcmode="lin" valueType="num">
                                      <p:cBhvr additive="base">
                                        <p:cTn id="40" dur="100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P spid="13" grpId="2" animBg="1"/>
      <p:bldP spid="12" grpId="0" animBg="1"/>
      <p:bldP spid="12" grpId="1" animBg="1"/>
      <p:bldP spid="12" grpId="2" animBg="1"/>
      <p:bldP spid="11" grpId="0" animBg="1"/>
      <p:bldP spid="11" grpId="1" animBg="1"/>
      <p:bldP spid="11" grpId="2" animBg="1"/>
      <p:bldP spid="10" grpId="0" animBg="1"/>
      <p:bldP spid="10" grpId="1" animBg="1"/>
      <p:bldP spid="10" grpId="2" animBg="1"/>
      <p:bldP spid="2" grpId="0"/>
    </p:bldLst>
  </p:timing>
</p:sld>
</file>

<file path=ppt/slides/slide1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587166A4-6E95-63B2-0513-48B6EE43F7A7}"/>
              </a:ext>
            </a:extLst>
          </p:cNvPr>
          <p:cNvSpPr>
            <a:spLocks noGrp="1"/>
          </p:cNvSpPr>
          <p:nvPr>
            <p:ph type="sldNum" sz="quarter" idx="10"/>
          </p:nvPr>
        </p:nvSpPr>
        <p:spPr/>
        <p:txBody>
          <a:bodyPr/>
          <a:lstStyle/>
          <a:p>
            <a:fld id="{A04BEB4F-8CE1-4F18-986F-6CE0A0BE9470}" type="slidenum">
              <a:rPr lang="de-DE" smtClean="0"/>
              <a:t>19</a:t>
            </a:fld>
            <a:endParaRPr lang="de-DE"/>
          </a:p>
        </p:txBody>
      </p:sp>
      <p:sp>
        <p:nvSpPr>
          <p:cNvPr id="9" name="Titel 3">
            <a:extLst>
              <a:ext uri="{FF2B5EF4-FFF2-40B4-BE49-F238E27FC236}">
                <a16:creationId xmlns:a16="http://schemas.microsoft.com/office/drawing/2014/main" id="{FB109405-7FC6-5F27-06F4-7DAE42F15714}"/>
              </a:ext>
            </a:extLst>
          </p:cNvPr>
          <p:cNvSpPr txBox="1">
            <a:spLocks/>
          </p:cNvSpPr>
          <p:nvPr/>
        </p:nvSpPr>
        <p:spPr bwMode="auto">
          <a:xfrm>
            <a:off x="815952" y="733402"/>
            <a:ext cx="10560096" cy="767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normAutofit/>
          </a:bodyPr>
          <a:lstStyle>
            <a:lvl1pPr algn="l" defTabSz="914400" rtl="0" eaLnBrk="1" latinLnBrk="0" hangingPunct="1">
              <a:lnSpc>
                <a:spcPct val="100000"/>
              </a:lnSpc>
              <a:spcBef>
                <a:spcPct val="0"/>
              </a:spcBef>
              <a:buNone/>
              <a:defRPr sz="2800" kern="1200">
                <a:solidFill>
                  <a:schemeClr val="tx2"/>
                </a:solidFill>
                <a:latin typeface="+mj-lt"/>
                <a:ea typeface="+mj-ea"/>
                <a:cs typeface="+mj-cs"/>
              </a:defRPr>
            </a:lvl1pPr>
          </a:lstStyle>
          <a:p>
            <a:pPr algn="r" rtl="1"/>
            <a:r>
              <a:rPr lang="he-IL" b="1" dirty="0">
                <a:effectLst>
                  <a:outerShdw blurRad="38100" dist="38100" dir="2700000" algn="tl">
                    <a:srgbClr val="000000">
                      <a:alpha val="43137"/>
                    </a:srgbClr>
                  </a:outerShdw>
                </a:effectLst>
                <a:latin typeface="Calibri" panose="020F0502020204030204" pitchFamily="34" charset="0"/>
                <a:ea typeface="Calibri" panose="020F0502020204030204" pitchFamily="34" charset="0"/>
                <a:cs typeface="Calibri" panose="020F0502020204030204" pitchFamily="34" charset="0"/>
              </a:rPr>
              <a:t>עמילות מכס – שחרור מטענים מפיקוח המכס</a:t>
            </a:r>
            <a:endParaRPr lang="de-DE" dirty="0">
              <a:effectLst>
                <a:outerShdw blurRad="38100" dist="38100" dir="2700000" algn="tl">
                  <a:srgbClr val="000000">
                    <a:alpha val="43137"/>
                  </a:srgbClr>
                </a:outerShdw>
              </a:effectLst>
              <a:latin typeface="Calibri" panose="020F0502020204030204" pitchFamily="34" charset="0"/>
              <a:ea typeface="Calibri" panose="020F0502020204030204" pitchFamily="34" charset="0"/>
              <a:cs typeface="Calibri" panose="020F0502020204030204" pitchFamily="34" charset="0"/>
            </a:endParaRPr>
          </a:p>
        </p:txBody>
      </p:sp>
      <p:sp>
        <p:nvSpPr>
          <p:cNvPr id="10" name="Textplatzhalter 4">
            <a:extLst>
              <a:ext uri="{FF2B5EF4-FFF2-40B4-BE49-F238E27FC236}">
                <a16:creationId xmlns:a16="http://schemas.microsoft.com/office/drawing/2014/main" id="{0BD74C70-D675-C1AB-81E2-3143E09B37E9}"/>
              </a:ext>
            </a:extLst>
          </p:cNvPr>
          <p:cNvSpPr txBox="1">
            <a:spLocks/>
          </p:cNvSpPr>
          <p:nvPr/>
        </p:nvSpPr>
        <p:spPr>
          <a:xfrm>
            <a:off x="5805948" y="2025445"/>
            <a:ext cx="5280049" cy="4268957"/>
          </a:xfrm>
          <a:prstGeom prst="rect">
            <a:avLst/>
          </a:prstGeom>
        </p:spPr>
        <p:txBody>
          <a:bodyPr vert="horz" lIns="0" tIns="0" rIns="0" bIns="0" rtlCol="0">
            <a:normAutofit fontScale="92500" lnSpcReduction="20000"/>
          </a:bodyPr>
          <a:lstStyle>
            <a:lvl1pPr marL="266700" marR="0" indent="-266700" algn="l" defTabSz="1644650" rtl="0" eaLnBrk="0" fontAlgn="base" latinLnBrk="0" hangingPunct="0">
              <a:lnSpc>
                <a:spcPct val="130000"/>
              </a:lnSpc>
              <a:spcBef>
                <a:spcPct val="0"/>
              </a:spcBef>
              <a:spcAft>
                <a:spcPts val="1200"/>
              </a:spcAft>
              <a:buClr>
                <a:srgbClr val="004C99"/>
              </a:buClr>
              <a:buSzPct val="120000"/>
              <a:buFontTx/>
              <a:buBlip>
                <a:blip r:embed="rId2"/>
              </a:buBlip>
              <a:defRPr sz="1800" kern="1200">
                <a:solidFill>
                  <a:schemeClr val="tx1"/>
                </a:solidFill>
                <a:latin typeface="+mn-lt"/>
                <a:ea typeface="+mn-ea"/>
                <a:cs typeface="+mn-cs"/>
              </a:defRPr>
            </a:lvl1pPr>
            <a:lvl2pPr marL="630238" marR="0" indent="-268288" algn="l" defTabSz="1644650" rtl="0" eaLnBrk="0" fontAlgn="base" latinLnBrk="0" hangingPunct="0">
              <a:lnSpc>
                <a:spcPct val="130000"/>
              </a:lnSpc>
              <a:spcBef>
                <a:spcPct val="0"/>
              </a:spcBef>
              <a:spcAft>
                <a:spcPts val="1200"/>
              </a:spcAft>
              <a:buClr>
                <a:srgbClr val="004C99"/>
              </a:buClr>
              <a:buSzPct val="120000"/>
              <a:buFontTx/>
              <a:buBlip>
                <a:blip r:embed="rId2"/>
              </a:buBlip>
              <a:defRPr sz="1800" kern="1200">
                <a:solidFill>
                  <a:schemeClr val="tx1"/>
                </a:solidFill>
                <a:latin typeface="+mn-lt"/>
                <a:ea typeface="+mn-ea"/>
                <a:cs typeface="+mn-cs"/>
              </a:defRPr>
            </a:lvl2pPr>
            <a:lvl3pPr marL="990600" marR="0" indent="-274638" algn="l" defTabSz="1644650" rtl="0" eaLnBrk="0" fontAlgn="base" latinLnBrk="0" hangingPunct="0">
              <a:lnSpc>
                <a:spcPct val="130000"/>
              </a:lnSpc>
              <a:spcBef>
                <a:spcPct val="0"/>
              </a:spcBef>
              <a:spcAft>
                <a:spcPts val="1200"/>
              </a:spcAft>
              <a:buClr>
                <a:srgbClr val="004C99"/>
              </a:buClr>
              <a:buSzPct val="120000"/>
              <a:buFontTx/>
              <a:buBlip>
                <a:blip r:embed="rId2"/>
              </a:buBlip>
              <a:defRPr sz="1800" kern="1200">
                <a:solidFill>
                  <a:schemeClr val="tx1"/>
                </a:solidFill>
                <a:latin typeface="+mn-lt"/>
                <a:ea typeface="+mn-ea"/>
                <a:cs typeface="+mn-cs"/>
              </a:defRPr>
            </a:lvl3pPr>
            <a:lvl4pPr marL="1343025" marR="0" indent="-263525" algn="l" defTabSz="1644650" rtl="0" eaLnBrk="0" fontAlgn="base" latinLnBrk="0" hangingPunct="0">
              <a:lnSpc>
                <a:spcPct val="130000"/>
              </a:lnSpc>
              <a:spcBef>
                <a:spcPct val="0"/>
              </a:spcBef>
              <a:spcAft>
                <a:spcPts val="1200"/>
              </a:spcAft>
              <a:buClr>
                <a:srgbClr val="004C99"/>
              </a:buClr>
              <a:buSzPct val="120000"/>
              <a:buFontTx/>
              <a:buBlip>
                <a:blip r:embed="rId2"/>
              </a:buBlip>
              <a:defRPr sz="1800" kern="1200">
                <a:solidFill>
                  <a:schemeClr val="tx1"/>
                </a:solidFill>
                <a:latin typeface="+mn-lt"/>
                <a:ea typeface="+mn-ea"/>
                <a:cs typeface="+mn-cs"/>
              </a:defRPr>
            </a:lvl4pPr>
            <a:lvl5pPr marL="1704975" marR="0" indent="-271463" algn="l" defTabSz="1644650" rtl="0" eaLnBrk="0" fontAlgn="base" latinLnBrk="0" hangingPunct="0">
              <a:lnSpc>
                <a:spcPct val="130000"/>
              </a:lnSpc>
              <a:spcBef>
                <a:spcPct val="0"/>
              </a:spcBef>
              <a:spcAft>
                <a:spcPts val="1200"/>
              </a:spcAft>
              <a:buClr>
                <a:srgbClr val="004C99"/>
              </a:buClr>
              <a:buSzPct val="120000"/>
              <a:buFontTx/>
              <a:buBlip>
                <a:blip r:embed="rId2"/>
              </a:buBlip>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rtl="1"/>
            <a:r>
              <a:rPr lang="he-IL" sz="1600" dirty="0" err="1">
                <a:latin typeface="Calibri" panose="020F0502020204030204" pitchFamily="34" charset="0"/>
                <a:ea typeface="Calibri" panose="020F0502020204030204" pitchFamily="34" charset="0"/>
                <a:cs typeface="Calibri" panose="020F0502020204030204" pitchFamily="34" charset="0"/>
              </a:rPr>
              <a:t>פלטרנספורט</a:t>
            </a:r>
            <a:r>
              <a:rPr lang="he-IL" sz="1600" dirty="0">
                <a:latin typeface="Calibri" panose="020F0502020204030204" pitchFamily="34" charset="0"/>
                <a:ea typeface="Calibri" panose="020F0502020204030204" pitchFamily="34" charset="0"/>
                <a:cs typeface="Calibri" panose="020F0502020204030204" pitchFamily="34" charset="0"/>
              </a:rPr>
              <a:t> היא חברה לעמילות מכס ושילוח בינ"ל בעלת ותק של למעלה מ-75 שנים.</a:t>
            </a:r>
          </a:p>
          <a:p>
            <a:pPr algn="r" rtl="1"/>
            <a:r>
              <a:rPr lang="he-IL" sz="1600" dirty="0">
                <a:latin typeface="Calibri" panose="020F0502020204030204" pitchFamily="34" charset="0"/>
                <a:ea typeface="Calibri" panose="020F0502020204030204" pitchFamily="34" charset="0"/>
                <a:cs typeface="Calibri" panose="020F0502020204030204" pitchFamily="34" charset="0"/>
              </a:rPr>
              <a:t>במחלקת עמילות המכס ובתחנות הקצה מועסקים במשרה מלאה 10 סוכני מכס ויותר מ-15 פקידי רישוי.</a:t>
            </a:r>
          </a:p>
          <a:p>
            <a:pPr algn="r" rtl="1"/>
            <a:r>
              <a:rPr lang="he-IL" sz="1600" dirty="0">
                <a:latin typeface="Calibri" panose="020F0502020204030204" pitchFamily="34" charset="0"/>
                <a:ea typeface="Calibri" panose="020F0502020204030204" pitchFamily="34" charset="0"/>
                <a:cs typeface="Calibri" panose="020F0502020204030204" pitchFamily="34" charset="0"/>
              </a:rPr>
              <a:t>הצוות המקצועי מוכשר לטפל בתביעות מיסים ובתיקוני הצהרות וכמובן עומד בתנאי הסף של רשות המכס: רישיון סוכן מכס או תעודת פקיד רישוי עם ותק של 5 שנים לפחות.</a:t>
            </a:r>
            <a:endParaRPr lang="en-US" sz="1600" dirty="0">
              <a:latin typeface="Calibri" panose="020F0502020204030204" pitchFamily="34" charset="0"/>
              <a:ea typeface="Calibri" panose="020F0502020204030204" pitchFamily="34" charset="0"/>
              <a:cs typeface="Calibri" panose="020F0502020204030204" pitchFamily="34" charset="0"/>
            </a:endParaRPr>
          </a:p>
          <a:p>
            <a:pPr algn="r" rtl="1"/>
            <a:r>
              <a:rPr lang="he-IL" sz="1600" dirty="0" err="1">
                <a:latin typeface="Calibri" panose="020F0502020204030204" pitchFamily="34" charset="0"/>
                <a:ea typeface="Calibri" panose="020F0502020204030204" pitchFamily="34" charset="0"/>
                <a:cs typeface="Calibri" panose="020F0502020204030204" pitchFamily="34" charset="0"/>
              </a:rPr>
              <a:t>פלטרנספורט</a:t>
            </a:r>
            <a:r>
              <a:rPr lang="he-IL" sz="1600" dirty="0">
                <a:latin typeface="Calibri" panose="020F0502020204030204" pitchFamily="34" charset="0"/>
                <a:ea typeface="Calibri" panose="020F0502020204030204" pitchFamily="34" charset="0"/>
                <a:cs typeface="Calibri" panose="020F0502020204030204" pitchFamily="34" charset="0"/>
              </a:rPr>
              <a:t> רואה במקצועיות של עובדיה נכס אסטרטגי ודואגת להוצאת עובדים באופן תדיר לקורסים והשתלמויות בתחום עמילות המכס והשילוח הבינ"ל.</a:t>
            </a:r>
          </a:p>
          <a:p>
            <a:pPr algn="r" rtl="1"/>
            <a:r>
              <a:rPr lang="he-IL" sz="1600" dirty="0" err="1">
                <a:latin typeface="Calibri" panose="020F0502020204030204" pitchFamily="34" charset="0"/>
                <a:ea typeface="Calibri" panose="020F0502020204030204" pitchFamily="34" charset="0"/>
                <a:cs typeface="Calibri" panose="020F0502020204030204" pitchFamily="34" charset="0"/>
              </a:rPr>
              <a:t>פלטרנספורט</a:t>
            </a:r>
            <a:r>
              <a:rPr lang="he-IL" sz="1600" dirty="0">
                <a:latin typeface="Calibri" panose="020F0502020204030204" pitchFamily="34" charset="0"/>
                <a:ea typeface="Calibri" panose="020F0502020204030204" pitchFamily="34" charset="0"/>
                <a:cs typeface="Calibri" panose="020F0502020204030204" pitchFamily="34" charset="0"/>
              </a:rPr>
              <a:t> מחזיקה סניפים בפריסה רחבה בישראל: נתב"ג, אשדוד, חיפה, נהר הירדן, גשר אלנבי וכמובן בבסיס האם של החברה הממוקם בלוד.</a:t>
            </a:r>
          </a:p>
          <a:p>
            <a:pPr algn="r" rtl="1"/>
            <a:endParaRPr lang="he-IL" sz="1600" dirty="0">
              <a:latin typeface="Calibri" panose="020F0502020204030204" pitchFamily="34" charset="0"/>
              <a:ea typeface="Calibri" panose="020F0502020204030204" pitchFamily="34" charset="0"/>
              <a:cs typeface="Calibri" panose="020F0502020204030204" pitchFamily="34" charset="0"/>
            </a:endParaRPr>
          </a:p>
        </p:txBody>
      </p:sp>
      <p:sp>
        <p:nvSpPr>
          <p:cNvPr id="11" name="Titel 3">
            <a:extLst>
              <a:ext uri="{FF2B5EF4-FFF2-40B4-BE49-F238E27FC236}">
                <a16:creationId xmlns:a16="http://schemas.microsoft.com/office/drawing/2014/main" id="{BFEA0DEE-3A4F-A132-0CA6-2C9FAD2065E8}"/>
              </a:ext>
            </a:extLst>
          </p:cNvPr>
          <p:cNvSpPr txBox="1"/>
          <p:nvPr/>
        </p:nvSpPr>
        <p:spPr bwMode="auto">
          <a:xfrm>
            <a:off x="815951" y="1435910"/>
            <a:ext cx="10560096" cy="314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normAutofit/>
          </a:bodyPr>
          <a:lstStyle>
            <a:lvl1pPr algn="l" defTabSz="914400" rtl="0" eaLnBrk="1" latinLnBrk="0" hangingPunct="1">
              <a:lnSpc>
                <a:spcPct val="100000"/>
              </a:lnSpc>
              <a:spcBef>
                <a:spcPct val="0"/>
              </a:spcBef>
              <a:buNone/>
              <a:defRPr sz="2800" kern="1200">
                <a:solidFill>
                  <a:schemeClr val="tx2"/>
                </a:solidFill>
                <a:latin typeface="+mj-lt"/>
                <a:ea typeface="+mj-ea"/>
                <a:cs typeface="+mj-cs"/>
              </a:defRPr>
            </a:lvl1pPr>
          </a:lstStyle>
          <a:p>
            <a:pPr algn="r" rtl="1"/>
            <a:r>
              <a:rPr lang="he-IL" sz="1800" b="1" err="1">
                <a:latin typeface="Calibri" panose="020F0502020204030204" pitchFamily="34" charset="0"/>
                <a:ea typeface="Calibri" panose="020F0502020204030204" pitchFamily="34" charset="0"/>
                <a:cs typeface="Calibri" panose="020F0502020204030204" pitchFamily="34" charset="0"/>
              </a:rPr>
              <a:t>פלטרנספורט</a:t>
            </a:r>
            <a:r>
              <a:rPr lang="he-IL" sz="1800" b="1">
                <a:latin typeface="Calibri" panose="020F0502020204030204" pitchFamily="34" charset="0"/>
                <a:ea typeface="Calibri" panose="020F0502020204030204" pitchFamily="34" charset="0"/>
                <a:cs typeface="Calibri" panose="020F0502020204030204" pitchFamily="34" charset="0"/>
              </a:rPr>
              <a:t> – באוויר, בים וביבשה</a:t>
            </a:r>
            <a:endParaRPr lang="de-DE" sz="1800" b="1">
              <a:latin typeface="Calibri" panose="020F0502020204030204" pitchFamily="34" charset="0"/>
              <a:ea typeface="Calibri" panose="020F0502020204030204" pitchFamily="34" charset="0"/>
              <a:cs typeface="Calibri" panose="020F0502020204030204" pitchFamily="34" charset="0"/>
            </a:endParaRPr>
          </a:p>
        </p:txBody>
      </p:sp>
      <p:pic>
        <p:nvPicPr>
          <p:cNvPr id="7170" name="Picture 2">
            <a:extLst>
              <a:ext uri="{FF2B5EF4-FFF2-40B4-BE49-F238E27FC236}">
                <a16:creationId xmlns:a16="http://schemas.microsoft.com/office/drawing/2014/main" id="{62F0C5D3-C33D-B1C9-D33B-BB285ADD31CC}"/>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a:off x="473842" y="1127980"/>
            <a:ext cx="5033194" cy="5033194"/>
          </a:xfrm>
          <a:prstGeom prst="flowChartConnector">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2394204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1000" fill="hold"/>
                                        <p:tgtEl>
                                          <p:spTgt spid="9"/>
                                        </p:tgtEl>
                                        <p:attrNameLst>
                                          <p:attrName>ppt_x</p:attrName>
                                        </p:attrNameLst>
                                      </p:cBhvr>
                                      <p:tavLst>
                                        <p:tav tm="0">
                                          <p:val>
                                            <p:strVal val="1+#ppt_w/2"/>
                                          </p:val>
                                        </p:tav>
                                        <p:tav tm="100000">
                                          <p:val>
                                            <p:strVal val="#ppt_x"/>
                                          </p:val>
                                        </p:tav>
                                      </p:tavLst>
                                    </p:anim>
                                    <p:anim calcmode="lin" valueType="num">
                                      <p:cBhvr additive="base">
                                        <p:cTn id="8" dur="1000" fill="hold"/>
                                        <p:tgtEl>
                                          <p:spTgt spid="9"/>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11"/>
                                        </p:tgtEl>
                                        <p:attrNameLst>
                                          <p:attrName>style.visibility</p:attrName>
                                        </p:attrNameLst>
                                      </p:cBhvr>
                                      <p:to>
                                        <p:strVal val="visible"/>
                                      </p:to>
                                    </p:set>
                                    <p:anim calcmode="lin" valueType="num">
                                      <p:cBhvr additive="base">
                                        <p:cTn id="11" dur="1000" fill="hold"/>
                                        <p:tgtEl>
                                          <p:spTgt spid="11"/>
                                        </p:tgtEl>
                                        <p:attrNameLst>
                                          <p:attrName>ppt_x</p:attrName>
                                        </p:attrNameLst>
                                      </p:cBhvr>
                                      <p:tavLst>
                                        <p:tav tm="0">
                                          <p:val>
                                            <p:strVal val="1+#ppt_w/2"/>
                                          </p:val>
                                        </p:tav>
                                        <p:tav tm="100000">
                                          <p:val>
                                            <p:strVal val="#ppt_x"/>
                                          </p:val>
                                        </p:tav>
                                      </p:tavLst>
                                    </p:anim>
                                    <p:anim calcmode="lin" valueType="num">
                                      <p:cBhvr additive="base">
                                        <p:cTn id="12" dur="1000" fill="hold"/>
                                        <p:tgtEl>
                                          <p:spTgt spid="11"/>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500"/>
                                  </p:stCondLst>
                                  <p:childTnLst>
                                    <p:set>
                                      <p:cBhvr>
                                        <p:cTn id="14" dur="1" fill="hold">
                                          <p:stCondLst>
                                            <p:cond delay="0"/>
                                          </p:stCondLst>
                                        </p:cTn>
                                        <p:tgtEl>
                                          <p:spTgt spid="10"/>
                                        </p:tgtEl>
                                        <p:attrNameLst>
                                          <p:attrName>style.visibility</p:attrName>
                                        </p:attrNameLst>
                                      </p:cBhvr>
                                      <p:to>
                                        <p:strVal val="visible"/>
                                      </p:to>
                                    </p:set>
                                    <p:anim calcmode="lin" valueType="num">
                                      <p:cBhvr additive="base">
                                        <p:cTn id="15" dur="1000" fill="hold"/>
                                        <p:tgtEl>
                                          <p:spTgt spid="10"/>
                                        </p:tgtEl>
                                        <p:attrNameLst>
                                          <p:attrName>ppt_x</p:attrName>
                                        </p:attrNameLst>
                                      </p:cBhvr>
                                      <p:tavLst>
                                        <p:tav tm="0">
                                          <p:val>
                                            <p:strVal val="1+#ppt_w/2"/>
                                          </p:val>
                                        </p:tav>
                                        <p:tav tm="100000">
                                          <p:val>
                                            <p:strVal val="#ppt_x"/>
                                          </p:val>
                                        </p:tav>
                                      </p:tavLst>
                                    </p:anim>
                                    <p:anim calcmode="lin" valueType="num">
                                      <p:cBhvr additive="base">
                                        <p:cTn id="16" dur="1000" fill="hold"/>
                                        <p:tgtEl>
                                          <p:spTgt spid="10"/>
                                        </p:tgtEl>
                                        <p:attrNameLst>
                                          <p:attrName>ppt_y</p:attrName>
                                        </p:attrNameLst>
                                      </p:cBhvr>
                                      <p:tavLst>
                                        <p:tav tm="0">
                                          <p:val>
                                            <p:strVal val="#ppt_y"/>
                                          </p:val>
                                        </p:tav>
                                        <p:tav tm="100000">
                                          <p:val>
                                            <p:strVal val="#ppt_y"/>
                                          </p:val>
                                        </p:tav>
                                      </p:tavLst>
                                    </p:anim>
                                  </p:childTnLst>
                                </p:cTn>
                              </p:par>
                            </p:childTnLst>
                          </p:cTn>
                        </p:par>
                        <p:par>
                          <p:cTn id="17" fill="hold">
                            <p:stCondLst>
                              <p:cond delay="1500"/>
                            </p:stCondLst>
                            <p:childTnLst>
                              <p:par>
                                <p:cTn id="18" presetID="2" presetClass="entr" presetSubtype="8" fill="hold" nodeType="afterEffect">
                                  <p:stCondLst>
                                    <p:cond delay="0"/>
                                  </p:stCondLst>
                                  <p:childTnLst>
                                    <p:set>
                                      <p:cBhvr>
                                        <p:cTn id="19" dur="1" fill="hold">
                                          <p:stCondLst>
                                            <p:cond delay="0"/>
                                          </p:stCondLst>
                                        </p:cTn>
                                        <p:tgtEl>
                                          <p:spTgt spid="7170"/>
                                        </p:tgtEl>
                                        <p:attrNameLst>
                                          <p:attrName>style.visibility</p:attrName>
                                        </p:attrNameLst>
                                      </p:cBhvr>
                                      <p:to>
                                        <p:strVal val="visible"/>
                                      </p:to>
                                    </p:set>
                                    <p:anim calcmode="lin" valueType="num">
                                      <p:cBhvr additive="base">
                                        <p:cTn id="20" dur="500" fill="hold"/>
                                        <p:tgtEl>
                                          <p:spTgt spid="7170"/>
                                        </p:tgtEl>
                                        <p:attrNameLst>
                                          <p:attrName>ppt_x</p:attrName>
                                        </p:attrNameLst>
                                      </p:cBhvr>
                                      <p:tavLst>
                                        <p:tav tm="0">
                                          <p:val>
                                            <p:strVal val="0-#ppt_w/2"/>
                                          </p:val>
                                        </p:tav>
                                        <p:tav tm="100000">
                                          <p:val>
                                            <p:strVal val="#ppt_x"/>
                                          </p:val>
                                        </p:tav>
                                      </p:tavLst>
                                    </p:anim>
                                    <p:anim calcmode="lin" valueType="num">
                                      <p:cBhvr additive="base">
                                        <p:cTn id="21" dur="500" fill="hold"/>
                                        <p:tgtEl>
                                          <p:spTgt spid="717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p:bldP spid="11"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5"/>
          <p:cNvSpPr/>
          <p:nvPr/>
        </p:nvSpPr>
        <p:spPr bwMode="auto">
          <a:xfrm>
            <a:off x="5559396" y="3269279"/>
            <a:ext cx="812168" cy="4223275"/>
          </a:xfrm>
          <a:custGeom>
            <a:avLst/>
            <a:gdLst>
              <a:gd name="T0" fmla="*/ 80 w 160"/>
              <a:gd name="T1" fmla="*/ 0 h 832"/>
              <a:gd name="T2" fmla="*/ 0 w 160"/>
              <a:gd name="T3" fmla="*/ 138 h 832"/>
              <a:gd name="T4" fmla="*/ 40 w 160"/>
              <a:gd name="T5" fmla="*/ 138 h 832"/>
              <a:gd name="T6" fmla="*/ 40 w 160"/>
              <a:gd name="T7" fmla="*/ 832 h 832"/>
              <a:gd name="T8" fmla="*/ 80 w 160"/>
              <a:gd name="T9" fmla="*/ 832 h 832"/>
              <a:gd name="T10" fmla="*/ 120 w 160"/>
              <a:gd name="T11" fmla="*/ 832 h 832"/>
              <a:gd name="T12" fmla="*/ 120 w 160"/>
              <a:gd name="T13" fmla="*/ 138 h 832"/>
              <a:gd name="T14" fmla="*/ 160 w 160"/>
              <a:gd name="T15" fmla="*/ 138 h 832"/>
              <a:gd name="T16" fmla="*/ 80 w 160"/>
              <a:gd name="T17" fmla="*/ 0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0" h="832">
                <a:moveTo>
                  <a:pt x="80" y="0"/>
                </a:moveTo>
                <a:lnTo>
                  <a:pt x="0" y="138"/>
                </a:lnTo>
                <a:lnTo>
                  <a:pt x="40" y="138"/>
                </a:lnTo>
                <a:lnTo>
                  <a:pt x="40" y="832"/>
                </a:lnTo>
                <a:lnTo>
                  <a:pt x="80" y="832"/>
                </a:lnTo>
                <a:lnTo>
                  <a:pt x="120" y="832"/>
                </a:lnTo>
                <a:lnTo>
                  <a:pt x="120" y="138"/>
                </a:lnTo>
                <a:lnTo>
                  <a:pt x="160" y="138"/>
                </a:lnTo>
                <a:lnTo>
                  <a:pt x="80" y="0"/>
                </a:lnTo>
                <a:close/>
              </a:path>
            </a:pathLst>
          </a:custGeom>
          <a:solidFill>
            <a:schemeClr val="tx2"/>
          </a:solidFill>
          <a:ln>
            <a:noFill/>
          </a:ln>
        </p:spPr>
        <p:txBody>
          <a:bodyPr vert="horz" wrap="square" lIns="91428" tIns="45714" rIns="91428" bIns="45714" numCol="1" anchor="t" anchorCtr="0" compatLnSpc="1">
            <a:prstTxWarp prst="textNoShape">
              <a:avLst/>
            </a:prstTxWarp>
          </a:body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srgbClr val="343A3F"/>
              </a:solidFill>
              <a:effectLst/>
              <a:uLnTx/>
              <a:uFillTx/>
              <a:latin typeface="Roboto Light"/>
              <a:ea typeface="+mn-ea"/>
              <a:cs typeface="+mn-cs"/>
            </a:endParaRPr>
          </a:p>
        </p:txBody>
      </p:sp>
      <p:sp>
        <p:nvSpPr>
          <p:cNvPr id="7" name="Freeform 6"/>
          <p:cNvSpPr/>
          <p:nvPr/>
        </p:nvSpPr>
        <p:spPr bwMode="auto">
          <a:xfrm>
            <a:off x="4538482" y="3898709"/>
            <a:ext cx="1233482" cy="3593845"/>
          </a:xfrm>
          <a:custGeom>
            <a:avLst/>
            <a:gdLst>
              <a:gd name="T0" fmla="*/ 105 w 139"/>
              <a:gd name="T1" fmla="*/ 79 h 405"/>
              <a:gd name="T2" fmla="*/ 71 w 139"/>
              <a:gd name="T3" fmla="*/ 42 h 405"/>
              <a:gd name="T4" fmla="*/ 87 w 139"/>
              <a:gd name="T5" fmla="*/ 27 h 405"/>
              <a:gd name="T6" fmla="*/ 0 w 139"/>
              <a:gd name="T7" fmla="*/ 0 h 405"/>
              <a:gd name="T8" fmla="*/ 0 w 139"/>
              <a:gd name="T9" fmla="*/ 0 h 405"/>
              <a:gd name="T10" fmla="*/ 0 w 139"/>
              <a:gd name="T11" fmla="*/ 0 h 405"/>
              <a:gd name="T12" fmla="*/ 20 w 139"/>
              <a:gd name="T13" fmla="*/ 89 h 405"/>
              <a:gd name="T14" fmla="*/ 37 w 139"/>
              <a:gd name="T15" fmla="*/ 73 h 405"/>
              <a:gd name="T16" fmla="*/ 71 w 139"/>
              <a:gd name="T17" fmla="*/ 110 h 405"/>
              <a:gd name="T18" fmla="*/ 93 w 139"/>
              <a:gd name="T19" fmla="*/ 169 h 405"/>
              <a:gd name="T20" fmla="*/ 93 w 139"/>
              <a:gd name="T21" fmla="*/ 405 h 405"/>
              <a:gd name="T22" fmla="*/ 117 w 139"/>
              <a:gd name="T23" fmla="*/ 405 h 405"/>
              <a:gd name="T24" fmla="*/ 139 w 139"/>
              <a:gd name="T25" fmla="*/ 405 h 405"/>
              <a:gd name="T26" fmla="*/ 139 w 139"/>
              <a:gd name="T27" fmla="*/ 169 h 405"/>
              <a:gd name="T28" fmla="*/ 105 w 139"/>
              <a:gd name="T29" fmla="*/ 79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9" h="405">
                <a:moveTo>
                  <a:pt x="105" y="79"/>
                </a:moveTo>
                <a:cubicBezTo>
                  <a:pt x="71" y="42"/>
                  <a:pt x="71" y="42"/>
                  <a:pt x="71" y="42"/>
                </a:cubicBezTo>
                <a:cubicBezTo>
                  <a:pt x="87" y="27"/>
                  <a:pt x="87" y="27"/>
                  <a:pt x="87" y="27"/>
                </a:cubicBezTo>
                <a:cubicBezTo>
                  <a:pt x="0" y="0"/>
                  <a:pt x="0" y="0"/>
                  <a:pt x="0" y="0"/>
                </a:cubicBezTo>
                <a:cubicBezTo>
                  <a:pt x="0" y="0"/>
                  <a:pt x="0" y="0"/>
                  <a:pt x="0" y="0"/>
                </a:cubicBezTo>
                <a:cubicBezTo>
                  <a:pt x="0" y="0"/>
                  <a:pt x="0" y="0"/>
                  <a:pt x="0" y="0"/>
                </a:cubicBezTo>
                <a:cubicBezTo>
                  <a:pt x="20" y="89"/>
                  <a:pt x="20" y="89"/>
                  <a:pt x="20" y="89"/>
                </a:cubicBezTo>
                <a:cubicBezTo>
                  <a:pt x="37" y="73"/>
                  <a:pt x="37" y="73"/>
                  <a:pt x="37" y="73"/>
                </a:cubicBezTo>
                <a:cubicBezTo>
                  <a:pt x="71" y="110"/>
                  <a:pt x="71" y="110"/>
                  <a:pt x="71" y="110"/>
                </a:cubicBezTo>
                <a:cubicBezTo>
                  <a:pt x="85" y="125"/>
                  <a:pt x="93" y="147"/>
                  <a:pt x="93" y="169"/>
                </a:cubicBezTo>
                <a:cubicBezTo>
                  <a:pt x="93" y="405"/>
                  <a:pt x="93" y="405"/>
                  <a:pt x="93" y="405"/>
                </a:cubicBezTo>
                <a:cubicBezTo>
                  <a:pt x="117" y="405"/>
                  <a:pt x="117" y="405"/>
                  <a:pt x="117" y="405"/>
                </a:cubicBezTo>
                <a:cubicBezTo>
                  <a:pt x="139" y="405"/>
                  <a:pt x="139" y="405"/>
                  <a:pt x="139" y="405"/>
                </a:cubicBezTo>
                <a:cubicBezTo>
                  <a:pt x="139" y="169"/>
                  <a:pt x="139" y="169"/>
                  <a:pt x="139" y="169"/>
                </a:cubicBezTo>
                <a:cubicBezTo>
                  <a:pt x="139" y="135"/>
                  <a:pt x="127" y="103"/>
                  <a:pt x="105" y="79"/>
                </a:cubicBezTo>
                <a:close/>
              </a:path>
            </a:pathLst>
          </a:custGeom>
          <a:solidFill>
            <a:schemeClr val="accent1"/>
          </a:solidFill>
          <a:ln>
            <a:noFill/>
          </a:ln>
        </p:spPr>
        <p:txBody>
          <a:bodyPr vert="horz" wrap="square" lIns="91428" tIns="45714" rIns="91428" bIns="45714" numCol="1" anchor="t" anchorCtr="0" compatLnSpc="1">
            <a:prstTxWarp prst="textNoShape">
              <a:avLst/>
            </a:prstTxWarp>
          </a:body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srgbClr val="343A3F"/>
              </a:solidFill>
              <a:effectLst/>
              <a:uLnTx/>
              <a:uFillTx/>
              <a:latin typeface="Roboto Light"/>
              <a:ea typeface="+mn-ea"/>
              <a:cs typeface="+mn-cs"/>
            </a:endParaRPr>
          </a:p>
        </p:txBody>
      </p:sp>
      <p:sp>
        <p:nvSpPr>
          <p:cNvPr id="8" name="Freeform 7"/>
          <p:cNvSpPr/>
          <p:nvPr/>
        </p:nvSpPr>
        <p:spPr bwMode="auto">
          <a:xfrm>
            <a:off x="3821705" y="5086505"/>
            <a:ext cx="1543120" cy="2406049"/>
          </a:xfrm>
          <a:custGeom>
            <a:avLst/>
            <a:gdLst>
              <a:gd name="T0" fmla="*/ 120 w 174"/>
              <a:gd name="T1" fmla="*/ 23 h 271"/>
              <a:gd name="T2" fmla="*/ 79 w 174"/>
              <a:gd name="T3" fmla="*/ 23 h 271"/>
              <a:gd name="T4" fmla="*/ 79 w 174"/>
              <a:gd name="T5" fmla="*/ 0 h 271"/>
              <a:gd name="T6" fmla="*/ 0 w 174"/>
              <a:gd name="T7" fmla="*/ 46 h 271"/>
              <a:gd name="T8" fmla="*/ 79 w 174"/>
              <a:gd name="T9" fmla="*/ 92 h 271"/>
              <a:gd name="T10" fmla="*/ 79 w 174"/>
              <a:gd name="T11" fmla="*/ 69 h 271"/>
              <a:gd name="T12" fmla="*/ 120 w 174"/>
              <a:gd name="T13" fmla="*/ 69 h 271"/>
              <a:gd name="T14" fmla="*/ 129 w 174"/>
              <a:gd name="T15" fmla="*/ 78 h 271"/>
              <a:gd name="T16" fmla="*/ 129 w 174"/>
              <a:gd name="T17" fmla="*/ 271 h 271"/>
              <a:gd name="T18" fmla="*/ 151 w 174"/>
              <a:gd name="T19" fmla="*/ 271 h 271"/>
              <a:gd name="T20" fmla="*/ 174 w 174"/>
              <a:gd name="T21" fmla="*/ 271 h 271"/>
              <a:gd name="T22" fmla="*/ 174 w 174"/>
              <a:gd name="T23" fmla="*/ 78 h 271"/>
              <a:gd name="T24" fmla="*/ 120 w 174"/>
              <a:gd name="T25" fmla="*/ 23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 h="271">
                <a:moveTo>
                  <a:pt x="120" y="23"/>
                </a:moveTo>
                <a:cubicBezTo>
                  <a:pt x="79" y="23"/>
                  <a:pt x="79" y="23"/>
                  <a:pt x="79" y="23"/>
                </a:cubicBezTo>
                <a:cubicBezTo>
                  <a:pt x="79" y="0"/>
                  <a:pt x="79" y="0"/>
                  <a:pt x="79" y="0"/>
                </a:cubicBezTo>
                <a:cubicBezTo>
                  <a:pt x="0" y="46"/>
                  <a:pt x="0" y="46"/>
                  <a:pt x="0" y="46"/>
                </a:cubicBezTo>
                <a:cubicBezTo>
                  <a:pt x="79" y="92"/>
                  <a:pt x="79" y="92"/>
                  <a:pt x="79" y="92"/>
                </a:cubicBezTo>
                <a:cubicBezTo>
                  <a:pt x="79" y="69"/>
                  <a:pt x="79" y="69"/>
                  <a:pt x="79" y="69"/>
                </a:cubicBezTo>
                <a:cubicBezTo>
                  <a:pt x="120" y="69"/>
                  <a:pt x="120" y="69"/>
                  <a:pt x="120" y="69"/>
                </a:cubicBezTo>
                <a:cubicBezTo>
                  <a:pt x="125" y="69"/>
                  <a:pt x="129" y="73"/>
                  <a:pt x="129" y="78"/>
                </a:cubicBezTo>
                <a:cubicBezTo>
                  <a:pt x="129" y="271"/>
                  <a:pt x="129" y="271"/>
                  <a:pt x="129" y="271"/>
                </a:cubicBezTo>
                <a:cubicBezTo>
                  <a:pt x="151" y="271"/>
                  <a:pt x="151" y="271"/>
                  <a:pt x="151" y="271"/>
                </a:cubicBezTo>
                <a:cubicBezTo>
                  <a:pt x="174" y="271"/>
                  <a:pt x="174" y="271"/>
                  <a:pt x="174" y="271"/>
                </a:cubicBezTo>
                <a:cubicBezTo>
                  <a:pt x="174" y="78"/>
                  <a:pt x="174" y="78"/>
                  <a:pt x="174" y="78"/>
                </a:cubicBezTo>
                <a:cubicBezTo>
                  <a:pt x="174" y="48"/>
                  <a:pt x="150" y="23"/>
                  <a:pt x="120" y="23"/>
                </a:cubicBezTo>
                <a:close/>
              </a:path>
            </a:pathLst>
          </a:custGeom>
          <a:solidFill>
            <a:schemeClr val="accent2"/>
          </a:solidFill>
          <a:ln>
            <a:noFill/>
          </a:ln>
        </p:spPr>
        <p:txBody>
          <a:bodyPr vert="horz" wrap="square" lIns="91428" tIns="45714" rIns="91428" bIns="45714" numCol="1" anchor="t" anchorCtr="0" compatLnSpc="1">
            <a:prstTxWarp prst="textNoShape">
              <a:avLst/>
            </a:prstTxWarp>
          </a:body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srgbClr val="343A3F"/>
              </a:solidFill>
              <a:effectLst/>
              <a:uLnTx/>
              <a:uFillTx/>
              <a:latin typeface="Roboto Light"/>
              <a:ea typeface="+mn-ea"/>
              <a:cs typeface="+mn-cs"/>
            </a:endParaRPr>
          </a:p>
        </p:txBody>
      </p:sp>
      <p:sp>
        <p:nvSpPr>
          <p:cNvPr id="9" name="Freeform 8"/>
          <p:cNvSpPr/>
          <p:nvPr/>
        </p:nvSpPr>
        <p:spPr bwMode="auto">
          <a:xfrm>
            <a:off x="6168523" y="3898709"/>
            <a:ext cx="1233482" cy="3593845"/>
          </a:xfrm>
          <a:custGeom>
            <a:avLst/>
            <a:gdLst>
              <a:gd name="T0" fmla="*/ 139 w 139"/>
              <a:gd name="T1" fmla="*/ 0 h 405"/>
              <a:gd name="T2" fmla="*/ 139 w 139"/>
              <a:gd name="T3" fmla="*/ 0 h 405"/>
              <a:gd name="T4" fmla="*/ 52 w 139"/>
              <a:gd name="T5" fmla="*/ 27 h 405"/>
              <a:gd name="T6" fmla="*/ 68 w 139"/>
              <a:gd name="T7" fmla="*/ 42 h 405"/>
              <a:gd name="T8" fmla="*/ 35 w 139"/>
              <a:gd name="T9" fmla="*/ 79 h 405"/>
              <a:gd name="T10" fmla="*/ 0 w 139"/>
              <a:gd name="T11" fmla="*/ 169 h 405"/>
              <a:gd name="T12" fmla="*/ 0 w 139"/>
              <a:gd name="T13" fmla="*/ 405 h 405"/>
              <a:gd name="T14" fmla="*/ 23 w 139"/>
              <a:gd name="T15" fmla="*/ 405 h 405"/>
              <a:gd name="T16" fmla="*/ 46 w 139"/>
              <a:gd name="T17" fmla="*/ 405 h 405"/>
              <a:gd name="T18" fmla="*/ 46 w 139"/>
              <a:gd name="T19" fmla="*/ 169 h 405"/>
              <a:gd name="T20" fmla="*/ 68 w 139"/>
              <a:gd name="T21" fmla="*/ 110 h 405"/>
              <a:gd name="T22" fmla="*/ 102 w 139"/>
              <a:gd name="T23" fmla="*/ 73 h 405"/>
              <a:gd name="T24" fmla="*/ 119 w 139"/>
              <a:gd name="T25" fmla="*/ 89 h 405"/>
              <a:gd name="T26" fmla="*/ 139 w 139"/>
              <a:gd name="T27" fmla="*/ 0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9" h="405">
                <a:moveTo>
                  <a:pt x="139" y="0"/>
                </a:moveTo>
                <a:cubicBezTo>
                  <a:pt x="139" y="0"/>
                  <a:pt x="139" y="0"/>
                  <a:pt x="139" y="0"/>
                </a:cubicBezTo>
                <a:cubicBezTo>
                  <a:pt x="52" y="27"/>
                  <a:pt x="52" y="27"/>
                  <a:pt x="52" y="27"/>
                </a:cubicBezTo>
                <a:cubicBezTo>
                  <a:pt x="68" y="42"/>
                  <a:pt x="68" y="42"/>
                  <a:pt x="68" y="42"/>
                </a:cubicBezTo>
                <a:cubicBezTo>
                  <a:pt x="35" y="79"/>
                  <a:pt x="35" y="79"/>
                  <a:pt x="35" y="79"/>
                </a:cubicBezTo>
                <a:cubicBezTo>
                  <a:pt x="12" y="103"/>
                  <a:pt x="0" y="135"/>
                  <a:pt x="0" y="169"/>
                </a:cubicBezTo>
                <a:cubicBezTo>
                  <a:pt x="0" y="405"/>
                  <a:pt x="0" y="405"/>
                  <a:pt x="0" y="405"/>
                </a:cubicBezTo>
                <a:cubicBezTo>
                  <a:pt x="23" y="405"/>
                  <a:pt x="23" y="405"/>
                  <a:pt x="23" y="405"/>
                </a:cubicBezTo>
                <a:cubicBezTo>
                  <a:pt x="46" y="405"/>
                  <a:pt x="46" y="405"/>
                  <a:pt x="46" y="405"/>
                </a:cubicBezTo>
                <a:cubicBezTo>
                  <a:pt x="46" y="169"/>
                  <a:pt x="46" y="169"/>
                  <a:pt x="46" y="169"/>
                </a:cubicBezTo>
                <a:cubicBezTo>
                  <a:pt x="46" y="147"/>
                  <a:pt x="54" y="125"/>
                  <a:pt x="68" y="110"/>
                </a:cubicBezTo>
                <a:cubicBezTo>
                  <a:pt x="102" y="73"/>
                  <a:pt x="102" y="73"/>
                  <a:pt x="102" y="73"/>
                </a:cubicBezTo>
                <a:cubicBezTo>
                  <a:pt x="119" y="89"/>
                  <a:pt x="119" y="89"/>
                  <a:pt x="119" y="89"/>
                </a:cubicBezTo>
                <a:cubicBezTo>
                  <a:pt x="139" y="0"/>
                  <a:pt x="139" y="0"/>
                  <a:pt x="139" y="0"/>
                </a:cubicBezTo>
                <a:close/>
              </a:path>
            </a:pathLst>
          </a:custGeom>
          <a:solidFill>
            <a:schemeClr val="accent5"/>
          </a:solidFill>
          <a:ln>
            <a:noFill/>
          </a:ln>
        </p:spPr>
        <p:txBody>
          <a:bodyPr vert="horz" wrap="square" lIns="91428" tIns="45714" rIns="91428" bIns="45714" numCol="1" anchor="t" anchorCtr="0" compatLnSpc="1">
            <a:prstTxWarp prst="textNoShape">
              <a:avLst/>
            </a:prstTxWarp>
          </a:body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srgbClr val="343A3F"/>
              </a:solidFill>
              <a:effectLst/>
              <a:uLnTx/>
              <a:uFillTx/>
              <a:latin typeface="Roboto Light"/>
              <a:ea typeface="+mn-ea"/>
              <a:cs typeface="+mn-cs"/>
            </a:endParaRPr>
          </a:p>
        </p:txBody>
      </p:sp>
      <p:sp>
        <p:nvSpPr>
          <p:cNvPr id="10" name="Freeform 9"/>
          <p:cNvSpPr/>
          <p:nvPr/>
        </p:nvSpPr>
        <p:spPr bwMode="auto">
          <a:xfrm>
            <a:off x="6570896" y="5086505"/>
            <a:ext cx="1543120" cy="2406049"/>
          </a:xfrm>
          <a:custGeom>
            <a:avLst/>
            <a:gdLst>
              <a:gd name="T0" fmla="*/ 174 w 174"/>
              <a:gd name="T1" fmla="*/ 46 h 271"/>
              <a:gd name="T2" fmla="*/ 95 w 174"/>
              <a:gd name="T3" fmla="*/ 0 h 271"/>
              <a:gd name="T4" fmla="*/ 95 w 174"/>
              <a:gd name="T5" fmla="*/ 23 h 271"/>
              <a:gd name="T6" fmla="*/ 54 w 174"/>
              <a:gd name="T7" fmla="*/ 23 h 271"/>
              <a:gd name="T8" fmla="*/ 49 w 174"/>
              <a:gd name="T9" fmla="*/ 23 h 271"/>
              <a:gd name="T10" fmla="*/ 0 w 174"/>
              <a:gd name="T11" fmla="*/ 78 h 271"/>
              <a:gd name="T12" fmla="*/ 0 w 174"/>
              <a:gd name="T13" fmla="*/ 271 h 271"/>
              <a:gd name="T14" fmla="*/ 0 w 174"/>
              <a:gd name="T15" fmla="*/ 271 h 271"/>
              <a:gd name="T16" fmla="*/ 23 w 174"/>
              <a:gd name="T17" fmla="*/ 271 h 271"/>
              <a:gd name="T18" fmla="*/ 46 w 174"/>
              <a:gd name="T19" fmla="*/ 271 h 271"/>
              <a:gd name="T20" fmla="*/ 46 w 174"/>
              <a:gd name="T21" fmla="*/ 78 h 271"/>
              <a:gd name="T22" fmla="*/ 54 w 174"/>
              <a:gd name="T23" fmla="*/ 69 h 271"/>
              <a:gd name="T24" fmla="*/ 95 w 174"/>
              <a:gd name="T25" fmla="*/ 69 h 271"/>
              <a:gd name="T26" fmla="*/ 95 w 174"/>
              <a:gd name="T27" fmla="*/ 92 h 271"/>
              <a:gd name="T28" fmla="*/ 174 w 174"/>
              <a:gd name="T29" fmla="*/ 46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4" h="271">
                <a:moveTo>
                  <a:pt x="174" y="46"/>
                </a:moveTo>
                <a:cubicBezTo>
                  <a:pt x="95" y="0"/>
                  <a:pt x="95" y="0"/>
                  <a:pt x="95" y="0"/>
                </a:cubicBezTo>
                <a:cubicBezTo>
                  <a:pt x="95" y="23"/>
                  <a:pt x="95" y="23"/>
                  <a:pt x="95" y="23"/>
                </a:cubicBezTo>
                <a:cubicBezTo>
                  <a:pt x="54" y="23"/>
                  <a:pt x="54" y="23"/>
                  <a:pt x="54" y="23"/>
                </a:cubicBezTo>
                <a:cubicBezTo>
                  <a:pt x="52" y="23"/>
                  <a:pt x="51" y="23"/>
                  <a:pt x="49" y="23"/>
                </a:cubicBezTo>
                <a:cubicBezTo>
                  <a:pt x="21" y="26"/>
                  <a:pt x="0" y="50"/>
                  <a:pt x="0" y="78"/>
                </a:cubicBezTo>
                <a:cubicBezTo>
                  <a:pt x="0" y="271"/>
                  <a:pt x="0" y="271"/>
                  <a:pt x="0" y="271"/>
                </a:cubicBezTo>
                <a:cubicBezTo>
                  <a:pt x="0" y="271"/>
                  <a:pt x="0" y="271"/>
                  <a:pt x="0" y="271"/>
                </a:cubicBezTo>
                <a:cubicBezTo>
                  <a:pt x="23" y="271"/>
                  <a:pt x="23" y="271"/>
                  <a:pt x="23" y="271"/>
                </a:cubicBezTo>
                <a:cubicBezTo>
                  <a:pt x="46" y="271"/>
                  <a:pt x="46" y="271"/>
                  <a:pt x="46" y="271"/>
                </a:cubicBezTo>
                <a:cubicBezTo>
                  <a:pt x="46" y="78"/>
                  <a:pt x="46" y="78"/>
                  <a:pt x="46" y="78"/>
                </a:cubicBezTo>
                <a:cubicBezTo>
                  <a:pt x="46" y="73"/>
                  <a:pt x="49" y="69"/>
                  <a:pt x="54" y="69"/>
                </a:cubicBezTo>
                <a:cubicBezTo>
                  <a:pt x="95" y="69"/>
                  <a:pt x="95" y="69"/>
                  <a:pt x="95" y="69"/>
                </a:cubicBezTo>
                <a:cubicBezTo>
                  <a:pt x="95" y="92"/>
                  <a:pt x="95" y="92"/>
                  <a:pt x="95" y="92"/>
                </a:cubicBezTo>
                <a:lnTo>
                  <a:pt x="174" y="46"/>
                </a:lnTo>
                <a:close/>
              </a:path>
            </a:pathLst>
          </a:custGeom>
          <a:solidFill>
            <a:schemeClr val="accent6"/>
          </a:solidFill>
          <a:ln>
            <a:noFill/>
          </a:ln>
        </p:spPr>
        <p:txBody>
          <a:bodyPr vert="horz" wrap="square" lIns="91428" tIns="45714" rIns="91428" bIns="45714" numCol="1" anchor="t" anchorCtr="0" compatLnSpc="1">
            <a:prstTxWarp prst="textNoShape">
              <a:avLst/>
            </a:prstTxWarp>
          </a:body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srgbClr val="343A3F"/>
              </a:solidFill>
              <a:effectLst/>
              <a:uLnTx/>
              <a:uFillTx/>
              <a:latin typeface="Roboto Light"/>
              <a:ea typeface="+mn-ea"/>
              <a:cs typeface="+mn-cs"/>
            </a:endParaRPr>
          </a:p>
        </p:txBody>
      </p:sp>
      <p:sp>
        <p:nvSpPr>
          <p:cNvPr id="13" name="Rectangle 12"/>
          <p:cNvSpPr/>
          <p:nvPr/>
        </p:nvSpPr>
        <p:spPr>
          <a:xfrm flipH="1">
            <a:off x="491613" y="4877133"/>
            <a:ext cx="2844305" cy="1104918"/>
          </a:xfrm>
          <a:prstGeom prst="rect">
            <a:avLst/>
          </a:prstGeom>
        </p:spPr>
        <p:txBody>
          <a:bodyPr wrap="square">
            <a:spAutoFit/>
          </a:bodyPr>
          <a:lstStyle/>
          <a:p>
            <a:pPr marL="0" marR="0" lvl="0" indent="0" algn="r" defTabSz="914400" rtl="1" eaLnBrk="1" fontAlgn="auto" latinLnBrk="0" hangingPunct="1">
              <a:lnSpc>
                <a:spcPct val="89000"/>
              </a:lnSpc>
              <a:spcBef>
                <a:spcPct val="0"/>
              </a:spcBef>
              <a:spcAft>
                <a:spcPct val="0"/>
              </a:spcAft>
              <a:buClrTx/>
              <a:buSzTx/>
              <a:buFontTx/>
              <a:buNone/>
              <a:defRPr/>
            </a:pPr>
            <a:r>
              <a:rPr lang="he-IL" sz="2000" b="1" noProof="0" dirty="0">
                <a:solidFill>
                  <a:srgbClr val="3C5B7B"/>
                </a:solidFill>
                <a:latin typeface="Calibri" panose="020F0502020204030204" pitchFamily="34" charset="0"/>
                <a:ea typeface="Calibri" panose="020F0502020204030204" pitchFamily="34" charset="0"/>
                <a:cs typeface="Calibri" panose="020F0502020204030204" pitchFamily="34" charset="0"/>
              </a:rPr>
              <a:t>פתרונות לוגיסטיים מקיפים</a:t>
            </a:r>
            <a:endParaRPr kumimoji="0" lang="en-US" sz="1200" b="1" i="0" u="none" strike="noStrike" kern="1200" cap="none" spc="0" normalizeH="0" baseline="0" noProof="0" dirty="0">
              <a:ln>
                <a:noFill/>
              </a:ln>
              <a:solidFill>
                <a:srgbClr val="3C5B7B"/>
              </a:solidFill>
              <a:effectLst/>
              <a:uLnTx/>
              <a:uFillTx/>
              <a:latin typeface="Calibri" panose="020F0502020204030204" pitchFamily="34" charset="0"/>
              <a:ea typeface="Calibri" panose="020F0502020204030204" pitchFamily="34" charset="0"/>
              <a:cs typeface="Calibri" panose="020F0502020204030204" pitchFamily="34" charset="0"/>
            </a:endParaRPr>
          </a:p>
          <a:p>
            <a:pPr lvl="0" algn="r" rtl="1"/>
            <a:r>
              <a:rPr lang="he-IL" sz="1200" dirty="0"/>
              <a:t>שילוח בינ"ל, עמילות מכס, ביטוח מטענים, אשראי ועוד, תוך ניתוח תחום התעשיה ומציאת פתרון אופטימלי לצרכי המטען והלקוחות.</a:t>
            </a:r>
            <a:endParaRPr lang="en-US" sz="1200" dirty="0"/>
          </a:p>
        </p:txBody>
      </p:sp>
      <p:sp>
        <p:nvSpPr>
          <p:cNvPr id="16" name="Rectangle 15"/>
          <p:cNvSpPr/>
          <p:nvPr/>
        </p:nvSpPr>
        <p:spPr>
          <a:xfrm flipH="1">
            <a:off x="903926" y="2968874"/>
            <a:ext cx="3228470" cy="1043363"/>
          </a:xfrm>
          <a:prstGeom prst="rect">
            <a:avLst/>
          </a:prstGeom>
        </p:spPr>
        <p:txBody>
          <a:bodyPr wrap="square" lIns="91440" tIns="45720" rIns="91440" bIns="45720" anchor="t">
            <a:spAutoFit/>
          </a:bodyPr>
          <a:lstStyle/>
          <a:p>
            <a:pPr marL="0" marR="0" lvl="0" indent="0" algn="r" defTabSz="914400" rtl="1" eaLnBrk="1" fontAlgn="auto" latinLnBrk="0" hangingPunct="1">
              <a:lnSpc>
                <a:spcPct val="89000"/>
              </a:lnSpc>
              <a:spcBef>
                <a:spcPct val="0"/>
              </a:spcBef>
              <a:spcAft>
                <a:spcPct val="0"/>
              </a:spcAft>
              <a:buClrTx/>
              <a:buSzTx/>
              <a:buFontTx/>
              <a:buNone/>
              <a:defRPr/>
            </a:pPr>
            <a:r>
              <a:rPr lang="he-IL" sz="2000" b="1" dirty="0">
                <a:solidFill>
                  <a:srgbClr val="3C5B7B"/>
                </a:solidFill>
                <a:latin typeface="Calibri" panose="020F0502020204030204" pitchFamily="34" charset="0"/>
                <a:ea typeface="Calibri" panose="020F0502020204030204" pitchFamily="34" charset="0"/>
                <a:cs typeface="Calibri" panose="020F0502020204030204" pitchFamily="34" charset="0"/>
              </a:rPr>
              <a:t>סטנדרט השירות</a:t>
            </a:r>
            <a:endParaRPr lang="he-IL" sz="2000" b="1" noProof="0" dirty="0">
              <a:solidFill>
                <a:srgbClr val="3C5B7B"/>
              </a:solidFill>
              <a:latin typeface="Calibri" panose="020F0502020204030204" pitchFamily="34" charset="0"/>
              <a:ea typeface="Calibri" panose="020F0502020204030204" pitchFamily="34" charset="0"/>
              <a:cs typeface="Calibri" panose="020F0502020204030204" pitchFamily="34" charset="0"/>
            </a:endParaRPr>
          </a:p>
          <a:p>
            <a:pPr algn="r" rtl="1"/>
            <a:r>
              <a:rPr lang="he-IL" sz="1200" dirty="0" err="1"/>
              <a:t>פלטרנספורט</a:t>
            </a:r>
            <a:r>
              <a:rPr lang="he-IL" sz="1200" dirty="0"/>
              <a:t> שואפת למצוינות בשירות ולמתן מענה אנושי גם בשעות קצה.</a:t>
            </a:r>
          </a:p>
          <a:p>
            <a:pPr algn="r" rtl="1"/>
            <a:r>
              <a:rPr lang="he-IL" sz="1200" dirty="0" err="1"/>
              <a:t>לפלטרנספורט</a:t>
            </a:r>
            <a:r>
              <a:rPr lang="he-IL" sz="1200" dirty="0"/>
              <a:t> למעלה מ-95% לקוחות מרוצים! *</a:t>
            </a:r>
          </a:p>
          <a:p>
            <a:pPr algn="r" rtl="1"/>
            <a:r>
              <a:rPr lang="he-IL" sz="800" dirty="0"/>
              <a:t>*לפי סקרי שיווק עצמאיים</a:t>
            </a:r>
            <a:endParaRPr lang="en-US" sz="800" dirty="0"/>
          </a:p>
        </p:txBody>
      </p:sp>
      <p:sp>
        <p:nvSpPr>
          <p:cNvPr id="18" name="Rectangle 17"/>
          <p:cNvSpPr/>
          <p:nvPr/>
        </p:nvSpPr>
        <p:spPr>
          <a:xfrm flipH="1">
            <a:off x="4757353" y="1804420"/>
            <a:ext cx="2416253" cy="735586"/>
          </a:xfrm>
          <a:prstGeom prst="rect">
            <a:avLst/>
          </a:prstGeom>
        </p:spPr>
        <p:txBody>
          <a:bodyPr wrap="square">
            <a:spAutoFit/>
          </a:bodyPr>
          <a:lstStyle/>
          <a:p>
            <a:pPr marL="0" marR="0" lvl="0" indent="0" algn="ctr" defTabSz="914400" rtl="0" eaLnBrk="1" fontAlgn="auto" latinLnBrk="0" hangingPunct="1">
              <a:lnSpc>
                <a:spcPct val="89000"/>
              </a:lnSpc>
              <a:spcBef>
                <a:spcPct val="0"/>
              </a:spcBef>
              <a:spcAft>
                <a:spcPct val="0"/>
              </a:spcAft>
              <a:buClrTx/>
              <a:buSzTx/>
              <a:buFontTx/>
              <a:buNone/>
              <a:defRPr/>
            </a:pPr>
            <a:r>
              <a:rPr kumimoji="0" lang="he-IL" sz="2000" b="1" i="0" u="none" strike="noStrike" kern="1200" cap="none" spc="0" normalizeH="0" baseline="0" noProof="0" dirty="0">
                <a:ln>
                  <a:noFill/>
                </a:ln>
                <a:solidFill>
                  <a:srgbClr val="3C5B7B"/>
                </a:solidFill>
                <a:effectLst/>
                <a:uLnTx/>
                <a:uFillTx/>
                <a:latin typeface="Calibri" panose="020F0502020204030204" pitchFamily="34" charset="0"/>
                <a:ea typeface="Calibri" panose="020F0502020204030204" pitchFamily="34" charset="0"/>
                <a:cs typeface="Calibri" panose="020F0502020204030204" pitchFamily="34" charset="0"/>
              </a:rPr>
              <a:t>75+ שנות ניסיון</a:t>
            </a:r>
            <a:endParaRPr kumimoji="0" lang="en-US" sz="1200" b="1" i="0" u="none" strike="noStrike" kern="1200" cap="none" spc="0" normalizeH="0" baseline="0" noProof="0" dirty="0">
              <a:ln>
                <a:noFill/>
              </a:ln>
              <a:solidFill>
                <a:srgbClr val="3C5B7B"/>
              </a:solidFill>
              <a:effectLst/>
              <a:uLnTx/>
              <a:uFillTx/>
              <a:latin typeface="Calibri" panose="020F0502020204030204" pitchFamily="34" charset="0"/>
              <a:ea typeface="Calibri" panose="020F0502020204030204" pitchFamily="34" charset="0"/>
              <a:cs typeface="Calibri" panose="020F0502020204030204" pitchFamily="34" charset="0"/>
            </a:endParaRPr>
          </a:p>
          <a:p>
            <a:pPr algn="ctr"/>
            <a:r>
              <a:rPr lang="he-IL" sz="1200" dirty="0"/>
              <a:t>למעלה מ-75 שנות ניסיון בתחום הלוגיסטיקה הבינלאומית.</a:t>
            </a:r>
            <a:endParaRPr lang="en-US" sz="1200" dirty="0"/>
          </a:p>
        </p:txBody>
      </p:sp>
      <p:sp>
        <p:nvSpPr>
          <p:cNvPr id="24" name="Rectangle 23"/>
          <p:cNvSpPr/>
          <p:nvPr/>
        </p:nvSpPr>
        <p:spPr>
          <a:xfrm>
            <a:off x="7798564" y="2978457"/>
            <a:ext cx="2361472" cy="1104918"/>
          </a:xfrm>
          <a:prstGeom prst="rect">
            <a:avLst/>
          </a:prstGeom>
        </p:spPr>
        <p:txBody>
          <a:bodyPr wrap="square">
            <a:spAutoFit/>
          </a:bodyPr>
          <a:lstStyle/>
          <a:p>
            <a:pPr marL="0" marR="0" lvl="0" indent="0" algn="r" defTabSz="914400" rtl="1" eaLnBrk="1" fontAlgn="auto" latinLnBrk="0" hangingPunct="1">
              <a:lnSpc>
                <a:spcPct val="89000"/>
              </a:lnSpc>
              <a:spcBef>
                <a:spcPct val="0"/>
              </a:spcBef>
              <a:spcAft>
                <a:spcPct val="0"/>
              </a:spcAft>
              <a:buClrTx/>
              <a:buSzTx/>
              <a:buFontTx/>
              <a:buNone/>
              <a:defRPr/>
            </a:pPr>
            <a:r>
              <a:rPr lang="he-IL" sz="2000" b="1" noProof="0" dirty="0">
                <a:solidFill>
                  <a:srgbClr val="3C5B7B"/>
                </a:solidFill>
                <a:latin typeface="Calibri" panose="020F0502020204030204" pitchFamily="34" charset="0"/>
                <a:ea typeface="Calibri" panose="020F0502020204030204" pitchFamily="34" charset="0"/>
                <a:cs typeface="Calibri" panose="020F0502020204030204" pitchFamily="34" charset="0"/>
              </a:rPr>
              <a:t>פריסה רחבה</a:t>
            </a:r>
            <a:endParaRPr kumimoji="0" lang="en-US" sz="1200" b="1" i="0" u="none" strike="noStrike" kern="1200" cap="none" spc="0" normalizeH="0" baseline="0" noProof="0" dirty="0">
              <a:ln>
                <a:noFill/>
              </a:ln>
              <a:solidFill>
                <a:srgbClr val="343A3F">
                  <a:lumMod val="90000"/>
                  <a:lumOff val="10000"/>
                </a:srgbClr>
              </a:solidFill>
              <a:effectLst/>
              <a:uLnTx/>
              <a:uFillTx/>
              <a:latin typeface="Calibri" panose="020F0502020204030204" pitchFamily="34" charset="0"/>
              <a:ea typeface="Calibri" panose="020F0502020204030204" pitchFamily="34" charset="0"/>
              <a:cs typeface="Calibri" panose="020F0502020204030204" pitchFamily="34" charset="0"/>
            </a:endParaRPr>
          </a:p>
          <a:p>
            <a:pPr lvl="0" algn="r" rtl="1"/>
            <a:r>
              <a:rPr lang="he-IL" sz="1200" dirty="0" err="1"/>
              <a:t>פלטרנספורט</a:t>
            </a:r>
            <a:r>
              <a:rPr lang="he-IL" sz="1200" dirty="0"/>
              <a:t> מחזיקה בסניפים עצמאיים בנמלי הים, האוויר והיבשה במיקומים האסטרטגיים ביותר בישראל.</a:t>
            </a:r>
            <a:endParaRPr lang="en-US" sz="1200" dirty="0"/>
          </a:p>
        </p:txBody>
      </p:sp>
      <p:sp>
        <p:nvSpPr>
          <p:cNvPr id="3" name="Titel 1">
            <a:extLst>
              <a:ext uri="{FF2B5EF4-FFF2-40B4-BE49-F238E27FC236}">
                <a16:creationId xmlns:a16="http://schemas.microsoft.com/office/drawing/2014/main" id="{EB144615-7D39-E124-3830-977477D44EC0}"/>
              </a:ext>
            </a:extLst>
          </p:cNvPr>
          <p:cNvSpPr txBox="1"/>
          <p:nvPr/>
        </p:nvSpPr>
        <p:spPr bwMode="auto">
          <a:xfrm>
            <a:off x="6284901" y="726887"/>
            <a:ext cx="4931999" cy="767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normAutofit/>
          </a:bodyPr>
          <a:lstStyle>
            <a:lvl1pPr algn="l" defTabSz="914400" rtl="0" eaLnBrk="1" latinLnBrk="0" hangingPunct="1">
              <a:lnSpc>
                <a:spcPct val="100000"/>
              </a:lnSpc>
              <a:spcBef>
                <a:spcPct val="0"/>
              </a:spcBef>
              <a:buNone/>
              <a:defRPr sz="2800" kern="1200">
                <a:solidFill>
                  <a:schemeClr val="tx2"/>
                </a:solidFill>
                <a:latin typeface="+mj-lt"/>
                <a:ea typeface="+mj-ea"/>
                <a:cs typeface="+mj-cs"/>
              </a:defRPr>
            </a:lvl1pPr>
          </a:lstStyle>
          <a:p>
            <a:pPr marL="0" marR="0" lvl="0" indent="0" algn="r" defTabSz="914400" rtl="0" eaLnBrk="1" fontAlgn="auto" latinLnBrk="0" hangingPunct="1">
              <a:lnSpc>
                <a:spcPct val="100000"/>
              </a:lnSpc>
              <a:spcBef>
                <a:spcPct val="0"/>
              </a:spcBef>
              <a:spcAft>
                <a:spcPct val="0"/>
              </a:spcAft>
              <a:buClrTx/>
              <a:buSzTx/>
              <a:buFontTx/>
              <a:buNone/>
              <a:defRPr/>
            </a:pPr>
            <a:r>
              <a:rPr kumimoji="0" lang="he-IL" sz="3200" b="1" i="0" u="none" strike="noStrike" kern="1200" cap="none" spc="0" normalizeH="0" baseline="0" noProof="0" dirty="0">
                <a:ln>
                  <a:noFill/>
                </a:ln>
                <a:solidFill>
                  <a:srgbClr val="004C99"/>
                </a:solidFill>
                <a:effectLst>
                  <a:outerShdw blurRad="38100" dist="38100" dir="2700000" algn="tl">
                    <a:srgbClr val="000000">
                      <a:alpha val="43137"/>
                    </a:srgbClr>
                  </a:outerShdw>
                </a:effectLst>
                <a:uLnTx/>
                <a:uFillTx/>
                <a:latin typeface="Calibri" panose="020F0502020204030204" pitchFamily="34" charset="0"/>
                <a:ea typeface="Calibri" panose="020F0502020204030204" pitchFamily="34" charset="0"/>
                <a:cs typeface="Calibri" panose="020F0502020204030204" pitchFamily="34" charset="0"/>
              </a:rPr>
              <a:t>הייחודיות שלנו</a:t>
            </a:r>
            <a:endParaRPr kumimoji="0" lang="de-DE" sz="3200" b="0" i="0" u="none" strike="noStrike" kern="1200" cap="none" spc="0" normalizeH="0" baseline="0" noProof="0" dirty="0">
              <a:ln>
                <a:noFill/>
              </a:ln>
              <a:solidFill>
                <a:srgbClr val="004C99"/>
              </a:solidFill>
              <a:effectLst>
                <a:outerShdw blurRad="38100" dist="38100" dir="2700000" algn="tl">
                  <a:srgbClr val="000000">
                    <a:alpha val="43137"/>
                  </a:srgbClr>
                </a:outerShdw>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11" name="Rectangle 23">
            <a:extLst>
              <a:ext uri="{FF2B5EF4-FFF2-40B4-BE49-F238E27FC236}">
                <a16:creationId xmlns:a16="http://schemas.microsoft.com/office/drawing/2014/main" id="{B211E79B-1576-8F45-2C75-F9A90C996693}"/>
              </a:ext>
            </a:extLst>
          </p:cNvPr>
          <p:cNvSpPr/>
          <p:nvPr/>
        </p:nvSpPr>
        <p:spPr>
          <a:xfrm>
            <a:off x="8605628" y="4877133"/>
            <a:ext cx="2361472" cy="1104918"/>
          </a:xfrm>
          <a:prstGeom prst="rect">
            <a:avLst/>
          </a:prstGeom>
        </p:spPr>
        <p:txBody>
          <a:bodyPr wrap="square">
            <a:spAutoFit/>
          </a:bodyPr>
          <a:lstStyle/>
          <a:p>
            <a:pPr marL="0" marR="0" lvl="0" indent="0" algn="r" defTabSz="914400" rtl="1" eaLnBrk="1" fontAlgn="auto" latinLnBrk="0" hangingPunct="1">
              <a:lnSpc>
                <a:spcPct val="89000"/>
              </a:lnSpc>
              <a:spcBef>
                <a:spcPct val="0"/>
              </a:spcBef>
              <a:spcAft>
                <a:spcPct val="0"/>
              </a:spcAft>
              <a:buClrTx/>
              <a:buSzTx/>
              <a:buFontTx/>
              <a:buNone/>
              <a:defRPr/>
            </a:pPr>
            <a:r>
              <a:rPr lang="he-IL" sz="2000" b="1" noProof="0" dirty="0">
                <a:solidFill>
                  <a:srgbClr val="3C5B7B"/>
                </a:solidFill>
                <a:latin typeface="Calibri" panose="020F0502020204030204" pitchFamily="34" charset="0"/>
                <a:ea typeface="Calibri" panose="020F0502020204030204" pitchFamily="34" charset="0"/>
                <a:cs typeface="Calibri" panose="020F0502020204030204" pitchFamily="34" charset="0"/>
              </a:rPr>
              <a:t>טכנולוגיה</a:t>
            </a:r>
            <a:endParaRPr kumimoji="0" lang="en-US" sz="1200" b="1" i="0" u="none" strike="noStrike" kern="1200" cap="none" spc="0" normalizeH="0" baseline="0" noProof="0" dirty="0">
              <a:ln>
                <a:noFill/>
              </a:ln>
              <a:solidFill>
                <a:srgbClr val="343A3F">
                  <a:lumMod val="90000"/>
                  <a:lumOff val="10000"/>
                </a:srgbClr>
              </a:solidFill>
              <a:effectLst/>
              <a:uLnTx/>
              <a:uFillTx/>
              <a:latin typeface="Calibri" panose="020F0502020204030204" pitchFamily="34" charset="0"/>
              <a:ea typeface="Calibri" panose="020F0502020204030204" pitchFamily="34" charset="0"/>
              <a:cs typeface="Calibri" panose="020F0502020204030204" pitchFamily="34" charset="0"/>
            </a:endParaRPr>
          </a:p>
          <a:p>
            <a:pPr lvl="0" algn="r" rtl="1"/>
            <a:r>
              <a:rPr lang="he-IL" sz="1200" dirty="0" err="1"/>
              <a:t>פלטרנספורט</a:t>
            </a:r>
            <a:r>
              <a:rPr lang="he-IL" sz="1200" dirty="0"/>
              <a:t> שותפה מייסדת בבית התוכנה "</a:t>
            </a:r>
            <a:r>
              <a:rPr lang="he-IL" sz="1200" dirty="0" err="1"/>
              <a:t>עמיטל</a:t>
            </a:r>
            <a:r>
              <a:rPr lang="he-IL" sz="1200" dirty="0"/>
              <a:t>-דאטה", בית התוכנה הגדול ביותר בישראל לתחום עמילות המכס והשילוח.</a:t>
            </a:r>
            <a:endParaRPr lang="en-US" sz="1200" dirty="0"/>
          </a:p>
        </p:txBody>
      </p:sp>
    </p:spTree>
    <p:extLst>
      <p:ext uri="{BB962C8B-B14F-4D97-AF65-F5344CB8AC3E}">
        <p14:creationId xmlns:p14="http://schemas.microsoft.com/office/powerpoint/2010/main" val="3336881726"/>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1000" fill="hold"/>
                                        <p:tgtEl>
                                          <p:spTgt spid="3"/>
                                        </p:tgtEl>
                                        <p:attrNameLst>
                                          <p:attrName>ppt_x</p:attrName>
                                        </p:attrNameLst>
                                      </p:cBhvr>
                                      <p:tavLst>
                                        <p:tav tm="0">
                                          <p:val>
                                            <p:strVal val="1+#ppt_w/2"/>
                                          </p:val>
                                        </p:tav>
                                        <p:tav tm="100000">
                                          <p:val>
                                            <p:strVal val="#ppt_x"/>
                                          </p:val>
                                        </p:tav>
                                      </p:tavLst>
                                    </p:anim>
                                    <p:anim calcmode="lin" valueType="num">
                                      <p:cBhvr additive="base">
                                        <p:cTn id="8" dur="1000" fill="hold"/>
                                        <p:tgtEl>
                                          <p:spTgt spid="3"/>
                                        </p:tgtEl>
                                        <p:attrNameLst>
                                          <p:attrName>ppt_y</p:attrName>
                                        </p:attrNameLst>
                                      </p:cBhvr>
                                      <p:tavLst>
                                        <p:tav tm="0">
                                          <p:val>
                                            <p:strVal val="#ppt_y"/>
                                          </p:val>
                                        </p:tav>
                                        <p:tav tm="100000">
                                          <p:val>
                                            <p:strVal val="#ppt_y"/>
                                          </p:val>
                                        </p:tav>
                                      </p:tavLst>
                                    </p:anim>
                                  </p:childTnLst>
                                </p:cTn>
                              </p:par>
                              <p:par>
                                <p:cTn id="9" presetID="22" presetClass="entr" presetSubtype="4" dur="500" fill="hold" grpId="0" nodeType="with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wipe(down)">
                                      <p:cBhvr>
                                        <p:cTn id="11" dur="500"/>
                                        <p:tgtEl>
                                          <p:spTgt spid="8"/>
                                        </p:tgtEl>
                                      </p:cBhvr>
                                    </p:animEffect>
                                  </p:childTnLst>
                                </p:cTn>
                              </p:par>
                              <p:par>
                                <p:cTn id="12" presetID="22" presetClass="entr" presetSubtype="4" dur="500" fill="hold" grpId="0" nodeType="withEffect">
                                  <p:stCondLst>
                                    <p:cond delay="250"/>
                                  </p:stCondLst>
                                  <p:childTnLst>
                                    <p:set>
                                      <p:cBhvr>
                                        <p:cTn id="13" dur="1" fill="hold">
                                          <p:stCondLst>
                                            <p:cond delay="0"/>
                                          </p:stCondLst>
                                        </p:cTn>
                                        <p:tgtEl>
                                          <p:spTgt spid="7"/>
                                        </p:tgtEl>
                                        <p:attrNameLst>
                                          <p:attrName>style.visibility</p:attrName>
                                        </p:attrNameLst>
                                      </p:cBhvr>
                                      <p:to>
                                        <p:strVal val="visible"/>
                                      </p:to>
                                    </p:set>
                                    <p:animEffect transition="in" filter="wipe(down)">
                                      <p:cBhvr>
                                        <p:cTn id="14" dur="500"/>
                                        <p:tgtEl>
                                          <p:spTgt spid="7"/>
                                        </p:tgtEl>
                                      </p:cBhvr>
                                    </p:animEffect>
                                  </p:childTnLst>
                                </p:cTn>
                              </p:par>
                              <p:par>
                                <p:cTn id="15" presetID="22" presetClass="entr" presetSubtype="4" dur="500" fill="hold" grpId="0" nodeType="withEffect">
                                  <p:stCondLst>
                                    <p:cond delay="500"/>
                                  </p:stCondLst>
                                  <p:childTnLst>
                                    <p:set>
                                      <p:cBhvr>
                                        <p:cTn id="16" dur="1" fill="hold">
                                          <p:stCondLst>
                                            <p:cond delay="0"/>
                                          </p:stCondLst>
                                        </p:cTn>
                                        <p:tgtEl>
                                          <p:spTgt spid="6"/>
                                        </p:tgtEl>
                                        <p:attrNameLst>
                                          <p:attrName>style.visibility</p:attrName>
                                        </p:attrNameLst>
                                      </p:cBhvr>
                                      <p:to>
                                        <p:strVal val="visible"/>
                                      </p:to>
                                    </p:set>
                                    <p:animEffect transition="in" filter="wipe(down)">
                                      <p:cBhvr>
                                        <p:cTn id="17" dur="500"/>
                                        <p:tgtEl>
                                          <p:spTgt spid="6"/>
                                        </p:tgtEl>
                                      </p:cBhvr>
                                    </p:animEffect>
                                  </p:childTnLst>
                                </p:cTn>
                              </p:par>
                              <p:par>
                                <p:cTn id="18" presetID="22" presetClass="entr" presetSubtype="4" dur="500" fill="hold" grpId="0" nodeType="withEffect">
                                  <p:stCondLst>
                                    <p:cond delay="750"/>
                                  </p:stCondLst>
                                  <p:childTnLst>
                                    <p:set>
                                      <p:cBhvr>
                                        <p:cTn id="19" dur="1" fill="hold">
                                          <p:stCondLst>
                                            <p:cond delay="0"/>
                                          </p:stCondLst>
                                        </p:cTn>
                                        <p:tgtEl>
                                          <p:spTgt spid="9"/>
                                        </p:tgtEl>
                                        <p:attrNameLst>
                                          <p:attrName>style.visibility</p:attrName>
                                        </p:attrNameLst>
                                      </p:cBhvr>
                                      <p:to>
                                        <p:strVal val="visible"/>
                                      </p:to>
                                    </p:set>
                                    <p:animEffect transition="in" filter="wipe(down)">
                                      <p:cBhvr>
                                        <p:cTn id="20" dur="500"/>
                                        <p:tgtEl>
                                          <p:spTgt spid="9"/>
                                        </p:tgtEl>
                                      </p:cBhvr>
                                    </p:animEffect>
                                  </p:childTnLst>
                                </p:cTn>
                              </p:par>
                              <p:par>
                                <p:cTn id="21" presetID="22" presetClass="entr" presetSubtype="4" dur="500" fill="hold" grpId="0" nodeType="withEffect">
                                  <p:stCondLst>
                                    <p:cond delay="1000"/>
                                  </p:stCondLst>
                                  <p:childTnLst>
                                    <p:set>
                                      <p:cBhvr>
                                        <p:cTn id="22" dur="1" fill="hold">
                                          <p:stCondLst>
                                            <p:cond delay="0"/>
                                          </p:stCondLst>
                                        </p:cTn>
                                        <p:tgtEl>
                                          <p:spTgt spid="10"/>
                                        </p:tgtEl>
                                        <p:attrNameLst>
                                          <p:attrName>style.visibility</p:attrName>
                                        </p:attrNameLst>
                                      </p:cBhvr>
                                      <p:to>
                                        <p:strVal val="visible"/>
                                      </p:to>
                                    </p:set>
                                    <p:animEffect transition="in" filter="wipe(down)">
                                      <p:cBhvr>
                                        <p:cTn id="23" dur="500"/>
                                        <p:tgtEl>
                                          <p:spTgt spid="10"/>
                                        </p:tgtEl>
                                      </p:cBhvr>
                                    </p:animEffect>
                                  </p:childTnLst>
                                </p:cTn>
                              </p:par>
                              <p:par>
                                <p:cTn id="24" presetID="10" presetClass="entr" presetSubtype="0" dur="300" fill="hold" grpId="0" nodeType="withEffect">
                                  <p:stCondLst>
                                    <p:cond delay="250"/>
                                  </p:stCondLst>
                                  <p:childTnLst>
                                    <p:set>
                                      <p:cBhvr>
                                        <p:cTn id="25" dur="1" fill="hold">
                                          <p:stCondLst>
                                            <p:cond delay="0"/>
                                          </p:stCondLst>
                                        </p:cTn>
                                        <p:tgtEl>
                                          <p:spTgt spid="13"/>
                                        </p:tgtEl>
                                        <p:attrNameLst>
                                          <p:attrName>style.visibility</p:attrName>
                                        </p:attrNameLst>
                                      </p:cBhvr>
                                      <p:to>
                                        <p:strVal val="visible"/>
                                      </p:to>
                                    </p:set>
                                    <p:animEffect transition="in" filter="fade">
                                      <p:cBhvr>
                                        <p:cTn id="26" dur="300"/>
                                        <p:tgtEl>
                                          <p:spTgt spid="13"/>
                                        </p:tgtEl>
                                      </p:cBhvr>
                                    </p:animEffect>
                                  </p:childTnLst>
                                </p:cTn>
                              </p:par>
                              <p:par>
                                <p:cTn id="27" presetID="10" presetClass="entr" presetSubtype="0" dur="300" fill="hold" grpId="0" nodeType="withEffect">
                                  <p:stCondLst>
                                    <p:cond delay="5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300"/>
                                        <p:tgtEl>
                                          <p:spTgt spid="16"/>
                                        </p:tgtEl>
                                      </p:cBhvr>
                                    </p:animEffect>
                                  </p:childTnLst>
                                </p:cTn>
                              </p:par>
                              <p:par>
                                <p:cTn id="30" presetID="10" presetClass="entr" presetSubtype="0" dur="300" fill="hold" grpId="0" nodeType="withEffect">
                                  <p:stCondLst>
                                    <p:cond delay="750"/>
                                  </p:stCondLst>
                                  <p:childTnLst>
                                    <p:set>
                                      <p:cBhvr>
                                        <p:cTn id="31" dur="1" fill="hold">
                                          <p:stCondLst>
                                            <p:cond delay="0"/>
                                          </p:stCondLst>
                                        </p:cTn>
                                        <p:tgtEl>
                                          <p:spTgt spid="18"/>
                                        </p:tgtEl>
                                        <p:attrNameLst>
                                          <p:attrName>style.visibility</p:attrName>
                                        </p:attrNameLst>
                                      </p:cBhvr>
                                      <p:to>
                                        <p:strVal val="visible"/>
                                      </p:to>
                                    </p:set>
                                    <p:animEffect transition="in" filter="fade">
                                      <p:cBhvr>
                                        <p:cTn id="32" dur="300"/>
                                        <p:tgtEl>
                                          <p:spTgt spid="18"/>
                                        </p:tgtEl>
                                      </p:cBhvr>
                                    </p:animEffect>
                                  </p:childTnLst>
                                </p:cTn>
                              </p:par>
                              <p:par>
                                <p:cTn id="33" presetID="10" presetClass="entr" presetSubtype="0" dur="300" fill="hold" grpId="0" nodeType="withEffect">
                                  <p:stCondLst>
                                    <p:cond delay="1000"/>
                                  </p:stCondLst>
                                  <p:childTnLst>
                                    <p:set>
                                      <p:cBhvr>
                                        <p:cTn id="34" dur="1" fill="hold">
                                          <p:stCondLst>
                                            <p:cond delay="0"/>
                                          </p:stCondLst>
                                        </p:cTn>
                                        <p:tgtEl>
                                          <p:spTgt spid="24"/>
                                        </p:tgtEl>
                                        <p:attrNameLst>
                                          <p:attrName>style.visibility</p:attrName>
                                        </p:attrNameLst>
                                      </p:cBhvr>
                                      <p:to>
                                        <p:strVal val="visible"/>
                                      </p:to>
                                    </p:set>
                                    <p:animEffect transition="in" filter="fade">
                                      <p:cBhvr>
                                        <p:cTn id="35" dur="300"/>
                                        <p:tgtEl>
                                          <p:spTgt spid="24"/>
                                        </p:tgtEl>
                                      </p:cBhvr>
                                    </p:animEffect>
                                  </p:childTnLst>
                                </p:cTn>
                              </p:par>
                              <p:par>
                                <p:cTn id="36" presetID="10" presetClass="entr" presetSubtype="0" dur="300" fill="hold" grpId="0" nodeType="withEffect">
                                  <p:stCondLst>
                                    <p:cond delay="1000"/>
                                  </p:stCondLst>
                                  <p:childTnLst>
                                    <p:set>
                                      <p:cBhvr>
                                        <p:cTn id="37" dur="1" fill="hold">
                                          <p:stCondLst>
                                            <p:cond delay="0"/>
                                          </p:stCondLst>
                                        </p:cTn>
                                        <p:tgtEl>
                                          <p:spTgt spid="11"/>
                                        </p:tgtEl>
                                        <p:attrNameLst>
                                          <p:attrName>style.visibility</p:attrName>
                                        </p:attrNameLst>
                                      </p:cBhvr>
                                      <p:to>
                                        <p:strVal val="visible"/>
                                      </p:to>
                                    </p:set>
                                    <p:animEffect transition="in" filter="fade">
                                      <p:cBhvr>
                                        <p:cTn id="38" dur="3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9" grpId="0" animBg="1"/>
      <p:bldP spid="10" grpId="0" animBg="1"/>
      <p:bldP spid="13" grpId="0"/>
      <p:bldP spid="16" grpId="0"/>
      <p:bldP spid="18" grpId="0"/>
      <p:bldP spid="24" grpId="0"/>
      <p:bldP spid="3" grpId="0"/>
      <p:bldP spid="11" grpId="0"/>
    </p:bldLst>
  </p:timing>
</p:sld>
</file>

<file path=ppt/slides/slide2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587166A4-6E95-63B2-0513-48B6EE43F7A7}"/>
              </a:ext>
            </a:extLst>
          </p:cNvPr>
          <p:cNvSpPr>
            <a:spLocks noGrp="1"/>
          </p:cNvSpPr>
          <p:nvPr>
            <p:ph type="sldNum" sz="quarter" idx="10"/>
          </p:nvPr>
        </p:nvSpPr>
        <p:spPr/>
        <p:txBody>
          <a:bodyPr/>
          <a:lstStyle/>
          <a:p>
            <a:fld id="{A04BEB4F-8CE1-4F18-986F-6CE0A0BE9470}" type="slidenum">
              <a:rPr lang="de-DE" smtClean="0"/>
              <a:t>20</a:t>
            </a:fld>
            <a:endParaRPr lang="de-DE"/>
          </a:p>
        </p:txBody>
      </p:sp>
      <p:sp>
        <p:nvSpPr>
          <p:cNvPr id="9" name="Titel 3">
            <a:extLst>
              <a:ext uri="{FF2B5EF4-FFF2-40B4-BE49-F238E27FC236}">
                <a16:creationId xmlns:a16="http://schemas.microsoft.com/office/drawing/2014/main" id="{FB109405-7FC6-5F27-06F4-7DAE42F15714}"/>
              </a:ext>
            </a:extLst>
          </p:cNvPr>
          <p:cNvSpPr txBox="1">
            <a:spLocks/>
          </p:cNvSpPr>
          <p:nvPr/>
        </p:nvSpPr>
        <p:spPr bwMode="auto">
          <a:xfrm>
            <a:off x="815952" y="733402"/>
            <a:ext cx="10560096" cy="767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normAutofit/>
          </a:bodyPr>
          <a:lstStyle>
            <a:lvl1pPr algn="l" defTabSz="914400" rtl="0" eaLnBrk="1" latinLnBrk="0" hangingPunct="1">
              <a:lnSpc>
                <a:spcPct val="100000"/>
              </a:lnSpc>
              <a:spcBef>
                <a:spcPct val="0"/>
              </a:spcBef>
              <a:buNone/>
              <a:defRPr sz="2800" kern="1200">
                <a:solidFill>
                  <a:schemeClr val="tx2"/>
                </a:solidFill>
                <a:latin typeface="+mj-lt"/>
                <a:ea typeface="+mj-ea"/>
                <a:cs typeface="+mj-cs"/>
              </a:defRPr>
            </a:lvl1pPr>
          </a:lstStyle>
          <a:p>
            <a:pPr algn="r" rtl="1"/>
            <a:r>
              <a:rPr lang="he-IL" b="1" dirty="0">
                <a:effectLst>
                  <a:outerShdw blurRad="38100" dist="38100" dir="2700000" algn="tl">
                    <a:srgbClr val="000000">
                      <a:alpha val="43137"/>
                    </a:srgbClr>
                  </a:outerShdw>
                </a:effectLst>
                <a:latin typeface="Calibri" panose="020F0502020204030204" pitchFamily="34" charset="0"/>
                <a:ea typeface="Calibri" panose="020F0502020204030204" pitchFamily="34" charset="0"/>
                <a:cs typeface="Calibri" panose="020F0502020204030204" pitchFamily="34" charset="0"/>
              </a:rPr>
              <a:t>תובלה אווירית</a:t>
            </a:r>
            <a:endParaRPr lang="de-DE" dirty="0">
              <a:effectLst>
                <a:outerShdw blurRad="38100" dist="38100" dir="2700000" algn="tl">
                  <a:srgbClr val="000000">
                    <a:alpha val="43137"/>
                  </a:srgbClr>
                </a:outerShdw>
              </a:effectLst>
              <a:latin typeface="Calibri" panose="020F0502020204030204" pitchFamily="34" charset="0"/>
              <a:ea typeface="Calibri" panose="020F0502020204030204" pitchFamily="34" charset="0"/>
              <a:cs typeface="Calibri" panose="020F0502020204030204" pitchFamily="34" charset="0"/>
            </a:endParaRPr>
          </a:p>
        </p:txBody>
      </p:sp>
      <p:sp>
        <p:nvSpPr>
          <p:cNvPr id="10" name="Textplatzhalter 4">
            <a:extLst>
              <a:ext uri="{FF2B5EF4-FFF2-40B4-BE49-F238E27FC236}">
                <a16:creationId xmlns:a16="http://schemas.microsoft.com/office/drawing/2014/main" id="{0BD74C70-D675-C1AB-81E2-3143E09B37E9}"/>
              </a:ext>
            </a:extLst>
          </p:cNvPr>
          <p:cNvSpPr txBox="1">
            <a:spLocks/>
          </p:cNvSpPr>
          <p:nvPr/>
        </p:nvSpPr>
        <p:spPr>
          <a:xfrm>
            <a:off x="5507036" y="2025445"/>
            <a:ext cx="5578962" cy="4268957"/>
          </a:xfrm>
          <a:prstGeom prst="rect">
            <a:avLst/>
          </a:prstGeom>
        </p:spPr>
        <p:txBody>
          <a:bodyPr vert="horz" lIns="0" tIns="0" rIns="0" bIns="0" rtlCol="0">
            <a:normAutofit/>
          </a:bodyPr>
          <a:lstStyle>
            <a:lvl1pPr marL="266700" marR="0" indent="-266700" algn="l" defTabSz="1644650" rtl="0" eaLnBrk="0" fontAlgn="base" latinLnBrk="0" hangingPunct="0">
              <a:lnSpc>
                <a:spcPct val="130000"/>
              </a:lnSpc>
              <a:spcBef>
                <a:spcPct val="0"/>
              </a:spcBef>
              <a:spcAft>
                <a:spcPts val="1200"/>
              </a:spcAft>
              <a:buClr>
                <a:srgbClr val="004C99"/>
              </a:buClr>
              <a:buSzPct val="120000"/>
              <a:buFontTx/>
              <a:buBlip>
                <a:blip r:embed="rId2"/>
              </a:buBlip>
              <a:defRPr sz="1800" kern="1200">
                <a:solidFill>
                  <a:schemeClr val="tx1"/>
                </a:solidFill>
                <a:latin typeface="+mn-lt"/>
                <a:ea typeface="+mn-ea"/>
                <a:cs typeface="+mn-cs"/>
              </a:defRPr>
            </a:lvl1pPr>
            <a:lvl2pPr marL="630238" marR="0" indent="-268288" algn="l" defTabSz="1644650" rtl="0" eaLnBrk="0" fontAlgn="base" latinLnBrk="0" hangingPunct="0">
              <a:lnSpc>
                <a:spcPct val="130000"/>
              </a:lnSpc>
              <a:spcBef>
                <a:spcPct val="0"/>
              </a:spcBef>
              <a:spcAft>
                <a:spcPts val="1200"/>
              </a:spcAft>
              <a:buClr>
                <a:srgbClr val="004C99"/>
              </a:buClr>
              <a:buSzPct val="120000"/>
              <a:buFontTx/>
              <a:buBlip>
                <a:blip r:embed="rId2"/>
              </a:buBlip>
              <a:defRPr sz="1800" kern="1200">
                <a:solidFill>
                  <a:schemeClr val="tx1"/>
                </a:solidFill>
                <a:latin typeface="+mn-lt"/>
                <a:ea typeface="+mn-ea"/>
                <a:cs typeface="+mn-cs"/>
              </a:defRPr>
            </a:lvl2pPr>
            <a:lvl3pPr marL="990600" marR="0" indent="-274638" algn="l" defTabSz="1644650" rtl="0" eaLnBrk="0" fontAlgn="base" latinLnBrk="0" hangingPunct="0">
              <a:lnSpc>
                <a:spcPct val="130000"/>
              </a:lnSpc>
              <a:spcBef>
                <a:spcPct val="0"/>
              </a:spcBef>
              <a:spcAft>
                <a:spcPts val="1200"/>
              </a:spcAft>
              <a:buClr>
                <a:srgbClr val="004C99"/>
              </a:buClr>
              <a:buSzPct val="120000"/>
              <a:buFontTx/>
              <a:buBlip>
                <a:blip r:embed="rId2"/>
              </a:buBlip>
              <a:defRPr sz="1800" kern="1200">
                <a:solidFill>
                  <a:schemeClr val="tx1"/>
                </a:solidFill>
                <a:latin typeface="+mn-lt"/>
                <a:ea typeface="+mn-ea"/>
                <a:cs typeface="+mn-cs"/>
              </a:defRPr>
            </a:lvl3pPr>
            <a:lvl4pPr marL="1343025" marR="0" indent="-263525" algn="l" defTabSz="1644650" rtl="0" eaLnBrk="0" fontAlgn="base" latinLnBrk="0" hangingPunct="0">
              <a:lnSpc>
                <a:spcPct val="130000"/>
              </a:lnSpc>
              <a:spcBef>
                <a:spcPct val="0"/>
              </a:spcBef>
              <a:spcAft>
                <a:spcPts val="1200"/>
              </a:spcAft>
              <a:buClr>
                <a:srgbClr val="004C99"/>
              </a:buClr>
              <a:buSzPct val="120000"/>
              <a:buFontTx/>
              <a:buBlip>
                <a:blip r:embed="rId2"/>
              </a:buBlip>
              <a:defRPr sz="1800" kern="1200">
                <a:solidFill>
                  <a:schemeClr val="tx1"/>
                </a:solidFill>
                <a:latin typeface="+mn-lt"/>
                <a:ea typeface="+mn-ea"/>
                <a:cs typeface="+mn-cs"/>
              </a:defRPr>
            </a:lvl4pPr>
            <a:lvl5pPr marL="1704975" marR="0" indent="-271463" algn="l" defTabSz="1644650" rtl="0" eaLnBrk="0" fontAlgn="base" latinLnBrk="0" hangingPunct="0">
              <a:lnSpc>
                <a:spcPct val="130000"/>
              </a:lnSpc>
              <a:spcBef>
                <a:spcPct val="0"/>
              </a:spcBef>
              <a:spcAft>
                <a:spcPts val="1200"/>
              </a:spcAft>
              <a:buClr>
                <a:srgbClr val="004C99"/>
              </a:buClr>
              <a:buSzPct val="120000"/>
              <a:buFontTx/>
              <a:buBlip>
                <a:blip r:embed="rId2"/>
              </a:buBlip>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rtl="1"/>
            <a:r>
              <a:rPr lang="he-IL" sz="1500" dirty="0">
                <a:latin typeface="Calibri" panose="020F0502020204030204" pitchFamily="34" charset="0"/>
                <a:ea typeface="Calibri" panose="020F0502020204030204" pitchFamily="34" charset="0"/>
                <a:cs typeface="Calibri" panose="020F0502020204030204" pitchFamily="34" charset="0"/>
              </a:rPr>
              <a:t>רשת אווירית מקיפה למטעני יבוא ויצוא</a:t>
            </a:r>
          </a:p>
          <a:p>
            <a:pPr algn="r" rtl="1"/>
            <a:r>
              <a:rPr lang="he-IL" sz="1500" dirty="0">
                <a:latin typeface="Calibri" panose="020F0502020204030204" pitchFamily="34" charset="0"/>
                <a:ea typeface="Calibri" panose="020F0502020204030204" pitchFamily="34" charset="0"/>
                <a:cs typeface="Calibri" panose="020F0502020204030204" pitchFamily="34" charset="0"/>
              </a:rPr>
              <a:t>הסכמים גלובליים עם חברות התעופה המעניקות עדיפות בהטענה על צי המטוסים</a:t>
            </a:r>
          </a:p>
          <a:p>
            <a:pPr algn="r" rtl="1"/>
            <a:r>
              <a:rPr lang="he-IL" sz="1500" dirty="0">
                <a:latin typeface="Calibri" panose="020F0502020204030204" pitchFamily="34" charset="0"/>
                <a:ea typeface="Calibri" panose="020F0502020204030204" pitchFamily="34" charset="0"/>
                <a:cs typeface="Calibri" panose="020F0502020204030204" pitchFamily="34" charset="0"/>
              </a:rPr>
              <a:t>מחירים אטרקטיביים</a:t>
            </a:r>
          </a:p>
          <a:p>
            <a:pPr algn="r" rtl="1"/>
            <a:r>
              <a:rPr lang="he-IL" sz="1500" dirty="0">
                <a:latin typeface="Calibri" panose="020F0502020204030204" pitchFamily="34" charset="0"/>
                <a:ea typeface="Calibri" panose="020F0502020204030204" pitchFamily="34" charset="0"/>
                <a:cs typeface="Calibri" panose="020F0502020204030204" pitchFamily="34" charset="0"/>
              </a:rPr>
              <a:t>מעקב משלוחים בזמן אמת</a:t>
            </a:r>
          </a:p>
          <a:p>
            <a:pPr algn="r" rtl="1"/>
            <a:r>
              <a:rPr lang="he-IL" sz="1500" dirty="0">
                <a:latin typeface="Calibri" panose="020F0502020204030204" pitchFamily="34" charset="0"/>
                <a:ea typeface="Calibri" panose="020F0502020204030204" pitchFamily="34" charset="0"/>
                <a:cs typeface="Calibri" panose="020F0502020204030204" pitchFamily="34" charset="0"/>
              </a:rPr>
              <a:t>טיפול במשלוחים רגילים, משלוחים מבוקרי טמפרטורה, משלוחים חריגים בגודלם וחומרים מסוכנים במהירות המקסימלית.</a:t>
            </a:r>
          </a:p>
          <a:p>
            <a:pPr algn="r" rtl="1"/>
            <a:r>
              <a:rPr lang="he-IL" sz="1500" dirty="0">
                <a:latin typeface="Calibri" panose="020F0502020204030204" pitchFamily="34" charset="0"/>
                <a:ea typeface="Calibri" panose="020F0502020204030204" pitchFamily="34" charset="0"/>
                <a:cs typeface="Calibri" panose="020F0502020204030204" pitchFamily="34" charset="0"/>
              </a:rPr>
              <a:t>אפשרות לחכירת מטוסים (</a:t>
            </a:r>
            <a:r>
              <a:rPr lang="he-IL" sz="1500" dirty="0" err="1">
                <a:latin typeface="Calibri" panose="020F0502020204030204" pitchFamily="34" charset="0"/>
                <a:ea typeface="Calibri" panose="020F0502020204030204" pitchFamily="34" charset="0"/>
                <a:cs typeface="Calibri" panose="020F0502020204030204" pitchFamily="34" charset="0"/>
              </a:rPr>
              <a:t>צ'ארטר</a:t>
            </a:r>
            <a:r>
              <a:rPr lang="he-IL" sz="1500" dirty="0">
                <a:latin typeface="Calibri" panose="020F0502020204030204" pitchFamily="34" charset="0"/>
                <a:ea typeface="Calibri" panose="020F0502020204030204" pitchFamily="34" charset="0"/>
                <a:cs typeface="Calibri" panose="020F0502020204030204" pitchFamily="34" charset="0"/>
              </a:rPr>
              <a:t>)</a:t>
            </a:r>
          </a:p>
          <a:p>
            <a:pPr algn="r" rtl="1"/>
            <a:r>
              <a:rPr lang="he-IL" sz="1500" dirty="0">
                <a:latin typeface="Calibri" panose="020F0502020204030204" pitchFamily="34" charset="0"/>
                <a:ea typeface="Calibri" panose="020F0502020204030204" pitchFamily="34" charset="0"/>
                <a:cs typeface="Calibri" panose="020F0502020204030204" pitchFamily="34" charset="0"/>
              </a:rPr>
              <a:t>חברות ב-</a:t>
            </a:r>
            <a:r>
              <a:rPr lang="en-US" sz="1500" dirty="0">
                <a:latin typeface="Calibri" panose="020F0502020204030204" pitchFamily="34" charset="0"/>
                <a:ea typeface="Calibri" panose="020F0502020204030204" pitchFamily="34" charset="0"/>
                <a:cs typeface="Calibri" panose="020F0502020204030204" pitchFamily="34" charset="0"/>
              </a:rPr>
              <a:t>IATA</a:t>
            </a:r>
            <a:endParaRPr lang="he-IL" sz="1500" dirty="0">
              <a:latin typeface="Calibri" panose="020F0502020204030204" pitchFamily="34" charset="0"/>
              <a:ea typeface="Calibri" panose="020F0502020204030204" pitchFamily="34" charset="0"/>
              <a:cs typeface="Calibri" panose="020F0502020204030204" pitchFamily="34" charset="0"/>
            </a:endParaRPr>
          </a:p>
          <a:p>
            <a:pPr algn="r" rtl="1"/>
            <a:r>
              <a:rPr lang="he-IL" sz="1500" dirty="0">
                <a:latin typeface="Calibri" panose="020F0502020204030204" pitchFamily="34" charset="0"/>
                <a:ea typeface="Calibri" panose="020F0502020204030204" pitchFamily="34" charset="0"/>
                <a:cs typeface="Calibri" panose="020F0502020204030204" pitchFamily="34" charset="0"/>
              </a:rPr>
              <a:t>שותפות בחברת </a:t>
            </a:r>
            <a:r>
              <a:rPr lang="en-US" sz="1500" dirty="0">
                <a:latin typeface="Calibri" panose="020F0502020204030204" pitchFamily="34" charset="0"/>
                <a:ea typeface="Calibri" panose="020F0502020204030204" pitchFamily="34" charset="0"/>
                <a:cs typeface="Calibri" panose="020F0502020204030204" pitchFamily="34" charset="0"/>
              </a:rPr>
              <a:t>ACI</a:t>
            </a:r>
            <a:r>
              <a:rPr lang="he-IL" sz="1500" dirty="0">
                <a:latin typeface="Calibri" panose="020F0502020204030204" pitchFamily="34" charset="0"/>
                <a:ea typeface="Calibri" panose="020F0502020204030204" pitchFamily="34" charset="0"/>
                <a:cs typeface="Calibri" panose="020F0502020204030204" pitchFamily="34" charset="0"/>
              </a:rPr>
              <a:t> המתמחה </a:t>
            </a:r>
            <a:r>
              <a:rPr lang="he-IL" sz="1500" dirty="0" err="1">
                <a:latin typeface="Calibri" panose="020F0502020204030204" pitchFamily="34" charset="0"/>
                <a:ea typeface="Calibri" panose="020F0502020204030204" pitchFamily="34" charset="0"/>
                <a:cs typeface="Calibri" panose="020F0502020204030204" pitchFamily="34" charset="0"/>
              </a:rPr>
              <a:t>בקונסולידציות</a:t>
            </a:r>
            <a:r>
              <a:rPr lang="he-IL" sz="1500" dirty="0">
                <a:latin typeface="Calibri" panose="020F0502020204030204" pitchFamily="34" charset="0"/>
                <a:ea typeface="Calibri" panose="020F0502020204030204" pitchFamily="34" charset="0"/>
                <a:cs typeface="Calibri" panose="020F0502020204030204" pitchFamily="34" charset="0"/>
              </a:rPr>
              <a:t> אוויריות – </a:t>
            </a:r>
            <a:r>
              <a:rPr lang="he-IL" sz="1500" b="1" u="sng" dirty="0">
                <a:latin typeface="Calibri" panose="020F0502020204030204" pitchFamily="34" charset="0"/>
                <a:ea typeface="Calibri" panose="020F0502020204030204" pitchFamily="34" charset="0"/>
                <a:cs typeface="Calibri" panose="020F0502020204030204" pitchFamily="34" charset="0"/>
              </a:rPr>
              <a:t>בשותפות עם </a:t>
            </a:r>
            <a:r>
              <a:rPr lang="he-IL" sz="1500" b="1" u="sng" dirty="0" err="1">
                <a:latin typeface="Calibri" panose="020F0502020204030204" pitchFamily="34" charset="0"/>
                <a:ea typeface="Calibri" panose="020F0502020204030204" pitchFamily="34" charset="0"/>
                <a:cs typeface="Calibri" panose="020F0502020204030204" pitchFamily="34" charset="0"/>
              </a:rPr>
              <a:t>אלעל</a:t>
            </a:r>
            <a:endParaRPr lang="en-US" sz="1500" b="1" u="sng" dirty="0">
              <a:latin typeface="Calibri" panose="020F0502020204030204" pitchFamily="34" charset="0"/>
              <a:ea typeface="Calibri" panose="020F0502020204030204" pitchFamily="34" charset="0"/>
              <a:cs typeface="Calibri" panose="020F0502020204030204" pitchFamily="34" charset="0"/>
            </a:endParaRPr>
          </a:p>
        </p:txBody>
      </p:sp>
      <p:sp>
        <p:nvSpPr>
          <p:cNvPr id="11" name="Titel 3">
            <a:extLst>
              <a:ext uri="{FF2B5EF4-FFF2-40B4-BE49-F238E27FC236}">
                <a16:creationId xmlns:a16="http://schemas.microsoft.com/office/drawing/2014/main" id="{BFEA0DEE-3A4F-A132-0CA6-2C9FAD2065E8}"/>
              </a:ext>
            </a:extLst>
          </p:cNvPr>
          <p:cNvSpPr txBox="1"/>
          <p:nvPr/>
        </p:nvSpPr>
        <p:spPr bwMode="auto">
          <a:xfrm>
            <a:off x="815951" y="1435910"/>
            <a:ext cx="10560096" cy="314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normAutofit/>
          </a:bodyPr>
          <a:lstStyle>
            <a:lvl1pPr algn="l" defTabSz="914400" rtl="0" eaLnBrk="1" latinLnBrk="0" hangingPunct="1">
              <a:lnSpc>
                <a:spcPct val="100000"/>
              </a:lnSpc>
              <a:spcBef>
                <a:spcPct val="0"/>
              </a:spcBef>
              <a:buNone/>
              <a:defRPr sz="2800" kern="1200">
                <a:solidFill>
                  <a:schemeClr val="tx2"/>
                </a:solidFill>
                <a:latin typeface="+mj-lt"/>
                <a:ea typeface="+mj-ea"/>
                <a:cs typeface="+mj-cs"/>
              </a:defRPr>
            </a:lvl1pPr>
          </a:lstStyle>
          <a:p>
            <a:pPr algn="r" rtl="1"/>
            <a:r>
              <a:rPr lang="he-IL" sz="1800" b="1" dirty="0" err="1">
                <a:latin typeface="Calibri" panose="020F0502020204030204" pitchFamily="34" charset="0"/>
                <a:ea typeface="Calibri" panose="020F0502020204030204" pitchFamily="34" charset="0"/>
                <a:cs typeface="Calibri" panose="020F0502020204030204" pitchFamily="34" charset="0"/>
              </a:rPr>
              <a:t>פלטרנספורט</a:t>
            </a:r>
            <a:r>
              <a:rPr lang="he-IL" sz="1800" b="1" dirty="0">
                <a:latin typeface="Calibri" panose="020F0502020204030204" pitchFamily="34" charset="0"/>
                <a:ea typeface="Calibri" panose="020F0502020204030204" pitchFamily="34" charset="0"/>
                <a:cs typeface="Calibri" panose="020F0502020204030204" pitchFamily="34" charset="0"/>
              </a:rPr>
              <a:t> – באוויר, בים וביבשה</a:t>
            </a:r>
            <a:endParaRPr lang="de-DE" sz="1800" b="1" dirty="0">
              <a:latin typeface="Calibri" panose="020F0502020204030204" pitchFamily="34" charset="0"/>
              <a:ea typeface="Calibri" panose="020F0502020204030204" pitchFamily="34" charset="0"/>
              <a:cs typeface="Calibri" panose="020F0502020204030204" pitchFamily="34" charset="0"/>
            </a:endParaRPr>
          </a:p>
        </p:txBody>
      </p:sp>
      <p:pic>
        <p:nvPicPr>
          <p:cNvPr id="2" name="Grafik 16">
            <a:extLst>
              <a:ext uri="{FF2B5EF4-FFF2-40B4-BE49-F238E27FC236}">
                <a16:creationId xmlns:a16="http://schemas.microsoft.com/office/drawing/2014/main" id="{476CC8DF-03A2-13B2-1CE6-066F7598AC7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9100" y="1077853"/>
            <a:ext cx="4941529" cy="4941529"/>
          </a:xfrm>
          <a:prstGeom prst="flowChartConnector">
            <a:avLst/>
          </a:prstGeom>
        </p:spPr>
      </p:pic>
    </p:spTree>
    <p:extLst>
      <p:ext uri="{BB962C8B-B14F-4D97-AF65-F5344CB8AC3E}">
        <p14:creationId xmlns:p14="http://schemas.microsoft.com/office/powerpoint/2010/main" val="156947184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1000" fill="hold"/>
                                        <p:tgtEl>
                                          <p:spTgt spid="9"/>
                                        </p:tgtEl>
                                        <p:attrNameLst>
                                          <p:attrName>ppt_x</p:attrName>
                                        </p:attrNameLst>
                                      </p:cBhvr>
                                      <p:tavLst>
                                        <p:tav tm="0">
                                          <p:val>
                                            <p:strVal val="1+#ppt_w/2"/>
                                          </p:val>
                                        </p:tav>
                                        <p:tav tm="100000">
                                          <p:val>
                                            <p:strVal val="#ppt_x"/>
                                          </p:val>
                                        </p:tav>
                                      </p:tavLst>
                                    </p:anim>
                                    <p:anim calcmode="lin" valueType="num">
                                      <p:cBhvr additive="base">
                                        <p:cTn id="8" dur="1000" fill="hold"/>
                                        <p:tgtEl>
                                          <p:spTgt spid="9"/>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11"/>
                                        </p:tgtEl>
                                        <p:attrNameLst>
                                          <p:attrName>style.visibility</p:attrName>
                                        </p:attrNameLst>
                                      </p:cBhvr>
                                      <p:to>
                                        <p:strVal val="visible"/>
                                      </p:to>
                                    </p:set>
                                    <p:anim calcmode="lin" valueType="num">
                                      <p:cBhvr additive="base">
                                        <p:cTn id="11" dur="1000" fill="hold"/>
                                        <p:tgtEl>
                                          <p:spTgt spid="11"/>
                                        </p:tgtEl>
                                        <p:attrNameLst>
                                          <p:attrName>ppt_x</p:attrName>
                                        </p:attrNameLst>
                                      </p:cBhvr>
                                      <p:tavLst>
                                        <p:tav tm="0">
                                          <p:val>
                                            <p:strVal val="1+#ppt_w/2"/>
                                          </p:val>
                                        </p:tav>
                                        <p:tav tm="100000">
                                          <p:val>
                                            <p:strVal val="#ppt_x"/>
                                          </p:val>
                                        </p:tav>
                                      </p:tavLst>
                                    </p:anim>
                                    <p:anim calcmode="lin" valueType="num">
                                      <p:cBhvr additive="base">
                                        <p:cTn id="12" dur="1000" fill="hold"/>
                                        <p:tgtEl>
                                          <p:spTgt spid="11"/>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500"/>
                                  </p:stCondLst>
                                  <p:childTnLst>
                                    <p:set>
                                      <p:cBhvr>
                                        <p:cTn id="14" dur="1" fill="hold">
                                          <p:stCondLst>
                                            <p:cond delay="0"/>
                                          </p:stCondLst>
                                        </p:cTn>
                                        <p:tgtEl>
                                          <p:spTgt spid="10"/>
                                        </p:tgtEl>
                                        <p:attrNameLst>
                                          <p:attrName>style.visibility</p:attrName>
                                        </p:attrNameLst>
                                      </p:cBhvr>
                                      <p:to>
                                        <p:strVal val="visible"/>
                                      </p:to>
                                    </p:set>
                                    <p:anim calcmode="lin" valueType="num">
                                      <p:cBhvr additive="base">
                                        <p:cTn id="15" dur="1000" fill="hold"/>
                                        <p:tgtEl>
                                          <p:spTgt spid="10"/>
                                        </p:tgtEl>
                                        <p:attrNameLst>
                                          <p:attrName>ppt_x</p:attrName>
                                        </p:attrNameLst>
                                      </p:cBhvr>
                                      <p:tavLst>
                                        <p:tav tm="0">
                                          <p:val>
                                            <p:strVal val="1+#ppt_w/2"/>
                                          </p:val>
                                        </p:tav>
                                        <p:tav tm="100000">
                                          <p:val>
                                            <p:strVal val="#ppt_x"/>
                                          </p:val>
                                        </p:tav>
                                      </p:tavLst>
                                    </p:anim>
                                    <p:anim calcmode="lin" valueType="num">
                                      <p:cBhvr additive="base">
                                        <p:cTn id="16" dur="1000" fill="hold"/>
                                        <p:tgtEl>
                                          <p:spTgt spid="10"/>
                                        </p:tgtEl>
                                        <p:attrNameLst>
                                          <p:attrName>ppt_y</p:attrName>
                                        </p:attrNameLst>
                                      </p:cBhvr>
                                      <p:tavLst>
                                        <p:tav tm="0">
                                          <p:val>
                                            <p:strVal val="#ppt_y"/>
                                          </p:val>
                                        </p:tav>
                                        <p:tav tm="100000">
                                          <p:val>
                                            <p:strVal val="#ppt_y"/>
                                          </p:val>
                                        </p:tav>
                                      </p:tavLst>
                                    </p:anim>
                                  </p:childTnLst>
                                </p:cTn>
                              </p:par>
                            </p:childTnLst>
                          </p:cTn>
                        </p:par>
                        <p:par>
                          <p:cTn id="17" fill="hold">
                            <p:stCondLst>
                              <p:cond delay="1500"/>
                            </p:stCondLst>
                            <p:childTnLst>
                              <p:par>
                                <p:cTn id="18" presetID="2" presetClass="entr" presetSubtype="8" fill="hold" nodeType="afterEffect">
                                  <p:stCondLst>
                                    <p:cond delay="0"/>
                                  </p:stCondLst>
                                  <p:childTnLst>
                                    <p:set>
                                      <p:cBhvr>
                                        <p:cTn id="19" dur="1" fill="hold">
                                          <p:stCondLst>
                                            <p:cond delay="0"/>
                                          </p:stCondLst>
                                        </p:cTn>
                                        <p:tgtEl>
                                          <p:spTgt spid="2"/>
                                        </p:tgtEl>
                                        <p:attrNameLst>
                                          <p:attrName>style.visibility</p:attrName>
                                        </p:attrNameLst>
                                      </p:cBhvr>
                                      <p:to>
                                        <p:strVal val="visible"/>
                                      </p:to>
                                    </p:set>
                                    <p:anim calcmode="lin" valueType="num">
                                      <p:cBhvr additive="base">
                                        <p:cTn id="20" dur="500" fill="hold"/>
                                        <p:tgtEl>
                                          <p:spTgt spid="2"/>
                                        </p:tgtEl>
                                        <p:attrNameLst>
                                          <p:attrName>ppt_x</p:attrName>
                                        </p:attrNameLst>
                                      </p:cBhvr>
                                      <p:tavLst>
                                        <p:tav tm="0">
                                          <p:val>
                                            <p:strVal val="0-#ppt_w/2"/>
                                          </p:val>
                                        </p:tav>
                                        <p:tav tm="100000">
                                          <p:val>
                                            <p:strVal val="#ppt_x"/>
                                          </p:val>
                                        </p:tav>
                                      </p:tavLst>
                                    </p:anim>
                                    <p:anim calcmode="lin" valueType="num">
                                      <p:cBhvr additive="base">
                                        <p:cTn id="21" dur="50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p:bldP spid="11" grpId="0"/>
    </p:bldLst>
  </p:timing>
</p:sld>
</file>

<file path=ppt/slides/slide2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587166A4-6E95-63B2-0513-48B6EE43F7A7}"/>
              </a:ext>
            </a:extLst>
          </p:cNvPr>
          <p:cNvSpPr>
            <a:spLocks noGrp="1"/>
          </p:cNvSpPr>
          <p:nvPr>
            <p:ph type="sldNum" sz="quarter" idx="10"/>
          </p:nvPr>
        </p:nvSpPr>
        <p:spPr/>
        <p:txBody>
          <a:bodyPr/>
          <a:lstStyle/>
          <a:p>
            <a:fld id="{A04BEB4F-8CE1-4F18-986F-6CE0A0BE9470}" type="slidenum">
              <a:rPr lang="de-DE" smtClean="0"/>
              <a:t>21</a:t>
            </a:fld>
            <a:endParaRPr lang="de-DE"/>
          </a:p>
        </p:txBody>
      </p:sp>
      <p:sp>
        <p:nvSpPr>
          <p:cNvPr id="9" name="Titel 3">
            <a:extLst>
              <a:ext uri="{FF2B5EF4-FFF2-40B4-BE49-F238E27FC236}">
                <a16:creationId xmlns:a16="http://schemas.microsoft.com/office/drawing/2014/main" id="{FB109405-7FC6-5F27-06F4-7DAE42F15714}"/>
              </a:ext>
            </a:extLst>
          </p:cNvPr>
          <p:cNvSpPr txBox="1">
            <a:spLocks/>
          </p:cNvSpPr>
          <p:nvPr/>
        </p:nvSpPr>
        <p:spPr bwMode="auto">
          <a:xfrm>
            <a:off x="815952" y="733402"/>
            <a:ext cx="10560096" cy="767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normAutofit/>
          </a:bodyPr>
          <a:lstStyle>
            <a:lvl1pPr algn="l" defTabSz="914400" rtl="0" eaLnBrk="1" latinLnBrk="0" hangingPunct="1">
              <a:lnSpc>
                <a:spcPct val="100000"/>
              </a:lnSpc>
              <a:spcBef>
                <a:spcPct val="0"/>
              </a:spcBef>
              <a:buNone/>
              <a:defRPr sz="2800" kern="1200">
                <a:solidFill>
                  <a:schemeClr val="tx2"/>
                </a:solidFill>
                <a:latin typeface="+mj-lt"/>
                <a:ea typeface="+mj-ea"/>
                <a:cs typeface="+mj-cs"/>
              </a:defRPr>
            </a:lvl1pPr>
          </a:lstStyle>
          <a:p>
            <a:pPr algn="r" rtl="1"/>
            <a:r>
              <a:rPr lang="he-IL" b="1" dirty="0">
                <a:effectLst>
                  <a:outerShdw blurRad="38100" dist="38100" dir="2700000" algn="tl">
                    <a:srgbClr val="000000">
                      <a:alpha val="43137"/>
                    </a:srgbClr>
                  </a:outerShdw>
                </a:effectLst>
                <a:latin typeface="Calibri" panose="020F0502020204030204" pitchFamily="34" charset="0"/>
                <a:ea typeface="Calibri" panose="020F0502020204030204" pitchFamily="34" charset="0"/>
                <a:cs typeface="Calibri" panose="020F0502020204030204" pitchFamily="34" charset="0"/>
              </a:rPr>
              <a:t>תובלה ימית</a:t>
            </a:r>
            <a:endParaRPr lang="de-DE" dirty="0">
              <a:effectLst>
                <a:outerShdw blurRad="38100" dist="38100" dir="2700000" algn="tl">
                  <a:srgbClr val="000000">
                    <a:alpha val="43137"/>
                  </a:srgbClr>
                </a:outerShdw>
              </a:effectLst>
              <a:latin typeface="Calibri" panose="020F0502020204030204" pitchFamily="34" charset="0"/>
              <a:ea typeface="Calibri" panose="020F0502020204030204" pitchFamily="34" charset="0"/>
              <a:cs typeface="Calibri" panose="020F0502020204030204" pitchFamily="34" charset="0"/>
            </a:endParaRPr>
          </a:p>
        </p:txBody>
      </p:sp>
      <p:sp>
        <p:nvSpPr>
          <p:cNvPr id="10" name="Textplatzhalter 4">
            <a:extLst>
              <a:ext uri="{FF2B5EF4-FFF2-40B4-BE49-F238E27FC236}">
                <a16:creationId xmlns:a16="http://schemas.microsoft.com/office/drawing/2014/main" id="{0BD74C70-D675-C1AB-81E2-3143E09B37E9}"/>
              </a:ext>
            </a:extLst>
          </p:cNvPr>
          <p:cNvSpPr txBox="1">
            <a:spLocks/>
          </p:cNvSpPr>
          <p:nvPr/>
        </p:nvSpPr>
        <p:spPr>
          <a:xfrm>
            <a:off x="6096000" y="2025445"/>
            <a:ext cx="4989997" cy="4268957"/>
          </a:xfrm>
          <a:prstGeom prst="rect">
            <a:avLst/>
          </a:prstGeom>
        </p:spPr>
        <p:txBody>
          <a:bodyPr vert="horz" lIns="0" tIns="0" rIns="0" bIns="0" rtlCol="0">
            <a:normAutofit/>
          </a:bodyPr>
          <a:lstStyle>
            <a:lvl1pPr marL="266700" marR="0" indent="-266700" algn="l" defTabSz="1644650" rtl="0" eaLnBrk="0" fontAlgn="base" latinLnBrk="0" hangingPunct="0">
              <a:lnSpc>
                <a:spcPct val="130000"/>
              </a:lnSpc>
              <a:spcBef>
                <a:spcPct val="0"/>
              </a:spcBef>
              <a:spcAft>
                <a:spcPts val="1200"/>
              </a:spcAft>
              <a:buClr>
                <a:srgbClr val="004C99"/>
              </a:buClr>
              <a:buSzPct val="120000"/>
              <a:buFontTx/>
              <a:buBlip>
                <a:blip r:embed="rId2"/>
              </a:buBlip>
              <a:defRPr sz="1800" kern="1200">
                <a:solidFill>
                  <a:schemeClr val="tx1"/>
                </a:solidFill>
                <a:latin typeface="+mn-lt"/>
                <a:ea typeface="+mn-ea"/>
                <a:cs typeface="+mn-cs"/>
              </a:defRPr>
            </a:lvl1pPr>
            <a:lvl2pPr marL="630238" marR="0" indent="-268288" algn="l" defTabSz="1644650" rtl="0" eaLnBrk="0" fontAlgn="base" latinLnBrk="0" hangingPunct="0">
              <a:lnSpc>
                <a:spcPct val="130000"/>
              </a:lnSpc>
              <a:spcBef>
                <a:spcPct val="0"/>
              </a:spcBef>
              <a:spcAft>
                <a:spcPts val="1200"/>
              </a:spcAft>
              <a:buClr>
                <a:srgbClr val="004C99"/>
              </a:buClr>
              <a:buSzPct val="120000"/>
              <a:buFontTx/>
              <a:buBlip>
                <a:blip r:embed="rId2"/>
              </a:buBlip>
              <a:defRPr sz="1800" kern="1200">
                <a:solidFill>
                  <a:schemeClr val="tx1"/>
                </a:solidFill>
                <a:latin typeface="+mn-lt"/>
                <a:ea typeface="+mn-ea"/>
                <a:cs typeface="+mn-cs"/>
              </a:defRPr>
            </a:lvl2pPr>
            <a:lvl3pPr marL="990600" marR="0" indent="-274638" algn="l" defTabSz="1644650" rtl="0" eaLnBrk="0" fontAlgn="base" latinLnBrk="0" hangingPunct="0">
              <a:lnSpc>
                <a:spcPct val="130000"/>
              </a:lnSpc>
              <a:spcBef>
                <a:spcPct val="0"/>
              </a:spcBef>
              <a:spcAft>
                <a:spcPts val="1200"/>
              </a:spcAft>
              <a:buClr>
                <a:srgbClr val="004C99"/>
              </a:buClr>
              <a:buSzPct val="120000"/>
              <a:buFontTx/>
              <a:buBlip>
                <a:blip r:embed="rId2"/>
              </a:buBlip>
              <a:defRPr sz="1800" kern="1200">
                <a:solidFill>
                  <a:schemeClr val="tx1"/>
                </a:solidFill>
                <a:latin typeface="+mn-lt"/>
                <a:ea typeface="+mn-ea"/>
                <a:cs typeface="+mn-cs"/>
              </a:defRPr>
            </a:lvl3pPr>
            <a:lvl4pPr marL="1343025" marR="0" indent="-263525" algn="l" defTabSz="1644650" rtl="0" eaLnBrk="0" fontAlgn="base" latinLnBrk="0" hangingPunct="0">
              <a:lnSpc>
                <a:spcPct val="130000"/>
              </a:lnSpc>
              <a:spcBef>
                <a:spcPct val="0"/>
              </a:spcBef>
              <a:spcAft>
                <a:spcPts val="1200"/>
              </a:spcAft>
              <a:buClr>
                <a:srgbClr val="004C99"/>
              </a:buClr>
              <a:buSzPct val="120000"/>
              <a:buFontTx/>
              <a:buBlip>
                <a:blip r:embed="rId2"/>
              </a:buBlip>
              <a:defRPr sz="1800" kern="1200">
                <a:solidFill>
                  <a:schemeClr val="tx1"/>
                </a:solidFill>
                <a:latin typeface="+mn-lt"/>
                <a:ea typeface="+mn-ea"/>
                <a:cs typeface="+mn-cs"/>
              </a:defRPr>
            </a:lvl4pPr>
            <a:lvl5pPr marL="1704975" marR="0" indent="-271463" algn="l" defTabSz="1644650" rtl="0" eaLnBrk="0" fontAlgn="base" latinLnBrk="0" hangingPunct="0">
              <a:lnSpc>
                <a:spcPct val="130000"/>
              </a:lnSpc>
              <a:spcBef>
                <a:spcPct val="0"/>
              </a:spcBef>
              <a:spcAft>
                <a:spcPts val="1200"/>
              </a:spcAft>
              <a:buClr>
                <a:srgbClr val="004C99"/>
              </a:buClr>
              <a:buSzPct val="120000"/>
              <a:buFontTx/>
              <a:buBlip>
                <a:blip r:embed="rId2"/>
              </a:buBlip>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rtl="1"/>
            <a:r>
              <a:rPr lang="he-IL" sz="1500" dirty="0">
                <a:latin typeface="Calibri" panose="020F0502020204030204" pitchFamily="34" charset="0"/>
                <a:ea typeface="Calibri" panose="020F0502020204030204" pitchFamily="34" charset="0"/>
                <a:cs typeface="Calibri" panose="020F0502020204030204" pitchFamily="34" charset="0"/>
              </a:rPr>
              <a:t>שיתופי פעולה הדוקים עם כל חברות השילוח המובילות ובמחירים תחרותיים</a:t>
            </a:r>
          </a:p>
          <a:p>
            <a:pPr algn="r" rtl="1"/>
            <a:r>
              <a:rPr lang="he-IL" sz="1500" dirty="0">
                <a:latin typeface="Calibri" panose="020F0502020204030204" pitchFamily="34" charset="0"/>
                <a:ea typeface="Calibri" panose="020F0502020204030204" pitchFamily="34" charset="0"/>
                <a:cs typeface="Calibri" panose="020F0502020204030204" pitchFamily="34" charset="0"/>
              </a:rPr>
              <a:t>זמינות מוכחת לטעינה על אוניות</a:t>
            </a:r>
          </a:p>
          <a:p>
            <a:pPr algn="r" rtl="1"/>
            <a:r>
              <a:rPr lang="he-IL" sz="1500" dirty="0">
                <a:latin typeface="Calibri" panose="020F0502020204030204" pitchFamily="34" charset="0"/>
                <a:ea typeface="Calibri" panose="020F0502020204030204" pitchFamily="34" charset="0"/>
                <a:cs typeface="Calibri" panose="020F0502020204030204" pitchFamily="34" charset="0"/>
              </a:rPr>
              <a:t>שירות מלא באמצעות פתרונות מולטי-מודאליים לפני ואחרי הובלה</a:t>
            </a:r>
          </a:p>
          <a:p>
            <a:pPr algn="r" rtl="1"/>
            <a:r>
              <a:rPr lang="he-IL" sz="1500" dirty="0">
                <a:latin typeface="Calibri" panose="020F0502020204030204" pitchFamily="34" charset="0"/>
                <a:ea typeface="Calibri" panose="020F0502020204030204" pitchFamily="34" charset="0"/>
                <a:cs typeface="Calibri" panose="020F0502020204030204" pitchFamily="34" charset="0"/>
              </a:rPr>
              <a:t>מעקב משלוחים בזמן אמת</a:t>
            </a:r>
          </a:p>
          <a:p>
            <a:pPr algn="r" rtl="1"/>
            <a:r>
              <a:rPr lang="he-IL" sz="1500" dirty="0">
                <a:latin typeface="Calibri" panose="020F0502020204030204" pitchFamily="34" charset="0"/>
                <a:ea typeface="Calibri" panose="020F0502020204030204" pitchFamily="34" charset="0"/>
                <a:cs typeface="Calibri" panose="020F0502020204030204" pitchFamily="34" charset="0"/>
              </a:rPr>
              <a:t>טיפול במשלוחים מכול הסוגים: מבוקרי טמפרטורה, חריגים בגודלם, וחומרים מסוכנים בצורות </a:t>
            </a:r>
            <a:r>
              <a:rPr lang="en-US" sz="1500" dirty="0">
                <a:latin typeface="Calibri" panose="020F0502020204030204" pitchFamily="34" charset="0"/>
                <a:ea typeface="Calibri" panose="020F0502020204030204" pitchFamily="34" charset="0"/>
                <a:cs typeface="Calibri" panose="020F0502020204030204" pitchFamily="34" charset="0"/>
              </a:rPr>
              <a:t>FCL</a:t>
            </a:r>
            <a:r>
              <a:rPr lang="he-IL" sz="1500" dirty="0">
                <a:latin typeface="Calibri" panose="020F0502020204030204" pitchFamily="34" charset="0"/>
                <a:ea typeface="Calibri" panose="020F0502020204030204" pitchFamily="34" charset="0"/>
                <a:cs typeface="Calibri" panose="020F0502020204030204" pitchFamily="34" charset="0"/>
              </a:rPr>
              <a:t>, </a:t>
            </a:r>
            <a:r>
              <a:rPr lang="en-US" sz="1500" dirty="0">
                <a:latin typeface="Calibri" panose="020F0502020204030204" pitchFamily="34" charset="0"/>
                <a:ea typeface="Calibri" panose="020F0502020204030204" pitchFamily="34" charset="0"/>
                <a:cs typeface="Calibri" panose="020F0502020204030204" pitchFamily="34" charset="0"/>
              </a:rPr>
              <a:t>LCL</a:t>
            </a:r>
            <a:r>
              <a:rPr lang="he-IL" sz="1500" dirty="0">
                <a:latin typeface="Calibri" panose="020F0502020204030204" pitchFamily="34" charset="0"/>
                <a:ea typeface="Calibri" panose="020F0502020204030204" pitchFamily="34" charset="0"/>
                <a:cs typeface="Calibri" panose="020F0502020204030204" pitchFamily="34" charset="0"/>
              </a:rPr>
              <a:t>, </a:t>
            </a:r>
            <a:r>
              <a:rPr lang="en-US" sz="1500" dirty="0" err="1">
                <a:latin typeface="Calibri" panose="020F0502020204030204" pitchFamily="34" charset="0"/>
                <a:ea typeface="Calibri" panose="020F0502020204030204" pitchFamily="34" charset="0"/>
                <a:cs typeface="Calibri" panose="020F0502020204030204" pitchFamily="34" charset="0"/>
              </a:rPr>
              <a:t>RoRo</a:t>
            </a:r>
            <a:r>
              <a:rPr lang="he-IL" sz="1500" dirty="0">
                <a:latin typeface="Calibri" panose="020F0502020204030204" pitchFamily="34" charset="0"/>
                <a:ea typeface="Calibri" panose="020F0502020204030204" pitchFamily="34" charset="0"/>
                <a:cs typeface="Calibri" panose="020F0502020204030204" pitchFamily="34" charset="0"/>
              </a:rPr>
              <a:t> וצובר. </a:t>
            </a:r>
          </a:p>
          <a:p>
            <a:pPr algn="r" rtl="1"/>
            <a:r>
              <a:rPr lang="he-IL" sz="1500" dirty="0">
                <a:latin typeface="Calibri" panose="020F0502020204030204" pitchFamily="34" charset="0"/>
                <a:ea typeface="Calibri" panose="020F0502020204030204" pitchFamily="34" charset="0"/>
                <a:cs typeface="Calibri" panose="020F0502020204030204" pitchFamily="34" charset="0"/>
              </a:rPr>
              <a:t>הסטנדרט הגבוה ביותר ביישום תקנות </a:t>
            </a:r>
            <a:r>
              <a:rPr lang="en-US" sz="1500" dirty="0" err="1">
                <a:latin typeface="Calibri" panose="020F0502020204030204" pitchFamily="34" charset="0"/>
                <a:ea typeface="Calibri" panose="020F0502020204030204" pitchFamily="34" charset="0"/>
                <a:cs typeface="Calibri" panose="020F0502020204030204" pitchFamily="34" charset="0"/>
              </a:rPr>
              <a:t>Solas</a:t>
            </a:r>
            <a:r>
              <a:rPr lang="en-US" sz="1500" dirty="0">
                <a:latin typeface="Calibri" panose="020F0502020204030204" pitchFamily="34" charset="0"/>
                <a:ea typeface="Calibri" panose="020F0502020204030204" pitchFamily="34" charset="0"/>
                <a:cs typeface="Calibri" panose="020F0502020204030204" pitchFamily="34" charset="0"/>
              </a:rPr>
              <a:t> (VGM)</a:t>
            </a:r>
            <a:endParaRPr lang="he-IL" sz="1500" dirty="0">
              <a:latin typeface="Calibri" panose="020F0502020204030204" pitchFamily="34" charset="0"/>
              <a:ea typeface="Calibri" panose="020F0502020204030204" pitchFamily="34" charset="0"/>
              <a:cs typeface="Calibri" panose="020F0502020204030204" pitchFamily="34" charset="0"/>
            </a:endParaRPr>
          </a:p>
          <a:p>
            <a:pPr algn="r" rtl="1"/>
            <a:r>
              <a:rPr lang="he-IL" sz="1500" dirty="0">
                <a:latin typeface="Calibri" panose="020F0502020204030204" pitchFamily="34" charset="0"/>
                <a:ea typeface="Calibri" panose="020F0502020204030204" pitchFamily="34" charset="0"/>
                <a:cs typeface="Calibri" panose="020F0502020204030204" pitchFamily="34" charset="0"/>
              </a:rPr>
              <a:t>שותפות בחברת </a:t>
            </a:r>
            <a:r>
              <a:rPr lang="en-US" sz="1500" dirty="0">
                <a:latin typeface="Calibri" panose="020F0502020204030204" pitchFamily="34" charset="0"/>
                <a:ea typeface="Calibri" panose="020F0502020204030204" pitchFamily="34" charset="0"/>
                <a:cs typeface="Calibri" panose="020F0502020204030204" pitchFamily="34" charset="0"/>
              </a:rPr>
              <a:t>OCI</a:t>
            </a:r>
            <a:r>
              <a:rPr lang="he-IL" sz="1500" dirty="0">
                <a:latin typeface="Calibri" panose="020F0502020204030204" pitchFamily="34" charset="0"/>
                <a:ea typeface="Calibri" panose="020F0502020204030204" pitchFamily="34" charset="0"/>
                <a:cs typeface="Calibri" panose="020F0502020204030204" pitchFamily="34" charset="0"/>
              </a:rPr>
              <a:t> המתמחה </a:t>
            </a:r>
            <a:r>
              <a:rPr lang="he-IL" sz="1500" dirty="0" err="1">
                <a:latin typeface="Calibri" panose="020F0502020204030204" pitchFamily="34" charset="0"/>
                <a:ea typeface="Calibri" panose="020F0502020204030204" pitchFamily="34" charset="0"/>
                <a:cs typeface="Calibri" panose="020F0502020204030204" pitchFamily="34" charset="0"/>
              </a:rPr>
              <a:t>בקונסולידציות</a:t>
            </a:r>
            <a:r>
              <a:rPr lang="he-IL" sz="1500" dirty="0">
                <a:latin typeface="Calibri" panose="020F0502020204030204" pitchFamily="34" charset="0"/>
                <a:ea typeface="Calibri" panose="020F0502020204030204" pitchFamily="34" charset="0"/>
                <a:cs typeface="Calibri" panose="020F0502020204030204" pitchFamily="34" charset="0"/>
              </a:rPr>
              <a:t> ימיות</a:t>
            </a:r>
          </a:p>
        </p:txBody>
      </p:sp>
      <p:sp>
        <p:nvSpPr>
          <p:cNvPr id="11" name="Titel 3">
            <a:extLst>
              <a:ext uri="{FF2B5EF4-FFF2-40B4-BE49-F238E27FC236}">
                <a16:creationId xmlns:a16="http://schemas.microsoft.com/office/drawing/2014/main" id="{BFEA0DEE-3A4F-A132-0CA6-2C9FAD2065E8}"/>
              </a:ext>
            </a:extLst>
          </p:cNvPr>
          <p:cNvSpPr txBox="1"/>
          <p:nvPr/>
        </p:nvSpPr>
        <p:spPr bwMode="auto">
          <a:xfrm>
            <a:off x="815951" y="1435910"/>
            <a:ext cx="10560096" cy="314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normAutofit/>
          </a:bodyPr>
          <a:lstStyle>
            <a:lvl1pPr algn="l" defTabSz="914400" rtl="0" eaLnBrk="1" latinLnBrk="0" hangingPunct="1">
              <a:lnSpc>
                <a:spcPct val="100000"/>
              </a:lnSpc>
              <a:spcBef>
                <a:spcPct val="0"/>
              </a:spcBef>
              <a:buNone/>
              <a:defRPr sz="2800" kern="1200">
                <a:solidFill>
                  <a:schemeClr val="tx2"/>
                </a:solidFill>
                <a:latin typeface="+mj-lt"/>
                <a:ea typeface="+mj-ea"/>
                <a:cs typeface="+mj-cs"/>
              </a:defRPr>
            </a:lvl1pPr>
          </a:lstStyle>
          <a:p>
            <a:pPr algn="r" rtl="1"/>
            <a:r>
              <a:rPr lang="he-IL" sz="1800" b="1" dirty="0" err="1">
                <a:latin typeface="Calibri" panose="020F0502020204030204" pitchFamily="34" charset="0"/>
                <a:ea typeface="Calibri" panose="020F0502020204030204" pitchFamily="34" charset="0"/>
                <a:cs typeface="Calibri" panose="020F0502020204030204" pitchFamily="34" charset="0"/>
              </a:rPr>
              <a:t>פלטרנספורט</a:t>
            </a:r>
            <a:r>
              <a:rPr lang="he-IL" sz="1800" b="1" dirty="0">
                <a:latin typeface="Calibri" panose="020F0502020204030204" pitchFamily="34" charset="0"/>
                <a:ea typeface="Calibri" panose="020F0502020204030204" pitchFamily="34" charset="0"/>
                <a:cs typeface="Calibri" panose="020F0502020204030204" pitchFamily="34" charset="0"/>
              </a:rPr>
              <a:t> – באוויר, בים וביבשה</a:t>
            </a:r>
            <a:endParaRPr lang="de-DE" sz="1800" b="1" dirty="0">
              <a:latin typeface="Calibri" panose="020F0502020204030204" pitchFamily="34" charset="0"/>
              <a:ea typeface="Calibri" panose="020F0502020204030204" pitchFamily="34" charset="0"/>
              <a:cs typeface="Calibri" panose="020F0502020204030204" pitchFamily="34" charset="0"/>
            </a:endParaRPr>
          </a:p>
        </p:txBody>
      </p:sp>
      <p:pic>
        <p:nvPicPr>
          <p:cNvPr id="4" name="Grafik 16">
            <a:extLst>
              <a:ext uri="{FF2B5EF4-FFF2-40B4-BE49-F238E27FC236}">
                <a16:creationId xmlns:a16="http://schemas.microsoft.com/office/drawing/2014/main" id="{2079B24B-1E52-D1BB-9A50-9C9F1C838D2B}"/>
              </a:ext>
            </a:extLst>
          </p:cNvPr>
          <p:cNvPicPr>
            <a:picLocks noChangeAspect="1"/>
          </p:cNvPicPr>
          <p:nvPr/>
        </p:nvPicPr>
        <p:blipFill rotWithShape="1">
          <a:blip r:embed="rId3">
            <a:extLst>
              <a:ext uri="{28A0092B-C50C-407E-A947-70E740481C1C}">
                <a14:useLocalDpi xmlns:a14="http://schemas.microsoft.com/office/drawing/2010/main"/>
              </a:ext>
            </a:extLst>
          </a:blip>
          <a:srcRect t="2275" b="2275"/>
          <a:stretch/>
        </p:blipFill>
        <p:spPr>
          <a:xfrm>
            <a:off x="473841" y="1117270"/>
            <a:ext cx="5033194" cy="5003720"/>
          </a:xfrm>
          <a:prstGeom prst="flowChartConnector">
            <a:avLst/>
          </a:prstGeom>
        </p:spPr>
      </p:pic>
    </p:spTree>
    <p:extLst>
      <p:ext uri="{BB962C8B-B14F-4D97-AF65-F5344CB8AC3E}">
        <p14:creationId xmlns:p14="http://schemas.microsoft.com/office/powerpoint/2010/main" val="69112389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1000" fill="hold"/>
                                        <p:tgtEl>
                                          <p:spTgt spid="9"/>
                                        </p:tgtEl>
                                        <p:attrNameLst>
                                          <p:attrName>ppt_x</p:attrName>
                                        </p:attrNameLst>
                                      </p:cBhvr>
                                      <p:tavLst>
                                        <p:tav tm="0">
                                          <p:val>
                                            <p:strVal val="1+#ppt_w/2"/>
                                          </p:val>
                                        </p:tav>
                                        <p:tav tm="100000">
                                          <p:val>
                                            <p:strVal val="#ppt_x"/>
                                          </p:val>
                                        </p:tav>
                                      </p:tavLst>
                                    </p:anim>
                                    <p:anim calcmode="lin" valueType="num">
                                      <p:cBhvr additive="base">
                                        <p:cTn id="8" dur="1000" fill="hold"/>
                                        <p:tgtEl>
                                          <p:spTgt spid="9"/>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11"/>
                                        </p:tgtEl>
                                        <p:attrNameLst>
                                          <p:attrName>style.visibility</p:attrName>
                                        </p:attrNameLst>
                                      </p:cBhvr>
                                      <p:to>
                                        <p:strVal val="visible"/>
                                      </p:to>
                                    </p:set>
                                    <p:anim calcmode="lin" valueType="num">
                                      <p:cBhvr additive="base">
                                        <p:cTn id="11" dur="1000" fill="hold"/>
                                        <p:tgtEl>
                                          <p:spTgt spid="11"/>
                                        </p:tgtEl>
                                        <p:attrNameLst>
                                          <p:attrName>ppt_x</p:attrName>
                                        </p:attrNameLst>
                                      </p:cBhvr>
                                      <p:tavLst>
                                        <p:tav tm="0">
                                          <p:val>
                                            <p:strVal val="1+#ppt_w/2"/>
                                          </p:val>
                                        </p:tav>
                                        <p:tav tm="100000">
                                          <p:val>
                                            <p:strVal val="#ppt_x"/>
                                          </p:val>
                                        </p:tav>
                                      </p:tavLst>
                                    </p:anim>
                                    <p:anim calcmode="lin" valueType="num">
                                      <p:cBhvr additive="base">
                                        <p:cTn id="12" dur="1000" fill="hold"/>
                                        <p:tgtEl>
                                          <p:spTgt spid="11"/>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500"/>
                                  </p:stCondLst>
                                  <p:childTnLst>
                                    <p:set>
                                      <p:cBhvr>
                                        <p:cTn id="14" dur="1" fill="hold">
                                          <p:stCondLst>
                                            <p:cond delay="0"/>
                                          </p:stCondLst>
                                        </p:cTn>
                                        <p:tgtEl>
                                          <p:spTgt spid="10"/>
                                        </p:tgtEl>
                                        <p:attrNameLst>
                                          <p:attrName>style.visibility</p:attrName>
                                        </p:attrNameLst>
                                      </p:cBhvr>
                                      <p:to>
                                        <p:strVal val="visible"/>
                                      </p:to>
                                    </p:set>
                                    <p:anim calcmode="lin" valueType="num">
                                      <p:cBhvr additive="base">
                                        <p:cTn id="15" dur="1000" fill="hold"/>
                                        <p:tgtEl>
                                          <p:spTgt spid="10"/>
                                        </p:tgtEl>
                                        <p:attrNameLst>
                                          <p:attrName>ppt_x</p:attrName>
                                        </p:attrNameLst>
                                      </p:cBhvr>
                                      <p:tavLst>
                                        <p:tav tm="0">
                                          <p:val>
                                            <p:strVal val="1+#ppt_w/2"/>
                                          </p:val>
                                        </p:tav>
                                        <p:tav tm="100000">
                                          <p:val>
                                            <p:strVal val="#ppt_x"/>
                                          </p:val>
                                        </p:tav>
                                      </p:tavLst>
                                    </p:anim>
                                    <p:anim calcmode="lin" valueType="num">
                                      <p:cBhvr additive="base">
                                        <p:cTn id="16" dur="1000" fill="hold"/>
                                        <p:tgtEl>
                                          <p:spTgt spid="10"/>
                                        </p:tgtEl>
                                        <p:attrNameLst>
                                          <p:attrName>ppt_y</p:attrName>
                                        </p:attrNameLst>
                                      </p:cBhvr>
                                      <p:tavLst>
                                        <p:tav tm="0">
                                          <p:val>
                                            <p:strVal val="#ppt_y"/>
                                          </p:val>
                                        </p:tav>
                                        <p:tav tm="100000">
                                          <p:val>
                                            <p:strVal val="#ppt_y"/>
                                          </p:val>
                                        </p:tav>
                                      </p:tavLst>
                                    </p:anim>
                                  </p:childTnLst>
                                </p:cTn>
                              </p:par>
                            </p:childTnLst>
                          </p:cTn>
                        </p:par>
                        <p:par>
                          <p:cTn id="17" fill="hold">
                            <p:stCondLst>
                              <p:cond delay="1500"/>
                            </p:stCondLst>
                            <p:childTnLst>
                              <p:par>
                                <p:cTn id="18" presetID="2" presetClass="entr" presetSubtype="8" fill="hold" nodeType="afterEffect">
                                  <p:stCondLst>
                                    <p:cond delay="0"/>
                                  </p:stCondLst>
                                  <p:childTnLst>
                                    <p:set>
                                      <p:cBhvr>
                                        <p:cTn id="19" dur="1" fill="hold">
                                          <p:stCondLst>
                                            <p:cond delay="0"/>
                                          </p:stCondLst>
                                        </p:cTn>
                                        <p:tgtEl>
                                          <p:spTgt spid="4"/>
                                        </p:tgtEl>
                                        <p:attrNameLst>
                                          <p:attrName>style.visibility</p:attrName>
                                        </p:attrNameLst>
                                      </p:cBhvr>
                                      <p:to>
                                        <p:strVal val="visible"/>
                                      </p:to>
                                    </p:set>
                                    <p:anim calcmode="lin" valueType="num">
                                      <p:cBhvr additive="base">
                                        <p:cTn id="20" dur="500" fill="hold"/>
                                        <p:tgtEl>
                                          <p:spTgt spid="4"/>
                                        </p:tgtEl>
                                        <p:attrNameLst>
                                          <p:attrName>ppt_x</p:attrName>
                                        </p:attrNameLst>
                                      </p:cBhvr>
                                      <p:tavLst>
                                        <p:tav tm="0">
                                          <p:val>
                                            <p:strVal val="0-#ppt_w/2"/>
                                          </p:val>
                                        </p:tav>
                                        <p:tav tm="100000">
                                          <p:val>
                                            <p:strVal val="#ppt_x"/>
                                          </p:val>
                                        </p:tav>
                                      </p:tavLst>
                                    </p:anim>
                                    <p:anim calcmode="lin" valueType="num">
                                      <p:cBhvr additive="base">
                                        <p:cTn id="21" dur="50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p:bldP spid="11" grpId="0"/>
    </p:bldLst>
  </p:timing>
</p:sld>
</file>

<file path=ppt/slides/slide2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587166A4-6E95-63B2-0513-48B6EE43F7A7}"/>
              </a:ext>
            </a:extLst>
          </p:cNvPr>
          <p:cNvSpPr>
            <a:spLocks noGrp="1"/>
          </p:cNvSpPr>
          <p:nvPr>
            <p:ph type="sldNum" sz="quarter" idx="10"/>
          </p:nvPr>
        </p:nvSpPr>
        <p:spPr/>
        <p:txBody>
          <a:bodyPr/>
          <a:lstStyle/>
          <a:p>
            <a:fld id="{A04BEB4F-8CE1-4F18-986F-6CE0A0BE9470}" type="slidenum">
              <a:rPr lang="de-DE" smtClean="0"/>
              <a:t>22</a:t>
            </a:fld>
            <a:endParaRPr lang="de-DE"/>
          </a:p>
        </p:txBody>
      </p:sp>
      <p:sp>
        <p:nvSpPr>
          <p:cNvPr id="9" name="Titel 3">
            <a:extLst>
              <a:ext uri="{FF2B5EF4-FFF2-40B4-BE49-F238E27FC236}">
                <a16:creationId xmlns:a16="http://schemas.microsoft.com/office/drawing/2014/main" id="{FB109405-7FC6-5F27-06F4-7DAE42F15714}"/>
              </a:ext>
            </a:extLst>
          </p:cNvPr>
          <p:cNvSpPr txBox="1">
            <a:spLocks/>
          </p:cNvSpPr>
          <p:nvPr/>
        </p:nvSpPr>
        <p:spPr bwMode="auto">
          <a:xfrm>
            <a:off x="815952" y="733402"/>
            <a:ext cx="10560096" cy="767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normAutofit/>
          </a:bodyPr>
          <a:lstStyle>
            <a:lvl1pPr algn="l" defTabSz="914400" rtl="0" eaLnBrk="1" latinLnBrk="0" hangingPunct="1">
              <a:lnSpc>
                <a:spcPct val="100000"/>
              </a:lnSpc>
              <a:spcBef>
                <a:spcPct val="0"/>
              </a:spcBef>
              <a:buNone/>
              <a:defRPr sz="2800" kern="1200">
                <a:solidFill>
                  <a:schemeClr val="tx2"/>
                </a:solidFill>
                <a:latin typeface="+mj-lt"/>
                <a:ea typeface="+mj-ea"/>
                <a:cs typeface="+mj-cs"/>
              </a:defRPr>
            </a:lvl1pPr>
          </a:lstStyle>
          <a:p>
            <a:pPr algn="r" rtl="1"/>
            <a:r>
              <a:rPr lang="he-IL" b="1" dirty="0">
                <a:effectLst>
                  <a:outerShdw blurRad="38100" dist="38100" dir="2700000" algn="tl">
                    <a:srgbClr val="000000">
                      <a:alpha val="43137"/>
                    </a:srgbClr>
                  </a:outerShdw>
                </a:effectLst>
                <a:latin typeface="Calibri" panose="020F0502020204030204" pitchFamily="34" charset="0"/>
                <a:ea typeface="Calibri" panose="020F0502020204030204" pitchFamily="34" charset="0"/>
                <a:cs typeface="Calibri" panose="020F0502020204030204" pitchFamily="34" charset="0"/>
              </a:rPr>
              <a:t>הובלה יבשתית</a:t>
            </a:r>
            <a:endParaRPr lang="de-DE" dirty="0">
              <a:effectLst>
                <a:outerShdw blurRad="38100" dist="38100" dir="2700000" algn="tl">
                  <a:srgbClr val="000000">
                    <a:alpha val="43137"/>
                  </a:srgbClr>
                </a:outerShdw>
              </a:effectLst>
              <a:latin typeface="Calibri" panose="020F0502020204030204" pitchFamily="34" charset="0"/>
              <a:ea typeface="Calibri" panose="020F0502020204030204" pitchFamily="34" charset="0"/>
              <a:cs typeface="Calibri" panose="020F0502020204030204" pitchFamily="34" charset="0"/>
            </a:endParaRPr>
          </a:p>
        </p:txBody>
      </p:sp>
      <p:sp>
        <p:nvSpPr>
          <p:cNvPr id="10" name="Textplatzhalter 4">
            <a:extLst>
              <a:ext uri="{FF2B5EF4-FFF2-40B4-BE49-F238E27FC236}">
                <a16:creationId xmlns:a16="http://schemas.microsoft.com/office/drawing/2014/main" id="{0BD74C70-D675-C1AB-81E2-3143E09B37E9}"/>
              </a:ext>
            </a:extLst>
          </p:cNvPr>
          <p:cNvSpPr txBox="1">
            <a:spLocks/>
          </p:cNvSpPr>
          <p:nvPr/>
        </p:nvSpPr>
        <p:spPr>
          <a:xfrm>
            <a:off x="6096000" y="2025445"/>
            <a:ext cx="4989997" cy="4268957"/>
          </a:xfrm>
          <a:prstGeom prst="rect">
            <a:avLst/>
          </a:prstGeom>
        </p:spPr>
        <p:txBody>
          <a:bodyPr vert="horz" lIns="0" tIns="0" rIns="0" bIns="0" rtlCol="0">
            <a:normAutofit/>
          </a:bodyPr>
          <a:lstStyle>
            <a:lvl1pPr marL="266700" marR="0" indent="-266700" algn="l" defTabSz="1644650" rtl="0" eaLnBrk="0" fontAlgn="base" latinLnBrk="0" hangingPunct="0">
              <a:lnSpc>
                <a:spcPct val="130000"/>
              </a:lnSpc>
              <a:spcBef>
                <a:spcPct val="0"/>
              </a:spcBef>
              <a:spcAft>
                <a:spcPts val="1200"/>
              </a:spcAft>
              <a:buClr>
                <a:srgbClr val="004C99"/>
              </a:buClr>
              <a:buSzPct val="120000"/>
              <a:buFontTx/>
              <a:buBlip>
                <a:blip r:embed="rId2"/>
              </a:buBlip>
              <a:defRPr sz="1800" kern="1200">
                <a:solidFill>
                  <a:schemeClr val="tx1"/>
                </a:solidFill>
                <a:latin typeface="+mn-lt"/>
                <a:ea typeface="+mn-ea"/>
                <a:cs typeface="+mn-cs"/>
              </a:defRPr>
            </a:lvl1pPr>
            <a:lvl2pPr marL="630238" marR="0" indent="-268288" algn="l" defTabSz="1644650" rtl="0" eaLnBrk="0" fontAlgn="base" latinLnBrk="0" hangingPunct="0">
              <a:lnSpc>
                <a:spcPct val="130000"/>
              </a:lnSpc>
              <a:spcBef>
                <a:spcPct val="0"/>
              </a:spcBef>
              <a:spcAft>
                <a:spcPts val="1200"/>
              </a:spcAft>
              <a:buClr>
                <a:srgbClr val="004C99"/>
              </a:buClr>
              <a:buSzPct val="120000"/>
              <a:buFontTx/>
              <a:buBlip>
                <a:blip r:embed="rId2"/>
              </a:buBlip>
              <a:defRPr sz="1800" kern="1200">
                <a:solidFill>
                  <a:schemeClr val="tx1"/>
                </a:solidFill>
                <a:latin typeface="+mn-lt"/>
                <a:ea typeface="+mn-ea"/>
                <a:cs typeface="+mn-cs"/>
              </a:defRPr>
            </a:lvl2pPr>
            <a:lvl3pPr marL="990600" marR="0" indent="-274638" algn="l" defTabSz="1644650" rtl="0" eaLnBrk="0" fontAlgn="base" latinLnBrk="0" hangingPunct="0">
              <a:lnSpc>
                <a:spcPct val="130000"/>
              </a:lnSpc>
              <a:spcBef>
                <a:spcPct val="0"/>
              </a:spcBef>
              <a:spcAft>
                <a:spcPts val="1200"/>
              </a:spcAft>
              <a:buClr>
                <a:srgbClr val="004C99"/>
              </a:buClr>
              <a:buSzPct val="120000"/>
              <a:buFontTx/>
              <a:buBlip>
                <a:blip r:embed="rId2"/>
              </a:buBlip>
              <a:defRPr sz="1800" kern="1200">
                <a:solidFill>
                  <a:schemeClr val="tx1"/>
                </a:solidFill>
                <a:latin typeface="+mn-lt"/>
                <a:ea typeface="+mn-ea"/>
                <a:cs typeface="+mn-cs"/>
              </a:defRPr>
            </a:lvl3pPr>
            <a:lvl4pPr marL="1343025" marR="0" indent="-263525" algn="l" defTabSz="1644650" rtl="0" eaLnBrk="0" fontAlgn="base" latinLnBrk="0" hangingPunct="0">
              <a:lnSpc>
                <a:spcPct val="130000"/>
              </a:lnSpc>
              <a:spcBef>
                <a:spcPct val="0"/>
              </a:spcBef>
              <a:spcAft>
                <a:spcPts val="1200"/>
              </a:spcAft>
              <a:buClr>
                <a:srgbClr val="004C99"/>
              </a:buClr>
              <a:buSzPct val="120000"/>
              <a:buFontTx/>
              <a:buBlip>
                <a:blip r:embed="rId2"/>
              </a:buBlip>
              <a:defRPr sz="1800" kern="1200">
                <a:solidFill>
                  <a:schemeClr val="tx1"/>
                </a:solidFill>
                <a:latin typeface="+mn-lt"/>
                <a:ea typeface="+mn-ea"/>
                <a:cs typeface="+mn-cs"/>
              </a:defRPr>
            </a:lvl4pPr>
            <a:lvl5pPr marL="1704975" marR="0" indent="-271463" algn="l" defTabSz="1644650" rtl="0" eaLnBrk="0" fontAlgn="base" latinLnBrk="0" hangingPunct="0">
              <a:lnSpc>
                <a:spcPct val="130000"/>
              </a:lnSpc>
              <a:spcBef>
                <a:spcPct val="0"/>
              </a:spcBef>
              <a:spcAft>
                <a:spcPts val="1200"/>
              </a:spcAft>
              <a:buClr>
                <a:srgbClr val="004C99"/>
              </a:buClr>
              <a:buSzPct val="120000"/>
              <a:buFontTx/>
              <a:buBlip>
                <a:blip r:embed="rId2"/>
              </a:buBlip>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rtl="1"/>
            <a:r>
              <a:rPr lang="he-IL" sz="1500" dirty="0">
                <a:latin typeface="Calibri" panose="020F0502020204030204" pitchFamily="34" charset="0"/>
                <a:ea typeface="Calibri" panose="020F0502020204030204" pitchFamily="34" charset="0"/>
                <a:cs typeface="Calibri" panose="020F0502020204030204" pitchFamily="34" charset="0"/>
              </a:rPr>
              <a:t>שירותי הובלה מן הנמלים הימיים, האוויריים והגבולות היבשתיים של מדינת ישראל ומחוצה לה, שירותי הובלה פנים ארציים וקווי הפצה, שרותי שינוע "אקספרס" </a:t>
            </a:r>
            <a:r>
              <a:rPr lang="he-IL" sz="1500" dirty="0" err="1">
                <a:latin typeface="Calibri" panose="020F0502020204030204" pitchFamily="34" charset="0"/>
                <a:ea typeface="Calibri" panose="020F0502020204030204" pitchFamily="34" charset="0"/>
                <a:cs typeface="Calibri" panose="020F0502020204030204" pitchFamily="34" charset="0"/>
              </a:rPr>
              <a:t>וכו</a:t>
            </a:r>
            <a:r>
              <a:rPr lang="he-IL" sz="1500" dirty="0">
                <a:latin typeface="Calibri" panose="020F0502020204030204" pitchFamily="34" charset="0"/>
                <a:ea typeface="Calibri" panose="020F0502020204030204" pitchFamily="34" charset="0"/>
                <a:cs typeface="Calibri" panose="020F0502020204030204" pitchFamily="34" charset="0"/>
              </a:rPr>
              <a:t>'. שירותי הובלה פנים ארציים וקווי הפצה </a:t>
            </a:r>
          </a:p>
          <a:p>
            <a:pPr algn="r" rtl="1"/>
            <a:r>
              <a:rPr lang="he-IL" sz="1500" dirty="0">
                <a:latin typeface="Calibri" panose="020F0502020204030204" pitchFamily="34" charset="0"/>
                <a:ea typeface="Calibri" panose="020F0502020204030204" pitchFamily="34" charset="0"/>
                <a:cs typeface="Calibri" panose="020F0502020204030204" pitchFamily="34" charset="0"/>
              </a:rPr>
              <a:t>הסכמים גלובליים עם חברות תובלה יבשתית.</a:t>
            </a:r>
          </a:p>
          <a:p>
            <a:pPr algn="r" rtl="1"/>
            <a:r>
              <a:rPr lang="he-IL" sz="1500" dirty="0">
                <a:latin typeface="Calibri" panose="020F0502020204030204" pitchFamily="34" charset="0"/>
                <a:ea typeface="Calibri" panose="020F0502020204030204" pitchFamily="34" charset="0"/>
                <a:cs typeface="Calibri" panose="020F0502020204030204" pitchFamily="34" charset="0"/>
              </a:rPr>
              <a:t>הובלה מותאמת לכל צורך: משלוחים רגילים, משלוחים מבוקרי טמפרטורה,  משלוחים חריגים בגודלם, שירותי מנוף, "</a:t>
            </a:r>
            <a:r>
              <a:rPr lang="he-IL" sz="1500" dirty="0" err="1">
                <a:latin typeface="Calibri" panose="020F0502020204030204" pitchFamily="34" charset="0"/>
                <a:ea typeface="Calibri" panose="020F0502020204030204" pitchFamily="34" charset="0"/>
                <a:cs typeface="Calibri" panose="020F0502020204030204" pitchFamily="34" charset="0"/>
              </a:rPr>
              <a:t>מכולנוע</a:t>
            </a:r>
            <a:r>
              <a:rPr lang="he-IL" sz="1500" dirty="0">
                <a:latin typeface="Calibri" panose="020F0502020204030204" pitchFamily="34" charset="0"/>
                <a:ea typeface="Calibri" panose="020F0502020204030204" pitchFamily="34" charset="0"/>
                <a:cs typeface="Calibri" panose="020F0502020204030204" pitchFamily="34" charset="0"/>
              </a:rPr>
              <a:t>" וחומרים.</a:t>
            </a:r>
          </a:p>
        </p:txBody>
      </p:sp>
      <p:sp>
        <p:nvSpPr>
          <p:cNvPr id="11" name="Titel 3">
            <a:extLst>
              <a:ext uri="{FF2B5EF4-FFF2-40B4-BE49-F238E27FC236}">
                <a16:creationId xmlns:a16="http://schemas.microsoft.com/office/drawing/2014/main" id="{BFEA0DEE-3A4F-A132-0CA6-2C9FAD2065E8}"/>
              </a:ext>
            </a:extLst>
          </p:cNvPr>
          <p:cNvSpPr txBox="1"/>
          <p:nvPr/>
        </p:nvSpPr>
        <p:spPr bwMode="auto">
          <a:xfrm>
            <a:off x="815951" y="1435910"/>
            <a:ext cx="10560096" cy="314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normAutofit/>
          </a:bodyPr>
          <a:lstStyle>
            <a:lvl1pPr algn="l" defTabSz="914400" rtl="0" eaLnBrk="1" latinLnBrk="0" hangingPunct="1">
              <a:lnSpc>
                <a:spcPct val="100000"/>
              </a:lnSpc>
              <a:spcBef>
                <a:spcPct val="0"/>
              </a:spcBef>
              <a:buNone/>
              <a:defRPr sz="2800" kern="1200">
                <a:solidFill>
                  <a:schemeClr val="tx2"/>
                </a:solidFill>
                <a:latin typeface="+mj-lt"/>
                <a:ea typeface="+mj-ea"/>
                <a:cs typeface="+mj-cs"/>
              </a:defRPr>
            </a:lvl1pPr>
          </a:lstStyle>
          <a:p>
            <a:pPr algn="r" rtl="1"/>
            <a:r>
              <a:rPr lang="he-IL" sz="1800" b="1" dirty="0" err="1">
                <a:latin typeface="Calibri" panose="020F0502020204030204" pitchFamily="34" charset="0"/>
                <a:ea typeface="Calibri" panose="020F0502020204030204" pitchFamily="34" charset="0"/>
                <a:cs typeface="Calibri" panose="020F0502020204030204" pitchFamily="34" charset="0"/>
              </a:rPr>
              <a:t>פלטרנספורט</a:t>
            </a:r>
            <a:r>
              <a:rPr lang="he-IL" sz="1800" b="1" dirty="0">
                <a:latin typeface="Calibri" panose="020F0502020204030204" pitchFamily="34" charset="0"/>
                <a:ea typeface="Calibri" panose="020F0502020204030204" pitchFamily="34" charset="0"/>
                <a:cs typeface="Calibri" panose="020F0502020204030204" pitchFamily="34" charset="0"/>
              </a:rPr>
              <a:t> – באוויר, בים וביבשה</a:t>
            </a:r>
            <a:endParaRPr lang="de-DE" sz="1800" b="1" dirty="0">
              <a:latin typeface="Calibri" panose="020F0502020204030204" pitchFamily="34" charset="0"/>
              <a:ea typeface="Calibri" panose="020F0502020204030204" pitchFamily="34" charset="0"/>
              <a:cs typeface="Calibri" panose="020F0502020204030204" pitchFamily="34" charset="0"/>
            </a:endParaRPr>
          </a:p>
        </p:txBody>
      </p:sp>
      <p:pic>
        <p:nvPicPr>
          <p:cNvPr id="2" name="Grafik 16">
            <a:extLst>
              <a:ext uri="{FF2B5EF4-FFF2-40B4-BE49-F238E27FC236}">
                <a16:creationId xmlns:a16="http://schemas.microsoft.com/office/drawing/2014/main" id="{9E6C63F8-CF37-AF52-0367-6205625B985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88575" y="1117270"/>
            <a:ext cx="5003720" cy="5003720"/>
          </a:xfrm>
          <a:prstGeom prst="flowChartConnector">
            <a:avLst/>
          </a:prstGeom>
        </p:spPr>
      </p:pic>
    </p:spTree>
    <p:extLst>
      <p:ext uri="{BB962C8B-B14F-4D97-AF65-F5344CB8AC3E}">
        <p14:creationId xmlns:p14="http://schemas.microsoft.com/office/powerpoint/2010/main" val="40253890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1000" fill="hold"/>
                                        <p:tgtEl>
                                          <p:spTgt spid="9"/>
                                        </p:tgtEl>
                                        <p:attrNameLst>
                                          <p:attrName>ppt_x</p:attrName>
                                        </p:attrNameLst>
                                      </p:cBhvr>
                                      <p:tavLst>
                                        <p:tav tm="0">
                                          <p:val>
                                            <p:strVal val="1+#ppt_w/2"/>
                                          </p:val>
                                        </p:tav>
                                        <p:tav tm="100000">
                                          <p:val>
                                            <p:strVal val="#ppt_x"/>
                                          </p:val>
                                        </p:tav>
                                      </p:tavLst>
                                    </p:anim>
                                    <p:anim calcmode="lin" valueType="num">
                                      <p:cBhvr additive="base">
                                        <p:cTn id="8" dur="1000" fill="hold"/>
                                        <p:tgtEl>
                                          <p:spTgt spid="9"/>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11"/>
                                        </p:tgtEl>
                                        <p:attrNameLst>
                                          <p:attrName>style.visibility</p:attrName>
                                        </p:attrNameLst>
                                      </p:cBhvr>
                                      <p:to>
                                        <p:strVal val="visible"/>
                                      </p:to>
                                    </p:set>
                                    <p:anim calcmode="lin" valueType="num">
                                      <p:cBhvr additive="base">
                                        <p:cTn id="11" dur="1000" fill="hold"/>
                                        <p:tgtEl>
                                          <p:spTgt spid="11"/>
                                        </p:tgtEl>
                                        <p:attrNameLst>
                                          <p:attrName>ppt_x</p:attrName>
                                        </p:attrNameLst>
                                      </p:cBhvr>
                                      <p:tavLst>
                                        <p:tav tm="0">
                                          <p:val>
                                            <p:strVal val="1+#ppt_w/2"/>
                                          </p:val>
                                        </p:tav>
                                        <p:tav tm="100000">
                                          <p:val>
                                            <p:strVal val="#ppt_x"/>
                                          </p:val>
                                        </p:tav>
                                      </p:tavLst>
                                    </p:anim>
                                    <p:anim calcmode="lin" valueType="num">
                                      <p:cBhvr additive="base">
                                        <p:cTn id="12" dur="1000" fill="hold"/>
                                        <p:tgtEl>
                                          <p:spTgt spid="11"/>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500"/>
                                  </p:stCondLst>
                                  <p:childTnLst>
                                    <p:set>
                                      <p:cBhvr>
                                        <p:cTn id="14" dur="1" fill="hold">
                                          <p:stCondLst>
                                            <p:cond delay="0"/>
                                          </p:stCondLst>
                                        </p:cTn>
                                        <p:tgtEl>
                                          <p:spTgt spid="10"/>
                                        </p:tgtEl>
                                        <p:attrNameLst>
                                          <p:attrName>style.visibility</p:attrName>
                                        </p:attrNameLst>
                                      </p:cBhvr>
                                      <p:to>
                                        <p:strVal val="visible"/>
                                      </p:to>
                                    </p:set>
                                    <p:anim calcmode="lin" valueType="num">
                                      <p:cBhvr additive="base">
                                        <p:cTn id="15" dur="1000" fill="hold"/>
                                        <p:tgtEl>
                                          <p:spTgt spid="10"/>
                                        </p:tgtEl>
                                        <p:attrNameLst>
                                          <p:attrName>ppt_x</p:attrName>
                                        </p:attrNameLst>
                                      </p:cBhvr>
                                      <p:tavLst>
                                        <p:tav tm="0">
                                          <p:val>
                                            <p:strVal val="1+#ppt_w/2"/>
                                          </p:val>
                                        </p:tav>
                                        <p:tav tm="100000">
                                          <p:val>
                                            <p:strVal val="#ppt_x"/>
                                          </p:val>
                                        </p:tav>
                                      </p:tavLst>
                                    </p:anim>
                                    <p:anim calcmode="lin" valueType="num">
                                      <p:cBhvr additive="base">
                                        <p:cTn id="16" dur="1000" fill="hold"/>
                                        <p:tgtEl>
                                          <p:spTgt spid="10"/>
                                        </p:tgtEl>
                                        <p:attrNameLst>
                                          <p:attrName>ppt_y</p:attrName>
                                        </p:attrNameLst>
                                      </p:cBhvr>
                                      <p:tavLst>
                                        <p:tav tm="0">
                                          <p:val>
                                            <p:strVal val="#ppt_y"/>
                                          </p:val>
                                        </p:tav>
                                        <p:tav tm="100000">
                                          <p:val>
                                            <p:strVal val="#ppt_y"/>
                                          </p:val>
                                        </p:tav>
                                      </p:tavLst>
                                    </p:anim>
                                  </p:childTnLst>
                                </p:cTn>
                              </p:par>
                            </p:childTnLst>
                          </p:cTn>
                        </p:par>
                        <p:par>
                          <p:cTn id="17" fill="hold">
                            <p:stCondLst>
                              <p:cond delay="1500"/>
                            </p:stCondLst>
                            <p:childTnLst>
                              <p:par>
                                <p:cTn id="18" presetID="2" presetClass="entr" presetSubtype="8" fill="hold" nodeType="afterEffect">
                                  <p:stCondLst>
                                    <p:cond delay="0"/>
                                  </p:stCondLst>
                                  <p:childTnLst>
                                    <p:set>
                                      <p:cBhvr>
                                        <p:cTn id="19" dur="1" fill="hold">
                                          <p:stCondLst>
                                            <p:cond delay="0"/>
                                          </p:stCondLst>
                                        </p:cTn>
                                        <p:tgtEl>
                                          <p:spTgt spid="2"/>
                                        </p:tgtEl>
                                        <p:attrNameLst>
                                          <p:attrName>style.visibility</p:attrName>
                                        </p:attrNameLst>
                                      </p:cBhvr>
                                      <p:to>
                                        <p:strVal val="visible"/>
                                      </p:to>
                                    </p:set>
                                    <p:anim calcmode="lin" valueType="num">
                                      <p:cBhvr additive="base">
                                        <p:cTn id="20" dur="500" fill="hold"/>
                                        <p:tgtEl>
                                          <p:spTgt spid="2"/>
                                        </p:tgtEl>
                                        <p:attrNameLst>
                                          <p:attrName>ppt_x</p:attrName>
                                        </p:attrNameLst>
                                      </p:cBhvr>
                                      <p:tavLst>
                                        <p:tav tm="0">
                                          <p:val>
                                            <p:strVal val="0-#ppt_w/2"/>
                                          </p:val>
                                        </p:tav>
                                        <p:tav tm="100000">
                                          <p:val>
                                            <p:strVal val="#ppt_x"/>
                                          </p:val>
                                        </p:tav>
                                      </p:tavLst>
                                    </p:anim>
                                    <p:anim calcmode="lin" valueType="num">
                                      <p:cBhvr additive="base">
                                        <p:cTn id="21" dur="50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p:bldP spid="11" grpId="0"/>
    </p:bldLst>
  </p:timing>
</p:sld>
</file>

<file path=ppt/slides/slide2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587166A4-6E95-63B2-0513-48B6EE43F7A7}"/>
              </a:ext>
            </a:extLst>
          </p:cNvPr>
          <p:cNvSpPr>
            <a:spLocks noGrp="1"/>
          </p:cNvSpPr>
          <p:nvPr>
            <p:ph type="sldNum" sz="quarter" idx="10"/>
          </p:nvPr>
        </p:nvSpPr>
        <p:spPr/>
        <p:txBody>
          <a:bodyPr/>
          <a:lstStyle/>
          <a:p>
            <a:fld id="{A04BEB4F-8CE1-4F18-986F-6CE0A0BE9470}" type="slidenum">
              <a:rPr lang="de-DE" smtClean="0"/>
              <a:t>23</a:t>
            </a:fld>
            <a:endParaRPr lang="de-DE"/>
          </a:p>
        </p:txBody>
      </p:sp>
      <p:sp>
        <p:nvSpPr>
          <p:cNvPr id="9" name="Titel 3">
            <a:extLst>
              <a:ext uri="{FF2B5EF4-FFF2-40B4-BE49-F238E27FC236}">
                <a16:creationId xmlns:a16="http://schemas.microsoft.com/office/drawing/2014/main" id="{FB109405-7FC6-5F27-06F4-7DAE42F15714}"/>
              </a:ext>
            </a:extLst>
          </p:cNvPr>
          <p:cNvSpPr txBox="1">
            <a:spLocks/>
          </p:cNvSpPr>
          <p:nvPr/>
        </p:nvSpPr>
        <p:spPr bwMode="auto">
          <a:xfrm>
            <a:off x="815952" y="733402"/>
            <a:ext cx="10560096" cy="767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normAutofit/>
          </a:bodyPr>
          <a:lstStyle>
            <a:lvl1pPr algn="l" defTabSz="914400" rtl="0" eaLnBrk="1" latinLnBrk="0" hangingPunct="1">
              <a:lnSpc>
                <a:spcPct val="100000"/>
              </a:lnSpc>
              <a:spcBef>
                <a:spcPct val="0"/>
              </a:spcBef>
              <a:buNone/>
              <a:defRPr sz="2800" kern="1200">
                <a:solidFill>
                  <a:schemeClr val="tx2"/>
                </a:solidFill>
                <a:latin typeface="+mj-lt"/>
                <a:ea typeface="+mj-ea"/>
                <a:cs typeface="+mj-cs"/>
              </a:defRPr>
            </a:lvl1pPr>
          </a:lstStyle>
          <a:p>
            <a:pPr algn="r"/>
            <a:r>
              <a:rPr lang="he-IL" b="1">
                <a:latin typeface="Calibri" panose="020F0502020204030204" pitchFamily="34" charset="0"/>
                <a:ea typeface="Calibri" panose="020F0502020204030204" pitchFamily="34" charset="0"/>
                <a:cs typeface="Calibri" panose="020F0502020204030204" pitchFamily="34" charset="0"/>
              </a:rPr>
              <a:t>ייעוץ בסיווג טובין ובתהליכי יבוא</a:t>
            </a:r>
            <a:endParaRPr lang="de-DE">
              <a:latin typeface="Calibri" panose="020F0502020204030204" pitchFamily="34" charset="0"/>
              <a:ea typeface="Calibri" panose="020F0502020204030204" pitchFamily="34" charset="0"/>
              <a:cs typeface="Calibri" panose="020F0502020204030204" pitchFamily="34" charset="0"/>
            </a:endParaRPr>
          </a:p>
        </p:txBody>
      </p:sp>
      <p:sp>
        <p:nvSpPr>
          <p:cNvPr id="10" name="Textplatzhalter 4">
            <a:extLst>
              <a:ext uri="{FF2B5EF4-FFF2-40B4-BE49-F238E27FC236}">
                <a16:creationId xmlns:a16="http://schemas.microsoft.com/office/drawing/2014/main" id="{0BD74C70-D675-C1AB-81E2-3143E09B37E9}"/>
              </a:ext>
            </a:extLst>
          </p:cNvPr>
          <p:cNvSpPr txBox="1">
            <a:spLocks/>
          </p:cNvSpPr>
          <p:nvPr/>
        </p:nvSpPr>
        <p:spPr>
          <a:xfrm>
            <a:off x="5805948" y="2025445"/>
            <a:ext cx="5280049" cy="4268957"/>
          </a:xfrm>
          <a:prstGeom prst="rect">
            <a:avLst/>
          </a:prstGeom>
        </p:spPr>
        <p:txBody>
          <a:bodyPr vert="horz" lIns="0" tIns="0" rIns="0" bIns="0" rtlCol="0">
            <a:normAutofit/>
          </a:bodyPr>
          <a:lstStyle>
            <a:lvl1pPr marL="266700" marR="0" indent="-266700" algn="l" defTabSz="1644650" rtl="0" eaLnBrk="0" fontAlgn="base" latinLnBrk="0" hangingPunct="0">
              <a:lnSpc>
                <a:spcPct val="130000"/>
              </a:lnSpc>
              <a:spcBef>
                <a:spcPct val="0"/>
              </a:spcBef>
              <a:spcAft>
                <a:spcPts val="1200"/>
              </a:spcAft>
              <a:buClr>
                <a:srgbClr val="004C99"/>
              </a:buClr>
              <a:buSzPct val="120000"/>
              <a:buFontTx/>
              <a:buBlip>
                <a:blip r:embed="rId3"/>
              </a:buBlip>
              <a:defRPr sz="1800" kern="1200">
                <a:solidFill>
                  <a:schemeClr val="tx1"/>
                </a:solidFill>
                <a:latin typeface="+mn-lt"/>
                <a:ea typeface="+mn-ea"/>
                <a:cs typeface="+mn-cs"/>
              </a:defRPr>
            </a:lvl1pPr>
            <a:lvl2pPr marL="630238" marR="0" indent="-268288" algn="l" defTabSz="1644650" rtl="0" eaLnBrk="0" fontAlgn="base" latinLnBrk="0" hangingPunct="0">
              <a:lnSpc>
                <a:spcPct val="130000"/>
              </a:lnSpc>
              <a:spcBef>
                <a:spcPct val="0"/>
              </a:spcBef>
              <a:spcAft>
                <a:spcPts val="1200"/>
              </a:spcAft>
              <a:buClr>
                <a:srgbClr val="004C99"/>
              </a:buClr>
              <a:buSzPct val="120000"/>
              <a:buFontTx/>
              <a:buBlip>
                <a:blip r:embed="rId3"/>
              </a:buBlip>
              <a:defRPr sz="1800" kern="1200">
                <a:solidFill>
                  <a:schemeClr val="tx1"/>
                </a:solidFill>
                <a:latin typeface="+mn-lt"/>
                <a:ea typeface="+mn-ea"/>
                <a:cs typeface="+mn-cs"/>
              </a:defRPr>
            </a:lvl2pPr>
            <a:lvl3pPr marL="990600" marR="0" indent="-274638" algn="l" defTabSz="1644650" rtl="0" eaLnBrk="0" fontAlgn="base" latinLnBrk="0" hangingPunct="0">
              <a:lnSpc>
                <a:spcPct val="130000"/>
              </a:lnSpc>
              <a:spcBef>
                <a:spcPct val="0"/>
              </a:spcBef>
              <a:spcAft>
                <a:spcPts val="1200"/>
              </a:spcAft>
              <a:buClr>
                <a:srgbClr val="004C99"/>
              </a:buClr>
              <a:buSzPct val="120000"/>
              <a:buFontTx/>
              <a:buBlip>
                <a:blip r:embed="rId3"/>
              </a:buBlip>
              <a:defRPr sz="1800" kern="1200">
                <a:solidFill>
                  <a:schemeClr val="tx1"/>
                </a:solidFill>
                <a:latin typeface="+mn-lt"/>
                <a:ea typeface="+mn-ea"/>
                <a:cs typeface="+mn-cs"/>
              </a:defRPr>
            </a:lvl3pPr>
            <a:lvl4pPr marL="1343025" marR="0" indent="-263525" algn="l" defTabSz="1644650" rtl="0" eaLnBrk="0" fontAlgn="base" latinLnBrk="0" hangingPunct="0">
              <a:lnSpc>
                <a:spcPct val="130000"/>
              </a:lnSpc>
              <a:spcBef>
                <a:spcPct val="0"/>
              </a:spcBef>
              <a:spcAft>
                <a:spcPts val="1200"/>
              </a:spcAft>
              <a:buClr>
                <a:srgbClr val="004C99"/>
              </a:buClr>
              <a:buSzPct val="120000"/>
              <a:buFontTx/>
              <a:buBlip>
                <a:blip r:embed="rId3"/>
              </a:buBlip>
              <a:defRPr sz="1800" kern="1200">
                <a:solidFill>
                  <a:schemeClr val="tx1"/>
                </a:solidFill>
                <a:latin typeface="+mn-lt"/>
                <a:ea typeface="+mn-ea"/>
                <a:cs typeface="+mn-cs"/>
              </a:defRPr>
            </a:lvl4pPr>
            <a:lvl5pPr marL="1704975" marR="0" indent="-271463" algn="l" defTabSz="1644650" rtl="0" eaLnBrk="0" fontAlgn="base" latinLnBrk="0" hangingPunct="0">
              <a:lnSpc>
                <a:spcPct val="130000"/>
              </a:lnSpc>
              <a:spcBef>
                <a:spcPct val="0"/>
              </a:spcBef>
              <a:spcAft>
                <a:spcPts val="1200"/>
              </a:spcAft>
              <a:buClr>
                <a:srgbClr val="004C99"/>
              </a:buClr>
              <a:buSzPct val="120000"/>
              <a:buFontTx/>
              <a:buBlip>
                <a:blip r:embed="rId3"/>
              </a:buBlip>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rtl="1"/>
            <a:r>
              <a:rPr lang="he-IL" sz="1600" dirty="0">
                <a:latin typeface="Calibri" panose="020F0502020204030204" pitchFamily="34" charset="0"/>
                <a:ea typeface="Calibri" panose="020F0502020204030204" pitchFamily="34" charset="0"/>
                <a:cs typeface="Calibri" panose="020F0502020204030204" pitchFamily="34" charset="0"/>
              </a:rPr>
              <a:t>צוות הסיווג של </a:t>
            </a:r>
            <a:r>
              <a:rPr lang="he-IL" sz="1600" dirty="0" err="1">
                <a:latin typeface="Calibri" panose="020F0502020204030204" pitchFamily="34" charset="0"/>
                <a:ea typeface="Calibri" panose="020F0502020204030204" pitchFamily="34" charset="0"/>
                <a:cs typeface="Calibri" panose="020F0502020204030204" pitchFamily="34" charset="0"/>
              </a:rPr>
              <a:t>פלטרנספורט</a:t>
            </a:r>
            <a:r>
              <a:rPr lang="he-IL" sz="1600" dirty="0">
                <a:latin typeface="Calibri" panose="020F0502020204030204" pitchFamily="34" charset="0"/>
                <a:ea typeface="Calibri" panose="020F0502020204030204" pitchFamily="34" charset="0"/>
                <a:cs typeface="Calibri" panose="020F0502020204030204" pitchFamily="34" charset="0"/>
              </a:rPr>
              <a:t> מורכב ממסווגים בעלי ניסיון רב שנים בסיווג טובין ובדגש על: תרופות, ציוד מדעי ומעבדתי, מזון, בעלי חיים, אלקטרוניקה ועוד.</a:t>
            </a:r>
          </a:p>
          <a:p>
            <a:pPr algn="r" rtl="1"/>
            <a:r>
              <a:rPr lang="he-IL" sz="1600" dirty="0">
                <a:latin typeface="Calibri" panose="020F0502020204030204" pitchFamily="34" charset="0"/>
                <a:ea typeface="Calibri" panose="020F0502020204030204" pitchFamily="34" charset="0"/>
                <a:cs typeface="Calibri" panose="020F0502020204030204" pitchFamily="34" charset="0"/>
              </a:rPr>
              <a:t>לצוות הסיווג של </a:t>
            </a:r>
            <a:r>
              <a:rPr lang="he-IL" sz="1600" dirty="0" err="1">
                <a:latin typeface="Calibri" panose="020F0502020204030204" pitchFamily="34" charset="0"/>
                <a:ea typeface="Calibri" panose="020F0502020204030204" pitchFamily="34" charset="0"/>
                <a:cs typeface="Calibri" panose="020F0502020204030204" pitchFamily="34" charset="0"/>
              </a:rPr>
              <a:t>פלטרנספורט</a:t>
            </a:r>
            <a:r>
              <a:rPr lang="he-IL" sz="1600" dirty="0">
                <a:latin typeface="Calibri" panose="020F0502020204030204" pitchFamily="34" charset="0"/>
                <a:ea typeface="Calibri" panose="020F0502020204030204" pitchFamily="34" charset="0"/>
                <a:cs typeface="Calibri" panose="020F0502020204030204" pitchFamily="34" charset="0"/>
              </a:rPr>
              <a:t> שליטה מלאה בהסכמי הסחר השונים שיש למדינת ישראל וכמו כן יידע נרחב בתחום חוקיות היבוא לישראל.</a:t>
            </a:r>
          </a:p>
          <a:p>
            <a:pPr algn="r" rtl="1"/>
            <a:r>
              <a:rPr lang="he-IL" sz="1600" dirty="0">
                <a:latin typeface="Calibri" panose="020F0502020204030204" pitchFamily="34" charset="0"/>
                <a:ea typeface="Calibri" panose="020F0502020204030204" pitchFamily="34" charset="0"/>
                <a:cs typeface="Calibri" panose="020F0502020204030204" pitchFamily="34" charset="0"/>
              </a:rPr>
              <a:t>אנשי המקצוע של </a:t>
            </a:r>
            <a:r>
              <a:rPr lang="he-IL" sz="1600" dirty="0" err="1">
                <a:latin typeface="Calibri" panose="020F0502020204030204" pitchFamily="34" charset="0"/>
                <a:ea typeface="Calibri" panose="020F0502020204030204" pitchFamily="34" charset="0"/>
                <a:cs typeface="Calibri" panose="020F0502020204030204" pitchFamily="34" charset="0"/>
              </a:rPr>
              <a:t>פלטרנספורט</a:t>
            </a:r>
            <a:r>
              <a:rPr lang="he-IL" sz="1600" dirty="0">
                <a:latin typeface="Calibri" panose="020F0502020204030204" pitchFamily="34" charset="0"/>
                <a:ea typeface="Calibri" panose="020F0502020204030204" pitchFamily="34" charset="0"/>
                <a:cs typeface="Calibri" panose="020F0502020204030204" pitchFamily="34" charset="0"/>
              </a:rPr>
              <a:t> יסייעו לכם בחשיבה על הפתרון היעיל, המהיר והנכון משלב התכנון ועד להגעה ליעד הסופי.</a:t>
            </a:r>
          </a:p>
          <a:p>
            <a:pPr algn="r" rtl="1"/>
            <a:r>
              <a:rPr lang="he-IL" sz="1600" dirty="0">
                <a:latin typeface="Calibri" panose="020F0502020204030204" pitchFamily="34" charset="0"/>
                <a:ea typeface="Calibri" panose="020F0502020204030204" pitchFamily="34" charset="0"/>
                <a:cs typeface="Calibri" panose="020F0502020204030204" pitchFamily="34" charset="0"/>
              </a:rPr>
              <a:t>מתוך ניסיון רב השנים, אנשי המקצוע של </a:t>
            </a:r>
            <a:r>
              <a:rPr lang="he-IL" sz="1600" dirty="0" err="1">
                <a:latin typeface="Calibri" panose="020F0502020204030204" pitchFamily="34" charset="0"/>
                <a:ea typeface="Calibri" panose="020F0502020204030204" pitchFamily="34" charset="0"/>
                <a:cs typeface="Calibri" panose="020F0502020204030204" pitchFamily="34" charset="0"/>
              </a:rPr>
              <a:t>פלטרנספורט</a:t>
            </a:r>
            <a:r>
              <a:rPr lang="he-IL" sz="1600" dirty="0">
                <a:latin typeface="Calibri" panose="020F0502020204030204" pitchFamily="34" charset="0"/>
                <a:ea typeface="Calibri" panose="020F0502020204030204" pitchFamily="34" charset="0"/>
                <a:cs typeface="Calibri" panose="020F0502020204030204" pitchFamily="34" charset="0"/>
              </a:rPr>
              <a:t> אף מסייעים למכס ולמשרדי ממשלה שונים בייעוץ, פיתוח ויישום תהליכים חדשים.</a:t>
            </a:r>
          </a:p>
        </p:txBody>
      </p:sp>
      <p:sp>
        <p:nvSpPr>
          <p:cNvPr id="11" name="Titel 3">
            <a:extLst>
              <a:ext uri="{FF2B5EF4-FFF2-40B4-BE49-F238E27FC236}">
                <a16:creationId xmlns:a16="http://schemas.microsoft.com/office/drawing/2014/main" id="{BFEA0DEE-3A4F-A132-0CA6-2C9FAD2065E8}"/>
              </a:ext>
            </a:extLst>
          </p:cNvPr>
          <p:cNvSpPr txBox="1"/>
          <p:nvPr/>
        </p:nvSpPr>
        <p:spPr bwMode="auto">
          <a:xfrm>
            <a:off x="815951" y="1435910"/>
            <a:ext cx="10560096" cy="314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normAutofit/>
          </a:bodyPr>
          <a:lstStyle>
            <a:lvl1pPr algn="l" defTabSz="914400" rtl="0" eaLnBrk="1" latinLnBrk="0" hangingPunct="1">
              <a:lnSpc>
                <a:spcPct val="100000"/>
              </a:lnSpc>
              <a:spcBef>
                <a:spcPct val="0"/>
              </a:spcBef>
              <a:buNone/>
              <a:defRPr sz="2800" kern="1200">
                <a:solidFill>
                  <a:schemeClr val="tx2"/>
                </a:solidFill>
                <a:latin typeface="+mj-lt"/>
                <a:ea typeface="+mj-ea"/>
                <a:cs typeface="+mj-cs"/>
              </a:defRPr>
            </a:lvl1pPr>
          </a:lstStyle>
          <a:p>
            <a:pPr algn="r" rtl="1"/>
            <a:r>
              <a:rPr lang="he-IL" sz="1800" b="1">
                <a:latin typeface="Calibri" panose="020F0502020204030204" pitchFamily="34" charset="0"/>
                <a:ea typeface="Calibri" panose="020F0502020204030204" pitchFamily="34" charset="0"/>
                <a:cs typeface="Calibri" panose="020F0502020204030204" pitchFamily="34" charset="0"/>
              </a:rPr>
              <a:t>יותר מ-75 שנות ניסיון בתהליכי שחרור מטענים מפיקוח המכס</a:t>
            </a:r>
            <a:endParaRPr lang="de-DE" sz="1800" b="1">
              <a:latin typeface="Calibri" panose="020F0502020204030204" pitchFamily="34" charset="0"/>
              <a:ea typeface="Calibri" panose="020F0502020204030204" pitchFamily="34" charset="0"/>
              <a:cs typeface="Calibri" panose="020F0502020204030204" pitchFamily="34" charset="0"/>
            </a:endParaRPr>
          </a:p>
        </p:txBody>
      </p:sp>
      <p:pic>
        <p:nvPicPr>
          <p:cNvPr id="5" name="Grafik 16">
            <a:extLst>
              <a:ext uri="{FF2B5EF4-FFF2-40B4-BE49-F238E27FC236}">
                <a16:creationId xmlns:a16="http://schemas.microsoft.com/office/drawing/2014/main" id="{59FB3643-C313-5D3B-8C8F-2441EA23161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28907" y="1108271"/>
            <a:ext cx="5036153" cy="5034486"/>
          </a:xfrm>
          <a:prstGeom prst="flowChartConnector">
            <a:avLst/>
          </a:prstGeom>
        </p:spPr>
      </p:pic>
    </p:spTree>
    <p:extLst>
      <p:ext uri="{BB962C8B-B14F-4D97-AF65-F5344CB8AC3E}">
        <p14:creationId xmlns:p14="http://schemas.microsoft.com/office/powerpoint/2010/main" val="367105808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1000" fill="hold"/>
                                        <p:tgtEl>
                                          <p:spTgt spid="9"/>
                                        </p:tgtEl>
                                        <p:attrNameLst>
                                          <p:attrName>ppt_x</p:attrName>
                                        </p:attrNameLst>
                                      </p:cBhvr>
                                      <p:tavLst>
                                        <p:tav tm="0">
                                          <p:val>
                                            <p:strVal val="1+#ppt_w/2"/>
                                          </p:val>
                                        </p:tav>
                                        <p:tav tm="100000">
                                          <p:val>
                                            <p:strVal val="#ppt_x"/>
                                          </p:val>
                                        </p:tav>
                                      </p:tavLst>
                                    </p:anim>
                                    <p:anim calcmode="lin" valueType="num">
                                      <p:cBhvr additive="base">
                                        <p:cTn id="8" dur="1000" fill="hold"/>
                                        <p:tgtEl>
                                          <p:spTgt spid="9"/>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11"/>
                                        </p:tgtEl>
                                        <p:attrNameLst>
                                          <p:attrName>style.visibility</p:attrName>
                                        </p:attrNameLst>
                                      </p:cBhvr>
                                      <p:to>
                                        <p:strVal val="visible"/>
                                      </p:to>
                                    </p:set>
                                    <p:anim calcmode="lin" valueType="num">
                                      <p:cBhvr additive="base">
                                        <p:cTn id="11" dur="1000" fill="hold"/>
                                        <p:tgtEl>
                                          <p:spTgt spid="11"/>
                                        </p:tgtEl>
                                        <p:attrNameLst>
                                          <p:attrName>ppt_x</p:attrName>
                                        </p:attrNameLst>
                                      </p:cBhvr>
                                      <p:tavLst>
                                        <p:tav tm="0">
                                          <p:val>
                                            <p:strVal val="1+#ppt_w/2"/>
                                          </p:val>
                                        </p:tav>
                                        <p:tav tm="100000">
                                          <p:val>
                                            <p:strVal val="#ppt_x"/>
                                          </p:val>
                                        </p:tav>
                                      </p:tavLst>
                                    </p:anim>
                                    <p:anim calcmode="lin" valueType="num">
                                      <p:cBhvr additive="base">
                                        <p:cTn id="12" dur="1000" fill="hold"/>
                                        <p:tgtEl>
                                          <p:spTgt spid="11"/>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500"/>
                                  </p:stCondLst>
                                  <p:childTnLst>
                                    <p:set>
                                      <p:cBhvr>
                                        <p:cTn id="14" dur="1" fill="hold">
                                          <p:stCondLst>
                                            <p:cond delay="0"/>
                                          </p:stCondLst>
                                        </p:cTn>
                                        <p:tgtEl>
                                          <p:spTgt spid="10"/>
                                        </p:tgtEl>
                                        <p:attrNameLst>
                                          <p:attrName>style.visibility</p:attrName>
                                        </p:attrNameLst>
                                      </p:cBhvr>
                                      <p:to>
                                        <p:strVal val="visible"/>
                                      </p:to>
                                    </p:set>
                                    <p:anim calcmode="lin" valueType="num">
                                      <p:cBhvr additive="base">
                                        <p:cTn id="15" dur="1000" fill="hold"/>
                                        <p:tgtEl>
                                          <p:spTgt spid="10"/>
                                        </p:tgtEl>
                                        <p:attrNameLst>
                                          <p:attrName>ppt_x</p:attrName>
                                        </p:attrNameLst>
                                      </p:cBhvr>
                                      <p:tavLst>
                                        <p:tav tm="0">
                                          <p:val>
                                            <p:strVal val="1+#ppt_w/2"/>
                                          </p:val>
                                        </p:tav>
                                        <p:tav tm="100000">
                                          <p:val>
                                            <p:strVal val="#ppt_x"/>
                                          </p:val>
                                        </p:tav>
                                      </p:tavLst>
                                    </p:anim>
                                    <p:anim calcmode="lin" valueType="num">
                                      <p:cBhvr additive="base">
                                        <p:cTn id="16" dur="1000" fill="hold"/>
                                        <p:tgtEl>
                                          <p:spTgt spid="10"/>
                                        </p:tgtEl>
                                        <p:attrNameLst>
                                          <p:attrName>ppt_y</p:attrName>
                                        </p:attrNameLst>
                                      </p:cBhvr>
                                      <p:tavLst>
                                        <p:tav tm="0">
                                          <p:val>
                                            <p:strVal val="#ppt_y"/>
                                          </p:val>
                                        </p:tav>
                                        <p:tav tm="100000">
                                          <p:val>
                                            <p:strVal val="#ppt_y"/>
                                          </p:val>
                                        </p:tav>
                                      </p:tavLst>
                                    </p:anim>
                                  </p:childTnLst>
                                </p:cTn>
                              </p:par>
                            </p:childTnLst>
                          </p:cTn>
                        </p:par>
                        <p:par>
                          <p:cTn id="17" fill="hold">
                            <p:stCondLst>
                              <p:cond delay="1500"/>
                            </p:stCondLst>
                            <p:childTnLst>
                              <p:par>
                                <p:cTn id="18" presetID="2" presetClass="entr" presetSubtype="8" fill="hold" nodeType="afterEffect">
                                  <p:stCondLst>
                                    <p:cond delay="0"/>
                                  </p:stCondLst>
                                  <p:childTnLst>
                                    <p:set>
                                      <p:cBhvr>
                                        <p:cTn id="19" dur="1" fill="hold">
                                          <p:stCondLst>
                                            <p:cond delay="0"/>
                                          </p:stCondLst>
                                        </p:cTn>
                                        <p:tgtEl>
                                          <p:spTgt spid="5"/>
                                        </p:tgtEl>
                                        <p:attrNameLst>
                                          <p:attrName>style.visibility</p:attrName>
                                        </p:attrNameLst>
                                      </p:cBhvr>
                                      <p:to>
                                        <p:strVal val="visible"/>
                                      </p:to>
                                    </p:set>
                                    <p:anim calcmode="lin" valueType="num">
                                      <p:cBhvr additive="base">
                                        <p:cTn id="20" dur="500" fill="hold"/>
                                        <p:tgtEl>
                                          <p:spTgt spid="5"/>
                                        </p:tgtEl>
                                        <p:attrNameLst>
                                          <p:attrName>ppt_x</p:attrName>
                                        </p:attrNameLst>
                                      </p:cBhvr>
                                      <p:tavLst>
                                        <p:tav tm="0">
                                          <p:val>
                                            <p:strVal val="0-#ppt_w/2"/>
                                          </p:val>
                                        </p:tav>
                                        <p:tav tm="100000">
                                          <p:val>
                                            <p:strVal val="#ppt_x"/>
                                          </p:val>
                                        </p:tav>
                                      </p:tavLst>
                                    </p:anim>
                                    <p:anim calcmode="lin" valueType="num">
                                      <p:cBhvr additive="base">
                                        <p:cTn id="21" dur="50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p:bldP spid="11" grpId="0"/>
    </p:bldLst>
  </p:timing>
</p:sld>
</file>

<file path=ppt/slides/slide2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587166A4-6E95-63B2-0513-48B6EE43F7A7}"/>
              </a:ext>
            </a:extLst>
          </p:cNvPr>
          <p:cNvSpPr>
            <a:spLocks noGrp="1"/>
          </p:cNvSpPr>
          <p:nvPr>
            <p:ph type="sldNum" sz="quarter" idx="10"/>
          </p:nvPr>
        </p:nvSpPr>
        <p:spPr/>
        <p:txBody>
          <a:bodyPr/>
          <a:lstStyle/>
          <a:p>
            <a:fld id="{A04BEB4F-8CE1-4F18-986F-6CE0A0BE9470}" type="slidenum">
              <a:rPr lang="de-DE" smtClean="0"/>
              <a:t>24</a:t>
            </a:fld>
            <a:endParaRPr lang="de-DE"/>
          </a:p>
        </p:txBody>
      </p:sp>
      <p:sp>
        <p:nvSpPr>
          <p:cNvPr id="9" name="Titel 3">
            <a:extLst>
              <a:ext uri="{FF2B5EF4-FFF2-40B4-BE49-F238E27FC236}">
                <a16:creationId xmlns:a16="http://schemas.microsoft.com/office/drawing/2014/main" id="{FB109405-7FC6-5F27-06F4-7DAE42F15714}"/>
              </a:ext>
            </a:extLst>
          </p:cNvPr>
          <p:cNvSpPr txBox="1">
            <a:spLocks/>
          </p:cNvSpPr>
          <p:nvPr/>
        </p:nvSpPr>
        <p:spPr bwMode="auto">
          <a:xfrm>
            <a:off x="815952" y="733402"/>
            <a:ext cx="10560096" cy="767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normAutofit/>
          </a:bodyPr>
          <a:lstStyle>
            <a:lvl1pPr algn="l" defTabSz="914400" rtl="0" eaLnBrk="1" latinLnBrk="0" hangingPunct="1">
              <a:lnSpc>
                <a:spcPct val="100000"/>
              </a:lnSpc>
              <a:spcBef>
                <a:spcPct val="0"/>
              </a:spcBef>
              <a:buNone/>
              <a:defRPr sz="2800" kern="1200">
                <a:solidFill>
                  <a:schemeClr val="tx2"/>
                </a:solidFill>
                <a:latin typeface="+mj-lt"/>
                <a:ea typeface="+mj-ea"/>
                <a:cs typeface="+mj-cs"/>
              </a:defRPr>
            </a:lvl1pPr>
          </a:lstStyle>
          <a:p>
            <a:pPr algn="r"/>
            <a:r>
              <a:rPr lang="he-IL" b="1">
                <a:latin typeface="Calibri" panose="020F0502020204030204" pitchFamily="34" charset="0"/>
                <a:ea typeface="Calibri" panose="020F0502020204030204" pitchFamily="34" charset="0"/>
                <a:cs typeface="Calibri" panose="020F0502020204030204" pitchFamily="34" charset="0"/>
              </a:rPr>
              <a:t>אישורים רגולטוריים</a:t>
            </a:r>
            <a:endParaRPr lang="de-DE">
              <a:latin typeface="Calibri" panose="020F0502020204030204" pitchFamily="34" charset="0"/>
              <a:ea typeface="Calibri" panose="020F0502020204030204" pitchFamily="34" charset="0"/>
              <a:cs typeface="Calibri" panose="020F0502020204030204" pitchFamily="34" charset="0"/>
            </a:endParaRPr>
          </a:p>
        </p:txBody>
      </p:sp>
      <p:sp>
        <p:nvSpPr>
          <p:cNvPr id="11" name="Titel 3">
            <a:extLst>
              <a:ext uri="{FF2B5EF4-FFF2-40B4-BE49-F238E27FC236}">
                <a16:creationId xmlns:a16="http://schemas.microsoft.com/office/drawing/2014/main" id="{BFEA0DEE-3A4F-A132-0CA6-2C9FAD2065E8}"/>
              </a:ext>
            </a:extLst>
          </p:cNvPr>
          <p:cNvSpPr txBox="1"/>
          <p:nvPr/>
        </p:nvSpPr>
        <p:spPr bwMode="auto">
          <a:xfrm>
            <a:off x="815951" y="1435910"/>
            <a:ext cx="10560096" cy="314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normAutofit/>
          </a:bodyPr>
          <a:lstStyle>
            <a:lvl1pPr algn="l" defTabSz="914400" rtl="0" eaLnBrk="1" latinLnBrk="0" hangingPunct="1">
              <a:lnSpc>
                <a:spcPct val="100000"/>
              </a:lnSpc>
              <a:spcBef>
                <a:spcPct val="0"/>
              </a:spcBef>
              <a:buNone/>
              <a:defRPr sz="2800" kern="1200">
                <a:solidFill>
                  <a:schemeClr val="tx2"/>
                </a:solidFill>
                <a:latin typeface="+mj-lt"/>
                <a:ea typeface="+mj-ea"/>
                <a:cs typeface="+mj-cs"/>
              </a:defRPr>
            </a:lvl1pPr>
          </a:lstStyle>
          <a:p>
            <a:pPr algn="r" rtl="1"/>
            <a:r>
              <a:rPr lang="he-IL" sz="1800" b="1">
                <a:latin typeface="Calibri" panose="020F0502020204030204" pitchFamily="34" charset="0"/>
                <a:ea typeface="Calibri" panose="020F0502020204030204" pitchFamily="34" charset="0"/>
                <a:cs typeface="Calibri" panose="020F0502020204030204" pitchFamily="34" charset="0"/>
              </a:rPr>
              <a:t>"מערכת מסלול" , "ייעלה", "פורטל המזון"</a:t>
            </a:r>
            <a:endParaRPr lang="de-DE" sz="1800" b="1">
              <a:latin typeface="Calibri" panose="020F0502020204030204" pitchFamily="34" charset="0"/>
              <a:ea typeface="Calibri" panose="020F0502020204030204" pitchFamily="34" charset="0"/>
              <a:cs typeface="Calibri" panose="020F0502020204030204" pitchFamily="34" charset="0"/>
            </a:endParaRPr>
          </a:p>
        </p:txBody>
      </p:sp>
      <p:pic>
        <p:nvPicPr>
          <p:cNvPr id="6" name="תמונה 5">
            <a:extLst>
              <a:ext uri="{FF2B5EF4-FFF2-40B4-BE49-F238E27FC236}">
                <a16:creationId xmlns:a16="http://schemas.microsoft.com/office/drawing/2014/main" id="{AFA2A9C2-4F9E-6C9F-B2F7-B7164BB612C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7528" y="1117269"/>
            <a:ext cx="5003721" cy="5003721"/>
          </a:xfrm>
          <a:prstGeom prst="flowChartConnector">
            <a:avLst/>
          </a:prstGeom>
        </p:spPr>
      </p:pic>
      <p:sp>
        <p:nvSpPr>
          <p:cNvPr id="4" name="Textplatzhalter 4">
            <a:extLst>
              <a:ext uri="{FF2B5EF4-FFF2-40B4-BE49-F238E27FC236}">
                <a16:creationId xmlns:a16="http://schemas.microsoft.com/office/drawing/2014/main" id="{1BC989EB-EEE2-B9B6-DBF3-E2EF5A15733D}"/>
              </a:ext>
            </a:extLst>
          </p:cNvPr>
          <p:cNvSpPr txBox="1">
            <a:spLocks/>
          </p:cNvSpPr>
          <p:nvPr/>
        </p:nvSpPr>
        <p:spPr>
          <a:xfrm>
            <a:off x="5817735" y="1975549"/>
            <a:ext cx="5321826" cy="4798142"/>
          </a:xfrm>
          <a:prstGeom prst="rect">
            <a:avLst/>
          </a:prstGeom>
        </p:spPr>
        <p:txBody>
          <a:bodyPr vert="horz" lIns="0" tIns="0" rIns="0" bIns="0" rtlCol="0">
            <a:normAutofit/>
          </a:bodyPr>
          <a:lstStyle>
            <a:lvl1pPr marL="266700" marR="0" indent="-266700" algn="l" defTabSz="1644650" rtl="0" eaLnBrk="0" fontAlgn="base" latinLnBrk="0" hangingPunct="0">
              <a:lnSpc>
                <a:spcPct val="130000"/>
              </a:lnSpc>
              <a:spcBef>
                <a:spcPct val="0"/>
              </a:spcBef>
              <a:spcAft>
                <a:spcPts val="1200"/>
              </a:spcAft>
              <a:buClr>
                <a:srgbClr val="004C99"/>
              </a:buClr>
              <a:buSzPct val="120000"/>
              <a:buFontTx/>
              <a:buBlip>
                <a:blip r:embed="rId4"/>
              </a:buBlip>
              <a:defRPr sz="1800" kern="1200">
                <a:solidFill>
                  <a:schemeClr val="tx1"/>
                </a:solidFill>
                <a:latin typeface="+mn-lt"/>
                <a:ea typeface="+mn-ea"/>
                <a:cs typeface="+mn-cs"/>
              </a:defRPr>
            </a:lvl1pPr>
            <a:lvl2pPr marL="630238" marR="0" indent="-268288" algn="l" defTabSz="1644650" rtl="0" eaLnBrk="0" fontAlgn="base" latinLnBrk="0" hangingPunct="0">
              <a:lnSpc>
                <a:spcPct val="130000"/>
              </a:lnSpc>
              <a:spcBef>
                <a:spcPct val="0"/>
              </a:spcBef>
              <a:spcAft>
                <a:spcPts val="1200"/>
              </a:spcAft>
              <a:buClr>
                <a:srgbClr val="004C99"/>
              </a:buClr>
              <a:buSzPct val="120000"/>
              <a:buFontTx/>
              <a:buBlip>
                <a:blip r:embed="rId4"/>
              </a:buBlip>
              <a:defRPr sz="1800" kern="1200">
                <a:solidFill>
                  <a:schemeClr val="tx1"/>
                </a:solidFill>
                <a:latin typeface="+mn-lt"/>
                <a:ea typeface="+mn-ea"/>
                <a:cs typeface="+mn-cs"/>
              </a:defRPr>
            </a:lvl2pPr>
            <a:lvl3pPr marL="990600" marR="0" indent="-274638" algn="l" defTabSz="1644650" rtl="0" eaLnBrk="0" fontAlgn="base" latinLnBrk="0" hangingPunct="0">
              <a:lnSpc>
                <a:spcPct val="130000"/>
              </a:lnSpc>
              <a:spcBef>
                <a:spcPct val="0"/>
              </a:spcBef>
              <a:spcAft>
                <a:spcPts val="1200"/>
              </a:spcAft>
              <a:buClr>
                <a:srgbClr val="004C99"/>
              </a:buClr>
              <a:buSzPct val="120000"/>
              <a:buFontTx/>
              <a:buBlip>
                <a:blip r:embed="rId4"/>
              </a:buBlip>
              <a:defRPr sz="1800" kern="1200">
                <a:solidFill>
                  <a:schemeClr val="tx1"/>
                </a:solidFill>
                <a:latin typeface="+mn-lt"/>
                <a:ea typeface="+mn-ea"/>
                <a:cs typeface="+mn-cs"/>
              </a:defRPr>
            </a:lvl3pPr>
            <a:lvl4pPr marL="1343025" marR="0" indent="-263525" algn="l" defTabSz="1644650" rtl="0" eaLnBrk="0" fontAlgn="base" latinLnBrk="0" hangingPunct="0">
              <a:lnSpc>
                <a:spcPct val="130000"/>
              </a:lnSpc>
              <a:spcBef>
                <a:spcPct val="0"/>
              </a:spcBef>
              <a:spcAft>
                <a:spcPts val="1200"/>
              </a:spcAft>
              <a:buClr>
                <a:srgbClr val="004C99"/>
              </a:buClr>
              <a:buSzPct val="120000"/>
              <a:buFontTx/>
              <a:buBlip>
                <a:blip r:embed="rId4"/>
              </a:buBlip>
              <a:defRPr sz="1800" kern="1200">
                <a:solidFill>
                  <a:schemeClr val="tx1"/>
                </a:solidFill>
                <a:latin typeface="+mn-lt"/>
                <a:ea typeface="+mn-ea"/>
                <a:cs typeface="+mn-cs"/>
              </a:defRPr>
            </a:lvl4pPr>
            <a:lvl5pPr marL="1704975" marR="0" indent="-271463" algn="l" defTabSz="1644650" rtl="0" eaLnBrk="0" fontAlgn="base" latinLnBrk="0" hangingPunct="0">
              <a:lnSpc>
                <a:spcPct val="130000"/>
              </a:lnSpc>
              <a:spcBef>
                <a:spcPct val="0"/>
              </a:spcBef>
              <a:spcAft>
                <a:spcPts val="1200"/>
              </a:spcAft>
              <a:buClr>
                <a:srgbClr val="004C99"/>
              </a:buClr>
              <a:buSzPct val="120000"/>
              <a:buFontTx/>
              <a:buBlip>
                <a:blip r:embed="rId4"/>
              </a:buBlip>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rtl="1"/>
            <a:r>
              <a:rPr lang="he-IL" sz="1600" dirty="0">
                <a:latin typeface="Calibri" panose="020F0502020204030204" pitchFamily="34" charset="0"/>
                <a:ea typeface="Calibri" panose="020F0502020204030204" pitchFamily="34" charset="0"/>
                <a:cs typeface="Calibri" panose="020F0502020204030204" pitchFamily="34" charset="0"/>
              </a:rPr>
              <a:t>מערכת "מסלול" מאפשרת להגיש באופן מקוון טופס בקשות לרישיונות ולאישורים מרשויות מוסמכות ולהתעדכן בכל עת במצב הטיפול בבקשות, החל משלב הבקשה ועד לשלב האישור למכס.</a:t>
            </a:r>
          </a:p>
          <a:p>
            <a:pPr algn="r" rtl="1">
              <a:spcAft>
                <a:spcPts val="600"/>
              </a:spcAft>
            </a:pPr>
            <a:r>
              <a:rPr lang="he-IL" sz="1600" dirty="0">
                <a:latin typeface="Calibri" panose="020F0502020204030204" pitchFamily="34" charset="0"/>
                <a:ea typeface="Calibri" panose="020F0502020204030204" pitchFamily="34" charset="0"/>
                <a:cs typeface="Calibri" panose="020F0502020204030204" pitchFamily="34" charset="0"/>
              </a:rPr>
              <a:t>הרפרנטים בצוותי עמילות המכס של </a:t>
            </a:r>
            <a:r>
              <a:rPr lang="he-IL" sz="1600" dirty="0" err="1">
                <a:latin typeface="Calibri" panose="020F0502020204030204" pitchFamily="34" charset="0"/>
                <a:ea typeface="Calibri" panose="020F0502020204030204" pitchFamily="34" charset="0"/>
                <a:cs typeface="Calibri" panose="020F0502020204030204" pitchFamily="34" charset="0"/>
              </a:rPr>
              <a:t>פלטרנספורט</a:t>
            </a:r>
            <a:r>
              <a:rPr lang="he-IL" sz="1600" dirty="0">
                <a:latin typeface="Calibri" panose="020F0502020204030204" pitchFamily="34" charset="0"/>
                <a:ea typeface="Calibri" panose="020F0502020204030204" pitchFamily="34" charset="0"/>
                <a:cs typeface="Calibri" panose="020F0502020204030204" pitchFamily="34" charset="0"/>
              </a:rPr>
              <a:t> מכירים את מערכת מסלול על בוריה ומטפלים לפי דרישת הלקוחות בקבלת אישורים ורישיונות יבוא ממשרדי הממשלה השונים כגון:</a:t>
            </a:r>
          </a:p>
          <a:p>
            <a:pPr marL="1009650" lvl="2" indent="-285750" algn="r" rtl="1">
              <a:spcAft>
                <a:spcPts val="0"/>
              </a:spcAft>
              <a:buFont typeface="Arial" panose="020B0604020202020204" pitchFamily="34" charset="0"/>
              <a:buChar char="•"/>
            </a:pPr>
            <a:r>
              <a:rPr lang="he-IL" sz="1600" dirty="0">
                <a:latin typeface="Calibri" panose="020F0502020204030204" pitchFamily="34" charset="0"/>
                <a:ea typeface="Calibri" panose="020F0502020204030204" pitchFamily="34" charset="0"/>
                <a:cs typeface="Calibri" panose="020F0502020204030204" pitchFamily="34" charset="0"/>
              </a:rPr>
              <a:t>שחרור מתחנות ההסגר של משרד הבריאות, משרד החקלאות והשירותים הווטרינריים</a:t>
            </a:r>
          </a:p>
          <a:p>
            <a:pPr marL="1009650" lvl="2" indent="-285750" algn="r" rtl="1">
              <a:spcAft>
                <a:spcPts val="0"/>
              </a:spcAft>
              <a:buFont typeface="Arial" panose="020B0604020202020204" pitchFamily="34" charset="0"/>
              <a:buChar char="•"/>
            </a:pPr>
            <a:r>
              <a:rPr lang="he-IL" sz="1600" dirty="0">
                <a:latin typeface="Calibri" panose="020F0502020204030204" pitchFamily="34" charset="0"/>
                <a:ea typeface="Calibri" panose="020F0502020204030204" pitchFamily="34" charset="0"/>
                <a:cs typeface="Calibri" panose="020F0502020204030204" pitchFamily="34" charset="0"/>
              </a:rPr>
              <a:t>מכון התקנים</a:t>
            </a:r>
          </a:p>
          <a:p>
            <a:pPr marL="1009650" lvl="2" indent="-285750" algn="r" rtl="1">
              <a:spcAft>
                <a:spcPts val="0"/>
              </a:spcAft>
              <a:buFont typeface="Arial" panose="020B0604020202020204" pitchFamily="34" charset="0"/>
              <a:buChar char="•"/>
            </a:pPr>
            <a:r>
              <a:rPr lang="he-IL" sz="1600" dirty="0">
                <a:latin typeface="Calibri" panose="020F0502020204030204" pitchFamily="34" charset="0"/>
                <a:ea typeface="Calibri" panose="020F0502020204030204" pitchFamily="34" charset="0"/>
                <a:cs typeface="Calibri" panose="020F0502020204030204" pitchFamily="34" charset="0"/>
              </a:rPr>
              <a:t>משרד הכלכלה</a:t>
            </a:r>
          </a:p>
          <a:p>
            <a:pPr marL="1009650" lvl="2" indent="-285750" algn="r" rtl="1">
              <a:spcAft>
                <a:spcPts val="0"/>
              </a:spcAft>
              <a:buFont typeface="Arial" panose="020B0604020202020204" pitchFamily="34" charset="0"/>
              <a:buChar char="•"/>
            </a:pPr>
            <a:r>
              <a:rPr lang="he-IL" sz="1600" dirty="0">
                <a:latin typeface="Calibri" panose="020F0502020204030204" pitchFamily="34" charset="0"/>
                <a:ea typeface="Calibri" panose="020F0502020204030204" pitchFamily="34" charset="0"/>
                <a:cs typeface="Calibri" panose="020F0502020204030204" pitchFamily="34" charset="0"/>
              </a:rPr>
              <a:t>משרד התקשורת</a:t>
            </a:r>
          </a:p>
          <a:p>
            <a:pPr marL="1009650" lvl="2" indent="-285750" algn="r" rtl="1">
              <a:spcAft>
                <a:spcPts val="0"/>
              </a:spcAft>
              <a:buFont typeface="Arial" panose="020B0604020202020204" pitchFamily="34" charset="0"/>
              <a:buChar char="•"/>
            </a:pPr>
            <a:r>
              <a:rPr lang="he-IL" sz="1600" dirty="0">
                <a:latin typeface="Calibri" panose="020F0502020204030204" pitchFamily="34" charset="0"/>
                <a:ea typeface="Calibri" panose="020F0502020204030204" pitchFamily="34" charset="0"/>
                <a:cs typeface="Calibri" panose="020F0502020204030204" pitchFamily="34" charset="0"/>
              </a:rPr>
              <a:t>ועוד</a:t>
            </a:r>
          </a:p>
        </p:txBody>
      </p:sp>
    </p:spTree>
    <p:extLst>
      <p:ext uri="{BB962C8B-B14F-4D97-AF65-F5344CB8AC3E}">
        <p14:creationId xmlns:p14="http://schemas.microsoft.com/office/powerpoint/2010/main" val="14087443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1000" fill="hold"/>
                                        <p:tgtEl>
                                          <p:spTgt spid="9"/>
                                        </p:tgtEl>
                                        <p:attrNameLst>
                                          <p:attrName>ppt_x</p:attrName>
                                        </p:attrNameLst>
                                      </p:cBhvr>
                                      <p:tavLst>
                                        <p:tav tm="0">
                                          <p:val>
                                            <p:strVal val="1+#ppt_w/2"/>
                                          </p:val>
                                        </p:tav>
                                        <p:tav tm="100000">
                                          <p:val>
                                            <p:strVal val="#ppt_x"/>
                                          </p:val>
                                        </p:tav>
                                      </p:tavLst>
                                    </p:anim>
                                    <p:anim calcmode="lin" valueType="num">
                                      <p:cBhvr additive="base">
                                        <p:cTn id="8" dur="1000" fill="hold"/>
                                        <p:tgtEl>
                                          <p:spTgt spid="9"/>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11"/>
                                        </p:tgtEl>
                                        <p:attrNameLst>
                                          <p:attrName>style.visibility</p:attrName>
                                        </p:attrNameLst>
                                      </p:cBhvr>
                                      <p:to>
                                        <p:strVal val="visible"/>
                                      </p:to>
                                    </p:set>
                                    <p:anim calcmode="lin" valueType="num">
                                      <p:cBhvr additive="base">
                                        <p:cTn id="11" dur="1000" fill="hold"/>
                                        <p:tgtEl>
                                          <p:spTgt spid="11"/>
                                        </p:tgtEl>
                                        <p:attrNameLst>
                                          <p:attrName>ppt_x</p:attrName>
                                        </p:attrNameLst>
                                      </p:cBhvr>
                                      <p:tavLst>
                                        <p:tav tm="0">
                                          <p:val>
                                            <p:strVal val="1+#ppt_w/2"/>
                                          </p:val>
                                        </p:tav>
                                        <p:tav tm="100000">
                                          <p:val>
                                            <p:strVal val="#ppt_x"/>
                                          </p:val>
                                        </p:tav>
                                      </p:tavLst>
                                    </p:anim>
                                    <p:anim calcmode="lin" valueType="num">
                                      <p:cBhvr additive="base">
                                        <p:cTn id="12" dur="1000" fill="hold"/>
                                        <p:tgtEl>
                                          <p:spTgt spid="11"/>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250"/>
                                  </p:stCondLst>
                                  <p:childTnLst>
                                    <p:set>
                                      <p:cBhvr>
                                        <p:cTn id="14" dur="1" fill="hold">
                                          <p:stCondLst>
                                            <p:cond delay="0"/>
                                          </p:stCondLst>
                                        </p:cTn>
                                        <p:tgtEl>
                                          <p:spTgt spid="4"/>
                                        </p:tgtEl>
                                        <p:attrNameLst>
                                          <p:attrName>style.visibility</p:attrName>
                                        </p:attrNameLst>
                                      </p:cBhvr>
                                      <p:to>
                                        <p:strVal val="visible"/>
                                      </p:to>
                                    </p:set>
                                    <p:anim calcmode="lin" valueType="num">
                                      <p:cBhvr additive="base">
                                        <p:cTn id="15" dur="1000" fill="hold"/>
                                        <p:tgtEl>
                                          <p:spTgt spid="4"/>
                                        </p:tgtEl>
                                        <p:attrNameLst>
                                          <p:attrName>ppt_x</p:attrName>
                                        </p:attrNameLst>
                                      </p:cBhvr>
                                      <p:tavLst>
                                        <p:tav tm="0">
                                          <p:val>
                                            <p:strVal val="1+#ppt_w/2"/>
                                          </p:val>
                                        </p:tav>
                                        <p:tav tm="100000">
                                          <p:val>
                                            <p:strVal val="#ppt_x"/>
                                          </p:val>
                                        </p:tav>
                                      </p:tavLst>
                                    </p:anim>
                                    <p:anim calcmode="lin" valueType="num">
                                      <p:cBhvr additive="base">
                                        <p:cTn id="16" dur="100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1" grpId="0"/>
      <p:bldP spid="4" grpId="0"/>
    </p:bldLst>
  </p:timing>
</p:sld>
</file>

<file path=ppt/slides/slide2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587166A4-6E95-63B2-0513-48B6EE43F7A7}"/>
              </a:ext>
            </a:extLst>
          </p:cNvPr>
          <p:cNvSpPr>
            <a:spLocks noGrp="1"/>
          </p:cNvSpPr>
          <p:nvPr>
            <p:ph type="sldNum" sz="quarter" idx="10"/>
          </p:nvPr>
        </p:nvSpPr>
        <p:spPr/>
        <p:txBody>
          <a:bodyPr/>
          <a:lstStyle/>
          <a:p>
            <a:fld id="{A04BEB4F-8CE1-4F18-986F-6CE0A0BE9470}" type="slidenum">
              <a:rPr lang="de-DE" smtClean="0"/>
              <a:t>25</a:t>
            </a:fld>
            <a:endParaRPr lang="de-DE"/>
          </a:p>
        </p:txBody>
      </p:sp>
      <p:sp>
        <p:nvSpPr>
          <p:cNvPr id="9" name="Titel 3">
            <a:extLst>
              <a:ext uri="{FF2B5EF4-FFF2-40B4-BE49-F238E27FC236}">
                <a16:creationId xmlns:a16="http://schemas.microsoft.com/office/drawing/2014/main" id="{FB109405-7FC6-5F27-06F4-7DAE42F15714}"/>
              </a:ext>
            </a:extLst>
          </p:cNvPr>
          <p:cNvSpPr txBox="1">
            <a:spLocks/>
          </p:cNvSpPr>
          <p:nvPr/>
        </p:nvSpPr>
        <p:spPr bwMode="auto">
          <a:xfrm>
            <a:off x="4263259" y="754474"/>
            <a:ext cx="3464897" cy="7941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normAutofit/>
          </a:bodyPr>
          <a:lstStyle>
            <a:lvl1pPr algn="l" defTabSz="914400" rtl="0" eaLnBrk="1" latinLnBrk="0" hangingPunct="1">
              <a:lnSpc>
                <a:spcPct val="100000"/>
              </a:lnSpc>
              <a:spcBef>
                <a:spcPct val="0"/>
              </a:spcBef>
              <a:buNone/>
              <a:defRPr sz="2800" kern="1200">
                <a:solidFill>
                  <a:schemeClr val="tx2"/>
                </a:solidFill>
                <a:latin typeface="+mj-lt"/>
                <a:ea typeface="+mj-ea"/>
                <a:cs typeface="+mj-cs"/>
              </a:defRPr>
            </a:lvl1pPr>
          </a:lstStyle>
          <a:p>
            <a:pPr algn="r"/>
            <a:r>
              <a:rPr lang="he-IL" b="1" err="1">
                <a:latin typeface="Calibri" panose="020F0502020204030204" pitchFamily="34" charset="0"/>
                <a:ea typeface="Calibri" panose="020F0502020204030204" pitchFamily="34" charset="0"/>
                <a:cs typeface="Calibri" panose="020F0502020204030204" pitchFamily="34" charset="0"/>
              </a:rPr>
              <a:t>אטא</a:t>
            </a:r>
            <a:r>
              <a:rPr lang="he-IL" b="1">
                <a:latin typeface="Calibri" panose="020F0502020204030204" pitchFamily="34" charset="0"/>
                <a:ea typeface="Calibri" panose="020F0502020204030204" pitchFamily="34" charset="0"/>
                <a:cs typeface="Calibri" panose="020F0502020204030204" pitchFamily="34" charset="0"/>
              </a:rPr>
              <a:t> קרנה</a:t>
            </a:r>
            <a:endParaRPr lang="de-DE">
              <a:latin typeface="Calibri" panose="020F0502020204030204" pitchFamily="34" charset="0"/>
              <a:ea typeface="Calibri" panose="020F0502020204030204" pitchFamily="34" charset="0"/>
              <a:cs typeface="Calibri" panose="020F0502020204030204" pitchFamily="34" charset="0"/>
            </a:endParaRPr>
          </a:p>
        </p:txBody>
      </p:sp>
      <p:sp>
        <p:nvSpPr>
          <p:cNvPr id="10" name="Textplatzhalter 4">
            <a:extLst>
              <a:ext uri="{FF2B5EF4-FFF2-40B4-BE49-F238E27FC236}">
                <a16:creationId xmlns:a16="http://schemas.microsoft.com/office/drawing/2014/main" id="{0BD74C70-D675-C1AB-81E2-3143E09B37E9}"/>
              </a:ext>
            </a:extLst>
          </p:cNvPr>
          <p:cNvSpPr txBox="1">
            <a:spLocks/>
          </p:cNvSpPr>
          <p:nvPr/>
        </p:nvSpPr>
        <p:spPr>
          <a:xfrm>
            <a:off x="521110" y="1907459"/>
            <a:ext cx="7207046" cy="4798142"/>
          </a:xfrm>
          <a:prstGeom prst="rect">
            <a:avLst/>
          </a:prstGeom>
        </p:spPr>
        <p:txBody>
          <a:bodyPr vert="horz" lIns="0" tIns="0" rIns="0" bIns="0" rtlCol="0">
            <a:normAutofit/>
          </a:bodyPr>
          <a:lstStyle>
            <a:lvl1pPr marL="266700" marR="0" indent="-266700" algn="l" defTabSz="1644650" rtl="0" eaLnBrk="0" fontAlgn="base" latinLnBrk="0" hangingPunct="0">
              <a:lnSpc>
                <a:spcPct val="130000"/>
              </a:lnSpc>
              <a:spcBef>
                <a:spcPct val="0"/>
              </a:spcBef>
              <a:spcAft>
                <a:spcPts val="1200"/>
              </a:spcAft>
              <a:buClr>
                <a:srgbClr val="004C99"/>
              </a:buClr>
              <a:buSzPct val="120000"/>
              <a:buFontTx/>
              <a:buBlip>
                <a:blip r:embed="rId2"/>
              </a:buBlip>
              <a:defRPr sz="1800" kern="1200">
                <a:solidFill>
                  <a:schemeClr val="tx1"/>
                </a:solidFill>
                <a:latin typeface="+mn-lt"/>
                <a:ea typeface="+mn-ea"/>
                <a:cs typeface="+mn-cs"/>
              </a:defRPr>
            </a:lvl1pPr>
            <a:lvl2pPr marL="630238" marR="0" indent="-268288" algn="l" defTabSz="1644650" rtl="0" eaLnBrk="0" fontAlgn="base" latinLnBrk="0" hangingPunct="0">
              <a:lnSpc>
                <a:spcPct val="130000"/>
              </a:lnSpc>
              <a:spcBef>
                <a:spcPct val="0"/>
              </a:spcBef>
              <a:spcAft>
                <a:spcPts val="1200"/>
              </a:spcAft>
              <a:buClr>
                <a:srgbClr val="004C99"/>
              </a:buClr>
              <a:buSzPct val="120000"/>
              <a:buFontTx/>
              <a:buBlip>
                <a:blip r:embed="rId2"/>
              </a:buBlip>
              <a:defRPr sz="1800" kern="1200">
                <a:solidFill>
                  <a:schemeClr val="tx1"/>
                </a:solidFill>
                <a:latin typeface="+mn-lt"/>
                <a:ea typeface="+mn-ea"/>
                <a:cs typeface="+mn-cs"/>
              </a:defRPr>
            </a:lvl2pPr>
            <a:lvl3pPr marL="990600" marR="0" indent="-274638" algn="l" defTabSz="1644650" rtl="0" eaLnBrk="0" fontAlgn="base" latinLnBrk="0" hangingPunct="0">
              <a:lnSpc>
                <a:spcPct val="130000"/>
              </a:lnSpc>
              <a:spcBef>
                <a:spcPct val="0"/>
              </a:spcBef>
              <a:spcAft>
                <a:spcPts val="1200"/>
              </a:spcAft>
              <a:buClr>
                <a:srgbClr val="004C99"/>
              </a:buClr>
              <a:buSzPct val="120000"/>
              <a:buFontTx/>
              <a:buBlip>
                <a:blip r:embed="rId2"/>
              </a:buBlip>
              <a:defRPr sz="1800" kern="1200">
                <a:solidFill>
                  <a:schemeClr val="tx1"/>
                </a:solidFill>
                <a:latin typeface="+mn-lt"/>
                <a:ea typeface="+mn-ea"/>
                <a:cs typeface="+mn-cs"/>
              </a:defRPr>
            </a:lvl3pPr>
            <a:lvl4pPr marL="1343025" marR="0" indent="-263525" algn="l" defTabSz="1644650" rtl="0" eaLnBrk="0" fontAlgn="base" latinLnBrk="0" hangingPunct="0">
              <a:lnSpc>
                <a:spcPct val="130000"/>
              </a:lnSpc>
              <a:spcBef>
                <a:spcPct val="0"/>
              </a:spcBef>
              <a:spcAft>
                <a:spcPts val="1200"/>
              </a:spcAft>
              <a:buClr>
                <a:srgbClr val="004C99"/>
              </a:buClr>
              <a:buSzPct val="120000"/>
              <a:buFontTx/>
              <a:buBlip>
                <a:blip r:embed="rId2"/>
              </a:buBlip>
              <a:defRPr sz="1800" kern="1200">
                <a:solidFill>
                  <a:schemeClr val="tx1"/>
                </a:solidFill>
                <a:latin typeface="+mn-lt"/>
                <a:ea typeface="+mn-ea"/>
                <a:cs typeface="+mn-cs"/>
              </a:defRPr>
            </a:lvl4pPr>
            <a:lvl5pPr marL="1704975" marR="0" indent="-271463" algn="l" defTabSz="1644650" rtl="0" eaLnBrk="0" fontAlgn="base" latinLnBrk="0" hangingPunct="0">
              <a:lnSpc>
                <a:spcPct val="130000"/>
              </a:lnSpc>
              <a:spcBef>
                <a:spcPct val="0"/>
              </a:spcBef>
              <a:spcAft>
                <a:spcPts val="1200"/>
              </a:spcAft>
              <a:buClr>
                <a:srgbClr val="004C99"/>
              </a:buClr>
              <a:buSzPct val="120000"/>
              <a:buFontTx/>
              <a:buBlip>
                <a:blip r:embed="rId2"/>
              </a:buBlip>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rtl="1"/>
            <a:r>
              <a:rPr lang="he-IL" sz="1600" dirty="0">
                <a:latin typeface="Calibri" panose="020F0502020204030204" pitchFamily="34" charset="0"/>
                <a:ea typeface="Calibri" panose="020F0502020204030204" pitchFamily="34" charset="0"/>
                <a:cs typeface="Calibri" panose="020F0502020204030204" pitchFamily="34" charset="0"/>
              </a:rPr>
              <a:t>קרנה הינו פנקס מעבר מכס, המשמש לפי תנאים מיוחדים שנקבעו באמנה בינלאומית, לצורך כניסה, או מעבר זמניים של טובין מסוגים שונים בין המדינות החתומות על האמנה, ללא כל צורך בתשלומי מיסים כלשהם, או הפקדת פיקדונות בארצות היבוא הזמני.</a:t>
            </a:r>
          </a:p>
          <a:p>
            <a:pPr algn="r" rtl="1">
              <a:spcAft>
                <a:spcPts val="600"/>
              </a:spcAft>
            </a:pPr>
            <a:r>
              <a:rPr lang="he-IL" sz="1600" dirty="0">
                <a:latin typeface="Calibri" panose="020F0502020204030204" pitchFamily="34" charset="0"/>
                <a:ea typeface="Calibri" panose="020F0502020204030204" pitchFamily="34" charset="0"/>
                <a:cs typeface="Calibri" panose="020F0502020204030204" pitchFamily="34" charset="0"/>
              </a:rPr>
              <a:t>הצוות המקצועי של </a:t>
            </a:r>
            <a:r>
              <a:rPr lang="he-IL" sz="1600" dirty="0" err="1">
                <a:latin typeface="Calibri" panose="020F0502020204030204" pitchFamily="34" charset="0"/>
                <a:ea typeface="Calibri" panose="020F0502020204030204" pitchFamily="34" charset="0"/>
                <a:cs typeface="Calibri" panose="020F0502020204030204" pitchFamily="34" charset="0"/>
              </a:rPr>
              <a:t>פלטרנספורט</a:t>
            </a:r>
            <a:r>
              <a:rPr lang="he-IL" sz="1600" dirty="0">
                <a:latin typeface="Calibri" panose="020F0502020204030204" pitchFamily="34" charset="0"/>
                <a:ea typeface="Calibri" panose="020F0502020204030204" pitchFamily="34" charset="0"/>
                <a:cs typeface="Calibri" panose="020F0502020204030204" pitchFamily="34" charset="0"/>
              </a:rPr>
              <a:t> יודע ונכון לסייע ללקוחותיו בפתיחת פנקס קרנה בלשכת המסחר ת"א.</a:t>
            </a:r>
          </a:p>
          <a:p>
            <a:pPr marL="723900" lvl="2" indent="0" algn="r" rtl="1">
              <a:spcAft>
                <a:spcPts val="600"/>
              </a:spcAft>
              <a:buNone/>
            </a:pPr>
            <a:r>
              <a:rPr lang="he-IL" sz="1600" dirty="0">
                <a:latin typeface="Calibri" panose="020F0502020204030204" pitchFamily="34" charset="0"/>
                <a:ea typeface="Calibri" panose="020F0502020204030204" pitchFamily="34" charset="0"/>
                <a:cs typeface="Calibri" panose="020F0502020204030204" pitchFamily="34" charset="0"/>
              </a:rPr>
              <a:t>הטיפול כולל:</a:t>
            </a:r>
          </a:p>
          <a:p>
            <a:pPr marL="1009650" lvl="2" indent="-285750" algn="r" rtl="1">
              <a:spcAft>
                <a:spcPts val="0"/>
              </a:spcAft>
              <a:buFont typeface="Arial" panose="020B0604020202020204" pitchFamily="34" charset="0"/>
              <a:buChar char="•"/>
            </a:pPr>
            <a:r>
              <a:rPr lang="he-IL" sz="1600" dirty="0">
                <a:latin typeface="Calibri" panose="020F0502020204030204" pitchFamily="34" charset="0"/>
                <a:ea typeface="Calibri" panose="020F0502020204030204" pitchFamily="34" charset="0"/>
                <a:cs typeface="Calibri" panose="020F0502020204030204" pitchFamily="34" charset="0"/>
              </a:rPr>
              <a:t>הגשת המסמכים ללשכת המסחר</a:t>
            </a:r>
          </a:p>
          <a:p>
            <a:pPr marL="1009650" lvl="2" indent="-285750" algn="r" rtl="1">
              <a:spcAft>
                <a:spcPts val="0"/>
              </a:spcAft>
              <a:buFont typeface="Arial" panose="020B0604020202020204" pitchFamily="34" charset="0"/>
              <a:buChar char="•"/>
            </a:pPr>
            <a:r>
              <a:rPr lang="he-IL" sz="1600" dirty="0">
                <a:latin typeface="Calibri" panose="020F0502020204030204" pitchFamily="34" charset="0"/>
                <a:ea typeface="Calibri" panose="020F0502020204030204" pitchFamily="34" charset="0"/>
                <a:cs typeface="Calibri" panose="020F0502020204030204" pitchFamily="34" charset="0"/>
              </a:rPr>
              <a:t>חישוב גובה הערבות הנדרשת</a:t>
            </a:r>
          </a:p>
          <a:p>
            <a:pPr marL="1009650" lvl="2" indent="-285750" algn="r" rtl="1">
              <a:spcAft>
                <a:spcPts val="0"/>
              </a:spcAft>
              <a:buFont typeface="Arial" panose="020B0604020202020204" pitchFamily="34" charset="0"/>
              <a:buChar char="•"/>
            </a:pPr>
            <a:r>
              <a:rPr lang="he-IL" sz="1600" dirty="0">
                <a:latin typeface="Calibri" panose="020F0502020204030204" pitchFamily="34" charset="0"/>
                <a:ea typeface="Calibri" panose="020F0502020204030204" pitchFamily="34" charset="0"/>
                <a:cs typeface="Calibri" panose="020F0502020204030204" pitchFamily="34" charset="0"/>
              </a:rPr>
              <a:t>שחרור מפיקוח המכס הן בתהליך היצוא והן בתהליך היבוא (בארץ ובחו"ל) תוך תיאום בין המחלקות השונות: עמילות יבוא, עמילות יצוא ושילוח בינ"ל.</a:t>
            </a:r>
          </a:p>
          <a:p>
            <a:pPr marL="1009650" lvl="2" indent="-285750" algn="r" rtl="1">
              <a:spcAft>
                <a:spcPts val="0"/>
              </a:spcAft>
              <a:buFont typeface="Arial" panose="020B0604020202020204" pitchFamily="34" charset="0"/>
              <a:buChar char="•"/>
            </a:pPr>
            <a:r>
              <a:rPr lang="he-IL" sz="1600" dirty="0">
                <a:latin typeface="Calibri" panose="020F0502020204030204" pitchFamily="34" charset="0"/>
                <a:ea typeface="Calibri" panose="020F0502020204030204" pitchFamily="34" charset="0"/>
                <a:cs typeface="Calibri" panose="020F0502020204030204" pitchFamily="34" charset="0"/>
              </a:rPr>
              <a:t>החתמת הקרנה לפי דרישות האמנה הבינ"ל</a:t>
            </a:r>
          </a:p>
          <a:p>
            <a:pPr marL="1009650" lvl="2" indent="-285750" algn="r" rtl="1">
              <a:spcAft>
                <a:spcPts val="0"/>
              </a:spcAft>
              <a:buFont typeface="Arial" panose="020B0604020202020204" pitchFamily="34" charset="0"/>
              <a:buChar char="•"/>
            </a:pPr>
            <a:r>
              <a:rPr lang="he-IL" sz="1600" dirty="0">
                <a:latin typeface="Calibri" panose="020F0502020204030204" pitchFamily="34" charset="0"/>
                <a:ea typeface="Calibri" panose="020F0502020204030204" pitchFamily="34" charset="0"/>
                <a:cs typeface="Calibri" panose="020F0502020204030204" pitchFamily="34" charset="0"/>
              </a:rPr>
              <a:t>סגירת הקרנה והשבת הפיקדון תוך שמירה הדוקה על פנקס הקרנה שהונפק</a:t>
            </a:r>
          </a:p>
        </p:txBody>
      </p:sp>
      <p:sp>
        <p:nvSpPr>
          <p:cNvPr id="11" name="Titel 3">
            <a:extLst>
              <a:ext uri="{FF2B5EF4-FFF2-40B4-BE49-F238E27FC236}">
                <a16:creationId xmlns:a16="http://schemas.microsoft.com/office/drawing/2014/main" id="{BFEA0DEE-3A4F-A132-0CA6-2C9FAD2065E8}"/>
              </a:ext>
            </a:extLst>
          </p:cNvPr>
          <p:cNvSpPr txBox="1"/>
          <p:nvPr/>
        </p:nvSpPr>
        <p:spPr bwMode="auto">
          <a:xfrm>
            <a:off x="4263259" y="1548625"/>
            <a:ext cx="2896904" cy="2696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normAutofit lnSpcReduction="10000"/>
          </a:bodyPr>
          <a:lstStyle>
            <a:lvl1pPr algn="l" defTabSz="914400" rtl="0" eaLnBrk="1" latinLnBrk="0" hangingPunct="1">
              <a:lnSpc>
                <a:spcPct val="100000"/>
              </a:lnSpc>
              <a:spcBef>
                <a:spcPct val="0"/>
              </a:spcBef>
              <a:buNone/>
              <a:defRPr sz="2800" kern="1200">
                <a:solidFill>
                  <a:schemeClr val="tx2"/>
                </a:solidFill>
                <a:latin typeface="+mj-lt"/>
                <a:ea typeface="+mj-ea"/>
                <a:cs typeface="+mj-cs"/>
              </a:defRPr>
            </a:lvl1pPr>
          </a:lstStyle>
          <a:p>
            <a:pPr algn="r" rtl="1"/>
            <a:r>
              <a:rPr lang="en-US" sz="1800" b="1">
                <a:latin typeface="Calibri" panose="020F0502020204030204" pitchFamily="34" charset="0"/>
                <a:ea typeface="Calibri" panose="020F0502020204030204" pitchFamily="34" charset="0"/>
                <a:cs typeface="Calibri" panose="020F0502020204030204" pitchFamily="34" charset="0"/>
              </a:rPr>
              <a:t>ATA CARNET</a:t>
            </a:r>
            <a:endParaRPr lang="de-DE" sz="1800" b="1">
              <a:latin typeface="Calibri" panose="020F0502020204030204" pitchFamily="34" charset="0"/>
              <a:ea typeface="Calibri" panose="020F0502020204030204" pitchFamily="34" charset="0"/>
              <a:cs typeface="Calibri" panose="020F0502020204030204" pitchFamily="34" charset="0"/>
            </a:endParaRPr>
          </a:p>
        </p:txBody>
      </p:sp>
      <p:pic>
        <p:nvPicPr>
          <p:cNvPr id="3074" name="Picture 2" descr="ATA CARNET">
            <a:extLst>
              <a:ext uri="{FF2B5EF4-FFF2-40B4-BE49-F238E27FC236}">
                <a16:creationId xmlns:a16="http://schemas.microsoft.com/office/drawing/2014/main" id="{2D0D2643-5C5C-FC3F-09D0-D3AB8E0993F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56045" y="1117270"/>
            <a:ext cx="3046610" cy="26583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7827290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ur="1000" decel="10000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1000" fill="hold"/>
                                        <p:tgtEl>
                                          <p:spTgt spid="9"/>
                                        </p:tgtEl>
                                        <p:attrNameLst>
                                          <p:attrName>ppt_x</p:attrName>
                                        </p:attrNameLst>
                                      </p:cBhvr>
                                      <p:tavLst>
                                        <p:tav tm="0">
                                          <p:val>
                                            <p:strVal val="0-#ppt_w/2"/>
                                          </p:val>
                                        </p:tav>
                                        <p:tav tm="100000">
                                          <p:val>
                                            <p:strVal val="#ppt_x"/>
                                          </p:val>
                                        </p:tav>
                                      </p:tavLst>
                                    </p:anim>
                                    <p:anim calcmode="lin" valueType="num">
                                      <p:cBhvr additive="base">
                                        <p:cTn id="8" dur="1000" fill="hold"/>
                                        <p:tgtEl>
                                          <p:spTgt spid="9"/>
                                        </p:tgtEl>
                                        <p:attrNameLst>
                                          <p:attrName>ppt_y</p:attrName>
                                        </p:attrNameLst>
                                      </p:cBhvr>
                                      <p:tavLst>
                                        <p:tav tm="0">
                                          <p:val>
                                            <p:strVal val="#ppt_y"/>
                                          </p:val>
                                        </p:tav>
                                        <p:tav tm="100000">
                                          <p:val>
                                            <p:strVal val="#ppt_y"/>
                                          </p:val>
                                        </p:tav>
                                      </p:tavLst>
                                    </p:anim>
                                  </p:childTnLst>
                                </p:cTn>
                              </p:par>
                              <p:par>
                                <p:cTn id="9" presetID="2" presetClass="entr" presetSubtype="8" dur="1000" decel="100000" fill="hold" grpId="0" nodeType="withEffect">
                                  <p:stCondLst>
                                    <p:cond delay="250"/>
                                  </p:stCondLst>
                                  <p:childTnLst>
                                    <p:set>
                                      <p:cBhvr>
                                        <p:cTn id="10" dur="1" fill="hold">
                                          <p:stCondLst>
                                            <p:cond delay="0"/>
                                          </p:stCondLst>
                                        </p:cTn>
                                        <p:tgtEl>
                                          <p:spTgt spid="11"/>
                                        </p:tgtEl>
                                        <p:attrNameLst>
                                          <p:attrName>style.visibility</p:attrName>
                                        </p:attrNameLst>
                                      </p:cBhvr>
                                      <p:to>
                                        <p:strVal val="visible"/>
                                      </p:to>
                                    </p:set>
                                    <p:anim calcmode="lin" valueType="num">
                                      <p:cBhvr additive="base">
                                        <p:cTn id="11" dur="1000" fill="hold"/>
                                        <p:tgtEl>
                                          <p:spTgt spid="11"/>
                                        </p:tgtEl>
                                        <p:attrNameLst>
                                          <p:attrName>ppt_x</p:attrName>
                                        </p:attrNameLst>
                                      </p:cBhvr>
                                      <p:tavLst>
                                        <p:tav tm="0">
                                          <p:val>
                                            <p:strVal val="0-#ppt_w/2"/>
                                          </p:val>
                                        </p:tav>
                                        <p:tav tm="100000">
                                          <p:val>
                                            <p:strVal val="#ppt_x"/>
                                          </p:val>
                                        </p:tav>
                                      </p:tavLst>
                                    </p:anim>
                                    <p:anim calcmode="lin" valueType="num">
                                      <p:cBhvr additive="base">
                                        <p:cTn id="12" dur="1000" fill="hold"/>
                                        <p:tgtEl>
                                          <p:spTgt spid="11"/>
                                        </p:tgtEl>
                                        <p:attrNameLst>
                                          <p:attrName>ppt_y</p:attrName>
                                        </p:attrNameLst>
                                      </p:cBhvr>
                                      <p:tavLst>
                                        <p:tav tm="0">
                                          <p:val>
                                            <p:strVal val="#ppt_y"/>
                                          </p:val>
                                        </p:tav>
                                        <p:tav tm="100000">
                                          <p:val>
                                            <p:strVal val="#ppt_y"/>
                                          </p:val>
                                        </p:tav>
                                      </p:tavLst>
                                    </p:anim>
                                  </p:childTnLst>
                                </p:cTn>
                              </p:par>
                              <p:par>
                                <p:cTn id="13" presetID="2" presetClass="entr" presetSubtype="8" dur="1000" decel="100000" fill="hold" grpId="0" nodeType="withEffect">
                                  <p:stCondLst>
                                    <p:cond delay="500"/>
                                  </p:stCondLst>
                                  <p:childTnLst>
                                    <p:set>
                                      <p:cBhvr>
                                        <p:cTn id="14" dur="1" fill="hold">
                                          <p:stCondLst>
                                            <p:cond delay="0"/>
                                          </p:stCondLst>
                                        </p:cTn>
                                        <p:tgtEl>
                                          <p:spTgt spid="10"/>
                                        </p:tgtEl>
                                        <p:attrNameLst>
                                          <p:attrName>style.visibility</p:attrName>
                                        </p:attrNameLst>
                                      </p:cBhvr>
                                      <p:to>
                                        <p:strVal val="visible"/>
                                      </p:to>
                                    </p:set>
                                    <p:anim calcmode="lin" valueType="num">
                                      <p:cBhvr additive="base">
                                        <p:cTn id="15" dur="1000" fill="hold"/>
                                        <p:tgtEl>
                                          <p:spTgt spid="10"/>
                                        </p:tgtEl>
                                        <p:attrNameLst>
                                          <p:attrName>ppt_x</p:attrName>
                                        </p:attrNameLst>
                                      </p:cBhvr>
                                      <p:tavLst>
                                        <p:tav tm="0">
                                          <p:val>
                                            <p:strVal val="0-#ppt_w/2"/>
                                          </p:val>
                                        </p:tav>
                                        <p:tav tm="100000">
                                          <p:val>
                                            <p:strVal val="#ppt_x"/>
                                          </p:val>
                                        </p:tav>
                                      </p:tavLst>
                                    </p:anim>
                                    <p:anim calcmode="lin" valueType="num">
                                      <p:cBhvr additive="base">
                                        <p:cTn id="16" dur="1000" fill="hold"/>
                                        <p:tgtEl>
                                          <p:spTgt spid="10"/>
                                        </p:tgtEl>
                                        <p:attrNameLst>
                                          <p:attrName>ppt_y</p:attrName>
                                        </p:attrNameLst>
                                      </p:cBhvr>
                                      <p:tavLst>
                                        <p:tav tm="0">
                                          <p:val>
                                            <p:strVal val="#ppt_y"/>
                                          </p:val>
                                        </p:tav>
                                        <p:tav tm="100000">
                                          <p:val>
                                            <p:strVal val="#ppt_y"/>
                                          </p:val>
                                        </p:tav>
                                      </p:tavLst>
                                    </p:anim>
                                  </p:childTnLst>
                                </p:cTn>
                              </p:par>
                              <p:par>
                                <p:cTn id="17" presetID="2" presetClass="entr" presetSubtype="2" fill="hold" nodeType="withEffect">
                                  <p:stCondLst>
                                    <p:cond delay="500"/>
                                  </p:stCondLst>
                                  <p:childTnLst>
                                    <p:set>
                                      <p:cBhvr>
                                        <p:cTn id="18" dur="1" fill="hold">
                                          <p:stCondLst>
                                            <p:cond delay="0"/>
                                          </p:stCondLst>
                                        </p:cTn>
                                        <p:tgtEl>
                                          <p:spTgt spid="3074"/>
                                        </p:tgtEl>
                                        <p:attrNameLst>
                                          <p:attrName>style.visibility</p:attrName>
                                        </p:attrNameLst>
                                      </p:cBhvr>
                                      <p:to>
                                        <p:strVal val="visible"/>
                                      </p:to>
                                    </p:set>
                                    <p:anim calcmode="lin" valueType="num">
                                      <p:cBhvr additive="base">
                                        <p:cTn id="19" dur="500" fill="hold"/>
                                        <p:tgtEl>
                                          <p:spTgt spid="3074"/>
                                        </p:tgtEl>
                                        <p:attrNameLst>
                                          <p:attrName>ppt_x</p:attrName>
                                        </p:attrNameLst>
                                      </p:cBhvr>
                                      <p:tavLst>
                                        <p:tav tm="0">
                                          <p:val>
                                            <p:strVal val="1+#ppt_w/2"/>
                                          </p:val>
                                        </p:tav>
                                        <p:tav tm="100000">
                                          <p:val>
                                            <p:strVal val="#ppt_x"/>
                                          </p:val>
                                        </p:tav>
                                      </p:tavLst>
                                    </p:anim>
                                    <p:anim calcmode="lin" valueType="num">
                                      <p:cBhvr additive="base">
                                        <p:cTn id="20" dur="500" fill="hold"/>
                                        <p:tgtEl>
                                          <p:spTgt spid="307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p:bldP spid="11" grpId="0"/>
    </p:bldLst>
  </p:timing>
</p:sld>
</file>

<file path=ppt/slides/slide2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587166A4-6E95-63B2-0513-48B6EE43F7A7}"/>
              </a:ext>
            </a:extLst>
          </p:cNvPr>
          <p:cNvSpPr>
            <a:spLocks noGrp="1"/>
          </p:cNvSpPr>
          <p:nvPr>
            <p:ph type="sldNum" sz="quarter" idx="10"/>
          </p:nvPr>
        </p:nvSpPr>
        <p:spPr/>
        <p:txBody>
          <a:bodyPr/>
          <a:lstStyle/>
          <a:p>
            <a:fld id="{A04BEB4F-8CE1-4F18-986F-6CE0A0BE9470}" type="slidenum">
              <a:rPr lang="de-DE" smtClean="0"/>
              <a:t>26</a:t>
            </a:fld>
            <a:endParaRPr lang="de-DE"/>
          </a:p>
        </p:txBody>
      </p:sp>
      <p:sp>
        <p:nvSpPr>
          <p:cNvPr id="9" name="Titel 3">
            <a:extLst>
              <a:ext uri="{FF2B5EF4-FFF2-40B4-BE49-F238E27FC236}">
                <a16:creationId xmlns:a16="http://schemas.microsoft.com/office/drawing/2014/main" id="{FB109405-7FC6-5F27-06F4-7DAE42F15714}"/>
              </a:ext>
            </a:extLst>
          </p:cNvPr>
          <p:cNvSpPr txBox="1">
            <a:spLocks/>
          </p:cNvSpPr>
          <p:nvPr/>
        </p:nvSpPr>
        <p:spPr bwMode="auto">
          <a:xfrm>
            <a:off x="815952" y="733402"/>
            <a:ext cx="10560096" cy="767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normAutofit/>
          </a:bodyPr>
          <a:lstStyle>
            <a:lvl1pPr algn="l" defTabSz="914400" rtl="0" eaLnBrk="1" latinLnBrk="0" hangingPunct="1">
              <a:lnSpc>
                <a:spcPct val="100000"/>
              </a:lnSpc>
              <a:spcBef>
                <a:spcPct val="0"/>
              </a:spcBef>
              <a:buNone/>
              <a:defRPr sz="2800" kern="1200">
                <a:solidFill>
                  <a:schemeClr val="tx2"/>
                </a:solidFill>
                <a:latin typeface="+mj-lt"/>
                <a:ea typeface="+mj-ea"/>
                <a:cs typeface="+mj-cs"/>
              </a:defRPr>
            </a:lvl1pPr>
          </a:lstStyle>
          <a:p>
            <a:pPr algn="r" rtl="1"/>
            <a:r>
              <a:rPr lang="he-IL" b="1">
                <a:latin typeface="Calibri" panose="020F0502020204030204" pitchFamily="34" charset="0"/>
                <a:ea typeface="Calibri" panose="020F0502020204030204" pitchFamily="34" charset="0"/>
                <a:cs typeface="Calibri" panose="020F0502020204030204" pitchFamily="34" charset="0"/>
              </a:rPr>
              <a:t>טיפול במשלוחי </a:t>
            </a:r>
            <a:r>
              <a:rPr lang="en-US" b="1">
                <a:latin typeface="Calibri" panose="020F0502020204030204" pitchFamily="34" charset="0"/>
                <a:ea typeface="Calibri" panose="020F0502020204030204" pitchFamily="34" charset="0"/>
                <a:cs typeface="Calibri" panose="020F0502020204030204" pitchFamily="34" charset="0"/>
              </a:rPr>
              <a:t>Time Critical</a:t>
            </a:r>
            <a:endParaRPr lang="de-DE">
              <a:latin typeface="Calibri" panose="020F0502020204030204" pitchFamily="34" charset="0"/>
              <a:ea typeface="Calibri" panose="020F0502020204030204" pitchFamily="34" charset="0"/>
              <a:cs typeface="Calibri" panose="020F0502020204030204" pitchFamily="34" charset="0"/>
            </a:endParaRPr>
          </a:p>
        </p:txBody>
      </p:sp>
      <p:sp>
        <p:nvSpPr>
          <p:cNvPr id="10" name="Textplatzhalter 4">
            <a:extLst>
              <a:ext uri="{FF2B5EF4-FFF2-40B4-BE49-F238E27FC236}">
                <a16:creationId xmlns:a16="http://schemas.microsoft.com/office/drawing/2014/main" id="{0BD74C70-D675-C1AB-81E2-3143E09B37E9}"/>
              </a:ext>
            </a:extLst>
          </p:cNvPr>
          <p:cNvSpPr txBox="1">
            <a:spLocks/>
          </p:cNvSpPr>
          <p:nvPr/>
        </p:nvSpPr>
        <p:spPr>
          <a:xfrm>
            <a:off x="5805948" y="2025445"/>
            <a:ext cx="5280049" cy="4268957"/>
          </a:xfrm>
          <a:prstGeom prst="rect">
            <a:avLst/>
          </a:prstGeom>
        </p:spPr>
        <p:txBody>
          <a:bodyPr vert="horz" lIns="0" tIns="0" rIns="0" bIns="0" rtlCol="0">
            <a:normAutofit/>
          </a:bodyPr>
          <a:lstStyle>
            <a:lvl1pPr marL="266700" marR="0" indent="-266700" algn="l" defTabSz="1644650" rtl="0" eaLnBrk="0" fontAlgn="base" latinLnBrk="0" hangingPunct="0">
              <a:lnSpc>
                <a:spcPct val="130000"/>
              </a:lnSpc>
              <a:spcBef>
                <a:spcPct val="0"/>
              </a:spcBef>
              <a:spcAft>
                <a:spcPts val="1200"/>
              </a:spcAft>
              <a:buClr>
                <a:srgbClr val="004C99"/>
              </a:buClr>
              <a:buSzPct val="120000"/>
              <a:buFontTx/>
              <a:buBlip>
                <a:blip r:embed="rId2"/>
              </a:buBlip>
              <a:defRPr sz="1800" kern="1200">
                <a:solidFill>
                  <a:schemeClr val="tx1"/>
                </a:solidFill>
                <a:latin typeface="+mn-lt"/>
                <a:ea typeface="+mn-ea"/>
                <a:cs typeface="+mn-cs"/>
              </a:defRPr>
            </a:lvl1pPr>
            <a:lvl2pPr marL="630238" marR="0" indent="-268288" algn="l" defTabSz="1644650" rtl="0" eaLnBrk="0" fontAlgn="base" latinLnBrk="0" hangingPunct="0">
              <a:lnSpc>
                <a:spcPct val="130000"/>
              </a:lnSpc>
              <a:spcBef>
                <a:spcPct val="0"/>
              </a:spcBef>
              <a:spcAft>
                <a:spcPts val="1200"/>
              </a:spcAft>
              <a:buClr>
                <a:srgbClr val="004C99"/>
              </a:buClr>
              <a:buSzPct val="120000"/>
              <a:buFontTx/>
              <a:buBlip>
                <a:blip r:embed="rId2"/>
              </a:buBlip>
              <a:defRPr sz="1800" kern="1200">
                <a:solidFill>
                  <a:schemeClr val="tx1"/>
                </a:solidFill>
                <a:latin typeface="+mn-lt"/>
                <a:ea typeface="+mn-ea"/>
                <a:cs typeface="+mn-cs"/>
              </a:defRPr>
            </a:lvl2pPr>
            <a:lvl3pPr marL="990600" marR="0" indent="-274638" algn="l" defTabSz="1644650" rtl="0" eaLnBrk="0" fontAlgn="base" latinLnBrk="0" hangingPunct="0">
              <a:lnSpc>
                <a:spcPct val="130000"/>
              </a:lnSpc>
              <a:spcBef>
                <a:spcPct val="0"/>
              </a:spcBef>
              <a:spcAft>
                <a:spcPts val="1200"/>
              </a:spcAft>
              <a:buClr>
                <a:srgbClr val="004C99"/>
              </a:buClr>
              <a:buSzPct val="120000"/>
              <a:buFontTx/>
              <a:buBlip>
                <a:blip r:embed="rId2"/>
              </a:buBlip>
              <a:defRPr sz="1800" kern="1200">
                <a:solidFill>
                  <a:schemeClr val="tx1"/>
                </a:solidFill>
                <a:latin typeface="+mn-lt"/>
                <a:ea typeface="+mn-ea"/>
                <a:cs typeface="+mn-cs"/>
              </a:defRPr>
            </a:lvl3pPr>
            <a:lvl4pPr marL="1343025" marR="0" indent="-263525" algn="l" defTabSz="1644650" rtl="0" eaLnBrk="0" fontAlgn="base" latinLnBrk="0" hangingPunct="0">
              <a:lnSpc>
                <a:spcPct val="130000"/>
              </a:lnSpc>
              <a:spcBef>
                <a:spcPct val="0"/>
              </a:spcBef>
              <a:spcAft>
                <a:spcPts val="1200"/>
              </a:spcAft>
              <a:buClr>
                <a:srgbClr val="004C99"/>
              </a:buClr>
              <a:buSzPct val="120000"/>
              <a:buFontTx/>
              <a:buBlip>
                <a:blip r:embed="rId2"/>
              </a:buBlip>
              <a:defRPr sz="1800" kern="1200">
                <a:solidFill>
                  <a:schemeClr val="tx1"/>
                </a:solidFill>
                <a:latin typeface="+mn-lt"/>
                <a:ea typeface="+mn-ea"/>
                <a:cs typeface="+mn-cs"/>
              </a:defRPr>
            </a:lvl4pPr>
            <a:lvl5pPr marL="1704975" marR="0" indent="-271463" algn="l" defTabSz="1644650" rtl="0" eaLnBrk="0" fontAlgn="base" latinLnBrk="0" hangingPunct="0">
              <a:lnSpc>
                <a:spcPct val="130000"/>
              </a:lnSpc>
              <a:spcBef>
                <a:spcPct val="0"/>
              </a:spcBef>
              <a:spcAft>
                <a:spcPts val="1200"/>
              </a:spcAft>
              <a:buClr>
                <a:srgbClr val="004C99"/>
              </a:buClr>
              <a:buSzPct val="120000"/>
              <a:buFontTx/>
              <a:buBlip>
                <a:blip r:embed="rId2"/>
              </a:buBlip>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rtl="1"/>
            <a:r>
              <a:rPr lang="he-IL" sz="1600" dirty="0">
                <a:latin typeface="Calibri" panose="020F0502020204030204" pitchFamily="34" charset="0"/>
                <a:ea typeface="Calibri" panose="020F0502020204030204" pitchFamily="34" charset="0"/>
                <a:cs typeface="Calibri" panose="020F0502020204030204" pitchFamily="34" charset="0"/>
              </a:rPr>
              <a:t>הצוות המקצועי של </a:t>
            </a:r>
            <a:r>
              <a:rPr lang="he-IL" sz="1600" dirty="0" err="1">
                <a:latin typeface="Calibri" panose="020F0502020204030204" pitchFamily="34" charset="0"/>
                <a:ea typeface="Calibri" panose="020F0502020204030204" pitchFamily="34" charset="0"/>
                <a:cs typeface="Calibri" panose="020F0502020204030204" pitchFamily="34" charset="0"/>
              </a:rPr>
              <a:t>פלטרנספורט</a:t>
            </a:r>
            <a:r>
              <a:rPr lang="he-IL" sz="1600" dirty="0">
                <a:latin typeface="Calibri" panose="020F0502020204030204" pitchFamily="34" charset="0"/>
                <a:ea typeface="Calibri" panose="020F0502020204030204" pitchFamily="34" charset="0"/>
                <a:cs typeface="Calibri" panose="020F0502020204030204" pitchFamily="34" charset="0"/>
              </a:rPr>
              <a:t> יודע לבנות את שרשרת הקירור לפי המפרט הנדרש ולפי מהות הטובין בצורה הנכונה ביותר.</a:t>
            </a:r>
          </a:p>
          <a:p>
            <a:pPr algn="r" rtl="1"/>
            <a:r>
              <a:rPr lang="he-IL" sz="1600" dirty="0">
                <a:latin typeface="Calibri" panose="020F0502020204030204" pitchFamily="34" charset="0"/>
                <a:ea typeface="Calibri" panose="020F0502020204030204" pitchFamily="34" charset="0"/>
                <a:cs typeface="Calibri" panose="020F0502020204030204" pitchFamily="34" charset="0"/>
              </a:rPr>
              <a:t>הצוות של </a:t>
            </a:r>
            <a:r>
              <a:rPr lang="he-IL" sz="1600" dirty="0" err="1">
                <a:latin typeface="Calibri" panose="020F0502020204030204" pitchFamily="34" charset="0"/>
                <a:ea typeface="Calibri" panose="020F0502020204030204" pitchFamily="34" charset="0"/>
                <a:cs typeface="Calibri" panose="020F0502020204030204" pitchFamily="34" charset="0"/>
              </a:rPr>
              <a:t>פלטרנספורט</a:t>
            </a:r>
            <a:r>
              <a:rPr lang="he-IL" sz="1600" dirty="0">
                <a:latin typeface="Calibri" panose="020F0502020204030204" pitchFamily="34" charset="0"/>
                <a:ea typeface="Calibri" panose="020F0502020204030204" pitchFamily="34" charset="0"/>
                <a:cs typeface="Calibri" panose="020F0502020204030204" pitchFamily="34" charset="0"/>
              </a:rPr>
              <a:t> בנתב"ג מיומן ובעל ניסיון רב שנים בטיפול משלוחי </a:t>
            </a:r>
            <a:r>
              <a:rPr lang="en-US" sz="1600" dirty="0">
                <a:latin typeface="Calibri" panose="020F0502020204030204" pitchFamily="34" charset="0"/>
                <a:ea typeface="Calibri" panose="020F0502020204030204" pitchFamily="34" charset="0"/>
                <a:cs typeface="Calibri" panose="020F0502020204030204" pitchFamily="34" charset="0"/>
              </a:rPr>
              <a:t>Time Critical</a:t>
            </a:r>
            <a:r>
              <a:rPr lang="he-IL" sz="1600" dirty="0">
                <a:latin typeface="Calibri" panose="020F0502020204030204" pitchFamily="34" charset="0"/>
                <a:ea typeface="Calibri" panose="020F0502020204030204" pitchFamily="34" charset="0"/>
                <a:cs typeface="Calibri" panose="020F0502020204030204" pitchFamily="34" charset="0"/>
              </a:rPr>
              <a:t>. כמובן שאנשי הצוות מחזיקים בהרשאות המתאימות: סוכני מכס ופקידי רישוי.</a:t>
            </a:r>
          </a:p>
          <a:p>
            <a:pPr algn="r" rtl="1"/>
            <a:r>
              <a:rPr lang="he-IL" sz="1600" dirty="0" err="1">
                <a:latin typeface="Calibri" panose="020F0502020204030204" pitchFamily="34" charset="0"/>
                <a:ea typeface="Calibri" panose="020F0502020204030204" pitchFamily="34" charset="0"/>
                <a:cs typeface="Calibri" panose="020F0502020204030204" pitchFamily="34" charset="0"/>
              </a:rPr>
              <a:t>פלטרנספורט</a:t>
            </a:r>
            <a:r>
              <a:rPr lang="he-IL" sz="1600" dirty="0">
                <a:latin typeface="Calibri" panose="020F0502020204030204" pitchFamily="34" charset="0"/>
                <a:ea typeface="Calibri" panose="020F0502020204030204" pitchFamily="34" charset="0"/>
                <a:cs typeface="Calibri" panose="020F0502020204030204" pitchFamily="34" charset="0"/>
              </a:rPr>
              <a:t> מטפלת בתדירות יומיומית מטענים של מזון טרי מהחי או מהצומח, משלוחים חקלאיים, בע"ח ועוד.</a:t>
            </a:r>
          </a:p>
          <a:p>
            <a:pPr algn="r" rtl="1"/>
            <a:r>
              <a:rPr lang="he-IL" sz="1600" dirty="0">
                <a:latin typeface="Calibri" panose="020F0502020204030204" pitchFamily="34" charset="0"/>
                <a:ea typeface="Calibri" panose="020F0502020204030204" pitchFamily="34" charset="0"/>
                <a:cs typeface="Calibri" panose="020F0502020204030204" pitchFamily="34" charset="0"/>
              </a:rPr>
              <a:t>הצוות מודע לדחיפות בשחרור מפיקוח המכס של מטענים אלו ודואג שישוחררו במהירות </a:t>
            </a:r>
            <a:r>
              <a:rPr lang="he-IL" sz="1600" dirty="0" err="1">
                <a:latin typeface="Calibri" panose="020F0502020204030204" pitchFamily="34" charset="0"/>
                <a:ea typeface="Calibri" panose="020F0502020204030204" pitchFamily="34" charset="0"/>
                <a:cs typeface="Calibri" panose="020F0502020204030204" pitchFamily="34" charset="0"/>
              </a:rPr>
              <a:t>המירבית</a:t>
            </a:r>
            <a:r>
              <a:rPr lang="he-IL" sz="1600" dirty="0">
                <a:latin typeface="Calibri" panose="020F0502020204030204" pitchFamily="34" charset="0"/>
                <a:ea typeface="Calibri" panose="020F0502020204030204" pitchFamily="34" charset="0"/>
                <a:cs typeface="Calibri" panose="020F0502020204030204" pitchFamily="34" charset="0"/>
              </a:rPr>
              <a:t>.</a:t>
            </a:r>
          </a:p>
          <a:p>
            <a:pPr algn="r" rtl="1"/>
            <a:r>
              <a:rPr lang="he-IL" sz="1600" dirty="0">
                <a:latin typeface="Calibri" panose="020F0502020204030204" pitchFamily="34" charset="0"/>
                <a:ea typeface="Calibri" panose="020F0502020204030204" pitchFamily="34" charset="0"/>
                <a:cs typeface="Calibri" panose="020F0502020204030204" pitchFamily="34" charset="0"/>
              </a:rPr>
              <a:t>משלוחים המגיעים בשעות קצה המחייבים שחרור תחת תהליך "מסירה ישירה" מטופלים בתיאום מראש בכל שעה שתידרש.</a:t>
            </a:r>
          </a:p>
          <a:p>
            <a:pPr algn="r" rtl="1"/>
            <a:endParaRPr lang="he-IL" sz="1600" dirty="0">
              <a:latin typeface="Calibri" panose="020F0502020204030204" pitchFamily="34" charset="0"/>
              <a:ea typeface="Calibri" panose="020F0502020204030204" pitchFamily="34" charset="0"/>
              <a:cs typeface="Calibri" panose="020F0502020204030204" pitchFamily="34" charset="0"/>
            </a:endParaRPr>
          </a:p>
          <a:p>
            <a:pPr algn="r" rtl="1"/>
            <a:endParaRPr lang="he-IL" sz="1600" dirty="0">
              <a:latin typeface="Calibri" panose="020F0502020204030204" pitchFamily="34" charset="0"/>
              <a:ea typeface="Calibri" panose="020F0502020204030204" pitchFamily="34" charset="0"/>
              <a:cs typeface="Calibri" panose="020F0502020204030204" pitchFamily="34" charset="0"/>
            </a:endParaRPr>
          </a:p>
        </p:txBody>
      </p:sp>
      <p:sp>
        <p:nvSpPr>
          <p:cNvPr id="11" name="Titel 3">
            <a:extLst>
              <a:ext uri="{FF2B5EF4-FFF2-40B4-BE49-F238E27FC236}">
                <a16:creationId xmlns:a16="http://schemas.microsoft.com/office/drawing/2014/main" id="{BFEA0DEE-3A4F-A132-0CA6-2C9FAD2065E8}"/>
              </a:ext>
            </a:extLst>
          </p:cNvPr>
          <p:cNvSpPr txBox="1"/>
          <p:nvPr/>
        </p:nvSpPr>
        <p:spPr bwMode="auto">
          <a:xfrm>
            <a:off x="815951" y="1435910"/>
            <a:ext cx="10560096" cy="314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normAutofit/>
          </a:bodyPr>
          <a:lstStyle>
            <a:lvl1pPr algn="l" defTabSz="914400" rtl="0" eaLnBrk="1" latinLnBrk="0" hangingPunct="1">
              <a:lnSpc>
                <a:spcPct val="100000"/>
              </a:lnSpc>
              <a:spcBef>
                <a:spcPct val="0"/>
              </a:spcBef>
              <a:buNone/>
              <a:defRPr sz="2800" kern="1200">
                <a:solidFill>
                  <a:schemeClr val="tx2"/>
                </a:solidFill>
                <a:latin typeface="+mj-lt"/>
                <a:ea typeface="+mj-ea"/>
                <a:cs typeface="+mj-cs"/>
              </a:defRPr>
            </a:lvl1pPr>
          </a:lstStyle>
          <a:p>
            <a:pPr algn="r" rtl="1"/>
            <a:r>
              <a:rPr lang="he-IL" sz="1800" b="1">
                <a:latin typeface="Calibri" panose="020F0502020204030204" pitchFamily="34" charset="0"/>
                <a:ea typeface="Calibri" panose="020F0502020204030204" pitchFamily="34" charset="0"/>
                <a:cs typeface="Calibri" panose="020F0502020204030204" pitchFamily="34" charset="0"/>
              </a:rPr>
              <a:t>בעלי-חיים, קירור, תרופות ועוד.</a:t>
            </a:r>
            <a:endParaRPr lang="de-DE" sz="1800" b="1">
              <a:latin typeface="Calibri" panose="020F0502020204030204" pitchFamily="34" charset="0"/>
              <a:ea typeface="Calibri" panose="020F0502020204030204" pitchFamily="34" charset="0"/>
              <a:cs typeface="Calibri" panose="020F0502020204030204" pitchFamily="34" charset="0"/>
            </a:endParaRPr>
          </a:p>
        </p:txBody>
      </p:sp>
      <p:pic>
        <p:nvPicPr>
          <p:cNvPr id="4" name="תמונה 3" descr="תמונה שמכילה מטוס, ענן, רכב, שמיים&#10;&#10;התיאור נוצר באופן אוטומטי">
            <a:extLst>
              <a:ext uri="{FF2B5EF4-FFF2-40B4-BE49-F238E27FC236}">
                <a16:creationId xmlns:a16="http://schemas.microsoft.com/office/drawing/2014/main" id="{79CBF87B-0715-64E8-F50D-C95513F1C2B0}"/>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556770" y="1117270"/>
            <a:ext cx="5161384" cy="5161384"/>
          </a:xfrm>
          <a:prstGeom prst="flowChartConnector">
            <a:avLst/>
          </a:prstGeom>
        </p:spPr>
      </p:pic>
    </p:spTree>
    <p:extLst>
      <p:ext uri="{BB962C8B-B14F-4D97-AF65-F5344CB8AC3E}">
        <p14:creationId xmlns:p14="http://schemas.microsoft.com/office/powerpoint/2010/main" val="232784970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1000" fill="hold"/>
                                        <p:tgtEl>
                                          <p:spTgt spid="9"/>
                                        </p:tgtEl>
                                        <p:attrNameLst>
                                          <p:attrName>ppt_x</p:attrName>
                                        </p:attrNameLst>
                                      </p:cBhvr>
                                      <p:tavLst>
                                        <p:tav tm="0">
                                          <p:val>
                                            <p:strVal val="1+#ppt_w/2"/>
                                          </p:val>
                                        </p:tav>
                                        <p:tav tm="100000">
                                          <p:val>
                                            <p:strVal val="#ppt_x"/>
                                          </p:val>
                                        </p:tav>
                                      </p:tavLst>
                                    </p:anim>
                                    <p:anim calcmode="lin" valueType="num">
                                      <p:cBhvr additive="base">
                                        <p:cTn id="8" dur="1000" fill="hold"/>
                                        <p:tgtEl>
                                          <p:spTgt spid="9"/>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11"/>
                                        </p:tgtEl>
                                        <p:attrNameLst>
                                          <p:attrName>style.visibility</p:attrName>
                                        </p:attrNameLst>
                                      </p:cBhvr>
                                      <p:to>
                                        <p:strVal val="visible"/>
                                      </p:to>
                                    </p:set>
                                    <p:anim calcmode="lin" valueType="num">
                                      <p:cBhvr additive="base">
                                        <p:cTn id="11" dur="1000" fill="hold"/>
                                        <p:tgtEl>
                                          <p:spTgt spid="11"/>
                                        </p:tgtEl>
                                        <p:attrNameLst>
                                          <p:attrName>ppt_x</p:attrName>
                                        </p:attrNameLst>
                                      </p:cBhvr>
                                      <p:tavLst>
                                        <p:tav tm="0">
                                          <p:val>
                                            <p:strVal val="1+#ppt_w/2"/>
                                          </p:val>
                                        </p:tav>
                                        <p:tav tm="100000">
                                          <p:val>
                                            <p:strVal val="#ppt_x"/>
                                          </p:val>
                                        </p:tav>
                                      </p:tavLst>
                                    </p:anim>
                                    <p:anim calcmode="lin" valueType="num">
                                      <p:cBhvr additive="base">
                                        <p:cTn id="12" dur="1000" fill="hold"/>
                                        <p:tgtEl>
                                          <p:spTgt spid="11"/>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500"/>
                                  </p:stCondLst>
                                  <p:childTnLst>
                                    <p:set>
                                      <p:cBhvr>
                                        <p:cTn id="14" dur="1" fill="hold">
                                          <p:stCondLst>
                                            <p:cond delay="0"/>
                                          </p:stCondLst>
                                        </p:cTn>
                                        <p:tgtEl>
                                          <p:spTgt spid="10"/>
                                        </p:tgtEl>
                                        <p:attrNameLst>
                                          <p:attrName>style.visibility</p:attrName>
                                        </p:attrNameLst>
                                      </p:cBhvr>
                                      <p:to>
                                        <p:strVal val="visible"/>
                                      </p:to>
                                    </p:set>
                                    <p:anim calcmode="lin" valueType="num">
                                      <p:cBhvr additive="base">
                                        <p:cTn id="15" dur="1000" fill="hold"/>
                                        <p:tgtEl>
                                          <p:spTgt spid="10"/>
                                        </p:tgtEl>
                                        <p:attrNameLst>
                                          <p:attrName>ppt_x</p:attrName>
                                        </p:attrNameLst>
                                      </p:cBhvr>
                                      <p:tavLst>
                                        <p:tav tm="0">
                                          <p:val>
                                            <p:strVal val="1+#ppt_w/2"/>
                                          </p:val>
                                        </p:tav>
                                        <p:tav tm="100000">
                                          <p:val>
                                            <p:strVal val="#ppt_x"/>
                                          </p:val>
                                        </p:tav>
                                      </p:tavLst>
                                    </p:anim>
                                    <p:anim calcmode="lin" valueType="num">
                                      <p:cBhvr additive="base">
                                        <p:cTn id="16" dur="1000" fill="hold"/>
                                        <p:tgtEl>
                                          <p:spTgt spid="10"/>
                                        </p:tgtEl>
                                        <p:attrNameLst>
                                          <p:attrName>ppt_y</p:attrName>
                                        </p:attrNameLst>
                                      </p:cBhvr>
                                      <p:tavLst>
                                        <p:tav tm="0">
                                          <p:val>
                                            <p:strVal val="#ppt_y"/>
                                          </p:val>
                                        </p:tav>
                                        <p:tav tm="100000">
                                          <p:val>
                                            <p:strVal val="#ppt_y"/>
                                          </p:val>
                                        </p:tav>
                                      </p:tavLst>
                                    </p:anim>
                                  </p:childTnLst>
                                </p:cTn>
                              </p:par>
                            </p:childTnLst>
                          </p:cTn>
                        </p:par>
                        <p:par>
                          <p:cTn id="17" fill="hold">
                            <p:stCondLst>
                              <p:cond delay="1500"/>
                            </p:stCondLst>
                            <p:childTnLst>
                              <p:par>
                                <p:cTn id="18" presetID="2" presetClass="entr" presetSubtype="8" fill="hold" nodeType="afterEffect">
                                  <p:stCondLst>
                                    <p:cond delay="0"/>
                                  </p:stCondLst>
                                  <p:childTnLst>
                                    <p:set>
                                      <p:cBhvr>
                                        <p:cTn id="19" dur="1" fill="hold">
                                          <p:stCondLst>
                                            <p:cond delay="0"/>
                                          </p:stCondLst>
                                        </p:cTn>
                                        <p:tgtEl>
                                          <p:spTgt spid="4"/>
                                        </p:tgtEl>
                                        <p:attrNameLst>
                                          <p:attrName>style.visibility</p:attrName>
                                        </p:attrNameLst>
                                      </p:cBhvr>
                                      <p:to>
                                        <p:strVal val="visible"/>
                                      </p:to>
                                    </p:set>
                                    <p:anim calcmode="lin" valueType="num">
                                      <p:cBhvr additive="base">
                                        <p:cTn id="20" dur="500" fill="hold"/>
                                        <p:tgtEl>
                                          <p:spTgt spid="4"/>
                                        </p:tgtEl>
                                        <p:attrNameLst>
                                          <p:attrName>ppt_x</p:attrName>
                                        </p:attrNameLst>
                                      </p:cBhvr>
                                      <p:tavLst>
                                        <p:tav tm="0">
                                          <p:val>
                                            <p:strVal val="0-#ppt_w/2"/>
                                          </p:val>
                                        </p:tav>
                                        <p:tav tm="100000">
                                          <p:val>
                                            <p:strVal val="#ppt_x"/>
                                          </p:val>
                                        </p:tav>
                                      </p:tavLst>
                                    </p:anim>
                                    <p:anim calcmode="lin" valueType="num">
                                      <p:cBhvr additive="base">
                                        <p:cTn id="21" dur="50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p:bldP spid="11"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587166A4-6E95-63B2-0513-48B6EE43F7A7}"/>
              </a:ext>
            </a:extLst>
          </p:cNvPr>
          <p:cNvSpPr>
            <a:spLocks noGrp="1"/>
          </p:cNvSpPr>
          <p:nvPr>
            <p:ph type="sldNum" sz="quarter" idx="10"/>
          </p:nvPr>
        </p:nvSpPr>
        <p:spPr/>
        <p:txBody>
          <a:bodyPr/>
          <a:lstStyle/>
          <a:p>
            <a:fld id="{A04BEB4F-8CE1-4F18-986F-6CE0A0BE9470}" type="slidenum">
              <a:rPr lang="de-DE" smtClean="0"/>
              <a:t>27</a:t>
            </a:fld>
            <a:endParaRPr lang="de-DE"/>
          </a:p>
        </p:txBody>
      </p:sp>
      <p:pic>
        <p:nvPicPr>
          <p:cNvPr id="11" name="תמונה 10" descr="תמונה שמכילה גרפיקה, לוגו, עיצוב גרפי, גופן&#10;&#10;התיאור נוצר באופן אוטומטי">
            <a:extLst>
              <a:ext uri="{FF2B5EF4-FFF2-40B4-BE49-F238E27FC236}">
                <a16:creationId xmlns:a16="http://schemas.microsoft.com/office/drawing/2014/main" id="{2A479D81-2A54-DCEF-9F60-4EEA4F5CDD8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25772" y="4609769"/>
            <a:ext cx="11740456" cy="2075431"/>
          </a:xfrm>
          <a:prstGeom prst="rect">
            <a:avLst/>
          </a:prstGeom>
        </p:spPr>
      </p:pic>
      <p:pic>
        <p:nvPicPr>
          <p:cNvPr id="13" name="תמונה 12" descr="תמונה שמכילה טקסט, גופן, צילום מסך, גרפיקה&#10;&#10;התיאור נוצר באופן אוטומטי">
            <a:extLst>
              <a:ext uri="{FF2B5EF4-FFF2-40B4-BE49-F238E27FC236}">
                <a16:creationId xmlns:a16="http://schemas.microsoft.com/office/drawing/2014/main" id="{30EA6594-9B1D-7ACE-6DE5-BE72A9B8965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2192000" y="4845298"/>
            <a:ext cx="11709976" cy="1604372"/>
          </a:xfrm>
          <a:prstGeom prst="rect">
            <a:avLst/>
          </a:prstGeom>
        </p:spPr>
      </p:pic>
      <p:pic>
        <p:nvPicPr>
          <p:cNvPr id="15" name="תמונה 14" descr="תמונה שמכילה טקסט, גופן, צילום מסך, גרפיקה&#10;&#10;התיאור נוצר באופן אוטומטי">
            <a:extLst>
              <a:ext uri="{FF2B5EF4-FFF2-40B4-BE49-F238E27FC236}">
                <a16:creationId xmlns:a16="http://schemas.microsoft.com/office/drawing/2014/main" id="{27E9909B-D750-4CD2-E2E7-9AD068033B37}"/>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99202" y="2551999"/>
            <a:ext cx="11593596" cy="1754002"/>
          </a:xfrm>
          <a:prstGeom prst="rect">
            <a:avLst/>
          </a:prstGeom>
        </p:spPr>
      </p:pic>
      <p:pic>
        <p:nvPicPr>
          <p:cNvPr id="17" name="תמונה 16">
            <a:extLst>
              <a:ext uri="{FF2B5EF4-FFF2-40B4-BE49-F238E27FC236}">
                <a16:creationId xmlns:a16="http://schemas.microsoft.com/office/drawing/2014/main" id="{21611544-DFD4-57AA-6B1D-8DEA4BB4ABF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197680" y="2773673"/>
            <a:ext cx="11394089" cy="1310653"/>
          </a:xfrm>
          <a:prstGeom prst="rect">
            <a:avLst/>
          </a:prstGeom>
        </p:spPr>
      </p:pic>
      <p:pic>
        <p:nvPicPr>
          <p:cNvPr id="18" name="תמונה 17" descr="תמונה שמכילה טקסט, גופן, צילום מסך, גרפיקה&#10;&#10;התיאור נוצר באופן אוטומטי">
            <a:extLst>
              <a:ext uri="{FF2B5EF4-FFF2-40B4-BE49-F238E27FC236}">
                <a16:creationId xmlns:a16="http://schemas.microsoft.com/office/drawing/2014/main" id="{091866B7-5F03-E10B-6E0F-831CCA43692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593596" y="2551998"/>
            <a:ext cx="11593596" cy="1754002"/>
          </a:xfrm>
          <a:prstGeom prst="rect">
            <a:avLst/>
          </a:prstGeom>
        </p:spPr>
      </p:pic>
      <p:pic>
        <p:nvPicPr>
          <p:cNvPr id="19" name="תמונה 18" descr="תמונה שמכילה גרפיקה, לוגו, עיצוב גרפי, גופן&#10;&#10;התיאור נוצר באופן אוטומטי">
            <a:extLst>
              <a:ext uri="{FF2B5EF4-FFF2-40B4-BE49-F238E27FC236}">
                <a16:creationId xmlns:a16="http://schemas.microsoft.com/office/drawing/2014/main" id="{4A0F509A-2D4D-9B94-8136-DBD492F74E4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2192000" y="4609769"/>
            <a:ext cx="11740456" cy="2075431"/>
          </a:xfrm>
          <a:prstGeom prst="rect">
            <a:avLst/>
          </a:prstGeom>
        </p:spPr>
      </p:pic>
      <p:sp>
        <p:nvSpPr>
          <p:cNvPr id="20" name="Titel 1">
            <a:extLst>
              <a:ext uri="{FF2B5EF4-FFF2-40B4-BE49-F238E27FC236}">
                <a16:creationId xmlns:a16="http://schemas.microsoft.com/office/drawing/2014/main" id="{37089D2E-EE25-3A4C-8977-F31E19DA7FCC}"/>
              </a:ext>
            </a:extLst>
          </p:cNvPr>
          <p:cNvSpPr txBox="1">
            <a:spLocks/>
          </p:cNvSpPr>
          <p:nvPr/>
        </p:nvSpPr>
        <p:spPr bwMode="auto">
          <a:xfrm>
            <a:off x="1332702" y="1490808"/>
            <a:ext cx="10560096" cy="4785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noAutofit/>
          </a:bodyPr>
          <a:lstStyle>
            <a:lvl1pPr algn="l" defTabSz="914400" rtl="0" eaLnBrk="1" latinLnBrk="0" hangingPunct="1">
              <a:lnSpc>
                <a:spcPct val="100000"/>
              </a:lnSpc>
              <a:spcBef>
                <a:spcPct val="0"/>
              </a:spcBef>
              <a:buNone/>
              <a:defRPr sz="2800" kern="1200">
                <a:solidFill>
                  <a:schemeClr val="tx2"/>
                </a:solidFill>
                <a:latin typeface="+mj-lt"/>
                <a:ea typeface="+mj-ea"/>
                <a:cs typeface="+mj-cs"/>
              </a:defRPr>
            </a:lvl1pPr>
          </a:lstStyle>
          <a:p>
            <a:pPr algn="r" rtl="1"/>
            <a:r>
              <a:rPr lang="he-IL" sz="4800" b="1" dirty="0">
                <a:effectLst>
                  <a:outerShdw blurRad="38100" dist="38100" dir="2700000" algn="tl">
                    <a:srgbClr val="000000">
                      <a:alpha val="43137"/>
                    </a:srgbClr>
                  </a:outerShdw>
                </a:effectLst>
                <a:latin typeface="Calibri" panose="020F0502020204030204" pitchFamily="34" charset="0"/>
                <a:ea typeface="Calibri" panose="020F0502020204030204" pitchFamily="34" charset="0"/>
                <a:cs typeface="Calibri" panose="020F0502020204030204" pitchFamily="34" charset="0"/>
              </a:rPr>
              <a:t>מבין לקוחותינו</a:t>
            </a:r>
            <a:endParaRPr lang="de-DE" sz="4800" b="1" dirty="0">
              <a:effectLst>
                <a:outerShdw blurRad="38100" dist="38100" dir="2700000" algn="tl">
                  <a:srgbClr val="000000">
                    <a:alpha val="43137"/>
                  </a:srgbClr>
                </a:outerShdw>
              </a:effectLst>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88702958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2" presetClass="exit" presetSubtype="2" fill="hold" nodeType="withEffect">
                                  <p:stCondLst>
                                    <p:cond delay="0"/>
                                  </p:stCondLst>
                                  <p:childTnLst>
                                    <p:anim calcmode="lin" valueType="num">
                                      <p:cBhvr additive="base">
                                        <p:cTn id="9" dur="10000"/>
                                        <p:tgtEl>
                                          <p:spTgt spid="11"/>
                                        </p:tgtEl>
                                        <p:attrNameLst>
                                          <p:attrName>ppt_x</p:attrName>
                                        </p:attrNameLst>
                                      </p:cBhvr>
                                      <p:tavLst>
                                        <p:tav tm="0">
                                          <p:val>
                                            <p:strVal val="ppt_x"/>
                                          </p:val>
                                        </p:tav>
                                        <p:tav tm="100000">
                                          <p:val>
                                            <p:strVal val="1+ppt_w/2"/>
                                          </p:val>
                                        </p:tav>
                                      </p:tavLst>
                                    </p:anim>
                                    <p:anim calcmode="lin" valueType="num">
                                      <p:cBhvr additive="base">
                                        <p:cTn id="10" dur="10000"/>
                                        <p:tgtEl>
                                          <p:spTgt spid="11"/>
                                        </p:tgtEl>
                                        <p:attrNameLst>
                                          <p:attrName>ppt_y</p:attrName>
                                        </p:attrNameLst>
                                      </p:cBhvr>
                                      <p:tavLst>
                                        <p:tav tm="0">
                                          <p:val>
                                            <p:strVal val="ppt_y"/>
                                          </p:val>
                                        </p:tav>
                                        <p:tav tm="100000">
                                          <p:val>
                                            <p:strVal val="ppt_y"/>
                                          </p:val>
                                        </p:tav>
                                      </p:tavLst>
                                    </p:anim>
                                    <p:set>
                                      <p:cBhvr>
                                        <p:cTn id="11" dur="1" fill="hold">
                                          <p:stCondLst>
                                            <p:cond delay="9999"/>
                                          </p:stCondLst>
                                        </p:cTn>
                                        <p:tgtEl>
                                          <p:spTgt spid="11"/>
                                        </p:tgtEl>
                                        <p:attrNameLst>
                                          <p:attrName>style.visibility</p:attrName>
                                        </p:attrNameLst>
                                      </p:cBhvr>
                                      <p:to>
                                        <p:strVal val="hidden"/>
                                      </p:to>
                                    </p:set>
                                  </p:childTnLst>
                                </p:cTn>
                              </p:par>
                              <p:par>
                                <p:cTn id="12" presetID="2" presetClass="entr" presetSubtype="8" repeatCount="indefinite" fill="hold" nodeType="withEffect">
                                  <p:stCondLst>
                                    <p:cond delay="0"/>
                                  </p:stCondLst>
                                  <p:childTnLst>
                                    <p:set>
                                      <p:cBhvr>
                                        <p:cTn id="13" dur="1" fill="hold">
                                          <p:stCondLst>
                                            <p:cond delay="0"/>
                                          </p:stCondLst>
                                        </p:cTn>
                                        <p:tgtEl>
                                          <p:spTgt spid="13"/>
                                        </p:tgtEl>
                                        <p:attrNameLst>
                                          <p:attrName>style.visibility</p:attrName>
                                        </p:attrNameLst>
                                      </p:cBhvr>
                                      <p:to>
                                        <p:strVal val="visible"/>
                                      </p:to>
                                    </p:set>
                                    <p:anim calcmode="lin" valueType="num">
                                      <p:cBhvr additive="base">
                                        <p:cTn id="14" dur="20000" fill="hold"/>
                                        <p:tgtEl>
                                          <p:spTgt spid="13"/>
                                        </p:tgtEl>
                                        <p:attrNameLst>
                                          <p:attrName>ppt_x</p:attrName>
                                        </p:attrNameLst>
                                      </p:cBhvr>
                                      <p:tavLst>
                                        <p:tav tm="0">
                                          <p:val>
                                            <p:strVal val="0-#ppt_w/2"/>
                                          </p:val>
                                        </p:tav>
                                        <p:tav tm="100000">
                                          <p:val>
                                            <p:strVal val="#ppt_x"/>
                                          </p:val>
                                        </p:tav>
                                      </p:tavLst>
                                    </p:anim>
                                    <p:anim calcmode="lin" valueType="num">
                                      <p:cBhvr additive="base">
                                        <p:cTn id="15" dur="20000" fill="hold"/>
                                        <p:tgtEl>
                                          <p:spTgt spid="13"/>
                                        </p:tgtEl>
                                        <p:attrNameLst>
                                          <p:attrName>ppt_y</p:attrName>
                                        </p:attrNameLst>
                                      </p:cBhvr>
                                      <p:tavLst>
                                        <p:tav tm="0">
                                          <p:val>
                                            <p:strVal val="#ppt_y"/>
                                          </p:val>
                                        </p:tav>
                                        <p:tav tm="100000">
                                          <p:val>
                                            <p:strVal val="#ppt_y"/>
                                          </p:val>
                                        </p:tav>
                                      </p:tavLst>
                                    </p:anim>
                                  </p:childTnLst>
                                </p:cTn>
                              </p:par>
                              <p:par>
                                <p:cTn id="16" presetID="2" presetClass="exit" presetSubtype="8" fill="hold" nodeType="withEffect">
                                  <p:stCondLst>
                                    <p:cond delay="0"/>
                                  </p:stCondLst>
                                  <p:childTnLst>
                                    <p:anim calcmode="lin" valueType="num">
                                      <p:cBhvr additive="base">
                                        <p:cTn id="17" dur="10000"/>
                                        <p:tgtEl>
                                          <p:spTgt spid="15"/>
                                        </p:tgtEl>
                                        <p:attrNameLst>
                                          <p:attrName>ppt_x</p:attrName>
                                        </p:attrNameLst>
                                      </p:cBhvr>
                                      <p:tavLst>
                                        <p:tav tm="0">
                                          <p:val>
                                            <p:strVal val="ppt_x"/>
                                          </p:val>
                                        </p:tav>
                                        <p:tav tm="100000">
                                          <p:val>
                                            <p:strVal val="0-ppt_w/2"/>
                                          </p:val>
                                        </p:tav>
                                      </p:tavLst>
                                    </p:anim>
                                    <p:anim calcmode="lin" valueType="num">
                                      <p:cBhvr additive="base">
                                        <p:cTn id="18" dur="10000"/>
                                        <p:tgtEl>
                                          <p:spTgt spid="15"/>
                                        </p:tgtEl>
                                        <p:attrNameLst>
                                          <p:attrName>ppt_y</p:attrName>
                                        </p:attrNameLst>
                                      </p:cBhvr>
                                      <p:tavLst>
                                        <p:tav tm="0">
                                          <p:val>
                                            <p:strVal val="ppt_y"/>
                                          </p:val>
                                        </p:tav>
                                        <p:tav tm="100000">
                                          <p:val>
                                            <p:strVal val="ppt_y"/>
                                          </p:val>
                                        </p:tav>
                                      </p:tavLst>
                                    </p:anim>
                                    <p:set>
                                      <p:cBhvr>
                                        <p:cTn id="19" dur="1" fill="hold">
                                          <p:stCondLst>
                                            <p:cond delay="9999"/>
                                          </p:stCondLst>
                                        </p:cTn>
                                        <p:tgtEl>
                                          <p:spTgt spid="15"/>
                                        </p:tgtEl>
                                        <p:attrNameLst>
                                          <p:attrName>style.visibility</p:attrName>
                                        </p:attrNameLst>
                                      </p:cBhvr>
                                      <p:to>
                                        <p:strVal val="hidden"/>
                                      </p:to>
                                    </p:set>
                                  </p:childTnLst>
                                </p:cTn>
                              </p:par>
                              <p:par>
                                <p:cTn id="20" presetID="2" presetClass="entr" presetSubtype="2" repeatCount="indefinite" fill="hold" nodeType="withEffect">
                                  <p:stCondLst>
                                    <p:cond delay="0"/>
                                  </p:stCondLst>
                                  <p:childTnLst>
                                    <p:set>
                                      <p:cBhvr>
                                        <p:cTn id="21" dur="1" fill="hold">
                                          <p:stCondLst>
                                            <p:cond delay="0"/>
                                          </p:stCondLst>
                                        </p:cTn>
                                        <p:tgtEl>
                                          <p:spTgt spid="17"/>
                                        </p:tgtEl>
                                        <p:attrNameLst>
                                          <p:attrName>style.visibility</p:attrName>
                                        </p:attrNameLst>
                                      </p:cBhvr>
                                      <p:to>
                                        <p:strVal val="visible"/>
                                      </p:to>
                                    </p:set>
                                    <p:anim calcmode="lin" valueType="num">
                                      <p:cBhvr additive="base">
                                        <p:cTn id="22" dur="20000" fill="hold"/>
                                        <p:tgtEl>
                                          <p:spTgt spid="17"/>
                                        </p:tgtEl>
                                        <p:attrNameLst>
                                          <p:attrName>ppt_x</p:attrName>
                                        </p:attrNameLst>
                                      </p:cBhvr>
                                      <p:tavLst>
                                        <p:tav tm="0">
                                          <p:val>
                                            <p:strVal val="1+#ppt_w/2"/>
                                          </p:val>
                                        </p:tav>
                                        <p:tav tm="100000">
                                          <p:val>
                                            <p:strVal val="#ppt_x"/>
                                          </p:val>
                                        </p:tav>
                                      </p:tavLst>
                                    </p:anim>
                                    <p:anim calcmode="lin" valueType="num">
                                      <p:cBhvr additive="base">
                                        <p:cTn id="23" dur="20000" fill="hold"/>
                                        <p:tgtEl>
                                          <p:spTgt spid="17"/>
                                        </p:tgtEl>
                                        <p:attrNameLst>
                                          <p:attrName>ppt_y</p:attrName>
                                        </p:attrNameLst>
                                      </p:cBhvr>
                                      <p:tavLst>
                                        <p:tav tm="0">
                                          <p:val>
                                            <p:strVal val="#ppt_y"/>
                                          </p:val>
                                        </p:tav>
                                        <p:tav tm="100000">
                                          <p:val>
                                            <p:strVal val="#ppt_y"/>
                                          </p:val>
                                        </p:tav>
                                      </p:tavLst>
                                    </p:anim>
                                  </p:childTnLst>
                                </p:cTn>
                              </p:par>
                              <p:par>
                                <p:cTn id="24" presetID="2" presetClass="entr" presetSubtype="2" repeatCount="indefinite" fill="hold" nodeType="withEffect">
                                  <p:stCondLst>
                                    <p:cond delay="10000"/>
                                  </p:stCondLst>
                                  <p:childTnLst>
                                    <p:set>
                                      <p:cBhvr>
                                        <p:cTn id="25" dur="1" fill="hold">
                                          <p:stCondLst>
                                            <p:cond delay="0"/>
                                          </p:stCondLst>
                                        </p:cTn>
                                        <p:tgtEl>
                                          <p:spTgt spid="18"/>
                                        </p:tgtEl>
                                        <p:attrNameLst>
                                          <p:attrName>style.visibility</p:attrName>
                                        </p:attrNameLst>
                                      </p:cBhvr>
                                      <p:to>
                                        <p:strVal val="visible"/>
                                      </p:to>
                                    </p:set>
                                    <p:anim calcmode="lin" valueType="num">
                                      <p:cBhvr additive="base">
                                        <p:cTn id="26" dur="20000" fill="hold"/>
                                        <p:tgtEl>
                                          <p:spTgt spid="18"/>
                                        </p:tgtEl>
                                        <p:attrNameLst>
                                          <p:attrName>ppt_x</p:attrName>
                                        </p:attrNameLst>
                                      </p:cBhvr>
                                      <p:tavLst>
                                        <p:tav tm="0">
                                          <p:val>
                                            <p:strVal val="1+#ppt_w/2"/>
                                          </p:val>
                                        </p:tav>
                                        <p:tav tm="100000">
                                          <p:val>
                                            <p:strVal val="#ppt_x"/>
                                          </p:val>
                                        </p:tav>
                                      </p:tavLst>
                                    </p:anim>
                                    <p:anim calcmode="lin" valueType="num">
                                      <p:cBhvr additive="base">
                                        <p:cTn id="27" dur="20000" fill="hold"/>
                                        <p:tgtEl>
                                          <p:spTgt spid="18"/>
                                        </p:tgtEl>
                                        <p:attrNameLst>
                                          <p:attrName>ppt_y</p:attrName>
                                        </p:attrNameLst>
                                      </p:cBhvr>
                                      <p:tavLst>
                                        <p:tav tm="0">
                                          <p:val>
                                            <p:strVal val="#ppt_y"/>
                                          </p:val>
                                        </p:tav>
                                        <p:tav tm="100000">
                                          <p:val>
                                            <p:strVal val="#ppt_y"/>
                                          </p:val>
                                        </p:tav>
                                      </p:tavLst>
                                    </p:anim>
                                  </p:childTnLst>
                                </p:cTn>
                              </p:par>
                              <p:par>
                                <p:cTn id="28" presetID="2" presetClass="entr" presetSubtype="8" repeatCount="indefinite" fill="hold" nodeType="withEffect">
                                  <p:stCondLst>
                                    <p:cond delay="10000"/>
                                  </p:stCondLst>
                                  <p:childTnLst>
                                    <p:set>
                                      <p:cBhvr>
                                        <p:cTn id="29" dur="1" fill="hold">
                                          <p:stCondLst>
                                            <p:cond delay="0"/>
                                          </p:stCondLst>
                                        </p:cTn>
                                        <p:tgtEl>
                                          <p:spTgt spid="19"/>
                                        </p:tgtEl>
                                        <p:attrNameLst>
                                          <p:attrName>style.visibility</p:attrName>
                                        </p:attrNameLst>
                                      </p:cBhvr>
                                      <p:to>
                                        <p:strVal val="visible"/>
                                      </p:to>
                                    </p:set>
                                    <p:anim calcmode="lin" valueType="num">
                                      <p:cBhvr additive="base">
                                        <p:cTn id="30" dur="20000" fill="hold"/>
                                        <p:tgtEl>
                                          <p:spTgt spid="19"/>
                                        </p:tgtEl>
                                        <p:attrNameLst>
                                          <p:attrName>ppt_x</p:attrName>
                                        </p:attrNameLst>
                                      </p:cBhvr>
                                      <p:tavLst>
                                        <p:tav tm="0">
                                          <p:val>
                                            <p:strVal val="0-#ppt_w/2"/>
                                          </p:val>
                                        </p:tav>
                                        <p:tav tm="100000">
                                          <p:val>
                                            <p:strVal val="#ppt_x"/>
                                          </p:val>
                                        </p:tav>
                                      </p:tavLst>
                                    </p:anim>
                                    <p:anim calcmode="lin" valueType="num">
                                      <p:cBhvr additive="base">
                                        <p:cTn id="31" dur="20000" fill="hold"/>
                                        <p:tgtEl>
                                          <p:spTgt spid="1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תמונה 9">
            <a:extLst>
              <a:ext uri="{FF2B5EF4-FFF2-40B4-BE49-F238E27FC236}">
                <a16:creationId xmlns:a16="http://schemas.microsoft.com/office/drawing/2014/main" id="{2E802AE6-8B73-4496-BD0E-90BDB09F28BB}"/>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0" y="0"/>
            <a:ext cx="12192000" cy="7170057"/>
          </a:xfrm>
          <a:prstGeom prst="rect">
            <a:avLst/>
          </a:prstGeom>
        </p:spPr>
      </p:pic>
      <p:sp>
        <p:nvSpPr>
          <p:cNvPr id="2" name="Slide Number Placeholder 1">
            <a:extLst>
              <a:ext uri="{FF2B5EF4-FFF2-40B4-BE49-F238E27FC236}">
                <a16:creationId xmlns:a16="http://schemas.microsoft.com/office/drawing/2014/main" id="{2C2ACAFD-9187-34D3-B14A-AB91D4051630}"/>
              </a:ext>
            </a:extLst>
          </p:cNvPr>
          <p:cNvSpPr>
            <a:spLocks noGrp="1"/>
          </p:cNvSpPr>
          <p:nvPr>
            <p:ph type="sldNum" sz="quarter" idx="10"/>
          </p:nvPr>
        </p:nvSpPr>
        <p:spPr/>
        <p:txBody>
          <a:bodyPr/>
          <a:lstStyle/>
          <a:p>
            <a:fld id="{A04BEB4F-8CE1-4F18-986F-6CE0A0BE9470}" type="slidenum">
              <a:rPr lang="de-DE" smtClean="0"/>
              <a:t>28</a:t>
            </a:fld>
            <a:endParaRPr lang="de-DE"/>
          </a:p>
        </p:txBody>
      </p:sp>
      <p:sp>
        <p:nvSpPr>
          <p:cNvPr id="8" name="Text Placeholder 7">
            <a:extLst>
              <a:ext uri="{FF2B5EF4-FFF2-40B4-BE49-F238E27FC236}">
                <a16:creationId xmlns:a16="http://schemas.microsoft.com/office/drawing/2014/main" id="{191397A4-60A2-89F1-14AD-10FDF1DAF2CA}"/>
              </a:ext>
            </a:extLst>
          </p:cNvPr>
          <p:cNvSpPr>
            <a:spLocks noGrp="1"/>
          </p:cNvSpPr>
          <p:nvPr>
            <p:ph type="body" sz="quarter" idx="12"/>
          </p:nvPr>
        </p:nvSpPr>
        <p:spPr>
          <a:xfrm>
            <a:off x="0" y="5020056"/>
            <a:ext cx="12192000" cy="2150001"/>
          </a:xfrm>
          <a:ln>
            <a:noFill/>
          </a:ln>
          <a:effectLst/>
        </p:spPr>
        <p:txBody>
          <a:bodyPr>
            <a:normAutofit fontScale="85000" lnSpcReduction="20000"/>
          </a:bodyPr>
          <a:lstStyle/>
          <a:p>
            <a:pPr marL="0" marR="0" lvl="0" indent="0" defTabSz="1644650" eaLnBrk="0" fontAlgn="base" latinLnBrk="0" hangingPunct="0">
              <a:lnSpc>
                <a:spcPct val="130000"/>
              </a:lnSpc>
              <a:spcBef>
                <a:spcPct val="0"/>
              </a:spcBef>
              <a:spcAft>
                <a:spcPct val="0"/>
              </a:spcAft>
              <a:buClr>
                <a:srgbClr val="004C99"/>
              </a:buClr>
              <a:buSzPct val="120000"/>
              <a:buFontTx/>
              <a:buNone/>
              <a:defRPr/>
            </a:pPr>
            <a:r>
              <a:rPr lang="he-IL" sz="5700" b="1" noProof="0" dirty="0">
                <a:ln w="15875">
                  <a:solidFill>
                    <a:schemeClr val="bg1"/>
                  </a:solidFill>
                </a:ln>
                <a:solidFill>
                  <a:srgbClr val="034FA3"/>
                </a:solidFill>
                <a:latin typeface="Calibri" panose="020F0502020204030204" pitchFamily="34" charset="0"/>
                <a:ea typeface="Calibri" panose="020F0502020204030204" pitchFamily="34" charset="0"/>
                <a:cs typeface="Calibri" panose="020F0502020204030204" pitchFamily="34" charset="0"/>
              </a:rPr>
              <a:t>  נשמח לעמוד לרשותכם!   </a:t>
            </a:r>
            <a:endParaRPr kumimoji="0" lang="de-DE" sz="5700" b="1" i="0" u="none" kern="1200" cap="none" spc="0" normalizeH="0" baseline="0" noProof="0" dirty="0">
              <a:ln w="15875">
                <a:solidFill>
                  <a:schemeClr val="bg1"/>
                </a:solidFill>
              </a:ln>
              <a:solidFill>
                <a:srgbClr val="034FA3"/>
              </a:solidFill>
              <a:uLnTx/>
              <a:uFillTx/>
              <a:latin typeface="Calibri" panose="020F0502020204030204" pitchFamily="34" charset="0"/>
              <a:ea typeface="Calibri" panose="020F0502020204030204" pitchFamily="34" charset="0"/>
              <a:cs typeface="Calibri" panose="020F0502020204030204" pitchFamily="34" charset="0"/>
            </a:endParaRPr>
          </a:p>
          <a:p>
            <a:pPr marL="0" marR="0" lvl="0" indent="0" algn="l" defTabSz="1644650" rtl="0" eaLnBrk="0" fontAlgn="base" latinLnBrk="0" hangingPunct="0">
              <a:lnSpc>
                <a:spcPct val="130000"/>
              </a:lnSpc>
              <a:spcBef>
                <a:spcPct val="0"/>
              </a:spcBef>
              <a:spcAft>
                <a:spcPct val="0"/>
              </a:spcAft>
              <a:buClr>
                <a:srgbClr val="004C99"/>
              </a:buClr>
              <a:buSzPct val="120000"/>
              <a:buFontTx/>
              <a:buNone/>
              <a:defRPr/>
            </a:pPr>
            <a:r>
              <a:rPr lang="de-DE" sz="4200" b="1" dirty="0">
                <a:ln w="9525">
                  <a:solidFill>
                    <a:schemeClr val="bg1"/>
                  </a:solidFill>
                </a:ln>
                <a:solidFill>
                  <a:srgbClr val="034FA3"/>
                </a:solidFill>
                <a:latin typeface="Calibri" panose="020F0502020204030204" pitchFamily="34" charset="0"/>
                <a:ea typeface="Calibri" panose="020F0502020204030204" pitchFamily="34" charset="0"/>
                <a:cs typeface="Calibri" panose="020F0502020204030204" pitchFamily="34" charset="0"/>
              </a:rPr>
              <a:t>www.</a:t>
            </a:r>
            <a:r>
              <a:rPr lang="en-US" sz="4200" b="1" dirty="0" err="1">
                <a:ln w="9525">
                  <a:solidFill>
                    <a:schemeClr val="bg1"/>
                  </a:solidFill>
                </a:ln>
                <a:solidFill>
                  <a:srgbClr val="034FA3"/>
                </a:solidFill>
                <a:latin typeface="Calibri" panose="020F0502020204030204" pitchFamily="34" charset="0"/>
                <a:ea typeface="Calibri" panose="020F0502020204030204" pitchFamily="34" charset="0"/>
                <a:cs typeface="Calibri" panose="020F0502020204030204" pitchFamily="34" charset="0"/>
              </a:rPr>
              <a:t>peltransport</a:t>
            </a:r>
            <a:r>
              <a:rPr lang="de-DE" sz="4200" b="1" dirty="0">
                <a:ln w="9525">
                  <a:solidFill>
                    <a:schemeClr val="bg1"/>
                  </a:solidFill>
                </a:ln>
                <a:solidFill>
                  <a:srgbClr val="034FA3"/>
                </a:solidFill>
                <a:latin typeface="Calibri" panose="020F0502020204030204" pitchFamily="34" charset="0"/>
                <a:ea typeface="Calibri" panose="020F0502020204030204" pitchFamily="34" charset="0"/>
                <a:cs typeface="Calibri" panose="020F0502020204030204" pitchFamily="34" charset="0"/>
              </a:rPr>
              <a:t>.</a:t>
            </a:r>
            <a:r>
              <a:rPr lang="en-US" sz="4200" b="1" dirty="0">
                <a:ln w="9525">
                  <a:solidFill>
                    <a:schemeClr val="bg1"/>
                  </a:solidFill>
                </a:ln>
                <a:solidFill>
                  <a:srgbClr val="034FA3"/>
                </a:solidFill>
                <a:latin typeface="Calibri" panose="020F0502020204030204" pitchFamily="34" charset="0"/>
                <a:ea typeface="Calibri" panose="020F0502020204030204" pitchFamily="34" charset="0"/>
                <a:cs typeface="Calibri" panose="020F0502020204030204" pitchFamily="34" charset="0"/>
              </a:rPr>
              <a:t>com</a:t>
            </a:r>
            <a:endParaRPr lang="de-DE" sz="4200" b="1" dirty="0">
              <a:ln w="9525">
                <a:solidFill>
                  <a:schemeClr val="bg1"/>
                </a:solidFill>
              </a:ln>
              <a:solidFill>
                <a:srgbClr val="034FA3"/>
              </a:solidFill>
              <a:latin typeface="Calibri" panose="020F0502020204030204" pitchFamily="34" charset="0"/>
              <a:ea typeface="Calibri" panose="020F0502020204030204" pitchFamily="34" charset="0"/>
              <a:cs typeface="Calibri" panose="020F0502020204030204" pitchFamily="34" charset="0"/>
            </a:endParaRPr>
          </a:p>
          <a:p>
            <a:endParaRPr lang="de-DE" b="1" dirty="0">
              <a:effectLst>
                <a:outerShdw blurRad="50800" dist="50800" dir="5400000" algn="ctr" rotWithShape="0">
                  <a:schemeClr val="tx1">
                    <a:lumMod val="20000"/>
                    <a:lumOff val="80000"/>
                  </a:schemeClr>
                </a:outerShdw>
              </a:effectLst>
            </a:endParaRPr>
          </a:p>
        </p:txBody>
      </p:sp>
    </p:spTree>
    <p:extLst>
      <p:ext uri="{BB962C8B-B14F-4D97-AF65-F5344CB8AC3E}">
        <p14:creationId xmlns:p14="http://schemas.microsoft.com/office/powerpoint/2010/main" val="2047806876"/>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6AA56638-565A-4C25-8A4F-75A091E11F96}"/>
              </a:ext>
            </a:extLst>
          </p:cNvPr>
          <p:cNvPicPr>
            <a:picLocks noChangeAspect="1"/>
          </p:cNvPicPr>
          <p:nvPr/>
        </p:nvPicPr>
        <p:blipFill>
          <a:blip r:embed="rId2"/>
          <a:stretch>
            <a:fillRect/>
          </a:stretch>
        </p:blipFill>
        <p:spPr>
          <a:xfrm>
            <a:off x="8516846" y="4709676"/>
            <a:ext cx="1847248" cy="1896020"/>
          </a:xfrm>
          <a:prstGeom prst="rect">
            <a:avLst/>
          </a:prstGeom>
        </p:spPr>
      </p:pic>
      <p:pic>
        <p:nvPicPr>
          <p:cNvPr id="5" name="Grafik 4">
            <a:extLst>
              <a:ext uri="{FF2B5EF4-FFF2-40B4-BE49-F238E27FC236}">
                <a16:creationId xmlns:a16="http://schemas.microsoft.com/office/drawing/2014/main" id="{A89B2338-F6D2-4BD3-86C9-76E1BBA08FE2}"/>
              </a:ext>
            </a:extLst>
          </p:cNvPr>
          <p:cNvPicPr>
            <a:picLocks noChangeAspect="1"/>
          </p:cNvPicPr>
          <p:nvPr/>
        </p:nvPicPr>
        <p:blipFill>
          <a:blip r:embed="rId3"/>
          <a:srcRect b="33533"/>
          <a:stretch>
            <a:fillRect/>
          </a:stretch>
        </p:blipFill>
        <p:spPr>
          <a:xfrm>
            <a:off x="4801110" y="1529370"/>
            <a:ext cx="2511770" cy="3168801"/>
          </a:xfrm>
          <a:prstGeom prst="rect">
            <a:avLst/>
          </a:prstGeom>
        </p:spPr>
      </p:pic>
      <p:pic>
        <p:nvPicPr>
          <p:cNvPr id="1912" name="Grafik 1911">
            <a:extLst>
              <a:ext uri="{FF2B5EF4-FFF2-40B4-BE49-F238E27FC236}">
                <a16:creationId xmlns:a16="http://schemas.microsoft.com/office/drawing/2014/main" id="{65B276B9-B093-40BE-B5A9-7AF1261BA77F}"/>
              </a:ext>
            </a:extLst>
          </p:cNvPr>
          <p:cNvPicPr>
            <a:picLocks noChangeAspect="1"/>
          </p:cNvPicPr>
          <p:nvPr/>
        </p:nvPicPr>
        <p:blipFill>
          <a:blip r:embed="rId4"/>
          <a:stretch>
            <a:fillRect/>
          </a:stretch>
        </p:blipFill>
        <p:spPr>
          <a:xfrm>
            <a:off x="6124478" y="1435016"/>
            <a:ext cx="3883489" cy="3590855"/>
          </a:xfrm>
          <a:prstGeom prst="rect">
            <a:avLst/>
          </a:prstGeom>
        </p:spPr>
      </p:pic>
      <p:pic>
        <p:nvPicPr>
          <p:cNvPr id="1911" name="Grafik 1910">
            <a:extLst>
              <a:ext uri="{FF2B5EF4-FFF2-40B4-BE49-F238E27FC236}">
                <a16:creationId xmlns:a16="http://schemas.microsoft.com/office/drawing/2014/main" id="{47B04E2A-6432-4940-ACA0-00B6EDC9499B}"/>
              </a:ext>
            </a:extLst>
          </p:cNvPr>
          <p:cNvPicPr>
            <a:picLocks noChangeAspect="1"/>
          </p:cNvPicPr>
          <p:nvPr/>
        </p:nvPicPr>
        <p:blipFill>
          <a:blip r:embed="rId5"/>
          <a:stretch>
            <a:fillRect/>
          </a:stretch>
        </p:blipFill>
        <p:spPr>
          <a:xfrm>
            <a:off x="1116120" y="1359122"/>
            <a:ext cx="4224894" cy="3017782"/>
          </a:xfrm>
          <a:prstGeom prst="rect">
            <a:avLst/>
          </a:prstGeom>
        </p:spPr>
      </p:pic>
      <p:pic>
        <p:nvPicPr>
          <p:cNvPr id="1910" name="Grafik 1909">
            <a:extLst>
              <a:ext uri="{FF2B5EF4-FFF2-40B4-BE49-F238E27FC236}">
                <a16:creationId xmlns:a16="http://schemas.microsoft.com/office/drawing/2014/main" id="{B183DE90-F288-4540-9874-AFA6A065B52E}"/>
              </a:ext>
            </a:extLst>
          </p:cNvPr>
          <p:cNvPicPr>
            <a:picLocks noChangeAspect="1"/>
          </p:cNvPicPr>
          <p:nvPr/>
        </p:nvPicPr>
        <p:blipFill>
          <a:blip r:embed="rId6"/>
          <a:stretch>
            <a:fillRect/>
          </a:stretch>
        </p:blipFill>
        <p:spPr>
          <a:xfrm>
            <a:off x="3206221" y="4267990"/>
            <a:ext cx="1475360" cy="2127688"/>
          </a:xfrm>
          <a:prstGeom prst="rect">
            <a:avLst/>
          </a:prstGeom>
        </p:spPr>
      </p:pic>
      <p:pic>
        <p:nvPicPr>
          <p:cNvPr id="1909" name="Grafik 1908">
            <a:extLst>
              <a:ext uri="{FF2B5EF4-FFF2-40B4-BE49-F238E27FC236}">
                <a16:creationId xmlns:a16="http://schemas.microsoft.com/office/drawing/2014/main" id="{6BE6FB7C-88F0-485F-9858-75EE6376FA36}"/>
              </a:ext>
            </a:extLst>
          </p:cNvPr>
          <p:cNvPicPr>
            <a:picLocks noChangeAspect="1"/>
          </p:cNvPicPr>
          <p:nvPr/>
        </p:nvPicPr>
        <p:blipFill>
          <a:blip r:embed="rId7"/>
          <a:stretch>
            <a:fillRect/>
          </a:stretch>
        </p:blipFill>
        <p:spPr>
          <a:xfrm>
            <a:off x="4865855" y="3661717"/>
            <a:ext cx="2213040" cy="1975275"/>
          </a:xfrm>
          <a:prstGeom prst="rect">
            <a:avLst/>
          </a:prstGeom>
        </p:spPr>
      </p:pic>
      <p:pic>
        <p:nvPicPr>
          <p:cNvPr id="1813" name="Grafik 1812">
            <a:extLst>
              <a:ext uri="{FF2B5EF4-FFF2-40B4-BE49-F238E27FC236}">
                <a16:creationId xmlns:a16="http://schemas.microsoft.com/office/drawing/2014/main" id="{CFBDA127-91F4-4096-99C1-44B753334F13}"/>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274796" y="2553108"/>
            <a:ext cx="8083997" cy="3605606"/>
          </a:xfrm>
          <a:prstGeom prst="rect">
            <a:avLst/>
          </a:prstGeom>
        </p:spPr>
      </p:pic>
      <p:sp>
        <p:nvSpPr>
          <p:cNvPr id="2" name="Foliennummernplatzhalter 1">
            <a:extLst>
              <a:ext uri="{FF2B5EF4-FFF2-40B4-BE49-F238E27FC236}">
                <a16:creationId xmlns:a16="http://schemas.microsoft.com/office/drawing/2014/main" id="{A05B2177-01E2-4B3D-B415-8307EE5FD38F}"/>
              </a:ext>
            </a:extLst>
          </p:cNvPr>
          <p:cNvSpPr>
            <a:spLocks noGrp="1"/>
          </p:cNvSpPr>
          <p:nvPr>
            <p:ph type="sldNum" sz="quarter" idx="10"/>
          </p:nvPr>
        </p:nvSpPr>
        <p:spPr/>
        <p:txBody>
          <a:bodyPr/>
          <a:lstStyle/>
          <a:p>
            <a:fld id="{A04BEB4F-8CE1-4F18-986F-6CE0A0BE9470}" type="slidenum">
              <a:rPr lang="de-DE" smtClean="0"/>
              <a:t>3</a:t>
            </a:fld>
            <a:endParaRPr lang="de-DE"/>
          </a:p>
        </p:txBody>
      </p:sp>
      <p:sp>
        <p:nvSpPr>
          <p:cNvPr id="3" name="Title 1">
            <a:extLst>
              <a:ext uri="{FF2B5EF4-FFF2-40B4-BE49-F238E27FC236}">
                <a16:creationId xmlns:a16="http://schemas.microsoft.com/office/drawing/2014/main" id="{B79ED74D-4B4D-DD21-54F8-D269FAE035B7}"/>
              </a:ext>
            </a:extLst>
          </p:cNvPr>
          <p:cNvSpPr txBox="1"/>
          <p:nvPr/>
        </p:nvSpPr>
        <p:spPr>
          <a:xfrm>
            <a:off x="776947" y="382315"/>
            <a:ext cx="10560096" cy="767737"/>
          </a:xfrm>
          <a:prstGeom prst="rect">
            <a:avLst/>
          </a:prstGeom>
        </p:spPr>
        <p:txBody>
          <a:bodyPr lIns="0" tIns="0" rIns="0" bIns="0" anchor="b">
            <a:normAutofit/>
          </a:bodyPr>
          <a:lstStyle>
            <a:lvl1pPr algn="l" defTabSz="914400" rtl="0" eaLnBrk="1" latinLnBrk="0" hangingPunct="1">
              <a:lnSpc>
                <a:spcPct val="100000"/>
              </a:lnSpc>
              <a:spcBef>
                <a:spcPct val="0"/>
              </a:spcBef>
              <a:buNone/>
              <a:defRPr sz="2800" kern="1200">
                <a:solidFill>
                  <a:schemeClr val="tx2"/>
                </a:solidFill>
                <a:latin typeface="+mj-lt"/>
                <a:ea typeface="+mj-ea"/>
                <a:cs typeface="+mj-cs"/>
              </a:defRPr>
            </a:lvl1pPr>
          </a:lstStyle>
          <a:p>
            <a:pPr algn="r" rtl="1"/>
            <a:r>
              <a:rPr lang="he-IL" b="1" dirty="0">
                <a:effectLst>
                  <a:outerShdw blurRad="38100" dist="38100" dir="2700000" algn="tl">
                    <a:srgbClr val="000000">
                      <a:alpha val="43137"/>
                    </a:srgbClr>
                  </a:outerShdw>
                </a:effectLst>
                <a:latin typeface="Calibri" panose="020F0502020204030204" pitchFamily="34" charset="0"/>
                <a:ea typeface="Calibri" panose="020F0502020204030204" pitchFamily="34" charset="0"/>
                <a:cs typeface="Calibri" panose="020F0502020204030204" pitchFamily="34" charset="0"/>
              </a:rPr>
              <a:t>פריסת הרשת הגלובלית</a:t>
            </a:r>
            <a:endParaRPr lang="de-DE" sz="1800" dirty="0"/>
          </a:p>
        </p:txBody>
      </p:sp>
    </p:spTree>
    <p:extLst>
      <p:ext uri="{BB962C8B-B14F-4D97-AF65-F5344CB8AC3E}">
        <p14:creationId xmlns:p14="http://schemas.microsoft.com/office/powerpoint/2010/main" val="594268401"/>
      </p:ext>
    </p:extLst>
  </p:cSld>
  <p:clrMapOvr>
    <a:masterClrMapping/>
  </p:clrMapOvr>
  <p:transition advClick="0" advTm="5000"/>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8" dur="1000" decel="100000" fill="hold" nodeType="withEffect">
                                  <p:stCondLst>
                                    <p:cond delay="25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000" fill="hold"/>
                                        <p:tgtEl>
                                          <p:spTgt spid="4"/>
                                        </p:tgtEl>
                                        <p:attrNameLst>
                                          <p:attrName>ppt_x</p:attrName>
                                        </p:attrNameLst>
                                      </p:cBhvr>
                                      <p:tavLst>
                                        <p:tav tm="0">
                                          <p:val>
                                            <p:strVal val="0-#ppt_w/2"/>
                                          </p:val>
                                        </p:tav>
                                        <p:tav tm="100000">
                                          <p:val>
                                            <p:strVal val="#ppt_x"/>
                                          </p:val>
                                        </p:tav>
                                      </p:tavLst>
                                    </p:anim>
                                    <p:anim calcmode="lin" valueType="num">
                                      <p:cBhvr additive="base">
                                        <p:cTn id="8" dur="1000" fill="hold"/>
                                        <p:tgtEl>
                                          <p:spTgt spid="4"/>
                                        </p:tgtEl>
                                        <p:attrNameLst>
                                          <p:attrName>ppt_y</p:attrName>
                                        </p:attrNameLst>
                                      </p:cBhvr>
                                      <p:tavLst>
                                        <p:tav tm="0">
                                          <p:val>
                                            <p:strVal val="#ppt_y"/>
                                          </p:val>
                                        </p:tav>
                                        <p:tav tm="100000">
                                          <p:val>
                                            <p:strVal val="#ppt_y"/>
                                          </p:val>
                                        </p:tav>
                                      </p:tavLst>
                                    </p:anim>
                                  </p:childTnLst>
                                </p:cTn>
                              </p:par>
                              <p:par>
                                <p:cTn id="9" presetID="2" presetClass="entr" presetSubtype="8" dur="1000" decel="100000" fill="hold" nodeType="withEffect">
                                  <p:stCondLst>
                                    <p:cond delay="500"/>
                                  </p:stCondLst>
                                  <p:childTnLst>
                                    <p:set>
                                      <p:cBhvr>
                                        <p:cTn id="10" dur="1" fill="hold">
                                          <p:stCondLst>
                                            <p:cond delay="0"/>
                                          </p:stCondLst>
                                        </p:cTn>
                                        <p:tgtEl>
                                          <p:spTgt spid="1912"/>
                                        </p:tgtEl>
                                        <p:attrNameLst>
                                          <p:attrName>style.visibility</p:attrName>
                                        </p:attrNameLst>
                                      </p:cBhvr>
                                      <p:to>
                                        <p:strVal val="visible"/>
                                      </p:to>
                                    </p:set>
                                    <p:anim calcmode="lin" valueType="num">
                                      <p:cBhvr additive="base">
                                        <p:cTn id="11" dur="1000" fill="hold"/>
                                        <p:tgtEl>
                                          <p:spTgt spid="1912"/>
                                        </p:tgtEl>
                                        <p:attrNameLst>
                                          <p:attrName>ppt_x</p:attrName>
                                        </p:attrNameLst>
                                      </p:cBhvr>
                                      <p:tavLst>
                                        <p:tav tm="0">
                                          <p:val>
                                            <p:strVal val="0-#ppt_w/2"/>
                                          </p:val>
                                        </p:tav>
                                        <p:tav tm="100000">
                                          <p:val>
                                            <p:strVal val="#ppt_x"/>
                                          </p:val>
                                        </p:tav>
                                      </p:tavLst>
                                    </p:anim>
                                    <p:anim calcmode="lin" valueType="num">
                                      <p:cBhvr additive="base">
                                        <p:cTn id="12" dur="1000" fill="hold"/>
                                        <p:tgtEl>
                                          <p:spTgt spid="1912"/>
                                        </p:tgtEl>
                                        <p:attrNameLst>
                                          <p:attrName>ppt_y</p:attrName>
                                        </p:attrNameLst>
                                      </p:cBhvr>
                                      <p:tavLst>
                                        <p:tav tm="0">
                                          <p:val>
                                            <p:strVal val="#ppt_y"/>
                                          </p:val>
                                        </p:tav>
                                        <p:tav tm="100000">
                                          <p:val>
                                            <p:strVal val="#ppt_y"/>
                                          </p:val>
                                        </p:tav>
                                      </p:tavLst>
                                    </p:anim>
                                  </p:childTnLst>
                                </p:cTn>
                              </p:par>
                              <p:par>
                                <p:cTn id="13" presetID="2" presetClass="entr" presetSubtype="8" dur="1000" decel="100000" fill="hold" nodeType="withEffect">
                                  <p:stCondLst>
                                    <p:cond delay="750"/>
                                  </p:stCondLst>
                                  <p:childTnLst>
                                    <p:set>
                                      <p:cBhvr>
                                        <p:cTn id="14" dur="1" fill="hold">
                                          <p:stCondLst>
                                            <p:cond delay="0"/>
                                          </p:stCondLst>
                                        </p:cTn>
                                        <p:tgtEl>
                                          <p:spTgt spid="1909"/>
                                        </p:tgtEl>
                                        <p:attrNameLst>
                                          <p:attrName>style.visibility</p:attrName>
                                        </p:attrNameLst>
                                      </p:cBhvr>
                                      <p:to>
                                        <p:strVal val="visible"/>
                                      </p:to>
                                    </p:set>
                                    <p:anim calcmode="lin" valueType="num">
                                      <p:cBhvr additive="base">
                                        <p:cTn id="15" dur="1000" fill="hold"/>
                                        <p:tgtEl>
                                          <p:spTgt spid="1909"/>
                                        </p:tgtEl>
                                        <p:attrNameLst>
                                          <p:attrName>ppt_x</p:attrName>
                                        </p:attrNameLst>
                                      </p:cBhvr>
                                      <p:tavLst>
                                        <p:tav tm="0">
                                          <p:val>
                                            <p:strVal val="0-#ppt_w/2"/>
                                          </p:val>
                                        </p:tav>
                                        <p:tav tm="100000">
                                          <p:val>
                                            <p:strVal val="#ppt_x"/>
                                          </p:val>
                                        </p:tav>
                                      </p:tavLst>
                                    </p:anim>
                                    <p:anim calcmode="lin" valueType="num">
                                      <p:cBhvr additive="base">
                                        <p:cTn id="16" dur="1000" fill="hold"/>
                                        <p:tgtEl>
                                          <p:spTgt spid="1909"/>
                                        </p:tgtEl>
                                        <p:attrNameLst>
                                          <p:attrName>ppt_y</p:attrName>
                                        </p:attrNameLst>
                                      </p:cBhvr>
                                      <p:tavLst>
                                        <p:tav tm="0">
                                          <p:val>
                                            <p:strVal val="#ppt_y"/>
                                          </p:val>
                                        </p:tav>
                                        <p:tav tm="100000">
                                          <p:val>
                                            <p:strVal val="#ppt_y"/>
                                          </p:val>
                                        </p:tav>
                                      </p:tavLst>
                                    </p:anim>
                                  </p:childTnLst>
                                </p:cTn>
                              </p:par>
                              <p:par>
                                <p:cTn id="17" presetID="2" presetClass="entr" presetSubtype="8" dur="1000" decel="100000" fill="hold" nodeType="withEffect">
                                  <p:stCondLst>
                                    <p:cond delay="1000"/>
                                  </p:stCondLst>
                                  <p:childTnLst>
                                    <p:set>
                                      <p:cBhvr>
                                        <p:cTn id="18" dur="1" fill="hold">
                                          <p:stCondLst>
                                            <p:cond delay="0"/>
                                          </p:stCondLst>
                                        </p:cTn>
                                        <p:tgtEl>
                                          <p:spTgt spid="5"/>
                                        </p:tgtEl>
                                        <p:attrNameLst>
                                          <p:attrName>style.visibility</p:attrName>
                                        </p:attrNameLst>
                                      </p:cBhvr>
                                      <p:to>
                                        <p:strVal val="visible"/>
                                      </p:to>
                                    </p:set>
                                    <p:anim calcmode="lin" valueType="num">
                                      <p:cBhvr additive="base">
                                        <p:cTn id="19" dur="1000" fill="hold"/>
                                        <p:tgtEl>
                                          <p:spTgt spid="5"/>
                                        </p:tgtEl>
                                        <p:attrNameLst>
                                          <p:attrName>ppt_x</p:attrName>
                                        </p:attrNameLst>
                                      </p:cBhvr>
                                      <p:tavLst>
                                        <p:tav tm="0">
                                          <p:val>
                                            <p:strVal val="0-#ppt_w/2"/>
                                          </p:val>
                                        </p:tav>
                                        <p:tav tm="100000">
                                          <p:val>
                                            <p:strVal val="#ppt_x"/>
                                          </p:val>
                                        </p:tav>
                                      </p:tavLst>
                                    </p:anim>
                                    <p:anim calcmode="lin" valueType="num">
                                      <p:cBhvr additive="base">
                                        <p:cTn id="20" dur="1000" fill="hold"/>
                                        <p:tgtEl>
                                          <p:spTgt spid="5"/>
                                        </p:tgtEl>
                                        <p:attrNameLst>
                                          <p:attrName>ppt_y</p:attrName>
                                        </p:attrNameLst>
                                      </p:cBhvr>
                                      <p:tavLst>
                                        <p:tav tm="0">
                                          <p:val>
                                            <p:strVal val="#ppt_y"/>
                                          </p:val>
                                        </p:tav>
                                        <p:tav tm="100000">
                                          <p:val>
                                            <p:strVal val="#ppt_y"/>
                                          </p:val>
                                        </p:tav>
                                      </p:tavLst>
                                    </p:anim>
                                  </p:childTnLst>
                                </p:cTn>
                              </p:par>
                              <p:par>
                                <p:cTn id="21" presetID="2" presetClass="entr" presetSubtype="8" dur="1000" decel="100000" fill="hold" nodeType="withEffect">
                                  <p:stCondLst>
                                    <p:cond delay="1250"/>
                                  </p:stCondLst>
                                  <p:childTnLst>
                                    <p:set>
                                      <p:cBhvr>
                                        <p:cTn id="22" dur="1" fill="hold">
                                          <p:stCondLst>
                                            <p:cond delay="0"/>
                                          </p:stCondLst>
                                        </p:cTn>
                                        <p:tgtEl>
                                          <p:spTgt spid="1910"/>
                                        </p:tgtEl>
                                        <p:attrNameLst>
                                          <p:attrName>style.visibility</p:attrName>
                                        </p:attrNameLst>
                                      </p:cBhvr>
                                      <p:to>
                                        <p:strVal val="visible"/>
                                      </p:to>
                                    </p:set>
                                    <p:anim calcmode="lin" valueType="num">
                                      <p:cBhvr additive="base">
                                        <p:cTn id="23" dur="1000" fill="hold"/>
                                        <p:tgtEl>
                                          <p:spTgt spid="1910"/>
                                        </p:tgtEl>
                                        <p:attrNameLst>
                                          <p:attrName>ppt_x</p:attrName>
                                        </p:attrNameLst>
                                      </p:cBhvr>
                                      <p:tavLst>
                                        <p:tav tm="0">
                                          <p:val>
                                            <p:strVal val="0-#ppt_w/2"/>
                                          </p:val>
                                        </p:tav>
                                        <p:tav tm="100000">
                                          <p:val>
                                            <p:strVal val="#ppt_x"/>
                                          </p:val>
                                        </p:tav>
                                      </p:tavLst>
                                    </p:anim>
                                    <p:anim calcmode="lin" valueType="num">
                                      <p:cBhvr additive="base">
                                        <p:cTn id="24" dur="1000" fill="hold"/>
                                        <p:tgtEl>
                                          <p:spTgt spid="1910"/>
                                        </p:tgtEl>
                                        <p:attrNameLst>
                                          <p:attrName>ppt_y</p:attrName>
                                        </p:attrNameLst>
                                      </p:cBhvr>
                                      <p:tavLst>
                                        <p:tav tm="0">
                                          <p:val>
                                            <p:strVal val="#ppt_y"/>
                                          </p:val>
                                        </p:tav>
                                        <p:tav tm="100000">
                                          <p:val>
                                            <p:strVal val="#ppt_y"/>
                                          </p:val>
                                        </p:tav>
                                      </p:tavLst>
                                    </p:anim>
                                  </p:childTnLst>
                                </p:cTn>
                              </p:par>
                              <p:par>
                                <p:cTn id="25" presetID="2" presetClass="entr" presetSubtype="8" dur="1000" decel="100000" fill="hold" nodeType="withEffect">
                                  <p:stCondLst>
                                    <p:cond delay="1500"/>
                                  </p:stCondLst>
                                  <p:childTnLst>
                                    <p:set>
                                      <p:cBhvr>
                                        <p:cTn id="26" dur="1" fill="hold">
                                          <p:stCondLst>
                                            <p:cond delay="0"/>
                                          </p:stCondLst>
                                        </p:cTn>
                                        <p:tgtEl>
                                          <p:spTgt spid="1911"/>
                                        </p:tgtEl>
                                        <p:attrNameLst>
                                          <p:attrName>style.visibility</p:attrName>
                                        </p:attrNameLst>
                                      </p:cBhvr>
                                      <p:to>
                                        <p:strVal val="visible"/>
                                      </p:to>
                                    </p:set>
                                    <p:anim calcmode="lin" valueType="num">
                                      <p:cBhvr additive="base">
                                        <p:cTn id="27" dur="1000" fill="hold"/>
                                        <p:tgtEl>
                                          <p:spTgt spid="1911"/>
                                        </p:tgtEl>
                                        <p:attrNameLst>
                                          <p:attrName>ppt_x</p:attrName>
                                        </p:attrNameLst>
                                      </p:cBhvr>
                                      <p:tavLst>
                                        <p:tav tm="0">
                                          <p:val>
                                            <p:strVal val="0-#ppt_w/2"/>
                                          </p:val>
                                        </p:tav>
                                        <p:tav tm="100000">
                                          <p:val>
                                            <p:strVal val="#ppt_x"/>
                                          </p:val>
                                        </p:tav>
                                      </p:tavLst>
                                    </p:anim>
                                    <p:anim calcmode="lin" valueType="num">
                                      <p:cBhvr additive="base">
                                        <p:cTn id="28" dur="1000" fill="hold"/>
                                        <p:tgtEl>
                                          <p:spTgt spid="1911"/>
                                        </p:tgtEl>
                                        <p:attrNameLst>
                                          <p:attrName>ppt_y</p:attrName>
                                        </p:attrNameLst>
                                      </p:cBhvr>
                                      <p:tavLst>
                                        <p:tav tm="0">
                                          <p:val>
                                            <p:strVal val="#ppt_y"/>
                                          </p:val>
                                        </p:tav>
                                        <p:tav tm="100000">
                                          <p:val>
                                            <p:strVal val="#ppt_y"/>
                                          </p:val>
                                        </p:tav>
                                      </p:tavLst>
                                    </p:anim>
                                  </p:childTnLst>
                                </p:cTn>
                              </p:par>
                              <p:par>
                                <p:cTn id="29" presetID="10" presetClass="entr" presetSubtype="0" dur="1000" fill="hold" nodeType="withEffect">
                                  <p:stCondLst>
                                    <p:cond delay="2000"/>
                                  </p:stCondLst>
                                  <p:childTnLst>
                                    <p:set>
                                      <p:cBhvr>
                                        <p:cTn id="30" dur="1" fill="hold">
                                          <p:stCondLst>
                                            <p:cond delay="0"/>
                                          </p:stCondLst>
                                        </p:cTn>
                                        <p:tgtEl>
                                          <p:spTgt spid="1813"/>
                                        </p:tgtEl>
                                        <p:attrNameLst>
                                          <p:attrName>style.visibility</p:attrName>
                                        </p:attrNameLst>
                                      </p:cBhvr>
                                      <p:to>
                                        <p:strVal val="visible"/>
                                      </p:to>
                                    </p:set>
                                    <p:animEffect transition="in" filter="fade">
                                      <p:cBhvr>
                                        <p:cTn id="31" dur="1000"/>
                                        <p:tgtEl>
                                          <p:spTgt spid="1813"/>
                                        </p:tgtEl>
                                      </p:cBhvr>
                                    </p:animEffect>
                                  </p:childTnLst>
                                </p:cTn>
                              </p:par>
                              <p:par>
                                <p:cTn id="32" presetID="2" presetClass="entr" presetSubtype="2" decel="100000" fill="hold" grpId="0" nodeType="withEffect">
                                  <p:stCondLst>
                                    <p:cond delay="0"/>
                                  </p:stCondLst>
                                  <p:childTnLst>
                                    <p:set>
                                      <p:cBhvr>
                                        <p:cTn id="33" dur="1" fill="hold">
                                          <p:stCondLst>
                                            <p:cond delay="0"/>
                                          </p:stCondLst>
                                        </p:cTn>
                                        <p:tgtEl>
                                          <p:spTgt spid="3"/>
                                        </p:tgtEl>
                                        <p:attrNameLst>
                                          <p:attrName>style.visibility</p:attrName>
                                        </p:attrNameLst>
                                      </p:cBhvr>
                                      <p:to>
                                        <p:strVal val="visible"/>
                                      </p:to>
                                    </p:set>
                                    <p:anim calcmode="lin" valueType="num">
                                      <p:cBhvr additive="base">
                                        <p:cTn id="34" dur="1000" fill="hold"/>
                                        <p:tgtEl>
                                          <p:spTgt spid="3"/>
                                        </p:tgtEl>
                                        <p:attrNameLst>
                                          <p:attrName>ppt_x</p:attrName>
                                        </p:attrNameLst>
                                      </p:cBhvr>
                                      <p:tavLst>
                                        <p:tav tm="0">
                                          <p:val>
                                            <p:strVal val="1+#ppt_w/2"/>
                                          </p:val>
                                        </p:tav>
                                        <p:tav tm="100000">
                                          <p:val>
                                            <p:strVal val="#ppt_x"/>
                                          </p:val>
                                        </p:tav>
                                      </p:tavLst>
                                    </p:anim>
                                    <p:anim calcmode="lin" valueType="num">
                                      <p:cBhvr additive="base">
                                        <p:cTn id="35" dur="10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מספר שקופית 1">
            <a:extLst>
              <a:ext uri="{FF2B5EF4-FFF2-40B4-BE49-F238E27FC236}">
                <a16:creationId xmlns:a16="http://schemas.microsoft.com/office/drawing/2014/main" id="{783B08C9-D453-1053-1DBA-D7EFCD150004}"/>
              </a:ext>
            </a:extLst>
          </p:cNvPr>
          <p:cNvSpPr>
            <a:spLocks noGrp="1"/>
          </p:cNvSpPr>
          <p:nvPr>
            <p:ph type="sldNum" sz="quarter" idx="10"/>
          </p:nvPr>
        </p:nvSpPr>
        <p:spPr/>
        <p:txBody>
          <a:bodyPr/>
          <a:lstStyle/>
          <a:p>
            <a:fld id="{A04BEB4F-8CE1-4F18-986F-6CE0A0BE9470}" type="slidenum">
              <a:rPr lang="de-DE" smtClean="0"/>
              <a:t>4</a:t>
            </a:fld>
            <a:endParaRPr lang="de-DE"/>
          </a:p>
        </p:txBody>
      </p:sp>
      <p:pic>
        <p:nvPicPr>
          <p:cNvPr id="3" name="תמונה 2" descr="תמונה שמכילה גרפיקה, סמל, לוגו, אומנות קליפיפם&#10;&#10;התיאור נוצר באופן אוטומטי">
            <a:extLst>
              <a:ext uri="{FF2B5EF4-FFF2-40B4-BE49-F238E27FC236}">
                <a16:creationId xmlns:a16="http://schemas.microsoft.com/office/drawing/2014/main" id="{BC172CA2-2C3A-08B9-D888-AB005DDBA090}"/>
              </a:ext>
            </a:extLst>
          </p:cNvPr>
          <p:cNvPicPr>
            <a:picLocks noChangeAspect="1"/>
          </p:cNvPicPr>
          <p:nvPr/>
        </p:nvPicPr>
        <p:blipFill>
          <a:blip r:embed="rId2">
            <a:alphaModFix/>
            <a:extLst>
              <a:ext uri="{28A0092B-C50C-407E-A947-70E740481C1C}">
                <a14:useLocalDpi xmlns:a14="http://schemas.microsoft.com/office/drawing/2010/main" val="0"/>
              </a:ext>
            </a:extLst>
          </a:blip>
          <a:stretch>
            <a:fillRect/>
          </a:stretch>
        </p:blipFill>
        <p:spPr>
          <a:xfrm>
            <a:off x="3306061" y="639061"/>
            <a:ext cx="5579878" cy="5579878"/>
          </a:xfrm>
          <a:prstGeom prst="rect">
            <a:avLst/>
          </a:prstGeom>
        </p:spPr>
      </p:pic>
    </p:spTree>
    <p:extLst>
      <p:ext uri="{BB962C8B-B14F-4D97-AF65-F5344CB8AC3E}">
        <p14:creationId xmlns:p14="http://schemas.microsoft.com/office/powerpoint/2010/main" val="748357848"/>
      </p:ext>
    </p:extLst>
  </p:cSld>
  <p:clrMapOvr>
    <a:masterClrMapping/>
  </p:clrMapOvr>
  <mc:AlternateContent xmlns:mc="http://schemas.openxmlformats.org/markup-compatibility/2006" xmlns:p14="http://schemas.microsoft.com/office/powerpoint/2010/main">
    <mc:Choice Requires="p14">
      <p:transition p14:dur="10" advClick="0" advTm="1000"/>
    </mc:Choice>
    <mc:Fallback xmlns="">
      <p:transition advClick="0" advTm="10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heel(1)">
                                      <p:cBhvr>
                                        <p:cTn id="7" dur="1000"/>
                                        <p:tgtEl>
                                          <p:spTgt spid="3"/>
                                        </p:tgtEl>
                                      </p:cBhvr>
                                    </p:animEffect>
                                  </p:childTnLst>
                                </p:cTn>
                              </p:par>
                            </p:childTnLst>
                          </p:cTn>
                        </p:par>
                        <p:par>
                          <p:cTn id="8" fill="hold">
                            <p:stCondLst>
                              <p:cond delay="1000"/>
                            </p:stCondLst>
                            <p:childTnLst>
                              <p:par>
                                <p:cTn id="9" presetID="21" presetClass="exit" presetSubtype="1" fill="hold" nodeType="afterEffect">
                                  <p:stCondLst>
                                    <p:cond delay="1000"/>
                                  </p:stCondLst>
                                  <p:childTnLst>
                                    <p:animEffect transition="out" filter="wheel(1)">
                                      <p:cBhvr>
                                        <p:cTn id="10" dur="1000"/>
                                        <p:tgtEl>
                                          <p:spTgt spid="3"/>
                                        </p:tgtEl>
                                      </p:cBhvr>
                                    </p:animEffect>
                                    <p:set>
                                      <p:cBhvr>
                                        <p:cTn id="11" dur="1" fill="hold">
                                          <p:stCondLst>
                                            <p:cond delay="999"/>
                                          </p:stCondLst>
                                        </p:cTn>
                                        <p:tgtEl>
                                          <p:spTgt spid="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5">
            <a:extLst>
              <a:ext uri="{FF2B5EF4-FFF2-40B4-BE49-F238E27FC236}">
                <a16:creationId xmlns:a16="http://schemas.microsoft.com/office/drawing/2014/main" id="{0981FA6C-4E71-45C7-9D41-03DC04720398}"/>
              </a:ext>
            </a:extLst>
          </p:cNvPr>
          <p:cNvSpPr>
            <a:spLocks noEditPoints="1"/>
          </p:cNvSpPr>
          <p:nvPr/>
        </p:nvSpPr>
        <p:spPr bwMode="auto">
          <a:xfrm>
            <a:off x="3900918" y="1080481"/>
            <a:ext cx="4390165" cy="4392278"/>
          </a:xfrm>
          <a:custGeom>
            <a:avLst/>
            <a:gdLst>
              <a:gd name="T0" fmla="*/ 1101 w 2076"/>
              <a:gd name="T1" fmla="*/ 2066 h 2076"/>
              <a:gd name="T2" fmla="*/ 1121 w 2076"/>
              <a:gd name="T3" fmla="*/ 2073 h 2076"/>
              <a:gd name="T4" fmla="*/ 1351 w 2076"/>
              <a:gd name="T5" fmla="*/ 2010 h 2076"/>
              <a:gd name="T6" fmla="*/ 856 w 2076"/>
              <a:gd name="T7" fmla="*/ 2060 h 2076"/>
              <a:gd name="T8" fmla="*/ 733 w 2076"/>
              <a:gd name="T9" fmla="*/ 2030 h 2076"/>
              <a:gd name="T10" fmla="*/ 738 w 2076"/>
              <a:gd name="T11" fmla="*/ 2014 h 2076"/>
              <a:gd name="T12" fmla="*/ 1377 w 2076"/>
              <a:gd name="T13" fmla="*/ 2001 h 2076"/>
              <a:gd name="T14" fmla="*/ 1505 w 2076"/>
              <a:gd name="T15" fmla="*/ 1946 h 2076"/>
              <a:gd name="T16" fmla="*/ 1513 w 2076"/>
              <a:gd name="T17" fmla="*/ 1961 h 2076"/>
              <a:gd name="T18" fmla="*/ 611 w 2076"/>
              <a:gd name="T19" fmla="*/ 1975 h 2076"/>
              <a:gd name="T20" fmla="*/ 406 w 2076"/>
              <a:gd name="T21" fmla="*/ 1841 h 2076"/>
              <a:gd name="T22" fmla="*/ 1624 w 2076"/>
              <a:gd name="T23" fmla="*/ 1885 h 2076"/>
              <a:gd name="T24" fmla="*/ 1802 w 2076"/>
              <a:gd name="T25" fmla="*/ 1728 h 2076"/>
              <a:gd name="T26" fmla="*/ 374 w 2076"/>
              <a:gd name="T27" fmla="*/ 1837 h 2076"/>
              <a:gd name="T28" fmla="*/ 358 w 2076"/>
              <a:gd name="T29" fmla="*/ 1820 h 2076"/>
              <a:gd name="T30" fmla="*/ 295 w 2076"/>
              <a:gd name="T31" fmla="*/ 1739 h 2076"/>
              <a:gd name="T32" fmla="*/ 1807 w 2076"/>
              <a:gd name="T33" fmla="*/ 1714 h 2076"/>
              <a:gd name="T34" fmla="*/ 1825 w 2076"/>
              <a:gd name="T35" fmla="*/ 1693 h 2076"/>
              <a:gd name="T36" fmla="*/ 1833 w 2076"/>
              <a:gd name="T37" fmla="*/ 1700 h 2076"/>
              <a:gd name="T38" fmla="*/ 183 w 2076"/>
              <a:gd name="T39" fmla="*/ 1621 h 2076"/>
              <a:gd name="T40" fmla="*/ 183 w 2076"/>
              <a:gd name="T41" fmla="*/ 1621 h 2076"/>
              <a:gd name="T42" fmla="*/ 1969 w 2076"/>
              <a:gd name="T43" fmla="*/ 1496 h 2076"/>
              <a:gd name="T44" fmla="*/ 2033 w 2076"/>
              <a:gd name="T45" fmla="*/ 1267 h 2076"/>
              <a:gd name="T46" fmla="*/ 1981 w 2076"/>
              <a:gd name="T47" fmla="*/ 1471 h 2076"/>
              <a:gd name="T48" fmla="*/ 52 w 2076"/>
              <a:gd name="T49" fmla="*/ 1336 h 2076"/>
              <a:gd name="T50" fmla="*/ 39 w 2076"/>
              <a:gd name="T51" fmla="*/ 1313 h 2076"/>
              <a:gd name="T52" fmla="*/ 12 w 2076"/>
              <a:gd name="T53" fmla="*/ 1197 h 2076"/>
              <a:gd name="T54" fmla="*/ 41 w 2076"/>
              <a:gd name="T55" fmla="*/ 1298 h 2076"/>
              <a:gd name="T56" fmla="*/ 2047 w 2076"/>
              <a:gd name="T57" fmla="*/ 1250 h 2076"/>
              <a:gd name="T58" fmla="*/ 2067 w 2076"/>
              <a:gd name="T59" fmla="*/ 997 h 2076"/>
              <a:gd name="T60" fmla="*/ 8 w 2076"/>
              <a:gd name="T61" fmla="*/ 1064 h 2076"/>
              <a:gd name="T62" fmla="*/ 8 w 2076"/>
              <a:gd name="T63" fmla="*/ 1035 h 2076"/>
              <a:gd name="T64" fmla="*/ 40 w 2076"/>
              <a:gd name="T65" fmla="*/ 821 h 2076"/>
              <a:gd name="T66" fmla="*/ 2074 w 2076"/>
              <a:gd name="T67" fmla="*/ 976 h 2076"/>
              <a:gd name="T68" fmla="*/ 2017 w 2076"/>
              <a:gd name="T69" fmla="*/ 740 h 2076"/>
              <a:gd name="T70" fmla="*/ 36 w 2076"/>
              <a:gd name="T71" fmla="*/ 800 h 2076"/>
              <a:gd name="T72" fmla="*/ 45 w 2076"/>
              <a:gd name="T73" fmla="*/ 773 h 2076"/>
              <a:gd name="T74" fmla="*/ 69 w 2076"/>
              <a:gd name="T75" fmla="*/ 666 h 2076"/>
              <a:gd name="T76" fmla="*/ 45 w 2076"/>
              <a:gd name="T77" fmla="*/ 773 h 2076"/>
              <a:gd name="T78" fmla="*/ 2007 w 2076"/>
              <a:gd name="T79" fmla="*/ 698 h 2076"/>
              <a:gd name="T80" fmla="*/ 1970 w 2076"/>
              <a:gd name="T81" fmla="*/ 582 h 2076"/>
              <a:gd name="T82" fmla="*/ 134 w 2076"/>
              <a:gd name="T83" fmla="*/ 553 h 2076"/>
              <a:gd name="T84" fmla="*/ 144 w 2076"/>
              <a:gd name="T85" fmla="*/ 527 h 2076"/>
              <a:gd name="T86" fmla="*/ 148 w 2076"/>
              <a:gd name="T87" fmla="*/ 528 h 2076"/>
              <a:gd name="T88" fmla="*/ 1901 w 2076"/>
              <a:gd name="T89" fmla="*/ 486 h 2076"/>
              <a:gd name="T90" fmla="*/ 1823 w 2076"/>
              <a:gd name="T91" fmla="*/ 359 h 2076"/>
              <a:gd name="T92" fmla="*/ 299 w 2076"/>
              <a:gd name="T93" fmla="*/ 330 h 2076"/>
              <a:gd name="T94" fmla="*/ 468 w 2076"/>
              <a:gd name="T95" fmla="*/ 171 h 2076"/>
              <a:gd name="T96" fmla="*/ 1724 w 2076"/>
              <a:gd name="T97" fmla="*/ 282 h 2076"/>
              <a:gd name="T98" fmla="*/ 1703 w 2076"/>
              <a:gd name="T99" fmla="*/ 263 h 2076"/>
              <a:gd name="T100" fmla="*/ 1714 w 2076"/>
              <a:gd name="T101" fmla="*/ 250 h 2076"/>
              <a:gd name="T102" fmla="*/ 503 w 2076"/>
              <a:gd name="T103" fmla="*/ 158 h 2076"/>
              <a:gd name="T104" fmla="*/ 602 w 2076"/>
              <a:gd name="T105" fmla="*/ 96 h 2076"/>
              <a:gd name="T106" fmla="*/ 609 w 2076"/>
              <a:gd name="T107" fmla="*/ 112 h 2076"/>
              <a:gd name="T108" fmla="*/ 1504 w 2076"/>
              <a:gd name="T109" fmla="*/ 120 h 2076"/>
              <a:gd name="T110" fmla="*/ 1288 w 2076"/>
              <a:gd name="T111" fmla="*/ 48 h 2076"/>
              <a:gd name="T112" fmla="*/ 1494 w 2076"/>
              <a:gd name="T113" fmla="*/ 115 h 2076"/>
              <a:gd name="T114" fmla="*/ 764 w 2076"/>
              <a:gd name="T115" fmla="*/ 54 h 2076"/>
              <a:gd name="T116" fmla="*/ 767 w 2076"/>
              <a:gd name="T117" fmla="*/ 54 h 2076"/>
              <a:gd name="T118" fmla="*/ 1263 w 2076"/>
              <a:gd name="T119" fmla="*/ 42 h 2076"/>
              <a:gd name="T120" fmla="*/ 1019 w 2076"/>
              <a:gd name="T121" fmla="*/ 9 h 2076"/>
              <a:gd name="T122" fmla="*/ 990 w 2076"/>
              <a:gd name="T123" fmla="*/ 10 h 2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76" h="2076">
                <a:moveTo>
                  <a:pt x="1038" y="2076"/>
                </a:moveTo>
                <a:cubicBezTo>
                  <a:pt x="1024" y="2076"/>
                  <a:pt x="1010" y="2076"/>
                  <a:pt x="996" y="2076"/>
                </a:cubicBezTo>
                <a:cubicBezTo>
                  <a:pt x="958" y="2074"/>
                  <a:pt x="920" y="2070"/>
                  <a:pt x="883" y="2065"/>
                </a:cubicBezTo>
                <a:cubicBezTo>
                  <a:pt x="878" y="2064"/>
                  <a:pt x="875" y="2060"/>
                  <a:pt x="876" y="2055"/>
                </a:cubicBezTo>
                <a:cubicBezTo>
                  <a:pt x="876" y="2051"/>
                  <a:pt x="881" y="2047"/>
                  <a:pt x="885" y="2048"/>
                </a:cubicBezTo>
                <a:cubicBezTo>
                  <a:pt x="922" y="2054"/>
                  <a:pt x="960" y="2057"/>
                  <a:pt x="997" y="2059"/>
                </a:cubicBezTo>
                <a:cubicBezTo>
                  <a:pt x="1028" y="2060"/>
                  <a:pt x="1060" y="2060"/>
                  <a:pt x="1092" y="2058"/>
                </a:cubicBezTo>
                <a:cubicBezTo>
                  <a:pt x="1097" y="2058"/>
                  <a:pt x="1101" y="2061"/>
                  <a:pt x="1101" y="2066"/>
                </a:cubicBezTo>
                <a:cubicBezTo>
                  <a:pt x="1101" y="2071"/>
                  <a:pt x="1098" y="2075"/>
                  <a:pt x="1093" y="2075"/>
                </a:cubicBezTo>
                <a:cubicBezTo>
                  <a:pt x="1075" y="2076"/>
                  <a:pt x="1057" y="2076"/>
                  <a:pt x="1038" y="2076"/>
                </a:cubicBezTo>
                <a:close/>
                <a:moveTo>
                  <a:pt x="1121" y="2073"/>
                </a:moveTo>
                <a:cubicBezTo>
                  <a:pt x="1116" y="2073"/>
                  <a:pt x="1113" y="2070"/>
                  <a:pt x="1112" y="2065"/>
                </a:cubicBezTo>
                <a:cubicBezTo>
                  <a:pt x="1112" y="2061"/>
                  <a:pt x="1116" y="2057"/>
                  <a:pt x="1120" y="2056"/>
                </a:cubicBezTo>
                <a:cubicBezTo>
                  <a:pt x="1125" y="2056"/>
                  <a:pt x="1129" y="2059"/>
                  <a:pt x="1129" y="2064"/>
                </a:cubicBezTo>
                <a:cubicBezTo>
                  <a:pt x="1130" y="2069"/>
                  <a:pt x="1126" y="2073"/>
                  <a:pt x="1122" y="2073"/>
                </a:cubicBezTo>
                <a:cubicBezTo>
                  <a:pt x="1121" y="2073"/>
                  <a:pt x="1121" y="2073"/>
                  <a:pt x="1121" y="2073"/>
                </a:cubicBezTo>
                <a:close/>
                <a:moveTo>
                  <a:pt x="1149" y="2070"/>
                </a:moveTo>
                <a:cubicBezTo>
                  <a:pt x="1145" y="2070"/>
                  <a:pt x="1141" y="2067"/>
                  <a:pt x="1141" y="2063"/>
                </a:cubicBezTo>
                <a:cubicBezTo>
                  <a:pt x="1140" y="2061"/>
                  <a:pt x="1141" y="2058"/>
                  <a:pt x="1142" y="2057"/>
                </a:cubicBezTo>
                <a:cubicBezTo>
                  <a:pt x="1144" y="2055"/>
                  <a:pt x="1146" y="2054"/>
                  <a:pt x="1148" y="2054"/>
                </a:cubicBezTo>
                <a:cubicBezTo>
                  <a:pt x="1185" y="2050"/>
                  <a:pt x="1222" y="2043"/>
                  <a:pt x="1259" y="2035"/>
                </a:cubicBezTo>
                <a:cubicBezTo>
                  <a:pt x="1259" y="2035"/>
                  <a:pt x="1259" y="2035"/>
                  <a:pt x="1259" y="2035"/>
                </a:cubicBezTo>
                <a:cubicBezTo>
                  <a:pt x="1259" y="2035"/>
                  <a:pt x="1259" y="2035"/>
                  <a:pt x="1259" y="2035"/>
                </a:cubicBezTo>
                <a:cubicBezTo>
                  <a:pt x="1290" y="2028"/>
                  <a:pt x="1321" y="2020"/>
                  <a:pt x="1351" y="2010"/>
                </a:cubicBezTo>
                <a:cubicBezTo>
                  <a:pt x="1355" y="2009"/>
                  <a:pt x="1360" y="2011"/>
                  <a:pt x="1361" y="2016"/>
                </a:cubicBezTo>
                <a:cubicBezTo>
                  <a:pt x="1362" y="2018"/>
                  <a:pt x="1362" y="2020"/>
                  <a:pt x="1361" y="2022"/>
                </a:cubicBezTo>
                <a:cubicBezTo>
                  <a:pt x="1360" y="2024"/>
                  <a:pt x="1358" y="2026"/>
                  <a:pt x="1356" y="2026"/>
                </a:cubicBezTo>
                <a:cubicBezTo>
                  <a:pt x="1325" y="2036"/>
                  <a:pt x="1294" y="2045"/>
                  <a:pt x="1262" y="2052"/>
                </a:cubicBezTo>
                <a:cubicBezTo>
                  <a:pt x="1225" y="2060"/>
                  <a:pt x="1187" y="2066"/>
                  <a:pt x="1150" y="2070"/>
                </a:cubicBezTo>
                <a:cubicBezTo>
                  <a:pt x="1150" y="2070"/>
                  <a:pt x="1149" y="2070"/>
                  <a:pt x="1149" y="2070"/>
                </a:cubicBezTo>
                <a:close/>
                <a:moveTo>
                  <a:pt x="856" y="2060"/>
                </a:moveTo>
                <a:cubicBezTo>
                  <a:pt x="856" y="2060"/>
                  <a:pt x="856" y="2060"/>
                  <a:pt x="856" y="2060"/>
                </a:cubicBezTo>
                <a:cubicBezTo>
                  <a:pt x="856" y="2060"/>
                  <a:pt x="855" y="2060"/>
                  <a:pt x="855" y="2060"/>
                </a:cubicBezTo>
                <a:cubicBezTo>
                  <a:pt x="850" y="2059"/>
                  <a:pt x="847" y="2055"/>
                  <a:pt x="848" y="2050"/>
                </a:cubicBezTo>
                <a:cubicBezTo>
                  <a:pt x="849" y="2046"/>
                  <a:pt x="853" y="2043"/>
                  <a:pt x="858" y="2043"/>
                </a:cubicBezTo>
                <a:cubicBezTo>
                  <a:pt x="862" y="2044"/>
                  <a:pt x="865" y="2049"/>
                  <a:pt x="864" y="2053"/>
                </a:cubicBezTo>
                <a:cubicBezTo>
                  <a:pt x="864" y="2057"/>
                  <a:pt x="860" y="2060"/>
                  <a:pt x="856" y="2060"/>
                </a:cubicBezTo>
                <a:close/>
                <a:moveTo>
                  <a:pt x="828" y="2055"/>
                </a:moveTo>
                <a:cubicBezTo>
                  <a:pt x="828" y="2055"/>
                  <a:pt x="827" y="2055"/>
                  <a:pt x="827" y="2055"/>
                </a:cubicBezTo>
                <a:cubicBezTo>
                  <a:pt x="795" y="2048"/>
                  <a:pt x="763" y="2040"/>
                  <a:pt x="733" y="2030"/>
                </a:cubicBezTo>
                <a:cubicBezTo>
                  <a:pt x="732" y="2030"/>
                  <a:pt x="732" y="2030"/>
                  <a:pt x="732" y="2030"/>
                </a:cubicBezTo>
                <a:cubicBezTo>
                  <a:pt x="732" y="2030"/>
                  <a:pt x="732" y="2030"/>
                  <a:pt x="732" y="2030"/>
                </a:cubicBezTo>
                <a:cubicBezTo>
                  <a:pt x="696" y="2019"/>
                  <a:pt x="660" y="2006"/>
                  <a:pt x="626" y="1991"/>
                </a:cubicBezTo>
                <a:cubicBezTo>
                  <a:pt x="624" y="1990"/>
                  <a:pt x="622" y="1988"/>
                  <a:pt x="621" y="1986"/>
                </a:cubicBezTo>
                <a:cubicBezTo>
                  <a:pt x="620" y="1984"/>
                  <a:pt x="620" y="1982"/>
                  <a:pt x="621" y="1980"/>
                </a:cubicBezTo>
                <a:cubicBezTo>
                  <a:pt x="623" y="1976"/>
                  <a:pt x="628" y="1974"/>
                  <a:pt x="632" y="1975"/>
                </a:cubicBezTo>
                <a:cubicBezTo>
                  <a:pt x="667" y="1990"/>
                  <a:pt x="702" y="2003"/>
                  <a:pt x="737" y="2014"/>
                </a:cubicBezTo>
                <a:cubicBezTo>
                  <a:pt x="738" y="2014"/>
                  <a:pt x="738" y="2014"/>
                  <a:pt x="738" y="2014"/>
                </a:cubicBezTo>
                <a:cubicBezTo>
                  <a:pt x="738" y="2014"/>
                  <a:pt x="738" y="2014"/>
                  <a:pt x="738" y="2014"/>
                </a:cubicBezTo>
                <a:cubicBezTo>
                  <a:pt x="768" y="2024"/>
                  <a:pt x="799" y="2032"/>
                  <a:pt x="830" y="2038"/>
                </a:cubicBezTo>
                <a:cubicBezTo>
                  <a:pt x="835" y="2039"/>
                  <a:pt x="838" y="2043"/>
                  <a:pt x="837" y="2048"/>
                </a:cubicBezTo>
                <a:cubicBezTo>
                  <a:pt x="836" y="2052"/>
                  <a:pt x="832" y="2055"/>
                  <a:pt x="828" y="2055"/>
                </a:cubicBezTo>
                <a:close/>
                <a:moveTo>
                  <a:pt x="1380" y="2018"/>
                </a:moveTo>
                <a:cubicBezTo>
                  <a:pt x="1377" y="2018"/>
                  <a:pt x="1373" y="2015"/>
                  <a:pt x="1372" y="2012"/>
                </a:cubicBezTo>
                <a:cubicBezTo>
                  <a:pt x="1371" y="2008"/>
                  <a:pt x="1373" y="2003"/>
                  <a:pt x="1377" y="2001"/>
                </a:cubicBezTo>
                <a:cubicBezTo>
                  <a:pt x="1377" y="2001"/>
                  <a:pt x="1377" y="2001"/>
                  <a:pt x="1377" y="2001"/>
                </a:cubicBezTo>
                <a:cubicBezTo>
                  <a:pt x="1382" y="2000"/>
                  <a:pt x="1387" y="2002"/>
                  <a:pt x="1388" y="2006"/>
                </a:cubicBezTo>
                <a:cubicBezTo>
                  <a:pt x="1390" y="2011"/>
                  <a:pt x="1387" y="2016"/>
                  <a:pt x="1383" y="2017"/>
                </a:cubicBezTo>
                <a:cubicBezTo>
                  <a:pt x="1382" y="2017"/>
                  <a:pt x="1381" y="2018"/>
                  <a:pt x="1380" y="2018"/>
                </a:cubicBezTo>
                <a:close/>
                <a:moveTo>
                  <a:pt x="1407" y="2008"/>
                </a:moveTo>
                <a:cubicBezTo>
                  <a:pt x="1403" y="2008"/>
                  <a:pt x="1400" y="2006"/>
                  <a:pt x="1399" y="2002"/>
                </a:cubicBezTo>
                <a:cubicBezTo>
                  <a:pt x="1398" y="2000"/>
                  <a:pt x="1398" y="1998"/>
                  <a:pt x="1399" y="1996"/>
                </a:cubicBezTo>
                <a:cubicBezTo>
                  <a:pt x="1400" y="1994"/>
                  <a:pt x="1401" y="1992"/>
                  <a:pt x="1404" y="1991"/>
                </a:cubicBezTo>
                <a:cubicBezTo>
                  <a:pt x="1438" y="1978"/>
                  <a:pt x="1472" y="1963"/>
                  <a:pt x="1505" y="1946"/>
                </a:cubicBezTo>
                <a:cubicBezTo>
                  <a:pt x="1505" y="1946"/>
                  <a:pt x="1505" y="1946"/>
                  <a:pt x="1505" y="1946"/>
                </a:cubicBezTo>
                <a:cubicBezTo>
                  <a:pt x="1506" y="1946"/>
                  <a:pt x="1506" y="1946"/>
                  <a:pt x="1506" y="1946"/>
                </a:cubicBezTo>
                <a:cubicBezTo>
                  <a:pt x="1534" y="1931"/>
                  <a:pt x="1562" y="1915"/>
                  <a:pt x="1589" y="1898"/>
                </a:cubicBezTo>
                <a:cubicBezTo>
                  <a:pt x="1592" y="1896"/>
                  <a:pt x="1598" y="1897"/>
                  <a:pt x="1600" y="1901"/>
                </a:cubicBezTo>
                <a:cubicBezTo>
                  <a:pt x="1603" y="1905"/>
                  <a:pt x="1602" y="1910"/>
                  <a:pt x="1598" y="1912"/>
                </a:cubicBezTo>
                <a:cubicBezTo>
                  <a:pt x="1571" y="1930"/>
                  <a:pt x="1542" y="1946"/>
                  <a:pt x="1514" y="1961"/>
                </a:cubicBezTo>
                <a:cubicBezTo>
                  <a:pt x="1513" y="1961"/>
                  <a:pt x="1513" y="1961"/>
                  <a:pt x="1513" y="1961"/>
                </a:cubicBezTo>
                <a:cubicBezTo>
                  <a:pt x="1513" y="1961"/>
                  <a:pt x="1513" y="1961"/>
                  <a:pt x="1513" y="1961"/>
                </a:cubicBezTo>
                <a:cubicBezTo>
                  <a:pt x="1479" y="1978"/>
                  <a:pt x="1445" y="1994"/>
                  <a:pt x="1410" y="2007"/>
                </a:cubicBezTo>
                <a:cubicBezTo>
                  <a:pt x="1409" y="2008"/>
                  <a:pt x="1408" y="2008"/>
                  <a:pt x="1407" y="2008"/>
                </a:cubicBezTo>
                <a:close/>
                <a:moveTo>
                  <a:pt x="603" y="1980"/>
                </a:moveTo>
                <a:cubicBezTo>
                  <a:pt x="602" y="1980"/>
                  <a:pt x="601" y="1980"/>
                  <a:pt x="600" y="1979"/>
                </a:cubicBezTo>
                <a:cubicBezTo>
                  <a:pt x="595" y="1977"/>
                  <a:pt x="594" y="1972"/>
                  <a:pt x="596" y="1968"/>
                </a:cubicBezTo>
                <a:cubicBezTo>
                  <a:pt x="597" y="1964"/>
                  <a:pt x="603" y="1962"/>
                  <a:pt x="607" y="1964"/>
                </a:cubicBezTo>
                <a:cubicBezTo>
                  <a:pt x="607" y="1964"/>
                  <a:pt x="607" y="1964"/>
                  <a:pt x="607" y="1964"/>
                </a:cubicBezTo>
                <a:cubicBezTo>
                  <a:pt x="611" y="1966"/>
                  <a:pt x="613" y="1971"/>
                  <a:pt x="611" y="1975"/>
                </a:cubicBezTo>
                <a:cubicBezTo>
                  <a:pt x="610" y="1978"/>
                  <a:pt x="607" y="1980"/>
                  <a:pt x="603" y="1980"/>
                </a:cubicBezTo>
                <a:close/>
                <a:moveTo>
                  <a:pt x="578" y="1968"/>
                </a:moveTo>
                <a:cubicBezTo>
                  <a:pt x="576" y="1968"/>
                  <a:pt x="575" y="1968"/>
                  <a:pt x="574" y="1967"/>
                </a:cubicBezTo>
                <a:cubicBezTo>
                  <a:pt x="545" y="1953"/>
                  <a:pt x="517" y="1937"/>
                  <a:pt x="489" y="1920"/>
                </a:cubicBezTo>
                <a:cubicBezTo>
                  <a:pt x="457" y="1900"/>
                  <a:pt x="426" y="1878"/>
                  <a:pt x="396" y="1854"/>
                </a:cubicBezTo>
                <a:cubicBezTo>
                  <a:pt x="394" y="1853"/>
                  <a:pt x="393" y="1851"/>
                  <a:pt x="393" y="1849"/>
                </a:cubicBezTo>
                <a:cubicBezTo>
                  <a:pt x="393" y="1846"/>
                  <a:pt x="393" y="1844"/>
                  <a:pt x="395" y="1842"/>
                </a:cubicBezTo>
                <a:cubicBezTo>
                  <a:pt x="397" y="1839"/>
                  <a:pt x="403" y="1838"/>
                  <a:pt x="406" y="1841"/>
                </a:cubicBezTo>
                <a:cubicBezTo>
                  <a:pt x="436" y="1864"/>
                  <a:pt x="467" y="1886"/>
                  <a:pt x="498" y="1905"/>
                </a:cubicBezTo>
                <a:cubicBezTo>
                  <a:pt x="525" y="1922"/>
                  <a:pt x="553" y="1938"/>
                  <a:pt x="582" y="1952"/>
                </a:cubicBezTo>
                <a:cubicBezTo>
                  <a:pt x="586" y="1954"/>
                  <a:pt x="587" y="1959"/>
                  <a:pt x="585" y="1963"/>
                </a:cubicBezTo>
                <a:cubicBezTo>
                  <a:pt x="584" y="1966"/>
                  <a:pt x="581" y="1968"/>
                  <a:pt x="578" y="1968"/>
                </a:cubicBezTo>
                <a:close/>
                <a:moveTo>
                  <a:pt x="1617" y="1898"/>
                </a:moveTo>
                <a:cubicBezTo>
                  <a:pt x="1614" y="1898"/>
                  <a:pt x="1611" y="1897"/>
                  <a:pt x="1610" y="1894"/>
                </a:cubicBezTo>
                <a:cubicBezTo>
                  <a:pt x="1607" y="1890"/>
                  <a:pt x="1608" y="1885"/>
                  <a:pt x="1612" y="1883"/>
                </a:cubicBezTo>
                <a:cubicBezTo>
                  <a:pt x="1616" y="1880"/>
                  <a:pt x="1621" y="1881"/>
                  <a:pt x="1624" y="1885"/>
                </a:cubicBezTo>
                <a:cubicBezTo>
                  <a:pt x="1626" y="1889"/>
                  <a:pt x="1625" y="1894"/>
                  <a:pt x="1622" y="1897"/>
                </a:cubicBezTo>
                <a:cubicBezTo>
                  <a:pt x="1620" y="1898"/>
                  <a:pt x="1618" y="1898"/>
                  <a:pt x="1617" y="1898"/>
                </a:cubicBezTo>
                <a:close/>
                <a:moveTo>
                  <a:pt x="1640" y="1882"/>
                </a:moveTo>
                <a:cubicBezTo>
                  <a:pt x="1637" y="1882"/>
                  <a:pt x="1635" y="1881"/>
                  <a:pt x="1633" y="1878"/>
                </a:cubicBezTo>
                <a:cubicBezTo>
                  <a:pt x="1630" y="1875"/>
                  <a:pt x="1631" y="1869"/>
                  <a:pt x="1635" y="1866"/>
                </a:cubicBezTo>
                <a:cubicBezTo>
                  <a:pt x="1665" y="1845"/>
                  <a:pt x="1695" y="1821"/>
                  <a:pt x="1722" y="1796"/>
                </a:cubicBezTo>
                <a:cubicBezTo>
                  <a:pt x="1746" y="1775"/>
                  <a:pt x="1769" y="1752"/>
                  <a:pt x="1790" y="1729"/>
                </a:cubicBezTo>
                <a:cubicBezTo>
                  <a:pt x="1793" y="1726"/>
                  <a:pt x="1799" y="1725"/>
                  <a:pt x="1802" y="1728"/>
                </a:cubicBezTo>
                <a:cubicBezTo>
                  <a:pt x="1805" y="1732"/>
                  <a:pt x="1806" y="1737"/>
                  <a:pt x="1803" y="1740"/>
                </a:cubicBezTo>
                <a:cubicBezTo>
                  <a:pt x="1781" y="1764"/>
                  <a:pt x="1758" y="1787"/>
                  <a:pt x="1734" y="1808"/>
                </a:cubicBezTo>
                <a:cubicBezTo>
                  <a:pt x="1734" y="1809"/>
                  <a:pt x="1734" y="1809"/>
                  <a:pt x="1734" y="1809"/>
                </a:cubicBezTo>
                <a:cubicBezTo>
                  <a:pt x="1734" y="1809"/>
                  <a:pt x="1733" y="1809"/>
                  <a:pt x="1733" y="1809"/>
                </a:cubicBezTo>
                <a:cubicBezTo>
                  <a:pt x="1705" y="1834"/>
                  <a:pt x="1676" y="1858"/>
                  <a:pt x="1645" y="1880"/>
                </a:cubicBezTo>
                <a:cubicBezTo>
                  <a:pt x="1643" y="1881"/>
                  <a:pt x="1642" y="1882"/>
                  <a:pt x="1640" y="1882"/>
                </a:cubicBezTo>
                <a:close/>
                <a:moveTo>
                  <a:pt x="379" y="1838"/>
                </a:moveTo>
                <a:cubicBezTo>
                  <a:pt x="377" y="1838"/>
                  <a:pt x="376" y="1838"/>
                  <a:pt x="374" y="1837"/>
                </a:cubicBezTo>
                <a:cubicBezTo>
                  <a:pt x="374" y="1837"/>
                  <a:pt x="374" y="1837"/>
                  <a:pt x="374" y="1837"/>
                </a:cubicBezTo>
                <a:cubicBezTo>
                  <a:pt x="374" y="1836"/>
                  <a:pt x="374" y="1836"/>
                  <a:pt x="374" y="1836"/>
                </a:cubicBezTo>
                <a:cubicBezTo>
                  <a:pt x="372" y="1835"/>
                  <a:pt x="371" y="1833"/>
                  <a:pt x="371" y="1831"/>
                </a:cubicBezTo>
                <a:cubicBezTo>
                  <a:pt x="371" y="1828"/>
                  <a:pt x="371" y="1826"/>
                  <a:pt x="373" y="1825"/>
                </a:cubicBezTo>
                <a:cubicBezTo>
                  <a:pt x="376" y="1821"/>
                  <a:pt x="381" y="1821"/>
                  <a:pt x="385" y="1823"/>
                </a:cubicBezTo>
                <a:cubicBezTo>
                  <a:pt x="388" y="1826"/>
                  <a:pt x="389" y="1832"/>
                  <a:pt x="386" y="1835"/>
                </a:cubicBezTo>
                <a:cubicBezTo>
                  <a:pt x="384" y="1837"/>
                  <a:pt x="382" y="1838"/>
                  <a:pt x="379" y="1838"/>
                </a:cubicBezTo>
                <a:close/>
                <a:moveTo>
                  <a:pt x="358" y="1820"/>
                </a:moveTo>
                <a:cubicBezTo>
                  <a:pt x="356" y="1820"/>
                  <a:pt x="354" y="1819"/>
                  <a:pt x="352" y="1818"/>
                </a:cubicBezTo>
                <a:cubicBezTo>
                  <a:pt x="328" y="1797"/>
                  <a:pt x="304" y="1774"/>
                  <a:pt x="282" y="1751"/>
                </a:cubicBezTo>
                <a:cubicBezTo>
                  <a:pt x="256" y="1723"/>
                  <a:pt x="232" y="1694"/>
                  <a:pt x="209" y="1663"/>
                </a:cubicBezTo>
                <a:cubicBezTo>
                  <a:pt x="207" y="1662"/>
                  <a:pt x="207" y="1659"/>
                  <a:pt x="207" y="1657"/>
                </a:cubicBezTo>
                <a:cubicBezTo>
                  <a:pt x="208" y="1655"/>
                  <a:pt x="209" y="1653"/>
                  <a:pt x="211" y="1652"/>
                </a:cubicBezTo>
                <a:cubicBezTo>
                  <a:pt x="214" y="1649"/>
                  <a:pt x="220" y="1650"/>
                  <a:pt x="222" y="1653"/>
                </a:cubicBezTo>
                <a:cubicBezTo>
                  <a:pt x="245" y="1683"/>
                  <a:pt x="269" y="1712"/>
                  <a:pt x="294" y="1739"/>
                </a:cubicBezTo>
                <a:cubicBezTo>
                  <a:pt x="295" y="1739"/>
                  <a:pt x="295" y="1739"/>
                  <a:pt x="295" y="1739"/>
                </a:cubicBezTo>
                <a:cubicBezTo>
                  <a:pt x="295" y="1739"/>
                  <a:pt x="295" y="1739"/>
                  <a:pt x="295" y="1739"/>
                </a:cubicBezTo>
                <a:cubicBezTo>
                  <a:pt x="316" y="1762"/>
                  <a:pt x="339" y="1784"/>
                  <a:pt x="363" y="1805"/>
                </a:cubicBezTo>
                <a:cubicBezTo>
                  <a:pt x="365" y="1807"/>
                  <a:pt x="366" y="1809"/>
                  <a:pt x="366" y="1811"/>
                </a:cubicBezTo>
                <a:cubicBezTo>
                  <a:pt x="366" y="1813"/>
                  <a:pt x="366" y="1815"/>
                  <a:pt x="364" y="1817"/>
                </a:cubicBezTo>
                <a:cubicBezTo>
                  <a:pt x="362" y="1819"/>
                  <a:pt x="360" y="1820"/>
                  <a:pt x="358" y="1820"/>
                </a:cubicBezTo>
                <a:close/>
                <a:moveTo>
                  <a:pt x="1815" y="1722"/>
                </a:moveTo>
                <a:cubicBezTo>
                  <a:pt x="1813" y="1722"/>
                  <a:pt x="1811" y="1721"/>
                  <a:pt x="1810" y="1720"/>
                </a:cubicBezTo>
                <a:cubicBezTo>
                  <a:pt x="1808" y="1719"/>
                  <a:pt x="1807" y="1716"/>
                  <a:pt x="1807" y="1714"/>
                </a:cubicBezTo>
                <a:cubicBezTo>
                  <a:pt x="1806" y="1712"/>
                  <a:pt x="1807" y="1710"/>
                  <a:pt x="1809" y="1708"/>
                </a:cubicBezTo>
                <a:cubicBezTo>
                  <a:pt x="1812" y="1705"/>
                  <a:pt x="1817" y="1704"/>
                  <a:pt x="1821" y="1707"/>
                </a:cubicBezTo>
                <a:cubicBezTo>
                  <a:pt x="1822" y="1709"/>
                  <a:pt x="1823" y="1711"/>
                  <a:pt x="1824" y="1713"/>
                </a:cubicBezTo>
                <a:cubicBezTo>
                  <a:pt x="1824" y="1715"/>
                  <a:pt x="1823" y="1717"/>
                  <a:pt x="1821" y="1719"/>
                </a:cubicBezTo>
                <a:cubicBezTo>
                  <a:pt x="1820" y="1721"/>
                  <a:pt x="1818" y="1722"/>
                  <a:pt x="1815" y="1722"/>
                </a:cubicBezTo>
                <a:close/>
                <a:moveTo>
                  <a:pt x="1833" y="1700"/>
                </a:moveTo>
                <a:cubicBezTo>
                  <a:pt x="1831" y="1700"/>
                  <a:pt x="1829" y="1700"/>
                  <a:pt x="1828" y="1699"/>
                </a:cubicBezTo>
                <a:cubicBezTo>
                  <a:pt x="1826" y="1697"/>
                  <a:pt x="1825" y="1695"/>
                  <a:pt x="1825" y="1693"/>
                </a:cubicBezTo>
                <a:cubicBezTo>
                  <a:pt x="1825" y="1691"/>
                  <a:pt x="1825" y="1688"/>
                  <a:pt x="1827" y="1687"/>
                </a:cubicBezTo>
                <a:cubicBezTo>
                  <a:pt x="1850" y="1658"/>
                  <a:pt x="1873" y="1627"/>
                  <a:pt x="1893" y="1596"/>
                </a:cubicBezTo>
                <a:cubicBezTo>
                  <a:pt x="1910" y="1570"/>
                  <a:pt x="1926" y="1542"/>
                  <a:pt x="1941" y="1514"/>
                </a:cubicBezTo>
                <a:cubicBezTo>
                  <a:pt x="1943" y="1510"/>
                  <a:pt x="1949" y="1508"/>
                  <a:pt x="1953" y="1510"/>
                </a:cubicBezTo>
                <a:cubicBezTo>
                  <a:pt x="1957" y="1513"/>
                  <a:pt x="1958" y="1518"/>
                  <a:pt x="1956" y="1522"/>
                </a:cubicBezTo>
                <a:cubicBezTo>
                  <a:pt x="1941" y="1550"/>
                  <a:pt x="1925" y="1578"/>
                  <a:pt x="1907" y="1605"/>
                </a:cubicBezTo>
                <a:cubicBezTo>
                  <a:pt x="1887" y="1637"/>
                  <a:pt x="1864" y="1668"/>
                  <a:pt x="1840" y="1697"/>
                </a:cubicBezTo>
                <a:cubicBezTo>
                  <a:pt x="1838" y="1699"/>
                  <a:pt x="1836" y="1700"/>
                  <a:pt x="1833" y="1700"/>
                </a:cubicBezTo>
                <a:close/>
                <a:moveTo>
                  <a:pt x="199" y="1644"/>
                </a:moveTo>
                <a:cubicBezTo>
                  <a:pt x="196" y="1644"/>
                  <a:pt x="194" y="1643"/>
                  <a:pt x="192" y="1640"/>
                </a:cubicBezTo>
                <a:cubicBezTo>
                  <a:pt x="191" y="1639"/>
                  <a:pt x="190" y="1636"/>
                  <a:pt x="191" y="1634"/>
                </a:cubicBezTo>
                <a:cubicBezTo>
                  <a:pt x="191" y="1632"/>
                  <a:pt x="192" y="1630"/>
                  <a:pt x="194" y="1629"/>
                </a:cubicBezTo>
                <a:cubicBezTo>
                  <a:pt x="198" y="1626"/>
                  <a:pt x="203" y="1627"/>
                  <a:pt x="206" y="1631"/>
                </a:cubicBezTo>
                <a:cubicBezTo>
                  <a:pt x="209" y="1634"/>
                  <a:pt x="208" y="1640"/>
                  <a:pt x="204" y="1642"/>
                </a:cubicBezTo>
                <a:cubicBezTo>
                  <a:pt x="202" y="1643"/>
                  <a:pt x="201" y="1644"/>
                  <a:pt x="199" y="1644"/>
                </a:cubicBezTo>
                <a:close/>
                <a:moveTo>
                  <a:pt x="183" y="1621"/>
                </a:moveTo>
                <a:cubicBezTo>
                  <a:pt x="180" y="1621"/>
                  <a:pt x="177" y="1619"/>
                  <a:pt x="176" y="1617"/>
                </a:cubicBezTo>
                <a:cubicBezTo>
                  <a:pt x="158" y="1590"/>
                  <a:pt x="141" y="1562"/>
                  <a:pt x="126" y="1534"/>
                </a:cubicBezTo>
                <a:cubicBezTo>
                  <a:pt x="125" y="1532"/>
                  <a:pt x="124" y="1530"/>
                  <a:pt x="125" y="1528"/>
                </a:cubicBezTo>
                <a:cubicBezTo>
                  <a:pt x="126" y="1525"/>
                  <a:pt x="127" y="1524"/>
                  <a:pt x="129" y="1523"/>
                </a:cubicBezTo>
                <a:cubicBezTo>
                  <a:pt x="133" y="1520"/>
                  <a:pt x="138" y="1522"/>
                  <a:pt x="141" y="1526"/>
                </a:cubicBezTo>
                <a:cubicBezTo>
                  <a:pt x="156" y="1554"/>
                  <a:pt x="172" y="1581"/>
                  <a:pt x="190" y="1608"/>
                </a:cubicBezTo>
                <a:cubicBezTo>
                  <a:pt x="192" y="1611"/>
                  <a:pt x="191" y="1617"/>
                  <a:pt x="188" y="1619"/>
                </a:cubicBezTo>
                <a:cubicBezTo>
                  <a:pt x="186" y="1620"/>
                  <a:pt x="185" y="1621"/>
                  <a:pt x="183" y="1621"/>
                </a:cubicBezTo>
                <a:close/>
                <a:moveTo>
                  <a:pt x="1962" y="1501"/>
                </a:moveTo>
                <a:cubicBezTo>
                  <a:pt x="1962" y="1501"/>
                  <a:pt x="1962" y="1501"/>
                  <a:pt x="1962" y="1501"/>
                </a:cubicBezTo>
                <a:cubicBezTo>
                  <a:pt x="1960" y="1501"/>
                  <a:pt x="1959" y="1501"/>
                  <a:pt x="1958" y="1500"/>
                </a:cubicBezTo>
                <a:cubicBezTo>
                  <a:pt x="1956" y="1499"/>
                  <a:pt x="1954" y="1498"/>
                  <a:pt x="1954" y="1495"/>
                </a:cubicBezTo>
                <a:cubicBezTo>
                  <a:pt x="1953" y="1493"/>
                  <a:pt x="1953" y="1491"/>
                  <a:pt x="1954" y="1489"/>
                </a:cubicBezTo>
                <a:cubicBezTo>
                  <a:pt x="1956" y="1485"/>
                  <a:pt x="1961" y="1483"/>
                  <a:pt x="1965" y="1485"/>
                </a:cubicBezTo>
                <a:cubicBezTo>
                  <a:pt x="1967" y="1486"/>
                  <a:pt x="1969" y="1488"/>
                  <a:pt x="1970" y="1490"/>
                </a:cubicBezTo>
                <a:cubicBezTo>
                  <a:pt x="1970" y="1492"/>
                  <a:pt x="1970" y="1494"/>
                  <a:pt x="1969" y="1496"/>
                </a:cubicBezTo>
                <a:cubicBezTo>
                  <a:pt x="1968" y="1499"/>
                  <a:pt x="1965" y="1501"/>
                  <a:pt x="1962" y="1501"/>
                </a:cubicBezTo>
                <a:close/>
                <a:moveTo>
                  <a:pt x="1974" y="1476"/>
                </a:moveTo>
                <a:cubicBezTo>
                  <a:pt x="1972" y="1476"/>
                  <a:pt x="1971" y="1475"/>
                  <a:pt x="1970" y="1475"/>
                </a:cubicBezTo>
                <a:cubicBezTo>
                  <a:pt x="1966" y="1473"/>
                  <a:pt x="1964" y="1468"/>
                  <a:pt x="1966" y="1464"/>
                </a:cubicBezTo>
                <a:cubicBezTo>
                  <a:pt x="1981" y="1430"/>
                  <a:pt x="1995" y="1396"/>
                  <a:pt x="2006" y="1361"/>
                </a:cubicBezTo>
                <a:cubicBezTo>
                  <a:pt x="2007" y="1360"/>
                  <a:pt x="2007" y="1360"/>
                  <a:pt x="2007" y="1360"/>
                </a:cubicBezTo>
                <a:cubicBezTo>
                  <a:pt x="2007" y="1360"/>
                  <a:pt x="2007" y="1360"/>
                  <a:pt x="2007" y="1359"/>
                </a:cubicBezTo>
                <a:cubicBezTo>
                  <a:pt x="2017" y="1329"/>
                  <a:pt x="2026" y="1298"/>
                  <a:pt x="2033" y="1267"/>
                </a:cubicBezTo>
                <a:cubicBezTo>
                  <a:pt x="2034" y="1263"/>
                  <a:pt x="2038" y="1260"/>
                  <a:pt x="2043" y="1261"/>
                </a:cubicBezTo>
                <a:cubicBezTo>
                  <a:pt x="2047" y="1262"/>
                  <a:pt x="2050" y="1267"/>
                  <a:pt x="2049" y="1271"/>
                </a:cubicBezTo>
                <a:cubicBezTo>
                  <a:pt x="2042" y="1303"/>
                  <a:pt x="2033" y="1334"/>
                  <a:pt x="2023" y="1365"/>
                </a:cubicBezTo>
                <a:cubicBezTo>
                  <a:pt x="2023" y="1365"/>
                  <a:pt x="2023" y="1365"/>
                  <a:pt x="2023" y="1365"/>
                </a:cubicBezTo>
                <a:cubicBezTo>
                  <a:pt x="2023" y="1366"/>
                  <a:pt x="2023" y="1366"/>
                  <a:pt x="2022" y="1366"/>
                </a:cubicBezTo>
                <a:cubicBezTo>
                  <a:pt x="2011" y="1402"/>
                  <a:pt x="1997" y="1437"/>
                  <a:pt x="1981" y="1471"/>
                </a:cubicBezTo>
                <a:cubicBezTo>
                  <a:pt x="1981" y="1471"/>
                  <a:pt x="1981" y="1471"/>
                  <a:pt x="1981" y="1471"/>
                </a:cubicBezTo>
                <a:cubicBezTo>
                  <a:pt x="1981" y="1471"/>
                  <a:pt x="1981" y="1471"/>
                  <a:pt x="1981" y="1471"/>
                </a:cubicBezTo>
                <a:cubicBezTo>
                  <a:pt x="1980" y="1474"/>
                  <a:pt x="1977" y="1476"/>
                  <a:pt x="1974" y="1476"/>
                </a:cubicBezTo>
                <a:close/>
                <a:moveTo>
                  <a:pt x="92" y="1454"/>
                </a:moveTo>
                <a:cubicBezTo>
                  <a:pt x="89" y="1454"/>
                  <a:pt x="86" y="1452"/>
                  <a:pt x="84" y="1449"/>
                </a:cubicBezTo>
                <a:cubicBezTo>
                  <a:pt x="70" y="1416"/>
                  <a:pt x="58" y="1382"/>
                  <a:pt x="47" y="1348"/>
                </a:cubicBezTo>
                <a:cubicBezTo>
                  <a:pt x="47" y="1348"/>
                  <a:pt x="47" y="1348"/>
                  <a:pt x="47" y="1348"/>
                </a:cubicBezTo>
                <a:cubicBezTo>
                  <a:pt x="46" y="1347"/>
                  <a:pt x="46" y="1347"/>
                  <a:pt x="46" y="1347"/>
                </a:cubicBezTo>
                <a:cubicBezTo>
                  <a:pt x="46" y="1345"/>
                  <a:pt x="46" y="1343"/>
                  <a:pt x="47" y="1341"/>
                </a:cubicBezTo>
                <a:cubicBezTo>
                  <a:pt x="48" y="1339"/>
                  <a:pt x="50" y="1337"/>
                  <a:pt x="52" y="1336"/>
                </a:cubicBezTo>
                <a:cubicBezTo>
                  <a:pt x="56" y="1335"/>
                  <a:pt x="61" y="1338"/>
                  <a:pt x="63" y="1342"/>
                </a:cubicBezTo>
                <a:cubicBezTo>
                  <a:pt x="73" y="1376"/>
                  <a:pt x="86" y="1410"/>
                  <a:pt x="100" y="1442"/>
                </a:cubicBezTo>
                <a:cubicBezTo>
                  <a:pt x="102" y="1447"/>
                  <a:pt x="100" y="1452"/>
                  <a:pt x="95" y="1454"/>
                </a:cubicBezTo>
                <a:cubicBezTo>
                  <a:pt x="94" y="1454"/>
                  <a:pt x="93" y="1454"/>
                  <a:pt x="92" y="1454"/>
                </a:cubicBezTo>
                <a:close/>
                <a:moveTo>
                  <a:pt x="47" y="1326"/>
                </a:moveTo>
                <a:cubicBezTo>
                  <a:pt x="43" y="1326"/>
                  <a:pt x="39" y="1323"/>
                  <a:pt x="38" y="1320"/>
                </a:cubicBezTo>
                <a:cubicBezTo>
                  <a:pt x="38" y="1320"/>
                  <a:pt x="38" y="1320"/>
                  <a:pt x="38" y="1320"/>
                </a:cubicBezTo>
                <a:cubicBezTo>
                  <a:pt x="38" y="1318"/>
                  <a:pt x="38" y="1315"/>
                  <a:pt x="39" y="1313"/>
                </a:cubicBezTo>
                <a:cubicBezTo>
                  <a:pt x="40" y="1311"/>
                  <a:pt x="42" y="1310"/>
                  <a:pt x="44" y="1309"/>
                </a:cubicBezTo>
                <a:cubicBezTo>
                  <a:pt x="49" y="1308"/>
                  <a:pt x="53" y="1311"/>
                  <a:pt x="55" y="1315"/>
                </a:cubicBezTo>
                <a:cubicBezTo>
                  <a:pt x="55" y="1317"/>
                  <a:pt x="55" y="1320"/>
                  <a:pt x="54" y="1322"/>
                </a:cubicBezTo>
                <a:cubicBezTo>
                  <a:pt x="53" y="1324"/>
                  <a:pt x="51" y="1325"/>
                  <a:pt x="49" y="1326"/>
                </a:cubicBezTo>
                <a:cubicBezTo>
                  <a:pt x="48" y="1326"/>
                  <a:pt x="47" y="1326"/>
                  <a:pt x="47" y="1326"/>
                </a:cubicBezTo>
                <a:close/>
                <a:moveTo>
                  <a:pt x="39" y="1299"/>
                </a:moveTo>
                <a:cubicBezTo>
                  <a:pt x="35" y="1299"/>
                  <a:pt x="32" y="1296"/>
                  <a:pt x="31" y="1292"/>
                </a:cubicBezTo>
                <a:cubicBezTo>
                  <a:pt x="23" y="1261"/>
                  <a:pt x="17" y="1229"/>
                  <a:pt x="12" y="1197"/>
                </a:cubicBezTo>
                <a:cubicBezTo>
                  <a:pt x="6" y="1160"/>
                  <a:pt x="2" y="1121"/>
                  <a:pt x="0" y="1084"/>
                </a:cubicBezTo>
                <a:cubicBezTo>
                  <a:pt x="0" y="1081"/>
                  <a:pt x="1" y="1079"/>
                  <a:pt x="3" y="1078"/>
                </a:cubicBezTo>
                <a:cubicBezTo>
                  <a:pt x="4" y="1076"/>
                  <a:pt x="6" y="1075"/>
                  <a:pt x="9" y="1075"/>
                </a:cubicBezTo>
                <a:cubicBezTo>
                  <a:pt x="13" y="1075"/>
                  <a:pt x="17" y="1078"/>
                  <a:pt x="17" y="1083"/>
                </a:cubicBezTo>
                <a:cubicBezTo>
                  <a:pt x="19" y="1120"/>
                  <a:pt x="23" y="1158"/>
                  <a:pt x="28" y="1195"/>
                </a:cubicBezTo>
                <a:cubicBezTo>
                  <a:pt x="28" y="1195"/>
                  <a:pt x="28" y="1195"/>
                  <a:pt x="28" y="1195"/>
                </a:cubicBezTo>
                <a:cubicBezTo>
                  <a:pt x="33" y="1226"/>
                  <a:pt x="40" y="1257"/>
                  <a:pt x="47" y="1288"/>
                </a:cubicBezTo>
                <a:cubicBezTo>
                  <a:pt x="49" y="1293"/>
                  <a:pt x="46" y="1297"/>
                  <a:pt x="41" y="1298"/>
                </a:cubicBezTo>
                <a:cubicBezTo>
                  <a:pt x="41" y="1298"/>
                  <a:pt x="40" y="1299"/>
                  <a:pt x="39" y="1299"/>
                </a:cubicBezTo>
                <a:close/>
                <a:moveTo>
                  <a:pt x="2047" y="1250"/>
                </a:moveTo>
                <a:cubicBezTo>
                  <a:pt x="2046" y="1250"/>
                  <a:pt x="2046" y="1250"/>
                  <a:pt x="2045" y="1250"/>
                </a:cubicBezTo>
                <a:cubicBezTo>
                  <a:pt x="2041" y="1249"/>
                  <a:pt x="2038" y="1245"/>
                  <a:pt x="2039" y="1240"/>
                </a:cubicBezTo>
                <a:cubicBezTo>
                  <a:pt x="2039" y="1240"/>
                  <a:pt x="2039" y="1240"/>
                  <a:pt x="2039" y="1240"/>
                </a:cubicBezTo>
                <a:cubicBezTo>
                  <a:pt x="2040" y="1235"/>
                  <a:pt x="2044" y="1232"/>
                  <a:pt x="2049" y="1233"/>
                </a:cubicBezTo>
                <a:cubicBezTo>
                  <a:pt x="2053" y="1234"/>
                  <a:pt x="2056" y="1239"/>
                  <a:pt x="2055" y="1243"/>
                </a:cubicBezTo>
                <a:cubicBezTo>
                  <a:pt x="2054" y="1247"/>
                  <a:pt x="2051" y="1250"/>
                  <a:pt x="2047" y="1250"/>
                </a:cubicBezTo>
                <a:close/>
                <a:moveTo>
                  <a:pt x="2052" y="1222"/>
                </a:moveTo>
                <a:cubicBezTo>
                  <a:pt x="2052" y="1222"/>
                  <a:pt x="2051" y="1222"/>
                  <a:pt x="2051" y="1222"/>
                </a:cubicBezTo>
                <a:cubicBezTo>
                  <a:pt x="2049" y="1222"/>
                  <a:pt x="2047" y="1221"/>
                  <a:pt x="2045" y="1219"/>
                </a:cubicBezTo>
                <a:cubicBezTo>
                  <a:pt x="2044" y="1217"/>
                  <a:pt x="2043" y="1215"/>
                  <a:pt x="2044" y="1212"/>
                </a:cubicBezTo>
                <a:cubicBezTo>
                  <a:pt x="2050" y="1176"/>
                  <a:pt x="2055" y="1138"/>
                  <a:pt x="2057" y="1101"/>
                </a:cubicBezTo>
                <a:cubicBezTo>
                  <a:pt x="2058" y="1080"/>
                  <a:pt x="2059" y="1059"/>
                  <a:pt x="2059" y="1038"/>
                </a:cubicBezTo>
                <a:cubicBezTo>
                  <a:pt x="2059" y="1027"/>
                  <a:pt x="2059" y="1016"/>
                  <a:pt x="2058" y="1006"/>
                </a:cubicBezTo>
                <a:cubicBezTo>
                  <a:pt x="2058" y="1001"/>
                  <a:pt x="2062" y="997"/>
                  <a:pt x="2067" y="997"/>
                </a:cubicBezTo>
                <a:cubicBezTo>
                  <a:pt x="2071" y="997"/>
                  <a:pt x="2075" y="1000"/>
                  <a:pt x="2075" y="1005"/>
                </a:cubicBezTo>
                <a:cubicBezTo>
                  <a:pt x="2076" y="1016"/>
                  <a:pt x="2076" y="1027"/>
                  <a:pt x="2076" y="1038"/>
                </a:cubicBezTo>
                <a:cubicBezTo>
                  <a:pt x="2076" y="1059"/>
                  <a:pt x="2075" y="1081"/>
                  <a:pt x="2074" y="1102"/>
                </a:cubicBezTo>
                <a:cubicBezTo>
                  <a:pt x="2072" y="1140"/>
                  <a:pt x="2067" y="1178"/>
                  <a:pt x="2061" y="1215"/>
                </a:cubicBezTo>
                <a:cubicBezTo>
                  <a:pt x="2061" y="1215"/>
                  <a:pt x="2061" y="1215"/>
                  <a:pt x="2061" y="1215"/>
                </a:cubicBezTo>
                <a:cubicBezTo>
                  <a:pt x="2060" y="1219"/>
                  <a:pt x="2056" y="1222"/>
                  <a:pt x="2052" y="1222"/>
                </a:cubicBezTo>
                <a:close/>
                <a:moveTo>
                  <a:pt x="8" y="1064"/>
                </a:moveTo>
                <a:cubicBezTo>
                  <a:pt x="8" y="1064"/>
                  <a:pt x="8" y="1064"/>
                  <a:pt x="8" y="1064"/>
                </a:cubicBezTo>
                <a:cubicBezTo>
                  <a:pt x="3" y="1064"/>
                  <a:pt x="0" y="1060"/>
                  <a:pt x="0" y="1055"/>
                </a:cubicBezTo>
                <a:cubicBezTo>
                  <a:pt x="0" y="1053"/>
                  <a:pt x="0" y="1051"/>
                  <a:pt x="2" y="1049"/>
                </a:cubicBezTo>
                <a:cubicBezTo>
                  <a:pt x="4" y="1048"/>
                  <a:pt x="6" y="1047"/>
                  <a:pt x="8" y="1047"/>
                </a:cubicBezTo>
                <a:cubicBezTo>
                  <a:pt x="8" y="1047"/>
                  <a:pt x="8" y="1047"/>
                  <a:pt x="8" y="1047"/>
                </a:cubicBezTo>
                <a:cubicBezTo>
                  <a:pt x="13" y="1047"/>
                  <a:pt x="16" y="1050"/>
                  <a:pt x="17" y="1055"/>
                </a:cubicBezTo>
                <a:cubicBezTo>
                  <a:pt x="17" y="1060"/>
                  <a:pt x="13" y="1063"/>
                  <a:pt x="8" y="1064"/>
                </a:cubicBezTo>
                <a:close/>
                <a:moveTo>
                  <a:pt x="8" y="1035"/>
                </a:moveTo>
                <a:cubicBezTo>
                  <a:pt x="8" y="1035"/>
                  <a:pt x="8" y="1035"/>
                  <a:pt x="8" y="1035"/>
                </a:cubicBezTo>
                <a:cubicBezTo>
                  <a:pt x="6" y="1035"/>
                  <a:pt x="4" y="1034"/>
                  <a:pt x="2" y="1033"/>
                </a:cubicBezTo>
                <a:cubicBezTo>
                  <a:pt x="0" y="1031"/>
                  <a:pt x="0" y="1029"/>
                  <a:pt x="0" y="1027"/>
                </a:cubicBezTo>
                <a:cubicBezTo>
                  <a:pt x="0" y="995"/>
                  <a:pt x="2" y="962"/>
                  <a:pt x="5" y="930"/>
                </a:cubicBezTo>
                <a:cubicBezTo>
                  <a:pt x="9" y="892"/>
                  <a:pt x="15" y="855"/>
                  <a:pt x="23" y="818"/>
                </a:cubicBezTo>
                <a:cubicBezTo>
                  <a:pt x="23" y="817"/>
                  <a:pt x="23" y="817"/>
                  <a:pt x="23" y="817"/>
                </a:cubicBezTo>
                <a:cubicBezTo>
                  <a:pt x="24" y="813"/>
                  <a:pt x="29" y="810"/>
                  <a:pt x="34" y="811"/>
                </a:cubicBezTo>
                <a:cubicBezTo>
                  <a:pt x="36" y="811"/>
                  <a:pt x="38" y="813"/>
                  <a:pt x="39" y="815"/>
                </a:cubicBezTo>
                <a:cubicBezTo>
                  <a:pt x="40" y="817"/>
                  <a:pt x="40" y="819"/>
                  <a:pt x="40" y="821"/>
                </a:cubicBezTo>
                <a:cubicBezTo>
                  <a:pt x="32" y="857"/>
                  <a:pt x="26" y="895"/>
                  <a:pt x="22" y="932"/>
                </a:cubicBezTo>
                <a:cubicBezTo>
                  <a:pt x="19" y="963"/>
                  <a:pt x="17" y="995"/>
                  <a:pt x="17" y="1027"/>
                </a:cubicBezTo>
                <a:cubicBezTo>
                  <a:pt x="16" y="1032"/>
                  <a:pt x="13" y="1035"/>
                  <a:pt x="8" y="1035"/>
                </a:cubicBezTo>
                <a:close/>
                <a:moveTo>
                  <a:pt x="2066" y="986"/>
                </a:moveTo>
                <a:cubicBezTo>
                  <a:pt x="2061" y="986"/>
                  <a:pt x="2057" y="982"/>
                  <a:pt x="2057" y="978"/>
                </a:cubicBezTo>
                <a:cubicBezTo>
                  <a:pt x="2057" y="975"/>
                  <a:pt x="2058" y="973"/>
                  <a:pt x="2059" y="972"/>
                </a:cubicBezTo>
                <a:cubicBezTo>
                  <a:pt x="2061" y="970"/>
                  <a:pt x="2063" y="969"/>
                  <a:pt x="2065" y="969"/>
                </a:cubicBezTo>
                <a:cubicBezTo>
                  <a:pt x="2070" y="968"/>
                  <a:pt x="2074" y="972"/>
                  <a:pt x="2074" y="976"/>
                </a:cubicBezTo>
                <a:cubicBezTo>
                  <a:pt x="2074" y="977"/>
                  <a:pt x="2074" y="977"/>
                  <a:pt x="2074" y="977"/>
                </a:cubicBezTo>
                <a:cubicBezTo>
                  <a:pt x="2074" y="981"/>
                  <a:pt x="2071" y="985"/>
                  <a:pt x="2066" y="986"/>
                </a:cubicBezTo>
                <a:cubicBezTo>
                  <a:pt x="2066" y="986"/>
                  <a:pt x="2066" y="986"/>
                  <a:pt x="2066" y="986"/>
                </a:cubicBezTo>
                <a:close/>
                <a:moveTo>
                  <a:pt x="2064" y="957"/>
                </a:moveTo>
                <a:cubicBezTo>
                  <a:pt x="2059" y="957"/>
                  <a:pt x="2055" y="954"/>
                  <a:pt x="2055" y="950"/>
                </a:cubicBezTo>
                <a:cubicBezTo>
                  <a:pt x="2052" y="913"/>
                  <a:pt x="2047" y="875"/>
                  <a:pt x="2039" y="839"/>
                </a:cubicBezTo>
                <a:cubicBezTo>
                  <a:pt x="2033" y="808"/>
                  <a:pt x="2025" y="777"/>
                  <a:pt x="2016" y="746"/>
                </a:cubicBezTo>
                <a:cubicBezTo>
                  <a:pt x="2016" y="744"/>
                  <a:pt x="2016" y="742"/>
                  <a:pt x="2017" y="740"/>
                </a:cubicBezTo>
                <a:cubicBezTo>
                  <a:pt x="2018" y="738"/>
                  <a:pt x="2020" y="736"/>
                  <a:pt x="2022" y="736"/>
                </a:cubicBezTo>
                <a:cubicBezTo>
                  <a:pt x="2026" y="734"/>
                  <a:pt x="2031" y="737"/>
                  <a:pt x="2032" y="741"/>
                </a:cubicBezTo>
                <a:cubicBezTo>
                  <a:pt x="2042" y="772"/>
                  <a:pt x="2050" y="804"/>
                  <a:pt x="2056" y="835"/>
                </a:cubicBezTo>
                <a:cubicBezTo>
                  <a:pt x="2063" y="873"/>
                  <a:pt x="2069" y="911"/>
                  <a:pt x="2072" y="948"/>
                </a:cubicBezTo>
                <a:cubicBezTo>
                  <a:pt x="2072" y="953"/>
                  <a:pt x="2069" y="957"/>
                  <a:pt x="2064" y="957"/>
                </a:cubicBezTo>
                <a:cubicBezTo>
                  <a:pt x="2064" y="957"/>
                  <a:pt x="2064" y="957"/>
                  <a:pt x="2064" y="957"/>
                </a:cubicBezTo>
                <a:close/>
                <a:moveTo>
                  <a:pt x="38" y="800"/>
                </a:moveTo>
                <a:cubicBezTo>
                  <a:pt x="37" y="800"/>
                  <a:pt x="37" y="800"/>
                  <a:pt x="36" y="800"/>
                </a:cubicBezTo>
                <a:cubicBezTo>
                  <a:pt x="32" y="799"/>
                  <a:pt x="29" y="794"/>
                  <a:pt x="30" y="790"/>
                </a:cubicBezTo>
                <a:cubicBezTo>
                  <a:pt x="30" y="788"/>
                  <a:pt x="30" y="788"/>
                  <a:pt x="30" y="788"/>
                </a:cubicBezTo>
                <a:cubicBezTo>
                  <a:pt x="30" y="788"/>
                  <a:pt x="30" y="788"/>
                  <a:pt x="30" y="788"/>
                </a:cubicBezTo>
                <a:cubicBezTo>
                  <a:pt x="32" y="785"/>
                  <a:pt x="36" y="782"/>
                  <a:pt x="40" y="783"/>
                </a:cubicBezTo>
                <a:cubicBezTo>
                  <a:pt x="42" y="784"/>
                  <a:pt x="44" y="785"/>
                  <a:pt x="45" y="787"/>
                </a:cubicBezTo>
                <a:cubicBezTo>
                  <a:pt x="47" y="789"/>
                  <a:pt x="47" y="791"/>
                  <a:pt x="46" y="794"/>
                </a:cubicBezTo>
                <a:cubicBezTo>
                  <a:pt x="45" y="797"/>
                  <a:pt x="42" y="800"/>
                  <a:pt x="38" y="800"/>
                </a:cubicBezTo>
                <a:close/>
                <a:moveTo>
                  <a:pt x="45" y="773"/>
                </a:moveTo>
                <a:cubicBezTo>
                  <a:pt x="45" y="773"/>
                  <a:pt x="44" y="773"/>
                  <a:pt x="43" y="772"/>
                </a:cubicBezTo>
                <a:cubicBezTo>
                  <a:pt x="41" y="772"/>
                  <a:pt x="39" y="770"/>
                  <a:pt x="38" y="768"/>
                </a:cubicBezTo>
                <a:cubicBezTo>
                  <a:pt x="37" y="766"/>
                  <a:pt x="36" y="764"/>
                  <a:pt x="37" y="762"/>
                </a:cubicBezTo>
                <a:cubicBezTo>
                  <a:pt x="46" y="731"/>
                  <a:pt x="56" y="700"/>
                  <a:pt x="67" y="670"/>
                </a:cubicBezTo>
                <a:cubicBezTo>
                  <a:pt x="67" y="670"/>
                  <a:pt x="67" y="670"/>
                  <a:pt x="67" y="670"/>
                </a:cubicBezTo>
                <a:cubicBezTo>
                  <a:pt x="67" y="670"/>
                  <a:pt x="67" y="670"/>
                  <a:pt x="67" y="670"/>
                </a:cubicBezTo>
                <a:cubicBezTo>
                  <a:pt x="68" y="669"/>
                  <a:pt x="68" y="669"/>
                  <a:pt x="68" y="669"/>
                </a:cubicBezTo>
                <a:cubicBezTo>
                  <a:pt x="68" y="668"/>
                  <a:pt x="68" y="667"/>
                  <a:pt x="69" y="666"/>
                </a:cubicBezTo>
                <a:cubicBezTo>
                  <a:pt x="82" y="632"/>
                  <a:pt x="97" y="598"/>
                  <a:pt x="113" y="566"/>
                </a:cubicBezTo>
                <a:cubicBezTo>
                  <a:pt x="115" y="562"/>
                  <a:pt x="121" y="560"/>
                  <a:pt x="125" y="562"/>
                </a:cubicBezTo>
                <a:cubicBezTo>
                  <a:pt x="129" y="564"/>
                  <a:pt x="131" y="569"/>
                  <a:pt x="129" y="573"/>
                </a:cubicBezTo>
                <a:cubicBezTo>
                  <a:pt x="112" y="605"/>
                  <a:pt x="97" y="638"/>
                  <a:pt x="85" y="672"/>
                </a:cubicBezTo>
                <a:cubicBezTo>
                  <a:pt x="84" y="672"/>
                  <a:pt x="84" y="673"/>
                  <a:pt x="84" y="674"/>
                </a:cubicBezTo>
                <a:cubicBezTo>
                  <a:pt x="84" y="675"/>
                  <a:pt x="83" y="675"/>
                  <a:pt x="83" y="676"/>
                </a:cubicBezTo>
                <a:cubicBezTo>
                  <a:pt x="72" y="706"/>
                  <a:pt x="62" y="736"/>
                  <a:pt x="53" y="767"/>
                </a:cubicBezTo>
                <a:cubicBezTo>
                  <a:pt x="52" y="770"/>
                  <a:pt x="49" y="773"/>
                  <a:pt x="45" y="773"/>
                </a:cubicBezTo>
                <a:close/>
                <a:moveTo>
                  <a:pt x="2016" y="725"/>
                </a:moveTo>
                <a:cubicBezTo>
                  <a:pt x="2012" y="725"/>
                  <a:pt x="2009" y="723"/>
                  <a:pt x="2008" y="719"/>
                </a:cubicBezTo>
                <a:cubicBezTo>
                  <a:pt x="2007" y="717"/>
                  <a:pt x="2007" y="715"/>
                  <a:pt x="2008" y="713"/>
                </a:cubicBezTo>
                <a:cubicBezTo>
                  <a:pt x="2009" y="711"/>
                  <a:pt x="2011" y="709"/>
                  <a:pt x="2013" y="709"/>
                </a:cubicBezTo>
                <a:cubicBezTo>
                  <a:pt x="2018" y="707"/>
                  <a:pt x="2023" y="710"/>
                  <a:pt x="2024" y="714"/>
                </a:cubicBezTo>
                <a:cubicBezTo>
                  <a:pt x="2025" y="719"/>
                  <a:pt x="2023" y="723"/>
                  <a:pt x="2019" y="725"/>
                </a:cubicBezTo>
                <a:cubicBezTo>
                  <a:pt x="2018" y="725"/>
                  <a:pt x="2017" y="725"/>
                  <a:pt x="2016" y="725"/>
                </a:cubicBezTo>
                <a:close/>
                <a:moveTo>
                  <a:pt x="2007" y="698"/>
                </a:moveTo>
                <a:cubicBezTo>
                  <a:pt x="2003" y="698"/>
                  <a:pt x="2000" y="696"/>
                  <a:pt x="1999" y="693"/>
                </a:cubicBezTo>
                <a:cubicBezTo>
                  <a:pt x="1986" y="659"/>
                  <a:pt x="1972" y="625"/>
                  <a:pt x="1956" y="592"/>
                </a:cubicBezTo>
                <a:cubicBezTo>
                  <a:pt x="1956" y="591"/>
                  <a:pt x="1956" y="591"/>
                  <a:pt x="1956" y="591"/>
                </a:cubicBezTo>
                <a:cubicBezTo>
                  <a:pt x="1956" y="591"/>
                  <a:pt x="1955" y="590"/>
                  <a:pt x="1955" y="590"/>
                </a:cubicBezTo>
                <a:cubicBezTo>
                  <a:pt x="1941" y="561"/>
                  <a:pt x="1926" y="533"/>
                  <a:pt x="1909" y="506"/>
                </a:cubicBezTo>
                <a:cubicBezTo>
                  <a:pt x="1907" y="502"/>
                  <a:pt x="1908" y="497"/>
                  <a:pt x="1912" y="494"/>
                </a:cubicBezTo>
                <a:cubicBezTo>
                  <a:pt x="1916" y="492"/>
                  <a:pt x="1921" y="493"/>
                  <a:pt x="1924" y="497"/>
                </a:cubicBezTo>
                <a:cubicBezTo>
                  <a:pt x="1940" y="525"/>
                  <a:pt x="1956" y="553"/>
                  <a:pt x="1970" y="582"/>
                </a:cubicBezTo>
                <a:cubicBezTo>
                  <a:pt x="1970" y="582"/>
                  <a:pt x="1971" y="583"/>
                  <a:pt x="1971" y="583"/>
                </a:cubicBezTo>
                <a:cubicBezTo>
                  <a:pt x="1971" y="584"/>
                  <a:pt x="1971" y="584"/>
                  <a:pt x="1971" y="584"/>
                </a:cubicBezTo>
                <a:cubicBezTo>
                  <a:pt x="1988" y="618"/>
                  <a:pt x="2002" y="652"/>
                  <a:pt x="2015" y="687"/>
                </a:cubicBezTo>
                <a:cubicBezTo>
                  <a:pt x="2015" y="687"/>
                  <a:pt x="2015" y="687"/>
                  <a:pt x="2015" y="687"/>
                </a:cubicBezTo>
                <a:cubicBezTo>
                  <a:pt x="2015" y="689"/>
                  <a:pt x="2015" y="692"/>
                  <a:pt x="2014" y="694"/>
                </a:cubicBezTo>
                <a:cubicBezTo>
                  <a:pt x="2013" y="696"/>
                  <a:pt x="2012" y="697"/>
                  <a:pt x="2010" y="698"/>
                </a:cubicBezTo>
                <a:cubicBezTo>
                  <a:pt x="2009" y="698"/>
                  <a:pt x="2008" y="698"/>
                  <a:pt x="2007" y="698"/>
                </a:cubicBezTo>
                <a:close/>
                <a:moveTo>
                  <a:pt x="134" y="553"/>
                </a:moveTo>
                <a:cubicBezTo>
                  <a:pt x="133" y="553"/>
                  <a:pt x="131" y="553"/>
                  <a:pt x="130" y="552"/>
                </a:cubicBezTo>
                <a:cubicBezTo>
                  <a:pt x="128" y="551"/>
                  <a:pt x="127" y="549"/>
                  <a:pt x="126" y="547"/>
                </a:cubicBezTo>
                <a:cubicBezTo>
                  <a:pt x="125" y="545"/>
                  <a:pt x="126" y="542"/>
                  <a:pt x="127" y="540"/>
                </a:cubicBezTo>
                <a:cubicBezTo>
                  <a:pt x="129" y="536"/>
                  <a:pt x="134" y="535"/>
                  <a:pt x="138" y="537"/>
                </a:cubicBezTo>
                <a:cubicBezTo>
                  <a:pt x="142" y="539"/>
                  <a:pt x="144" y="544"/>
                  <a:pt x="142" y="549"/>
                </a:cubicBezTo>
                <a:cubicBezTo>
                  <a:pt x="140" y="551"/>
                  <a:pt x="137" y="553"/>
                  <a:pt x="134" y="553"/>
                </a:cubicBezTo>
                <a:close/>
                <a:moveTo>
                  <a:pt x="148" y="528"/>
                </a:moveTo>
                <a:cubicBezTo>
                  <a:pt x="147" y="528"/>
                  <a:pt x="145" y="528"/>
                  <a:pt x="144" y="527"/>
                </a:cubicBezTo>
                <a:cubicBezTo>
                  <a:pt x="140" y="525"/>
                  <a:pt x="138" y="520"/>
                  <a:pt x="141" y="516"/>
                </a:cubicBezTo>
                <a:cubicBezTo>
                  <a:pt x="157" y="488"/>
                  <a:pt x="175" y="460"/>
                  <a:pt x="193" y="434"/>
                </a:cubicBezTo>
                <a:cubicBezTo>
                  <a:pt x="215" y="403"/>
                  <a:pt x="239" y="373"/>
                  <a:pt x="265" y="345"/>
                </a:cubicBezTo>
                <a:cubicBezTo>
                  <a:pt x="268" y="342"/>
                  <a:pt x="273" y="342"/>
                  <a:pt x="277" y="345"/>
                </a:cubicBezTo>
                <a:cubicBezTo>
                  <a:pt x="280" y="348"/>
                  <a:pt x="280" y="353"/>
                  <a:pt x="277" y="357"/>
                </a:cubicBezTo>
                <a:cubicBezTo>
                  <a:pt x="252" y="384"/>
                  <a:pt x="229" y="414"/>
                  <a:pt x="207" y="444"/>
                </a:cubicBezTo>
                <a:cubicBezTo>
                  <a:pt x="189" y="470"/>
                  <a:pt x="171" y="497"/>
                  <a:pt x="155" y="524"/>
                </a:cubicBezTo>
                <a:cubicBezTo>
                  <a:pt x="154" y="527"/>
                  <a:pt x="151" y="528"/>
                  <a:pt x="148" y="528"/>
                </a:cubicBezTo>
                <a:close/>
                <a:moveTo>
                  <a:pt x="1901" y="486"/>
                </a:moveTo>
                <a:cubicBezTo>
                  <a:pt x="1899" y="486"/>
                  <a:pt x="1896" y="485"/>
                  <a:pt x="1895" y="483"/>
                </a:cubicBezTo>
                <a:cubicBezTo>
                  <a:pt x="1895" y="483"/>
                  <a:pt x="1895" y="483"/>
                  <a:pt x="1895" y="483"/>
                </a:cubicBezTo>
                <a:cubicBezTo>
                  <a:pt x="1894" y="482"/>
                  <a:pt x="1894" y="482"/>
                  <a:pt x="1894" y="482"/>
                </a:cubicBezTo>
                <a:cubicBezTo>
                  <a:pt x="1892" y="478"/>
                  <a:pt x="1893" y="473"/>
                  <a:pt x="1897" y="470"/>
                </a:cubicBezTo>
                <a:cubicBezTo>
                  <a:pt x="1901" y="468"/>
                  <a:pt x="1906" y="469"/>
                  <a:pt x="1908" y="473"/>
                </a:cubicBezTo>
                <a:cubicBezTo>
                  <a:pt x="1911" y="477"/>
                  <a:pt x="1910" y="482"/>
                  <a:pt x="1906" y="485"/>
                </a:cubicBezTo>
                <a:cubicBezTo>
                  <a:pt x="1905" y="486"/>
                  <a:pt x="1903" y="486"/>
                  <a:pt x="1901" y="486"/>
                </a:cubicBezTo>
                <a:close/>
                <a:moveTo>
                  <a:pt x="1886" y="463"/>
                </a:moveTo>
                <a:cubicBezTo>
                  <a:pt x="1883" y="463"/>
                  <a:pt x="1880" y="461"/>
                  <a:pt x="1879" y="459"/>
                </a:cubicBezTo>
                <a:cubicBezTo>
                  <a:pt x="1857" y="428"/>
                  <a:pt x="1834" y="398"/>
                  <a:pt x="1810" y="370"/>
                </a:cubicBezTo>
                <a:cubicBezTo>
                  <a:pt x="1789" y="346"/>
                  <a:pt x="1767" y="323"/>
                  <a:pt x="1744" y="301"/>
                </a:cubicBezTo>
                <a:cubicBezTo>
                  <a:pt x="1743" y="299"/>
                  <a:pt x="1742" y="297"/>
                  <a:pt x="1742" y="295"/>
                </a:cubicBezTo>
                <a:cubicBezTo>
                  <a:pt x="1742" y="293"/>
                  <a:pt x="1743" y="291"/>
                  <a:pt x="1744" y="289"/>
                </a:cubicBezTo>
                <a:cubicBezTo>
                  <a:pt x="1747" y="286"/>
                  <a:pt x="1753" y="286"/>
                  <a:pt x="1756" y="289"/>
                </a:cubicBezTo>
                <a:cubicBezTo>
                  <a:pt x="1779" y="311"/>
                  <a:pt x="1802" y="335"/>
                  <a:pt x="1823" y="359"/>
                </a:cubicBezTo>
                <a:cubicBezTo>
                  <a:pt x="1848" y="388"/>
                  <a:pt x="1871" y="418"/>
                  <a:pt x="1893" y="449"/>
                </a:cubicBezTo>
                <a:cubicBezTo>
                  <a:pt x="1895" y="453"/>
                  <a:pt x="1894" y="458"/>
                  <a:pt x="1890" y="461"/>
                </a:cubicBezTo>
                <a:cubicBezTo>
                  <a:pt x="1889" y="462"/>
                  <a:pt x="1887" y="463"/>
                  <a:pt x="1886" y="463"/>
                </a:cubicBezTo>
                <a:close/>
                <a:moveTo>
                  <a:pt x="290" y="339"/>
                </a:moveTo>
                <a:cubicBezTo>
                  <a:pt x="288" y="339"/>
                  <a:pt x="286" y="338"/>
                  <a:pt x="284" y="336"/>
                </a:cubicBezTo>
                <a:cubicBezTo>
                  <a:pt x="281" y="333"/>
                  <a:pt x="281" y="328"/>
                  <a:pt x="284" y="324"/>
                </a:cubicBezTo>
                <a:cubicBezTo>
                  <a:pt x="287" y="321"/>
                  <a:pt x="293" y="321"/>
                  <a:pt x="296" y="324"/>
                </a:cubicBezTo>
                <a:cubicBezTo>
                  <a:pt x="298" y="325"/>
                  <a:pt x="298" y="328"/>
                  <a:pt x="299" y="330"/>
                </a:cubicBezTo>
                <a:cubicBezTo>
                  <a:pt x="299" y="332"/>
                  <a:pt x="298" y="334"/>
                  <a:pt x="296" y="336"/>
                </a:cubicBezTo>
                <a:cubicBezTo>
                  <a:pt x="295" y="338"/>
                  <a:pt x="292" y="339"/>
                  <a:pt x="290" y="339"/>
                </a:cubicBezTo>
                <a:close/>
                <a:moveTo>
                  <a:pt x="310" y="318"/>
                </a:moveTo>
                <a:cubicBezTo>
                  <a:pt x="308" y="318"/>
                  <a:pt x="305" y="317"/>
                  <a:pt x="304" y="316"/>
                </a:cubicBezTo>
                <a:cubicBezTo>
                  <a:pt x="300" y="312"/>
                  <a:pt x="300" y="307"/>
                  <a:pt x="304" y="304"/>
                </a:cubicBezTo>
                <a:cubicBezTo>
                  <a:pt x="327" y="281"/>
                  <a:pt x="351" y="259"/>
                  <a:pt x="376" y="239"/>
                </a:cubicBezTo>
                <a:cubicBezTo>
                  <a:pt x="405" y="215"/>
                  <a:pt x="436" y="192"/>
                  <a:pt x="467" y="171"/>
                </a:cubicBezTo>
                <a:cubicBezTo>
                  <a:pt x="468" y="171"/>
                  <a:pt x="468" y="171"/>
                  <a:pt x="468" y="171"/>
                </a:cubicBezTo>
                <a:cubicBezTo>
                  <a:pt x="468" y="171"/>
                  <a:pt x="468" y="171"/>
                  <a:pt x="468" y="171"/>
                </a:cubicBezTo>
                <a:cubicBezTo>
                  <a:pt x="471" y="168"/>
                  <a:pt x="477" y="170"/>
                  <a:pt x="479" y="173"/>
                </a:cubicBezTo>
                <a:cubicBezTo>
                  <a:pt x="482" y="177"/>
                  <a:pt x="481" y="183"/>
                  <a:pt x="477" y="185"/>
                </a:cubicBezTo>
                <a:cubicBezTo>
                  <a:pt x="445" y="206"/>
                  <a:pt x="415" y="228"/>
                  <a:pt x="386" y="252"/>
                </a:cubicBezTo>
                <a:cubicBezTo>
                  <a:pt x="362" y="272"/>
                  <a:pt x="338" y="293"/>
                  <a:pt x="316" y="316"/>
                </a:cubicBezTo>
                <a:cubicBezTo>
                  <a:pt x="314" y="317"/>
                  <a:pt x="312" y="318"/>
                  <a:pt x="310" y="318"/>
                </a:cubicBezTo>
                <a:close/>
                <a:moveTo>
                  <a:pt x="1730" y="284"/>
                </a:moveTo>
                <a:cubicBezTo>
                  <a:pt x="1728" y="284"/>
                  <a:pt x="1725" y="283"/>
                  <a:pt x="1724" y="282"/>
                </a:cubicBezTo>
                <a:cubicBezTo>
                  <a:pt x="1722" y="280"/>
                  <a:pt x="1721" y="278"/>
                  <a:pt x="1721" y="276"/>
                </a:cubicBezTo>
                <a:cubicBezTo>
                  <a:pt x="1721" y="274"/>
                  <a:pt x="1722" y="272"/>
                  <a:pt x="1723" y="270"/>
                </a:cubicBezTo>
                <a:cubicBezTo>
                  <a:pt x="1726" y="267"/>
                  <a:pt x="1732" y="266"/>
                  <a:pt x="1735" y="269"/>
                </a:cubicBezTo>
                <a:cubicBezTo>
                  <a:pt x="1737" y="271"/>
                  <a:pt x="1738" y="273"/>
                  <a:pt x="1738" y="275"/>
                </a:cubicBezTo>
                <a:cubicBezTo>
                  <a:pt x="1738" y="277"/>
                  <a:pt x="1737" y="280"/>
                  <a:pt x="1736" y="281"/>
                </a:cubicBezTo>
                <a:cubicBezTo>
                  <a:pt x="1734" y="283"/>
                  <a:pt x="1732" y="284"/>
                  <a:pt x="1730" y="284"/>
                </a:cubicBezTo>
                <a:close/>
                <a:moveTo>
                  <a:pt x="1708" y="265"/>
                </a:moveTo>
                <a:cubicBezTo>
                  <a:pt x="1706" y="265"/>
                  <a:pt x="1704" y="265"/>
                  <a:pt x="1703" y="263"/>
                </a:cubicBezTo>
                <a:cubicBezTo>
                  <a:pt x="1675" y="239"/>
                  <a:pt x="1645" y="216"/>
                  <a:pt x="1614" y="195"/>
                </a:cubicBezTo>
                <a:cubicBezTo>
                  <a:pt x="1614" y="195"/>
                  <a:pt x="1614" y="195"/>
                  <a:pt x="1614" y="195"/>
                </a:cubicBezTo>
                <a:cubicBezTo>
                  <a:pt x="1614" y="195"/>
                  <a:pt x="1614" y="195"/>
                  <a:pt x="1614" y="195"/>
                </a:cubicBezTo>
                <a:cubicBezTo>
                  <a:pt x="1588" y="177"/>
                  <a:pt x="1560" y="160"/>
                  <a:pt x="1533" y="145"/>
                </a:cubicBezTo>
                <a:cubicBezTo>
                  <a:pt x="1529" y="143"/>
                  <a:pt x="1527" y="138"/>
                  <a:pt x="1529" y="134"/>
                </a:cubicBezTo>
                <a:cubicBezTo>
                  <a:pt x="1532" y="130"/>
                  <a:pt x="1537" y="128"/>
                  <a:pt x="1541" y="130"/>
                </a:cubicBezTo>
                <a:cubicBezTo>
                  <a:pt x="1569" y="146"/>
                  <a:pt x="1597" y="163"/>
                  <a:pt x="1623" y="181"/>
                </a:cubicBezTo>
                <a:cubicBezTo>
                  <a:pt x="1655" y="202"/>
                  <a:pt x="1685" y="226"/>
                  <a:pt x="1714" y="250"/>
                </a:cubicBezTo>
                <a:cubicBezTo>
                  <a:pt x="1716" y="252"/>
                  <a:pt x="1717" y="254"/>
                  <a:pt x="1717" y="256"/>
                </a:cubicBezTo>
                <a:cubicBezTo>
                  <a:pt x="1717" y="259"/>
                  <a:pt x="1716" y="261"/>
                  <a:pt x="1715" y="262"/>
                </a:cubicBezTo>
                <a:cubicBezTo>
                  <a:pt x="1713" y="264"/>
                  <a:pt x="1711" y="265"/>
                  <a:pt x="1708" y="265"/>
                </a:cubicBezTo>
                <a:close/>
                <a:moveTo>
                  <a:pt x="496" y="171"/>
                </a:moveTo>
                <a:cubicBezTo>
                  <a:pt x="493" y="171"/>
                  <a:pt x="490" y="170"/>
                  <a:pt x="489" y="167"/>
                </a:cubicBezTo>
                <a:cubicBezTo>
                  <a:pt x="487" y="165"/>
                  <a:pt x="487" y="163"/>
                  <a:pt x="488" y="161"/>
                </a:cubicBezTo>
                <a:cubicBezTo>
                  <a:pt x="488" y="159"/>
                  <a:pt x="489" y="157"/>
                  <a:pt x="491" y="156"/>
                </a:cubicBezTo>
                <a:cubicBezTo>
                  <a:pt x="495" y="153"/>
                  <a:pt x="501" y="155"/>
                  <a:pt x="503" y="158"/>
                </a:cubicBezTo>
                <a:cubicBezTo>
                  <a:pt x="504" y="160"/>
                  <a:pt x="505" y="163"/>
                  <a:pt x="504" y="165"/>
                </a:cubicBezTo>
                <a:cubicBezTo>
                  <a:pt x="504" y="167"/>
                  <a:pt x="502" y="169"/>
                  <a:pt x="500" y="170"/>
                </a:cubicBezTo>
                <a:cubicBezTo>
                  <a:pt x="499" y="171"/>
                  <a:pt x="497" y="171"/>
                  <a:pt x="496" y="171"/>
                </a:cubicBezTo>
                <a:close/>
                <a:moveTo>
                  <a:pt x="520" y="157"/>
                </a:moveTo>
                <a:cubicBezTo>
                  <a:pt x="517" y="157"/>
                  <a:pt x="514" y="155"/>
                  <a:pt x="513" y="153"/>
                </a:cubicBezTo>
                <a:cubicBezTo>
                  <a:pt x="512" y="151"/>
                  <a:pt x="511" y="148"/>
                  <a:pt x="512" y="146"/>
                </a:cubicBezTo>
                <a:cubicBezTo>
                  <a:pt x="512" y="144"/>
                  <a:pt x="514" y="142"/>
                  <a:pt x="516" y="141"/>
                </a:cubicBezTo>
                <a:cubicBezTo>
                  <a:pt x="544" y="125"/>
                  <a:pt x="573" y="110"/>
                  <a:pt x="602" y="96"/>
                </a:cubicBezTo>
                <a:cubicBezTo>
                  <a:pt x="602" y="96"/>
                  <a:pt x="603" y="96"/>
                  <a:pt x="604" y="95"/>
                </a:cubicBezTo>
                <a:cubicBezTo>
                  <a:pt x="605" y="95"/>
                  <a:pt x="605" y="95"/>
                  <a:pt x="605" y="95"/>
                </a:cubicBezTo>
                <a:cubicBezTo>
                  <a:pt x="638" y="79"/>
                  <a:pt x="673" y="66"/>
                  <a:pt x="708" y="54"/>
                </a:cubicBezTo>
                <a:cubicBezTo>
                  <a:pt x="712" y="53"/>
                  <a:pt x="717" y="55"/>
                  <a:pt x="718" y="59"/>
                </a:cubicBezTo>
                <a:cubicBezTo>
                  <a:pt x="720" y="64"/>
                  <a:pt x="718" y="69"/>
                  <a:pt x="713" y="70"/>
                </a:cubicBezTo>
                <a:cubicBezTo>
                  <a:pt x="679" y="82"/>
                  <a:pt x="645" y="95"/>
                  <a:pt x="612" y="110"/>
                </a:cubicBezTo>
                <a:cubicBezTo>
                  <a:pt x="611" y="110"/>
                  <a:pt x="611" y="111"/>
                  <a:pt x="610" y="111"/>
                </a:cubicBezTo>
                <a:cubicBezTo>
                  <a:pt x="609" y="112"/>
                  <a:pt x="609" y="112"/>
                  <a:pt x="609" y="112"/>
                </a:cubicBezTo>
                <a:cubicBezTo>
                  <a:pt x="609" y="112"/>
                  <a:pt x="609" y="112"/>
                  <a:pt x="609" y="112"/>
                </a:cubicBezTo>
                <a:cubicBezTo>
                  <a:pt x="609" y="112"/>
                  <a:pt x="609" y="112"/>
                  <a:pt x="609" y="112"/>
                </a:cubicBezTo>
                <a:cubicBezTo>
                  <a:pt x="580" y="125"/>
                  <a:pt x="552" y="140"/>
                  <a:pt x="524" y="156"/>
                </a:cubicBezTo>
                <a:cubicBezTo>
                  <a:pt x="523" y="156"/>
                  <a:pt x="522" y="157"/>
                  <a:pt x="520" y="157"/>
                </a:cubicBezTo>
                <a:close/>
                <a:moveTo>
                  <a:pt x="1512" y="133"/>
                </a:moveTo>
                <a:cubicBezTo>
                  <a:pt x="1511" y="133"/>
                  <a:pt x="1509" y="133"/>
                  <a:pt x="1508" y="132"/>
                </a:cubicBezTo>
                <a:cubicBezTo>
                  <a:pt x="1506" y="131"/>
                  <a:pt x="1504" y="129"/>
                  <a:pt x="1504" y="127"/>
                </a:cubicBezTo>
                <a:cubicBezTo>
                  <a:pt x="1503" y="125"/>
                  <a:pt x="1503" y="122"/>
                  <a:pt x="1504" y="120"/>
                </a:cubicBezTo>
                <a:cubicBezTo>
                  <a:pt x="1506" y="116"/>
                  <a:pt x="1512" y="115"/>
                  <a:pt x="1516" y="117"/>
                </a:cubicBezTo>
                <a:cubicBezTo>
                  <a:pt x="1520" y="119"/>
                  <a:pt x="1522" y="124"/>
                  <a:pt x="1519" y="128"/>
                </a:cubicBezTo>
                <a:cubicBezTo>
                  <a:pt x="1518" y="131"/>
                  <a:pt x="1515" y="133"/>
                  <a:pt x="1512" y="133"/>
                </a:cubicBezTo>
                <a:close/>
                <a:moveTo>
                  <a:pt x="1487" y="120"/>
                </a:moveTo>
                <a:cubicBezTo>
                  <a:pt x="1485" y="120"/>
                  <a:pt x="1484" y="120"/>
                  <a:pt x="1483" y="119"/>
                </a:cubicBezTo>
                <a:cubicBezTo>
                  <a:pt x="1450" y="104"/>
                  <a:pt x="1416" y="89"/>
                  <a:pt x="1382" y="77"/>
                </a:cubicBezTo>
                <a:cubicBezTo>
                  <a:pt x="1381" y="77"/>
                  <a:pt x="1380" y="76"/>
                  <a:pt x="1379" y="76"/>
                </a:cubicBezTo>
                <a:cubicBezTo>
                  <a:pt x="1350" y="65"/>
                  <a:pt x="1319" y="56"/>
                  <a:pt x="1288" y="48"/>
                </a:cubicBezTo>
                <a:cubicBezTo>
                  <a:pt x="1284" y="47"/>
                  <a:pt x="1281" y="43"/>
                  <a:pt x="1282" y="38"/>
                </a:cubicBezTo>
                <a:cubicBezTo>
                  <a:pt x="1283" y="34"/>
                  <a:pt x="1288" y="31"/>
                  <a:pt x="1292" y="32"/>
                </a:cubicBezTo>
                <a:cubicBezTo>
                  <a:pt x="1324" y="40"/>
                  <a:pt x="1355" y="49"/>
                  <a:pt x="1385" y="60"/>
                </a:cubicBezTo>
                <a:cubicBezTo>
                  <a:pt x="1386" y="60"/>
                  <a:pt x="1386" y="61"/>
                  <a:pt x="1387" y="61"/>
                </a:cubicBezTo>
                <a:cubicBezTo>
                  <a:pt x="1388" y="61"/>
                  <a:pt x="1388" y="61"/>
                  <a:pt x="1388" y="61"/>
                </a:cubicBezTo>
                <a:cubicBezTo>
                  <a:pt x="1423" y="74"/>
                  <a:pt x="1457" y="88"/>
                  <a:pt x="1490" y="104"/>
                </a:cubicBezTo>
                <a:cubicBezTo>
                  <a:pt x="1492" y="105"/>
                  <a:pt x="1494" y="107"/>
                  <a:pt x="1495" y="109"/>
                </a:cubicBezTo>
                <a:cubicBezTo>
                  <a:pt x="1495" y="111"/>
                  <a:pt x="1495" y="113"/>
                  <a:pt x="1494" y="115"/>
                </a:cubicBezTo>
                <a:cubicBezTo>
                  <a:pt x="1493" y="118"/>
                  <a:pt x="1490" y="120"/>
                  <a:pt x="1487" y="120"/>
                </a:cubicBezTo>
                <a:close/>
                <a:moveTo>
                  <a:pt x="737" y="62"/>
                </a:moveTo>
                <a:cubicBezTo>
                  <a:pt x="734" y="62"/>
                  <a:pt x="730" y="59"/>
                  <a:pt x="729" y="56"/>
                </a:cubicBezTo>
                <a:cubicBezTo>
                  <a:pt x="728" y="51"/>
                  <a:pt x="730" y="47"/>
                  <a:pt x="735" y="45"/>
                </a:cubicBezTo>
                <a:cubicBezTo>
                  <a:pt x="739" y="44"/>
                  <a:pt x="744" y="47"/>
                  <a:pt x="745" y="51"/>
                </a:cubicBezTo>
                <a:cubicBezTo>
                  <a:pt x="747" y="55"/>
                  <a:pt x="744" y="60"/>
                  <a:pt x="740" y="62"/>
                </a:cubicBezTo>
                <a:cubicBezTo>
                  <a:pt x="739" y="62"/>
                  <a:pt x="738" y="62"/>
                  <a:pt x="737" y="62"/>
                </a:cubicBezTo>
                <a:close/>
                <a:moveTo>
                  <a:pt x="764" y="54"/>
                </a:moveTo>
                <a:cubicBezTo>
                  <a:pt x="761" y="54"/>
                  <a:pt x="757" y="51"/>
                  <a:pt x="756" y="48"/>
                </a:cubicBezTo>
                <a:cubicBezTo>
                  <a:pt x="755" y="43"/>
                  <a:pt x="758" y="39"/>
                  <a:pt x="762" y="37"/>
                </a:cubicBezTo>
                <a:cubicBezTo>
                  <a:pt x="793" y="29"/>
                  <a:pt x="825" y="22"/>
                  <a:pt x="857" y="16"/>
                </a:cubicBezTo>
                <a:cubicBezTo>
                  <a:pt x="894" y="9"/>
                  <a:pt x="932" y="5"/>
                  <a:pt x="970" y="2"/>
                </a:cubicBezTo>
                <a:cubicBezTo>
                  <a:pt x="975" y="2"/>
                  <a:pt x="979" y="5"/>
                  <a:pt x="979" y="10"/>
                </a:cubicBezTo>
                <a:cubicBezTo>
                  <a:pt x="979" y="15"/>
                  <a:pt x="976" y="19"/>
                  <a:pt x="971" y="19"/>
                </a:cubicBezTo>
                <a:cubicBezTo>
                  <a:pt x="934" y="22"/>
                  <a:pt x="897" y="26"/>
                  <a:pt x="860" y="33"/>
                </a:cubicBezTo>
                <a:cubicBezTo>
                  <a:pt x="828" y="38"/>
                  <a:pt x="797" y="45"/>
                  <a:pt x="767" y="54"/>
                </a:cubicBezTo>
                <a:cubicBezTo>
                  <a:pt x="766" y="54"/>
                  <a:pt x="765" y="54"/>
                  <a:pt x="764" y="54"/>
                </a:cubicBezTo>
                <a:close/>
                <a:moveTo>
                  <a:pt x="1263" y="42"/>
                </a:moveTo>
                <a:cubicBezTo>
                  <a:pt x="1262" y="42"/>
                  <a:pt x="1262" y="42"/>
                  <a:pt x="1261" y="42"/>
                </a:cubicBezTo>
                <a:cubicBezTo>
                  <a:pt x="1256" y="41"/>
                  <a:pt x="1253" y="36"/>
                  <a:pt x="1254" y="32"/>
                </a:cubicBezTo>
                <a:cubicBezTo>
                  <a:pt x="1255" y="27"/>
                  <a:pt x="1260" y="24"/>
                  <a:pt x="1265" y="25"/>
                </a:cubicBezTo>
                <a:cubicBezTo>
                  <a:pt x="1267" y="26"/>
                  <a:pt x="1269" y="27"/>
                  <a:pt x="1270" y="29"/>
                </a:cubicBezTo>
                <a:cubicBezTo>
                  <a:pt x="1271" y="31"/>
                  <a:pt x="1272" y="33"/>
                  <a:pt x="1271" y="35"/>
                </a:cubicBezTo>
                <a:cubicBezTo>
                  <a:pt x="1270" y="39"/>
                  <a:pt x="1267" y="42"/>
                  <a:pt x="1263" y="42"/>
                </a:cubicBezTo>
                <a:close/>
                <a:moveTo>
                  <a:pt x="1235" y="36"/>
                </a:moveTo>
                <a:cubicBezTo>
                  <a:pt x="1235" y="36"/>
                  <a:pt x="1234" y="36"/>
                  <a:pt x="1233" y="36"/>
                </a:cubicBezTo>
                <a:cubicBezTo>
                  <a:pt x="1197" y="29"/>
                  <a:pt x="1160" y="24"/>
                  <a:pt x="1123" y="21"/>
                </a:cubicBezTo>
                <a:cubicBezTo>
                  <a:pt x="1123" y="21"/>
                  <a:pt x="1123" y="21"/>
                  <a:pt x="1122" y="21"/>
                </a:cubicBezTo>
                <a:cubicBezTo>
                  <a:pt x="1094" y="18"/>
                  <a:pt x="1065" y="17"/>
                  <a:pt x="1037" y="17"/>
                </a:cubicBezTo>
                <a:cubicBezTo>
                  <a:pt x="1034" y="17"/>
                  <a:pt x="1031" y="17"/>
                  <a:pt x="1027" y="17"/>
                </a:cubicBezTo>
                <a:cubicBezTo>
                  <a:pt x="1027" y="17"/>
                  <a:pt x="1027" y="17"/>
                  <a:pt x="1027" y="17"/>
                </a:cubicBezTo>
                <a:cubicBezTo>
                  <a:pt x="1022" y="17"/>
                  <a:pt x="1019" y="13"/>
                  <a:pt x="1019" y="9"/>
                </a:cubicBezTo>
                <a:cubicBezTo>
                  <a:pt x="1018" y="4"/>
                  <a:pt x="1022" y="0"/>
                  <a:pt x="1027" y="0"/>
                </a:cubicBezTo>
                <a:cubicBezTo>
                  <a:pt x="1031" y="0"/>
                  <a:pt x="1034" y="0"/>
                  <a:pt x="1037" y="0"/>
                </a:cubicBezTo>
                <a:cubicBezTo>
                  <a:pt x="1066" y="0"/>
                  <a:pt x="1095" y="1"/>
                  <a:pt x="1124" y="4"/>
                </a:cubicBezTo>
                <a:cubicBezTo>
                  <a:pt x="1162" y="7"/>
                  <a:pt x="1200" y="12"/>
                  <a:pt x="1237" y="19"/>
                </a:cubicBezTo>
                <a:cubicBezTo>
                  <a:pt x="1241" y="20"/>
                  <a:pt x="1244" y="25"/>
                  <a:pt x="1243" y="29"/>
                </a:cubicBezTo>
                <a:cubicBezTo>
                  <a:pt x="1243" y="33"/>
                  <a:pt x="1239" y="36"/>
                  <a:pt x="1235" y="36"/>
                </a:cubicBezTo>
                <a:close/>
                <a:moveTo>
                  <a:pt x="999" y="18"/>
                </a:moveTo>
                <a:cubicBezTo>
                  <a:pt x="994" y="18"/>
                  <a:pt x="990" y="14"/>
                  <a:pt x="990" y="10"/>
                </a:cubicBezTo>
                <a:cubicBezTo>
                  <a:pt x="990" y="7"/>
                  <a:pt x="991" y="5"/>
                  <a:pt x="993" y="3"/>
                </a:cubicBezTo>
                <a:cubicBezTo>
                  <a:pt x="994" y="2"/>
                  <a:pt x="996" y="1"/>
                  <a:pt x="998" y="1"/>
                </a:cubicBezTo>
                <a:cubicBezTo>
                  <a:pt x="999" y="1"/>
                  <a:pt x="999" y="1"/>
                  <a:pt x="999" y="1"/>
                </a:cubicBezTo>
                <a:cubicBezTo>
                  <a:pt x="1003" y="1"/>
                  <a:pt x="1007" y="4"/>
                  <a:pt x="1007" y="9"/>
                </a:cubicBezTo>
                <a:cubicBezTo>
                  <a:pt x="1007" y="14"/>
                  <a:pt x="1004" y="18"/>
                  <a:pt x="999" y="18"/>
                </a:cubicBezTo>
                <a:cubicBezTo>
                  <a:pt x="999" y="18"/>
                  <a:pt x="999" y="18"/>
                  <a:pt x="999" y="18"/>
                </a:cubicBezTo>
                <a:close/>
              </a:path>
            </a:pathLst>
          </a:custGeom>
          <a:solidFill>
            <a:schemeClr val="accent2"/>
          </a:solidFill>
          <a:ln>
            <a:noFill/>
          </a:ln>
        </p:spPr>
        <p:txBody>
          <a:bodyPr vert="horz" wrap="square" lIns="45714" tIns="22857" rIns="45714" bIns="22857" numCol="1" anchor="t" anchorCtr="0" compatLnSpc="1">
            <a:prstTxWarp prst="textNoShape">
              <a:avLst/>
            </a:prstTxWarp>
          </a:body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US" sz="900" b="0" i="0" u="none" strike="noStrike" kern="1200" cap="none" spc="0" normalizeH="0" baseline="0" noProof="0">
              <a:ln>
                <a:noFill/>
              </a:ln>
              <a:solidFill>
                <a:srgbClr val="343A3F"/>
              </a:solidFill>
              <a:effectLst/>
              <a:uLnTx/>
              <a:uFillTx/>
              <a:latin typeface="Roboto Light"/>
              <a:ea typeface="+mn-ea"/>
              <a:cs typeface="+mn-cs"/>
            </a:endParaRPr>
          </a:p>
        </p:txBody>
      </p:sp>
      <p:sp>
        <p:nvSpPr>
          <p:cNvPr id="9" name="Freeform 6">
            <a:extLst>
              <a:ext uri="{FF2B5EF4-FFF2-40B4-BE49-F238E27FC236}">
                <a16:creationId xmlns:a16="http://schemas.microsoft.com/office/drawing/2014/main" id="{894B6E4F-671D-463A-89BC-52374EFF1E1B}"/>
              </a:ext>
            </a:extLst>
          </p:cNvPr>
          <p:cNvSpPr>
            <a:spLocks noEditPoints="1"/>
          </p:cNvSpPr>
          <p:nvPr/>
        </p:nvSpPr>
        <p:spPr bwMode="auto">
          <a:xfrm>
            <a:off x="3976975" y="1154425"/>
            <a:ext cx="4238051" cy="4244389"/>
          </a:xfrm>
          <a:custGeom>
            <a:avLst/>
            <a:gdLst>
              <a:gd name="T0" fmla="*/ 991 w 2004"/>
              <a:gd name="T1" fmla="*/ 1989 h 2006"/>
              <a:gd name="T2" fmla="*/ 1003 w 2004"/>
              <a:gd name="T3" fmla="*/ 2006 h 2006"/>
              <a:gd name="T4" fmla="*/ 1354 w 2004"/>
              <a:gd name="T5" fmla="*/ 1924 h 2006"/>
              <a:gd name="T6" fmla="*/ 1037 w 2004"/>
              <a:gd name="T7" fmla="*/ 2005 h 2006"/>
              <a:gd name="T8" fmla="*/ 631 w 2004"/>
              <a:gd name="T9" fmla="*/ 1925 h 2006"/>
              <a:gd name="T10" fmla="*/ 958 w 2004"/>
              <a:gd name="T11" fmla="*/ 2005 h 2006"/>
              <a:gd name="T12" fmla="*/ 1408 w 2004"/>
              <a:gd name="T13" fmla="*/ 1920 h 2006"/>
              <a:gd name="T14" fmla="*/ 584 w 2004"/>
              <a:gd name="T15" fmla="*/ 1905 h 2006"/>
              <a:gd name="T16" fmla="*/ 1422 w 2004"/>
              <a:gd name="T17" fmla="*/ 1904 h 2006"/>
              <a:gd name="T18" fmla="*/ 1704 w 2004"/>
              <a:gd name="T19" fmla="*/ 1707 h 2006"/>
              <a:gd name="T20" fmla="*/ 1430 w 2004"/>
              <a:gd name="T21" fmla="*/ 1909 h 2006"/>
              <a:gd name="T22" fmla="*/ 294 w 2004"/>
              <a:gd name="T23" fmla="*/ 1701 h 2006"/>
              <a:gd name="T24" fmla="*/ 566 w 2004"/>
              <a:gd name="T25" fmla="*/ 1905 h 2006"/>
              <a:gd name="T26" fmla="*/ 1739 w 2004"/>
              <a:gd name="T27" fmla="*/ 1682 h 2006"/>
              <a:gd name="T28" fmla="*/ 259 w 2004"/>
              <a:gd name="T29" fmla="*/ 1664 h 2006"/>
              <a:gd name="T30" fmla="*/ 1746 w 2004"/>
              <a:gd name="T31" fmla="*/ 1662 h 2006"/>
              <a:gd name="T32" fmla="*/ 1926 w 2004"/>
              <a:gd name="T33" fmla="*/ 1369 h 2006"/>
              <a:gd name="T34" fmla="*/ 1752 w 2004"/>
              <a:gd name="T35" fmla="*/ 1664 h 2006"/>
              <a:gd name="T36" fmla="*/ 70 w 2004"/>
              <a:gd name="T37" fmla="*/ 1372 h 2006"/>
              <a:gd name="T38" fmla="*/ 253 w 2004"/>
              <a:gd name="T39" fmla="*/ 1643 h 2006"/>
              <a:gd name="T40" fmla="*/ 1933 w 2004"/>
              <a:gd name="T41" fmla="*/ 1327 h 2006"/>
              <a:gd name="T42" fmla="*/ 60 w 2004"/>
              <a:gd name="T43" fmla="*/ 1345 h 2006"/>
              <a:gd name="T44" fmla="*/ 68 w 2004"/>
              <a:gd name="T45" fmla="*/ 1351 h 2006"/>
              <a:gd name="T46" fmla="*/ 1987 w 2004"/>
              <a:gd name="T47" fmla="*/ 1037 h 2006"/>
              <a:gd name="T48" fmla="*/ 2004 w 2004"/>
              <a:gd name="T49" fmla="*/ 1037 h 2006"/>
              <a:gd name="T50" fmla="*/ 44 w 2004"/>
              <a:gd name="T51" fmla="*/ 1297 h 2006"/>
              <a:gd name="T52" fmla="*/ 9 w 2004"/>
              <a:gd name="T53" fmla="*/ 962 h 2006"/>
              <a:gd name="T54" fmla="*/ 60 w 2004"/>
              <a:gd name="T55" fmla="*/ 1292 h 2006"/>
              <a:gd name="T56" fmla="*/ 1992 w 2004"/>
              <a:gd name="T57" fmla="*/ 920 h 2006"/>
              <a:gd name="T58" fmla="*/ 10 w 2004"/>
              <a:gd name="T59" fmla="*/ 951 h 2006"/>
              <a:gd name="T60" fmla="*/ 10 w 2004"/>
              <a:gd name="T61" fmla="*/ 951 h 2006"/>
              <a:gd name="T62" fmla="*/ 1896 w 2004"/>
              <a:gd name="T63" fmla="*/ 589 h 2006"/>
              <a:gd name="T64" fmla="*/ 1999 w 2004"/>
              <a:gd name="T65" fmla="*/ 899 h 2006"/>
              <a:gd name="T66" fmla="*/ 54 w 2004"/>
              <a:gd name="T67" fmla="*/ 679 h 2006"/>
              <a:gd name="T68" fmla="*/ 85 w 2004"/>
              <a:gd name="T69" fmla="*/ 643 h 2006"/>
              <a:gd name="T70" fmla="*/ 1883 w 2004"/>
              <a:gd name="T71" fmla="*/ 564 h 2006"/>
              <a:gd name="T72" fmla="*/ 1891 w 2004"/>
              <a:gd name="T73" fmla="*/ 568 h 2006"/>
              <a:gd name="T74" fmla="*/ 135 w 2004"/>
              <a:gd name="T75" fmla="*/ 536 h 2006"/>
              <a:gd name="T76" fmla="*/ 1799 w 2004"/>
              <a:gd name="T77" fmla="*/ 425 h 2006"/>
              <a:gd name="T78" fmla="*/ 1813 w 2004"/>
              <a:gd name="T79" fmla="*/ 415 h 2006"/>
              <a:gd name="T80" fmla="*/ 137 w 2004"/>
              <a:gd name="T81" fmla="*/ 515 h 2006"/>
              <a:gd name="T82" fmla="*/ 355 w 2004"/>
              <a:gd name="T83" fmla="*/ 249 h 2006"/>
              <a:gd name="T84" fmla="*/ 141 w 2004"/>
              <a:gd name="T85" fmla="*/ 516 h 2006"/>
              <a:gd name="T86" fmla="*/ 1646 w 2004"/>
              <a:gd name="T87" fmla="*/ 236 h 2006"/>
              <a:gd name="T88" fmla="*/ 383 w 2004"/>
              <a:gd name="T89" fmla="*/ 216 h 2006"/>
              <a:gd name="T90" fmla="*/ 1596 w 2004"/>
              <a:gd name="T91" fmla="*/ 217 h 2006"/>
              <a:gd name="T92" fmla="*/ 1314 w 2004"/>
              <a:gd name="T93" fmla="*/ 51 h 2006"/>
              <a:gd name="T94" fmla="*/ 1601 w 2004"/>
              <a:gd name="T95" fmla="*/ 219 h 2006"/>
              <a:gd name="T96" fmla="*/ 599 w 2004"/>
              <a:gd name="T97" fmla="*/ 105 h 2006"/>
              <a:gd name="T98" fmla="*/ 718 w 2004"/>
              <a:gd name="T99" fmla="*/ 42 h 2006"/>
              <a:gd name="T100" fmla="*/ 723 w 2004"/>
              <a:gd name="T101" fmla="*/ 59 h 2006"/>
              <a:gd name="T102" fmla="*/ 1254 w 2004"/>
              <a:gd name="T103" fmla="*/ 42 h 2006"/>
              <a:gd name="T104" fmla="*/ 1233 w 2004"/>
              <a:gd name="T105" fmla="*/ 46 h 2006"/>
              <a:gd name="T106" fmla="*/ 909 w 2004"/>
              <a:gd name="T107" fmla="*/ 6 h 2006"/>
              <a:gd name="T108" fmla="*/ 1235 w 2004"/>
              <a:gd name="T109" fmla="*/ 46 h 2006"/>
              <a:gd name="T110" fmla="*/ 882 w 2004"/>
              <a:gd name="T111" fmla="*/ 26 h 20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004" h="2006">
                <a:moveTo>
                  <a:pt x="1003" y="2006"/>
                </a:moveTo>
                <a:cubicBezTo>
                  <a:pt x="999" y="2006"/>
                  <a:pt x="995" y="2006"/>
                  <a:pt x="991" y="2006"/>
                </a:cubicBezTo>
                <a:cubicBezTo>
                  <a:pt x="986" y="2006"/>
                  <a:pt x="986" y="2006"/>
                  <a:pt x="986" y="2006"/>
                </a:cubicBezTo>
                <a:cubicBezTo>
                  <a:pt x="981" y="2006"/>
                  <a:pt x="978" y="2002"/>
                  <a:pt x="978" y="1997"/>
                </a:cubicBezTo>
                <a:cubicBezTo>
                  <a:pt x="978" y="1992"/>
                  <a:pt x="982" y="1989"/>
                  <a:pt x="986" y="1989"/>
                </a:cubicBezTo>
                <a:cubicBezTo>
                  <a:pt x="991" y="1989"/>
                  <a:pt x="991" y="1989"/>
                  <a:pt x="991" y="1989"/>
                </a:cubicBezTo>
                <a:cubicBezTo>
                  <a:pt x="995" y="1989"/>
                  <a:pt x="999" y="1989"/>
                  <a:pt x="1003" y="1989"/>
                </a:cubicBezTo>
                <a:cubicBezTo>
                  <a:pt x="1009" y="1989"/>
                  <a:pt x="1009" y="1989"/>
                  <a:pt x="1009" y="1989"/>
                </a:cubicBezTo>
                <a:cubicBezTo>
                  <a:pt x="1009" y="1989"/>
                  <a:pt x="1009" y="1989"/>
                  <a:pt x="1009" y="1989"/>
                </a:cubicBezTo>
                <a:cubicBezTo>
                  <a:pt x="1014" y="1989"/>
                  <a:pt x="1017" y="1993"/>
                  <a:pt x="1017" y="1997"/>
                </a:cubicBezTo>
                <a:cubicBezTo>
                  <a:pt x="1017" y="2002"/>
                  <a:pt x="1014" y="2006"/>
                  <a:pt x="1009" y="2006"/>
                </a:cubicBezTo>
                <a:lnTo>
                  <a:pt x="1003" y="2006"/>
                </a:lnTo>
                <a:close/>
                <a:moveTo>
                  <a:pt x="1037" y="2005"/>
                </a:moveTo>
                <a:cubicBezTo>
                  <a:pt x="1033" y="2005"/>
                  <a:pt x="1029" y="2002"/>
                  <a:pt x="1029" y="1997"/>
                </a:cubicBezTo>
                <a:cubicBezTo>
                  <a:pt x="1029" y="1992"/>
                  <a:pt x="1032" y="1988"/>
                  <a:pt x="1037" y="1988"/>
                </a:cubicBezTo>
                <a:cubicBezTo>
                  <a:pt x="1074" y="1987"/>
                  <a:pt x="1111" y="1983"/>
                  <a:pt x="1148" y="1978"/>
                </a:cubicBezTo>
                <a:cubicBezTo>
                  <a:pt x="1148" y="1978"/>
                  <a:pt x="1148" y="1978"/>
                  <a:pt x="1148" y="1978"/>
                </a:cubicBezTo>
                <a:cubicBezTo>
                  <a:pt x="1219" y="1967"/>
                  <a:pt x="1288" y="1949"/>
                  <a:pt x="1354" y="1924"/>
                </a:cubicBezTo>
                <a:cubicBezTo>
                  <a:pt x="1359" y="1922"/>
                  <a:pt x="1363" y="1924"/>
                  <a:pt x="1365" y="1929"/>
                </a:cubicBezTo>
                <a:cubicBezTo>
                  <a:pt x="1367" y="1933"/>
                  <a:pt x="1365" y="1938"/>
                  <a:pt x="1360" y="1939"/>
                </a:cubicBezTo>
                <a:cubicBezTo>
                  <a:pt x="1293" y="1965"/>
                  <a:pt x="1223" y="1984"/>
                  <a:pt x="1151" y="1995"/>
                </a:cubicBezTo>
                <a:cubicBezTo>
                  <a:pt x="1151" y="1995"/>
                  <a:pt x="1151" y="1995"/>
                  <a:pt x="1151" y="1995"/>
                </a:cubicBezTo>
                <a:cubicBezTo>
                  <a:pt x="1113" y="2000"/>
                  <a:pt x="1075" y="2004"/>
                  <a:pt x="1037" y="2005"/>
                </a:cubicBezTo>
                <a:cubicBezTo>
                  <a:pt x="1037" y="2005"/>
                  <a:pt x="1037" y="2005"/>
                  <a:pt x="1037" y="2005"/>
                </a:cubicBezTo>
                <a:close/>
                <a:moveTo>
                  <a:pt x="958" y="2005"/>
                </a:moveTo>
                <a:cubicBezTo>
                  <a:pt x="958" y="2005"/>
                  <a:pt x="958" y="2005"/>
                  <a:pt x="958" y="2005"/>
                </a:cubicBezTo>
                <a:cubicBezTo>
                  <a:pt x="886" y="2002"/>
                  <a:pt x="814" y="1990"/>
                  <a:pt x="744" y="1972"/>
                </a:cubicBezTo>
                <a:cubicBezTo>
                  <a:pt x="744" y="1972"/>
                  <a:pt x="744" y="1972"/>
                  <a:pt x="744" y="1972"/>
                </a:cubicBezTo>
                <a:cubicBezTo>
                  <a:pt x="707" y="1962"/>
                  <a:pt x="671" y="1950"/>
                  <a:pt x="635" y="1936"/>
                </a:cubicBezTo>
                <a:cubicBezTo>
                  <a:pt x="631" y="1934"/>
                  <a:pt x="629" y="1929"/>
                  <a:pt x="631" y="1925"/>
                </a:cubicBezTo>
                <a:cubicBezTo>
                  <a:pt x="632" y="1921"/>
                  <a:pt x="637" y="1919"/>
                  <a:pt x="642" y="1920"/>
                </a:cubicBezTo>
                <a:cubicBezTo>
                  <a:pt x="676" y="1934"/>
                  <a:pt x="712" y="1946"/>
                  <a:pt x="748" y="1955"/>
                </a:cubicBezTo>
                <a:cubicBezTo>
                  <a:pt x="748" y="1955"/>
                  <a:pt x="748" y="1955"/>
                  <a:pt x="748" y="1955"/>
                </a:cubicBezTo>
                <a:cubicBezTo>
                  <a:pt x="817" y="1974"/>
                  <a:pt x="888" y="1985"/>
                  <a:pt x="958" y="1988"/>
                </a:cubicBezTo>
                <a:cubicBezTo>
                  <a:pt x="963" y="1988"/>
                  <a:pt x="967" y="1992"/>
                  <a:pt x="966" y="1997"/>
                </a:cubicBezTo>
                <a:cubicBezTo>
                  <a:pt x="966" y="2001"/>
                  <a:pt x="963" y="2005"/>
                  <a:pt x="958" y="2005"/>
                </a:cubicBezTo>
                <a:close/>
                <a:moveTo>
                  <a:pt x="1384" y="1930"/>
                </a:moveTo>
                <a:cubicBezTo>
                  <a:pt x="1380" y="1930"/>
                  <a:pt x="1377" y="1928"/>
                  <a:pt x="1376" y="1924"/>
                </a:cubicBezTo>
                <a:cubicBezTo>
                  <a:pt x="1374" y="1920"/>
                  <a:pt x="1376" y="1915"/>
                  <a:pt x="1380" y="1913"/>
                </a:cubicBezTo>
                <a:cubicBezTo>
                  <a:pt x="1387" y="1910"/>
                  <a:pt x="1394" y="1907"/>
                  <a:pt x="1401" y="1904"/>
                </a:cubicBezTo>
                <a:cubicBezTo>
                  <a:pt x="1405" y="1902"/>
                  <a:pt x="1410" y="1904"/>
                  <a:pt x="1412" y="1909"/>
                </a:cubicBezTo>
                <a:cubicBezTo>
                  <a:pt x="1414" y="1913"/>
                  <a:pt x="1412" y="1918"/>
                  <a:pt x="1408" y="1920"/>
                </a:cubicBezTo>
                <a:cubicBezTo>
                  <a:pt x="1401" y="1923"/>
                  <a:pt x="1394" y="1926"/>
                  <a:pt x="1387" y="1929"/>
                </a:cubicBezTo>
                <a:cubicBezTo>
                  <a:pt x="1386" y="1929"/>
                  <a:pt x="1385" y="1930"/>
                  <a:pt x="1384" y="1930"/>
                </a:cubicBezTo>
                <a:close/>
                <a:moveTo>
                  <a:pt x="612" y="1926"/>
                </a:moveTo>
                <a:cubicBezTo>
                  <a:pt x="611" y="1926"/>
                  <a:pt x="610" y="1926"/>
                  <a:pt x="609" y="1925"/>
                </a:cubicBezTo>
                <a:cubicBezTo>
                  <a:pt x="602" y="1922"/>
                  <a:pt x="595" y="1919"/>
                  <a:pt x="588" y="1916"/>
                </a:cubicBezTo>
                <a:cubicBezTo>
                  <a:pt x="584" y="1914"/>
                  <a:pt x="582" y="1909"/>
                  <a:pt x="584" y="1905"/>
                </a:cubicBezTo>
                <a:cubicBezTo>
                  <a:pt x="586" y="1901"/>
                  <a:pt x="591" y="1899"/>
                  <a:pt x="595" y="1901"/>
                </a:cubicBezTo>
                <a:cubicBezTo>
                  <a:pt x="602" y="1904"/>
                  <a:pt x="609" y="1907"/>
                  <a:pt x="616" y="1910"/>
                </a:cubicBezTo>
                <a:cubicBezTo>
                  <a:pt x="620" y="1911"/>
                  <a:pt x="622" y="1916"/>
                  <a:pt x="620" y="1921"/>
                </a:cubicBezTo>
                <a:cubicBezTo>
                  <a:pt x="619" y="1924"/>
                  <a:pt x="616" y="1926"/>
                  <a:pt x="612" y="1926"/>
                </a:cubicBezTo>
                <a:close/>
                <a:moveTo>
                  <a:pt x="1430" y="1909"/>
                </a:moveTo>
                <a:cubicBezTo>
                  <a:pt x="1427" y="1909"/>
                  <a:pt x="1424" y="1907"/>
                  <a:pt x="1422" y="1904"/>
                </a:cubicBezTo>
                <a:cubicBezTo>
                  <a:pt x="1420" y="1900"/>
                  <a:pt x="1422" y="1895"/>
                  <a:pt x="1426" y="1893"/>
                </a:cubicBezTo>
                <a:cubicBezTo>
                  <a:pt x="1460" y="1877"/>
                  <a:pt x="1493" y="1858"/>
                  <a:pt x="1524" y="1839"/>
                </a:cubicBezTo>
                <a:cubicBezTo>
                  <a:pt x="1524" y="1839"/>
                  <a:pt x="1525" y="1839"/>
                  <a:pt x="1525" y="1839"/>
                </a:cubicBezTo>
                <a:cubicBezTo>
                  <a:pt x="1582" y="1803"/>
                  <a:pt x="1635" y="1762"/>
                  <a:pt x="1683" y="1716"/>
                </a:cubicBezTo>
                <a:cubicBezTo>
                  <a:pt x="1686" y="1713"/>
                  <a:pt x="1689" y="1710"/>
                  <a:pt x="1692" y="1707"/>
                </a:cubicBezTo>
                <a:cubicBezTo>
                  <a:pt x="1695" y="1704"/>
                  <a:pt x="1700" y="1704"/>
                  <a:pt x="1704" y="1707"/>
                </a:cubicBezTo>
                <a:cubicBezTo>
                  <a:pt x="1707" y="1711"/>
                  <a:pt x="1707" y="1716"/>
                  <a:pt x="1704" y="1719"/>
                </a:cubicBezTo>
                <a:cubicBezTo>
                  <a:pt x="1701" y="1722"/>
                  <a:pt x="1698" y="1725"/>
                  <a:pt x="1695" y="1728"/>
                </a:cubicBezTo>
                <a:cubicBezTo>
                  <a:pt x="1646" y="1775"/>
                  <a:pt x="1592" y="1817"/>
                  <a:pt x="1534" y="1853"/>
                </a:cubicBezTo>
                <a:cubicBezTo>
                  <a:pt x="1534" y="1853"/>
                  <a:pt x="1534" y="1853"/>
                  <a:pt x="1534" y="1853"/>
                </a:cubicBezTo>
                <a:cubicBezTo>
                  <a:pt x="1501" y="1873"/>
                  <a:pt x="1468" y="1892"/>
                  <a:pt x="1434" y="1908"/>
                </a:cubicBezTo>
                <a:cubicBezTo>
                  <a:pt x="1432" y="1909"/>
                  <a:pt x="1431" y="1909"/>
                  <a:pt x="1430" y="1909"/>
                </a:cubicBezTo>
                <a:close/>
                <a:moveTo>
                  <a:pt x="566" y="1905"/>
                </a:moveTo>
                <a:cubicBezTo>
                  <a:pt x="565" y="1905"/>
                  <a:pt x="564" y="1905"/>
                  <a:pt x="562" y="1904"/>
                </a:cubicBezTo>
                <a:cubicBezTo>
                  <a:pt x="497" y="1872"/>
                  <a:pt x="436" y="1833"/>
                  <a:pt x="379" y="1789"/>
                </a:cubicBezTo>
                <a:cubicBezTo>
                  <a:pt x="379" y="1789"/>
                  <a:pt x="379" y="1789"/>
                  <a:pt x="379" y="1789"/>
                </a:cubicBezTo>
                <a:cubicBezTo>
                  <a:pt x="349" y="1765"/>
                  <a:pt x="321" y="1740"/>
                  <a:pt x="294" y="1713"/>
                </a:cubicBezTo>
                <a:cubicBezTo>
                  <a:pt x="291" y="1710"/>
                  <a:pt x="291" y="1704"/>
                  <a:pt x="294" y="1701"/>
                </a:cubicBezTo>
                <a:cubicBezTo>
                  <a:pt x="297" y="1698"/>
                  <a:pt x="303" y="1698"/>
                  <a:pt x="306" y="1701"/>
                </a:cubicBezTo>
                <a:cubicBezTo>
                  <a:pt x="332" y="1727"/>
                  <a:pt x="360" y="1752"/>
                  <a:pt x="390" y="1775"/>
                </a:cubicBezTo>
                <a:cubicBezTo>
                  <a:pt x="390" y="1775"/>
                  <a:pt x="390" y="1775"/>
                  <a:pt x="390" y="1775"/>
                </a:cubicBezTo>
                <a:cubicBezTo>
                  <a:pt x="445" y="1819"/>
                  <a:pt x="506" y="1858"/>
                  <a:pt x="570" y="1889"/>
                </a:cubicBezTo>
                <a:cubicBezTo>
                  <a:pt x="574" y="1891"/>
                  <a:pt x="576" y="1896"/>
                  <a:pt x="574" y="1900"/>
                </a:cubicBezTo>
                <a:cubicBezTo>
                  <a:pt x="572" y="1903"/>
                  <a:pt x="569" y="1905"/>
                  <a:pt x="566" y="1905"/>
                </a:cubicBezTo>
                <a:close/>
                <a:moveTo>
                  <a:pt x="1718" y="1702"/>
                </a:moveTo>
                <a:cubicBezTo>
                  <a:pt x="1715" y="1702"/>
                  <a:pt x="1713" y="1701"/>
                  <a:pt x="1712" y="1699"/>
                </a:cubicBezTo>
                <a:cubicBezTo>
                  <a:pt x="1708" y="1696"/>
                  <a:pt x="1708" y="1691"/>
                  <a:pt x="1711" y="1687"/>
                </a:cubicBezTo>
                <a:cubicBezTo>
                  <a:pt x="1717" y="1682"/>
                  <a:pt x="1722" y="1676"/>
                  <a:pt x="1727" y="1671"/>
                </a:cubicBezTo>
                <a:cubicBezTo>
                  <a:pt x="1730" y="1667"/>
                  <a:pt x="1735" y="1667"/>
                  <a:pt x="1739" y="1670"/>
                </a:cubicBezTo>
                <a:cubicBezTo>
                  <a:pt x="1742" y="1674"/>
                  <a:pt x="1742" y="1679"/>
                  <a:pt x="1739" y="1682"/>
                </a:cubicBezTo>
                <a:cubicBezTo>
                  <a:pt x="1734" y="1688"/>
                  <a:pt x="1729" y="1693"/>
                  <a:pt x="1724" y="1699"/>
                </a:cubicBezTo>
                <a:cubicBezTo>
                  <a:pt x="1722" y="1701"/>
                  <a:pt x="1720" y="1702"/>
                  <a:pt x="1718" y="1702"/>
                </a:cubicBezTo>
                <a:close/>
                <a:moveTo>
                  <a:pt x="280" y="1695"/>
                </a:moveTo>
                <a:cubicBezTo>
                  <a:pt x="278" y="1695"/>
                  <a:pt x="276" y="1694"/>
                  <a:pt x="274" y="1692"/>
                </a:cubicBezTo>
                <a:cubicBezTo>
                  <a:pt x="269" y="1687"/>
                  <a:pt x="264" y="1681"/>
                  <a:pt x="259" y="1676"/>
                </a:cubicBezTo>
                <a:cubicBezTo>
                  <a:pt x="255" y="1672"/>
                  <a:pt x="256" y="1667"/>
                  <a:pt x="259" y="1664"/>
                </a:cubicBezTo>
                <a:cubicBezTo>
                  <a:pt x="263" y="1661"/>
                  <a:pt x="268" y="1661"/>
                  <a:pt x="271" y="1664"/>
                </a:cubicBezTo>
                <a:cubicBezTo>
                  <a:pt x="276" y="1670"/>
                  <a:pt x="281" y="1675"/>
                  <a:pt x="286" y="1681"/>
                </a:cubicBezTo>
                <a:cubicBezTo>
                  <a:pt x="290" y="1684"/>
                  <a:pt x="289" y="1690"/>
                  <a:pt x="286" y="1693"/>
                </a:cubicBezTo>
                <a:cubicBezTo>
                  <a:pt x="284" y="1694"/>
                  <a:pt x="282" y="1695"/>
                  <a:pt x="280" y="1695"/>
                </a:cubicBezTo>
                <a:close/>
                <a:moveTo>
                  <a:pt x="1752" y="1664"/>
                </a:moveTo>
                <a:cubicBezTo>
                  <a:pt x="1750" y="1664"/>
                  <a:pt x="1748" y="1663"/>
                  <a:pt x="1746" y="1662"/>
                </a:cubicBezTo>
                <a:cubicBezTo>
                  <a:pt x="1743" y="1659"/>
                  <a:pt x="1742" y="1653"/>
                  <a:pt x="1746" y="1650"/>
                </a:cubicBezTo>
                <a:cubicBezTo>
                  <a:pt x="1770" y="1622"/>
                  <a:pt x="1793" y="1592"/>
                  <a:pt x="1814" y="1561"/>
                </a:cubicBezTo>
                <a:cubicBezTo>
                  <a:pt x="1814" y="1561"/>
                  <a:pt x="1814" y="1561"/>
                  <a:pt x="1814" y="1561"/>
                </a:cubicBezTo>
                <a:cubicBezTo>
                  <a:pt x="1848" y="1512"/>
                  <a:pt x="1877" y="1460"/>
                  <a:pt x="1901" y="1406"/>
                </a:cubicBezTo>
                <a:cubicBezTo>
                  <a:pt x="1906" y="1395"/>
                  <a:pt x="1910" y="1385"/>
                  <a:pt x="1915" y="1374"/>
                </a:cubicBezTo>
                <a:cubicBezTo>
                  <a:pt x="1917" y="1370"/>
                  <a:pt x="1922" y="1367"/>
                  <a:pt x="1926" y="1369"/>
                </a:cubicBezTo>
                <a:cubicBezTo>
                  <a:pt x="1930" y="1371"/>
                  <a:pt x="1932" y="1376"/>
                  <a:pt x="1931" y="1380"/>
                </a:cubicBezTo>
                <a:cubicBezTo>
                  <a:pt x="1926" y="1391"/>
                  <a:pt x="1921" y="1402"/>
                  <a:pt x="1917" y="1413"/>
                </a:cubicBezTo>
                <a:cubicBezTo>
                  <a:pt x="1892" y="1468"/>
                  <a:pt x="1862" y="1521"/>
                  <a:pt x="1828" y="1571"/>
                </a:cubicBezTo>
                <a:cubicBezTo>
                  <a:pt x="1828" y="1571"/>
                  <a:pt x="1828" y="1571"/>
                  <a:pt x="1828" y="1571"/>
                </a:cubicBezTo>
                <a:cubicBezTo>
                  <a:pt x="1806" y="1602"/>
                  <a:pt x="1783" y="1633"/>
                  <a:pt x="1758" y="1661"/>
                </a:cubicBezTo>
                <a:cubicBezTo>
                  <a:pt x="1757" y="1663"/>
                  <a:pt x="1754" y="1664"/>
                  <a:pt x="1752" y="1664"/>
                </a:cubicBezTo>
                <a:close/>
                <a:moveTo>
                  <a:pt x="246" y="1657"/>
                </a:moveTo>
                <a:cubicBezTo>
                  <a:pt x="244" y="1657"/>
                  <a:pt x="241" y="1656"/>
                  <a:pt x="240" y="1654"/>
                </a:cubicBezTo>
                <a:cubicBezTo>
                  <a:pt x="193" y="1599"/>
                  <a:pt x="152" y="1539"/>
                  <a:pt x="118" y="1475"/>
                </a:cubicBezTo>
                <a:cubicBezTo>
                  <a:pt x="118" y="1475"/>
                  <a:pt x="118" y="1475"/>
                  <a:pt x="118" y="1475"/>
                </a:cubicBezTo>
                <a:cubicBezTo>
                  <a:pt x="104" y="1448"/>
                  <a:pt x="90" y="1421"/>
                  <a:pt x="79" y="1393"/>
                </a:cubicBezTo>
                <a:cubicBezTo>
                  <a:pt x="76" y="1386"/>
                  <a:pt x="73" y="1379"/>
                  <a:pt x="70" y="1372"/>
                </a:cubicBezTo>
                <a:cubicBezTo>
                  <a:pt x="69" y="1368"/>
                  <a:pt x="71" y="1363"/>
                  <a:pt x="75" y="1361"/>
                </a:cubicBezTo>
                <a:cubicBezTo>
                  <a:pt x="79" y="1359"/>
                  <a:pt x="84" y="1361"/>
                  <a:pt x="86" y="1366"/>
                </a:cubicBezTo>
                <a:cubicBezTo>
                  <a:pt x="89" y="1372"/>
                  <a:pt x="91" y="1379"/>
                  <a:pt x="94" y="1386"/>
                </a:cubicBezTo>
                <a:cubicBezTo>
                  <a:pt x="106" y="1414"/>
                  <a:pt x="119" y="1441"/>
                  <a:pt x="133" y="1467"/>
                </a:cubicBezTo>
                <a:cubicBezTo>
                  <a:pt x="133" y="1467"/>
                  <a:pt x="133" y="1467"/>
                  <a:pt x="133" y="1467"/>
                </a:cubicBezTo>
                <a:cubicBezTo>
                  <a:pt x="166" y="1530"/>
                  <a:pt x="207" y="1589"/>
                  <a:pt x="253" y="1643"/>
                </a:cubicBezTo>
                <a:cubicBezTo>
                  <a:pt x="256" y="1647"/>
                  <a:pt x="255" y="1652"/>
                  <a:pt x="252" y="1655"/>
                </a:cubicBezTo>
                <a:cubicBezTo>
                  <a:pt x="250" y="1657"/>
                  <a:pt x="248" y="1657"/>
                  <a:pt x="246" y="1657"/>
                </a:cubicBezTo>
                <a:close/>
                <a:moveTo>
                  <a:pt x="1933" y="1359"/>
                </a:moveTo>
                <a:cubicBezTo>
                  <a:pt x="1932" y="1359"/>
                  <a:pt x="1931" y="1359"/>
                  <a:pt x="1930" y="1359"/>
                </a:cubicBezTo>
                <a:cubicBezTo>
                  <a:pt x="1926" y="1357"/>
                  <a:pt x="1923" y="1352"/>
                  <a:pt x="1925" y="1348"/>
                </a:cubicBezTo>
                <a:cubicBezTo>
                  <a:pt x="1928" y="1341"/>
                  <a:pt x="1930" y="1334"/>
                  <a:pt x="1933" y="1327"/>
                </a:cubicBezTo>
                <a:cubicBezTo>
                  <a:pt x="1934" y="1322"/>
                  <a:pt x="1939" y="1320"/>
                  <a:pt x="1943" y="1321"/>
                </a:cubicBezTo>
                <a:cubicBezTo>
                  <a:pt x="1948" y="1323"/>
                  <a:pt x="1950" y="1328"/>
                  <a:pt x="1949" y="1332"/>
                </a:cubicBezTo>
                <a:cubicBezTo>
                  <a:pt x="1946" y="1339"/>
                  <a:pt x="1944" y="1347"/>
                  <a:pt x="1941" y="1354"/>
                </a:cubicBezTo>
                <a:cubicBezTo>
                  <a:pt x="1940" y="1357"/>
                  <a:pt x="1936" y="1359"/>
                  <a:pt x="1933" y="1359"/>
                </a:cubicBezTo>
                <a:close/>
                <a:moveTo>
                  <a:pt x="68" y="1351"/>
                </a:moveTo>
                <a:cubicBezTo>
                  <a:pt x="65" y="1351"/>
                  <a:pt x="61" y="1349"/>
                  <a:pt x="60" y="1345"/>
                </a:cubicBezTo>
                <a:cubicBezTo>
                  <a:pt x="58" y="1338"/>
                  <a:pt x="55" y="1331"/>
                  <a:pt x="53" y="1324"/>
                </a:cubicBezTo>
                <a:cubicBezTo>
                  <a:pt x="51" y="1319"/>
                  <a:pt x="53" y="1314"/>
                  <a:pt x="58" y="1313"/>
                </a:cubicBezTo>
                <a:cubicBezTo>
                  <a:pt x="62" y="1311"/>
                  <a:pt x="67" y="1314"/>
                  <a:pt x="69" y="1318"/>
                </a:cubicBezTo>
                <a:cubicBezTo>
                  <a:pt x="71" y="1325"/>
                  <a:pt x="74" y="1332"/>
                  <a:pt x="76" y="1339"/>
                </a:cubicBezTo>
                <a:cubicBezTo>
                  <a:pt x="78" y="1344"/>
                  <a:pt x="75" y="1349"/>
                  <a:pt x="71" y="1350"/>
                </a:cubicBezTo>
                <a:cubicBezTo>
                  <a:pt x="70" y="1351"/>
                  <a:pt x="69" y="1351"/>
                  <a:pt x="68" y="1351"/>
                </a:cubicBezTo>
                <a:close/>
                <a:moveTo>
                  <a:pt x="1950" y="1311"/>
                </a:moveTo>
                <a:cubicBezTo>
                  <a:pt x="1949" y="1311"/>
                  <a:pt x="1948" y="1311"/>
                  <a:pt x="1947" y="1311"/>
                </a:cubicBezTo>
                <a:cubicBezTo>
                  <a:pt x="1942" y="1309"/>
                  <a:pt x="1940" y="1304"/>
                  <a:pt x="1941" y="1300"/>
                </a:cubicBezTo>
                <a:cubicBezTo>
                  <a:pt x="1953" y="1264"/>
                  <a:pt x="1962" y="1228"/>
                  <a:pt x="1969" y="1191"/>
                </a:cubicBezTo>
                <a:cubicBezTo>
                  <a:pt x="1969" y="1191"/>
                  <a:pt x="1969" y="1191"/>
                  <a:pt x="1969" y="1191"/>
                </a:cubicBezTo>
                <a:cubicBezTo>
                  <a:pt x="1979" y="1140"/>
                  <a:pt x="1985" y="1088"/>
                  <a:pt x="1987" y="1037"/>
                </a:cubicBezTo>
                <a:cubicBezTo>
                  <a:pt x="1987" y="1026"/>
                  <a:pt x="1987" y="1014"/>
                  <a:pt x="1987" y="1003"/>
                </a:cubicBezTo>
                <a:cubicBezTo>
                  <a:pt x="1987" y="995"/>
                  <a:pt x="1987" y="987"/>
                  <a:pt x="1987" y="979"/>
                </a:cubicBezTo>
                <a:cubicBezTo>
                  <a:pt x="1987" y="975"/>
                  <a:pt x="1991" y="971"/>
                  <a:pt x="1995" y="971"/>
                </a:cubicBezTo>
                <a:cubicBezTo>
                  <a:pt x="2000" y="971"/>
                  <a:pt x="2004" y="974"/>
                  <a:pt x="2004" y="979"/>
                </a:cubicBezTo>
                <a:cubicBezTo>
                  <a:pt x="2004" y="987"/>
                  <a:pt x="2004" y="995"/>
                  <a:pt x="2004" y="1003"/>
                </a:cubicBezTo>
                <a:cubicBezTo>
                  <a:pt x="2004" y="1015"/>
                  <a:pt x="2004" y="1026"/>
                  <a:pt x="2004" y="1037"/>
                </a:cubicBezTo>
                <a:cubicBezTo>
                  <a:pt x="2002" y="1090"/>
                  <a:pt x="1996" y="1143"/>
                  <a:pt x="1986" y="1195"/>
                </a:cubicBezTo>
                <a:cubicBezTo>
                  <a:pt x="1986" y="1195"/>
                  <a:pt x="1986" y="1195"/>
                  <a:pt x="1986" y="1195"/>
                </a:cubicBezTo>
                <a:cubicBezTo>
                  <a:pt x="1978" y="1232"/>
                  <a:pt x="1969" y="1269"/>
                  <a:pt x="1958" y="1305"/>
                </a:cubicBezTo>
                <a:cubicBezTo>
                  <a:pt x="1956" y="1309"/>
                  <a:pt x="1953" y="1311"/>
                  <a:pt x="1950" y="1311"/>
                </a:cubicBezTo>
                <a:close/>
                <a:moveTo>
                  <a:pt x="52" y="1303"/>
                </a:moveTo>
                <a:cubicBezTo>
                  <a:pt x="48" y="1303"/>
                  <a:pt x="45" y="1300"/>
                  <a:pt x="44" y="1297"/>
                </a:cubicBezTo>
                <a:cubicBezTo>
                  <a:pt x="23" y="1227"/>
                  <a:pt x="9" y="1156"/>
                  <a:pt x="3" y="1084"/>
                </a:cubicBezTo>
                <a:cubicBezTo>
                  <a:pt x="3" y="1084"/>
                  <a:pt x="3" y="1084"/>
                  <a:pt x="3" y="1084"/>
                </a:cubicBezTo>
                <a:cubicBezTo>
                  <a:pt x="1" y="1061"/>
                  <a:pt x="0" y="1038"/>
                  <a:pt x="0" y="1015"/>
                </a:cubicBezTo>
                <a:cubicBezTo>
                  <a:pt x="0" y="1011"/>
                  <a:pt x="0" y="1007"/>
                  <a:pt x="0" y="1003"/>
                </a:cubicBezTo>
                <a:cubicBezTo>
                  <a:pt x="0" y="992"/>
                  <a:pt x="0" y="981"/>
                  <a:pt x="0" y="970"/>
                </a:cubicBezTo>
                <a:cubicBezTo>
                  <a:pt x="0" y="965"/>
                  <a:pt x="4" y="962"/>
                  <a:pt x="9" y="962"/>
                </a:cubicBezTo>
                <a:cubicBezTo>
                  <a:pt x="14" y="962"/>
                  <a:pt x="17" y="966"/>
                  <a:pt x="17" y="971"/>
                </a:cubicBezTo>
                <a:cubicBezTo>
                  <a:pt x="17" y="981"/>
                  <a:pt x="17" y="992"/>
                  <a:pt x="17" y="1003"/>
                </a:cubicBezTo>
                <a:cubicBezTo>
                  <a:pt x="17" y="1007"/>
                  <a:pt x="17" y="1011"/>
                  <a:pt x="17" y="1015"/>
                </a:cubicBezTo>
                <a:cubicBezTo>
                  <a:pt x="17" y="1037"/>
                  <a:pt x="18" y="1060"/>
                  <a:pt x="20" y="1083"/>
                </a:cubicBezTo>
                <a:cubicBezTo>
                  <a:pt x="20" y="1083"/>
                  <a:pt x="20" y="1083"/>
                  <a:pt x="20" y="1083"/>
                </a:cubicBezTo>
                <a:cubicBezTo>
                  <a:pt x="26" y="1153"/>
                  <a:pt x="39" y="1223"/>
                  <a:pt x="60" y="1292"/>
                </a:cubicBezTo>
                <a:cubicBezTo>
                  <a:pt x="61" y="1296"/>
                  <a:pt x="59" y="1301"/>
                  <a:pt x="54" y="1302"/>
                </a:cubicBezTo>
                <a:cubicBezTo>
                  <a:pt x="54" y="1302"/>
                  <a:pt x="53" y="1303"/>
                  <a:pt x="52" y="1303"/>
                </a:cubicBezTo>
                <a:close/>
                <a:moveTo>
                  <a:pt x="1994" y="959"/>
                </a:moveTo>
                <a:cubicBezTo>
                  <a:pt x="1990" y="959"/>
                  <a:pt x="1986" y="956"/>
                  <a:pt x="1986" y="951"/>
                </a:cubicBezTo>
                <a:cubicBezTo>
                  <a:pt x="1986" y="944"/>
                  <a:pt x="1985" y="936"/>
                  <a:pt x="1984" y="929"/>
                </a:cubicBezTo>
                <a:cubicBezTo>
                  <a:pt x="1984" y="924"/>
                  <a:pt x="1988" y="920"/>
                  <a:pt x="1992" y="920"/>
                </a:cubicBezTo>
                <a:cubicBezTo>
                  <a:pt x="1997" y="920"/>
                  <a:pt x="2001" y="923"/>
                  <a:pt x="2001" y="928"/>
                </a:cubicBezTo>
                <a:cubicBezTo>
                  <a:pt x="2002" y="935"/>
                  <a:pt x="2002" y="943"/>
                  <a:pt x="2003" y="951"/>
                </a:cubicBezTo>
                <a:cubicBezTo>
                  <a:pt x="2003" y="955"/>
                  <a:pt x="2000" y="959"/>
                  <a:pt x="1995" y="959"/>
                </a:cubicBezTo>
                <a:cubicBezTo>
                  <a:pt x="1995" y="959"/>
                  <a:pt x="1995" y="959"/>
                  <a:pt x="1994" y="959"/>
                </a:cubicBezTo>
                <a:close/>
                <a:moveTo>
                  <a:pt x="10" y="951"/>
                </a:moveTo>
                <a:cubicBezTo>
                  <a:pt x="10" y="951"/>
                  <a:pt x="10" y="951"/>
                  <a:pt x="10" y="951"/>
                </a:cubicBezTo>
                <a:cubicBezTo>
                  <a:pt x="5" y="950"/>
                  <a:pt x="1" y="946"/>
                  <a:pt x="2" y="942"/>
                </a:cubicBezTo>
                <a:cubicBezTo>
                  <a:pt x="2" y="934"/>
                  <a:pt x="3" y="926"/>
                  <a:pt x="3" y="919"/>
                </a:cubicBezTo>
                <a:cubicBezTo>
                  <a:pt x="4" y="914"/>
                  <a:pt x="8" y="911"/>
                  <a:pt x="13" y="911"/>
                </a:cubicBezTo>
                <a:cubicBezTo>
                  <a:pt x="17" y="911"/>
                  <a:pt x="21" y="916"/>
                  <a:pt x="20" y="920"/>
                </a:cubicBezTo>
                <a:cubicBezTo>
                  <a:pt x="20" y="928"/>
                  <a:pt x="19" y="935"/>
                  <a:pt x="19" y="943"/>
                </a:cubicBezTo>
                <a:cubicBezTo>
                  <a:pt x="18" y="947"/>
                  <a:pt x="15" y="951"/>
                  <a:pt x="10" y="951"/>
                </a:cubicBezTo>
                <a:close/>
                <a:moveTo>
                  <a:pt x="1990" y="909"/>
                </a:moveTo>
                <a:cubicBezTo>
                  <a:pt x="1986" y="909"/>
                  <a:pt x="1982" y="905"/>
                  <a:pt x="1982" y="901"/>
                </a:cubicBezTo>
                <a:cubicBezTo>
                  <a:pt x="1978" y="864"/>
                  <a:pt x="1972" y="827"/>
                  <a:pt x="1964" y="791"/>
                </a:cubicBezTo>
                <a:cubicBezTo>
                  <a:pt x="1964" y="791"/>
                  <a:pt x="1964" y="790"/>
                  <a:pt x="1964" y="790"/>
                </a:cubicBezTo>
                <a:cubicBezTo>
                  <a:pt x="1954" y="747"/>
                  <a:pt x="1942" y="704"/>
                  <a:pt x="1926" y="663"/>
                </a:cubicBezTo>
                <a:cubicBezTo>
                  <a:pt x="1917" y="638"/>
                  <a:pt x="1907" y="613"/>
                  <a:pt x="1896" y="589"/>
                </a:cubicBezTo>
                <a:cubicBezTo>
                  <a:pt x="1894" y="585"/>
                  <a:pt x="1895" y="580"/>
                  <a:pt x="1900" y="578"/>
                </a:cubicBezTo>
                <a:cubicBezTo>
                  <a:pt x="1904" y="576"/>
                  <a:pt x="1909" y="578"/>
                  <a:pt x="1911" y="582"/>
                </a:cubicBezTo>
                <a:cubicBezTo>
                  <a:pt x="1922" y="606"/>
                  <a:pt x="1933" y="632"/>
                  <a:pt x="1942" y="657"/>
                </a:cubicBezTo>
                <a:cubicBezTo>
                  <a:pt x="1958" y="699"/>
                  <a:pt x="1971" y="743"/>
                  <a:pt x="1980" y="787"/>
                </a:cubicBezTo>
                <a:cubicBezTo>
                  <a:pt x="1980" y="787"/>
                  <a:pt x="1980" y="787"/>
                  <a:pt x="1980" y="787"/>
                </a:cubicBezTo>
                <a:cubicBezTo>
                  <a:pt x="1989" y="824"/>
                  <a:pt x="1995" y="862"/>
                  <a:pt x="1999" y="899"/>
                </a:cubicBezTo>
                <a:cubicBezTo>
                  <a:pt x="1999" y="904"/>
                  <a:pt x="1996" y="908"/>
                  <a:pt x="1991" y="909"/>
                </a:cubicBezTo>
                <a:cubicBezTo>
                  <a:pt x="1991" y="909"/>
                  <a:pt x="1991" y="909"/>
                  <a:pt x="1990" y="909"/>
                </a:cubicBezTo>
                <a:close/>
                <a:moveTo>
                  <a:pt x="15" y="900"/>
                </a:moveTo>
                <a:cubicBezTo>
                  <a:pt x="14" y="900"/>
                  <a:pt x="14" y="900"/>
                  <a:pt x="14" y="900"/>
                </a:cubicBezTo>
                <a:cubicBezTo>
                  <a:pt x="9" y="899"/>
                  <a:pt x="6" y="895"/>
                  <a:pt x="6" y="890"/>
                </a:cubicBezTo>
                <a:cubicBezTo>
                  <a:pt x="14" y="819"/>
                  <a:pt x="30" y="748"/>
                  <a:pt x="54" y="679"/>
                </a:cubicBezTo>
                <a:cubicBezTo>
                  <a:pt x="54" y="679"/>
                  <a:pt x="54" y="679"/>
                  <a:pt x="54" y="679"/>
                </a:cubicBezTo>
                <a:cubicBezTo>
                  <a:pt x="59" y="665"/>
                  <a:pt x="64" y="650"/>
                  <a:pt x="70" y="636"/>
                </a:cubicBezTo>
                <a:cubicBezTo>
                  <a:pt x="78" y="615"/>
                  <a:pt x="87" y="594"/>
                  <a:pt x="97" y="574"/>
                </a:cubicBezTo>
                <a:cubicBezTo>
                  <a:pt x="99" y="569"/>
                  <a:pt x="104" y="568"/>
                  <a:pt x="108" y="570"/>
                </a:cubicBezTo>
                <a:cubicBezTo>
                  <a:pt x="112" y="572"/>
                  <a:pt x="114" y="577"/>
                  <a:pt x="112" y="581"/>
                </a:cubicBezTo>
                <a:cubicBezTo>
                  <a:pt x="103" y="601"/>
                  <a:pt x="94" y="622"/>
                  <a:pt x="85" y="643"/>
                </a:cubicBezTo>
                <a:cubicBezTo>
                  <a:pt x="80" y="656"/>
                  <a:pt x="75" y="671"/>
                  <a:pt x="70" y="685"/>
                </a:cubicBezTo>
                <a:cubicBezTo>
                  <a:pt x="70" y="685"/>
                  <a:pt x="70" y="685"/>
                  <a:pt x="70" y="685"/>
                </a:cubicBezTo>
                <a:cubicBezTo>
                  <a:pt x="47" y="752"/>
                  <a:pt x="31" y="822"/>
                  <a:pt x="23" y="892"/>
                </a:cubicBezTo>
                <a:cubicBezTo>
                  <a:pt x="23" y="897"/>
                  <a:pt x="19" y="900"/>
                  <a:pt x="15" y="900"/>
                </a:cubicBezTo>
                <a:close/>
                <a:moveTo>
                  <a:pt x="1891" y="568"/>
                </a:moveTo>
                <a:cubicBezTo>
                  <a:pt x="1888" y="568"/>
                  <a:pt x="1885" y="567"/>
                  <a:pt x="1883" y="564"/>
                </a:cubicBezTo>
                <a:cubicBezTo>
                  <a:pt x="1880" y="557"/>
                  <a:pt x="1877" y="550"/>
                  <a:pt x="1873" y="544"/>
                </a:cubicBezTo>
                <a:cubicBezTo>
                  <a:pt x="1871" y="540"/>
                  <a:pt x="1873" y="534"/>
                  <a:pt x="1877" y="532"/>
                </a:cubicBezTo>
                <a:cubicBezTo>
                  <a:pt x="1881" y="530"/>
                  <a:pt x="1886" y="532"/>
                  <a:pt x="1888" y="536"/>
                </a:cubicBezTo>
                <a:cubicBezTo>
                  <a:pt x="1892" y="543"/>
                  <a:pt x="1895" y="549"/>
                  <a:pt x="1899" y="556"/>
                </a:cubicBezTo>
                <a:cubicBezTo>
                  <a:pt x="1901" y="560"/>
                  <a:pt x="1899" y="565"/>
                  <a:pt x="1895" y="568"/>
                </a:cubicBezTo>
                <a:cubicBezTo>
                  <a:pt x="1894" y="568"/>
                  <a:pt x="1892" y="568"/>
                  <a:pt x="1891" y="568"/>
                </a:cubicBezTo>
                <a:close/>
                <a:moveTo>
                  <a:pt x="117" y="560"/>
                </a:moveTo>
                <a:cubicBezTo>
                  <a:pt x="116" y="560"/>
                  <a:pt x="114" y="560"/>
                  <a:pt x="113" y="560"/>
                </a:cubicBezTo>
                <a:cubicBezTo>
                  <a:pt x="109" y="557"/>
                  <a:pt x="107" y="552"/>
                  <a:pt x="109" y="548"/>
                </a:cubicBezTo>
                <a:cubicBezTo>
                  <a:pt x="113" y="541"/>
                  <a:pt x="116" y="535"/>
                  <a:pt x="120" y="528"/>
                </a:cubicBezTo>
                <a:cubicBezTo>
                  <a:pt x="122" y="524"/>
                  <a:pt x="127" y="522"/>
                  <a:pt x="132" y="524"/>
                </a:cubicBezTo>
                <a:cubicBezTo>
                  <a:pt x="136" y="527"/>
                  <a:pt x="137" y="532"/>
                  <a:pt x="135" y="536"/>
                </a:cubicBezTo>
                <a:cubicBezTo>
                  <a:pt x="131" y="543"/>
                  <a:pt x="128" y="549"/>
                  <a:pt x="125" y="556"/>
                </a:cubicBezTo>
                <a:cubicBezTo>
                  <a:pt x="123" y="559"/>
                  <a:pt x="120" y="560"/>
                  <a:pt x="117" y="560"/>
                </a:cubicBezTo>
                <a:close/>
                <a:moveTo>
                  <a:pt x="1867" y="523"/>
                </a:moveTo>
                <a:cubicBezTo>
                  <a:pt x="1864" y="523"/>
                  <a:pt x="1861" y="522"/>
                  <a:pt x="1860" y="519"/>
                </a:cubicBezTo>
                <a:cubicBezTo>
                  <a:pt x="1841" y="487"/>
                  <a:pt x="1821" y="455"/>
                  <a:pt x="1799" y="425"/>
                </a:cubicBezTo>
                <a:cubicBezTo>
                  <a:pt x="1799" y="425"/>
                  <a:pt x="1799" y="425"/>
                  <a:pt x="1799" y="425"/>
                </a:cubicBezTo>
                <a:cubicBezTo>
                  <a:pt x="1778" y="395"/>
                  <a:pt x="1754" y="366"/>
                  <a:pt x="1729" y="339"/>
                </a:cubicBezTo>
                <a:cubicBezTo>
                  <a:pt x="1707" y="314"/>
                  <a:pt x="1682" y="290"/>
                  <a:pt x="1657" y="267"/>
                </a:cubicBezTo>
                <a:cubicBezTo>
                  <a:pt x="1653" y="264"/>
                  <a:pt x="1653" y="259"/>
                  <a:pt x="1656" y="255"/>
                </a:cubicBezTo>
                <a:cubicBezTo>
                  <a:pt x="1659" y="252"/>
                  <a:pt x="1664" y="251"/>
                  <a:pt x="1668" y="254"/>
                </a:cubicBezTo>
                <a:cubicBezTo>
                  <a:pt x="1694" y="277"/>
                  <a:pt x="1719" y="302"/>
                  <a:pt x="1742" y="327"/>
                </a:cubicBezTo>
                <a:cubicBezTo>
                  <a:pt x="1767" y="355"/>
                  <a:pt x="1791" y="384"/>
                  <a:pt x="1813" y="415"/>
                </a:cubicBezTo>
                <a:cubicBezTo>
                  <a:pt x="1813" y="415"/>
                  <a:pt x="1813" y="415"/>
                  <a:pt x="1813" y="415"/>
                </a:cubicBezTo>
                <a:cubicBezTo>
                  <a:pt x="1835" y="446"/>
                  <a:pt x="1856" y="478"/>
                  <a:pt x="1875" y="511"/>
                </a:cubicBezTo>
                <a:cubicBezTo>
                  <a:pt x="1877" y="515"/>
                  <a:pt x="1875" y="520"/>
                  <a:pt x="1871" y="522"/>
                </a:cubicBezTo>
                <a:cubicBezTo>
                  <a:pt x="1870" y="523"/>
                  <a:pt x="1869" y="523"/>
                  <a:pt x="1867" y="523"/>
                </a:cubicBezTo>
                <a:close/>
                <a:moveTo>
                  <a:pt x="141" y="516"/>
                </a:moveTo>
                <a:cubicBezTo>
                  <a:pt x="140" y="516"/>
                  <a:pt x="138" y="515"/>
                  <a:pt x="137" y="515"/>
                </a:cubicBezTo>
                <a:cubicBezTo>
                  <a:pt x="133" y="512"/>
                  <a:pt x="132" y="507"/>
                  <a:pt x="134" y="503"/>
                </a:cubicBezTo>
                <a:cubicBezTo>
                  <a:pt x="170" y="440"/>
                  <a:pt x="213" y="381"/>
                  <a:pt x="261" y="328"/>
                </a:cubicBezTo>
                <a:cubicBezTo>
                  <a:pt x="261" y="328"/>
                  <a:pt x="261" y="328"/>
                  <a:pt x="262" y="328"/>
                </a:cubicBezTo>
                <a:cubicBezTo>
                  <a:pt x="267" y="323"/>
                  <a:pt x="272" y="317"/>
                  <a:pt x="277" y="312"/>
                </a:cubicBezTo>
                <a:cubicBezTo>
                  <a:pt x="298" y="290"/>
                  <a:pt x="320" y="268"/>
                  <a:pt x="343" y="248"/>
                </a:cubicBezTo>
                <a:cubicBezTo>
                  <a:pt x="347" y="245"/>
                  <a:pt x="352" y="246"/>
                  <a:pt x="355" y="249"/>
                </a:cubicBezTo>
                <a:cubicBezTo>
                  <a:pt x="358" y="253"/>
                  <a:pt x="358" y="258"/>
                  <a:pt x="354" y="261"/>
                </a:cubicBezTo>
                <a:cubicBezTo>
                  <a:pt x="332" y="281"/>
                  <a:pt x="310" y="302"/>
                  <a:pt x="289" y="323"/>
                </a:cubicBezTo>
                <a:cubicBezTo>
                  <a:pt x="284" y="329"/>
                  <a:pt x="279" y="334"/>
                  <a:pt x="274" y="340"/>
                </a:cubicBezTo>
                <a:cubicBezTo>
                  <a:pt x="274" y="340"/>
                  <a:pt x="274" y="340"/>
                  <a:pt x="274" y="340"/>
                </a:cubicBezTo>
                <a:cubicBezTo>
                  <a:pt x="226" y="392"/>
                  <a:pt x="184" y="450"/>
                  <a:pt x="149" y="511"/>
                </a:cubicBezTo>
                <a:cubicBezTo>
                  <a:pt x="147" y="514"/>
                  <a:pt x="144" y="516"/>
                  <a:pt x="141" y="516"/>
                </a:cubicBezTo>
                <a:close/>
                <a:moveTo>
                  <a:pt x="1641" y="251"/>
                </a:moveTo>
                <a:cubicBezTo>
                  <a:pt x="1639" y="251"/>
                  <a:pt x="1637" y="250"/>
                  <a:pt x="1635" y="249"/>
                </a:cubicBezTo>
                <a:cubicBezTo>
                  <a:pt x="1630" y="244"/>
                  <a:pt x="1624" y="239"/>
                  <a:pt x="1618" y="235"/>
                </a:cubicBezTo>
                <a:cubicBezTo>
                  <a:pt x="1614" y="232"/>
                  <a:pt x="1614" y="226"/>
                  <a:pt x="1617" y="223"/>
                </a:cubicBezTo>
                <a:cubicBezTo>
                  <a:pt x="1620" y="219"/>
                  <a:pt x="1625" y="218"/>
                  <a:pt x="1629" y="221"/>
                </a:cubicBezTo>
                <a:cubicBezTo>
                  <a:pt x="1634" y="226"/>
                  <a:pt x="1640" y="231"/>
                  <a:pt x="1646" y="236"/>
                </a:cubicBezTo>
                <a:cubicBezTo>
                  <a:pt x="1650" y="239"/>
                  <a:pt x="1650" y="244"/>
                  <a:pt x="1647" y="248"/>
                </a:cubicBezTo>
                <a:cubicBezTo>
                  <a:pt x="1646" y="250"/>
                  <a:pt x="1643" y="251"/>
                  <a:pt x="1641" y="251"/>
                </a:cubicBezTo>
                <a:close/>
                <a:moveTo>
                  <a:pt x="370" y="245"/>
                </a:moveTo>
                <a:cubicBezTo>
                  <a:pt x="368" y="245"/>
                  <a:pt x="365" y="244"/>
                  <a:pt x="364" y="242"/>
                </a:cubicBezTo>
                <a:cubicBezTo>
                  <a:pt x="361" y="238"/>
                  <a:pt x="361" y="233"/>
                  <a:pt x="365" y="230"/>
                </a:cubicBezTo>
                <a:cubicBezTo>
                  <a:pt x="371" y="225"/>
                  <a:pt x="377" y="220"/>
                  <a:pt x="383" y="216"/>
                </a:cubicBezTo>
                <a:cubicBezTo>
                  <a:pt x="386" y="213"/>
                  <a:pt x="392" y="213"/>
                  <a:pt x="394" y="217"/>
                </a:cubicBezTo>
                <a:cubicBezTo>
                  <a:pt x="397" y="221"/>
                  <a:pt x="397" y="226"/>
                  <a:pt x="393" y="229"/>
                </a:cubicBezTo>
                <a:cubicBezTo>
                  <a:pt x="387" y="234"/>
                  <a:pt x="381" y="238"/>
                  <a:pt x="376" y="243"/>
                </a:cubicBezTo>
                <a:cubicBezTo>
                  <a:pt x="374" y="244"/>
                  <a:pt x="372" y="245"/>
                  <a:pt x="370" y="245"/>
                </a:cubicBezTo>
                <a:close/>
                <a:moveTo>
                  <a:pt x="1601" y="219"/>
                </a:moveTo>
                <a:cubicBezTo>
                  <a:pt x="1599" y="219"/>
                  <a:pt x="1597" y="219"/>
                  <a:pt x="1596" y="217"/>
                </a:cubicBezTo>
                <a:cubicBezTo>
                  <a:pt x="1566" y="195"/>
                  <a:pt x="1535" y="174"/>
                  <a:pt x="1503" y="155"/>
                </a:cubicBezTo>
                <a:cubicBezTo>
                  <a:pt x="1503" y="155"/>
                  <a:pt x="1503" y="155"/>
                  <a:pt x="1503" y="155"/>
                </a:cubicBezTo>
                <a:cubicBezTo>
                  <a:pt x="1477" y="140"/>
                  <a:pt x="1451" y="126"/>
                  <a:pt x="1425" y="114"/>
                </a:cubicBezTo>
                <a:cubicBezTo>
                  <a:pt x="1387" y="96"/>
                  <a:pt x="1348" y="80"/>
                  <a:pt x="1309" y="67"/>
                </a:cubicBezTo>
                <a:cubicBezTo>
                  <a:pt x="1304" y="66"/>
                  <a:pt x="1302" y="61"/>
                  <a:pt x="1303" y="57"/>
                </a:cubicBezTo>
                <a:cubicBezTo>
                  <a:pt x="1305" y="52"/>
                  <a:pt x="1310" y="50"/>
                  <a:pt x="1314" y="51"/>
                </a:cubicBezTo>
                <a:cubicBezTo>
                  <a:pt x="1354" y="64"/>
                  <a:pt x="1394" y="80"/>
                  <a:pt x="1432" y="98"/>
                </a:cubicBezTo>
                <a:cubicBezTo>
                  <a:pt x="1459" y="111"/>
                  <a:pt x="1485" y="125"/>
                  <a:pt x="1511" y="140"/>
                </a:cubicBezTo>
                <a:cubicBezTo>
                  <a:pt x="1511" y="140"/>
                  <a:pt x="1511" y="140"/>
                  <a:pt x="1511" y="140"/>
                </a:cubicBezTo>
                <a:cubicBezTo>
                  <a:pt x="1544" y="160"/>
                  <a:pt x="1576" y="181"/>
                  <a:pt x="1606" y="204"/>
                </a:cubicBezTo>
                <a:cubicBezTo>
                  <a:pt x="1610" y="207"/>
                  <a:pt x="1611" y="212"/>
                  <a:pt x="1608" y="216"/>
                </a:cubicBezTo>
                <a:cubicBezTo>
                  <a:pt x="1606" y="218"/>
                  <a:pt x="1603" y="219"/>
                  <a:pt x="1601" y="219"/>
                </a:cubicBezTo>
                <a:close/>
                <a:moveTo>
                  <a:pt x="410" y="214"/>
                </a:moveTo>
                <a:cubicBezTo>
                  <a:pt x="408" y="214"/>
                  <a:pt x="405" y="212"/>
                  <a:pt x="403" y="210"/>
                </a:cubicBezTo>
                <a:cubicBezTo>
                  <a:pt x="401" y="206"/>
                  <a:pt x="401" y="201"/>
                  <a:pt x="405" y="198"/>
                </a:cubicBezTo>
                <a:cubicBezTo>
                  <a:pt x="463" y="155"/>
                  <a:pt x="526" y="119"/>
                  <a:pt x="592" y="89"/>
                </a:cubicBezTo>
                <a:cubicBezTo>
                  <a:pt x="596" y="87"/>
                  <a:pt x="601" y="89"/>
                  <a:pt x="603" y="93"/>
                </a:cubicBezTo>
                <a:cubicBezTo>
                  <a:pt x="605" y="98"/>
                  <a:pt x="603" y="103"/>
                  <a:pt x="599" y="105"/>
                </a:cubicBezTo>
                <a:cubicBezTo>
                  <a:pt x="534" y="134"/>
                  <a:pt x="472" y="170"/>
                  <a:pt x="415" y="212"/>
                </a:cubicBezTo>
                <a:cubicBezTo>
                  <a:pt x="414" y="213"/>
                  <a:pt x="412" y="214"/>
                  <a:pt x="410" y="214"/>
                </a:cubicBezTo>
                <a:close/>
                <a:moveTo>
                  <a:pt x="680" y="72"/>
                </a:moveTo>
                <a:cubicBezTo>
                  <a:pt x="676" y="72"/>
                  <a:pt x="673" y="70"/>
                  <a:pt x="672" y="66"/>
                </a:cubicBezTo>
                <a:cubicBezTo>
                  <a:pt x="670" y="62"/>
                  <a:pt x="672" y="57"/>
                  <a:pt x="677" y="56"/>
                </a:cubicBezTo>
                <a:cubicBezTo>
                  <a:pt x="690" y="51"/>
                  <a:pt x="704" y="46"/>
                  <a:pt x="718" y="42"/>
                </a:cubicBezTo>
                <a:cubicBezTo>
                  <a:pt x="718" y="42"/>
                  <a:pt x="718" y="42"/>
                  <a:pt x="719" y="42"/>
                </a:cubicBezTo>
                <a:cubicBezTo>
                  <a:pt x="755" y="32"/>
                  <a:pt x="792" y="23"/>
                  <a:pt x="830" y="16"/>
                </a:cubicBezTo>
                <a:cubicBezTo>
                  <a:pt x="834" y="15"/>
                  <a:pt x="839" y="19"/>
                  <a:pt x="839" y="23"/>
                </a:cubicBezTo>
                <a:cubicBezTo>
                  <a:pt x="840" y="28"/>
                  <a:pt x="837" y="32"/>
                  <a:pt x="833" y="33"/>
                </a:cubicBezTo>
                <a:cubicBezTo>
                  <a:pt x="796" y="39"/>
                  <a:pt x="759" y="48"/>
                  <a:pt x="724" y="58"/>
                </a:cubicBezTo>
                <a:cubicBezTo>
                  <a:pt x="724" y="58"/>
                  <a:pt x="723" y="59"/>
                  <a:pt x="723" y="59"/>
                </a:cubicBezTo>
                <a:cubicBezTo>
                  <a:pt x="710" y="63"/>
                  <a:pt x="696" y="67"/>
                  <a:pt x="682" y="72"/>
                </a:cubicBezTo>
                <a:cubicBezTo>
                  <a:pt x="681" y="72"/>
                  <a:pt x="680" y="72"/>
                  <a:pt x="680" y="72"/>
                </a:cubicBezTo>
                <a:close/>
                <a:moveTo>
                  <a:pt x="1284" y="59"/>
                </a:moveTo>
                <a:cubicBezTo>
                  <a:pt x="1284" y="59"/>
                  <a:pt x="1283" y="59"/>
                  <a:pt x="1282" y="59"/>
                </a:cubicBezTo>
                <a:cubicBezTo>
                  <a:pt x="1275" y="57"/>
                  <a:pt x="1268" y="55"/>
                  <a:pt x="1260" y="53"/>
                </a:cubicBezTo>
                <a:cubicBezTo>
                  <a:pt x="1256" y="52"/>
                  <a:pt x="1253" y="47"/>
                  <a:pt x="1254" y="42"/>
                </a:cubicBezTo>
                <a:cubicBezTo>
                  <a:pt x="1256" y="38"/>
                  <a:pt x="1260" y="35"/>
                  <a:pt x="1265" y="37"/>
                </a:cubicBezTo>
                <a:cubicBezTo>
                  <a:pt x="1272" y="39"/>
                  <a:pt x="1280" y="41"/>
                  <a:pt x="1287" y="43"/>
                </a:cubicBezTo>
                <a:cubicBezTo>
                  <a:pt x="1291" y="44"/>
                  <a:pt x="1294" y="49"/>
                  <a:pt x="1293" y="53"/>
                </a:cubicBezTo>
                <a:cubicBezTo>
                  <a:pt x="1291" y="57"/>
                  <a:pt x="1288" y="59"/>
                  <a:pt x="1284" y="59"/>
                </a:cubicBezTo>
                <a:close/>
                <a:moveTo>
                  <a:pt x="1235" y="46"/>
                </a:moveTo>
                <a:cubicBezTo>
                  <a:pt x="1235" y="46"/>
                  <a:pt x="1234" y="46"/>
                  <a:pt x="1233" y="46"/>
                </a:cubicBezTo>
                <a:cubicBezTo>
                  <a:pt x="1197" y="37"/>
                  <a:pt x="1160" y="30"/>
                  <a:pt x="1123" y="26"/>
                </a:cubicBezTo>
                <a:cubicBezTo>
                  <a:pt x="1123" y="26"/>
                  <a:pt x="1123" y="26"/>
                  <a:pt x="1123" y="26"/>
                </a:cubicBezTo>
                <a:cubicBezTo>
                  <a:pt x="1101" y="23"/>
                  <a:pt x="1079" y="21"/>
                  <a:pt x="1058" y="20"/>
                </a:cubicBezTo>
                <a:cubicBezTo>
                  <a:pt x="1009" y="17"/>
                  <a:pt x="959" y="18"/>
                  <a:pt x="910" y="23"/>
                </a:cubicBezTo>
                <a:cubicBezTo>
                  <a:pt x="906" y="23"/>
                  <a:pt x="902" y="20"/>
                  <a:pt x="901" y="15"/>
                </a:cubicBezTo>
                <a:cubicBezTo>
                  <a:pt x="901" y="10"/>
                  <a:pt x="904" y="6"/>
                  <a:pt x="909" y="6"/>
                </a:cubicBezTo>
                <a:cubicBezTo>
                  <a:pt x="959" y="1"/>
                  <a:pt x="1009" y="0"/>
                  <a:pt x="1059" y="3"/>
                </a:cubicBezTo>
                <a:cubicBezTo>
                  <a:pt x="1081" y="4"/>
                  <a:pt x="1103" y="6"/>
                  <a:pt x="1125" y="9"/>
                </a:cubicBezTo>
                <a:cubicBezTo>
                  <a:pt x="1125" y="9"/>
                  <a:pt x="1125" y="9"/>
                  <a:pt x="1125" y="9"/>
                </a:cubicBezTo>
                <a:cubicBezTo>
                  <a:pt x="1163" y="14"/>
                  <a:pt x="1200" y="20"/>
                  <a:pt x="1237" y="29"/>
                </a:cubicBezTo>
                <a:cubicBezTo>
                  <a:pt x="1242" y="31"/>
                  <a:pt x="1245" y="35"/>
                  <a:pt x="1244" y="40"/>
                </a:cubicBezTo>
                <a:cubicBezTo>
                  <a:pt x="1243" y="44"/>
                  <a:pt x="1239" y="46"/>
                  <a:pt x="1235" y="46"/>
                </a:cubicBezTo>
                <a:close/>
                <a:moveTo>
                  <a:pt x="859" y="29"/>
                </a:moveTo>
                <a:cubicBezTo>
                  <a:pt x="855" y="29"/>
                  <a:pt x="851" y="26"/>
                  <a:pt x="851" y="21"/>
                </a:cubicBezTo>
                <a:cubicBezTo>
                  <a:pt x="850" y="17"/>
                  <a:pt x="853" y="12"/>
                  <a:pt x="858" y="12"/>
                </a:cubicBezTo>
                <a:cubicBezTo>
                  <a:pt x="865" y="11"/>
                  <a:pt x="873" y="10"/>
                  <a:pt x="880" y="9"/>
                </a:cubicBezTo>
                <a:cubicBezTo>
                  <a:pt x="885" y="8"/>
                  <a:pt x="889" y="11"/>
                  <a:pt x="890" y="16"/>
                </a:cubicBezTo>
                <a:cubicBezTo>
                  <a:pt x="890" y="21"/>
                  <a:pt x="887" y="25"/>
                  <a:pt x="882" y="26"/>
                </a:cubicBezTo>
                <a:cubicBezTo>
                  <a:pt x="875" y="26"/>
                  <a:pt x="868" y="27"/>
                  <a:pt x="860" y="29"/>
                </a:cubicBezTo>
                <a:cubicBezTo>
                  <a:pt x="860" y="29"/>
                  <a:pt x="859" y="29"/>
                  <a:pt x="859" y="29"/>
                </a:cubicBezTo>
                <a:close/>
              </a:path>
            </a:pathLst>
          </a:custGeom>
          <a:solidFill>
            <a:schemeClr val="accent2"/>
          </a:solidFill>
          <a:ln>
            <a:noFill/>
          </a:ln>
        </p:spPr>
        <p:txBody>
          <a:bodyPr vert="horz" wrap="square" lIns="45714" tIns="22857" rIns="45714" bIns="22857" numCol="1" anchor="t" anchorCtr="0" compatLnSpc="1">
            <a:prstTxWarp prst="textNoShape">
              <a:avLst/>
            </a:prstTxWarp>
          </a:body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US" sz="900" b="0" i="0" u="none" strike="noStrike" kern="1200" cap="none" spc="0" normalizeH="0" baseline="0" noProof="0">
              <a:ln>
                <a:noFill/>
              </a:ln>
              <a:solidFill>
                <a:srgbClr val="343A3F"/>
              </a:solidFill>
              <a:effectLst/>
              <a:uLnTx/>
              <a:uFillTx/>
              <a:latin typeface="Roboto Light"/>
              <a:ea typeface="+mn-ea"/>
              <a:cs typeface="+mn-cs"/>
            </a:endParaRPr>
          </a:p>
        </p:txBody>
      </p:sp>
      <p:sp>
        <p:nvSpPr>
          <p:cNvPr id="10" name="Freeform 7">
            <a:extLst>
              <a:ext uri="{FF2B5EF4-FFF2-40B4-BE49-F238E27FC236}">
                <a16:creationId xmlns:a16="http://schemas.microsoft.com/office/drawing/2014/main" id="{F75FC93F-C002-43A7-9B2E-F0EA83A412D8}"/>
              </a:ext>
            </a:extLst>
          </p:cNvPr>
          <p:cNvSpPr>
            <a:spLocks noEditPoints="1"/>
          </p:cNvSpPr>
          <p:nvPr/>
        </p:nvSpPr>
        <p:spPr bwMode="auto">
          <a:xfrm>
            <a:off x="4051975" y="1231539"/>
            <a:ext cx="4088051" cy="4090163"/>
          </a:xfrm>
          <a:custGeom>
            <a:avLst/>
            <a:gdLst>
              <a:gd name="T0" fmla="*/ 785 w 1933"/>
              <a:gd name="T1" fmla="*/ 1899 h 1933"/>
              <a:gd name="T2" fmla="*/ 1043 w 1933"/>
              <a:gd name="T3" fmla="*/ 1930 h 1933"/>
              <a:gd name="T4" fmla="*/ 1092 w 1933"/>
              <a:gd name="T5" fmla="*/ 1908 h 1933"/>
              <a:gd name="T6" fmla="*/ 1113 w 1933"/>
              <a:gd name="T7" fmla="*/ 1914 h 1933"/>
              <a:gd name="T8" fmla="*/ 1377 w 1933"/>
              <a:gd name="T9" fmla="*/ 1833 h 1933"/>
              <a:gd name="T10" fmla="*/ 1121 w 1933"/>
              <a:gd name="T11" fmla="*/ 1921 h 1933"/>
              <a:gd name="T12" fmla="*/ 758 w 1933"/>
              <a:gd name="T13" fmla="*/ 1893 h 1933"/>
              <a:gd name="T14" fmla="*/ 596 w 1933"/>
              <a:gd name="T15" fmla="*/ 1859 h 1933"/>
              <a:gd name="T16" fmla="*/ 603 w 1933"/>
              <a:gd name="T17" fmla="*/ 1844 h 1933"/>
              <a:gd name="T18" fmla="*/ 1387 w 1933"/>
              <a:gd name="T19" fmla="*/ 1828 h 1933"/>
              <a:gd name="T20" fmla="*/ 1394 w 1933"/>
              <a:gd name="T21" fmla="*/ 1832 h 1933"/>
              <a:gd name="T22" fmla="*/ 1640 w 1933"/>
              <a:gd name="T23" fmla="*/ 1637 h 1933"/>
              <a:gd name="T24" fmla="*/ 1439 w 1933"/>
              <a:gd name="T25" fmla="*/ 1808 h 1933"/>
              <a:gd name="T26" fmla="*/ 449 w 1933"/>
              <a:gd name="T27" fmla="*/ 1763 h 1933"/>
              <a:gd name="T28" fmla="*/ 310 w 1933"/>
              <a:gd name="T29" fmla="*/ 1676 h 1933"/>
              <a:gd name="T30" fmla="*/ 321 w 1933"/>
              <a:gd name="T31" fmla="*/ 1663 h 1933"/>
              <a:gd name="T32" fmla="*/ 1659 w 1933"/>
              <a:gd name="T33" fmla="*/ 1629 h 1933"/>
              <a:gd name="T34" fmla="*/ 1665 w 1933"/>
              <a:gd name="T35" fmla="*/ 1631 h 1933"/>
              <a:gd name="T36" fmla="*/ 1830 w 1933"/>
              <a:gd name="T37" fmla="*/ 1362 h 1933"/>
              <a:gd name="T38" fmla="*/ 1699 w 1933"/>
              <a:gd name="T39" fmla="*/ 1593 h 1933"/>
              <a:gd name="T40" fmla="*/ 205 w 1933"/>
              <a:gd name="T41" fmla="*/ 1534 h 1933"/>
              <a:gd name="T42" fmla="*/ 105 w 1933"/>
              <a:gd name="T43" fmla="*/ 1403 h 1933"/>
              <a:gd name="T44" fmla="*/ 120 w 1933"/>
              <a:gd name="T45" fmla="*/ 1396 h 1933"/>
              <a:gd name="T46" fmla="*/ 1846 w 1933"/>
              <a:gd name="T47" fmla="*/ 1347 h 1933"/>
              <a:gd name="T48" fmla="*/ 1849 w 1933"/>
              <a:gd name="T49" fmla="*/ 1348 h 1933"/>
              <a:gd name="T50" fmla="*/ 1919 w 1933"/>
              <a:gd name="T51" fmla="*/ 1131 h 1933"/>
              <a:gd name="T52" fmla="*/ 40 w 1933"/>
              <a:gd name="T53" fmla="*/ 1207 h 1933"/>
              <a:gd name="T54" fmla="*/ 27 w 1933"/>
              <a:gd name="T55" fmla="*/ 1189 h 1933"/>
              <a:gd name="T56" fmla="*/ 18 w 1933"/>
              <a:gd name="T57" fmla="*/ 930 h 1933"/>
              <a:gd name="T58" fmla="*/ 35 w 1933"/>
              <a:gd name="T59" fmla="*/ 1196 h 1933"/>
              <a:gd name="T60" fmla="*/ 1926 w 1933"/>
              <a:gd name="T61" fmla="*/ 1080 h 1933"/>
              <a:gd name="T62" fmla="*/ 1916 w 1933"/>
              <a:gd name="T63" fmla="*/ 967 h 1933"/>
              <a:gd name="T64" fmla="*/ 1917 w 1933"/>
              <a:gd name="T65" fmla="*/ 790 h 1933"/>
              <a:gd name="T66" fmla="*/ 1921 w 1933"/>
              <a:gd name="T67" fmla="*/ 1060 h 1933"/>
              <a:gd name="T68" fmla="*/ 22 w 1933"/>
              <a:gd name="T69" fmla="*/ 879 h 1933"/>
              <a:gd name="T70" fmla="*/ 28 w 1933"/>
              <a:gd name="T71" fmla="*/ 737 h 1933"/>
              <a:gd name="T72" fmla="*/ 45 w 1933"/>
              <a:gd name="T73" fmla="*/ 741 h 1933"/>
              <a:gd name="T74" fmla="*/ 1896 w 1933"/>
              <a:gd name="T75" fmla="*/ 734 h 1933"/>
              <a:gd name="T76" fmla="*/ 1882 w 1933"/>
              <a:gd name="T77" fmla="*/ 717 h 1933"/>
              <a:gd name="T78" fmla="*/ 1796 w 1933"/>
              <a:gd name="T79" fmla="*/ 472 h 1933"/>
              <a:gd name="T80" fmla="*/ 1891 w 1933"/>
              <a:gd name="T81" fmla="*/ 723 h 1933"/>
              <a:gd name="T82" fmla="*/ 111 w 1933"/>
              <a:gd name="T83" fmla="*/ 557 h 1933"/>
              <a:gd name="T84" fmla="*/ 166 w 1933"/>
              <a:gd name="T85" fmla="*/ 426 h 1933"/>
              <a:gd name="T86" fmla="*/ 254 w 1933"/>
              <a:gd name="T87" fmla="*/ 340 h 1933"/>
              <a:gd name="T88" fmla="*/ 1767 w 1933"/>
              <a:gd name="T89" fmla="*/ 457 h 1933"/>
              <a:gd name="T90" fmla="*/ 1774 w 1933"/>
              <a:gd name="T91" fmla="*/ 461 h 1933"/>
              <a:gd name="T92" fmla="*/ 1562 w 1933"/>
              <a:gd name="T93" fmla="*/ 228 h 1933"/>
              <a:gd name="T94" fmla="*/ 1752 w 1933"/>
              <a:gd name="T95" fmla="*/ 405 h 1933"/>
              <a:gd name="T96" fmla="*/ 295 w 1933"/>
              <a:gd name="T97" fmla="*/ 273 h 1933"/>
              <a:gd name="T98" fmla="*/ 315 w 1933"/>
              <a:gd name="T99" fmla="*/ 265 h 1933"/>
              <a:gd name="T100" fmla="*/ 539 w 1933"/>
              <a:gd name="T101" fmla="*/ 120 h 1933"/>
              <a:gd name="T102" fmla="*/ 1540 w 1933"/>
              <a:gd name="T103" fmla="*/ 211 h 1933"/>
              <a:gd name="T104" fmla="*/ 1545 w 1933"/>
              <a:gd name="T105" fmla="*/ 212 h 1933"/>
              <a:gd name="T106" fmla="*/ 1263 w 1933"/>
              <a:gd name="T107" fmla="*/ 57 h 1933"/>
              <a:gd name="T108" fmla="*/ 1504 w 1933"/>
              <a:gd name="T109" fmla="*/ 183 h 1933"/>
              <a:gd name="T110" fmla="*/ 584 w 1933"/>
              <a:gd name="T111" fmla="*/ 99 h 1933"/>
              <a:gd name="T112" fmla="*/ 712 w 1933"/>
              <a:gd name="T113" fmla="*/ 35 h 1933"/>
              <a:gd name="T114" fmla="*/ 716 w 1933"/>
              <a:gd name="T115" fmla="*/ 52 h 1933"/>
              <a:gd name="T116" fmla="*/ 1214 w 1933"/>
              <a:gd name="T117" fmla="*/ 42 h 1933"/>
              <a:gd name="T118" fmla="*/ 1193 w 1933"/>
              <a:gd name="T119" fmla="*/ 46 h 1933"/>
              <a:gd name="T120" fmla="*/ 937 w 1933"/>
              <a:gd name="T121" fmla="*/ 1 h 1933"/>
              <a:gd name="T122" fmla="*/ 886 w 1933"/>
              <a:gd name="T123" fmla="*/ 21 h 1933"/>
              <a:gd name="T124" fmla="*/ 909 w 1933"/>
              <a:gd name="T125" fmla="*/ 20 h 19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933" h="1933">
                <a:moveTo>
                  <a:pt x="967" y="1933"/>
                </a:moveTo>
                <a:cubicBezTo>
                  <a:pt x="954" y="1933"/>
                  <a:pt x="941" y="1933"/>
                  <a:pt x="929" y="1933"/>
                </a:cubicBezTo>
                <a:cubicBezTo>
                  <a:pt x="929" y="1933"/>
                  <a:pt x="929" y="1933"/>
                  <a:pt x="929" y="1933"/>
                </a:cubicBezTo>
                <a:cubicBezTo>
                  <a:pt x="880" y="1931"/>
                  <a:pt x="830" y="1925"/>
                  <a:pt x="782" y="1915"/>
                </a:cubicBezTo>
                <a:cubicBezTo>
                  <a:pt x="777" y="1914"/>
                  <a:pt x="774" y="1910"/>
                  <a:pt x="775" y="1905"/>
                </a:cubicBezTo>
                <a:cubicBezTo>
                  <a:pt x="776" y="1901"/>
                  <a:pt x="780" y="1898"/>
                  <a:pt x="785" y="1899"/>
                </a:cubicBezTo>
                <a:cubicBezTo>
                  <a:pt x="833" y="1908"/>
                  <a:pt x="881" y="1914"/>
                  <a:pt x="930" y="1916"/>
                </a:cubicBezTo>
                <a:cubicBezTo>
                  <a:pt x="930" y="1916"/>
                  <a:pt x="930" y="1916"/>
                  <a:pt x="930" y="1916"/>
                </a:cubicBezTo>
                <a:cubicBezTo>
                  <a:pt x="952" y="1917"/>
                  <a:pt x="974" y="1917"/>
                  <a:pt x="995" y="1916"/>
                </a:cubicBezTo>
                <a:cubicBezTo>
                  <a:pt x="1011" y="1916"/>
                  <a:pt x="1026" y="1915"/>
                  <a:pt x="1042" y="1914"/>
                </a:cubicBezTo>
                <a:cubicBezTo>
                  <a:pt x="1046" y="1913"/>
                  <a:pt x="1050" y="1917"/>
                  <a:pt x="1051" y="1921"/>
                </a:cubicBezTo>
                <a:cubicBezTo>
                  <a:pt x="1051" y="1926"/>
                  <a:pt x="1048" y="1930"/>
                  <a:pt x="1043" y="1930"/>
                </a:cubicBezTo>
                <a:cubicBezTo>
                  <a:pt x="1027" y="1932"/>
                  <a:pt x="1011" y="1933"/>
                  <a:pt x="996" y="1933"/>
                </a:cubicBezTo>
                <a:cubicBezTo>
                  <a:pt x="986" y="1933"/>
                  <a:pt x="976" y="1933"/>
                  <a:pt x="967" y="1933"/>
                </a:cubicBezTo>
                <a:close/>
                <a:moveTo>
                  <a:pt x="1070" y="1928"/>
                </a:moveTo>
                <a:cubicBezTo>
                  <a:pt x="1066" y="1928"/>
                  <a:pt x="1063" y="1925"/>
                  <a:pt x="1062" y="1920"/>
                </a:cubicBezTo>
                <a:cubicBezTo>
                  <a:pt x="1062" y="1916"/>
                  <a:pt x="1065" y="1911"/>
                  <a:pt x="1070" y="1911"/>
                </a:cubicBezTo>
                <a:cubicBezTo>
                  <a:pt x="1077" y="1910"/>
                  <a:pt x="1085" y="1909"/>
                  <a:pt x="1092" y="1908"/>
                </a:cubicBezTo>
                <a:cubicBezTo>
                  <a:pt x="1096" y="1908"/>
                  <a:pt x="1101" y="1911"/>
                  <a:pt x="1101" y="1915"/>
                </a:cubicBezTo>
                <a:cubicBezTo>
                  <a:pt x="1102" y="1920"/>
                  <a:pt x="1099" y="1924"/>
                  <a:pt x="1094" y="1925"/>
                </a:cubicBezTo>
                <a:cubicBezTo>
                  <a:pt x="1087" y="1926"/>
                  <a:pt x="1079" y="1927"/>
                  <a:pt x="1071" y="1928"/>
                </a:cubicBezTo>
                <a:cubicBezTo>
                  <a:pt x="1071" y="1928"/>
                  <a:pt x="1071" y="1928"/>
                  <a:pt x="1070" y="1928"/>
                </a:cubicBezTo>
                <a:close/>
                <a:moveTo>
                  <a:pt x="1121" y="1921"/>
                </a:moveTo>
                <a:cubicBezTo>
                  <a:pt x="1117" y="1921"/>
                  <a:pt x="1113" y="1918"/>
                  <a:pt x="1113" y="1914"/>
                </a:cubicBezTo>
                <a:cubicBezTo>
                  <a:pt x="1112" y="1909"/>
                  <a:pt x="1115" y="1905"/>
                  <a:pt x="1120" y="1904"/>
                </a:cubicBezTo>
                <a:cubicBezTo>
                  <a:pt x="1167" y="1896"/>
                  <a:pt x="1215" y="1885"/>
                  <a:pt x="1261" y="1870"/>
                </a:cubicBezTo>
                <a:cubicBezTo>
                  <a:pt x="1261" y="1870"/>
                  <a:pt x="1261" y="1869"/>
                  <a:pt x="1261" y="1869"/>
                </a:cubicBezTo>
                <a:cubicBezTo>
                  <a:pt x="1292" y="1860"/>
                  <a:pt x="1322" y="1848"/>
                  <a:pt x="1351" y="1835"/>
                </a:cubicBezTo>
                <a:cubicBezTo>
                  <a:pt x="1356" y="1833"/>
                  <a:pt x="1361" y="1831"/>
                  <a:pt x="1365" y="1828"/>
                </a:cubicBezTo>
                <a:cubicBezTo>
                  <a:pt x="1370" y="1827"/>
                  <a:pt x="1375" y="1828"/>
                  <a:pt x="1377" y="1833"/>
                </a:cubicBezTo>
                <a:cubicBezTo>
                  <a:pt x="1379" y="1837"/>
                  <a:pt x="1377" y="1842"/>
                  <a:pt x="1372" y="1844"/>
                </a:cubicBezTo>
                <a:cubicBezTo>
                  <a:pt x="1368" y="1846"/>
                  <a:pt x="1363" y="1848"/>
                  <a:pt x="1358" y="1850"/>
                </a:cubicBezTo>
                <a:cubicBezTo>
                  <a:pt x="1328" y="1864"/>
                  <a:pt x="1297" y="1875"/>
                  <a:pt x="1266" y="1886"/>
                </a:cubicBezTo>
                <a:cubicBezTo>
                  <a:pt x="1266" y="1886"/>
                  <a:pt x="1266" y="1886"/>
                  <a:pt x="1266" y="1886"/>
                </a:cubicBezTo>
                <a:cubicBezTo>
                  <a:pt x="1219" y="1901"/>
                  <a:pt x="1171" y="1913"/>
                  <a:pt x="1122" y="1921"/>
                </a:cubicBezTo>
                <a:cubicBezTo>
                  <a:pt x="1122" y="1921"/>
                  <a:pt x="1121" y="1921"/>
                  <a:pt x="1121" y="1921"/>
                </a:cubicBezTo>
                <a:close/>
                <a:moveTo>
                  <a:pt x="756" y="1910"/>
                </a:moveTo>
                <a:cubicBezTo>
                  <a:pt x="755" y="1910"/>
                  <a:pt x="754" y="1910"/>
                  <a:pt x="754" y="1909"/>
                </a:cubicBezTo>
                <a:cubicBezTo>
                  <a:pt x="746" y="1908"/>
                  <a:pt x="739" y="1906"/>
                  <a:pt x="732" y="1904"/>
                </a:cubicBezTo>
                <a:cubicBezTo>
                  <a:pt x="727" y="1903"/>
                  <a:pt x="724" y="1898"/>
                  <a:pt x="725" y="1894"/>
                </a:cubicBezTo>
                <a:cubicBezTo>
                  <a:pt x="727" y="1889"/>
                  <a:pt x="731" y="1887"/>
                  <a:pt x="736" y="1888"/>
                </a:cubicBezTo>
                <a:cubicBezTo>
                  <a:pt x="743" y="1889"/>
                  <a:pt x="750" y="1891"/>
                  <a:pt x="758" y="1893"/>
                </a:cubicBezTo>
                <a:cubicBezTo>
                  <a:pt x="762" y="1894"/>
                  <a:pt x="765" y="1898"/>
                  <a:pt x="764" y="1903"/>
                </a:cubicBezTo>
                <a:cubicBezTo>
                  <a:pt x="763" y="1907"/>
                  <a:pt x="760" y="1910"/>
                  <a:pt x="756" y="1910"/>
                </a:cubicBezTo>
                <a:close/>
                <a:moveTo>
                  <a:pt x="706" y="1897"/>
                </a:moveTo>
                <a:cubicBezTo>
                  <a:pt x="706" y="1897"/>
                  <a:pt x="705" y="1897"/>
                  <a:pt x="704" y="1897"/>
                </a:cubicBezTo>
                <a:cubicBezTo>
                  <a:pt x="679" y="1890"/>
                  <a:pt x="654" y="1881"/>
                  <a:pt x="629" y="1872"/>
                </a:cubicBezTo>
                <a:cubicBezTo>
                  <a:pt x="618" y="1868"/>
                  <a:pt x="607" y="1864"/>
                  <a:pt x="596" y="1859"/>
                </a:cubicBezTo>
                <a:cubicBezTo>
                  <a:pt x="596" y="1859"/>
                  <a:pt x="596" y="1859"/>
                  <a:pt x="596" y="1859"/>
                </a:cubicBezTo>
                <a:cubicBezTo>
                  <a:pt x="551" y="1840"/>
                  <a:pt x="506" y="1818"/>
                  <a:pt x="464" y="1792"/>
                </a:cubicBezTo>
                <a:cubicBezTo>
                  <a:pt x="460" y="1790"/>
                  <a:pt x="459" y="1785"/>
                  <a:pt x="461" y="1781"/>
                </a:cubicBezTo>
                <a:cubicBezTo>
                  <a:pt x="464" y="1777"/>
                  <a:pt x="469" y="1775"/>
                  <a:pt x="473" y="1778"/>
                </a:cubicBezTo>
                <a:cubicBezTo>
                  <a:pt x="514" y="1803"/>
                  <a:pt x="558" y="1825"/>
                  <a:pt x="603" y="1844"/>
                </a:cubicBezTo>
                <a:cubicBezTo>
                  <a:pt x="603" y="1844"/>
                  <a:pt x="603" y="1844"/>
                  <a:pt x="603" y="1844"/>
                </a:cubicBezTo>
                <a:cubicBezTo>
                  <a:pt x="614" y="1848"/>
                  <a:pt x="624" y="1852"/>
                  <a:pt x="635" y="1856"/>
                </a:cubicBezTo>
                <a:cubicBezTo>
                  <a:pt x="659" y="1865"/>
                  <a:pt x="684" y="1873"/>
                  <a:pt x="709" y="1880"/>
                </a:cubicBezTo>
                <a:cubicBezTo>
                  <a:pt x="713" y="1882"/>
                  <a:pt x="716" y="1886"/>
                  <a:pt x="715" y="1891"/>
                </a:cubicBezTo>
                <a:cubicBezTo>
                  <a:pt x="713" y="1895"/>
                  <a:pt x="710" y="1897"/>
                  <a:pt x="706" y="1897"/>
                </a:cubicBezTo>
                <a:close/>
                <a:moveTo>
                  <a:pt x="1394" y="1832"/>
                </a:moveTo>
                <a:cubicBezTo>
                  <a:pt x="1391" y="1832"/>
                  <a:pt x="1388" y="1831"/>
                  <a:pt x="1387" y="1828"/>
                </a:cubicBezTo>
                <a:cubicBezTo>
                  <a:pt x="1385" y="1824"/>
                  <a:pt x="1386" y="1818"/>
                  <a:pt x="1391" y="1816"/>
                </a:cubicBezTo>
                <a:cubicBezTo>
                  <a:pt x="1397" y="1813"/>
                  <a:pt x="1404" y="1810"/>
                  <a:pt x="1411" y="1806"/>
                </a:cubicBezTo>
                <a:cubicBezTo>
                  <a:pt x="1415" y="1804"/>
                  <a:pt x="1420" y="1805"/>
                  <a:pt x="1422" y="1810"/>
                </a:cubicBezTo>
                <a:cubicBezTo>
                  <a:pt x="1424" y="1814"/>
                  <a:pt x="1423" y="1819"/>
                  <a:pt x="1418" y="1821"/>
                </a:cubicBezTo>
                <a:cubicBezTo>
                  <a:pt x="1412" y="1825"/>
                  <a:pt x="1405" y="1828"/>
                  <a:pt x="1398" y="1832"/>
                </a:cubicBezTo>
                <a:cubicBezTo>
                  <a:pt x="1397" y="1832"/>
                  <a:pt x="1396" y="1832"/>
                  <a:pt x="1394" y="1832"/>
                </a:cubicBezTo>
                <a:close/>
                <a:moveTo>
                  <a:pt x="1439" y="1808"/>
                </a:moveTo>
                <a:cubicBezTo>
                  <a:pt x="1436" y="1808"/>
                  <a:pt x="1433" y="1807"/>
                  <a:pt x="1432" y="1804"/>
                </a:cubicBezTo>
                <a:cubicBezTo>
                  <a:pt x="1430" y="1800"/>
                  <a:pt x="1431" y="1795"/>
                  <a:pt x="1435" y="1793"/>
                </a:cubicBezTo>
                <a:cubicBezTo>
                  <a:pt x="1477" y="1769"/>
                  <a:pt x="1518" y="1741"/>
                  <a:pt x="1556" y="1711"/>
                </a:cubicBezTo>
                <a:cubicBezTo>
                  <a:pt x="1556" y="1711"/>
                  <a:pt x="1556" y="1711"/>
                  <a:pt x="1556" y="1711"/>
                </a:cubicBezTo>
                <a:cubicBezTo>
                  <a:pt x="1585" y="1688"/>
                  <a:pt x="1613" y="1663"/>
                  <a:pt x="1640" y="1637"/>
                </a:cubicBezTo>
                <a:cubicBezTo>
                  <a:pt x="1643" y="1633"/>
                  <a:pt x="1648" y="1633"/>
                  <a:pt x="1652" y="1637"/>
                </a:cubicBezTo>
                <a:cubicBezTo>
                  <a:pt x="1655" y="1640"/>
                  <a:pt x="1655" y="1645"/>
                  <a:pt x="1652" y="1649"/>
                </a:cubicBezTo>
                <a:cubicBezTo>
                  <a:pt x="1625" y="1676"/>
                  <a:pt x="1596" y="1701"/>
                  <a:pt x="1566" y="1725"/>
                </a:cubicBezTo>
                <a:cubicBezTo>
                  <a:pt x="1566" y="1725"/>
                  <a:pt x="1566" y="1725"/>
                  <a:pt x="1566" y="1725"/>
                </a:cubicBezTo>
                <a:cubicBezTo>
                  <a:pt x="1528" y="1755"/>
                  <a:pt x="1486" y="1783"/>
                  <a:pt x="1443" y="1807"/>
                </a:cubicBezTo>
                <a:cubicBezTo>
                  <a:pt x="1442" y="1808"/>
                  <a:pt x="1441" y="1808"/>
                  <a:pt x="1439" y="1808"/>
                </a:cubicBezTo>
                <a:close/>
                <a:moveTo>
                  <a:pt x="445" y="1778"/>
                </a:moveTo>
                <a:cubicBezTo>
                  <a:pt x="443" y="1778"/>
                  <a:pt x="441" y="1778"/>
                  <a:pt x="440" y="1777"/>
                </a:cubicBezTo>
                <a:cubicBezTo>
                  <a:pt x="434" y="1773"/>
                  <a:pt x="427" y="1769"/>
                  <a:pt x="421" y="1764"/>
                </a:cubicBezTo>
                <a:cubicBezTo>
                  <a:pt x="417" y="1762"/>
                  <a:pt x="416" y="1757"/>
                  <a:pt x="419" y="1753"/>
                </a:cubicBezTo>
                <a:cubicBezTo>
                  <a:pt x="421" y="1749"/>
                  <a:pt x="427" y="1748"/>
                  <a:pt x="430" y="1750"/>
                </a:cubicBezTo>
                <a:cubicBezTo>
                  <a:pt x="437" y="1755"/>
                  <a:pt x="443" y="1759"/>
                  <a:pt x="449" y="1763"/>
                </a:cubicBezTo>
                <a:cubicBezTo>
                  <a:pt x="453" y="1765"/>
                  <a:pt x="454" y="1771"/>
                  <a:pt x="452" y="1775"/>
                </a:cubicBezTo>
                <a:cubicBezTo>
                  <a:pt x="450" y="1777"/>
                  <a:pt x="447" y="1778"/>
                  <a:pt x="445" y="1778"/>
                </a:cubicBezTo>
                <a:close/>
                <a:moveTo>
                  <a:pt x="403" y="1750"/>
                </a:moveTo>
                <a:cubicBezTo>
                  <a:pt x="401" y="1750"/>
                  <a:pt x="399" y="1749"/>
                  <a:pt x="398" y="1748"/>
                </a:cubicBezTo>
                <a:cubicBezTo>
                  <a:pt x="368" y="1726"/>
                  <a:pt x="339" y="1703"/>
                  <a:pt x="312" y="1678"/>
                </a:cubicBezTo>
                <a:cubicBezTo>
                  <a:pt x="310" y="1676"/>
                  <a:pt x="310" y="1676"/>
                  <a:pt x="310" y="1676"/>
                </a:cubicBezTo>
                <a:cubicBezTo>
                  <a:pt x="310" y="1676"/>
                  <a:pt x="310" y="1676"/>
                  <a:pt x="310" y="1676"/>
                </a:cubicBezTo>
                <a:cubicBezTo>
                  <a:pt x="273" y="1642"/>
                  <a:pt x="240" y="1605"/>
                  <a:pt x="209" y="1567"/>
                </a:cubicBezTo>
                <a:cubicBezTo>
                  <a:pt x="206" y="1563"/>
                  <a:pt x="207" y="1558"/>
                  <a:pt x="210" y="1555"/>
                </a:cubicBezTo>
                <a:cubicBezTo>
                  <a:pt x="214" y="1552"/>
                  <a:pt x="219" y="1552"/>
                  <a:pt x="222" y="1556"/>
                </a:cubicBezTo>
                <a:cubicBezTo>
                  <a:pt x="252" y="1594"/>
                  <a:pt x="286" y="1630"/>
                  <a:pt x="321" y="1663"/>
                </a:cubicBezTo>
                <a:cubicBezTo>
                  <a:pt x="321" y="1663"/>
                  <a:pt x="321" y="1663"/>
                  <a:pt x="321" y="1663"/>
                </a:cubicBezTo>
                <a:cubicBezTo>
                  <a:pt x="324" y="1666"/>
                  <a:pt x="324" y="1666"/>
                  <a:pt x="324" y="1666"/>
                </a:cubicBezTo>
                <a:cubicBezTo>
                  <a:pt x="350" y="1690"/>
                  <a:pt x="378" y="1713"/>
                  <a:pt x="408" y="1734"/>
                </a:cubicBezTo>
                <a:cubicBezTo>
                  <a:pt x="411" y="1737"/>
                  <a:pt x="412" y="1742"/>
                  <a:pt x="409" y="1746"/>
                </a:cubicBezTo>
                <a:cubicBezTo>
                  <a:pt x="408" y="1748"/>
                  <a:pt x="405" y="1750"/>
                  <a:pt x="403" y="1750"/>
                </a:cubicBezTo>
                <a:close/>
                <a:moveTo>
                  <a:pt x="1665" y="1631"/>
                </a:moveTo>
                <a:cubicBezTo>
                  <a:pt x="1663" y="1631"/>
                  <a:pt x="1661" y="1630"/>
                  <a:pt x="1659" y="1629"/>
                </a:cubicBezTo>
                <a:cubicBezTo>
                  <a:pt x="1656" y="1625"/>
                  <a:pt x="1656" y="1620"/>
                  <a:pt x="1659" y="1617"/>
                </a:cubicBezTo>
                <a:cubicBezTo>
                  <a:pt x="1664" y="1611"/>
                  <a:pt x="1669" y="1606"/>
                  <a:pt x="1674" y="1600"/>
                </a:cubicBezTo>
                <a:cubicBezTo>
                  <a:pt x="1677" y="1597"/>
                  <a:pt x="1683" y="1596"/>
                  <a:pt x="1686" y="1599"/>
                </a:cubicBezTo>
                <a:cubicBezTo>
                  <a:pt x="1690" y="1603"/>
                  <a:pt x="1690" y="1608"/>
                  <a:pt x="1687" y="1611"/>
                </a:cubicBezTo>
                <a:cubicBezTo>
                  <a:pt x="1682" y="1617"/>
                  <a:pt x="1677" y="1623"/>
                  <a:pt x="1671" y="1628"/>
                </a:cubicBezTo>
                <a:cubicBezTo>
                  <a:pt x="1670" y="1630"/>
                  <a:pt x="1668" y="1631"/>
                  <a:pt x="1665" y="1631"/>
                </a:cubicBezTo>
                <a:close/>
                <a:moveTo>
                  <a:pt x="1699" y="1593"/>
                </a:moveTo>
                <a:cubicBezTo>
                  <a:pt x="1697" y="1593"/>
                  <a:pt x="1695" y="1592"/>
                  <a:pt x="1694" y="1591"/>
                </a:cubicBezTo>
                <a:cubicBezTo>
                  <a:pt x="1690" y="1588"/>
                  <a:pt x="1690" y="1582"/>
                  <a:pt x="1693" y="1579"/>
                </a:cubicBezTo>
                <a:cubicBezTo>
                  <a:pt x="1724" y="1542"/>
                  <a:pt x="1752" y="1502"/>
                  <a:pt x="1778" y="1461"/>
                </a:cubicBezTo>
                <a:cubicBezTo>
                  <a:pt x="1778" y="1461"/>
                  <a:pt x="1778" y="1461"/>
                  <a:pt x="1778" y="1461"/>
                </a:cubicBezTo>
                <a:cubicBezTo>
                  <a:pt x="1797" y="1429"/>
                  <a:pt x="1815" y="1395"/>
                  <a:pt x="1830" y="1362"/>
                </a:cubicBezTo>
                <a:cubicBezTo>
                  <a:pt x="1832" y="1357"/>
                  <a:pt x="1837" y="1355"/>
                  <a:pt x="1841" y="1357"/>
                </a:cubicBezTo>
                <a:cubicBezTo>
                  <a:pt x="1846" y="1359"/>
                  <a:pt x="1847" y="1364"/>
                  <a:pt x="1846" y="1369"/>
                </a:cubicBezTo>
                <a:cubicBezTo>
                  <a:pt x="1830" y="1403"/>
                  <a:pt x="1812" y="1437"/>
                  <a:pt x="1792" y="1469"/>
                </a:cubicBezTo>
                <a:cubicBezTo>
                  <a:pt x="1792" y="1469"/>
                  <a:pt x="1792" y="1469"/>
                  <a:pt x="1792" y="1469"/>
                </a:cubicBezTo>
                <a:cubicBezTo>
                  <a:pt x="1766" y="1512"/>
                  <a:pt x="1737" y="1552"/>
                  <a:pt x="1706" y="1590"/>
                </a:cubicBezTo>
                <a:cubicBezTo>
                  <a:pt x="1704" y="1592"/>
                  <a:pt x="1702" y="1593"/>
                  <a:pt x="1699" y="1593"/>
                </a:cubicBezTo>
                <a:close/>
                <a:moveTo>
                  <a:pt x="198" y="1547"/>
                </a:moveTo>
                <a:cubicBezTo>
                  <a:pt x="196" y="1547"/>
                  <a:pt x="193" y="1546"/>
                  <a:pt x="192" y="1544"/>
                </a:cubicBezTo>
                <a:cubicBezTo>
                  <a:pt x="187" y="1538"/>
                  <a:pt x="183" y="1532"/>
                  <a:pt x="178" y="1525"/>
                </a:cubicBezTo>
                <a:cubicBezTo>
                  <a:pt x="176" y="1522"/>
                  <a:pt x="176" y="1516"/>
                  <a:pt x="180" y="1514"/>
                </a:cubicBezTo>
                <a:cubicBezTo>
                  <a:pt x="184" y="1511"/>
                  <a:pt x="189" y="1512"/>
                  <a:pt x="192" y="1516"/>
                </a:cubicBezTo>
                <a:cubicBezTo>
                  <a:pt x="196" y="1522"/>
                  <a:pt x="201" y="1528"/>
                  <a:pt x="205" y="1534"/>
                </a:cubicBezTo>
                <a:cubicBezTo>
                  <a:pt x="208" y="1538"/>
                  <a:pt x="207" y="1543"/>
                  <a:pt x="204" y="1546"/>
                </a:cubicBezTo>
                <a:cubicBezTo>
                  <a:pt x="202" y="1547"/>
                  <a:pt x="200" y="1547"/>
                  <a:pt x="198" y="1547"/>
                </a:cubicBezTo>
                <a:close/>
                <a:moveTo>
                  <a:pt x="169" y="1506"/>
                </a:moveTo>
                <a:cubicBezTo>
                  <a:pt x="166" y="1506"/>
                  <a:pt x="164" y="1504"/>
                  <a:pt x="162" y="1502"/>
                </a:cubicBezTo>
                <a:cubicBezTo>
                  <a:pt x="141" y="1470"/>
                  <a:pt x="122" y="1437"/>
                  <a:pt x="105" y="1403"/>
                </a:cubicBezTo>
                <a:cubicBezTo>
                  <a:pt x="105" y="1403"/>
                  <a:pt x="105" y="1403"/>
                  <a:pt x="105" y="1403"/>
                </a:cubicBezTo>
                <a:cubicBezTo>
                  <a:pt x="101" y="1395"/>
                  <a:pt x="97" y="1387"/>
                  <a:pt x="93" y="1379"/>
                </a:cubicBezTo>
                <a:cubicBezTo>
                  <a:pt x="76" y="1342"/>
                  <a:pt x="61" y="1305"/>
                  <a:pt x="48" y="1266"/>
                </a:cubicBezTo>
                <a:cubicBezTo>
                  <a:pt x="47" y="1262"/>
                  <a:pt x="49" y="1257"/>
                  <a:pt x="54" y="1256"/>
                </a:cubicBezTo>
                <a:cubicBezTo>
                  <a:pt x="58" y="1254"/>
                  <a:pt x="63" y="1257"/>
                  <a:pt x="64" y="1261"/>
                </a:cubicBezTo>
                <a:cubicBezTo>
                  <a:pt x="77" y="1299"/>
                  <a:pt x="91" y="1336"/>
                  <a:pt x="108" y="1371"/>
                </a:cubicBezTo>
                <a:cubicBezTo>
                  <a:pt x="112" y="1379"/>
                  <a:pt x="116" y="1388"/>
                  <a:pt x="120" y="1396"/>
                </a:cubicBezTo>
                <a:cubicBezTo>
                  <a:pt x="120" y="1396"/>
                  <a:pt x="120" y="1396"/>
                  <a:pt x="120" y="1396"/>
                </a:cubicBezTo>
                <a:cubicBezTo>
                  <a:pt x="137" y="1429"/>
                  <a:pt x="156" y="1461"/>
                  <a:pt x="176" y="1493"/>
                </a:cubicBezTo>
                <a:cubicBezTo>
                  <a:pt x="179" y="1496"/>
                  <a:pt x="178" y="1502"/>
                  <a:pt x="174" y="1504"/>
                </a:cubicBezTo>
                <a:cubicBezTo>
                  <a:pt x="172" y="1505"/>
                  <a:pt x="171" y="1506"/>
                  <a:pt x="169" y="1506"/>
                </a:cubicBezTo>
                <a:close/>
                <a:moveTo>
                  <a:pt x="1849" y="1348"/>
                </a:moveTo>
                <a:cubicBezTo>
                  <a:pt x="1848" y="1348"/>
                  <a:pt x="1847" y="1348"/>
                  <a:pt x="1846" y="1347"/>
                </a:cubicBezTo>
                <a:cubicBezTo>
                  <a:pt x="1842" y="1345"/>
                  <a:pt x="1840" y="1340"/>
                  <a:pt x="1841" y="1336"/>
                </a:cubicBezTo>
                <a:cubicBezTo>
                  <a:pt x="1844" y="1330"/>
                  <a:pt x="1846" y="1325"/>
                  <a:pt x="1848" y="1319"/>
                </a:cubicBezTo>
                <a:cubicBezTo>
                  <a:pt x="1850" y="1315"/>
                  <a:pt x="1855" y="1313"/>
                  <a:pt x="1859" y="1314"/>
                </a:cubicBezTo>
                <a:cubicBezTo>
                  <a:pt x="1864" y="1316"/>
                  <a:pt x="1866" y="1321"/>
                  <a:pt x="1864" y="1325"/>
                </a:cubicBezTo>
                <a:cubicBezTo>
                  <a:pt x="1862" y="1331"/>
                  <a:pt x="1859" y="1337"/>
                  <a:pt x="1857" y="1343"/>
                </a:cubicBezTo>
                <a:cubicBezTo>
                  <a:pt x="1856" y="1346"/>
                  <a:pt x="1852" y="1348"/>
                  <a:pt x="1849" y="1348"/>
                </a:cubicBezTo>
                <a:close/>
                <a:moveTo>
                  <a:pt x="1885" y="1248"/>
                </a:moveTo>
                <a:cubicBezTo>
                  <a:pt x="1884" y="1248"/>
                  <a:pt x="1883" y="1248"/>
                  <a:pt x="1882" y="1248"/>
                </a:cubicBezTo>
                <a:cubicBezTo>
                  <a:pt x="1878" y="1247"/>
                  <a:pt x="1875" y="1242"/>
                  <a:pt x="1877" y="1237"/>
                </a:cubicBezTo>
                <a:cubicBezTo>
                  <a:pt x="1887" y="1202"/>
                  <a:pt x="1896" y="1165"/>
                  <a:pt x="1902" y="1128"/>
                </a:cubicBezTo>
                <a:cubicBezTo>
                  <a:pt x="1903" y="1124"/>
                  <a:pt x="1907" y="1120"/>
                  <a:pt x="1912" y="1121"/>
                </a:cubicBezTo>
                <a:cubicBezTo>
                  <a:pt x="1917" y="1122"/>
                  <a:pt x="1920" y="1126"/>
                  <a:pt x="1919" y="1131"/>
                </a:cubicBezTo>
                <a:cubicBezTo>
                  <a:pt x="1912" y="1169"/>
                  <a:pt x="1904" y="1206"/>
                  <a:pt x="1893" y="1242"/>
                </a:cubicBezTo>
                <a:cubicBezTo>
                  <a:pt x="1892" y="1246"/>
                  <a:pt x="1888" y="1248"/>
                  <a:pt x="1885" y="1248"/>
                </a:cubicBezTo>
                <a:close/>
                <a:moveTo>
                  <a:pt x="48" y="1245"/>
                </a:moveTo>
                <a:cubicBezTo>
                  <a:pt x="44" y="1245"/>
                  <a:pt x="41" y="1243"/>
                  <a:pt x="40" y="1239"/>
                </a:cubicBezTo>
                <a:cubicBezTo>
                  <a:pt x="38" y="1232"/>
                  <a:pt x="36" y="1224"/>
                  <a:pt x="34" y="1217"/>
                </a:cubicBezTo>
                <a:cubicBezTo>
                  <a:pt x="32" y="1213"/>
                  <a:pt x="35" y="1208"/>
                  <a:pt x="40" y="1207"/>
                </a:cubicBezTo>
                <a:cubicBezTo>
                  <a:pt x="44" y="1205"/>
                  <a:pt x="49" y="1208"/>
                  <a:pt x="50" y="1213"/>
                </a:cubicBezTo>
                <a:cubicBezTo>
                  <a:pt x="52" y="1220"/>
                  <a:pt x="54" y="1227"/>
                  <a:pt x="56" y="1234"/>
                </a:cubicBezTo>
                <a:cubicBezTo>
                  <a:pt x="57" y="1239"/>
                  <a:pt x="55" y="1243"/>
                  <a:pt x="50" y="1245"/>
                </a:cubicBezTo>
                <a:cubicBezTo>
                  <a:pt x="49" y="1245"/>
                  <a:pt x="49" y="1245"/>
                  <a:pt x="48" y="1245"/>
                </a:cubicBezTo>
                <a:close/>
                <a:moveTo>
                  <a:pt x="35" y="1196"/>
                </a:moveTo>
                <a:cubicBezTo>
                  <a:pt x="31" y="1196"/>
                  <a:pt x="27" y="1193"/>
                  <a:pt x="27" y="1189"/>
                </a:cubicBezTo>
                <a:cubicBezTo>
                  <a:pt x="18" y="1152"/>
                  <a:pt x="11" y="1115"/>
                  <a:pt x="7" y="1077"/>
                </a:cubicBezTo>
                <a:cubicBezTo>
                  <a:pt x="5" y="1058"/>
                  <a:pt x="3" y="1038"/>
                  <a:pt x="2" y="1018"/>
                </a:cubicBezTo>
                <a:cubicBezTo>
                  <a:pt x="1" y="1001"/>
                  <a:pt x="0" y="984"/>
                  <a:pt x="0" y="967"/>
                </a:cubicBezTo>
                <a:cubicBezTo>
                  <a:pt x="0" y="954"/>
                  <a:pt x="1" y="942"/>
                  <a:pt x="1" y="929"/>
                </a:cubicBezTo>
                <a:cubicBezTo>
                  <a:pt x="1" y="924"/>
                  <a:pt x="6" y="921"/>
                  <a:pt x="10" y="921"/>
                </a:cubicBezTo>
                <a:cubicBezTo>
                  <a:pt x="15" y="921"/>
                  <a:pt x="18" y="925"/>
                  <a:pt x="18" y="930"/>
                </a:cubicBezTo>
                <a:cubicBezTo>
                  <a:pt x="18" y="942"/>
                  <a:pt x="17" y="955"/>
                  <a:pt x="17" y="967"/>
                </a:cubicBezTo>
                <a:cubicBezTo>
                  <a:pt x="17" y="984"/>
                  <a:pt x="18" y="1001"/>
                  <a:pt x="19" y="1017"/>
                </a:cubicBezTo>
                <a:cubicBezTo>
                  <a:pt x="20" y="1037"/>
                  <a:pt x="21" y="1056"/>
                  <a:pt x="24" y="1075"/>
                </a:cubicBezTo>
                <a:cubicBezTo>
                  <a:pt x="28" y="1112"/>
                  <a:pt x="34" y="1149"/>
                  <a:pt x="43" y="1185"/>
                </a:cubicBezTo>
                <a:cubicBezTo>
                  <a:pt x="44" y="1190"/>
                  <a:pt x="41" y="1195"/>
                  <a:pt x="37" y="1196"/>
                </a:cubicBezTo>
                <a:cubicBezTo>
                  <a:pt x="36" y="1196"/>
                  <a:pt x="35" y="1196"/>
                  <a:pt x="35" y="1196"/>
                </a:cubicBezTo>
                <a:close/>
                <a:moveTo>
                  <a:pt x="1915" y="1110"/>
                </a:moveTo>
                <a:cubicBezTo>
                  <a:pt x="1915" y="1110"/>
                  <a:pt x="1914" y="1110"/>
                  <a:pt x="1914" y="1110"/>
                </a:cubicBezTo>
                <a:cubicBezTo>
                  <a:pt x="1909" y="1109"/>
                  <a:pt x="1906" y="1105"/>
                  <a:pt x="1907" y="1100"/>
                </a:cubicBezTo>
                <a:cubicBezTo>
                  <a:pt x="1908" y="1093"/>
                  <a:pt x="1909" y="1086"/>
                  <a:pt x="1909" y="1078"/>
                </a:cubicBezTo>
                <a:cubicBezTo>
                  <a:pt x="1910" y="1074"/>
                  <a:pt x="1914" y="1070"/>
                  <a:pt x="1919" y="1071"/>
                </a:cubicBezTo>
                <a:cubicBezTo>
                  <a:pt x="1924" y="1071"/>
                  <a:pt x="1927" y="1076"/>
                  <a:pt x="1926" y="1080"/>
                </a:cubicBezTo>
                <a:cubicBezTo>
                  <a:pt x="1925" y="1088"/>
                  <a:pt x="1924" y="1095"/>
                  <a:pt x="1923" y="1103"/>
                </a:cubicBezTo>
                <a:cubicBezTo>
                  <a:pt x="1923" y="1107"/>
                  <a:pt x="1919" y="1110"/>
                  <a:pt x="1915" y="1110"/>
                </a:cubicBezTo>
                <a:close/>
                <a:moveTo>
                  <a:pt x="1921" y="1060"/>
                </a:moveTo>
                <a:cubicBezTo>
                  <a:pt x="1921" y="1060"/>
                  <a:pt x="1920" y="1060"/>
                  <a:pt x="1920" y="1060"/>
                </a:cubicBezTo>
                <a:cubicBezTo>
                  <a:pt x="1915" y="1059"/>
                  <a:pt x="1912" y="1055"/>
                  <a:pt x="1912" y="1050"/>
                </a:cubicBezTo>
                <a:cubicBezTo>
                  <a:pt x="1915" y="1023"/>
                  <a:pt x="1916" y="995"/>
                  <a:pt x="1916" y="967"/>
                </a:cubicBezTo>
                <a:cubicBezTo>
                  <a:pt x="1916" y="946"/>
                  <a:pt x="1915" y="925"/>
                  <a:pt x="1914" y="905"/>
                </a:cubicBezTo>
                <a:cubicBezTo>
                  <a:pt x="1914" y="905"/>
                  <a:pt x="1914" y="905"/>
                  <a:pt x="1914" y="905"/>
                </a:cubicBezTo>
                <a:cubicBezTo>
                  <a:pt x="1913" y="894"/>
                  <a:pt x="1912" y="884"/>
                  <a:pt x="1911" y="874"/>
                </a:cubicBezTo>
                <a:cubicBezTo>
                  <a:pt x="1909" y="847"/>
                  <a:pt x="1905" y="820"/>
                  <a:pt x="1900" y="794"/>
                </a:cubicBezTo>
                <a:cubicBezTo>
                  <a:pt x="1899" y="789"/>
                  <a:pt x="1902" y="785"/>
                  <a:pt x="1907" y="784"/>
                </a:cubicBezTo>
                <a:cubicBezTo>
                  <a:pt x="1911" y="783"/>
                  <a:pt x="1916" y="786"/>
                  <a:pt x="1917" y="790"/>
                </a:cubicBezTo>
                <a:cubicBezTo>
                  <a:pt x="1922" y="817"/>
                  <a:pt x="1926" y="845"/>
                  <a:pt x="1928" y="872"/>
                </a:cubicBezTo>
                <a:cubicBezTo>
                  <a:pt x="1929" y="883"/>
                  <a:pt x="1930" y="893"/>
                  <a:pt x="1931" y="904"/>
                </a:cubicBezTo>
                <a:cubicBezTo>
                  <a:pt x="1931" y="904"/>
                  <a:pt x="1931" y="904"/>
                  <a:pt x="1931" y="904"/>
                </a:cubicBezTo>
                <a:cubicBezTo>
                  <a:pt x="1932" y="925"/>
                  <a:pt x="1933" y="946"/>
                  <a:pt x="1933" y="967"/>
                </a:cubicBezTo>
                <a:cubicBezTo>
                  <a:pt x="1933" y="995"/>
                  <a:pt x="1932" y="1024"/>
                  <a:pt x="1929" y="1052"/>
                </a:cubicBezTo>
                <a:cubicBezTo>
                  <a:pt x="1929" y="1056"/>
                  <a:pt x="1925" y="1060"/>
                  <a:pt x="1921" y="1060"/>
                </a:cubicBezTo>
                <a:close/>
                <a:moveTo>
                  <a:pt x="11" y="910"/>
                </a:moveTo>
                <a:cubicBezTo>
                  <a:pt x="11" y="910"/>
                  <a:pt x="11" y="909"/>
                  <a:pt x="11" y="909"/>
                </a:cubicBezTo>
                <a:cubicBezTo>
                  <a:pt x="6" y="909"/>
                  <a:pt x="2" y="905"/>
                  <a:pt x="3" y="900"/>
                </a:cubicBezTo>
                <a:cubicBezTo>
                  <a:pt x="3" y="893"/>
                  <a:pt x="4" y="885"/>
                  <a:pt x="5" y="878"/>
                </a:cubicBezTo>
                <a:cubicBezTo>
                  <a:pt x="5" y="873"/>
                  <a:pt x="9" y="870"/>
                  <a:pt x="14" y="870"/>
                </a:cubicBezTo>
                <a:cubicBezTo>
                  <a:pt x="19" y="870"/>
                  <a:pt x="22" y="875"/>
                  <a:pt x="22" y="879"/>
                </a:cubicBezTo>
                <a:cubicBezTo>
                  <a:pt x="21" y="887"/>
                  <a:pt x="20" y="894"/>
                  <a:pt x="20" y="902"/>
                </a:cubicBezTo>
                <a:cubicBezTo>
                  <a:pt x="19" y="906"/>
                  <a:pt x="16" y="910"/>
                  <a:pt x="11" y="910"/>
                </a:cubicBezTo>
                <a:close/>
                <a:moveTo>
                  <a:pt x="16" y="859"/>
                </a:moveTo>
                <a:cubicBezTo>
                  <a:pt x="16" y="859"/>
                  <a:pt x="15" y="859"/>
                  <a:pt x="15" y="859"/>
                </a:cubicBezTo>
                <a:cubicBezTo>
                  <a:pt x="10" y="858"/>
                  <a:pt x="7" y="854"/>
                  <a:pt x="8" y="849"/>
                </a:cubicBezTo>
                <a:cubicBezTo>
                  <a:pt x="12" y="812"/>
                  <a:pt x="19" y="774"/>
                  <a:pt x="28" y="737"/>
                </a:cubicBezTo>
                <a:cubicBezTo>
                  <a:pt x="36" y="708"/>
                  <a:pt x="44" y="679"/>
                  <a:pt x="54" y="650"/>
                </a:cubicBezTo>
                <a:cubicBezTo>
                  <a:pt x="60" y="632"/>
                  <a:pt x="67" y="614"/>
                  <a:pt x="75" y="596"/>
                </a:cubicBezTo>
                <a:cubicBezTo>
                  <a:pt x="76" y="592"/>
                  <a:pt x="81" y="590"/>
                  <a:pt x="86" y="592"/>
                </a:cubicBezTo>
                <a:cubicBezTo>
                  <a:pt x="90" y="593"/>
                  <a:pt x="92" y="598"/>
                  <a:pt x="90" y="603"/>
                </a:cubicBezTo>
                <a:cubicBezTo>
                  <a:pt x="83" y="620"/>
                  <a:pt x="76" y="638"/>
                  <a:pt x="70" y="656"/>
                </a:cubicBezTo>
                <a:cubicBezTo>
                  <a:pt x="60" y="684"/>
                  <a:pt x="52" y="712"/>
                  <a:pt x="45" y="741"/>
                </a:cubicBezTo>
                <a:cubicBezTo>
                  <a:pt x="36" y="777"/>
                  <a:pt x="29" y="814"/>
                  <a:pt x="25" y="851"/>
                </a:cubicBezTo>
                <a:cubicBezTo>
                  <a:pt x="24" y="856"/>
                  <a:pt x="20" y="859"/>
                  <a:pt x="16" y="859"/>
                </a:cubicBezTo>
                <a:close/>
                <a:moveTo>
                  <a:pt x="1903" y="773"/>
                </a:moveTo>
                <a:cubicBezTo>
                  <a:pt x="1899" y="773"/>
                  <a:pt x="1895" y="770"/>
                  <a:pt x="1894" y="766"/>
                </a:cubicBezTo>
                <a:cubicBezTo>
                  <a:pt x="1893" y="759"/>
                  <a:pt x="1891" y="751"/>
                  <a:pt x="1889" y="744"/>
                </a:cubicBezTo>
                <a:cubicBezTo>
                  <a:pt x="1888" y="740"/>
                  <a:pt x="1891" y="735"/>
                  <a:pt x="1896" y="734"/>
                </a:cubicBezTo>
                <a:cubicBezTo>
                  <a:pt x="1900" y="733"/>
                  <a:pt x="1905" y="736"/>
                  <a:pt x="1906" y="740"/>
                </a:cubicBezTo>
                <a:cubicBezTo>
                  <a:pt x="1908" y="748"/>
                  <a:pt x="1909" y="755"/>
                  <a:pt x="1911" y="762"/>
                </a:cubicBezTo>
                <a:cubicBezTo>
                  <a:pt x="1912" y="767"/>
                  <a:pt x="1909" y="772"/>
                  <a:pt x="1904" y="773"/>
                </a:cubicBezTo>
                <a:cubicBezTo>
                  <a:pt x="1904" y="773"/>
                  <a:pt x="1903" y="773"/>
                  <a:pt x="1903" y="773"/>
                </a:cubicBezTo>
                <a:close/>
                <a:moveTo>
                  <a:pt x="1891" y="723"/>
                </a:moveTo>
                <a:cubicBezTo>
                  <a:pt x="1887" y="723"/>
                  <a:pt x="1883" y="721"/>
                  <a:pt x="1882" y="717"/>
                </a:cubicBezTo>
                <a:cubicBezTo>
                  <a:pt x="1870" y="670"/>
                  <a:pt x="1853" y="624"/>
                  <a:pt x="1833" y="580"/>
                </a:cubicBezTo>
                <a:cubicBezTo>
                  <a:pt x="1833" y="580"/>
                  <a:pt x="1833" y="580"/>
                  <a:pt x="1833" y="580"/>
                </a:cubicBezTo>
                <a:cubicBezTo>
                  <a:pt x="1825" y="561"/>
                  <a:pt x="1816" y="542"/>
                  <a:pt x="1806" y="524"/>
                </a:cubicBezTo>
                <a:cubicBezTo>
                  <a:pt x="1798" y="510"/>
                  <a:pt x="1790" y="495"/>
                  <a:pt x="1782" y="481"/>
                </a:cubicBezTo>
                <a:cubicBezTo>
                  <a:pt x="1779" y="477"/>
                  <a:pt x="1780" y="471"/>
                  <a:pt x="1784" y="469"/>
                </a:cubicBezTo>
                <a:cubicBezTo>
                  <a:pt x="1789" y="466"/>
                  <a:pt x="1794" y="468"/>
                  <a:pt x="1796" y="472"/>
                </a:cubicBezTo>
                <a:cubicBezTo>
                  <a:pt x="1805" y="486"/>
                  <a:pt x="1813" y="501"/>
                  <a:pt x="1821" y="516"/>
                </a:cubicBezTo>
                <a:cubicBezTo>
                  <a:pt x="1831" y="535"/>
                  <a:pt x="1840" y="554"/>
                  <a:pt x="1849" y="573"/>
                </a:cubicBezTo>
                <a:cubicBezTo>
                  <a:pt x="1849" y="573"/>
                  <a:pt x="1849" y="573"/>
                  <a:pt x="1849" y="573"/>
                </a:cubicBezTo>
                <a:cubicBezTo>
                  <a:pt x="1869" y="618"/>
                  <a:pt x="1886" y="665"/>
                  <a:pt x="1899" y="713"/>
                </a:cubicBezTo>
                <a:cubicBezTo>
                  <a:pt x="1900" y="717"/>
                  <a:pt x="1897" y="722"/>
                  <a:pt x="1893" y="723"/>
                </a:cubicBezTo>
                <a:cubicBezTo>
                  <a:pt x="1892" y="723"/>
                  <a:pt x="1891" y="723"/>
                  <a:pt x="1891" y="723"/>
                </a:cubicBezTo>
                <a:close/>
                <a:moveTo>
                  <a:pt x="94" y="582"/>
                </a:moveTo>
                <a:cubicBezTo>
                  <a:pt x="93" y="582"/>
                  <a:pt x="91" y="582"/>
                  <a:pt x="90" y="581"/>
                </a:cubicBezTo>
                <a:cubicBezTo>
                  <a:pt x="86" y="579"/>
                  <a:pt x="84" y="574"/>
                  <a:pt x="86" y="570"/>
                </a:cubicBezTo>
                <a:cubicBezTo>
                  <a:pt x="89" y="563"/>
                  <a:pt x="92" y="556"/>
                  <a:pt x="96" y="549"/>
                </a:cubicBezTo>
                <a:cubicBezTo>
                  <a:pt x="98" y="545"/>
                  <a:pt x="103" y="543"/>
                  <a:pt x="107" y="545"/>
                </a:cubicBezTo>
                <a:cubicBezTo>
                  <a:pt x="111" y="547"/>
                  <a:pt x="113" y="553"/>
                  <a:pt x="111" y="557"/>
                </a:cubicBezTo>
                <a:cubicBezTo>
                  <a:pt x="108" y="563"/>
                  <a:pt x="104" y="570"/>
                  <a:pt x="101" y="577"/>
                </a:cubicBezTo>
                <a:cubicBezTo>
                  <a:pt x="100" y="580"/>
                  <a:pt x="97" y="582"/>
                  <a:pt x="94" y="582"/>
                </a:cubicBezTo>
                <a:close/>
                <a:moveTo>
                  <a:pt x="116" y="536"/>
                </a:moveTo>
                <a:cubicBezTo>
                  <a:pt x="115" y="536"/>
                  <a:pt x="113" y="536"/>
                  <a:pt x="112" y="535"/>
                </a:cubicBezTo>
                <a:cubicBezTo>
                  <a:pt x="108" y="533"/>
                  <a:pt x="106" y="528"/>
                  <a:pt x="108" y="524"/>
                </a:cubicBezTo>
                <a:cubicBezTo>
                  <a:pt x="126" y="490"/>
                  <a:pt x="145" y="457"/>
                  <a:pt x="166" y="426"/>
                </a:cubicBezTo>
                <a:cubicBezTo>
                  <a:pt x="166" y="426"/>
                  <a:pt x="166" y="426"/>
                  <a:pt x="166" y="426"/>
                </a:cubicBezTo>
                <a:cubicBezTo>
                  <a:pt x="189" y="392"/>
                  <a:pt x="214" y="359"/>
                  <a:pt x="241" y="329"/>
                </a:cubicBezTo>
                <a:cubicBezTo>
                  <a:pt x="247" y="323"/>
                  <a:pt x="253" y="316"/>
                  <a:pt x="259" y="310"/>
                </a:cubicBezTo>
                <a:cubicBezTo>
                  <a:pt x="262" y="306"/>
                  <a:pt x="267" y="306"/>
                  <a:pt x="271" y="309"/>
                </a:cubicBezTo>
                <a:cubicBezTo>
                  <a:pt x="274" y="312"/>
                  <a:pt x="274" y="318"/>
                  <a:pt x="271" y="321"/>
                </a:cubicBezTo>
                <a:cubicBezTo>
                  <a:pt x="265" y="328"/>
                  <a:pt x="259" y="334"/>
                  <a:pt x="254" y="340"/>
                </a:cubicBezTo>
                <a:cubicBezTo>
                  <a:pt x="228" y="370"/>
                  <a:pt x="203" y="402"/>
                  <a:pt x="181" y="435"/>
                </a:cubicBezTo>
                <a:cubicBezTo>
                  <a:pt x="181" y="435"/>
                  <a:pt x="181" y="435"/>
                  <a:pt x="181" y="435"/>
                </a:cubicBezTo>
                <a:cubicBezTo>
                  <a:pt x="160" y="466"/>
                  <a:pt x="140" y="498"/>
                  <a:pt x="123" y="532"/>
                </a:cubicBezTo>
                <a:cubicBezTo>
                  <a:pt x="122" y="535"/>
                  <a:pt x="119" y="536"/>
                  <a:pt x="116" y="536"/>
                </a:cubicBezTo>
                <a:close/>
                <a:moveTo>
                  <a:pt x="1774" y="461"/>
                </a:moveTo>
                <a:cubicBezTo>
                  <a:pt x="1771" y="461"/>
                  <a:pt x="1768" y="459"/>
                  <a:pt x="1767" y="457"/>
                </a:cubicBezTo>
                <a:cubicBezTo>
                  <a:pt x="1763" y="450"/>
                  <a:pt x="1759" y="444"/>
                  <a:pt x="1755" y="438"/>
                </a:cubicBezTo>
                <a:cubicBezTo>
                  <a:pt x="1752" y="434"/>
                  <a:pt x="1753" y="429"/>
                  <a:pt x="1757" y="426"/>
                </a:cubicBezTo>
                <a:cubicBezTo>
                  <a:pt x="1761" y="424"/>
                  <a:pt x="1766" y="425"/>
                  <a:pt x="1769" y="428"/>
                </a:cubicBezTo>
                <a:cubicBezTo>
                  <a:pt x="1773" y="435"/>
                  <a:pt x="1777" y="441"/>
                  <a:pt x="1781" y="448"/>
                </a:cubicBezTo>
                <a:cubicBezTo>
                  <a:pt x="1784" y="451"/>
                  <a:pt x="1783" y="457"/>
                  <a:pt x="1779" y="459"/>
                </a:cubicBezTo>
                <a:cubicBezTo>
                  <a:pt x="1777" y="460"/>
                  <a:pt x="1776" y="461"/>
                  <a:pt x="1774" y="461"/>
                </a:cubicBezTo>
                <a:close/>
                <a:moveTo>
                  <a:pt x="1746" y="418"/>
                </a:moveTo>
                <a:cubicBezTo>
                  <a:pt x="1743" y="418"/>
                  <a:pt x="1740" y="417"/>
                  <a:pt x="1739" y="415"/>
                </a:cubicBezTo>
                <a:cubicBezTo>
                  <a:pt x="1710" y="375"/>
                  <a:pt x="1679" y="338"/>
                  <a:pt x="1645" y="303"/>
                </a:cubicBezTo>
                <a:cubicBezTo>
                  <a:pt x="1645" y="303"/>
                  <a:pt x="1645" y="303"/>
                  <a:pt x="1645" y="303"/>
                </a:cubicBezTo>
                <a:cubicBezTo>
                  <a:pt x="1624" y="281"/>
                  <a:pt x="1601" y="260"/>
                  <a:pt x="1577" y="240"/>
                </a:cubicBezTo>
                <a:cubicBezTo>
                  <a:pt x="1572" y="236"/>
                  <a:pt x="1567" y="232"/>
                  <a:pt x="1562" y="228"/>
                </a:cubicBezTo>
                <a:cubicBezTo>
                  <a:pt x="1559" y="225"/>
                  <a:pt x="1558" y="220"/>
                  <a:pt x="1561" y="216"/>
                </a:cubicBezTo>
                <a:cubicBezTo>
                  <a:pt x="1564" y="212"/>
                  <a:pt x="1569" y="212"/>
                  <a:pt x="1573" y="215"/>
                </a:cubicBezTo>
                <a:cubicBezTo>
                  <a:pt x="1578" y="219"/>
                  <a:pt x="1583" y="223"/>
                  <a:pt x="1588" y="227"/>
                </a:cubicBezTo>
                <a:cubicBezTo>
                  <a:pt x="1612" y="247"/>
                  <a:pt x="1635" y="269"/>
                  <a:pt x="1657" y="291"/>
                </a:cubicBezTo>
                <a:cubicBezTo>
                  <a:pt x="1657" y="291"/>
                  <a:pt x="1657" y="291"/>
                  <a:pt x="1657" y="291"/>
                </a:cubicBezTo>
                <a:cubicBezTo>
                  <a:pt x="1692" y="327"/>
                  <a:pt x="1724" y="365"/>
                  <a:pt x="1752" y="405"/>
                </a:cubicBezTo>
                <a:cubicBezTo>
                  <a:pt x="1755" y="409"/>
                  <a:pt x="1754" y="414"/>
                  <a:pt x="1750" y="417"/>
                </a:cubicBezTo>
                <a:cubicBezTo>
                  <a:pt x="1749" y="418"/>
                  <a:pt x="1747" y="418"/>
                  <a:pt x="1746" y="418"/>
                </a:cubicBezTo>
                <a:close/>
                <a:moveTo>
                  <a:pt x="284" y="304"/>
                </a:moveTo>
                <a:cubicBezTo>
                  <a:pt x="282" y="304"/>
                  <a:pt x="280" y="303"/>
                  <a:pt x="279" y="301"/>
                </a:cubicBezTo>
                <a:cubicBezTo>
                  <a:pt x="275" y="298"/>
                  <a:pt x="275" y="292"/>
                  <a:pt x="278" y="289"/>
                </a:cubicBezTo>
                <a:cubicBezTo>
                  <a:pt x="284" y="284"/>
                  <a:pt x="289" y="278"/>
                  <a:pt x="295" y="273"/>
                </a:cubicBezTo>
                <a:cubicBezTo>
                  <a:pt x="298" y="270"/>
                  <a:pt x="303" y="270"/>
                  <a:pt x="307" y="273"/>
                </a:cubicBezTo>
                <a:cubicBezTo>
                  <a:pt x="310" y="277"/>
                  <a:pt x="310" y="282"/>
                  <a:pt x="306" y="285"/>
                </a:cubicBezTo>
                <a:cubicBezTo>
                  <a:pt x="301" y="290"/>
                  <a:pt x="296" y="296"/>
                  <a:pt x="291" y="301"/>
                </a:cubicBezTo>
                <a:cubicBezTo>
                  <a:pt x="289" y="303"/>
                  <a:pt x="287" y="304"/>
                  <a:pt x="284" y="304"/>
                </a:cubicBezTo>
                <a:close/>
                <a:moveTo>
                  <a:pt x="321" y="268"/>
                </a:moveTo>
                <a:cubicBezTo>
                  <a:pt x="319" y="268"/>
                  <a:pt x="317" y="267"/>
                  <a:pt x="315" y="265"/>
                </a:cubicBezTo>
                <a:cubicBezTo>
                  <a:pt x="312" y="262"/>
                  <a:pt x="312" y="257"/>
                  <a:pt x="315" y="253"/>
                </a:cubicBezTo>
                <a:cubicBezTo>
                  <a:pt x="343" y="228"/>
                  <a:pt x="373" y="204"/>
                  <a:pt x="404" y="182"/>
                </a:cubicBezTo>
                <a:cubicBezTo>
                  <a:pt x="404" y="182"/>
                  <a:pt x="404" y="182"/>
                  <a:pt x="404" y="182"/>
                </a:cubicBezTo>
                <a:cubicBezTo>
                  <a:pt x="444" y="153"/>
                  <a:pt x="487" y="127"/>
                  <a:pt x="531" y="105"/>
                </a:cubicBezTo>
                <a:cubicBezTo>
                  <a:pt x="535" y="103"/>
                  <a:pt x="540" y="105"/>
                  <a:pt x="542" y="109"/>
                </a:cubicBezTo>
                <a:cubicBezTo>
                  <a:pt x="545" y="113"/>
                  <a:pt x="543" y="118"/>
                  <a:pt x="539" y="120"/>
                </a:cubicBezTo>
                <a:cubicBezTo>
                  <a:pt x="495" y="142"/>
                  <a:pt x="454" y="167"/>
                  <a:pt x="414" y="196"/>
                </a:cubicBezTo>
                <a:cubicBezTo>
                  <a:pt x="414" y="196"/>
                  <a:pt x="414" y="196"/>
                  <a:pt x="414" y="196"/>
                </a:cubicBezTo>
                <a:cubicBezTo>
                  <a:pt x="384" y="217"/>
                  <a:pt x="354" y="241"/>
                  <a:pt x="327" y="266"/>
                </a:cubicBezTo>
                <a:cubicBezTo>
                  <a:pt x="325" y="268"/>
                  <a:pt x="323" y="268"/>
                  <a:pt x="321" y="268"/>
                </a:cubicBezTo>
                <a:close/>
                <a:moveTo>
                  <a:pt x="1545" y="212"/>
                </a:moveTo>
                <a:cubicBezTo>
                  <a:pt x="1543" y="212"/>
                  <a:pt x="1542" y="212"/>
                  <a:pt x="1540" y="211"/>
                </a:cubicBezTo>
                <a:cubicBezTo>
                  <a:pt x="1534" y="206"/>
                  <a:pt x="1528" y="202"/>
                  <a:pt x="1522" y="197"/>
                </a:cubicBezTo>
                <a:cubicBezTo>
                  <a:pt x="1518" y="195"/>
                  <a:pt x="1517" y="189"/>
                  <a:pt x="1520" y="185"/>
                </a:cubicBezTo>
                <a:cubicBezTo>
                  <a:pt x="1523" y="182"/>
                  <a:pt x="1528" y="181"/>
                  <a:pt x="1532" y="183"/>
                </a:cubicBezTo>
                <a:cubicBezTo>
                  <a:pt x="1538" y="188"/>
                  <a:pt x="1544" y="192"/>
                  <a:pt x="1550" y="197"/>
                </a:cubicBezTo>
                <a:cubicBezTo>
                  <a:pt x="1554" y="200"/>
                  <a:pt x="1555" y="205"/>
                  <a:pt x="1552" y="209"/>
                </a:cubicBezTo>
                <a:cubicBezTo>
                  <a:pt x="1550" y="211"/>
                  <a:pt x="1548" y="212"/>
                  <a:pt x="1545" y="212"/>
                </a:cubicBezTo>
                <a:close/>
                <a:moveTo>
                  <a:pt x="1504" y="183"/>
                </a:moveTo>
                <a:cubicBezTo>
                  <a:pt x="1502" y="183"/>
                  <a:pt x="1501" y="182"/>
                  <a:pt x="1499" y="181"/>
                </a:cubicBezTo>
                <a:cubicBezTo>
                  <a:pt x="1459" y="154"/>
                  <a:pt x="1416" y="130"/>
                  <a:pt x="1372" y="109"/>
                </a:cubicBezTo>
                <a:cubicBezTo>
                  <a:pt x="1372" y="109"/>
                  <a:pt x="1372" y="109"/>
                  <a:pt x="1372" y="109"/>
                </a:cubicBezTo>
                <a:cubicBezTo>
                  <a:pt x="1339" y="93"/>
                  <a:pt x="1304" y="79"/>
                  <a:pt x="1268" y="67"/>
                </a:cubicBezTo>
                <a:cubicBezTo>
                  <a:pt x="1264" y="66"/>
                  <a:pt x="1262" y="61"/>
                  <a:pt x="1263" y="57"/>
                </a:cubicBezTo>
                <a:cubicBezTo>
                  <a:pt x="1265" y="52"/>
                  <a:pt x="1269" y="50"/>
                  <a:pt x="1274" y="51"/>
                </a:cubicBezTo>
                <a:cubicBezTo>
                  <a:pt x="1310" y="63"/>
                  <a:pt x="1345" y="78"/>
                  <a:pt x="1380" y="94"/>
                </a:cubicBezTo>
                <a:cubicBezTo>
                  <a:pt x="1380" y="94"/>
                  <a:pt x="1380" y="94"/>
                  <a:pt x="1380" y="94"/>
                </a:cubicBezTo>
                <a:cubicBezTo>
                  <a:pt x="1424" y="115"/>
                  <a:pt x="1468" y="140"/>
                  <a:pt x="1509" y="167"/>
                </a:cubicBezTo>
                <a:cubicBezTo>
                  <a:pt x="1512" y="170"/>
                  <a:pt x="1513" y="175"/>
                  <a:pt x="1511" y="179"/>
                </a:cubicBezTo>
                <a:cubicBezTo>
                  <a:pt x="1509" y="181"/>
                  <a:pt x="1507" y="183"/>
                  <a:pt x="1504" y="183"/>
                </a:cubicBezTo>
                <a:close/>
                <a:moveTo>
                  <a:pt x="560" y="109"/>
                </a:moveTo>
                <a:cubicBezTo>
                  <a:pt x="557" y="109"/>
                  <a:pt x="554" y="107"/>
                  <a:pt x="553" y="104"/>
                </a:cubicBezTo>
                <a:cubicBezTo>
                  <a:pt x="551" y="100"/>
                  <a:pt x="552" y="95"/>
                  <a:pt x="557" y="93"/>
                </a:cubicBezTo>
                <a:cubicBezTo>
                  <a:pt x="563" y="89"/>
                  <a:pt x="570" y="86"/>
                  <a:pt x="577" y="83"/>
                </a:cubicBezTo>
                <a:cubicBezTo>
                  <a:pt x="582" y="81"/>
                  <a:pt x="587" y="83"/>
                  <a:pt x="589" y="87"/>
                </a:cubicBezTo>
                <a:cubicBezTo>
                  <a:pt x="590" y="92"/>
                  <a:pt x="589" y="97"/>
                  <a:pt x="584" y="99"/>
                </a:cubicBezTo>
                <a:cubicBezTo>
                  <a:pt x="577" y="102"/>
                  <a:pt x="571" y="105"/>
                  <a:pt x="564" y="108"/>
                </a:cubicBezTo>
                <a:cubicBezTo>
                  <a:pt x="563" y="108"/>
                  <a:pt x="561" y="109"/>
                  <a:pt x="560" y="109"/>
                </a:cubicBezTo>
                <a:close/>
                <a:moveTo>
                  <a:pt x="607" y="88"/>
                </a:moveTo>
                <a:cubicBezTo>
                  <a:pt x="604" y="88"/>
                  <a:pt x="600" y="86"/>
                  <a:pt x="599" y="83"/>
                </a:cubicBezTo>
                <a:cubicBezTo>
                  <a:pt x="597" y="79"/>
                  <a:pt x="599" y="74"/>
                  <a:pt x="604" y="72"/>
                </a:cubicBezTo>
                <a:cubicBezTo>
                  <a:pt x="639" y="58"/>
                  <a:pt x="675" y="45"/>
                  <a:pt x="712" y="35"/>
                </a:cubicBezTo>
                <a:cubicBezTo>
                  <a:pt x="712" y="35"/>
                  <a:pt x="712" y="35"/>
                  <a:pt x="712" y="35"/>
                </a:cubicBezTo>
                <a:cubicBezTo>
                  <a:pt x="760" y="22"/>
                  <a:pt x="808" y="13"/>
                  <a:pt x="857" y="7"/>
                </a:cubicBezTo>
                <a:cubicBezTo>
                  <a:pt x="862" y="7"/>
                  <a:pt x="866" y="10"/>
                  <a:pt x="867" y="15"/>
                </a:cubicBezTo>
                <a:cubicBezTo>
                  <a:pt x="867" y="19"/>
                  <a:pt x="864" y="23"/>
                  <a:pt x="859" y="24"/>
                </a:cubicBezTo>
                <a:cubicBezTo>
                  <a:pt x="811" y="30"/>
                  <a:pt x="763" y="39"/>
                  <a:pt x="716" y="52"/>
                </a:cubicBezTo>
                <a:cubicBezTo>
                  <a:pt x="716" y="52"/>
                  <a:pt x="716" y="52"/>
                  <a:pt x="716" y="52"/>
                </a:cubicBezTo>
                <a:cubicBezTo>
                  <a:pt x="680" y="62"/>
                  <a:pt x="645" y="74"/>
                  <a:pt x="610" y="88"/>
                </a:cubicBezTo>
                <a:cubicBezTo>
                  <a:pt x="609" y="88"/>
                  <a:pt x="608" y="88"/>
                  <a:pt x="607" y="88"/>
                </a:cubicBezTo>
                <a:close/>
                <a:moveTo>
                  <a:pt x="1244" y="59"/>
                </a:moveTo>
                <a:cubicBezTo>
                  <a:pt x="1243" y="59"/>
                  <a:pt x="1243" y="59"/>
                  <a:pt x="1242" y="59"/>
                </a:cubicBezTo>
                <a:cubicBezTo>
                  <a:pt x="1235" y="57"/>
                  <a:pt x="1227" y="55"/>
                  <a:pt x="1220" y="53"/>
                </a:cubicBezTo>
                <a:cubicBezTo>
                  <a:pt x="1216" y="51"/>
                  <a:pt x="1213" y="47"/>
                  <a:pt x="1214" y="42"/>
                </a:cubicBezTo>
                <a:cubicBezTo>
                  <a:pt x="1216" y="38"/>
                  <a:pt x="1220" y="35"/>
                  <a:pt x="1225" y="36"/>
                </a:cubicBezTo>
                <a:cubicBezTo>
                  <a:pt x="1232" y="38"/>
                  <a:pt x="1239" y="40"/>
                  <a:pt x="1247" y="43"/>
                </a:cubicBezTo>
                <a:cubicBezTo>
                  <a:pt x="1251" y="44"/>
                  <a:pt x="1254" y="49"/>
                  <a:pt x="1252" y="53"/>
                </a:cubicBezTo>
                <a:cubicBezTo>
                  <a:pt x="1251" y="57"/>
                  <a:pt x="1248" y="59"/>
                  <a:pt x="1244" y="59"/>
                </a:cubicBezTo>
                <a:close/>
                <a:moveTo>
                  <a:pt x="1195" y="46"/>
                </a:moveTo>
                <a:cubicBezTo>
                  <a:pt x="1194" y="46"/>
                  <a:pt x="1194" y="46"/>
                  <a:pt x="1193" y="46"/>
                </a:cubicBezTo>
                <a:cubicBezTo>
                  <a:pt x="1146" y="34"/>
                  <a:pt x="1098" y="26"/>
                  <a:pt x="1050" y="22"/>
                </a:cubicBezTo>
                <a:cubicBezTo>
                  <a:pt x="1050" y="22"/>
                  <a:pt x="1049" y="22"/>
                  <a:pt x="1049" y="22"/>
                </a:cubicBezTo>
                <a:cubicBezTo>
                  <a:pt x="1012" y="18"/>
                  <a:pt x="975" y="17"/>
                  <a:pt x="937" y="18"/>
                </a:cubicBezTo>
                <a:cubicBezTo>
                  <a:pt x="937" y="18"/>
                  <a:pt x="937" y="18"/>
                  <a:pt x="937" y="18"/>
                </a:cubicBezTo>
                <a:cubicBezTo>
                  <a:pt x="933" y="18"/>
                  <a:pt x="929" y="15"/>
                  <a:pt x="929" y="10"/>
                </a:cubicBezTo>
                <a:cubicBezTo>
                  <a:pt x="929" y="5"/>
                  <a:pt x="932" y="1"/>
                  <a:pt x="937" y="1"/>
                </a:cubicBezTo>
                <a:cubicBezTo>
                  <a:pt x="975" y="0"/>
                  <a:pt x="1013" y="1"/>
                  <a:pt x="1051" y="5"/>
                </a:cubicBezTo>
                <a:cubicBezTo>
                  <a:pt x="1051" y="5"/>
                  <a:pt x="1051" y="5"/>
                  <a:pt x="1051" y="5"/>
                </a:cubicBezTo>
                <a:cubicBezTo>
                  <a:pt x="1100" y="9"/>
                  <a:pt x="1149" y="17"/>
                  <a:pt x="1197" y="29"/>
                </a:cubicBezTo>
                <a:cubicBezTo>
                  <a:pt x="1202" y="30"/>
                  <a:pt x="1205" y="35"/>
                  <a:pt x="1203" y="39"/>
                </a:cubicBezTo>
                <a:cubicBezTo>
                  <a:pt x="1202" y="43"/>
                  <a:pt x="1199" y="46"/>
                  <a:pt x="1195" y="46"/>
                </a:cubicBezTo>
                <a:close/>
                <a:moveTo>
                  <a:pt x="886" y="21"/>
                </a:moveTo>
                <a:cubicBezTo>
                  <a:pt x="882" y="21"/>
                  <a:pt x="878" y="18"/>
                  <a:pt x="878" y="13"/>
                </a:cubicBezTo>
                <a:cubicBezTo>
                  <a:pt x="878" y="9"/>
                  <a:pt x="881" y="5"/>
                  <a:pt x="886" y="4"/>
                </a:cubicBezTo>
                <a:cubicBezTo>
                  <a:pt x="888" y="4"/>
                  <a:pt x="891" y="4"/>
                  <a:pt x="894" y="4"/>
                </a:cubicBezTo>
                <a:cubicBezTo>
                  <a:pt x="899" y="3"/>
                  <a:pt x="904" y="3"/>
                  <a:pt x="908" y="3"/>
                </a:cubicBezTo>
                <a:cubicBezTo>
                  <a:pt x="913" y="2"/>
                  <a:pt x="917" y="6"/>
                  <a:pt x="917" y="11"/>
                </a:cubicBezTo>
                <a:cubicBezTo>
                  <a:pt x="918" y="15"/>
                  <a:pt x="914" y="19"/>
                  <a:pt x="909" y="20"/>
                </a:cubicBezTo>
                <a:cubicBezTo>
                  <a:pt x="905" y="20"/>
                  <a:pt x="900" y="20"/>
                  <a:pt x="895" y="21"/>
                </a:cubicBezTo>
                <a:cubicBezTo>
                  <a:pt x="892" y="21"/>
                  <a:pt x="890" y="21"/>
                  <a:pt x="887" y="21"/>
                </a:cubicBezTo>
                <a:cubicBezTo>
                  <a:pt x="887" y="21"/>
                  <a:pt x="887" y="21"/>
                  <a:pt x="886" y="21"/>
                </a:cubicBezTo>
                <a:close/>
              </a:path>
            </a:pathLst>
          </a:custGeom>
          <a:solidFill>
            <a:schemeClr val="accent2"/>
          </a:solidFill>
          <a:ln>
            <a:noFill/>
          </a:ln>
        </p:spPr>
        <p:txBody>
          <a:bodyPr vert="horz" wrap="square" lIns="45714" tIns="22857" rIns="45714" bIns="22857" numCol="1" anchor="t" anchorCtr="0" compatLnSpc="1">
            <a:prstTxWarp prst="textNoShape">
              <a:avLst/>
            </a:prstTxWarp>
          </a:body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US" sz="900" b="0" i="0" u="none" strike="noStrike" kern="1200" cap="none" spc="0" normalizeH="0" baseline="0" noProof="0">
              <a:ln>
                <a:noFill/>
              </a:ln>
              <a:solidFill>
                <a:srgbClr val="343A3F"/>
              </a:solidFill>
              <a:effectLst/>
              <a:uLnTx/>
              <a:uFillTx/>
              <a:latin typeface="Roboto Light"/>
              <a:ea typeface="+mn-ea"/>
              <a:cs typeface="+mn-cs"/>
            </a:endParaRPr>
          </a:p>
        </p:txBody>
      </p:sp>
      <p:sp>
        <p:nvSpPr>
          <p:cNvPr id="11" name="Freeform 8">
            <a:extLst>
              <a:ext uri="{FF2B5EF4-FFF2-40B4-BE49-F238E27FC236}">
                <a16:creationId xmlns:a16="http://schemas.microsoft.com/office/drawing/2014/main" id="{C49F668A-44DF-4F4C-8060-6CD38A55DF7C}"/>
              </a:ext>
            </a:extLst>
          </p:cNvPr>
          <p:cNvSpPr>
            <a:spLocks noEditPoints="1"/>
          </p:cNvSpPr>
          <p:nvPr/>
        </p:nvSpPr>
        <p:spPr bwMode="auto">
          <a:xfrm>
            <a:off x="4128032" y="1308652"/>
            <a:ext cx="3935937" cy="3935937"/>
          </a:xfrm>
          <a:custGeom>
            <a:avLst/>
            <a:gdLst>
              <a:gd name="T0" fmla="*/ 931 w 1861"/>
              <a:gd name="T1" fmla="*/ 1843 h 1860"/>
              <a:gd name="T2" fmla="*/ 1074 w 1861"/>
              <a:gd name="T3" fmla="*/ 1849 h 1860"/>
              <a:gd name="T4" fmla="*/ 867 w 1861"/>
              <a:gd name="T5" fmla="*/ 1850 h 1860"/>
              <a:gd name="T6" fmla="*/ 790 w 1861"/>
              <a:gd name="T7" fmla="*/ 1850 h 1860"/>
              <a:gd name="T8" fmla="*/ 629 w 1861"/>
              <a:gd name="T9" fmla="*/ 1792 h 1860"/>
              <a:gd name="T10" fmla="*/ 1148 w 1861"/>
              <a:gd name="T11" fmla="*/ 1826 h 1860"/>
              <a:gd name="T12" fmla="*/ 1176 w 1861"/>
              <a:gd name="T13" fmla="*/ 1812 h 1860"/>
              <a:gd name="T14" fmla="*/ 1356 w 1861"/>
              <a:gd name="T15" fmla="*/ 1757 h 1860"/>
              <a:gd name="T16" fmla="*/ 597 w 1861"/>
              <a:gd name="T17" fmla="*/ 1798 h 1860"/>
              <a:gd name="T18" fmla="*/ 571 w 1861"/>
              <a:gd name="T19" fmla="*/ 1788 h 1860"/>
              <a:gd name="T20" fmla="*/ 577 w 1861"/>
              <a:gd name="T21" fmla="*/ 1772 h 1860"/>
              <a:gd name="T22" fmla="*/ 1423 w 1861"/>
              <a:gd name="T23" fmla="*/ 1710 h 1860"/>
              <a:gd name="T24" fmla="*/ 1605 w 1861"/>
              <a:gd name="T25" fmla="*/ 1547 h 1860"/>
              <a:gd name="T26" fmla="*/ 350 w 1861"/>
              <a:gd name="T27" fmla="*/ 1657 h 1860"/>
              <a:gd name="T28" fmla="*/ 328 w 1861"/>
              <a:gd name="T29" fmla="*/ 1639 h 1860"/>
              <a:gd name="T30" fmla="*/ 340 w 1861"/>
              <a:gd name="T31" fmla="*/ 1638 h 1860"/>
              <a:gd name="T32" fmla="*/ 1636 w 1861"/>
              <a:gd name="T33" fmla="*/ 1537 h 1860"/>
              <a:gd name="T34" fmla="*/ 1759 w 1861"/>
              <a:gd name="T35" fmla="*/ 1314 h 1860"/>
              <a:gd name="T36" fmla="*/ 158 w 1861"/>
              <a:gd name="T37" fmla="*/ 1448 h 1860"/>
              <a:gd name="T38" fmla="*/ 170 w 1861"/>
              <a:gd name="T39" fmla="*/ 1450 h 1860"/>
              <a:gd name="T40" fmla="*/ 128 w 1861"/>
              <a:gd name="T41" fmla="*/ 1366 h 1860"/>
              <a:gd name="T42" fmla="*/ 14 w 1861"/>
              <a:gd name="T43" fmla="*/ 1086 h 1860"/>
              <a:gd name="T44" fmla="*/ 84 w 1861"/>
              <a:gd name="T45" fmla="*/ 1303 h 1860"/>
              <a:gd name="T46" fmla="*/ 1789 w 1861"/>
              <a:gd name="T47" fmla="*/ 1274 h 1860"/>
              <a:gd name="T48" fmla="*/ 1846 w 1861"/>
              <a:gd name="T49" fmla="*/ 1039 h 1860"/>
              <a:gd name="T50" fmla="*/ 18 w 1861"/>
              <a:gd name="T51" fmla="*/ 1065 h 1860"/>
              <a:gd name="T52" fmla="*/ 18 w 1861"/>
              <a:gd name="T53" fmla="*/ 1065 h 1860"/>
              <a:gd name="T54" fmla="*/ 19 w 1861"/>
              <a:gd name="T55" fmla="*/ 795 h 1860"/>
              <a:gd name="T56" fmla="*/ 15 w 1861"/>
              <a:gd name="T57" fmla="*/ 1037 h 1860"/>
              <a:gd name="T58" fmla="*/ 1848 w 1861"/>
              <a:gd name="T59" fmla="*/ 1027 h 1860"/>
              <a:gd name="T60" fmla="*/ 1838 w 1861"/>
              <a:gd name="T61" fmla="*/ 822 h 1860"/>
              <a:gd name="T62" fmla="*/ 1861 w 1861"/>
              <a:gd name="T63" fmla="*/ 930 h 1860"/>
              <a:gd name="T64" fmla="*/ 24 w 1861"/>
              <a:gd name="T65" fmla="*/ 767 h 1860"/>
              <a:gd name="T66" fmla="*/ 26 w 1861"/>
              <a:gd name="T67" fmla="*/ 756 h 1860"/>
              <a:gd name="T68" fmla="*/ 107 w 1861"/>
              <a:gd name="T69" fmla="*/ 537 h 1860"/>
              <a:gd name="T70" fmla="*/ 1824 w 1861"/>
              <a:gd name="T71" fmla="*/ 739 h 1860"/>
              <a:gd name="T72" fmla="*/ 1763 w 1861"/>
              <a:gd name="T73" fmla="*/ 553 h 1860"/>
              <a:gd name="T74" fmla="*/ 1834 w 1861"/>
              <a:gd name="T75" fmla="*/ 708 h 1860"/>
              <a:gd name="T76" fmla="*/ 104 w 1861"/>
              <a:gd name="T77" fmla="*/ 504 h 1860"/>
              <a:gd name="T78" fmla="*/ 121 w 1861"/>
              <a:gd name="T79" fmla="*/ 490 h 1860"/>
              <a:gd name="T80" fmla="*/ 161 w 1861"/>
              <a:gd name="T81" fmla="*/ 439 h 1860"/>
              <a:gd name="T82" fmla="*/ 1736 w 1861"/>
              <a:gd name="T83" fmla="*/ 482 h 1860"/>
              <a:gd name="T84" fmla="*/ 1569 w 1861"/>
              <a:gd name="T85" fmla="*/ 273 h 1860"/>
              <a:gd name="T86" fmla="*/ 1717 w 1861"/>
              <a:gd name="T87" fmla="*/ 459 h 1860"/>
              <a:gd name="T88" fmla="*/ 284 w 1861"/>
              <a:gd name="T89" fmla="*/ 286 h 1860"/>
              <a:gd name="T90" fmla="*/ 334 w 1861"/>
              <a:gd name="T91" fmla="*/ 216 h 1860"/>
              <a:gd name="T92" fmla="*/ 345 w 1861"/>
              <a:gd name="T93" fmla="*/ 229 h 1860"/>
              <a:gd name="T94" fmla="*/ 1562 w 1861"/>
              <a:gd name="T95" fmla="*/ 247 h 1860"/>
              <a:gd name="T96" fmla="*/ 1341 w 1861"/>
              <a:gd name="T97" fmla="*/ 105 h 1860"/>
              <a:gd name="T98" fmla="*/ 1544 w 1861"/>
              <a:gd name="T99" fmla="*/ 234 h 1860"/>
              <a:gd name="T100" fmla="*/ 512 w 1861"/>
              <a:gd name="T101" fmla="*/ 109 h 1860"/>
              <a:gd name="T102" fmla="*/ 526 w 1861"/>
              <a:gd name="T103" fmla="*/ 93 h 1860"/>
              <a:gd name="T104" fmla="*/ 550 w 1861"/>
              <a:gd name="T105" fmla="*/ 100 h 1860"/>
              <a:gd name="T106" fmla="*/ 1327 w 1861"/>
              <a:gd name="T107" fmla="*/ 89 h 1860"/>
              <a:gd name="T108" fmla="*/ 1079 w 1861"/>
              <a:gd name="T109" fmla="*/ 29 h 1860"/>
              <a:gd name="T110" fmla="*/ 1301 w 1861"/>
              <a:gd name="T111" fmla="*/ 77 h 1860"/>
              <a:gd name="T112" fmla="*/ 770 w 1861"/>
              <a:gd name="T113" fmla="*/ 14 h 1860"/>
              <a:gd name="T114" fmla="*/ 798 w 1861"/>
              <a:gd name="T115" fmla="*/ 10 h 1860"/>
              <a:gd name="T116" fmla="*/ 1024 w 1861"/>
              <a:gd name="T117" fmla="*/ 22 h 1860"/>
              <a:gd name="T118" fmla="*/ 1053 w 1861"/>
              <a:gd name="T119" fmla="*/ 25 h 1860"/>
              <a:gd name="T120" fmla="*/ 1061 w 1861"/>
              <a:gd name="T121" fmla="*/ 18 h 1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61" h="1860">
                <a:moveTo>
                  <a:pt x="931" y="1860"/>
                </a:moveTo>
                <a:cubicBezTo>
                  <a:pt x="922" y="1860"/>
                  <a:pt x="912" y="1860"/>
                  <a:pt x="903" y="1860"/>
                </a:cubicBezTo>
                <a:cubicBezTo>
                  <a:pt x="901" y="1860"/>
                  <a:pt x="899" y="1859"/>
                  <a:pt x="897" y="1857"/>
                </a:cubicBezTo>
                <a:cubicBezTo>
                  <a:pt x="896" y="1856"/>
                  <a:pt x="895" y="1854"/>
                  <a:pt x="895" y="1851"/>
                </a:cubicBezTo>
                <a:cubicBezTo>
                  <a:pt x="895" y="1847"/>
                  <a:pt x="899" y="1843"/>
                  <a:pt x="904" y="1843"/>
                </a:cubicBezTo>
                <a:cubicBezTo>
                  <a:pt x="904" y="1843"/>
                  <a:pt x="904" y="1843"/>
                  <a:pt x="904" y="1843"/>
                </a:cubicBezTo>
                <a:cubicBezTo>
                  <a:pt x="913" y="1843"/>
                  <a:pt x="922" y="1843"/>
                  <a:pt x="931" y="1843"/>
                </a:cubicBezTo>
                <a:cubicBezTo>
                  <a:pt x="958" y="1843"/>
                  <a:pt x="985" y="1842"/>
                  <a:pt x="1011" y="1840"/>
                </a:cubicBezTo>
                <a:cubicBezTo>
                  <a:pt x="1031" y="1838"/>
                  <a:pt x="1052" y="1836"/>
                  <a:pt x="1071" y="1833"/>
                </a:cubicBezTo>
                <a:cubicBezTo>
                  <a:pt x="1072" y="1833"/>
                  <a:pt x="1072" y="1833"/>
                  <a:pt x="1072" y="1833"/>
                </a:cubicBezTo>
                <a:cubicBezTo>
                  <a:pt x="1090" y="1830"/>
                  <a:pt x="1108" y="1826"/>
                  <a:pt x="1126" y="1822"/>
                </a:cubicBezTo>
                <a:cubicBezTo>
                  <a:pt x="1131" y="1821"/>
                  <a:pt x="1136" y="1824"/>
                  <a:pt x="1137" y="1829"/>
                </a:cubicBezTo>
                <a:cubicBezTo>
                  <a:pt x="1138" y="1833"/>
                  <a:pt x="1135" y="1838"/>
                  <a:pt x="1130" y="1839"/>
                </a:cubicBezTo>
                <a:cubicBezTo>
                  <a:pt x="1112" y="1843"/>
                  <a:pt x="1093" y="1846"/>
                  <a:pt x="1074" y="1849"/>
                </a:cubicBezTo>
                <a:cubicBezTo>
                  <a:pt x="1074" y="1849"/>
                  <a:pt x="1074" y="1849"/>
                  <a:pt x="1074" y="1849"/>
                </a:cubicBezTo>
                <a:cubicBezTo>
                  <a:pt x="1074" y="1849"/>
                  <a:pt x="1074" y="1849"/>
                  <a:pt x="1074" y="1849"/>
                </a:cubicBezTo>
                <a:cubicBezTo>
                  <a:pt x="1054" y="1853"/>
                  <a:pt x="1033" y="1855"/>
                  <a:pt x="1013" y="1857"/>
                </a:cubicBezTo>
                <a:cubicBezTo>
                  <a:pt x="986" y="1859"/>
                  <a:pt x="958" y="1860"/>
                  <a:pt x="931" y="1860"/>
                </a:cubicBezTo>
                <a:close/>
                <a:moveTo>
                  <a:pt x="875" y="1859"/>
                </a:moveTo>
                <a:cubicBezTo>
                  <a:pt x="875" y="1859"/>
                  <a:pt x="875" y="1859"/>
                  <a:pt x="875" y="1859"/>
                </a:cubicBezTo>
                <a:cubicBezTo>
                  <a:pt x="870" y="1858"/>
                  <a:pt x="867" y="1854"/>
                  <a:pt x="867" y="1850"/>
                </a:cubicBezTo>
                <a:cubicBezTo>
                  <a:pt x="867" y="1845"/>
                  <a:pt x="871" y="1841"/>
                  <a:pt x="876" y="1842"/>
                </a:cubicBezTo>
                <a:cubicBezTo>
                  <a:pt x="878" y="1842"/>
                  <a:pt x="880" y="1843"/>
                  <a:pt x="882" y="1845"/>
                </a:cubicBezTo>
                <a:cubicBezTo>
                  <a:pt x="883" y="1846"/>
                  <a:pt x="884" y="1849"/>
                  <a:pt x="884" y="1851"/>
                </a:cubicBezTo>
                <a:cubicBezTo>
                  <a:pt x="884" y="1855"/>
                  <a:pt x="880" y="1859"/>
                  <a:pt x="875" y="1859"/>
                </a:cubicBezTo>
                <a:close/>
                <a:moveTo>
                  <a:pt x="847" y="1857"/>
                </a:moveTo>
                <a:cubicBezTo>
                  <a:pt x="847" y="1857"/>
                  <a:pt x="847" y="1857"/>
                  <a:pt x="846" y="1857"/>
                </a:cubicBezTo>
                <a:cubicBezTo>
                  <a:pt x="828" y="1855"/>
                  <a:pt x="809" y="1852"/>
                  <a:pt x="790" y="1850"/>
                </a:cubicBezTo>
                <a:cubicBezTo>
                  <a:pt x="745" y="1843"/>
                  <a:pt x="700" y="1832"/>
                  <a:pt x="657" y="1819"/>
                </a:cubicBezTo>
                <a:cubicBezTo>
                  <a:pt x="646" y="1816"/>
                  <a:pt x="635" y="1812"/>
                  <a:pt x="624" y="1808"/>
                </a:cubicBezTo>
                <a:cubicBezTo>
                  <a:pt x="623" y="1808"/>
                  <a:pt x="623" y="1808"/>
                  <a:pt x="623" y="1808"/>
                </a:cubicBezTo>
                <a:cubicBezTo>
                  <a:pt x="623" y="1808"/>
                  <a:pt x="623" y="1808"/>
                  <a:pt x="623" y="1808"/>
                </a:cubicBezTo>
                <a:cubicBezTo>
                  <a:pt x="621" y="1807"/>
                  <a:pt x="620" y="1806"/>
                  <a:pt x="619" y="1804"/>
                </a:cubicBezTo>
                <a:cubicBezTo>
                  <a:pt x="618" y="1802"/>
                  <a:pt x="618" y="1800"/>
                  <a:pt x="619" y="1797"/>
                </a:cubicBezTo>
                <a:cubicBezTo>
                  <a:pt x="620" y="1793"/>
                  <a:pt x="625" y="1791"/>
                  <a:pt x="629" y="1792"/>
                </a:cubicBezTo>
                <a:cubicBezTo>
                  <a:pt x="640" y="1796"/>
                  <a:pt x="651" y="1800"/>
                  <a:pt x="662" y="1803"/>
                </a:cubicBezTo>
                <a:cubicBezTo>
                  <a:pt x="704" y="1816"/>
                  <a:pt x="748" y="1826"/>
                  <a:pt x="792" y="1833"/>
                </a:cubicBezTo>
                <a:cubicBezTo>
                  <a:pt x="811" y="1836"/>
                  <a:pt x="829" y="1838"/>
                  <a:pt x="848" y="1840"/>
                </a:cubicBezTo>
                <a:cubicBezTo>
                  <a:pt x="853" y="1840"/>
                  <a:pt x="856" y="1844"/>
                  <a:pt x="856" y="1849"/>
                </a:cubicBezTo>
                <a:cubicBezTo>
                  <a:pt x="855" y="1853"/>
                  <a:pt x="852" y="1857"/>
                  <a:pt x="847" y="1857"/>
                </a:cubicBezTo>
                <a:close/>
                <a:moveTo>
                  <a:pt x="1156" y="1832"/>
                </a:moveTo>
                <a:cubicBezTo>
                  <a:pt x="1152" y="1832"/>
                  <a:pt x="1149" y="1830"/>
                  <a:pt x="1148" y="1826"/>
                </a:cubicBezTo>
                <a:cubicBezTo>
                  <a:pt x="1146" y="1822"/>
                  <a:pt x="1149" y="1817"/>
                  <a:pt x="1154" y="1816"/>
                </a:cubicBezTo>
                <a:cubicBezTo>
                  <a:pt x="1158" y="1815"/>
                  <a:pt x="1163" y="1817"/>
                  <a:pt x="1164" y="1822"/>
                </a:cubicBezTo>
                <a:cubicBezTo>
                  <a:pt x="1165" y="1826"/>
                  <a:pt x="1162" y="1831"/>
                  <a:pt x="1158" y="1832"/>
                </a:cubicBezTo>
                <a:cubicBezTo>
                  <a:pt x="1157" y="1832"/>
                  <a:pt x="1157" y="1832"/>
                  <a:pt x="1156" y="1832"/>
                </a:cubicBezTo>
                <a:close/>
                <a:moveTo>
                  <a:pt x="1183" y="1825"/>
                </a:moveTo>
                <a:cubicBezTo>
                  <a:pt x="1179" y="1825"/>
                  <a:pt x="1176" y="1823"/>
                  <a:pt x="1175" y="1819"/>
                </a:cubicBezTo>
                <a:cubicBezTo>
                  <a:pt x="1174" y="1817"/>
                  <a:pt x="1175" y="1814"/>
                  <a:pt x="1176" y="1812"/>
                </a:cubicBezTo>
                <a:cubicBezTo>
                  <a:pt x="1177" y="1811"/>
                  <a:pt x="1179" y="1809"/>
                  <a:pt x="1181" y="1808"/>
                </a:cubicBezTo>
                <a:cubicBezTo>
                  <a:pt x="1235" y="1793"/>
                  <a:pt x="1287" y="1773"/>
                  <a:pt x="1337" y="1748"/>
                </a:cubicBezTo>
                <a:cubicBezTo>
                  <a:pt x="1341" y="1746"/>
                  <a:pt x="1345" y="1744"/>
                  <a:pt x="1348" y="1742"/>
                </a:cubicBezTo>
                <a:cubicBezTo>
                  <a:pt x="1361" y="1735"/>
                  <a:pt x="1374" y="1728"/>
                  <a:pt x="1387" y="1721"/>
                </a:cubicBezTo>
                <a:cubicBezTo>
                  <a:pt x="1391" y="1719"/>
                  <a:pt x="1396" y="1720"/>
                  <a:pt x="1398" y="1724"/>
                </a:cubicBezTo>
                <a:cubicBezTo>
                  <a:pt x="1401" y="1728"/>
                  <a:pt x="1399" y="1734"/>
                  <a:pt x="1395" y="1736"/>
                </a:cubicBezTo>
                <a:cubicBezTo>
                  <a:pt x="1383" y="1743"/>
                  <a:pt x="1369" y="1750"/>
                  <a:pt x="1356" y="1757"/>
                </a:cubicBezTo>
                <a:cubicBezTo>
                  <a:pt x="1352" y="1759"/>
                  <a:pt x="1349" y="1761"/>
                  <a:pt x="1345" y="1763"/>
                </a:cubicBezTo>
                <a:cubicBezTo>
                  <a:pt x="1345" y="1763"/>
                  <a:pt x="1345" y="1763"/>
                  <a:pt x="1345" y="1763"/>
                </a:cubicBezTo>
                <a:cubicBezTo>
                  <a:pt x="1345" y="1763"/>
                  <a:pt x="1345" y="1763"/>
                  <a:pt x="1344" y="1763"/>
                </a:cubicBezTo>
                <a:cubicBezTo>
                  <a:pt x="1294" y="1788"/>
                  <a:pt x="1240" y="1809"/>
                  <a:pt x="1185" y="1825"/>
                </a:cubicBezTo>
                <a:cubicBezTo>
                  <a:pt x="1185" y="1825"/>
                  <a:pt x="1184" y="1825"/>
                  <a:pt x="1183" y="1825"/>
                </a:cubicBezTo>
                <a:close/>
                <a:moveTo>
                  <a:pt x="600" y="1799"/>
                </a:moveTo>
                <a:cubicBezTo>
                  <a:pt x="599" y="1799"/>
                  <a:pt x="598" y="1799"/>
                  <a:pt x="597" y="1798"/>
                </a:cubicBezTo>
                <a:cubicBezTo>
                  <a:pt x="595" y="1798"/>
                  <a:pt x="593" y="1796"/>
                  <a:pt x="592" y="1794"/>
                </a:cubicBezTo>
                <a:cubicBezTo>
                  <a:pt x="591" y="1792"/>
                  <a:pt x="591" y="1790"/>
                  <a:pt x="592" y="1787"/>
                </a:cubicBezTo>
                <a:cubicBezTo>
                  <a:pt x="594" y="1783"/>
                  <a:pt x="599" y="1781"/>
                  <a:pt x="603" y="1783"/>
                </a:cubicBezTo>
                <a:cubicBezTo>
                  <a:pt x="607" y="1784"/>
                  <a:pt x="610" y="1789"/>
                  <a:pt x="608" y="1793"/>
                </a:cubicBezTo>
                <a:cubicBezTo>
                  <a:pt x="607" y="1797"/>
                  <a:pt x="604" y="1799"/>
                  <a:pt x="600" y="1799"/>
                </a:cubicBezTo>
                <a:close/>
                <a:moveTo>
                  <a:pt x="574" y="1788"/>
                </a:moveTo>
                <a:cubicBezTo>
                  <a:pt x="573" y="1788"/>
                  <a:pt x="572" y="1788"/>
                  <a:pt x="571" y="1788"/>
                </a:cubicBezTo>
                <a:cubicBezTo>
                  <a:pt x="553" y="1780"/>
                  <a:pt x="536" y="1772"/>
                  <a:pt x="519" y="1764"/>
                </a:cubicBezTo>
                <a:cubicBezTo>
                  <a:pt x="467" y="1739"/>
                  <a:pt x="418" y="1709"/>
                  <a:pt x="373" y="1675"/>
                </a:cubicBezTo>
                <a:cubicBezTo>
                  <a:pt x="373" y="1675"/>
                  <a:pt x="373" y="1675"/>
                  <a:pt x="373" y="1675"/>
                </a:cubicBezTo>
                <a:cubicBezTo>
                  <a:pt x="369" y="1672"/>
                  <a:pt x="368" y="1666"/>
                  <a:pt x="371" y="1663"/>
                </a:cubicBezTo>
                <a:cubicBezTo>
                  <a:pt x="374" y="1659"/>
                  <a:pt x="379" y="1658"/>
                  <a:pt x="383" y="1661"/>
                </a:cubicBezTo>
                <a:cubicBezTo>
                  <a:pt x="428" y="1694"/>
                  <a:pt x="476" y="1724"/>
                  <a:pt x="526" y="1749"/>
                </a:cubicBezTo>
                <a:cubicBezTo>
                  <a:pt x="543" y="1757"/>
                  <a:pt x="560" y="1765"/>
                  <a:pt x="577" y="1772"/>
                </a:cubicBezTo>
                <a:cubicBezTo>
                  <a:pt x="581" y="1774"/>
                  <a:pt x="583" y="1779"/>
                  <a:pt x="582" y="1783"/>
                </a:cubicBezTo>
                <a:cubicBezTo>
                  <a:pt x="580" y="1786"/>
                  <a:pt x="577" y="1788"/>
                  <a:pt x="574" y="1788"/>
                </a:cubicBezTo>
                <a:close/>
                <a:moveTo>
                  <a:pt x="1415" y="1723"/>
                </a:moveTo>
                <a:cubicBezTo>
                  <a:pt x="1412" y="1723"/>
                  <a:pt x="1410" y="1721"/>
                  <a:pt x="1408" y="1719"/>
                </a:cubicBezTo>
                <a:cubicBezTo>
                  <a:pt x="1407" y="1717"/>
                  <a:pt x="1407" y="1714"/>
                  <a:pt x="1407" y="1712"/>
                </a:cubicBezTo>
                <a:cubicBezTo>
                  <a:pt x="1408" y="1710"/>
                  <a:pt x="1409" y="1708"/>
                  <a:pt x="1411" y="1707"/>
                </a:cubicBezTo>
                <a:cubicBezTo>
                  <a:pt x="1415" y="1704"/>
                  <a:pt x="1420" y="1706"/>
                  <a:pt x="1423" y="1710"/>
                </a:cubicBezTo>
                <a:cubicBezTo>
                  <a:pt x="1425" y="1714"/>
                  <a:pt x="1424" y="1719"/>
                  <a:pt x="1420" y="1721"/>
                </a:cubicBezTo>
                <a:cubicBezTo>
                  <a:pt x="1418" y="1722"/>
                  <a:pt x="1417" y="1723"/>
                  <a:pt x="1415" y="1723"/>
                </a:cubicBezTo>
                <a:close/>
                <a:moveTo>
                  <a:pt x="1439" y="1707"/>
                </a:moveTo>
                <a:cubicBezTo>
                  <a:pt x="1436" y="1707"/>
                  <a:pt x="1434" y="1706"/>
                  <a:pt x="1432" y="1704"/>
                </a:cubicBezTo>
                <a:cubicBezTo>
                  <a:pt x="1429" y="1700"/>
                  <a:pt x="1431" y="1694"/>
                  <a:pt x="1434" y="1692"/>
                </a:cubicBezTo>
                <a:cubicBezTo>
                  <a:pt x="1481" y="1661"/>
                  <a:pt x="1525" y="1626"/>
                  <a:pt x="1566" y="1587"/>
                </a:cubicBezTo>
                <a:cubicBezTo>
                  <a:pt x="1579" y="1574"/>
                  <a:pt x="1592" y="1560"/>
                  <a:pt x="1605" y="1547"/>
                </a:cubicBezTo>
                <a:cubicBezTo>
                  <a:pt x="1608" y="1543"/>
                  <a:pt x="1613" y="1543"/>
                  <a:pt x="1617" y="1546"/>
                </a:cubicBezTo>
                <a:cubicBezTo>
                  <a:pt x="1620" y="1549"/>
                  <a:pt x="1620" y="1555"/>
                  <a:pt x="1617" y="1558"/>
                </a:cubicBezTo>
                <a:cubicBezTo>
                  <a:pt x="1604" y="1572"/>
                  <a:pt x="1591" y="1586"/>
                  <a:pt x="1577" y="1599"/>
                </a:cubicBezTo>
                <a:cubicBezTo>
                  <a:pt x="1536" y="1639"/>
                  <a:pt x="1491" y="1675"/>
                  <a:pt x="1444" y="1706"/>
                </a:cubicBezTo>
                <a:cubicBezTo>
                  <a:pt x="1442" y="1707"/>
                  <a:pt x="1441" y="1707"/>
                  <a:pt x="1439" y="1707"/>
                </a:cubicBezTo>
                <a:close/>
                <a:moveTo>
                  <a:pt x="356" y="1659"/>
                </a:moveTo>
                <a:cubicBezTo>
                  <a:pt x="354" y="1659"/>
                  <a:pt x="352" y="1658"/>
                  <a:pt x="350" y="1657"/>
                </a:cubicBezTo>
                <a:cubicBezTo>
                  <a:pt x="348" y="1656"/>
                  <a:pt x="347" y="1654"/>
                  <a:pt x="347" y="1651"/>
                </a:cubicBezTo>
                <a:cubicBezTo>
                  <a:pt x="347" y="1649"/>
                  <a:pt x="347" y="1647"/>
                  <a:pt x="349" y="1645"/>
                </a:cubicBezTo>
                <a:cubicBezTo>
                  <a:pt x="352" y="1642"/>
                  <a:pt x="357" y="1641"/>
                  <a:pt x="361" y="1644"/>
                </a:cubicBezTo>
                <a:cubicBezTo>
                  <a:pt x="364" y="1647"/>
                  <a:pt x="365" y="1652"/>
                  <a:pt x="362" y="1656"/>
                </a:cubicBezTo>
                <a:cubicBezTo>
                  <a:pt x="361" y="1658"/>
                  <a:pt x="358" y="1659"/>
                  <a:pt x="356" y="1659"/>
                </a:cubicBezTo>
                <a:close/>
                <a:moveTo>
                  <a:pt x="334" y="1641"/>
                </a:moveTo>
                <a:cubicBezTo>
                  <a:pt x="332" y="1641"/>
                  <a:pt x="330" y="1640"/>
                  <a:pt x="328" y="1639"/>
                </a:cubicBezTo>
                <a:cubicBezTo>
                  <a:pt x="314" y="1627"/>
                  <a:pt x="300" y="1614"/>
                  <a:pt x="286" y="1601"/>
                </a:cubicBezTo>
                <a:cubicBezTo>
                  <a:pt x="245" y="1561"/>
                  <a:pt x="207" y="1518"/>
                  <a:pt x="174" y="1471"/>
                </a:cubicBezTo>
                <a:cubicBezTo>
                  <a:pt x="171" y="1467"/>
                  <a:pt x="172" y="1462"/>
                  <a:pt x="176" y="1459"/>
                </a:cubicBezTo>
                <a:cubicBezTo>
                  <a:pt x="180" y="1457"/>
                  <a:pt x="185" y="1458"/>
                  <a:pt x="188" y="1461"/>
                </a:cubicBezTo>
                <a:cubicBezTo>
                  <a:pt x="220" y="1507"/>
                  <a:pt x="257" y="1550"/>
                  <a:pt x="298" y="1588"/>
                </a:cubicBezTo>
                <a:cubicBezTo>
                  <a:pt x="311" y="1601"/>
                  <a:pt x="325" y="1614"/>
                  <a:pt x="339" y="1626"/>
                </a:cubicBezTo>
                <a:cubicBezTo>
                  <a:pt x="343" y="1629"/>
                  <a:pt x="343" y="1634"/>
                  <a:pt x="340" y="1638"/>
                </a:cubicBezTo>
                <a:cubicBezTo>
                  <a:pt x="339" y="1640"/>
                  <a:pt x="336" y="1641"/>
                  <a:pt x="334" y="1641"/>
                </a:cubicBezTo>
                <a:close/>
                <a:moveTo>
                  <a:pt x="1630" y="1540"/>
                </a:moveTo>
                <a:cubicBezTo>
                  <a:pt x="1628" y="1540"/>
                  <a:pt x="1626" y="1539"/>
                  <a:pt x="1624" y="1538"/>
                </a:cubicBezTo>
                <a:cubicBezTo>
                  <a:pt x="1621" y="1535"/>
                  <a:pt x="1620" y="1529"/>
                  <a:pt x="1623" y="1526"/>
                </a:cubicBezTo>
                <a:cubicBezTo>
                  <a:pt x="1626" y="1522"/>
                  <a:pt x="1632" y="1522"/>
                  <a:pt x="1635" y="1525"/>
                </a:cubicBezTo>
                <a:cubicBezTo>
                  <a:pt x="1637" y="1526"/>
                  <a:pt x="1638" y="1528"/>
                  <a:pt x="1638" y="1531"/>
                </a:cubicBezTo>
                <a:cubicBezTo>
                  <a:pt x="1638" y="1533"/>
                  <a:pt x="1638" y="1535"/>
                  <a:pt x="1636" y="1537"/>
                </a:cubicBezTo>
                <a:cubicBezTo>
                  <a:pt x="1634" y="1539"/>
                  <a:pt x="1632" y="1540"/>
                  <a:pt x="1630" y="1540"/>
                </a:cubicBezTo>
                <a:close/>
                <a:moveTo>
                  <a:pt x="1648" y="1518"/>
                </a:moveTo>
                <a:cubicBezTo>
                  <a:pt x="1646" y="1518"/>
                  <a:pt x="1644" y="1517"/>
                  <a:pt x="1642" y="1516"/>
                </a:cubicBezTo>
                <a:cubicBezTo>
                  <a:pt x="1641" y="1515"/>
                  <a:pt x="1640" y="1513"/>
                  <a:pt x="1639" y="1510"/>
                </a:cubicBezTo>
                <a:cubicBezTo>
                  <a:pt x="1639" y="1508"/>
                  <a:pt x="1640" y="1506"/>
                  <a:pt x="1641" y="1504"/>
                </a:cubicBezTo>
                <a:cubicBezTo>
                  <a:pt x="1676" y="1461"/>
                  <a:pt x="1707" y="1414"/>
                  <a:pt x="1734" y="1364"/>
                </a:cubicBezTo>
                <a:cubicBezTo>
                  <a:pt x="1743" y="1348"/>
                  <a:pt x="1751" y="1331"/>
                  <a:pt x="1759" y="1314"/>
                </a:cubicBezTo>
                <a:cubicBezTo>
                  <a:pt x="1761" y="1310"/>
                  <a:pt x="1766" y="1308"/>
                  <a:pt x="1770" y="1310"/>
                </a:cubicBezTo>
                <a:cubicBezTo>
                  <a:pt x="1775" y="1312"/>
                  <a:pt x="1776" y="1317"/>
                  <a:pt x="1775" y="1321"/>
                </a:cubicBezTo>
                <a:cubicBezTo>
                  <a:pt x="1767" y="1338"/>
                  <a:pt x="1758" y="1356"/>
                  <a:pt x="1749" y="1372"/>
                </a:cubicBezTo>
                <a:cubicBezTo>
                  <a:pt x="1722" y="1423"/>
                  <a:pt x="1690" y="1471"/>
                  <a:pt x="1654" y="1515"/>
                </a:cubicBezTo>
                <a:cubicBezTo>
                  <a:pt x="1653" y="1517"/>
                  <a:pt x="1650" y="1518"/>
                  <a:pt x="1648" y="1518"/>
                </a:cubicBezTo>
                <a:close/>
                <a:moveTo>
                  <a:pt x="165" y="1452"/>
                </a:moveTo>
                <a:cubicBezTo>
                  <a:pt x="162" y="1452"/>
                  <a:pt x="159" y="1450"/>
                  <a:pt x="158" y="1448"/>
                </a:cubicBezTo>
                <a:cubicBezTo>
                  <a:pt x="158" y="1448"/>
                  <a:pt x="158" y="1448"/>
                  <a:pt x="158" y="1448"/>
                </a:cubicBezTo>
                <a:cubicBezTo>
                  <a:pt x="158" y="1448"/>
                  <a:pt x="158" y="1448"/>
                  <a:pt x="158" y="1448"/>
                </a:cubicBezTo>
                <a:cubicBezTo>
                  <a:pt x="157" y="1446"/>
                  <a:pt x="156" y="1444"/>
                  <a:pt x="157" y="1441"/>
                </a:cubicBezTo>
                <a:cubicBezTo>
                  <a:pt x="157" y="1439"/>
                  <a:pt x="158" y="1437"/>
                  <a:pt x="160" y="1436"/>
                </a:cubicBezTo>
                <a:cubicBezTo>
                  <a:pt x="164" y="1434"/>
                  <a:pt x="169" y="1435"/>
                  <a:pt x="172" y="1438"/>
                </a:cubicBezTo>
                <a:cubicBezTo>
                  <a:pt x="172" y="1438"/>
                  <a:pt x="172" y="1438"/>
                  <a:pt x="172" y="1438"/>
                </a:cubicBezTo>
                <a:cubicBezTo>
                  <a:pt x="175" y="1442"/>
                  <a:pt x="173" y="1448"/>
                  <a:pt x="170" y="1450"/>
                </a:cubicBezTo>
                <a:cubicBezTo>
                  <a:pt x="168" y="1451"/>
                  <a:pt x="167" y="1452"/>
                  <a:pt x="165" y="1452"/>
                </a:cubicBezTo>
                <a:close/>
                <a:moveTo>
                  <a:pt x="150" y="1428"/>
                </a:moveTo>
                <a:cubicBezTo>
                  <a:pt x="147" y="1428"/>
                  <a:pt x="144" y="1426"/>
                  <a:pt x="142" y="1424"/>
                </a:cubicBezTo>
                <a:cubicBezTo>
                  <a:pt x="132" y="1408"/>
                  <a:pt x="122" y="1391"/>
                  <a:pt x="114" y="1375"/>
                </a:cubicBezTo>
                <a:cubicBezTo>
                  <a:pt x="112" y="1373"/>
                  <a:pt x="112" y="1370"/>
                  <a:pt x="113" y="1368"/>
                </a:cubicBezTo>
                <a:cubicBezTo>
                  <a:pt x="113" y="1366"/>
                  <a:pt x="115" y="1364"/>
                  <a:pt x="117" y="1363"/>
                </a:cubicBezTo>
                <a:cubicBezTo>
                  <a:pt x="121" y="1361"/>
                  <a:pt x="126" y="1362"/>
                  <a:pt x="128" y="1366"/>
                </a:cubicBezTo>
                <a:cubicBezTo>
                  <a:pt x="137" y="1383"/>
                  <a:pt x="147" y="1399"/>
                  <a:pt x="157" y="1415"/>
                </a:cubicBezTo>
                <a:cubicBezTo>
                  <a:pt x="159" y="1419"/>
                  <a:pt x="158" y="1424"/>
                  <a:pt x="154" y="1427"/>
                </a:cubicBezTo>
                <a:cubicBezTo>
                  <a:pt x="153" y="1427"/>
                  <a:pt x="151" y="1428"/>
                  <a:pt x="150" y="1428"/>
                </a:cubicBezTo>
                <a:close/>
                <a:moveTo>
                  <a:pt x="84" y="1303"/>
                </a:moveTo>
                <a:cubicBezTo>
                  <a:pt x="81" y="1303"/>
                  <a:pt x="78" y="1301"/>
                  <a:pt x="76" y="1298"/>
                </a:cubicBezTo>
                <a:cubicBezTo>
                  <a:pt x="70" y="1283"/>
                  <a:pt x="64" y="1267"/>
                  <a:pt x="58" y="1251"/>
                </a:cubicBezTo>
                <a:cubicBezTo>
                  <a:pt x="38" y="1198"/>
                  <a:pt x="23" y="1142"/>
                  <a:pt x="14" y="1086"/>
                </a:cubicBezTo>
                <a:cubicBezTo>
                  <a:pt x="13" y="1084"/>
                  <a:pt x="14" y="1082"/>
                  <a:pt x="15" y="1080"/>
                </a:cubicBezTo>
                <a:cubicBezTo>
                  <a:pt x="16" y="1078"/>
                  <a:pt x="18" y="1077"/>
                  <a:pt x="21" y="1076"/>
                </a:cubicBezTo>
                <a:cubicBezTo>
                  <a:pt x="25" y="1076"/>
                  <a:pt x="30" y="1079"/>
                  <a:pt x="30" y="1083"/>
                </a:cubicBezTo>
                <a:cubicBezTo>
                  <a:pt x="40" y="1138"/>
                  <a:pt x="54" y="1193"/>
                  <a:pt x="74" y="1246"/>
                </a:cubicBezTo>
                <a:cubicBezTo>
                  <a:pt x="79" y="1261"/>
                  <a:pt x="86" y="1276"/>
                  <a:pt x="92" y="1292"/>
                </a:cubicBezTo>
                <a:cubicBezTo>
                  <a:pt x="94" y="1296"/>
                  <a:pt x="92" y="1301"/>
                  <a:pt x="88" y="1303"/>
                </a:cubicBezTo>
                <a:cubicBezTo>
                  <a:pt x="87" y="1303"/>
                  <a:pt x="85" y="1303"/>
                  <a:pt x="84" y="1303"/>
                </a:cubicBezTo>
                <a:close/>
                <a:moveTo>
                  <a:pt x="1778" y="1300"/>
                </a:moveTo>
                <a:cubicBezTo>
                  <a:pt x="1777" y="1300"/>
                  <a:pt x="1776" y="1300"/>
                  <a:pt x="1775" y="1300"/>
                </a:cubicBezTo>
                <a:cubicBezTo>
                  <a:pt x="1771" y="1298"/>
                  <a:pt x="1769" y="1293"/>
                  <a:pt x="1771" y="1289"/>
                </a:cubicBezTo>
                <a:cubicBezTo>
                  <a:pt x="1772" y="1284"/>
                  <a:pt x="1777" y="1282"/>
                  <a:pt x="1782" y="1284"/>
                </a:cubicBezTo>
                <a:cubicBezTo>
                  <a:pt x="1786" y="1286"/>
                  <a:pt x="1788" y="1291"/>
                  <a:pt x="1786" y="1295"/>
                </a:cubicBezTo>
                <a:cubicBezTo>
                  <a:pt x="1785" y="1298"/>
                  <a:pt x="1782" y="1300"/>
                  <a:pt x="1778" y="1300"/>
                </a:cubicBezTo>
                <a:close/>
                <a:moveTo>
                  <a:pt x="1789" y="1274"/>
                </a:moveTo>
                <a:cubicBezTo>
                  <a:pt x="1788" y="1274"/>
                  <a:pt x="1787" y="1274"/>
                  <a:pt x="1786" y="1274"/>
                </a:cubicBezTo>
                <a:cubicBezTo>
                  <a:pt x="1784" y="1273"/>
                  <a:pt x="1782" y="1271"/>
                  <a:pt x="1781" y="1269"/>
                </a:cubicBezTo>
                <a:cubicBezTo>
                  <a:pt x="1780" y="1267"/>
                  <a:pt x="1780" y="1265"/>
                  <a:pt x="1781" y="1263"/>
                </a:cubicBezTo>
                <a:cubicBezTo>
                  <a:pt x="1787" y="1248"/>
                  <a:pt x="1792" y="1234"/>
                  <a:pt x="1797" y="1219"/>
                </a:cubicBezTo>
                <a:cubicBezTo>
                  <a:pt x="1810" y="1181"/>
                  <a:pt x="1820" y="1141"/>
                  <a:pt x="1828" y="1101"/>
                </a:cubicBezTo>
                <a:cubicBezTo>
                  <a:pt x="1831" y="1083"/>
                  <a:pt x="1834" y="1065"/>
                  <a:pt x="1836" y="1046"/>
                </a:cubicBezTo>
                <a:cubicBezTo>
                  <a:pt x="1837" y="1041"/>
                  <a:pt x="1841" y="1038"/>
                  <a:pt x="1846" y="1039"/>
                </a:cubicBezTo>
                <a:cubicBezTo>
                  <a:pt x="1851" y="1039"/>
                  <a:pt x="1854" y="1044"/>
                  <a:pt x="1853" y="1048"/>
                </a:cubicBezTo>
                <a:cubicBezTo>
                  <a:pt x="1851" y="1067"/>
                  <a:pt x="1848" y="1086"/>
                  <a:pt x="1844" y="1105"/>
                </a:cubicBezTo>
                <a:cubicBezTo>
                  <a:pt x="1837" y="1145"/>
                  <a:pt x="1826" y="1185"/>
                  <a:pt x="1813" y="1224"/>
                </a:cubicBezTo>
                <a:cubicBezTo>
                  <a:pt x="1808" y="1239"/>
                  <a:pt x="1803" y="1254"/>
                  <a:pt x="1797" y="1269"/>
                </a:cubicBezTo>
                <a:cubicBezTo>
                  <a:pt x="1797" y="1269"/>
                  <a:pt x="1797" y="1269"/>
                  <a:pt x="1797" y="1269"/>
                </a:cubicBezTo>
                <a:cubicBezTo>
                  <a:pt x="1796" y="1272"/>
                  <a:pt x="1793" y="1274"/>
                  <a:pt x="1789" y="1274"/>
                </a:cubicBezTo>
                <a:close/>
                <a:moveTo>
                  <a:pt x="18" y="1065"/>
                </a:moveTo>
                <a:cubicBezTo>
                  <a:pt x="13" y="1065"/>
                  <a:pt x="10" y="1062"/>
                  <a:pt x="9" y="1058"/>
                </a:cubicBezTo>
                <a:cubicBezTo>
                  <a:pt x="9" y="1056"/>
                  <a:pt x="10" y="1053"/>
                  <a:pt x="11" y="1052"/>
                </a:cubicBezTo>
                <a:cubicBezTo>
                  <a:pt x="12" y="1050"/>
                  <a:pt x="14" y="1049"/>
                  <a:pt x="16" y="1048"/>
                </a:cubicBezTo>
                <a:cubicBezTo>
                  <a:pt x="21" y="1048"/>
                  <a:pt x="25" y="1051"/>
                  <a:pt x="26" y="1056"/>
                </a:cubicBezTo>
                <a:cubicBezTo>
                  <a:pt x="26" y="1058"/>
                  <a:pt x="26" y="1060"/>
                  <a:pt x="24" y="1062"/>
                </a:cubicBezTo>
                <a:cubicBezTo>
                  <a:pt x="23" y="1064"/>
                  <a:pt x="21" y="1065"/>
                  <a:pt x="19" y="1065"/>
                </a:cubicBezTo>
                <a:cubicBezTo>
                  <a:pt x="18" y="1065"/>
                  <a:pt x="18" y="1065"/>
                  <a:pt x="18" y="1065"/>
                </a:cubicBezTo>
                <a:close/>
                <a:moveTo>
                  <a:pt x="14" y="1037"/>
                </a:moveTo>
                <a:cubicBezTo>
                  <a:pt x="10" y="1037"/>
                  <a:pt x="6" y="1034"/>
                  <a:pt x="6" y="1030"/>
                </a:cubicBezTo>
                <a:cubicBezTo>
                  <a:pt x="4" y="1011"/>
                  <a:pt x="2" y="992"/>
                  <a:pt x="1" y="973"/>
                </a:cubicBezTo>
                <a:cubicBezTo>
                  <a:pt x="1" y="965"/>
                  <a:pt x="1" y="956"/>
                  <a:pt x="1" y="949"/>
                </a:cubicBezTo>
                <a:cubicBezTo>
                  <a:pt x="1" y="943"/>
                  <a:pt x="0" y="937"/>
                  <a:pt x="0" y="931"/>
                </a:cubicBezTo>
                <a:cubicBezTo>
                  <a:pt x="0" y="888"/>
                  <a:pt x="4" y="845"/>
                  <a:pt x="9" y="802"/>
                </a:cubicBezTo>
                <a:cubicBezTo>
                  <a:pt x="10" y="797"/>
                  <a:pt x="15" y="794"/>
                  <a:pt x="19" y="795"/>
                </a:cubicBezTo>
                <a:cubicBezTo>
                  <a:pt x="21" y="795"/>
                  <a:pt x="23" y="796"/>
                  <a:pt x="25" y="798"/>
                </a:cubicBezTo>
                <a:cubicBezTo>
                  <a:pt x="26" y="800"/>
                  <a:pt x="27" y="802"/>
                  <a:pt x="26" y="804"/>
                </a:cubicBezTo>
                <a:cubicBezTo>
                  <a:pt x="20" y="846"/>
                  <a:pt x="17" y="889"/>
                  <a:pt x="17" y="931"/>
                </a:cubicBezTo>
                <a:cubicBezTo>
                  <a:pt x="17" y="937"/>
                  <a:pt x="17" y="943"/>
                  <a:pt x="18" y="948"/>
                </a:cubicBezTo>
                <a:cubicBezTo>
                  <a:pt x="18" y="956"/>
                  <a:pt x="18" y="964"/>
                  <a:pt x="18" y="972"/>
                </a:cubicBezTo>
                <a:cubicBezTo>
                  <a:pt x="19" y="990"/>
                  <a:pt x="21" y="1009"/>
                  <a:pt x="23" y="1028"/>
                </a:cubicBezTo>
                <a:cubicBezTo>
                  <a:pt x="23" y="1032"/>
                  <a:pt x="20" y="1037"/>
                  <a:pt x="15" y="1037"/>
                </a:cubicBezTo>
                <a:cubicBezTo>
                  <a:pt x="15" y="1037"/>
                  <a:pt x="14" y="1037"/>
                  <a:pt x="14" y="1037"/>
                </a:cubicBezTo>
                <a:close/>
                <a:moveTo>
                  <a:pt x="1848" y="1027"/>
                </a:moveTo>
                <a:cubicBezTo>
                  <a:pt x="1848" y="1027"/>
                  <a:pt x="1847" y="1027"/>
                  <a:pt x="1847" y="1027"/>
                </a:cubicBezTo>
                <a:cubicBezTo>
                  <a:pt x="1843" y="1027"/>
                  <a:pt x="1839" y="1023"/>
                  <a:pt x="1840" y="1018"/>
                </a:cubicBezTo>
                <a:cubicBezTo>
                  <a:pt x="1840" y="1013"/>
                  <a:pt x="1844" y="1010"/>
                  <a:pt x="1849" y="1011"/>
                </a:cubicBezTo>
                <a:cubicBezTo>
                  <a:pt x="1854" y="1011"/>
                  <a:pt x="1857" y="1015"/>
                  <a:pt x="1856" y="1020"/>
                </a:cubicBezTo>
                <a:cubicBezTo>
                  <a:pt x="1856" y="1024"/>
                  <a:pt x="1852" y="1027"/>
                  <a:pt x="1848" y="1027"/>
                </a:cubicBezTo>
                <a:close/>
                <a:moveTo>
                  <a:pt x="1850" y="999"/>
                </a:moveTo>
                <a:cubicBezTo>
                  <a:pt x="1850" y="999"/>
                  <a:pt x="1850" y="999"/>
                  <a:pt x="1850" y="999"/>
                </a:cubicBezTo>
                <a:cubicBezTo>
                  <a:pt x="1848" y="999"/>
                  <a:pt x="1845" y="998"/>
                  <a:pt x="1844" y="996"/>
                </a:cubicBezTo>
                <a:cubicBezTo>
                  <a:pt x="1842" y="995"/>
                  <a:pt x="1842" y="992"/>
                  <a:pt x="1842" y="990"/>
                </a:cubicBezTo>
                <a:cubicBezTo>
                  <a:pt x="1843" y="970"/>
                  <a:pt x="1844" y="950"/>
                  <a:pt x="1844" y="930"/>
                </a:cubicBezTo>
                <a:cubicBezTo>
                  <a:pt x="1844" y="910"/>
                  <a:pt x="1843" y="890"/>
                  <a:pt x="1842" y="871"/>
                </a:cubicBezTo>
                <a:cubicBezTo>
                  <a:pt x="1841" y="854"/>
                  <a:pt x="1839" y="838"/>
                  <a:pt x="1838" y="822"/>
                </a:cubicBezTo>
                <a:cubicBezTo>
                  <a:pt x="1835" y="804"/>
                  <a:pt x="1833" y="785"/>
                  <a:pt x="1829" y="767"/>
                </a:cubicBezTo>
                <a:cubicBezTo>
                  <a:pt x="1829" y="765"/>
                  <a:pt x="1829" y="762"/>
                  <a:pt x="1831" y="761"/>
                </a:cubicBezTo>
                <a:cubicBezTo>
                  <a:pt x="1832" y="759"/>
                  <a:pt x="1834" y="757"/>
                  <a:pt x="1836" y="757"/>
                </a:cubicBezTo>
                <a:cubicBezTo>
                  <a:pt x="1841" y="756"/>
                  <a:pt x="1845" y="759"/>
                  <a:pt x="1846" y="764"/>
                </a:cubicBezTo>
                <a:cubicBezTo>
                  <a:pt x="1849" y="783"/>
                  <a:pt x="1852" y="802"/>
                  <a:pt x="1854" y="820"/>
                </a:cubicBezTo>
                <a:cubicBezTo>
                  <a:pt x="1856" y="837"/>
                  <a:pt x="1858" y="853"/>
                  <a:pt x="1859" y="869"/>
                </a:cubicBezTo>
                <a:cubicBezTo>
                  <a:pt x="1860" y="889"/>
                  <a:pt x="1861" y="910"/>
                  <a:pt x="1861" y="930"/>
                </a:cubicBezTo>
                <a:cubicBezTo>
                  <a:pt x="1861" y="950"/>
                  <a:pt x="1860" y="971"/>
                  <a:pt x="1859" y="991"/>
                </a:cubicBezTo>
                <a:cubicBezTo>
                  <a:pt x="1859" y="996"/>
                  <a:pt x="1855" y="999"/>
                  <a:pt x="1850" y="999"/>
                </a:cubicBezTo>
                <a:close/>
                <a:moveTo>
                  <a:pt x="22" y="784"/>
                </a:moveTo>
                <a:cubicBezTo>
                  <a:pt x="22" y="784"/>
                  <a:pt x="21" y="784"/>
                  <a:pt x="21" y="783"/>
                </a:cubicBezTo>
                <a:cubicBezTo>
                  <a:pt x="16" y="783"/>
                  <a:pt x="13" y="778"/>
                  <a:pt x="14" y="774"/>
                </a:cubicBezTo>
                <a:cubicBezTo>
                  <a:pt x="14" y="773"/>
                  <a:pt x="14" y="773"/>
                  <a:pt x="14" y="773"/>
                </a:cubicBezTo>
                <a:cubicBezTo>
                  <a:pt x="15" y="769"/>
                  <a:pt x="19" y="766"/>
                  <a:pt x="24" y="767"/>
                </a:cubicBezTo>
                <a:cubicBezTo>
                  <a:pt x="26" y="767"/>
                  <a:pt x="28" y="768"/>
                  <a:pt x="29" y="770"/>
                </a:cubicBezTo>
                <a:cubicBezTo>
                  <a:pt x="30" y="772"/>
                  <a:pt x="31" y="774"/>
                  <a:pt x="31" y="776"/>
                </a:cubicBezTo>
                <a:cubicBezTo>
                  <a:pt x="31" y="776"/>
                  <a:pt x="31" y="776"/>
                  <a:pt x="31" y="776"/>
                </a:cubicBezTo>
                <a:cubicBezTo>
                  <a:pt x="31" y="777"/>
                  <a:pt x="31" y="777"/>
                  <a:pt x="31" y="777"/>
                </a:cubicBezTo>
                <a:cubicBezTo>
                  <a:pt x="30" y="781"/>
                  <a:pt x="26" y="784"/>
                  <a:pt x="22" y="784"/>
                </a:cubicBezTo>
                <a:close/>
                <a:moveTo>
                  <a:pt x="27" y="756"/>
                </a:moveTo>
                <a:cubicBezTo>
                  <a:pt x="27" y="756"/>
                  <a:pt x="26" y="756"/>
                  <a:pt x="26" y="756"/>
                </a:cubicBezTo>
                <a:cubicBezTo>
                  <a:pt x="21" y="755"/>
                  <a:pt x="18" y="750"/>
                  <a:pt x="19" y="746"/>
                </a:cubicBezTo>
                <a:cubicBezTo>
                  <a:pt x="23" y="727"/>
                  <a:pt x="27" y="708"/>
                  <a:pt x="32" y="690"/>
                </a:cubicBezTo>
                <a:cubicBezTo>
                  <a:pt x="41" y="658"/>
                  <a:pt x="51" y="627"/>
                  <a:pt x="63" y="596"/>
                </a:cubicBezTo>
                <a:cubicBezTo>
                  <a:pt x="71" y="574"/>
                  <a:pt x="81" y="551"/>
                  <a:pt x="91" y="530"/>
                </a:cubicBezTo>
                <a:cubicBezTo>
                  <a:pt x="91" y="529"/>
                  <a:pt x="91" y="529"/>
                  <a:pt x="91" y="529"/>
                </a:cubicBezTo>
                <a:cubicBezTo>
                  <a:pt x="93" y="525"/>
                  <a:pt x="99" y="524"/>
                  <a:pt x="103" y="526"/>
                </a:cubicBezTo>
                <a:cubicBezTo>
                  <a:pt x="107" y="528"/>
                  <a:pt x="109" y="533"/>
                  <a:pt x="107" y="537"/>
                </a:cubicBezTo>
                <a:cubicBezTo>
                  <a:pt x="96" y="558"/>
                  <a:pt x="87" y="580"/>
                  <a:pt x="78" y="602"/>
                </a:cubicBezTo>
                <a:cubicBezTo>
                  <a:pt x="67" y="632"/>
                  <a:pt x="57" y="663"/>
                  <a:pt x="49" y="694"/>
                </a:cubicBezTo>
                <a:cubicBezTo>
                  <a:pt x="49" y="694"/>
                  <a:pt x="49" y="695"/>
                  <a:pt x="49" y="695"/>
                </a:cubicBezTo>
                <a:cubicBezTo>
                  <a:pt x="44" y="713"/>
                  <a:pt x="39" y="731"/>
                  <a:pt x="36" y="749"/>
                </a:cubicBezTo>
                <a:cubicBezTo>
                  <a:pt x="35" y="753"/>
                  <a:pt x="31" y="756"/>
                  <a:pt x="27" y="756"/>
                </a:cubicBezTo>
                <a:close/>
                <a:moveTo>
                  <a:pt x="1832" y="746"/>
                </a:moveTo>
                <a:cubicBezTo>
                  <a:pt x="1828" y="746"/>
                  <a:pt x="1825" y="743"/>
                  <a:pt x="1824" y="739"/>
                </a:cubicBezTo>
                <a:cubicBezTo>
                  <a:pt x="1823" y="735"/>
                  <a:pt x="1826" y="730"/>
                  <a:pt x="1830" y="729"/>
                </a:cubicBezTo>
                <a:cubicBezTo>
                  <a:pt x="1835" y="728"/>
                  <a:pt x="1839" y="731"/>
                  <a:pt x="1840" y="736"/>
                </a:cubicBezTo>
                <a:cubicBezTo>
                  <a:pt x="1841" y="740"/>
                  <a:pt x="1838" y="745"/>
                  <a:pt x="1834" y="746"/>
                </a:cubicBezTo>
                <a:cubicBezTo>
                  <a:pt x="1833" y="746"/>
                  <a:pt x="1833" y="746"/>
                  <a:pt x="1832" y="746"/>
                </a:cubicBezTo>
                <a:close/>
                <a:moveTo>
                  <a:pt x="1826" y="719"/>
                </a:moveTo>
                <a:cubicBezTo>
                  <a:pt x="1822" y="719"/>
                  <a:pt x="1818" y="716"/>
                  <a:pt x="1817" y="712"/>
                </a:cubicBezTo>
                <a:cubicBezTo>
                  <a:pt x="1804" y="658"/>
                  <a:pt x="1786" y="605"/>
                  <a:pt x="1763" y="553"/>
                </a:cubicBezTo>
                <a:cubicBezTo>
                  <a:pt x="1759" y="546"/>
                  <a:pt x="1756" y="538"/>
                  <a:pt x="1752" y="531"/>
                </a:cubicBezTo>
                <a:cubicBezTo>
                  <a:pt x="1747" y="522"/>
                  <a:pt x="1743" y="512"/>
                  <a:pt x="1738" y="503"/>
                </a:cubicBezTo>
                <a:cubicBezTo>
                  <a:pt x="1736" y="499"/>
                  <a:pt x="1737" y="494"/>
                  <a:pt x="1741" y="492"/>
                </a:cubicBezTo>
                <a:cubicBezTo>
                  <a:pt x="1745" y="490"/>
                  <a:pt x="1751" y="491"/>
                  <a:pt x="1753" y="495"/>
                </a:cubicBezTo>
                <a:cubicBezTo>
                  <a:pt x="1758" y="504"/>
                  <a:pt x="1763" y="514"/>
                  <a:pt x="1767" y="524"/>
                </a:cubicBezTo>
                <a:cubicBezTo>
                  <a:pt x="1771" y="531"/>
                  <a:pt x="1775" y="539"/>
                  <a:pt x="1778" y="546"/>
                </a:cubicBezTo>
                <a:cubicBezTo>
                  <a:pt x="1802" y="598"/>
                  <a:pt x="1820" y="653"/>
                  <a:pt x="1834" y="708"/>
                </a:cubicBezTo>
                <a:cubicBezTo>
                  <a:pt x="1835" y="710"/>
                  <a:pt x="1834" y="713"/>
                  <a:pt x="1833" y="715"/>
                </a:cubicBezTo>
                <a:cubicBezTo>
                  <a:pt x="1832" y="716"/>
                  <a:pt x="1830" y="718"/>
                  <a:pt x="1828" y="718"/>
                </a:cubicBezTo>
                <a:cubicBezTo>
                  <a:pt x="1827" y="719"/>
                  <a:pt x="1826" y="719"/>
                  <a:pt x="1826" y="719"/>
                </a:cubicBezTo>
                <a:close/>
                <a:moveTo>
                  <a:pt x="112" y="516"/>
                </a:moveTo>
                <a:cubicBezTo>
                  <a:pt x="110" y="516"/>
                  <a:pt x="109" y="516"/>
                  <a:pt x="108" y="515"/>
                </a:cubicBezTo>
                <a:cubicBezTo>
                  <a:pt x="106" y="514"/>
                  <a:pt x="104" y="513"/>
                  <a:pt x="103" y="510"/>
                </a:cubicBezTo>
                <a:cubicBezTo>
                  <a:pt x="103" y="508"/>
                  <a:pt x="103" y="506"/>
                  <a:pt x="104" y="504"/>
                </a:cubicBezTo>
                <a:cubicBezTo>
                  <a:pt x="104" y="504"/>
                  <a:pt x="104" y="504"/>
                  <a:pt x="104" y="504"/>
                </a:cubicBezTo>
                <a:cubicBezTo>
                  <a:pt x="104" y="504"/>
                  <a:pt x="104" y="504"/>
                  <a:pt x="104" y="504"/>
                </a:cubicBezTo>
                <a:cubicBezTo>
                  <a:pt x="106" y="500"/>
                  <a:pt x="111" y="498"/>
                  <a:pt x="115" y="500"/>
                </a:cubicBezTo>
                <a:cubicBezTo>
                  <a:pt x="120" y="502"/>
                  <a:pt x="121" y="508"/>
                  <a:pt x="119" y="512"/>
                </a:cubicBezTo>
                <a:cubicBezTo>
                  <a:pt x="118" y="515"/>
                  <a:pt x="115" y="516"/>
                  <a:pt x="112" y="516"/>
                </a:cubicBezTo>
                <a:close/>
                <a:moveTo>
                  <a:pt x="125" y="491"/>
                </a:moveTo>
                <a:cubicBezTo>
                  <a:pt x="123" y="491"/>
                  <a:pt x="122" y="491"/>
                  <a:pt x="121" y="490"/>
                </a:cubicBezTo>
                <a:cubicBezTo>
                  <a:pt x="117" y="488"/>
                  <a:pt x="115" y="483"/>
                  <a:pt x="117" y="479"/>
                </a:cubicBezTo>
                <a:cubicBezTo>
                  <a:pt x="127" y="462"/>
                  <a:pt x="137" y="446"/>
                  <a:pt x="147" y="430"/>
                </a:cubicBezTo>
                <a:cubicBezTo>
                  <a:pt x="177" y="381"/>
                  <a:pt x="213" y="336"/>
                  <a:pt x="251" y="295"/>
                </a:cubicBezTo>
                <a:cubicBezTo>
                  <a:pt x="255" y="291"/>
                  <a:pt x="260" y="291"/>
                  <a:pt x="263" y="294"/>
                </a:cubicBezTo>
                <a:cubicBezTo>
                  <a:pt x="267" y="297"/>
                  <a:pt x="267" y="303"/>
                  <a:pt x="264" y="306"/>
                </a:cubicBezTo>
                <a:cubicBezTo>
                  <a:pt x="226" y="347"/>
                  <a:pt x="191" y="391"/>
                  <a:pt x="161" y="439"/>
                </a:cubicBezTo>
                <a:cubicBezTo>
                  <a:pt x="161" y="439"/>
                  <a:pt x="161" y="439"/>
                  <a:pt x="161" y="439"/>
                </a:cubicBezTo>
                <a:cubicBezTo>
                  <a:pt x="151" y="454"/>
                  <a:pt x="141" y="471"/>
                  <a:pt x="132" y="487"/>
                </a:cubicBezTo>
                <a:cubicBezTo>
                  <a:pt x="131" y="490"/>
                  <a:pt x="128" y="491"/>
                  <a:pt x="125" y="491"/>
                </a:cubicBezTo>
                <a:close/>
                <a:moveTo>
                  <a:pt x="1732" y="483"/>
                </a:moveTo>
                <a:cubicBezTo>
                  <a:pt x="1729" y="483"/>
                  <a:pt x="1726" y="481"/>
                  <a:pt x="1724" y="479"/>
                </a:cubicBezTo>
                <a:cubicBezTo>
                  <a:pt x="1722" y="475"/>
                  <a:pt x="1724" y="469"/>
                  <a:pt x="1728" y="467"/>
                </a:cubicBezTo>
                <a:cubicBezTo>
                  <a:pt x="1731" y="465"/>
                  <a:pt x="1737" y="466"/>
                  <a:pt x="1739" y="470"/>
                </a:cubicBezTo>
                <a:cubicBezTo>
                  <a:pt x="1741" y="474"/>
                  <a:pt x="1740" y="479"/>
                  <a:pt x="1736" y="482"/>
                </a:cubicBezTo>
                <a:cubicBezTo>
                  <a:pt x="1735" y="483"/>
                  <a:pt x="1733" y="483"/>
                  <a:pt x="1732" y="483"/>
                </a:cubicBezTo>
                <a:close/>
                <a:moveTo>
                  <a:pt x="1717" y="459"/>
                </a:moveTo>
                <a:cubicBezTo>
                  <a:pt x="1717" y="459"/>
                  <a:pt x="1717" y="459"/>
                  <a:pt x="1717" y="459"/>
                </a:cubicBezTo>
                <a:cubicBezTo>
                  <a:pt x="1714" y="459"/>
                  <a:pt x="1712" y="457"/>
                  <a:pt x="1710" y="454"/>
                </a:cubicBezTo>
                <a:cubicBezTo>
                  <a:pt x="1681" y="407"/>
                  <a:pt x="1647" y="361"/>
                  <a:pt x="1610" y="320"/>
                </a:cubicBezTo>
                <a:cubicBezTo>
                  <a:pt x="1598" y="306"/>
                  <a:pt x="1585" y="292"/>
                  <a:pt x="1571" y="279"/>
                </a:cubicBezTo>
                <a:cubicBezTo>
                  <a:pt x="1570" y="278"/>
                  <a:pt x="1569" y="276"/>
                  <a:pt x="1569" y="273"/>
                </a:cubicBezTo>
                <a:cubicBezTo>
                  <a:pt x="1569" y="271"/>
                  <a:pt x="1570" y="269"/>
                  <a:pt x="1571" y="267"/>
                </a:cubicBezTo>
                <a:cubicBezTo>
                  <a:pt x="1574" y="264"/>
                  <a:pt x="1580" y="264"/>
                  <a:pt x="1583" y="267"/>
                </a:cubicBezTo>
                <a:cubicBezTo>
                  <a:pt x="1597" y="280"/>
                  <a:pt x="1610" y="294"/>
                  <a:pt x="1623" y="308"/>
                </a:cubicBezTo>
                <a:cubicBezTo>
                  <a:pt x="1661" y="351"/>
                  <a:pt x="1695" y="397"/>
                  <a:pt x="1725" y="446"/>
                </a:cubicBezTo>
                <a:cubicBezTo>
                  <a:pt x="1726" y="448"/>
                  <a:pt x="1726" y="450"/>
                  <a:pt x="1726" y="452"/>
                </a:cubicBezTo>
                <a:cubicBezTo>
                  <a:pt x="1725" y="454"/>
                  <a:pt x="1724" y="456"/>
                  <a:pt x="1722" y="457"/>
                </a:cubicBezTo>
                <a:cubicBezTo>
                  <a:pt x="1720" y="458"/>
                  <a:pt x="1719" y="459"/>
                  <a:pt x="1717" y="459"/>
                </a:cubicBezTo>
                <a:close/>
                <a:moveTo>
                  <a:pt x="277" y="289"/>
                </a:moveTo>
                <a:cubicBezTo>
                  <a:pt x="275" y="289"/>
                  <a:pt x="273" y="288"/>
                  <a:pt x="271" y="286"/>
                </a:cubicBezTo>
                <a:cubicBezTo>
                  <a:pt x="270" y="284"/>
                  <a:pt x="269" y="282"/>
                  <a:pt x="269" y="280"/>
                </a:cubicBezTo>
                <a:cubicBezTo>
                  <a:pt x="269" y="278"/>
                  <a:pt x="270" y="276"/>
                  <a:pt x="271" y="274"/>
                </a:cubicBezTo>
                <a:cubicBezTo>
                  <a:pt x="274" y="271"/>
                  <a:pt x="280" y="271"/>
                  <a:pt x="283" y="274"/>
                </a:cubicBezTo>
                <a:cubicBezTo>
                  <a:pt x="285" y="276"/>
                  <a:pt x="286" y="278"/>
                  <a:pt x="286" y="280"/>
                </a:cubicBezTo>
                <a:cubicBezTo>
                  <a:pt x="286" y="282"/>
                  <a:pt x="285" y="284"/>
                  <a:pt x="284" y="286"/>
                </a:cubicBezTo>
                <a:cubicBezTo>
                  <a:pt x="284" y="286"/>
                  <a:pt x="284" y="286"/>
                  <a:pt x="284" y="286"/>
                </a:cubicBezTo>
                <a:cubicBezTo>
                  <a:pt x="283" y="286"/>
                  <a:pt x="283" y="286"/>
                  <a:pt x="283" y="286"/>
                </a:cubicBezTo>
                <a:cubicBezTo>
                  <a:pt x="282" y="288"/>
                  <a:pt x="280" y="289"/>
                  <a:pt x="277" y="289"/>
                </a:cubicBezTo>
                <a:close/>
                <a:moveTo>
                  <a:pt x="298" y="269"/>
                </a:moveTo>
                <a:cubicBezTo>
                  <a:pt x="295" y="269"/>
                  <a:pt x="293" y="268"/>
                  <a:pt x="291" y="266"/>
                </a:cubicBezTo>
                <a:cubicBezTo>
                  <a:pt x="288" y="263"/>
                  <a:pt x="288" y="257"/>
                  <a:pt x="292" y="254"/>
                </a:cubicBezTo>
                <a:cubicBezTo>
                  <a:pt x="305" y="241"/>
                  <a:pt x="320" y="229"/>
                  <a:pt x="334" y="216"/>
                </a:cubicBezTo>
                <a:cubicBezTo>
                  <a:pt x="334" y="216"/>
                  <a:pt x="334" y="216"/>
                  <a:pt x="334" y="216"/>
                </a:cubicBezTo>
                <a:cubicBezTo>
                  <a:pt x="335" y="216"/>
                  <a:pt x="335" y="216"/>
                  <a:pt x="335" y="216"/>
                </a:cubicBezTo>
                <a:cubicBezTo>
                  <a:pt x="378" y="180"/>
                  <a:pt x="426" y="147"/>
                  <a:pt x="475" y="119"/>
                </a:cubicBezTo>
                <a:cubicBezTo>
                  <a:pt x="479" y="117"/>
                  <a:pt x="485" y="119"/>
                  <a:pt x="487" y="123"/>
                </a:cubicBezTo>
                <a:cubicBezTo>
                  <a:pt x="488" y="125"/>
                  <a:pt x="488" y="127"/>
                  <a:pt x="488" y="129"/>
                </a:cubicBezTo>
                <a:cubicBezTo>
                  <a:pt x="487" y="131"/>
                  <a:pt x="486" y="133"/>
                  <a:pt x="484" y="134"/>
                </a:cubicBezTo>
                <a:cubicBezTo>
                  <a:pt x="435" y="162"/>
                  <a:pt x="388" y="194"/>
                  <a:pt x="345" y="229"/>
                </a:cubicBezTo>
                <a:cubicBezTo>
                  <a:pt x="331" y="241"/>
                  <a:pt x="317" y="254"/>
                  <a:pt x="303" y="266"/>
                </a:cubicBezTo>
                <a:cubicBezTo>
                  <a:pt x="302" y="268"/>
                  <a:pt x="300" y="269"/>
                  <a:pt x="298" y="269"/>
                </a:cubicBezTo>
                <a:close/>
                <a:moveTo>
                  <a:pt x="1557" y="262"/>
                </a:moveTo>
                <a:cubicBezTo>
                  <a:pt x="1555" y="262"/>
                  <a:pt x="1553" y="261"/>
                  <a:pt x="1551" y="260"/>
                </a:cubicBezTo>
                <a:cubicBezTo>
                  <a:pt x="1549" y="258"/>
                  <a:pt x="1548" y="256"/>
                  <a:pt x="1548" y="254"/>
                </a:cubicBezTo>
                <a:cubicBezTo>
                  <a:pt x="1548" y="252"/>
                  <a:pt x="1549" y="250"/>
                  <a:pt x="1550" y="248"/>
                </a:cubicBezTo>
                <a:cubicBezTo>
                  <a:pt x="1554" y="245"/>
                  <a:pt x="1559" y="244"/>
                  <a:pt x="1562" y="247"/>
                </a:cubicBezTo>
                <a:cubicBezTo>
                  <a:pt x="1566" y="251"/>
                  <a:pt x="1566" y="256"/>
                  <a:pt x="1563" y="259"/>
                </a:cubicBezTo>
                <a:cubicBezTo>
                  <a:pt x="1561" y="261"/>
                  <a:pt x="1559" y="262"/>
                  <a:pt x="1557" y="262"/>
                </a:cubicBezTo>
                <a:close/>
                <a:moveTo>
                  <a:pt x="1536" y="243"/>
                </a:moveTo>
                <a:cubicBezTo>
                  <a:pt x="1534" y="243"/>
                  <a:pt x="1532" y="243"/>
                  <a:pt x="1530" y="241"/>
                </a:cubicBezTo>
                <a:cubicBezTo>
                  <a:pt x="1488" y="205"/>
                  <a:pt x="1442" y="172"/>
                  <a:pt x="1394" y="143"/>
                </a:cubicBezTo>
                <a:cubicBezTo>
                  <a:pt x="1378" y="134"/>
                  <a:pt x="1361" y="125"/>
                  <a:pt x="1345" y="116"/>
                </a:cubicBezTo>
                <a:cubicBezTo>
                  <a:pt x="1340" y="114"/>
                  <a:pt x="1339" y="109"/>
                  <a:pt x="1341" y="105"/>
                </a:cubicBezTo>
                <a:cubicBezTo>
                  <a:pt x="1343" y="101"/>
                  <a:pt x="1348" y="99"/>
                  <a:pt x="1352" y="101"/>
                </a:cubicBezTo>
                <a:cubicBezTo>
                  <a:pt x="1369" y="110"/>
                  <a:pt x="1386" y="119"/>
                  <a:pt x="1402" y="129"/>
                </a:cubicBezTo>
                <a:cubicBezTo>
                  <a:pt x="1402" y="129"/>
                  <a:pt x="1402" y="129"/>
                  <a:pt x="1402" y="129"/>
                </a:cubicBezTo>
                <a:cubicBezTo>
                  <a:pt x="1402" y="129"/>
                  <a:pt x="1402" y="129"/>
                  <a:pt x="1403" y="129"/>
                </a:cubicBezTo>
                <a:cubicBezTo>
                  <a:pt x="1403" y="129"/>
                  <a:pt x="1403" y="129"/>
                  <a:pt x="1403" y="129"/>
                </a:cubicBezTo>
                <a:cubicBezTo>
                  <a:pt x="1452" y="158"/>
                  <a:pt x="1498" y="191"/>
                  <a:pt x="1541" y="228"/>
                </a:cubicBezTo>
                <a:cubicBezTo>
                  <a:pt x="1543" y="230"/>
                  <a:pt x="1544" y="232"/>
                  <a:pt x="1544" y="234"/>
                </a:cubicBezTo>
                <a:cubicBezTo>
                  <a:pt x="1544" y="236"/>
                  <a:pt x="1544" y="239"/>
                  <a:pt x="1542" y="240"/>
                </a:cubicBezTo>
                <a:cubicBezTo>
                  <a:pt x="1540" y="242"/>
                  <a:pt x="1538" y="243"/>
                  <a:pt x="1536" y="243"/>
                </a:cubicBezTo>
                <a:close/>
                <a:moveTo>
                  <a:pt x="504" y="122"/>
                </a:moveTo>
                <a:cubicBezTo>
                  <a:pt x="501" y="122"/>
                  <a:pt x="498" y="120"/>
                  <a:pt x="497" y="117"/>
                </a:cubicBezTo>
                <a:cubicBezTo>
                  <a:pt x="496" y="115"/>
                  <a:pt x="496" y="113"/>
                  <a:pt x="496" y="111"/>
                </a:cubicBezTo>
                <a:cubicBezTo>
                  <a:pt x="497" y="109"/>
                  <a:pt x="498" y="107"/>
                  <a:pt x="500" y="106"/>
                </a:cubicBezTo>
                <a:cubicBezTo>
                  <a:pt x="505" y="104"/>
                  <a:pt x="510" y="105"/>
                  <a:pt x="512" y="109"/>
                </a:cubicBezTo>
                <a:cubicBezTo>
                  <a:pt x="513" y="111"/>
                  <a:pt x="513" y="114"/>
                  <a:pt x="512" y="116"/>
                </a:cubicBezTo>
                <a:cubicBezTo>
                  <a:pt x="512" y="118"/>
                  <a:pt x="510" y="120"/>
                  <a:pt x="508" y="121"/>
                </a:cubicBezTo>
                <a:cubicBezTo>
                  <a:pt x="507" y="121"/>
                  <a:pt x="506" y="122"/>
                  <a:pt x="504" y="122"/>
                </a:cubicBezTo>
                <a:close/>
                <a:moveTo>
                  <a:pt x="530" y="109"/>
                </a:moveTo>
                <a:cubicBezTo>
                  <a:pt x="526" y="109"/>
                  <a:pt x="523" y="107"/>
                  <a:pt x="522" y="104"/>
                </a:cubicBezTo>
                <a:cubicBezTo>
                  <a:pt x="521" y="102"/>
                  <a:pt x="521" y="100"/>
                  <a:pt x="522" y="98"/>
                </a:cubicBezTo>
                <a:cubicBezTo>
                  <a:pt x="522" y="96"/>
                  <a:pt x="524" y="94"/>
                  <a:pt x="526" y="93"/>
                </a:cubicBezTo>
                <a:cubicBezTo>
                  <a:pt x="532" y="90"/>
                  <a:pt x="537" y="88"/>
                  <a:pt x="543" y="85"/>
                </a:cubicBezTo>
                <a:cubicBezTo>
                  <a:pt x="555" y="80"/>
                  <a:pt x="566" y="74"/>
                  <a:pt x="578" y="70"/>
                </a:cubicBezTo>
                <a:cubicBezTo>
                  <a:pt x="631" y="48"/>
                  <a:pt x="686" y="31"/>
                  <a:pt x="742" y="19"/>
                </a:cubicBezTo>
                <a:cubicBezTo>
                  <a:pt x="746" y="19"/>
                  <a:pt x="751" y="22"/>
                  <a:pt x="752" y="26"/>
                </a:cubicBezTo>
                <a:cubicBezTo>
                  <a:pt x="753" y="31"/>
                  <a:pt x="750" y="35"/>
                  <a:pt x="745" y="36"/>
                </a:cubicBezTo>
                <a:cubicBezTo>
                  <a:pt x="690" y="48"/>
                  <a:pt x="636" y="64"/>
                  <a:pt x="585" y="85"/>
                </a:cubicBezTo>
                <a:cubicBezTo>
                  <a:pt x="573" y="90"/>
                  <a:pt x="562" y="95"/>
                  <a:pt x="550" y="100"/>
                </a:cubicBezTo>
                <a:cubicBezTo>
                  <a:pt x="544" y="103"/>
                  <a:pt x="539" y="106"/>
                  <a:pt x="533" y="108"/>
                </a:cubicBezTo>
                <a:cubicBezTo>
                  <a:pt x="532" y="109"/>
                  <a:pt x="531" y="109"/>
                  <a:pt x="530" y="109"/>
                </a:cubicBezTo>
                <a:close/>
                <a:moveTo>
                  <a:pt x="1323" y="105"/>
                </a:moveTo>
                <a:cubicBezTo>
                  <a:pt x="1322" y="105"/>
                  <a:pt x="1321" y="105"/>
                  <a:pt x="1319" y="104"/>
                </a:cubicBezTo>
                <a:cubicBezTo>
                  <a:pt x="1317" y="103"/>
                  <a:pt x="1316" y="101"/>
                  <a:pt x="1315" y="99"/>
                </a:cubicBezTo>
                <a:cubicBezTo>
                  <a:pt x="1314" y="97"/>
                  <a:pt x="1314" y="95"/>
                  <a:pt x="1315" y="93"/>
                </a:cubicBezTo>
                <a:cubicBezTo>
                  <a:pt x="1317" y="89"/>
                  <a:pt x="1322" y="87"/>
                  <a:pt x="1327" y="89"/>
                </a:cubicBezTo>
                <a:cubicBezTo>
                  <a:pt x="1331" y="91"/>
                  <a:pt x="1333" y="96"/>
                  <a:pt x="1331" y="100"/>
                </a:cubicBezTo>
                <a:cubicBezTo>
                  <a:pt x="1329" y="103"/>
                  <a:pt x="1326" y="105"/>
                  <a:pt x="1323" y="105"/>
                </a:cubicBezTo>
                <a:close/>
                <a:moveTo>
                  <a:pt x="1297" y="93"/>
                </a:moveTo>
                <a:cubicBezTo>
                  <a:pt x="1296" y="93"/>
                  <a:pt x="1295" y="93"/>
                  <a:pt x="1294" y="93"/>
                </a:cubicBezTo>
                <a:cubicBezTo>
                  <a:pt x="1276" y="85"/>
                  <a:pt x="1257" y="77"/>
                  <a:pt x="1239" y="71"/>
                </a:cubicBezTo>
                <a:cubicBezTo>
                  <a:pt x="1205" y="59"/>
                  <a:pt x="1170" y="48"/>
                  <a:pt x="1134" y="40"/>
                </a:cubicBezTo>
                <a:cubicBezTo>
                  <a:pt x="1116" y="36"/>
                  <a:pt x="1098" y="32"/>
                  <a:pt x="1079" y="29"/>
                </a:cubicBezTo>
                <a:cubicBezTo>
                  <a:pt x="1077" y="29"/>
                  <a:pt x="1075" y="28"/>
                  <a:pt x="1074" y="26"/>
                </a:cubicBezTo>
                <a:cubicBezTo>
                  <a:pt x="1072" y="24"/>
                  <a:pt x="1072" y="22"/>
                  <a:pt x="1072" y="20"/>
                </a:cubicBezTo>
                <a:cubicBezTo>
                  <a:pt x="1073" y="15"/>
                  <a:pt x="1077" y="12"/>
                  <a:pt x="1082" y="13"/>
                </a:cubicBezTo>
                <a:cubicBezTo>
                  <a:pt x="1101" y="16"/>
                  <a:pt x="1120" y="19"/>
                  <a:pt x="1138" y="24"/>
                </a:cubicBezTo>
                <a:cubicBezTo>
                  <a:pt x="1174" y="32"/>
                  <a:pt x="1210" y="42"/>
                  <a:pt x="1245" y="55"/>
                </a:cubicBezTo>
                <a:cubicBezTo>
                  <a:pt x="1263" y="62"/>
                  <a:pt x="1282" y="69"/>
                  <a:pt x="1300" y="77"/>
                </a:cubicBezTo>
                <a:cubicBezTo>
                  <a:pt x="1301" y="77"/>
                  <a:pt x="1301" y="77"/>
                  <a:pt x="1301" y="77"/>
                </a:cubicBezTo>
                <a:cubicBezTo>
                  <a:pt x="1303" y="78"/>
                  <a:pt x="1304" y="79"/>
                  <a:pt x="1305" y="82"/>
                </a:cubicBezTo>
                <a:cubicBezTo>
                  <a:pt x="1306" y="84"/>
                  <a:pt x="1306" y="86"/>
                  <a:pt x="1305" y="88"/>
                </a:cubicBezTo>
                <a:cubicBezTo>
                  <a:pt x="1304" y="91"/>
                  <a:pt x="1301" y="93"/>
                  <a:pt x="1297" y="93"/>
                </a:cubicBezTo>
                <a:close/>
                <a:moveTo>
                  <a:pt x="771" y="31"/>
                </a:moveTo>
                <a:cubicBezTo>
                  <a:pt x="767" y="31"/>
                  <a:pt x="763" y="28"/>
                  <a:pt x="763" y="24"/>
                </a:cubicBezTo>
                <a:cubicBezTo>
                  <a:pt x="762" y="22"/>
                  <a:pt x="763" y="19"/>
                  <a:pt x="764" y="18"/>
                </a:cubicBezTo>
                <a:cubicBezTo>
                  <a:pt x="765" y="16"/>
                  <a:pt x="767" y="14"/>
                  <a:pt x="770" y="14"/>
                </a:cubicBezTo>
                <a:cubicBezTo>
                  <a:pt x="774" y="13"/>
                  <a:pt x="779" y="16"/>
                  <a:pt x="779" y="21"/>
                </a:cubicBezTo>
                <a:cubicBezTo>
                  <a:pt x="780" y="23"/>
                  <a:pt x="779" y="25"/>
                  <a:pt x="778" y="27"/>
                </a:cubicBezTo>
                <a:cubicBezTo>
                  <a:pt x="777" y="29"/>
                  <a:pt x="775" y="30"/>
                  <a:pt x="773" y="31"/>
                </a:cubicBezTo>
                <a:cubicBezTo>
                  <a:pt x="772" y="31"/>
                  <a:pt x="772" y="31"/>
                  <a:pt x="771" y="31"/>
                </a:cubicBezTo>
                <a:close/>
                <a:moveTo>
                  <a:pt x="799" y="26"/>
                </a:moveTo>
                <a:cubicBezTo>
                  <a:pt x="795" y="26"/>
                  <a:pt x="791" y="23"/>
                  <a:pt x="791" y="19"/>
                </a:cubicBezTo>
                <a:cubicBezTo>
                  <a:pt x="790" y="15"/>
                  <a:pt x="793" y="10"/>
                  <a:pt x="798" y="10"/>
                </a:cubicBezTo>
                <a:cubicBezTo>
                  <a:pt x="817" y="7"/>
                  <a:pt x="836" y="5"/>
                  <a:pt x="855" y="3"/>
                </a:cubicBezTo>
                <a:cubicBezTo>
                  <a:pt x="867" y="2"/>
                  <a:pt x="879" y="1"/>
                  <a:pt x="891" y="1"/>
                </a:cubicBezTo>
                <a:cubicBezTo>
                  <a:pt x="904" y="0"/>
                  <a:pt x="917" y="0"/>
                  <a:pt x="930" y="0"/>
                </a:cubicBezTo>
                <a:cubicBezTo>
                  <a:pt x="962" y="0"/>
                  <a:pt x="994" y="2"/>
                  <a:pt x="1026" y="5"/>
                </a:cubicBezTo>
                <a:cubicBezTo>
                  <a:pt x="1028" y="5"/>
                  <a:pt x="1030" y="6"/>
                  <a:pt x="1031" y="8"/>
                </a:cubicBezTo>
                <a:cubicBezTo>
                  <a:pt x="1033" y="10"/>
                  <a:pt x="1033" y="12"/>
                  <a:pt x="1033" y="14"/>
                </a:cubicBezTo>
                <a:cubicBezTo>
                  <a:pt x="1033" y="19"/>
                  <a:pt x="1028" y="22"/>
                  <a:pt x="1024" y="22"/>
                </a:cubicBezTo>
                <a:cubicBezTo>
                  <a:pt x="993" y="19"/>
                  <a:pt x="961" y="17"/>
                  <a:pt x="930" y="17"/>
                </a:cubicBezTo>
                <a:cubicBezTo>
                  <a:pt x="917" y="17"/>
                  <a:pt x="904" y="17"/>
                  <a:pt x="892" y="18"/>
                </a:cubicBezTo>
                <a:cubicBezTo>
                  <a:pt x="880" y="18"/>
                  <a:pt x="868" y="19"/>
                  <a:pt x="856" y="20"/>
                </a:cubicBezTo>
                <a:cubicBezTo>
                  <a:pt x="856" y="20"/>
                  <a:pt x="856" y="20"/>
                  <a:pt x="856" y="20"/>
                </a:cubicBezTo>
                <a:cubicBezTo>
                  <a:pt x="837" y="22"/>
                  <a:pt x="819" y="24"/>
                  <a:pt x="800" y="26"/>
                </a:cubicBezTo>
                <a:cubicBezTo>
                  <a:pt x="800" y="26"/>
                  <a:pt x="799" y="26"/>
                  <a:pt x="799" y="26"/>
                </a:cubicBezTo>
                <a:close/>
                <a:moveTo>
                  <a:pt x="1053" y="25"/>
                </a:moveTo>
                <a:cubicBezTo>
                  <a:pt x="1053" y="25"/>
                  <a:pt x="1053" y="25"/>
                  <a:pt x="1053" y="25"/>
                </a:cubicBezTo>
                <a:cubicBezTo>
                  <a:pt x="1053" y="25"/>
                  <a:pt x="1053" y="25"/>
                  <a:pt x="1053" y="25"/>
                </a:cubicBezTo>
                <a:cubicBezTo>
                  <a:pt x="1052" y="25"/>
                  <a:pt x="1052" y="25"/>
                  <a:pt x="1052" y="25"/>
                </a:cubicBezTo>
                <a:cubicBezTo>
                  <a:pt x="1047" y="25"/>
                  <a:pt x="1044" y="20"/>
                  <a:pt x="1044" y="16"/>
                </a:cubicBezTo>
                <a:cubicBezTo>
                  <a:pt x="1045" y="11"/>
                  <a:pt x="1049" y="8"/>
                  <a:pt x="1054" y="8"/>
                </a:cubicBezTo>
                <a:cubicBezTo>
                  <a:pt x="1056" y="9"/>
                  <a:pt x="1058" y="10"/>
                  <a:pt x="1059" y="12"/>
                </a:cubicBezTo>
                <a:cubicBezTo>
                  <a:pt x="1061" y="13"/>
                  <a:pt x="1061" y="16"/>
                  <a:pt x="1061" y="18"/>
                </a:cubicBezTo>
                <a:cubicBezTo>
                  <a:pt x="1061" y="22"/>
                  <a:pt x="1057" y="25"/>
                  <a:pt x="1053" y="25"/>
                </a:cubicBezTo>
                <a:close/>
              </a:path>
            </a:pathLst>
          </a:custGeom>
          <a:solidFill>
            <a:schemeClr val="accent2"/>
          </a:solidFill>
          <a:ln>
            <a:noFill/>
          </a:ln>
        </p:spPr>
        <p:txBody>
          <a:bodyPr vert="horz" wrap="square" lIns="45714" tIns="22857" rIns="45714" bIns="22857" numCol="1" anchor="t" anchorCtr="0" compatLnSpc="1">
            <a:prstTxWarp prst="textNoShape">
              <a:avLst/>
            </a:prstTxWarp>
          </a:body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US" sz="900" b="0" i="0" u="none" strike="noStrike" kern="1200" cap="none" spc="0" normalizeH="0" baseline="0" noProof="0">
              <a:ln>
                <a:noFill/>
              </a:ln>
              <a:solidFill>
                <a:srgbClr val="343A3F"/>
              </a:solidFill>
              <a:effectLst/>
              <a:uLnTx/>
              <a:uFillTx/>
              <a:latin typeface="Roboto Light"/>
              <a:ea typeface="+mn-ea"/>
              <a:cs typeface="+mn-cs"/>
            </a:endParaRPr>
          </a:p>
        </p:txBody>
      </p:sp>
      <p:sp>
        <p:nvSpPr>
          <p:cNvPr id="12" name="Freeform 9">
            <a:extLst>
              <a:ext uri="{FF2B5EF4-FFF2-40B4-BE49-F238E27FC236}">
                <a16:creationId xmlns:a16="http://schemas.microsoft.com/office/drawing/2014/main" id="{11A6F632-FD52-40BA-B8C8-8213202DDAE9}"/>
              </a:ext>
            </a:extLst>
          </p:cNvPr>
          <p:cNvSpPr/>
          <p:nvPr/>
        </p:nvSpPr>
        <p:spPr bwMode="auto">
          <a:xfrm>
            <a:off x="4192469" y="1378370"/>
            <a:ext cx="3807063" cy="3796500"/>
          </a:xfrm>
          <a:custGeom>
            <a:avLst/>
            <a:gdLst>
              <a:gd name="T0" fmla="*/ 899 w 1800"/>
              <a:gd name="T1" fmla="*/ 1794 h 1794"/>
              <a:gd name="T2" fmla="*/ 586 w 1800"/>
              <a:gd name="T3" fmla="*/ 1738 h 1794"/>
              <a:gd name="T4" fmla="*/ 293 w 1800"/>
              <a:gd name="T5" fmla="*/ 1558 h 1794"/>
              <a:gd name="T6" fmla="*/ 90 w 1800"/>
              <a:gd name="T7" fmla="*/ 1281 h 1794"/>
              <a:gd name="T8" fmla="*/ 6 w 1800"/>
              <a:gd name="T9" fmla="*/ 947 h 1794"/>
              <a:gd name="T10" fmla="*/ 54 w 1800"/>
              <a:gd name="T11" fmla="*/ 607 h 1794"/>
              <a:gd name="T12" fmla="*/ 227 w 1800"/>
              <a:gd name="T13" fmla="*/ 310 h 1794"/>
              <a:gd name="T14" fmla="*/ 500 w 1800"/>
              <a:gd name="T15" fmla="*/ 100 h 1794"/>
              <a:gd name="T16" fmla="*/ 831 w 1800"/>
              <a:gd name="T17" fmla="*/ 8 h 1794"/>
              <a:gd name="T18" fmla="*/ 1173 w 1800"/>
              <a:gd name="T19" fmla="*/ 49 h 1794"/>
              <a:gd name="T20" fmla="*/ 1474 w 1800"/>
              <a:gd name="T21" fmla="*/ 215 h 1794"/>
              <a:gd name="T22" fmla="*/ 1689 w 1800"/>
              <a:gd name="T23" fmla="*/ 483 h 1794"/>
              <a:gd name="T24" fmla="*/ 1789 w 1800"/>
              <a:gd name="T25" fmla="*/ 812 h 1794"/>
              <a:gd name="T26" fmla="*/ 1756 w 1800"/>
              <a:gd name="T27" fmla="*/ 1155 h 1794"/>
              <a:gd name="T28" fmla="*/ 1745 w 1800"/>
              <a:gd name="T29" fmla="*/ 1160 h 1794"/>
              <a:gd name="T30" fmla="*/ 1740 w 1800"/>
              <a:gd name="T31" fmla="*/ 1150 h 1794"/>
              <a:gd name="T32" fmla="*/ 1772 w 1800"/>
              <a:gd name="T33" fmla="*/ 814 h 1794"/>
              <a:gd name="T34" fmla="*/ 1674 w 1800"/>
              <a:gd name="T35" fmla="*/ 491 h 1794"/>
              <a:gd name="T36" fmla="*/ 1463 w 1800"/>
              <a:gd name="T37" fmla="*/ 228 h 1794"/>
              <a:gd name="T38" fmla="*/ 1167 w 1800"/>
              <a:gd name="T39" fmla="*/ 65 h 1794"/>
              <a:gd name="T40" fmla="*/ 832 w 1800"/>
              <a:gd name="T41" fmla="*/ 25 h 1794"/>
              <a:gd name="T42" fmla="*/ 507 w 1800"/>
              <a:gd name="T43" fmla="*/ 115 h 1794"/>
              <a:gd name="T44" fmla="*/ 240 w 1800"/>
              <a:gd name="T45" fmla="*/ 321 h 1794"/>
              <a:gd name="T46" fmla="*/ 70 w 1800"/>
              <a:gd name="T47" fmla="*/ 612 h 1794"/>
              <a:gd name="T48" fmla="*/ 23 w 1800"/>
              <a:gd name="T49" fmla="*/ 947 h 1794"/>
              <a:gd name="T50" fmla="*/ 105 w 1800"/>
              <a:gd name="T51" fmla="*/ 1274 h 1794"/>
              <a:gd name="T52" fmla="*/ 305 w 1800"/>
              <a:gd name="T53" fmla="*/ 1546 h 1794"/>
              <a:gd name="T54" fmla="*/ 592 w 1800"/>
              <a:gd name="T55" fmla="*/ 1722 h 1794"/>
              <a:gd name="T56" fmla="*/ 925 w 1800"/>
              <a:gd name="T57" fmla="*/ 1777 h 1794"/>
              <a:gd name="T58" fmla="*/ 1254 w 1800"/>
              <a:gd name="T59" fmla="*/ 1702 h 1794"/>
              <a:gd name="T60" fmla="*/ 1531 w 1800"/>
              <a:gd name="T61" fmla="*/ 1509 h 1794"/>
              <a:gd name="T62" fmla="*/ 1713 w 1800"/>
              <a:gd name="T63" fmla="*/ 1225 h 1794"/>
              <a:gd name="T64" fmla="*/ 1724 w 1800"/>
              <a:gd name="T65" fmla="*/ 1221 h 1794"/>
              <a:gd name="T66" fmla="*/ 1729 w 1800"/>
              <a:gd name="T67" fmla="*/ 1232 h 1794"/>
              <a:gd name="T68" fmla="*/ 1543 w 1800"/>
              <a:gd name="T69" fmla="*/ 1521 h 1794"/>
              <a:gd name="T70" fmla="*/ 1261 w 1800"/>
              <a:gd name="T71" fmla="*/ 1718 h 1794"/>
              <a:gd name="T72" fmla="*/ 926 w 1800"/>
              <a:gd name="T73" fmla="*/ 1794 h 1794"/>
              <a:gd name="T74" fmla="*/ 899 w 1800"/>
              <a:gd name="T75" fmla="*/ 1794 h 17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800" h="1794">
                <a:moveTo>
                  <a:pt x="899" y="1794"/>
                </a:moveTo>
                <a:cubicBezTo>
                  <a:pt x="794" y="1794"/>
                  <a:pt x="686" y="1775"/>
                  <a:pt x="586" y="1738"/>
                </a:cubicBezTo>
                <a:cubicBezTo>
                  <a:pt x="479" y="1698"/>
                  <a:pt x="377" y="1636"/>
                  <a:pt x="293" y="1558"/>
                </a:cubicBezTo>
                <a:cubicBezTo>
                  <a:pt x="209" y="1481"/>
                  <a:pt x="139" y="1385"/>
                  <a:pt x="90" y="1281"/>
                </a:cubicBezTo>
                <a:cubicBezTo>
                  <a:pt x="41" y="1177"/>
                  <a:pt x="12" y="1062"/>
                  <a:pt x="6" y="947"/>
                </a:cubicBezTo>
                <a:cubicBezTo>
                  <a:pt x="0" y="834"/>
                  <a:pt x="16" y="716"/>
                  <a:pt x="54" y="607"/>
                </a:cubicBezTo>
                <a:cubicBezTo>
                  <a:pt x="92" y="498"/>
                  <a:pt x="152" y="395"/>
                  <a:pt x="227" y="310"/>
                </a:cubicBezTo>
                <a:cubicBezTo>
                  <a:pt x="303" y="224"/>
                  <a:pt x="397" y="151"/>
                  <a:pt x="500" y="100"/>
                </a:cubicBezTo>
                <a:cubicBezTo>
                  <a:pt x="603" y="49"/>
                  <a:pt x="717" y="17"/>
                  <a:pt x="831" y="8"/>
                </a:cubicBezTo>
                <a:cubicBezTo>
                  <a:pt x="945" y="0"/>
                  <a:pt x="1063" y="14"/>
                  <a:pt x="1173" y="49"/>
                </a:cubicBezTo>
                <a:cubicBezTo>
                  <a:pt x="1282" y="85"/>
                  <a:pt x="1387" y="142"/>
                  <a:pt x="1474" y="215"/>
                </a:cubicBezTo>
                <a:cubicBezTo>
                  <a:pt x="1561" y="289"/>
                  <a:pt x="1636" y="381"/>
                  <a:pt x="1689" y="483"/>
                </a:cubicBezTo>
                <a:cubicBezTo>
                  <a:pt x="1743" y="585"/>
                  <a:pt x="1777" y="698"/>
                  <a:pt x="1789" y="812"/>
                </a:cubicBezTo>
                <a:cubicBezTo>
                  <a:pt x="1800" y="926"/>
                  <a:pt x="1789" y="1044"/>
                  <a:pt x="1756" y="1155"/>
                </a:cubicBezTo>
                <a:cubicBezTo>
                  <a:pt x="1755" y="1159"/>
                  <a:pt x="1750" y="1162"/>
                  <a:pt x="1745" y="1160"/>
                </a:cubicBezTo>
                <a:cubicBezTo>
                  <a:pt x="1741" y="1159"/>
                  <a:pt x="1738" y="1154"/>
                  <a:pt x="1740" y="1150"/>
                </a:cubicBezTo>
                <a:cubicBezTo>
                  <a:pt x="1772" y="1042"/>
                  <a:pt x="1783" y="925"/>
                  <a:pt x="1772" y="814"/>
                </a:cubicBezTo>
                <a:cubicBezTo>
                  <a:pt x="1761" y="702"/>
                  <a:pt x="1727" y="591"/>
                  <a:pt x="1674" y="491"/>
                </a:cubicBezTo>
                <a:cubicBezTo>
                  <a:pt x="1622" y="391"/>
                  <a:pt x="1549" y="300"/>
                  <a:pt x="1463" y="228"/>
                </a:cubicBezTo>
                <a:cubicBezTo>
                  <a:pt x="1377" y="156"/>
                  <a:pt x="1275" y="100"/>
                  <a:pt x="1167" y="65"/>
                </a:cubicBezTo>
                <a:cubicBezTo>
                  <a:pt x="1060" y="31"/>
                  <a:pt x="944" y="17"/>
                  <a:pt x="832" y="25"/>
                </a:cubicBezTo>
                <a:cubicBezTo>
                  <a:pt x="721" y="34"/>
                  <a:pt x="608" y="65"/>
                  <a:pt x="507" y="115"/>
                </a:cubicBezTo>
                <a:cubicBezTo>
                  <a:pt x="406" y="166"/>
                  <a:pt x="314" y="237"/>
                  <a:pt x="240" y="321"/>
                </a:cubicBezTo>
                <a:cubicBezTo>
                  <a:pt x="166" y="405"/>
                  <a:pt x="107" y="506"/>
                  <a:pt x="70" y="612"/>
                </a:cubicBezTo>
                <a:cubicBezTo>
                  <a:pt x="33" y="719"/>
                  <a:pt x="17" y="835"/>
                  <a:pt x="23" y="947"/>
                </a:cubicBezTo>
                <a:cubicBezTo>
                  <a:pt x="29" y="1059"/>
                  <a:pt x="57" y="1172"/>
                  <a:pt x="105" y="1274"/>
                </a:cubicBezTo>
                <a:cubicBezTo>
                  <a:pt x="153" y="1376"/>
                  <a:pt x="222" y="1470"/>
                  <a:pt x="305" y="1546"/>
                </a:cubicBezTo>
                <a:cubicBezTo>
                  <a:pt x="387" y="1622"/>
                  <a:pt x="486" y="1683"/>
                  <a:pt x="592" y="1722"/>
                </a:cubicBezTo>
                <a:cubicBezTo>
                  <a:pt x="698" y="1761"/>
                  <a:pt x="813" y="1781"/>
                  <a:pt x="925" y="1777"/>
                </a:cubicBezTo>
                <a:cubicBezTo>
                  <a:pt x="1037" y="1774"/>
                  <a:pt x="1151" y="1748"/>
                  <a:pt x="1254" y="1702"/>
                </a:cubicBezTo>
                <a:cubicBezTo>
                  <a:pt x="1357" y="1656"/>
                  <a:pt x="1453" y="1590"/>
                  <a:pt x="1531" y="1509"/>
                </a:cubicBezTo>
                <a:cubicBezTo>
                  <a:pt x="1608" y="1428"/>
                  <a:pt x="1672" y="1330"/>
                  <a:pt x="1713" y="1225"/>
                </a:cubicBezTo>
                <a:cubicBezTo>
                  <a:pt x="1715" y="1221"/>
                  <a:pt x="1720" y="1219"/>
                  <a:pt x="1724" y="1221"/>
                </a:cubicBezTo>
                <a:cubicBezTo>
                  <a:pt x="1729" y="1222"/>
                  <a:pt x="1731" y="1227"/>
                  <a:pt x="1729" y="1232"/>
                </a:cubicBezTo>
                <a:cubicBezTo>
                  <a:pt x="1687" y="1338"/>
                  <a:pt x="1622" y="1438"/>
                  <a:pt x="1543" y="1521"/>
                </a:cubicBezTo>
                <a:cubicBezTo>
                  <a:pt x="1463" y="1603"/>
                  <a:pt x="1366" y="1671"/>
                  <a:pt x="1261" y="1718"/>
                </a:cubicBezTo>
                <a:cubicBezTo>
                  <a:pt x="1156" y="1764"/>
                  <a:pt x="1040" y="1791"/>
                  <a:pt x="926" y="1794"/>
                </a:cubicBezTo>
                <a:cubicBezTo>
                  <a:pt x="917" y="1794"/>
                  <a:pt x="908" y="1794"/>
                  <a:pt x="899" y="1794"/>
                </a:cubicBezTo>
                <a:close/>
              </a:path>
            </a:pathLst>
          </a:custGeom>
          <a:solidFill>
            <a:schemeClr val="accent2"/>
          </a:solidFill>
          <a:ln>
            <a:noFill/>
          </a:ln>
        </p:spPr>
        <p:txBody>
          <a:bodyPr vert="horz" wrap="square" lIns="45714" tIns="22857" rIns="45714" bIns="22857" numCol="1" anchor="t" anchorCtr="0" compatLnSpc="1">
            <a:prstTxWarp prst="textNoShape">
              <a:avLst/>
            </a:prstTxWarp>
          </a:body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US" sz="900" b="0" i="0" u="none" strike="noStrike" kern="1200" cap="none" spc="0" normalizeH="0" baseline="0" noProof="0">
              <a:ln>
                <a:noFill/>
              </a:ln>
              <a:solidFill>
                <a:srgbClr val="343A3F"/>
              </a:solidFill>
              <a:effectLst/>
              <a:uLnTx/>
              <a:uFillTx/>
              <a:latin typeface="Roboto Light"/>
              <a:ea typeface="+mn-ea"/>
              <a:cs typeface="+mn-cs"/>
            </a:endParaRPr>
          </a:p>
        </p:txBody>
      </p:sp>
      <p:sp>
        <p:nvSpPr>
          <p:cNvPr id="13" name="Freeform 10">
            <a:extLst>
              <a:ext uri="{FF2B5EF4-FFF2-40B4-BE49-F238E27FC236}">
                <a16:creationId xmlns:a16="http://schemas.microsoft.com/office/drawing/2014/main" id="{7CD93A2A-4178-4321-9DDB-1BAC3722A9A1}"/>
              </a:ext>
            </a:extLst>
          </p:cNvPr>
          <p:cNvSpPr>
            <a:spLocks noEditPoints="1"/>
          </p:cNvSpPr>
          <p:nvPr/>
        </p:nvSpPr>
        <p:spPr bwMode="auto">
          <a:xfrm>
            <a:off x="4281202" y="1459181"/>
            <a:ext cx="3629597" cy="3634879"/>
          </a:xfrm>
          <a:custGeom>
            <a:avLst/>
            <a:gdLst>
              <a:gd name="T0" fmla="*/ 634 w 1716"/>
              <a:gd name="T1" fmla="*/ 1679 h 1718"/>
              <a:gd name="T2" fmla="*/ 866 w 1716"/>
              <a:gd name="T3" fmla="*/ 1718 h 1718"/>
              <a:gd name="T4" fmla="*/ 903 w 1716"/>
              <a:gd name="T5" fmla="*/ 1708 h 1718"/>
              <a:gd name="T6" fmla="*/ 916 w 1716"/>
              <a:gd name="T7" fmla="*/ 1701 h 1718"/>
              <a:gd name="T8" fmla="*/ 1092 w 1716"/>
              <a:gd name="T9" fmla="*/ 1685 h 1718"/>
              <a:gd name="T10" fmla="*/ 623 w 1716"/>
              <a:gd name="T11" fmla="*/ 1676 h 1718"/>
              <a:gd name="T12" fmla="*/ 379 w 1716"/>
              <a:gd name="T13" fmla="*/ 1561 h 1718"/>
              <a:gd name="T14" fmla="*/ 588 w 1716"/>
              <a:gd name="T15" fmla="*/ 1674 h 1718"/>
              <a:gd name="T16" fmla="*/ 1178 w 1716"/>
              <a:gd name="T17" fmla="*/ 1647 h 1718"/>
              <a:gd name="T18" fmla="*/ 1339 w 1716"/>
              <a:gd name="T19" fmla="*/ 1550 h 1718"/>
              <a:gd name="T20" fmla="*/ 1199 w 1716"/>
              <a:gd name="T21" fmla="*/ 1647 h 1718"/>
              <a:gd name="T22" fmla="*/ 367 w 1716"/>
              <a:gd name="T23" fmla="*/ 1543 h 1718"/>
              <a:gd name="T24" fmla="*/ 251 w 1716"/>
              <a:gd name="T25" fmla="*/ 1467 h 1718"/>
              <a:gd name="T26" fmla="*/ 345 w 1716"/>
              <a:gd name="T27" fmla="*/ 1526 h 1718"/>
              <a:gd name="T28" fmla="*/ 1418 w 1716"/>
              <a:gd name="T29" fmla="*/ 1499 h 1718"/>
              <a:gd name="T30" fmla="*/ 1538 w 1716"/>
              <a:gd name="T31" fmla="*/ 1354 h 1718"/>
              <a:gd name="T32" fmla="*/ 1438 w 1716"/>
              <a:gd name="T33" fmla="*/ 1492 h 1718"/>
              <a:gd name="T34" fmla="*/ 159 w 1716"/>
              <a:gd name="T35" fmla="*/ 1343 h 1718"/>
              <a:gd name="T36" fmla="*/ 67 w 1716"/>
              <a:gd name="T37" fmla="*/ 1193 h 1718"/>
              <a:gd name="T38" fmla="*/ 155 w 1716"/>
              <a:gd name="T39" fmla="*/ 1322 h 1718"/>
              <a:gd name="T40" fmla="*/ 1584 w 1716"/>
              <a:gd name="T41" fmla="*/ 1284 h 1718"/>
              <a:gd name="T42" fmla="*/ 1601 w 1716"/>
              <a:gd name="T43" fmla="*/ 1271 h 1718"/>
              <a:gd name="T44" fmla="*/ 1687 w 1716"/>
              <a:gd name="T45" fmla="*/ 1044 h 1718"/>
              <a:gd name="T46" fmla="*/ 42 w 1716"/>
              <a:gd name="T47" fmla="*/ 1105 h 1718"/>
              <a:gd name="T48" fmla="*/ 35 w 1716"/>
              <a:gd name="T49" fmla="*/ 1077 h 1718"/>
              <a:gd name="T50" fmla="*/ 9 w 1716"/>
              <a:gd name="T51" fmla="*/ 836 h 1718"/>
              <a:gd name="T52" fmla="*/ 42 w 1716"/>
              <a:gd name="T53" fmla="*/ 1073 h 1718"/>
              <a:gd name="T54" fmla="*/ 1700 w 1716"/>
              <a:gd name="T55" fmla="*/ 1027 h 1718"/>
              <a:gd name="T56" fmla="*/ 1699 w 1716"/>
              <a:gd name="T57" fmla="*/ 829 h 1718"/>
              <a:gd name="T58" fmla="*/ 1716 w 1716"/>
              <a:gd name="T59" fmla="*/ 859 h 1718"/>
              <a:gd name="T60" fmla="*/ 9 w 1716"/>
              <a:gd name="T61" fmla="*/ 825 h 1718"/>
              <a:gd name="T62" fmla="*/ 11 w 1716"/>
              <a:gd name="T63" fmla="*/ 797 h 1718"/>
              <a:gd name="T64" fmla="*/ 26 w 1716"/>
              <a:gd name="T65" fmla="*/ 733 h 1718"/>
              <a:gd name="T66" fmla="*/ 1699 w 1716"/>
              <a:gd name="T67" fmla="*/ 735 h 1718"/>
              <a:gd name="T68" fmla="*/ 1647 w 1716"/>
              <a:gd name="T69" fmla="*/ 569 h 1718"/>
              <a:gd name="T70" fmla="*/ 1704 w 1716"/>
              <a:gd name="T71" fmla="*/ 714 h 1718"/>
              <a:gd name="T72" fmla="*/ 78 w 1716"/>
              <a:gd name="T73" fmla="*/ 545 h 1718"/>
              <a:gd name="T74" fmla="*/ 98 w 1716"/>
              <a:gd name="T75" fmla="*/ 461 h 1718"/>
              <a:gd name="T76" fmla="*/ 81 w 1716"/>
              <a:gd name="T77" fmla="*/ 524 h 1718"/>
              <a:gd name="T78" fmla="*/ 1624 w 1716"/>
              <a:gd name="T79" fmla="*/ 478 h 1718"/>
              <a:gd name="T80" fmla="*/ 1479 w 1716"/>
              <a:gd name="T81" fmla="*/ 292 h 1718"/>
              <a:gd name="T82" fmla="*/ 1610 w 1716"/>
              <a:gd name="T83" fmla="*/ 446 h 1718"/>
              <a:gd name="T84" fmla="*/ 224 w 1716"/>
              <a:gd name="T85" fmla="*/ 307 h 1718"/>
              <a:gd name="T86" fmla="*/ 237 w 1716"/>
              <a:gd name="T87" fmla="*/ 267 h 1718"/>
              <a:gd name="T88" fmla="*/ 242 w 1716"/>
              <a:gd name="T89" fmla="*/ 286 h 1718"/>
              <a:gd name="T90" fmla="*/ 1454 w 1716"/>
              <a:gd name="T91" fmla="*/ 242 h 1718"/>
              <a:gd name="T92" fmla="*/ 1287 w 1716"/>
              <a:gd name="T93" fmla="*/ 136 h 1718"/>
              <a:gd name="T94" fmla="*/ 1434 w 1716"/>
              <a:gd name="T95" fmla="*/ 235 h 1718"/>
              <a:gd name="T96" fmla="*/ 439 w 1716"/>
              <a:gd name="T97" fmla="*/ 130 h 1718"/>
              <a:gd name="T98" fmla="*/ 518 w 1716"/>
              <a:gd name="T99" fmla="*/ 81 h 1718"/>
              <a:gd name="T100" fmla="*/ 1212 w 1716"/>
              <a:gd name="T101" fmla="*/ 97 h 1718"/>
              <a:gd name="T102" fmla="*/ 1190 w 1716"/>
              <a:gd name="T103" fmla="*/ 86 h 1718"/>
              <a:gd name="T104" fmla="*/ 1030 w 1716"/>
              <a:gd name="T105" fmla="*/ 19 h 1718"/>
              <a:gd name="T106" fmla="*/ 582 w 1716"/>
              <a:gd name="T107" fmla="*/ 64 h 1718"/>
              <a:gd name="T108" fmla="*/ 639 w 1716"/>
              <a:gd name="T109" fmla="*/ 47 h 1718"/>
              <a:gd name="T110" fmla="*/ 662 w 1716"/>
              <a:gd name="T111" fmla="*/ 24 h 1718"/>
              <a:gd name="T112" fmla="*/ 683 w 1716"/>
              <a:gd name="T113" fmla="*/ 28 h 1718"/>
              <a:gd name="T114" fmla="*/ 916 w 1716"/>
              <a:gd name="T115" fmla="*/ 20 h 1718"/>
              <a:gd name="T116" fmla="*/ 945 w 1716"/>
              <a:gd name="T117" fmla="*/ 23 h 1718"/>
              <a:gd name="T118" fmla="*/ 945 w 1716"/>
              <a:gd name="T119" fmla="*/ 23 h 1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16" h="1718">
                <a:moveTo>
                  <a:pt x="859" y="1718"/>
                </a:moveTo>
                <a:cubicBezTo>
                  <a:pt x="855" y="1718"/>
                  <a:pt x="852" y="1718"/>
                  <a:pt x="849" y="1718"/>
                </a:cubicBezTo>
                <a:cubicBezTo>
                  <a:pt x="836" y="1718"/>
                  <a:pt x="822" y="1717"/>
                  <a:pt x="809" y="1716"/>
                </a:cubicBezTo>
                <a:cubicBezTo>
                  <a:pt x="753" y="1713"/>
                  <a:pt x="696" y="1704"/>
                  <a:pt x="641" y="1690"/>
                </a:cubicBezTo>
                <a:cubicBezTo>
                  <a:pt x="640" y="1689"/>
                  <a:pt x="640" y="1689"/>
                  <a:pt x="640" y="1689"/>
                </a:cubicBezTo>
                <a:cubicBezTo>
                  <a:pt x="638" y="1689"/>
                  <a:pt x="636" y="1688"/>
                  <a:pt x="635" y="1686"/>
                </a:cubicBezTo>
                <a:cubicBezTo>
                  <a:pt x="634" y="1684"/>
                  <a:pt x="634" y="1681"/>
                  <a:pt x="634" y="1679"/>
                </a:cubicBezTo>
                <a:cubicBezTo>
                  <a:pt x="635" y="1675"/>
                  <a:pt x="640" y="1672"/>
                  <a:pt x="645" y="1673"/>
                </a:cubicBezTo>
                <a:cubicBezTo>
                  <a:pt x="699" y="1687"/>
                  <a:pt x="755" y="1696"/>
                  <a:pt x="810" y="1699"/>
                </a:cubicBezTo>
                <a:cubicBezTo>
                  <a:pt x="823" y="1700"/>
                  <a:pt x="836" y="1701"/>
                  <a:pt x="849" y="1701"/>
                </a:cubicBezTo>
                <a:cubicBezTo>
                  <a:pt x="855" y="1701"/>
                  <a:pt x="861" y="1701"/>
                  <a:pt x="866" y="1701"/>
                </a:cubicBezTo>
                <a:cubicBezTo>
                  <a:pt x="866" y="1701"/>
                  <a:pt x="866" y="1701"/>
                  <a:pt x="866" y="1701"/>
                </a:cubicBezTo>
                <a:cubicBezTo>
                  <a:pt x="871" y="1701"/>
                  <a:pt x="875" y="1704"/>
                  <a:pt x="875" y="1709"/>
                </a:cubicBezTo>
                <a:cubicBezTo>
                  <a:pt x="875" y="1714"/>
                  <a:pt x="871" y="1718"/>
                  <a:pt x="866" y="1718"/>
                </a:cubicBezTo>
                <a:cubicBezTo>
                  <a:pt x="864" y="1718"/>
                  <a:pt x="862" y="1718"/>
                  <a:pt x="859" y="1718"/>
                </a:cubicBezTo>
                <a:close/>
                <a:moveTo>
                  <a:pt x="895" y="1717"/>
                </a:moveTo>
                <a:cubicBezTo>
                  <a:pt x="890" y="1717"/>
                  <a:pt x="886" y="1713"/>
                  <a:pt x="886" y="1709"/>
                </a:cubicBezTo>
                <a:cubicBezTo>
                  <a:pt x="886" y="1707"/>
                  <a:pt x="887" y="1704"/>
                  <a:pt x="888" y="1703"/>
                </a:cubicBezTo>
                <a:cubicBezTo>
                  <a:pt x="890" y="1701"/>
                  <a:pt x="892" y="1700"/>
                  <a:pt x="894" y="1700"/>
                </a:cubicBezTo>
                <a:cubicBezTo>
                  <a:pt x="894" y="1700"/>
                  <a:pt x="894" y="1700"/>
                  <a:pt x="894" y="1700"/>
                </a:cubicBezTo>
                <a:cubicBezTo>
                  <a:pt x="899" y="1700"/>
                  <a:pt x="903" y="1703"/>
                  <a:pt x="903" y="1708"/>
                </a:cubicBezTo>
                <a:cubicBezTo>
                  <a:pt x="903" y="1713"/>
                  <a:pt x="900" y="1717"/>
                  <a:pt x="895" y="1717"/>
                </a:cubicBezTo>
                <a:cubicBezTo>
                  <a:pt x="895" y="1717"/>
                  <a:pt x="895" y="1717"/>
                  <a:pt x="895" y="1717"/>
                </a:cubicBezTo>
                <a:cubicBezTo>
                  <a:pt x="895" y="1717"/>
                  <a:pt x="895" y="1717"/>
                  <a:pt x="895" y="1717"/>
                </a:cubicBezTo>
                <a:close/>
                <a:moveTo>
                  <a:pt x="923" y="1715"/>
                </a:moveTo>
                <a:cubicBezTo>
                  <a:pt x="923" y="1715"/>
                  <a:pt x="923" y="1715"/>
                  <a:pt x="923" y="1715"/>
                </a:cubicBezTo>
                <a:cubicBezTo>
                  <a:pt x="919" y="1715"/>
                  <a:pt x="915" y="1712"/>
                  <a:pt x="914" y="1707"/>
                </a:cubicBezTo>
                <a:cubicBezTo>
                  <a:pt x="914" y="1705"/>
                  <a:pt x="915" y="1703"/>
                  <a:pt x="916" y="1701"/>
                </a:cubicBezTo>
                <a:cubicBezTo>
                  <a:pt x="918" y="1700"/>
                  <a:pt x="920" y="1698"/>
                  <a:pt x="922" y="1698"/>
                </a:cubicBezTo>
                <a:cubicBezTo>
                  <a:pt x="978" y="1694"/>
                  <a:pt x="1033" y="1684"/>
                  <a:pt x="1087" y="1669"/>
                </a:cubicBezTo>
                <a:cubicBezTo>
                  <a:pt x="1105" y="1664"/>
                  <a:pt x="1123" y="1658"/>
                  <a:pt x="1141" y="1652"/>
                </a:cubicBezTo>
                <a:cubicBezTo>
                  <a:pt x="1145" y="1650"/>
                  <a:pt x="1150" y="1653"/>
                  <a:pt x="1152" y="1657"/>
                </a:cubicBezTo>
                <a:cubicBezTo>
                  <a:pt x="1152" y="1659"/>
                  <a:pt x="1152" y="1661"/>
                  <a:pt x="1151" y="1663"/>
                </a:cubicBezTo>
                <a:cubicBezTo>
                  <a:pt x="1150" y="1665"/>
                  <a:pt x="1148" y="1667"/>
                  <a:pt x="1146" y="1668"/>
                </a:cubicBezTo>
                <a:cubicBezTo>
                  <a:pt x="1128" y="1674"/>
                  <a:pt x="1110" y="1680"/>
                  <a:pt x="1092" y="1685"/>
                </a:cubicBezTo>
                <a:cubicBezTo>
                  <a:pt x="1037" y="1701"/>
                  <a:pt x="980" y="1711"/>
                  <a:pt x="923" y="1715"/>
                </a:cubicBezTo>
                <a:close/>
                <a:moveTo>
                  <a:pt x="615" y="1682"/>
                </a:moveTo>
                <a:cubicBezTo>
                  <a:pt x="614" y="1682"/>
                  <a:pt x="614" y="1682"/>
                  <a:pt x="613" y="1682"/>
                </a:cubicBezTo>
                <a:cubicBezTo>
                  <a:pt x="608" y="1680"/>
                  <a:pt x="606" y="1676"/>
                  <a:pt x="607" y="1671"/>
                </a:cubicBezTo>
                <a:cubicBezTo>
                  <a:pt x="608" y="1667"/>
                  <a:pt x="613" y="1664"/>
                  <a:pt x="618" y="1665"/>
                </a:cubicBezTo>
                <a:cubicBezTo>
                  <a:pt x="620" y="1666"/>
                  <a:pt x="622" y="1668"/>
                  <a:pt x="623" y="1670"/>
                </a:cubicBezTo>
                <a:cubicBezTo>
                  <a:pt x="624" y="1672"/>
                  <a:pt x="624" y="1674"/>
                  <a:pt x="623" y="1676"/>
                </a:cubicBezTo>
                <a:cubicBezTo>
                  <a:pt x="622" y="1680"/>
                  <a:pt x="619" y="1682"/>
                  <a:pt x="615" y="1682"/>
                </a:cubicBezTo>
                <a:close/>
                <a:moveTo>
                  <a:pt x="588" y="1674"/>
                </a:moveTo>
                <a:cubicBezTo>
                  <a:pt x="587" y="1674"/>
                  <a:pt x="586" y="1673"/>
                  <a:pt x="586" y="1673"/>
                </a:cubicBezTo>
                <a:cubicBezTo>
                  <a:pt x="568" y="1667"/>
                  <a:pt x="550" y="1660"/>
                  <a:pt x="532" y="1653"/>
                </a:cubicBezTo>
                <a:cubicBezTo>
                  <a:pt x="530" y="1652"/>
                  <a:pt x="527" y="1651"/>
                  <a:pt x="525" y="1650"/>
                </a:cubicBezTo>
                <a:cubicBezTo>
                  <a:pt x="475" y="1629"/>
                  <a:pt x="427" y="1603"/>
                  <a:pt x="381" y="1573"/>
                </a:cubicBezTo>
                <a:cubicBezTo>
                  <a:pt x="377" y="1570"/>
                  <a:pt x="376" y="1565"/>
                  <a:pt x="379" y="1561"/>
                </a:cubicBezTo>
                <a:cubicBezTo>
                  <a:pt x="381" y="1557"/>
                  <a:pt x="387" y="1556"/>
                  <a:pt x="390" y="1559"/>
                </a:cubicBezTo>
                <a:cubicBezTo>
                  <a:pt x="435" y="1589"/>
                  <a:pt x="483" y="1614"/>
                  <a:pt x="532" y="1635"/>
                </a:cubicBezTo>
                <a:cubicBezTo>
                  <a:pt x="533" y="1635"/>
                  <a:pt x="535" y="1636"/>
                  <a:pt x="536" y="1637"/>
                </a:cubicBezTo>
                <a:cubicBezTo>
                  <a:pt x="539" y="1637"/>
                  <a:pt x="539" y="1637"/>
                  <a:pt x="539" y="1637"/>
                </a:cubicBezTo>
                <a:cubicBezTo>
                  <a:pt x="556" y="1645"/>
                  <a:pt x="573" y="1651"/>
                  <a:pt x="591" y="1657"/>
                </a:cubicBezTo>
                <a:cubicBezTo>
                  <a:pt x="595" y="1659"/>
                  <a:pt x="598" y="1663"/>
                  <a:pt x="596" y="1668"/>
                </a:cubicBezTo>
                <a:cubicBezTo>
                  <a:pt x="595" y="1671"/>
                  <a:pt x="592" y="1674"/>
                  <a:pt x="588" y="1674"/>
                </a:cubicBezTo>
                <a:close/>
                <a:moveTo>
                  <a:pt x="1170" y="1658"/>
                </a:moveTo>
                <a:cubicBezTo>
                  <a:pt x="1166" y="1658"/>
                  <a:pt x="1163" y="1656"/>
                  <a:pt x="1162" y="1653"/>
                </a:cubicBezTo>
                <a:cubicBezTo>
                  <a:pt x="1161" y="1651"/>
                  <a:pt x="1161" y="1649"/>
                  <a:pt x="1162" y="1646"/>
                </a:cubicBezTo>
                <a:cubicBezTo>
                  <a:pt x="1163" y="1644"/>
                  <a:pt x="1165" y="1643"/>
                  <a:pt x="1167" y="1642"/>
                </a:cubicBezTo>
                <a:cubicBezTo>
                  <a:pt x="1167" y="1642"/>
                  <a:pt x="1167" y="1642"/>
                  <a:pt x="1167" y="1642"/>
                </a:cubicBezTo>
                <a:cubicBezTo>
                  <a:pt x="1167" y="1642"/>
                  <a:pt x="1167" y="1642"/>
                  <a:pt x="1167" y="1642"/>
                </a:cubicBezTo>
                <a:cubicBezTo>
                  <a:pt x="1171" y="1640"/>
                  <a:pt x="1176" y="1643"/>
                  <a:pt x="1178" y="1647"/>
                </a:cubicBezTo>
                <a:cubicBezTo>
                  <a:pt x="1180" y="1651"/>
                  <a:pt x="1177" y="1656"/>
                  <a:pt x="1173" y="1658"/>
                </a:cubicBezTo>
                <a:cubicBezTo>
                  <a:pt x="1172" y="1658"/>
                  <a:pt x="1171" y="1658"/>
                  <a:pt x="1170" y="1658"/>
                </a:cubicBezTo>
                <a:close/>
                <a:moveTo>
                  <a:pt x="1196" y="1648"/>
                </a:moveTo>
                <a:cubicBezTo>
                  <a:pt x="1193" y="1648"/>
                  <a:pt x="1190" y="1645"/>
                  <a:pt x="1188" y="1642"/>
                </a:cubicBezTo>
                <a:cubicBezTo>
                  <a:pt x="1187" y="1640"/>
                  <a:pt x="1187" y="1638"/>
                  <a:pt x="1188" y="1636"/>
                </a:cubicBezTo>
                <a:cubicBezTo>
                  <a:pt x="1189" y="1634"/>
                  <a:pt x="1191" y="1632"/>
                  <a:pt x="1193" y="1631"/>
                </a:cubicBezTo>
                <a:cubicBezTo>
                  <a:pt x="1244" y="1609"/>
                  <a:pt x="1293" y="1581"/>
                  <a:pt x="1339" y="1550"/>
                </a:cubicBezTo>
                <a:cubicBezTo>
                  <a:pt x="1354" y="1539"/>
                  <a:pt x="1369" y="1528"/>
                  <a:pt x="1384" y="1516"/>
                </a:cubicBezTo>
                <a:cubicBezTo>
                  <a:pt x="1388" y="1513"/>
                  <a:pt x="1393" y="1514"/>
                  <a:pt x="1396" y="1517"/>
                </a:cubicBezTo>
                <a:cubicBezTo>
                  <a:pt x="1397" y="1519"/>
                  <a:pt x="1398" y="1521"/>
                  <a:pt x="1398" y="1524"/>
                </a:cubicBezTo>
                <a:cubicBezTo>
                  <a:pt x="1398" y="1526"/>
                  <a:pt x="1396" y="1528"/>
                  <a:pt x="1395" y="1529"/>
                </a:cubicBezTo>
                <a:cubicBezTo>
                  <a:pt x="1380" y="1541"/>
                  <a:pt x="1365" y="1553"/>
                  <a:pt x="1349" y="1563"/>
                </a:cubicBezTo>
                <a:cubicBezTo>
                  <a:pt x="1302" y="1596"/>
                  <a:pt x="1252" y="1624"/>
                  <a:pt x="1199" y="1647"/>
                </a:cubicBezTo>
                <a:cubicBezTo>
                  <a:pt x="1199" y="1647"/>
                  <a:pt x="1199" y="1647"/>
                  <a:pt x="1199" y="1647"/>
                </a:cubicBezTo>
                <a:cubicBezTo>
                  <a:pt x="1199" y="1647"/>
                  <a:pt x="1199" y="1647"/>
                  <a:pt x="1199" y="1647"/>
                </a:cubicBezTo>
                <a:cubicBezTo>
                  <a:pt x="1198" y="1647"/>
                  <a:pt x="1197" y="1648"/>
                  <a:pt x="1196" y="1648"/>
                </a:cubicBezTo>
                <a:close/>
                <a:moveTo>
                  <a:pt x="362" y="1558"/>
                </a:moveTo>
                <a:cubicBezTo>
                  <a:pt x="361" y="1558"/>
                  <a:pt x="359" y="1558"/>
                  <a:pt x="358" y="1557"/>
                </a:cubicBezTo>
                <a:cubicBezTo>
                  <a:pt x="354" y="1554"/>
                  <a:pt x="353" y="1549"/>
                  <a:pt x="356" y="1545"/>
                </a:cubicBezTo>
                <a:cubicBezTo>
                  <a:pt x="358" y="1541"/>
                  <a:pt x="363" y="1540"/>
                  <a:pt x="367" y="1543"/>
                </a:cubicBezTo>
                <a:cubicBezTo>
                  <a:pt x="367" y="1543"/>
                  <a:pt x="367" y="1543"/>
                  <a:pt x="367" y="1543"/>
                </a:cubicBezTo>
                <a:cubicBezTo>
                  <a:pt x="367" y="1543"/>
                  <a:pt x="367" y="1543"/>
                  <a:pt x="367" y="1543"/>
                </a:cubicBezTo>
                <a:cubicBezTo>
                  <a:pt x="371" y="1545"/>
                  <a:pt x="372" y="1551"/>
                  <a:pt x="369" y="1555"/>
                </a:cubicBezTo>
                <a:cubicBezTo>
                  <a:pt x="368" y="1557"/>
                  <a:pt x="365" y="1558"/>
                  <a:pt x="362" y="1558"/>
                </a:cubicBezTo>
                <a:close/>
                <a:moveTo>
                  <a:pt x="340" y="1541"/>
                </a:moveTo>
                <a:cubicBezTo>
                  <a:pt x="338" y="1541"/>
                  <a:pt x="336" y="1541"/>
                  <a:pt x="335" y="1540"/>
                </a:cubicBezTo>
                <a:cubicBezTo>
                  <a:pt x="319" y="1528"/>
                  <a:pt x="305" y="1516"/>
                  <a:pt x="290" y="1503"/>
                </a:cubicBezTo>
                <a:cubicBezTo>
                  <a:pt x="277" y="1491"/>
                  <a:pt x="264" y="1479"/>
                  <a:pt x="251" y="1467"/>
                </a:cubicBezTo>
                <a:cubicBezTo>
                  <a:pt x="224" y="1439"/>
                  <a:pt x="198" y="1409"/>
                  <a:pt x="174" y="1378"/>
                </a:cubicBezTo>
                <a:cubicBezTo>
                  <a:pt x="171" y="1374"/>
                  <a:pt x="172" y="1369"/>
                  <a:pt x="176" y="1366"/>
                </a:cubicBezTo>
                <a:cubicBezTo>
                  <a:pt x="179" y="1363"/>
                  <a:pt x="185" y="1364"/>
                  <a:pt x="188" y="1368"/>
                </a:cubicBezTo>
                <a:cubicBezTo>
                  <a:pt x="211" y="1398"/>
                  <a:pt x="236" y="1428"/>
                  <a:pt x="263" y="1455"/>
                </a:cubicBezTo>
                <a:cubicBezTo>
                  <a:pt x="276" y="1467"/>
                  <a:pt x="288" y="1479"/>
                  <a:pt x="302" y="1491"/>
                </a:cubicBezTo>
                <a:cubicBezTo>
                  <a:pt x="302" y="1491"/>
                  <a:pt x="302" y="1491"/>
                  <a:pt x="302" y="1491"/>
                </a:cubicBezTo>
                <a:cubicBezTo>
                  <a:pt x="316" y="1503"/>
                  <a:pt x="330" y="1515"/>
                  <a:pt x="345" y="1526"/>
                </a:cubicBezTo>
                <a:cubicBezTo>
                  <a:pt x="349" y="1529"/>
                  <a:pt x="349" y="1534"/>
                  <a:pt x="346" y="1538"/>
                </a:cubicBezTo>
                <a:cubicBezTo>
                  <a:pt x="345" y="1540"/>
                  <a:pt x="342" y="1541"/>
                  <a:pt x="340" y="1541"/>
                </a:cubicBezTo>
                <a:close/>
                <a:moveTo>
                  <a:pt x="1411" y="1513"/>
                </a:moveTo>
                <a:cubicBezTo>
                  <a:pt x="1409" y="1513"/>
                  <a:pt x="1406" y="1512"/>
                  <a:pt x="1405" y="1510"/>
                </a:cubicBezTo>
                <a:cubicBezTo>
                  <a:pt x="1403" y="1508"/>
                  <a:pt x="1403" y="1506"/>
                  <a:pt x="1403" y="1504"/>
                </a:cubicBezTo>
                <a:cubicBezTo>
                  <a:pt x="1403" y="1502"/>
                  <a:pt x="1404" y="1500"/>
                  <a:pt x="1406" y="1498"/>
                </a:cubicBezTo>
                <a:cubicBezTo>
                  <a:pt x="1409" y="1495"/>
                  <a:pt x="1415" y="1496"/>
                  <a:pt x="1418" y="1499"/>
                </a:cubicBezTo>
                <a:cubicBezTo>
                  <a:pt x="1421" y="1503"/>
                  <a:pt x="1420" y="1508"/>
                  <a:pt x="1417" y="1511"/>
                </a:cubicBezTo>
                <a:cubicBezTo>
                  <a:pt x="1415" y="1512"/>
                  <a:pt x="1413" y="1513"/>
                  <a:pt x="1411" y="1513"/>
                </a:cubicBezTo>
                <a:close/>
                <a:moveTo>
                  <a:pt x="1432" y="1494"/>
                </a:moveTo>
                <a:cubicBezTo>
                  <a:pt x="1430" y="1494"/>
                  <a:pt x="1428" y="1493"/>
                  <a:pt x="1426" y="1492"/>
                </a:cubicBezTo>
                <a:cubicBezTo>
                  <a:pt x="1423" y="1488"/>
                  <a:pt x="1423" y="1483"/>
                  <a:pt x="1427" y="1480"/>
                </a:cubicBezTo>
                <a:cubicBezTo>
                  <a:pt x="1431" y="1475"/>
                  <a:pt x="1435" y="1471"/>
                  <a:pt x="1439" y="1468"/>
                </a:cubicBezTo>
                <a:cubicBezTo>
                  <a:pt x="1475" y="1433"/>
                  <a:pt x="1509" y="1395"/>
                  <a:pt x="1538" y="1354"/>
                </a:cubicBezTo>
                <a:cubicBezTo>
                  <a:pt x="1549" y="1339"/>
                  <a:pt x="1560" y="1324"/>
                  <a:pt x="1570" y="1308"/>
                </a:cubicBezTo>
                <a:cubicBezTo>
                  <a:pt x="1572" y="1304"/>
                  <a:pt x="1577" y="1303"/>
                  <a:pt x="1581" y="1305"/>
                </a:cubicBezTo>
                <a:cubicBezTo>
                  <a:pt x="1585" y="1308"/>
                  <a:pt x="1586" y="1313"/>
                  <a:pt x="1584" y="1317"/>
                </a:cubicBezTo>
                <a:cubicBezTo>
                  <a:pt x="1574" y="1333"/>
                  <a:pt x="1563" y="1349"/>
                  <a:pt x="1552" y="1364"/>
                </a:cubicBezTo>
                <a:cubicBezTo>
                  <a:pt x="1522" y="1406"/>
                  <a:pt x="1488" y="1445"/>
                  <a:pt x="1451" y="1480"/>
                </a:cubicBezTo>
                <a:cubicBezTo>
                  <a:pt x="1447" y="1484"/>
                  <a:pt x="1442" y="1488"/>
                  <a:pt x="1438" y="1492"/>
                </a:cubicBezTo>
                <a:cubicBezTo>
                  <a:pt x="1438" y="1492"/>
                  <a:pt x="1438" y="1492"/>
                  <a:pt x="1438" y="1492"/>
                </a:cubicBezTo>
                <a:cubicBezTo>
                  <a:pt x="1438" y="1492"/>
                  <a:pt x="1438" y="1492"/>
                  <a:pt x="1438" y="1492"/>
                </a:cubicBezTo>
                <a:cubicBezTo>
                  <a:pt x="1436" y="1494"/>
                  <a:pt x="1434" y="1494"/>
                  <a:pt x="1432" y="1494"/>
                </a:cubicBezTo>
                <a:close/>
                <a:moveTo>
                  <a:pt x="164" y="1358"/>
                </a:moveTo>
                <a:cubicBezTo>
                  <a:pt x="161" y="1358"/>
                  <a:pt x="159" y="1357"/>
                  <a:pt x="157" y="1355"/>
                </a:cubicBezTo>
                <a:cubicBezTo>
                  <a:pt x="157" y="1355"/>
                  <a:pt x="157" y="1355"/>
                  <a:pt x="157" y="1355"/>
                </a:cubicBezTo>
                <a:cubicBezTo>
                  <a:pt x="156" y="1353"/>
                  <a:pt x="155" y="1351"/>
                  <a:pt x="156" y="1348"/>
                </a:cubicBezTo>
                <a:cubicBezTo>
                  <a:pt x="156" y="1346"/>
                  <a:pt x="157" y="1344"/>
                  <a:pt x="159" y="1343"/>
                </a:cubicBezTo>
                <a:cubicBezTo>
                  <a:pt x="163" y="1340"/>
                  <a:pt x="168" y="1341"/>
                  <a:pt x="171" y="1345"/>
                </a:cubicBezTo>
                <a:cubicBezTo>
                  <a:pt x="174" y="1349"/>
                  <a:pt x="173" y="1354"/>
                  <a:pt x="169" y="1357"/>
                </a:cubicBezTo>
                <a:cubicBezTo>
                  <a:pt x="168" y="1358"/>
                  <a:pt x="166" y="1358"/>
                  <a:pt x="164" y="1358"/>
                </a:cubicBezTo>
                <a:close/>
                <a:moveTo>
                  <a:pt x="148" y="1335"/>
                </a:moveTo>
                <a:cubicBezTo>
                  <a:pt x="145" y="1335"/>
                  <a:pt x="143" y="1334"/>
                  <a:pt x="141" y="1331"/>
                </a:cubicBezTo>
                <a:cubicBezTo>
                  <a:pt x="131" y="1315"/>
                  <a:pt x="121" y="1299"/>
                  <a:pt x="111" y="1282"/>
                </a:cubicBezTo>
                <a:cubicBezTo>
                  <a:pt x="95" y="1253"/>
                  <a:pt x="80" y="1223"/>
                  <a:pt x="67" y="1193"/>
                </a:cubicBezTo>
                <a:cubicBezTo>
                  <a:pt x="58" y="1171"/>
                  <a:pt x="50" y="1148"/>
                  <a:pt x="42" y="1126"/>
                </a:cubicBezTo>
                <a:cubicBezTo>
                  <a:pt x="42" y="1124"/>
                  <a:pt x="42" y="1121"/>
                  <a:pt x="43" y="1119"/>
                </a:cubicBezTo>
                <a:cubicBezTo>
                  <a:pt x="44" y="1117"/>
                  <a:pt x="46" y="1116"/>
                  <a:pt x="48" y="1115"/>
                </a:cubicBezTo>
                <a:cubicBezTo>
                  <a:pt x="52" y="1114"/>
                  <a:pt x="57" y="1116"/>
                  <a:pt x="59" y="1121"/>
                </a:cubicBezTo>
                <a:cubicBezTo>
                  <a:pt x="66" y="1143"/>
                  <a:pt x="74" y="1165"/>
                  <a:pt x="83" y="1186"/>
                </a:cubicBezTo>
                <a:cubicBezTo>
                  <a:pt x="96" y="1216"/>
                  <a:pt x="110" y="1246"/>
                  <a:pt x="126" y="1274"/>
                </a:cubicBezTo>
                <a:cubicBezTo>
                  <a:pt x="135" y="1290"/>
                  <a:pt x="145" y="1306"/>
                  <a:pt x="155" y="1322"/>
                </a:cubicBezTo>
                <a:cubicBezTo>
                  <a:pt x="158" y="1326"/>
                  <a:pt x="157" y="1331"/>
                  <a:pt x="153" y="1334"/>
                </a:cubicBezTo>
                <a:cubicBezTo>
                  <a:pt x="151" y="1335"/>
                  <a:pt x="150" y="1335"/>
                  <a:pt x="148" y="1335"/>
                </a:cubicBezTo>
                <a:close/>
                <a:moveTo>
                  <a:pt x="1591" y="1297"/>
                </a:moveTo>
                <a:cubicBezTo>
                  <a:pt x="1590" y="1297"/>
                  <a:pt x="1588" y="1296"/>
                  <a:pt x="1587" y="1296"/>
                </a:cubicBezTo>
                <a:cubicBezTo>
                  <a:pt x="1583" y="1293"/>
                  <a:pt x="1582" y="1288"/>
                  <a:pt x="1584" y="1284"/>
                </a:cubicBezTo>
                <a:cubicBezTo>
                  <a:pt x="1584" y="1284"/>
                  <a:pt x="1584" y="1284"/>
                  <a:pt x="1584" y="1284"/>
                </a:cubicBezTo>
                <a:cubicBezTo>
                  <a:pt x="1584" y="1284"/>
                  <a:pt x="1584" y="1284"/>
                  <a:pt x="1584" y="1284"/>
                </a:cubicBezTo>
                <a:cubicBezTo>
                  <a:pt x="1586" y="1280"/>
                  <a:pt x="1592" y="1279"/>
                  <a:pt x="1596" y="1281"/>
                </a:cubicBezTo>
                <a:cubicBezTo>
                  <a:pt x="1598" y="1282"/>
                  <a:pt x="1599" y="1284"/>
                  <a:pt x="1600" y="1286"/>
                </a:cubicBezTo>
                <a:cubicBezTo>
                  <a:pt x="1600" y="1288"/>
                  <a:pt x="1600" y="1291"/>
                  <a:pt x="1599" y="1293"/>
                </a:cubicBezTo>
                <a:cubicBezTo>
                  <a:pt x="1599" y="1293"/>
                  <a:pt x="1599" y="1293"/>
                  <a:pt x="1599" y="1293"/>
                </a:cubicBezTo>
                <a:cubicBezTo>
                  <a:pt x="1597" y="1295"/>
                  <a:pt x="1594" y="1297"/>
                  <a:pt x="1591" y="1297"/>
                </a:cubicBezTo>
                <a:close/>
                <a:moveTo>
                  <a:pt x="1605" y="1272"/>
                </a:moveTo>
                <a:cubicBezTo>
                  <a:pt x="1604" y="1272"/>
                  <a:pt x="1602" y="1272"/>
                  <a:pt x="1601" y="1271"/>
                </a:cubicBezTo>
                <a:cubicBezTo>
                  <a:pt x="1599" y="1270"/>
                  <a:pt x="1598" y="1268"/>
                  <a:pt x="1597" y="1266"/>
                </a:cubicBezTo>
                <a:cubicBezTo>
                  <a:pt x="1596" y="1264"/>
                  <a:pt x="1597" y="1262"/>
                  <a:pt x="1598" y="1260"/>
                </a:cubicBezTo>
                <a:cubicBezTo>
                  <a:pt x="1608" y="1241"/>
                  <a:pt x="1617" y="1222"/>
                  <a:pt x="1626" y="1203"/>
                </a:cubicBezTo>
                <a:cubicBezTo>
                  <a:pt x="1640" y="1171"/>
                  <a:pt x="1652" y="1138"/>
                  <a:pt x="1662" y="1105"/>
                </a:cubicBezTo>
                <a:cubicBezTo>
                  <a:pt x="1663" y="1105"/>
                  <a:pt x="1663" y="1105"/>
                  <a:pt x="1663" y="1105"/>
                </a:cubicBezTo>
                <a:cubicBezTo>
                  <a:pt x="1668" y="1087"/>
                  <a:pt x="1673" y="1069"/>
                  <a:pt x="1677" y="1051"/>
                </a:cubicBezTo>
                <a:cubicBezTo>
                  <a:pt x="1678" y="1046"/>
                  <a:pt x="1683" y="1043"/>
                  <a:pt x="1687" y="1044"/>
                </a:cubicBezTo>
                <a:cubicBezTo>
                  <a:pt x="1690" y="1045"/>
                  <a:pt x="1691" y="1046"/>
                  <a:pt x="1693" y="1048"/>
                </a:cubicBezTo>
                <a:cubicBezTo>
                  <a:pt x="1694" y="1050"/>
                  <a:pt x="1694" y="1052"/>
                  <a:pt x="1694" y="1055"/>
                </a:cubicBezTo>
                <a:cubicBezTo>
                  <a:pt x="1689" y="1073"/>
                  <a:pt x="1684" y="1092"/>
                  <a:pt x="1679" y="1110"/>
                </a:cubicBezTo>
                <a:cubicBezTo>
                  <a:pt x="1668" y="1144"/>
                  <a:pt x="1656" y="1178"/>
                  <a:pt x="1641" y="1210"/>
                </a:cubicBezTo>
                <a:cubicBezTo>
                  <a:pt x="1633" y="1229"/>
                  <a:pt x="1623" y="1249"/>
                  <a:pt x="1613" y="1268"/>
                </a:cubicBezTo>
                <a:cubicBezTo>
                  <a:pt x="1611" y="1270"/>
                  <a:pt x="1608" y="1272"/>
                  <a:pt x="1605" y="1272"/>
                </a:cubicBezTo>
                <a:close/>
                <a:moveTo>
                  <a:pt x="42" y="1105"/>
                </a:moveTo>
                <a:cubicBezTo>
                  <a:pt x="38" y="1105"/>
                  <a:pt x="35" y="1102"/>
                  <a:pt x="34" y="1098"/>
                </a:cubicBezTo>
                <a:cubicBezTo>
                  <a:pt x="33" y="1094"/>
                  <a:pt x="35" y="1089"/>
                  <a:pt x="40" y="1088"/>
                </a:cubicBezTo>
                <a:cubicBezTo>
                  <a:pt x="44" y="1087"/>
                  <a:pt x="49" y="1089"/>
                  <a:pt x="50" y="1094"/>
                </a:cubicBezTo>
                <a:cubicBezTo>
                  <a:pt x="51" y="1096"/>
                  <a:pt x="51" y="1098"/>
                  <a:pt x="50" y="1100"/>
                </a:cubicBezTo>
                <a:cubicBezTo>
                  <a:pt x="48" y="1102"/>
                  <a:pt x="47" y="1104"/>
                  <a:pt x="44" y="1104"/>
                </a:cubicBezTo>
                <a:cubicBezTo>
                  <a:pt x="44" y="1104"/>
                  <a:pt x="43" y="1105"/>
                  <a:pt x="42" y="1105"/>
                </a:cubicBezTo>
                <a:close/>
                <a:moveTo>
                  <a:pt x="35" y="1077"/>
                </a:moveTo>
                <a:cubicBezTo>
                  <a:pt x="31" y="1077"/>
                  <a:pt x="27" y="1075"/>
                  <a:pt x="26" y="1071"/>
                </a:cubicBezTo>
                <a:cubicBezTo>
                  <a:pt x="22" y="1053"/>
                  <a:pt x="18" y="1034"/>
                  <a:pt x="14" y="1015"/>
                </a:cubicBezTo>
                <a:cubicBezTo>
                  <a:pt x="5" y="967"/>
                  <a:pt x="0" y="918"/>
                  <a:pt x="0" y="870"/>
                </a:cubicBezTo>
                <a:cubicBezTo>
                  <a:pt x="0" y="866"/>
                  <a:pt x="0" y="863"/>
                  <a:pt x="0" y="859"/>
                </a:cubicBezTo>
                <a:cubicBezTo>
                  <a:pt x="0" y="854"/>
                  <a:pt x="0" y="849"/>
                  <a:pt x="0" y="845"/>
                </a:cubicBezTo>
                <a:cubicBezTo>
                  <a:pt x="0" y="840"/>
                  <a:pt x="4" y="836"/>
                  <a:pt x="8" y="836"/>
                </a:cubicBezTo>
                <a:cubicBezTo>
                  <a:pt x="9" y="836"/>
                  <a:pt x="9" y="836"/>
                  <a:pt x="9" y="836"/>
                </a:cubicBezTo>
                <a:cubicBezTo>
                  <a:pt x="11" y="836"/>
                  <a:pt x="13" y="837"/>
                  <a:pt x="14" y="839"/>
                </a:cubicBezTo>
                <a:cubicBezTo>
                  <a:pt x="16" y="841"/>
                  <a:pt x="17" y="843"/>
                  <a:pt x="17" y="845"/>
                </a:cubicBezTo>
                <a:cubicBezTo>
                  <a:pt x="17" y="850"/>
                  <a:pt x="17" y="855"/>
                  <a:pt x="17" y="859"/>
                </a:cubicBezTo>
                <a:cubicBezTo>
                  <a:pt x="17" y="863"/>
                  <a:pt x="17" y="866"/>
                  <a:pt x="17" y="869"/>
                </a:cubicBezTo>
                <a:cubicBezTo>
                  <a:pt x="17" y="917"/>
                  <a:pt x="22" y="965"/>
                  <a:pt x="31" y="1012"/>
                </a:cubicBezTo>
                <a:cubicBezTo>
                  <a:pt x="34" y="1030"/>
                  <a:pt x="38" y="1049"/>
                  <a:pt x="43" y="1067"/>
                </a:cubicBezTo>
                <a:cubicBezTo>
                  <a:pt x="43" y="1069"/>
                  <a:pt x="43" y="1071"/>
                  <a:pt x="42" y="1073"/>
                </a:cubicBezTo>
                <a:cubicBezTo>
                  <a:pt x="41" y="1075"/>
                  <a:pt x="39" y="1077"/>
                  <a:pt x="37" y="1077"/>
                </a:cubicBezTo>
                <a:cubicBezTo>
                  <a:pt x="36" y="1077"/>
                  <a:pt x="35" y="1077"/>
                  <a:pt x="35" y="1077"/>
                </a:cubicBezTo>
                <a:close/>
                <a:moveTo>
                  <a:pt x="1691" y="1034"/>
                </a:moveTo>
                <a:cubicBezTo>
                  <a:pt x="1691" y="1034"/>
                  <a:pt x="1690" y="1034"/>
                  <a:pt x="1690" y="1033"/>
                </a:cubicBezTo>
                <a:cubicBezTo>
                  <a:pt x="1685" y="1033"/>
                  <a:pt x="1682" y="1028"/>
                  <a:pt x="1683" y="1023"/>
                </a:cubicBezTo>
                <a:cubicBezTo>
                  <a:pt x="1684" y="1019"/>
                  <a:pt x="1689" y="1016"/>
                  <a:pt x="1693" y="1017"/>
                </a:cubicBezTo>
                <a:cubicBezTo>
                  <a:pt x="1698" y="1018"/>
                  <a:pt x="1701" y="1022"/>
                  <a:pt x="1700" y="1027"/>
                </a:cubicBezTo>
                <a:cubicBezTo>
                  <a:pt x="1699" y="1031"/>
                  <a:pt x="1695" y="1034"/>
                  <a:pt x="1691" y="1034"/>
                </a:cubicBezTo>
                <a:close/>
                <a:moveTo>
                  <a:pt x="1696" y="1006"/>
                </a:moveTo>
                <a:cubicBezTo>
                  <a:pt x="1696" y="1006"/>
                  <a:pt x="1696" y="1006"/>
                  <a:pt x="1695" y="1006"/>
                </a:cubicBezTo>
                <a:cubicBezTo>
                  <a:pt x="1690" y="1005"/>
                  <a:pt x="1687" y="1001"/>
                  <a:pt x="1688" y="996"/>
                </a:cubicBezTo>
                <a:cubicBezTo>
                  <a:pt x="1694" y="960"/>
                  <a:pt x="1698" y="924"/>
                  <a:pt x="1699" y="888"/>
                </a:cubicBezTo>
                <a:cubicBezTo>
                  <a:pt x="1699" y="878"/>
                  <a:pt x="1699" y="869"/>
                  <a:pt x="1699" y="859"/>
                </a:cubicBezTo>
                <a:cubicBezTo>
                  <a:pt x="1699" y="849"/>
                  <a:pt x="1699" y="839"/>
                  <a:pt x="1699" y="829"/>
                </a:cubicBezTo>
                <a:cubicBezTo>
                  <a:pt x="1699" y="829"/>
                  <a:pt x="1699" y="829"/>
                  <a:pt x="1699" y="829"/>
                </a:cubicBezTo>
                <a:cubicBezTo>
                  <a:pt x="1699" y="829"/>
                  <a:pt x="1699" y="829"/>
                  <a:pt x="1699" y="829"/>
                </a:cubicBezTo>
                <a:cubicBezTo>
                  <a:pt x="1698" y="810"/>
                  <a:pt x="1697" y="791"/>
                  <a:pt x="1695" y="773"/>
                </a:cubicBezTo>
                <a:cubicBezTo>
                  <a:pt x="1694" y="768"/>
                  <a:pt x="1698" y="764"/>
                  <a:pt x="1702" y="763"/>
                </a:cubicBezTo>
                <a:cubicBezTo>
                  <a:pt x="1707" y="763"/>
                  <a:pt x="1711" y="766"/>
                  <a:pt x="1712" y="771"/>
                </a:cubicBezTo>
                <a:cubicBezTo>
                  <a:pt x="1714" y="790"/>
                  <a:pt x="1715" y="809"/>
                  <a:pt x="1716" y="828"/>
                </a:cubicBezTo>
                <a:cubicBezTo>
                  <a:pt x="1716" y="838"/>
                  <a:pt x="1716" y="849"/>
                  <a:pt x="1716" y="859"/>
                </a:cubicBezTo>
                <a:cubicBezTo>
                  <a:pt x="1716" y="869"/>
                  <a:pt x="1716" y="879"/>
                  <a:pt x="1716" y="888"/>
                </a:cubicBezTo>
                <a:cubicBezTo>
                  <a:pt x="1715" y="925"/>
                  <a:pt x="1711" y="962"/>
                  <a:pt x="1705" y="998"/>
                </a:cubicBezTo>
                <a:cubicBezTo>
                  <a:pt x="1705" y="998"/>
                  <a:pt x="1705" y="998"/>
                  <a:pt x="1705" y="998"/>
                </a:cubicBezTo>
                <a:cubicBezTo>
                  <a:pt x="1705" y="999"/>
                  <a:pt x="1705" y="999"/>
                  <a:pt x="1705" y="999"/>
                </a:cubicBezTo>
                <a:cubicBezTo>
                  <a:pt x="1704" y="1003"/>
                  <a:pt x="1701" y="1006"/>
                  <a:pt x="1696" y="1006"/>
                </a:cubicBezTo>
                <a:close/>
                <a:moveTo>
                  <a:pt x="9" y="825"/>
                </a:moveTo>
                <a:cubicBezTo>
                  <a:pt x="9" y="825"/>
                  <a:pt x="9" y="825"/>
                  <a:pt x="9" y="825"/>
                </a:cubicBezTo>
                <a:cubicBezTo>
                  <a:pt x="4" y="825"/>
                  <a:pt x="1" y="821"/>
                  <a:pt x="1" y="816"/>
                </a:cubicBezTo>
                <a:cubicBezTo>
                  <a:pt x="1" y="811"/>
                  <a:pt x="5" y="808"/>
                  <a:pt x="10" y="808"/>
                </a:cubicBezTo>
                <a:cubicBezTo>
                  <a:pt x="14" y="808"/>
                  <a:pt x="18" y="812"/>
                  <a:pt x="18" y="817"/>
                </a:cubicBezTo>
                <a:cubicBezTo>
                  <a:pt x="18" y="821"/>
                  <a:pt x="14" y="825"/>
                  <a:pt x="9" y="825"/>
                </a:cubicBezTo>
                <a:close/>
                <a:moveTo>
                  <a:pt x="11" y="797"/>
                </a:moveTo>
                <a:cubicBezTo>
                  <a:pt x="11" y="797"/>
                  <a:pt x="11" y="797"/>
                  <a:pt x="11" y="797"/>
                </a:cubicBezTo>
                <a:cubicBezTo>
                  <a:pt x="11" y="797"/>
                  <a:pt x="11" y="797"/>
                  <a:pt x="11" y="797"/>
                </a:cubicBezTo>
                <a:cubicBezTo>
                  <a:pt x="8" y="797"/>
                  <a:pt x="6" y="796"/>
                  <a:pt x="5" y="794"/>
                </a:cubicBezTo>
                <a:cubicBezTo>
                  <a:pt x="3" y="792"/>
                  <a:pt x="3" y="790"/>
                  <a:pt x="3" y="788"/>
                </a:cubicBezTo>
                <a:cubicBezTo>
                  <a:pt x="4" y="769"/>
                  <a:pt x="7" y="750"/>
                  <a:pt x="10" y="731"/>
                </a:cubicBezTo>
                <a:cubicBezTo>
                  <a:pt x="18" y="674"/>
                  <a:pt x="32" y="619"/>
                  <a:pt x="52" y="565"/>
                </a:cubicBezTo>
                <a:cubicBezTo>
                  <a:pt x="54" y="561"/>
                  <a:pt x="59" y="558"/>
                  <a:pt x="63" y="560"/>
                </a:cubicBezTo>
                <a:cubicBezTo>
                  <a:pt x="67" y="562"/>
                  <a:pt x="70" y="567"/>
                  <a:pt x="68" y="571"/>
                </a:cubicBezTo>
                <a:cubicBezTo>
                  <a:pt x="49" y="623"/>
                  <a:pt x="35" y="678"/>
                  <a:pt x="26" y="733"/>
                </a:cubicBezTo>
                <a:cubicBezTo>
                  <a:pt x="24" y="752"/>
                  <a:pt x="21" y="771"/>
                  <a:pt x="20" y="789"/>
                </a:cubicBezTo>
                <a:cubicBezTo>
                  <a:pt x="19" y="793"/>
                  <a:pt x="16" y="797"/>
                  <a:pt x="11" y="797"/>
                </a:cubicBezTo>
                <a:close/>
                <a:moveTo>
                  <a:pt x="1700" y="752"/>
                </a:moveTo>
                <a:cubicBezTo>
                  <a:pt x="1696" y="752"/>
                  <a:pt x="1692" y="749"/>
                  <a:pt x="1691" y="745"/>
                </a:cubicBezTo>
                <a:cubicBezTo>
                  <a:pt x="1691" y="745"/>
                  <a:pt x="1691" y="745"/>
                  <a:pt x="1691" y="745"/>
                </a:cubicBezTo>
                <a:cubicBezTo>
                  <a:pt x="1691" y="743"/>
                  <a:pt x="1692" y="740"/>
                  <a:pt x="1693" y="739"/>
                </a:cubicBezTo>
                <a:cubicBezTo>
                  <a:pt x="1694" y="737"/>
                  <a:pt x="1696" y="736"/>
                  <a:pt x="1699" y="735"/>
                </a:cubicBezTo>
                <a:cubicBezTo>
                  <a:pt x="1703" y="735"/>
                  <a:pt x="1708" y="738"/>
                  <a:pt x="1708" y="743"/>
                </a:cubicBezTo>
                <a:cubicBezTo>
                  <a:pt x="1709" y="745"/>
                  <a:pt x="1708" y="747"/>
                  <a:pt x="1707" y="749"/>
                </a:cubicBezTo>
                <a:cubicBezTo>
                  <a:pt x="1705" y="751"/>
                  <a:pt x="1703" y="752"/>
                  <a:pt x="1701" y="752"/>
                </a:cubicBezTo>
                <a:cubicBezTo>
                  <a:pt x="1701" y="752"/>
                  <a:pt x="1700" y="752"/>
                  <a:pt x="1700" y="752"/>
                </a:cubicBezTo>
                <a:close/>
                <a:moveTo>
                  <a:pt x="1695" y="724"/>
                </a:moveTo>
                <a:cubicBezTo>
                  <a:pt x="1691" y="724"/>
                  <a:pt x="1688" y="721"/>
                  <a:pt x="1687" y="717"/>
                </a:cubicBezTo>
                <a:cubicBezTo>
                  <a:pt x="1678" y="667"/>
                  <a:pt x="1665" y="617"/>
                  <a:pt x="1647" y="569"/>
                </a:cubicBezTo>
                <a:cubicBezTo>
                  <a:pt x="1646" y="564"/>
                  <a:pt x="1644" y="560"/>
                  <a:pt x="1642" y="556"/>
                </a:cubicBezTo>
                <a:cubicBezTo>
                  <a:pt x="1635" y="538"/>
                  <a:pt x="1628" y="521"/>
                  <a:pt x="1620" y="504"/>
                </a:cubicBezTo>
                <a:cubicBezTo>
                  <a:pt x="1618" y="500"/>
                  <a:pt x="1620" y="495"/>
                  <a:pt x="1624" y="493"/>
                </a:cubicBezTo>
                <a:cubicBezTo>
                  <a:pt x="1628" y="491"/>
                  <a:pt x="1634" y="493"/>
                  <a:pt x="1636" y="497"/>
                </a:cubicBezTo>
                <a:cubicBezTo>
                  <a:pt x="1644" y="514"/>
                  <a:pt x="1651" y="532"/>
                  <a:pt x="1658" y="549"/>
                </a:cubicBezTo>
                <a:cubicBezTo>
                  <a:pt x="1660" y="554"/>
                  <a:pt x="1661" y="558"/>
                  <a:pt x="1663" y="563"/>
                </a:cubicBezTo>
                <a:cubicBezTo>
                  <a:pt x="1681" y="612"/>
                  <a:pt x="1695" y="663"/>
                  <a:pt x="1704" y="714"/>
                </a:cubicBezTo>
                <a:cubicBezTo>
                  <a:pt x="1705" y="719"/>
                  <a:pt x="1701" y="723"/>
                  <a:pt x="1697" y="724"/>
                </a:cubicBezTo>
                <a:cubicBezTo>
                  <a:pt x="1696" y="724"/>
                  <a:pt x="1696" y="724"/>
                  <a:pt x="1695" y="724"/>
                </a:cubicBezTo>
                <a:close/>
                <a:moveTo>
                  <a:pt x="70" y="550"/>
                </a:moveTo>
                <a:cubicBezTo>
                  <a:pt x="69" y="550"/>
                  <a:pt x="68" y="550"/>
                  <a:pt x="67" y="550"/>
                </a:cubicBezTo>
                <a:cubicBezTo>
                  <a:pt x="63" y="548"/>
                  <a:pt x="61" y="543"/>
                  <a:pt x="62" y="538"/>
                </a:cubicBezTo>
                <a:cubicBezTo>
                  <a:pt x="64" y="534"/>
                  <a:pt x="69" y="532"/>
                  <a:pt x="73" y="534"/>
                </a:cubicBezTo>
                <a:cubicBezTo>
                  <a:pt x="78" y="536"/>
                  <a:pt x="80" y="540"/>
                  <a:pt x="78" y="545"/>
                </a:cubicBezTo>
                <a:cubicBezTo>
                  <a:pt x="77" y="548"/>
                  <a:pt x="74" y="550"/>
                  <a:pt x="70" y="550"/>
                </a:cubicBezTo>
                <a:close/>
                <a:moveTo>
                  <a:pt x="81" y="524"/>
                </a:moveTo>
                <a:cubicBezTo>
                  <a:pt x="80" y="524"/>
                  <a:pt x="79" y="524"/>
                  <a:pt x="78" y="523"/>
                </a:cubicBezTo>
                <a:cubicBezTo>
                  <a:pt x="76" y="522"/>
                  <a:pt x="74" y="521"/>
                  <a:pt x="73" y="519"/>
                </a:cubicBezTo>
                <a:cubicBezTo>
                  <a:pt x="72" y="517"/>
                  <a:pt x="73" y="514"/>
                  <a:pt x="73" y="512"/>
                </a:cubicBezTo>
                <a:cubicBezTo>
                  <a:pt x="81" y="495"/>
                  <a:pt x="89" y="478"/>
                  <a:pt x="98" y="461"/>
                </a:cubicBezTo>
                <a:cubicBezTo>
                  <a:pt x="98" y="461"/>
                  <a:pt x="98" y="461"/>
                  <a:pt x="98" y="461"/>
                </a:cubicBezTo>
                <a:cubicBezTo>
                  <a:pt x="98" y="461"/>
                  <a:pt x="98" y="461"/>
                  <a:pt x="98" y="460"/>
                </a:cubicBezTo>
                <a:cubicBezTo>
                  <a:pt x="125" y="410"/>
                  <a:pt x="157" y="362"/>
                  <a:pt x="192" y="318"/>
                </a:cubicBezTo>
                <a:cubicBezTo>
                  <a:pt x="195" y="314"/>
                  <a:pt x="201" y="314"/>
                  <a:pt x="204" y="317"/>
                </a:cubicBezTo>
                <a:cubicBezTo>
                  <a:pt x="208" y="320"/>
                  <a:pt x="209" y="325"/>
                  <a:pt x="206" y="329"/>
                </a:cubicBezTo>
                <a:cubicBezTo>
                  <a:pt x="170" y="372"/>
                  <a:pt x="139" y="419"/>
                  <a:pt x="113" y="469"/>
                </a:cubicBezTo>
                <a:cubicBezTo>
                  <a:pt x="105" y="485"/>
                  <a:pt x="96" y="502"/>
                  <a:pt x="89" y="519"/>
                </a:cubicBezTo>
                <a:cubicBezTo>
                  <a:pt x="88" y="522"/>
                  <a:pt x="85" y="524"/>
                  <a:pt x="81" y="524"/>
                </a:cubicBezTo>
                <a:close/>
                <a:moveTo>
                  <a:pt x="1616" y="484"/>
                </a:moveTo>
                <a:cubicBezTo>
                  <a:pt x="1613" y="484"/>
                  <a:pt x="1610" y="482"/>
                  <a:pt x="1608" y="480"/>
                </a:cubicBezTo>
                <a:cubicBezTo>
                  <a:pt x="1608" y="480"/>
                  <a:pt x="1608" y="480"/>
                  <a:pt x="1608" y="480"/>
                </a:cubicBezTo>
                <a:cubicBezTo>
                  <a:pt x="1608" y="479"/>
                  <a:pt x="1608" y="479"/>
                  <a:pt x="1608" y="479"/>
                </a:cubicBezTo>
                <a:cubicBezTo>
                  <a:pt x="1606" y="475"/>
                  <a:pt x="1608" y="470"/>
                  <a:pt x="1612" y="467"/>
                </a:cubicBezTo>
                <a:cubicBezTo>
                  <a:pt x="1616" y="465"/>
                  <a:pt x="1621" y="467"/>
                  <a:pt x="1623" y="471"/>
                </a:cubicBezTo>
                <a:cubicBezTo>
                  <a:pt x="1624" y="473"/>
                  <a:pt x="1624" y="476"/>
                  <a:pt x="1624" y="478"/>
                </a:cubicBezTo>
                <a:cubicBezTo>
                  <a:pt x="1623" y="480"/>
                  <a:pt x="1621" y="482"/>
                  <a:pt x="1619" y="483"/>
                </a:cubicBezTo>
                <a:cubicBezTo>
                  <a:pt x="1618" y="483"/>
                  <a:pt x="1617" y="484"/>
                  <a:pt x="1616" y="484"/>
                </a:cubicBezTo>
                <a:close/>
                <a:moveTo>
                  <a:pt x="1602" y="459"/>
                </a:moveTo>
                <a:cubicBezTo>
                  <a:pt x="1599" y="459"/>
                  <a:pt x="1596" y="457"/>
                  <a:pt x="1595" y="454"/>
                </a:cubicBezTo>
                <a:cubicBezTo>
                  <a:pt x="1568" y="405"/>
                  <a:pt x="1536" y="358"/>
                  <a:pt x="1500" y="316"/>
                </a:cubicBezTo>
                <a:cubicBezTo>
                  <a:pt x="1500" y="316"/>
                  <a:pt x="1500" y="316"/>
                  <a:pt x="1500" y="316"/>
                </a:cubicBezTo>
                <a:cubicBezTo>
                  <a:pt x="1493" y="308"/>
                  <a:pt x="1486" y="300"/>
                  <a:pt x="1479" y="292"/>
                </a:cubicBezTo>
                <a:cubicBezTo>
                  <a:pt x="1474" y="286"/>
                  <a:pt x="1468" y="280"/>
                  <a:pt x="1462" y="274"/>
                </a:cubicBezTo>
                <a:cubicBezTo>
                  <a:pt x="1461" y="273"/>
                  <a:pt x="1460" y="271"/>
                  <a:pt x="1460" y="268"/>
                </a:cubicBezTo>
                <a:cubicBezTo>
                  <a:pt x="1460" y="266"/>
                  <a:pt x="1461" y="264"/>
                  <a:pt x="1463" y="262"/>
                </a:cubicBezTo>
                <a:cubicBezTo>
                  <a:pt x="1466" y="259"/>
                  <a:pt x="1471" y="259"/>
                  <a:pt x="1475" y="263"/>
                </a:cubicBezTo>
                <a:cubicBezTo>
                  <a:pt x="1480" y="268"/>
                  <a:pt x="1486" y="275"/>
                  <a:pt x="1492" y="281"/>
                </a:cubicBezTo>
                <a:cubicBezTo>
                  <a:pt x="1499" y="289"/>
                  <a:pt x="1506" y="297"/>
                  <a:pt x="1513" y="305"/>
                </a:cubicBezTo>
                <a:cubicBezTo>
                  <a:pt x="1550" y="348"/>
                  <a:pt x="1582" y="396"/>
                  <a:pt x="1610" y="446"/>
                </a:cubicBezTo>
                <a:cubicBezTo>
                  <a:pt x="1612" y="450"/>
                  <a:pt x="1611" y="455"/>
                  <a:pt x="1606" y="457"/>
                </a:cubicBezTo>
                <a:cubicBezTo>
                  <a:pt x="1605" y="458"/>
                  <a:pt x="1604" y="459"/>
                  <a:pt x="1602" y="459"/>
                </a:cubicBezTo>
                <a:close/>
                <a:moveTo>
                  <a:pt x="217" y="310"/>
                </a:moveTo>
                <a:cubicBezTo>
                  <a:pt x="215" y="310"/>
                  <a:pt x="213" y="309"/>
                  <a:pt x="212" y="308"/>
                </a:cubicBezTo>
                <a:cubicBezTo>
                  <a:pt x="208" y="305"/>
                  <a:pt x="208" y="299"/>
                  <a:pt x="211" y="296"/>
                </a:cubicBezTo>
                <a:cubicBezTo>
                  <a:pt x="214" y="293"/>
                  <a:pt x="219" y="292"/>
                  <a:pt x="223" y="295"/>
                </a:cubicBezTo>
                <a:cubicBezTo>
                  <a:pt x="226" y="298"/>
                  <a:pt x="227" y="304"/>
                  <a:pt x="224" y="307"/>
                </a:cubicBezTo>
                <a:cubicBezTo>
                  <a:pt x="224" y="307"/>
                  <a:pt x="224" y="307"/>
                  <a:pt x="224" y="307"/>
                </a:cubicBezTo>
                <a:cubicBezTo>
                  <a:pt x="222" y="309"/>
                  <a:pt x="220" y="310"/>
                  <a:pt x="217" y="310"/>
                </a:cubicBezTo>
                <a:close/>
                <a:moveTo>
                  <a:pt x="236" y="289"/>
                </a:moveTo>
                <a:cubicBezTo>
                  <a:pt x="234" y="289"/>
                  <a:pt x="232" y="288"/>
                  <a:pt x="230" y="287"/>
                </a:cubicBezTo>
                <a:cubicBezTo>
                  <a:pt x="229" y="285"/>
                  <a:pt x="228" y="283"/>
                  <a:pt x="228" y="281"/>
                </a:cubicBezTo>
                <a:cubicBezTo>
                  <a:pt x="228" y="279"/>
                  <a:pt x="228" y="276"/>
                  <a:pt x="230" y="275"/>
                </a:cubicBezTo>
                <a:cubicBezTo>
                  <a:pt x="232" y="272"/>
                  <a:pt x="235" y="269"/>
                  <a:pt x="237" y="267"/>
                </a:cubicBezTo>
                <a:cubicBezTo>
                  <a:pt x="248" y="256"/>
                  <a:pt x="259" y="245"/>
                  <a:pt x="270" y="234"/>
                </a:cubicBezTo>
                <a:cubicBezTo>
                  <a:pt x="312" y="195"/>
                  <a:pt x="357" y="160"/>
                  <a:pt x="406" y="130"/>
                </a:cubicBezTo>
                <a:cubicBezTo>
                  <a:pt x="410" y="128"/>
                  <a:pt x="415" y="129"/>
                  <a:pt x="418" y="133"/>
                </a:cubicBezTo>
                <a:cubicBezTo>
                  <a:pt x="420" y="137"/>
                  <a:pt x="419" y="142"/>
                  <a:pt x="415" y="144"/>
                </a:cubicBezTo>
                <a:cubicBezTo>
                  <a:pt x="367" y="174"/>
                  <a:pt x="322" y="208"/>
                  <a:pt x="282" y="247"/>
                </a:cubicBezTo>
                <a:cubicBezTo>
                  <a:pt x="271" y="257"/>
                  <a:pt x="260" y="268"/>
                  <a:pt x="250" y="279"/>
                </a:cubicBezTo>
                <a:cubicBezTo>
                  <a:pt x="247" y="281"/>
                  <a:pt x="245" y="284"/>
                  <a:pt x="242" y="286"/>
                </a:cubicBezTo>
                <a:cubicBezTo>
                  <a:pt x="241" y="288"/>
                  <a:pt x="238" y="289"/>
                  <a:pt x="236" y="289"/>
                </a:cubicBezTo>
                <a:close/>
                <a:moveTo>
                  <a:pt x="1449" y="257"/>
                </a:moveTo>
                <a:cubicBezTo>
                  <a:pt x="1446" y="257"/>
                  <a:pt x="1444" y="256"/>
                  <a:pt x="1443" y="255"/>
                </a:cubicBezTo>
                <a:cubicBezTo>
                  <a:pt x="1441" y="253"/>
                  <a:pt x="1440" y="251"/>
                  <a:pt x="1440" y="249"/>
                </a:cubicBezTo>
                <a:cubicBezTo>
                  <a:pt x="1440" y="246"/>
                  <a:pt x="1441" y="244"/>
                  <a:pt x="1442" y="243"/>
                </a:cubicBezTo>
                <a:cubicBezTo>
                  <a:pt x="1445" y="239"/>
                  <a:pt x="1451" y="239"/>
                  <a:pt x="1454" y="242"/>
                </a:cubicBezTo>
                <a:cubicBezTo>
                  <a:pt x="1454" y="242"/>
                  <a:pt x="1454" y="242"/>
                  <a:pt x="1454" y="242"/>
                </a:cubicBezTo>
                <a:cubicBezTo>
                  <a:pt x="1454" y="242"/>
                  <a:pt x="1454" y="242"/>
                  <a:pt x="1454" y="242"/>
                </a:cubicBezTo>
                <a:cubicBezTo>
                  <a:pt x="1456" y="244"/>
                  <a:pt x="1457" y="246"/>
                  <a:pt x="1457" y="248"/>
                </a:cubicBezTo>
                <a:cubicBezTo>
                  <a:pt x="1457" y="251"/>
                  <a:pt x="1456" y="253"/>
                  <a:pt x="1455" y="254"/>
                </a:cubicBezTo>
                <a:cubicBezTo>
                  <a:pt x="1453" y="256"/>
                  <a:pt x="1451" y="257"/>
                  <a:pt x="1449" y="257"/>
                </a:cubicBezTo>
                <a:close/>
                <a:moveTo>
                  <a:pt x="1428" y="238"/>
                </a:moveTo>
                <a:cubicBezTo>
                  <a:pt x="1426" y="238"/>
                  <a:pt x="1424" y="237"/>
                  <a:pt x="1422" y="235"/>
                </a:cubicBezTo>
                <a:cubicBezTo>
                  <a:pt x="1381" y="198"/>
                  <a:pt x="1335" y="165"/>
                  <a:pt x="1287" y="136"/>
                </a:cubicBezTo>
                <a:cubicBezTo>
                  <a:pt x="1271" y="127"/>
                  <a:pt x="1255" y="118"/>
                  <a:pt x="1238" y="109"/>
                </a:cubicBezTo>
                <a:cubicBezTo>
                  <a:pt x="1236" y="108"/>
                  <a:pt x="1234" y="106"/>
                  <a:pt x="1234" y="104"/>
                </a:cubicBezTo>
                <a:cubicBezTo>
                  <a:pt x="1233" y="102"/>
                  <a:pt x="1233" y="100"/>
                  <a:pt x="1234" y="98"/>
                </a:cubicBezTo>
                <a:cubicBezTo>
                  <a:pt x="1236" y="94"/>
                  <a:pt x="1242" y="92"/>
                  <a:pt x="1246" y="94"/>
                </a:cubicBezTo>
                <a:cubicBezTo>
                  <a:pt x="1263" y="103"/>
                  <a:pt x="1279" y="112"/>
                  <a:pt x="1296" y="121"/>
                </a:cubicBezTo>
                <a:cubicBezTo>
                  <a:pt x="1345" y="151"/>
                  <a:pt x="1391" y="185"/>
                  <a:pt x="1434" y="223"/>
                </a:cubicBezTo>
                <a:cubicBezTo>
                  <a:pt x="1437" y="226"/>
                  <a:pt x="1437" y="231"/>
                  <a:pt x="1434" y="235"/>
                </a:cubicBezTo>
                <a:cubicBezTo>
                  <a:pt x="1433" y="237"/>
                  <a:pt x="1430" y="238"/>
                  <a:pt x="1428" y="238"/>
                </a:cubicBezTo>
                <a:close/>
                <a:moveTo>
                  <a:pt x="435" y="131"/>
                </a:moveTo>
                <a:cubicBezTo>
                  <a:pt x="435" y="131"/>
                  <a:pt x="435" y="131"/>
                  <a:pt x="435" y="131"/>
                </a:cubicBezTo>
                <a:cubicBezTo>
                  <a:pt x="432" y="131"/>
                  <a:pt x="429" y="130"/>
                  <a:pt x="427" y="127"/>
                </a:cubicBezTo>
                <a:cubicBezTo>
                  <a:pt x="425" y="123"/>
                  <a:pt x="426" y="118"/>
                  <a:pt x="430" y="115"/>
                </a:cubicBezTo>
                <a:cubicBezTo>
                  <a:pt x="434" y="113"/>
                  <a:pt x="440" y="115"/>
                  <a:pt x="442" y="119"/>
                </a:cubicBezTo>
                <a:cubicBezTo>
                  <a:pt x="444" y="123"/>
                  <a:pt x="443" y="128"/>
                  <a:pt x="439" y="130"/>
                </a:cubicBezTo>
                <a:cubicBezTo>
                  <a:pt x="438" y="131"/>
                  <a:pt x="436" y="131"/>
                  <a:pt x="435" y="131"/>
                </a:cubicBezTo>
                <a:close/>
                <a:moveTo>
                  <a:pt x="459" y="118"/>
                </a:moveTo>
                <a:cubicBezTo>
                  <a:pt x="456" y="118"/>
                  <a:pt x="453" y="116"/>
                  <a:pt x="452" y="113"/>
                </a:cubicBezTo>
                <a:cubicBezTo>
                  <a:pt x="451" y="111"/>
                  <a:pt x="451" y="109"/>
                  <a:pt x="451" y="107"/>
                </a:cubicBezTo>
                <a:cubicBezTo>
                  <a:pt x="452" y="104"/>
                  <a:pt x="453" y="103"/>
                  <a:pt x="455" y="102"/>
                </a:cubicBezTo>
                <a:cubicBezTo>
                  <a:pt x="472" y="93"/>
                  <a:pt x="489" y="84"/>
                  <a:pt x="507" y="77"/>
                </a:cubicBezTo>
                <a:cubicBezTo>
                  <a:pt x="511" y="75"/>
                  <a:pt x="516" y="77"/>
                  <a:pt x="518" y="81"/>
                </a:cubicBezTo>
                <a:cubicBezTo>
                  <a:pt x="520" y="85"/>
                  <a:pt x="518" y="90"/>
                  <a:pt x="514" y="92"/>
                </a:cubicBezTo>
                <a:cubicBezTo>
                  <a:pt x="497" y="100"/>
                  <a:pt x="480" y="108"/>
                  <a:pt x="463" y="117"/>
                </a:cubicBezTo>
                <a:cubicBezTo>
                  <a:pt x="462" y="117"/>
                  <a:pt x="461" y="118"/>
                  <a:pt x="459" y="118"/>
                </a:cubicBezTo>
                <a:close/>
                <a:moveTo>
                  <a:pt x="1216" y="98"/>
                </a:moveTo>
                <a:cubicBezTo>
                  <a:pt x="1215" y="98"/>
                  <a:pt x="1214" y="97"/>
                  <a:pt x="1213" y="97"/>
                </a:cubicBezTo>
                <a:cubicBezTo>
                  <a:pt x="1212" y="97"/>
                  <a:pt x="1212" y="97"/>
                  <a:pt x="1212" y="97"/>
                </a:cubicBezTo>
                <a:cubicBezTo>
                  <a:pt x="1212" y="97"/>
                  <a:pt x="1212" y="97"/>
                  <a:pt x="1212" y="97"/>
                </a:cubicBezTo>
                <a:cubicBezTo>
                  <a:pt x="1208" y="94"/>
                  <a:pt x="1207" y="90"/>
                  <a:pt x="1209" y="86"/>
                </a:cubicBezTo>
                <a:cubicBezTo>
                  <a:pt x="1211" y="82"/>
                  <a:pt x="1216" y="80"/>
                  <a:pt x="1220" y="82"/>
                </a:cubicBezTo>
                <a:cubicBezTo>
                  <a:pt x="1220" y="82"/>
                  <a:pt x="1220" y="82"/>
                  <a:pt x="1220" y="82"/>
                </a:cubicBezTo>
                <a:cubicBezTo>
                  <a:pt x="1222" y="82"/>
                  <a:pt x="1224" y="84"/>
                  <a:pt x="1224" y="86"/>
                </a:cubicBezTo>
                <a:cubicBezTo>
                  <a:pt x="1225" y="88"/>
                  <a:pt x="1225" y="91"/>
                  <a:pt x="1224" y="93"/>
                </a:cubicBezTo>
                <a:cubicBezTo>
                  <a:pt x="1223" y="96"/>
                  <a:pt x="1220" y="98"/>
                  <a:pt x="1216" y="98"/>
                </a:cubicBezTo>
                <a:close/>
                <a:moveTo>
                  <a:pt x="1190" y="86"/>
                </a:moveTo>
                <a:cubicBezTo>
                  <a:pt x="1189" y="86"/>
                  <a:pt x="1188" y="86"/>
                  <a:pt x="1187" y="86"/>
                </a:cubicBezTo>
                <a:cubicBezTo>
                  <a:pt x="1136" y="64"/>
                  <a:pt x="1082" y="47"/>
                  <a:pt x="1027" y="36"/>
                </a:cubicBezTo>
                <a:cubicBezTo>
                  <a:pt x="1009" y="32"/>
                  <a:pt x="990" y="29"/>
                  <a:pt x="972" y="26"/>
                </a:cubicBezTo>
                <a:cubicBezTo>
                  <a:pt x="970" y="26"/>
                  <a:pt x="968" y="25"/>
                  <a:pt x="966" y="23"/>
                </a:cubicBezTo>
                <a:cubicBezTo>
                  <a:pt x="965" y="21"/>
                  <a:pt x="964" y="19"/>
                  <a:pt x="965" y="16"/>
                </a:cubicBezTo>
                <a:cubicBezTo>
                  <a:pt x="965" y="12"/>
                  <a:pt x="970" y="9"/>
                  <a:pt x="974" y="9"/>
                </a:cubicBezTo>
                <a:cubicBezTo>
                  <a:pt x="993" y="12"/>
                  <a:pt x="1012" y="15"/>
                  <a:pt x="1030" y="19"/>
                </a:cubicBezTo>
                <a:cubicBezTo>
                  <a:pt x="1030" y="19"/>
                  <a:pt x="1030" y="19"/>
                  <a:pt x="1030" y="19"/>
                </a:cubicBezTo>
                <a:cubicBezTo>
                  <a:pt x="1031" y="19"/>
                  <a:pt x="1031" y="19"/>
                  <a:pt x="1031" y="19"/>
                </a:cubicBezTo>
                <a:cubicBezTo>
                  <a:pt x="1087" y="31"/>
                  <a:pt x="1141" y="48"/>
                  <a:pt x="1194" y="70"/>
                </a:cubicBezTo>
                <a:cubicBezTo>
                  <a:pt x="1196" y="71"/>
                  <a:pt x="1198" y="72"/>
                  <a:pt x="1198" y="75"/>
                </a:cubicBezTo>
                <a:cubicBezTo>
                  <a:pt x="1199" y="77"/>
                  <a:pt x="1199" y="79"/>
                  <a:pt x="1198" y="81"/>
                </a:cubicBezTo>
                <a:cubicBezTo>
                  <a:pt x="1197" y="84"/>
                  <a:pt x="1194" y="86"/>
                  <a:pt x="1190" y="86"/>
                </a:cubicBezTo>
                <a:close/>
                <a:moveTo>
                  <a:pt x="582" y="64"/>
                </a:moveTo>
                <a:cubicBezTo>
                  <a:pt x="579" y="64"/>
                  <a:pt x="576" y="62"/>
                  <a:pt x="574" y="59"/>
                </a:cubicBezTo>
                <a:cubicBezTo>
                  <a:pt x="574" y="56"/>
                  <a:pt x="574" y="54"/>
                  <a:pt x="575" y="52"/>
                </a:cubicBezTo>
                <a:cubicBezTo>
                  <a:pt x="576" y="50"/>
                  <a:pt x="577" y="49"/>
                  <a:pt x="580" y="48"/>
                </a:cubicBezTo>
                <a:cubicBezTo>
                  <a:pt x="598" y="42"/>
                  <a:pt x="616" y="36"/>
                  <a:pt x="634" y="31"/>
                </a:cubicBezTo>
                <a:cubicBezTo>
                  <a:pt x="639" y="30"/>
                  <a:pt x="644" y="33"/>
                  <a:pt x="645" y="37"/>
                </a:cubicBezTo>
                <a:cubicBezTo>
                  <a:pt x="645" y="39"/>
                  <a:pt x="645" y="41"/>
                  <a:pt x="644" y="43"/>
                </a:cubicBezTo>
                <a:cubicBezTo>
                  <a:pt x="643" y="45"/>
                  <a:pt x="641" y="47"/>
                  <a:pt x="639" y="47"/>
                </a:cubicBezTo>
                <a:cubicBezTo>
                  <a:pt x="621" y="52"/>
                  <a:pt x="603" y="58"/>
                  <a:pt x="585" y="64"/>
                </a:cubicBezTo>
                <a:cubicBezTo>
                  <a:pt x="584" y="64"/>
                  <a:pt x="583" y="64"/>
                  <a:pt x="582" y="64"/>
                </a:cubicBezTo>
                <a:close/>
                <a:moveTo>
                  <a:pt x="664" y="41"/>
                </a:moveTo>
                <a:cubicBezTo>
                  <a:pt x="660" y="41"/>
                  <a:pt x="657" y="38"/>
                  <a:pt x="656" y="34"/>
                </a:cubicBezTo>
                <a:cubicBezTo>
                  <a:pt x="655" y="32"/>
                  <a:pt x="656" y="30"/>
                  <a:pt x="657" y="28"/>
                </a:cubicBezTo>
                <a:cubicBezTo>
                  <a:pt x="658" y="26"/>
                  <a:pt x="660" y="25"/>
                  <a:pt x="662" y="24"/>
                </a:cubicBezTo>
                <a:cubicBezTo>
                  <a:pt x="662" y="24"/>
                  <a:pt x="662" y="24"/>
                  <a:pt x="662" y="24"/>
                </a:cubicBezTo>
                <a:cubicBezTo>
                  <a:pt x="663" y="24"/>
                  <a:pt x="663" y="24"/>
                  <a:pt x="664" y="24"/>
                </a:cubicBezTo>
                <a:cubicBezTo>
                  <a:pt x="668" y="24"/>
                  <a:pt x="671" y="26"/>
                  <a:pt x="672" y="30"/>
                </a:cubicBezTo>
                <a:cubicBezTo>
                  <a:pt x="673" y="33"/>
                  <a:pt x="672" y="35"/>
                  <a:pt x="671" y="37"/>
                </a:cubicBezTo>
                <a:cubicBezTo>
                  <a:pt x="670" y="39"/>
                  <a:pt x="668" y="40"/>
                  <a:pt x="666" y="41"/>
                </a:cubicBezTo>
                <a:cubicBezTo>
                  <a:pt x="665" y="41"/>
                  <a:pt x="665" y="41"/>
                  <a:pt x="664" y="41"/>
                </a:cubicBezTo>
                <a:close/>
                <a:moveTo>
                  <a:pt x="692" y="35"/>
                </a:moveTo>
                <a:cubicBezTo>
                  <a:pt x="688" y="35"/>
                  <a:pt x="684" y="32"/>
                  <a:pt x="683" y="28"/>
                </a:cubicBezTo>
                <a:cubicBezTo>
                  <a:pt x="683" y="26"/>
                  <a:pt x="683" y="23"/>
                  <a:pt x="685" y="22"/>
                </a:cubicBezTo>
                <a:cubicBezTo>
                  <a:pt x="686" y="20"/>
                  <a:pt x="688" y="18"/>
                  <a:pt x="690" y="18"/>
                </a:cubicBezTo>
                <a:cubicBezTo>
                  <a:pt x="709" y="14"/>
                  <a:pt x="728" y="11"/>
                  <a:pt x="746" y="9"/>
                </a:cubicBezTo>
                <a:cubicBezTo>
                  <a:pt x="799" y="2"/>
                  <a:pt x="853" y="0"/>
                  <a:pt x="907" y="3"/>
                </a:cubicBezTo>
                <a:cubicBezTo>
                  <a:pt x="910" y="3"/>
                  <a:pt x="914" y="3"/>
                  <a:pt x="917" y="3"/>
                </a:cubicBezTo>
                <a:cubicBezTo>
                  <a:pt x="922" y="4"/>
                  <a:pt x="926" y="8"/>
                  <a:pt x="925" y="12"/>
                </a:cubicBezTo>
                <a:cubicBezTo>
                  <a:pt x="925" y="17"/>
                  <a:pt x="921" y="21"/>
                  <a:pt x="916" y="20"/>
                </a:cubicBezTo>
                <a:cubicBezTo>
                  <a:pt x="913" y="20"/>
                  <a:pt x="910" y="20"/>
                  <a:pt x="906" y="20"/>
                </a:cubicBezTo>
                <a:cubicBezTo>
                  <a:pt x="890" y="19"/>
                  <a:pt x="874" y="18"/>
                  <a:pt x="858" y="18"/>
                </a:cubicBezTo>
                <a:cubicBezTo>
                  <a:pt x="821" y="18"/>
                  <a:pt x="785" y="21"/>
                  <a:pt x="749" y="25"/>
                </a:cubicBezTo>
                <a:cubicBezTo>
                  <a:pt x="749" y="25"/>
                  <a:pt x="749" y="25"/>
                  <a:pt x="749" y="25"/>
                </a:cubicBezTo>
                <a:cubicBezTo>
                  <a:pt x="730" y="28"/>
                  <a:pt x="711" y="31"/>
                  <a:pt x="693" y="35"/>
                </a:cubicBezTo>
                <a:cubicBezTo>
                  <a:pt x="693" y="35"/>
                  <a:pt x="692" y="35"/>
                  <a:pt x="692" y="35"/>
                </a:cubicBezTo>
                <a:close/>
                <a:moveTo>
                  <a:pt x="945" y="23"/>
                </a:moveTo>
                <a:cubicBezTo>
                  <a:pt x="945" y="23"/>
                  <a:pt x="944" y="23"/>
                  <a:pt x="944" y="23"/>
                </a:cubicBezTo>
                <a:cubicBezTo>
                  <a:pt x="942" y="22"/>
                  <a:pt x="940" y="21"/>
                  <a:pt x="938" y="20"/>
                </a:cubicBezTo>
                <a:cubicBezTo>
                  <a:pt x="937" y="18"/>
                  <a:pt x="936" y="16"/>
                  <a:pt x="937" y="13"/>
                </a:cubicBezTo>
                <a:cubicBezTo>
                  <a:pt x="937" y="9"/>
                  <a:pt x="941" y="5"/>
                  <a:pt x="946" y="6"/>
                </a:cubicBezTo>
                <a:cubicBezTo>
                  <a:pt x="946" y="6"/>
                  <a:pt x="946" y="6"/>
                  <a:pt x="946" y="6"/>
                </a:cubicBezTo>
                <a:cubicBezTo>
                  <a:pt x="950" y="6"/>
                  <a:pt x="954" y="10"/>
                  <a:pt x="953" y="15"/>
                </a:cubicBezTo>
                <a:cubicBezTo>
                  <a:pt x="953" y="19"/>
                  <a:pt x="949" y="23"/>
                  <a:pt x="945" y="23"/>
                </a:cubicBezTo>
                <a:close/>
              </a:path>
            </a:pathLst>
          </a:custGeom>
          <a:solidFill>
            <a:schemeClr val="accent2"/>
          </a:solidFill>
          <a:ln>
            <a:noFill/>
          </a:ln>
        </p:spPr>
        <p:txBody>
          <a:bodyPr vert="horz" wrap="square" lIns="45714" tIns="22857" rIns="45714" bIns="22857" numCol="1" anchor="t" anchorCtr="0" compatLnSpc="1">
            <a:prstTxWarp prst="textNoShape">
              <a:avLst/>
            </a:prstTxWarp>
          </a:body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US" sz="900" b="0" i="0" u="none" strike="noStrike" kern="1200" cap="none" spc="0" normalizeH="0" baseline="0" noProof="0">
              <a:ln>
                <a:noFill/>
              </a:ln>
              <a:solidFill>
                <a:srgbClr val="343A3F"/>
              </a:solidFill>
              <a:effectLst/>
              <a:uLnTx/>
              <a:uFillTx/>
              <a:latin typeface="Roboto Light"/>
              <a:ea typeface="+mn-ea"/>
              <a:cs typeface="+mn-cs"/>
            </a:endParaRPr>
          </a:p>
        </p:txBody>
      </p:sp>
      <p:sp>
        <p:nvSpPr>
          <p:cNvPr id="14" name="Freeform 11">
            <a:extLst>
              <a:ext uri="{FF2B5EF4-FFF2-40B4-BE49-F238E27FC236}">
                <a16:creationId xmlns:a16="http://schemas.microsoft.com/office/drawing/2014/main" id="{9917E43A-88A4-425A-9286-508D32C3D276}"/>
              </a:ext>
            </a:extLst>
          </p:cNvPr>
          <p:cNvSpPr>
            <a:spLocks noEditPoints="1"/>
          </p:cNvSpPr>
          <p:nvPr/>
        </p:nvSpPr>
        <p:spPr bwMode="auto">
          <a:xfrm>
            <a:off x="4356202" y="1536822"/>
            <a:ext cx="3479596" cy="3479596"/>
          </a:xfrm>
          <a:custGeom>
            <a:avLst/>
            <a:gdLst>
              <a:gd name="T0" fmla="*/ 598 w 1645"/>
              <a:gd name="T1" fmla="*/ 1611 h 1645"/>
              <a:gd name="T2" fmla="*/ 820 w 1645"/>
              <a:gd name="T3" fmla="*/ 1637 h 1645"/>
              <a:gd name="T4" fmla="*/ 840 w 1645"/>
              <a:gd name="T5" fmla="*/ 1628 h 1645"/>
              <a:gd name="T6" fmla="*/ 978 w 1645"/>
              <a:gd name="T7" fmla="*/ 1613 h 1645"/>
              <a:gd name="T8" fmla="*/ 982 w 1645"/>
              <a:gd name="T9" fmla="*/ 1629 h 1645"/>
              <a:gd name="T10" fmla="*/ 581 w 1645"/>
              <a:gd name="T11" fmla="*/ 1591 h 1645"/>
              <a:gd name="T12" fmla="*/ 548 w 1645"/>
              <a:gd name="T13" fmla="*/ 1598 h 1645"/>
              <a:gd name="T14" fmla="*/ 466 w 1645"/>
              <a:gd name="T15" fmla="*/ 1545 h 1645"/>
              <a:gd name="T16" fmla="*/ 1092 w 1645"/>
              <a:gd name="T17" fmla="*/ 1590 h 1645"/>
              <a:gd name="T18" fmla="*/ 1100 w 1645"/>
              <a:gd name="T19" fmla="*/ 1596 h 1645"/>
              <a:gd name="T20" fmla="*/ 1304 w 1645"/>
              <a:gd name="T21" fmla="*/ 1469 h 1645"/>
              <a:gd name="T22" fmla="*/ 342 w 1645"/>
              <a:gd name="T23" fmla="*/ 1488 h 1645"/>
              <a:gd name="T24" fmla="*/ 342 w 1645"/>
              <a:gd name="T25" fmla="*/ 1488 h 1645"/>
              <a:gd name="T26" fmla="*/ 166 w 1645"/>
              <a:gd name="T27" fmla="*/ 1318 h 1645"/>
              <a:gd name="T28" fmla="*/ 253 w 1645"/>
              <a:gd name="T29" fmla="*/ 1392 h 1645"/>
              <a:gd name="T30" fmla="*/ 1326 w 1645"/>
              <a:gd name="T31" fmla="*/ 1452 h 1645"/>
              <a:gd name="T32" fmla="*/ 1347 w 1645"/>
              <a:gd name="T33" fmla="*/ 1434 h 1645"/>
              <a:gd name="T34" fmla="*/ 1358 w 1645"/>
              <a:gd name="T35" fmla="*/ 1447 h 1645"/>
              <a:gd name="T36" fmla="*/ 163 w 1645"/>
              <a:gd name="T37" fmla="*/ 1285 h 1645"/>
              <a:gd name="T38" fmla="*/ 42 w 1645"/>
              <a:gd name="T39" fmla="*/ 1081 h 1645"/>
              <a:gd name="T40" fmla="*/ 141 w 1645"/>
              <a:gd name="T41" fmla="*/ 1275 h 1645"/>
              <a:gd name="T42" fmla="*/ 1508 w 1645"/>
              <a:gd name="T43" fmla="*/ 1270 h 1645"/>
              <a:gd name="T44" fmla="*/ 1597 w 1645"/>
              <a:gd name="T45" fmla="*/ 1043 h 1645"/>
              <a:gd name="T46" fmla="*/ 1530 w 1645"/>
              <a:gd name="T47" fmla="*/ 1242 h 1645"/>
              <a:gd name="T48" fmla="*/ 49 w 1645"/>
              <a:gd name="T49" fmla="*/ 1056 h 1645"/>
              <a:gd name="T50" fmla="*/ 1 w 1645"/>
              <a:gd name="T51" fmla="*/ 818 h 1645"/>
              <a:gd name="T52" fmla="*/ 25 w 1645"/>
              <a:gd name="T53" fmla="*/ 929 h 1645"/>
              <a:gd name="T54" fmla="*/ 1604 w 1645"/>
              <a:gd name="T55" fmla="*/ 1016 h 1645"/>
              <a:gd name="T56" fmla="*/ 1619 w 1645"/>
              <a:gd name="T57" fmla="*/ 940 h 1645"/>
              <a:gd name="T58" fmla="*/ 1645 w 1645"/>
              <a:gd name="T59" fmla="*/ 823 h 1645"/>
              <a:gd name="T60" fmla="*/ 3 w 1645"/>
              <a:gd name="T61" fmla="*/ 795 h 1645"/>
              <a:gd name="T62" fmla="*/ 11 w 1645"/>
              <a:gd name="T63" fmla="*/ 769 h 1645"/>
              <a:gd name="T64" fmla="*/ 46 w 1645"/>
              <a:gd name="T65" fmla="*/ 554 h 1645"/>
              <a:gd name="T66" fmla="*/ 1634 w 1645"/>
              <a:gd name="T67" fmla="*/ 763 h 1645"/>
              <a:gd name="T68" fmla="*/ 1642 w 1645"/>
              <a:gd name="T69" fmla="*/ 754 h 1645"/>
              <a:gd name="T70" fmla="*/ 1611 w 1645"/>
              <a:gd name="T71" fmla="*/ 620 h 1645"/>
              <a:gd name="T72" fmla="*/ 1547 w 1645"/>
              <a:gd name="T73" fmla="*/ 472 h 1645"/>
              <a:gd name="T74" fmla="*/ 1592 w 1645"/>
              <a:gd name="T75" fmla="*/ 566 h 1645"/>
              <a:gd name="T76" fmla="*/ 72 w 1645"/>
              <a:gd name="T77" fmla="*/ 533 h 1645"/>
              <a:gd name="T78" fmla="*/ 96 w 1645"/>
              <a:gd name="T79" fmla="*/ 438 h 1645"/>
              <a:gd name="T80" fmla="*/ 82 w 1645"/>
              <a:gd name="T81" fmla="*/ 507 h 1645"/>
              <a:gd name="T82" fmla="*/ 1546 w 1645"/>
              <a:gd name="T83" fmla="*/ 451 h 1645"/>
              <a:gd name="T84" fmla="*/ 1397 w 1645"/>
              <a:gd name="T85" fmla="*/ 246 h 1645"/>
              <a:gd name="T86" fmla="*/ 198 w 1645"/>
              <a:gd name="T87" fmla="*/ 310 h 1645"/>
              <a:gd name="T88" fmla="*/ 198 w 1645"/>
              <a:gd name="T89" fmla="*/ 310 h 1645"/>
              <a:gd name="T90" fmla="*/ 370 w 1645"/>
              <a:gd name="T91" fmla="*/ 137 h 1645"/>
              <a:gd name="T92" fmla="*/ 223 w 1645"/>
              <a:gd name="T93" fmla="*/ 286 h 1645"/>
              <a:gd name="T94" fmla="*/ 1391 w 1645"/>
              <a:gd name="T95" fmla="*/ 232 h 1645"/>
              <a:gd name="T96" fmla="*/ 1180 w 1645"/>
              <a:gd name="T97" fmla="*/ 99 h 1645"/>
              <a:gd name="T98" fmla="*/ 1361 w 1645"/>
              <a:gd name="T99" fmla="*/ 222 h 1645"/>
              <a:gd name="T100" fmla="*/ 398 w 1645"/>
              <a:gd name="T101" fmla="*/ 137 h 1645"/>
              <a:gd name="T102" fmla="*/ 614 w 1645"/>
              <a:gd name="T103" fmla="*/ 28 h 1645"/>
              <a:gd name="T104" fmla="*/ 423 w 1645"/>
              <a:gd name="T105" fmla="*/ 123 h 1645"/>
              <a:gd name="T106" fmla="*/ 1163 w 1645"/>
              <a:gd name="T107" fmla="*/ 92 h 1645"/>
              <a:gd name="T108" fmla="*/ 928 w 1645"/>
              <a:gd name="T109" fmla="*/ 16 h 1645"/>
              <a:gd name="T110" fmla="*/ 635 w 1645"/>
              <a:gd name="T111" fmla="*/ 31 h 1645"/>
              <a:gd name="T112" fmla="*/ 664 w 1645"/>
              <a:gd name="T113" fmla="*/ 19 h 1645"/>
              <a:gd name="T114" fmla="*/ 767 w 1645"/>
              <a:gd name="T115" fmla="*/ 20 h 1645"/>
              <a:gd name="T116" fmla="*/ 899 w 1645"/>
              <a:gd name="T117" fmla="*/ 13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45" h="1645">
                <a:moveTo>
                  <a:pt x="812" y="1645"/>
                </a:moveTo>
                <a:cubicBezTo>
                  <a:pt x="812" y="1645"/>
                  <a:pt x="812" y="1645"/>
                  <a:pt x="812" y="1645"/>
                </a:cubicBezTo>
                <a:cubicBezTo>
                  <a:pt x="782" y="1645"/>
                  <a:pt x="752" y="1643"/>
                  <a:pt x="722" y="1639"/>
                </a:cubicBezTo>
                <a:cubicBezTo>
                  <a:pt x="721" y="1639"/>
                  <a:pt x="721" y="1639"/>
                  <a:pt x="721" y="1639"/>
                </a:cubicBezTo>
                <a:cubicBezTo>
                  <a:pt x="719" y="1639"/>
                  <a:pt x="717" y="1638"/>
                  <a:pt x="715" y="1638"/>
                </a:cubicBezTo>
                <a:cubicBezTo>
                  <a:pt x="677" y="1633"/>
                  <a:pt x="640" y="1625"/>
                  <a:pt x="603" y="1615"/>
                </a:cubicBezTo>
                <a:cubicBezTo>
                  <a:pt x="601" y="1614"/>
                  <a:pt x="599" y="1613"/>
                  <a:pt x="598" y="1611"/>
                </a:cubicBezTo>
                <a:cubicBezTo>
                  <a:pt x="597" y="1609"/>
                  <a:pt x="596" y="1607"/>
                  <a:pt x="597" y="1605"/>
                </a:cubicBezTo>
                <a:cubicBezTo>
                  <a:pt x="598" y="1600"/>
                  <a:pt x="603" y="1597"/>
                  <a:pt x="607" y="1599"/>
                </a:cubicBezTo>
                <a:cubicBezTo>
                  <a:pt x="643" y="1609"/>
                  <a:pt x="680" y="1616"/>
                  <a:pt x="717" y="1621"/>
                </a:cubicBezTo>
                <a:cubicBezTo>
                  <a:pt x="719" y="1622"/>
                  <a:pt x="722" y="1622"/>
                  <a:pt x="724" y="1622"/>
                </a:cubicBezTo>
                <a:cubicBezTo>
                  <a:pt x="753" y="1626"/>
                  <a:pt x="783" y="1628"/>
                  <a:pt x="812" y="1628"/>
                </a:cubicBezTo>
                <a:cubicBezTo>
                  <a:pt x="814" y="1628"/>
                  <a:pt x="816" y="1629"/>
                  <a:pt x="818" y="1631"/>
                </a:cubicBezTo>
                <a:cubicBezTo>
                  <a:pt x="819" y="1632"/>
                  <a:pt x="820" y="1634"/>
                  <a:pt x="820" y="1637"/>
                </a:cubicBezTo>
                <a:cubicBezTo>
                  <a:pt x="820" y="1641"/>
                  <a:pt x="816" y="1645"/>
                  <a:pt x="812" y="1645"/>
                </a:cubicBezTo>
                <a:close/>
                <a:moveTo>
                  <a:pt x="840" y="1645"/>
                </a:moveTo>
                <a:cubicBezTo>
                  <a:pt x="840" y="1645"/>
                  <a:pt x="840" y="1645"/>
                  <a:pt x="840" y="1645"/>
                </a:cubicBezTo>
                <a:cubicBezTo>
                  <a:pt x="835" y="1645"/>
                  <a:pt x="832" y="1641"/>
                  <a:pt x="831" y="1637"/>
                </a:cubicBezTo>
                <a:cubicBezTo>
                  <a:pt x="831" y="1634"/>
                  <a:pt x="832" y="1632"/>
                  <a:pt x="834" y="1631"/>
                </a:cubicBezTo>
                <a:cubicBezTo>
                  <a:pt x="835" y="1629"/>
                  <a:pt x="838" y="1628"/>
                  <a:pt x="840" y="1628"/>
                </a:cubicBezTo>
                <a:cubicBezTo>
                  <a:pt x="840" y="1628"/>
                  <a:pt x="840" y="1628"/>
                  <a:pt x="840" y="1628"/>
                </a:cubicBezTo>
                <a:cubicBezTo>
                  <a:pt x="845" y="1628"/>
                  <a:pt x="848" y="1632"/>
                  <a:pt x="848" y="1636"/>
                </a:cubicBezTo>
                <a:cubicBezTo>
                  <a:pt x="849" y="1641"/>
                  <a:pt x="845" y="1645"/>
                  <a:pt x="840" y="1645"/>
                </a:cubicBezTo>
                <a:close/>
                <a:moveTo>
                  <a:pt x="868" y="1644"/>
                </a:moveTo>
                <a:cubicBezTo>
                  <a:pt x="864" y="1644"/>
                  <a:pt x="860" y="1640"/>
                  <a:pt x="860" y="1636"/>
                </a:cubicBezTo>
                <a:cubicBezTo>
                  <a:pt x="860" y="1634"/>
                  <a:pt x="860" y="1631"/>
                  <a:pt x="862" y="1630"/>
                </a:cubicBezTo>
                <a:cubicBezTo>
                  <a:pt x="863" y="1628"/>
                  <a:pt x="865" y="1627"/>
                  <a:pt x="868" y="1627"/>
                </a:cubicBezTo>
                <a:cubicBezTo>
                  <a:pt x="905" y="1625"/>
                  <a:pt x="942" y="1620"/>
                  <a:pt x="978" y="1613"/>
                </a:cubicBezTo>
                <a:cubicBezTo>
                  <a:pt x="978" y="1613"/>
                  <a:pt x="979" y="1613"/>
                  <a:pt x="979" y="1613"/>
                </a:cubicBezTo>
                <a:cubicBezTo>
                  <a:pt x="997" y="1609"/>
                  <a:pt x="1015" y="1605"/>
                  <a:pt x="1033" y="1600"/>
                </a:cubicBezTo>
                <a:cubicBezTo>
                  <a:pt x="1045" y="1597"/>
                  <a:pt x="1058" y="1593"/>
                  <a:pt x="1071" y="1589"/>
                </a:cubicBezTo>
                <a:cubicBezTo>
                  <a:pt x="1075" y="1587"/>
                  <a:pt x="1080" y="1590"/>
                  <a:pt x="1081" y="1594"/>
                </a:cubicBezTo>
                <a:cubicBezTo>
                  <a:pt x="1083" y="1599"/>
                  <a:pt x="1080" y="1603"/>
                  <a:pt x="1076" y="1605"/>
                </a:cubicBezTo>
                <a:cubicBezTo>
                  <a:pt x="1063" y="1609"/>
                  <a:pt x="1050" y="1613"/>
                  <a:pt x="1037" y="1616"/>
                </a:cubicBezTo>
                <a:cubicBezTo>
                  <a:pt x="1019" y="1621"/>
                  <a:pt x="1000" y="1626"/>
                  <a:pt x="982" y="1629"/>
                </a:cubicBezTo>
                <a:cubicBezTo>
                  <a:pt x="945" y="1637"/>
                  <a:pt x="907" y="1642"/>
                  <a:pt x="869" y="1644"/>
                </a:cubicBezTo>
                <a:cubicBezTo>
                  <a:pt x="869" y="1644"/>
                  <a:pt x="868" y="1644"/>
                  <a:pt x="868" y="1644"/>
                </a:cubicBezTo>
                <a:close/>
                <a:moveTo>
                  <a:pt x="578" y="1607"/>
                </a:moveTo>
                <a:cubicBezTo>
                  <a:pt x="577" y="1607"/>
                  <a:pt x="576" y="1607"/>
                  <a:pt x="575" y="1607"/>
                </a:cubicBezTo>
                <a:cubicBezTo>
                  <a:pt x="573" y="1606"/>
                  <a:pt x="571" y="1605"/>
                  <a:pt x="570" y="1603"/>
                </a:cubicBezTo>
                <a:cubicBezTo>
                  <a:pt x="569" y="1601"/>
                  <a:pt x="569" y="1598"/>
                  <a:pt x="570" y="1596"/>
                </a:cubicBezTo>
                <a:cubicBezTo>
                  <a:pt x="571" y="1592"/>
                  <a:pt x="576" y="1589"/>
                  <a:pt x="581" y="1591"/>
                </a:cubicBezTo>
                <a:cubicBezTo>
                  <a:pt x="582" y="1591"/>
                  <a:pt x="582" y="1591"/>
                  <a:pt x="582" y="1591"/>
                </a:cubicBezTo>
                <a:cubicBezTo>
                  <a:pt x="582" y="1591"/>
                  <a:pt x="582" y="1591"/>
                  <a:pt x="582" y="1591"/>
                </a:cubicBezTo>
                <a:cubicBezTo>
                  <a:pt x="583" y="1592"/>
                  <a:pt x="585" y="1593"/>
                  <a:pt x="586" y="1595"/>
                </a:cubicBezTo>
                <a:cubicBezTo>
                  <a:pt x="587" y="1597"/>
                  <a:pt x="587" y="1599"/>
                  <a:pt x="586" y="1601"/>
                </a:cubicBezTo>
                <a:cubicBezTo>
                  <a:pt x="585" y="1605"/>
                  <a:pt x="582" y="1607"/>
                  <a:pt x="578" y="1607"/>
                </a:cubicBezTo>
                <a:close/>
                <a:moveTo>
                  <a:pt x="551" y="1598"/>
                </a:moveTo>
                <a:cubicBezTo>
                  <a:pt x="550" y="1598"/>
                  <a:pt x="549" y="1598"/>
                  <a:pt x="548" y="1598"/>
                </a:cubicBezTo>
                <a:cubicBezTo>
                  <a:pt x="518" y="1587"/>
                  <a:pt x="488" y="1574"/>
                  <a:pt x="459" y="1560"/>
                </a:cubicBezTo>
                <a:cubicBezTo>
                  <a:pt x="446" y="1554"/>
                  <a:pt x="434" y="1547"/>
                  <a:pt x="422" y="1540"/>
                </a:cubicBezTo>
                <a:cubicBezTo>
                  <a:pt x="401" y="1529"/>
                  <a:pt x="380" y="1516"/>
                  <a:pt x="360" y="1502"/>
                </a:cubicBezTo>
                <a:cubicBezTo>
                  <a:pt x="356" y="1500"/>
                  <a:pt x="355" y="1495"/>
                  <a:pt x="358" y="1491"/>
                </a:cubicBezTo>
                <a:cubicBezTo>
                  <a:pt x="361" y="1487"/>
                  <a:pt x="366" y="1486"/>
                  <a:pt x="370" y="1488"/>
                </a:cubicBezTo>
                <a:cubicBezTo>
                  <a:pt x="389" y="1502"/>
                  <a:pt x="410" y="1514"/>
                  <a:pt x="430" y="1526"/>
                </a:cubicBezTo>
                <a:cubicBezTo>
                  <a:pt x="442" y="1532"/>
                  <a:pt x="454" y="1539"/>
                  <a:pt x="466" y="1545"/>
                </a:cubicBezTo>
                <a:cubicBezTo>
                  <a:pt x="466" y="1545"/>
                  <a:pt x="466" y="1545"/>
                  <a:pt x="466" y="1545"/>
                </a:cubicBezTo>
                <a:cubicBezTo>
                  <a:pt x="495" y="1559"/>
                  <a:pt x="524" y="1571"/>
                  <a:pt x="554" y="1582"/>
                </a:cubicBezTo>
                <a:cubicBezTo>
                  <a:pt x="558" y="1583"/>
                  <a:pt x="561" y="1588"/>
                  <a:pt x="559" y="1593"/>
                </a:cubicBezTo>
                <a:cubicBezTo>
                  <a:pt x="558" y="1596"/>
                  <a:pt x="555" y="1598"/>
                  <a:pt x="551" y="1598"/>
                </a:cubicBezTo>
                <a:close/>
                <a:moveTo>
                  <a:pt x="1100" y="1596"/>
                </a:moveTo>
                <a:cubicBezTo>
                  <a:pt x="1100" y="1596"/>
                  <a:pt x="1100" y="1596"/>
                  <a:pt x="1100" y="1596"/>
                </a:cubicBezTo>
                <a:cubicBezTo>
                  <a:pt x="1097" y="1596"/>
                  <a:pt x="1093" y="1594"/>
                  <a:pt x="1092" y="1590"/>
                </a:cubicBezTo>
                <a:cubicBezTo>
                  <a:pt x="1091" y="1588"/>
                  <a:pt x="1091" y="1586"/>
                  <a:pt x="1092" y="1584"/>
                </a:cubicBezTo>
                <a:cubicBezTo>
                  <a:pt x="1093" y="1582"/>
                  <a:pt x="1095" y="1580"/>
                  <a:pt x="1097" y="1580"/>
                </a:cubicBezTo>
                <a:cubicBezTo>
                  <a:pt x="1098" y="1580"/>
                  <a:pt x="1098" y="1580"/>
                  <a:pt x="1098" y="1580"/>
                </a:cubicBezTo>
                <a:cubicBezTo>
                  <a:pt x="1098" y="1580"/>
                  <a:pt x="1098" y="1580"/>
                  <a:pt x="1098" y="1580"/>
                </a:cubicBezTo>
                <a:cubicBezTo>
                  <a:pt x="1102" y="1578"/>
                  <a:pt x="1107" y="1581"/>
                  <a:pt x="1108" y="1585"/>
                </a:cubicBezTo>
                <a:cubicBezTo>
                  <a:pt x="1110" y="1589"/>
                  <a:pt x="1107" y="1594"/>
                  <a:pt x="1103" y="1596"/>
                </a:cubicBezTo>
                <a:cubicBezTo>
                  <a:pt x="1102" y="1596"/>
                  <a:pt x="1101" y="1596"/>
                  <a:pt x="1100" y="1596"/>
                </a:cubicBezTo>
                <a:close/>
                <a:moveTo>
                  <a:pt x="1127" y="1586"/>
                </a:moveTo>
                <a:cubicBezTo>
                  <a:pt x="1123" y="1586"/>
                  <a:pt x="1120" y="1584"/>
                  <a:pt x="1119" y="1581"/>
                </a:cubicBezTo>
                <a:cubicBezTo>
                  <a:pt x="1118" y="1579"/>
                  <a:pt x="1118" y="1576"/>
                  <a:pt x="1119" y="1574"/>
                </a:cubicBezTo>
                <a:cubicBezTo>
                  <a:pt x="1120" y="1572"/>
                  <a:pt x="1121" y="1570"/>
                  <a:pt x="1123" y="1570"/>
                </a:cubicBezTo>
                <a:cubicBezTo>
                  <a:pt x="1158" y="1556"/>
                  <a:pt x="1192" y="1539"/>
                  <a:pt x="1224" y="1521"/>
                </a:cubicBezTo>
                <a:cubicBezTo>
                  <a:pt x="1224" y="1521"/>
                  <a:pt x="1224" y="1521"/>
                  <a:pt x="1224" y="1521"/>
                </a:cubicBezTo>
                <a:cubicBezTo>
                  <a:pt x="1252" y="1505"/>
                  <a:pt x="1278" y="1488"/>
                  <a:pt x="1304" y="1469"/>
                </a:cubicBezTo>
                <a:cubicBezTo>
                  <a:pt x="1307" y="1466"/>
                  <a:pt x="1313" y="1467"/>
                  <a:pt x="1316" y="1471"/>
                </a:cubicBezTo>
                <a:cubicBezTo>
                  <a:pt x="1318" y="1474"/>
                  <a:pt x="1318" y="1480"/>
                  <a:pt x="1314" y="1482"/>
                </a:cubicBezTo>
                <a:cubicBezTo>
                  <a:pt x="1288" y="1502"/>
                  <a:pt x="1261" y="1520"/>
                  <a:pt x="1233" y="1536"/>
                </a:cubicBezTo>
                <a:cubicBezTo>
                  <a:pt x="1200" y="1554"/>
                  <a:pt x="1165" y="1571"/>
                  <a:pt x="1130" y="1585"/>
                </a:cubicBezTo>
                <a:cubicBezTo>
                  <a:pt x="1130" y="1585"/>
                  <a:pt x="1130" y="1585"/>
                  <a:pt x="1130" y="1585"/>
                </a:cubicBezTo>
                <a:cubicBezTo>
                  <a:pt x="1129" y="1586"/>
                  <a:pt x="1128" y="1586"/>
                  <a:pt x="1127" y="1586"/>
                </a:cubicBezTo>
                <a:close/>
                <a:moveTo>
                  <a:pt x="342" y="1488"/>
                </a:moveTo>
                <a:cubicBezTo>
                  <a:pt x="340" y="1488"/>
                  <a:pt x="338" y="1487"/>
                  <a:pt x="337" y="1486"/>
                </a:cubicBezTo>
                <a:cubicBezTo>
                  <a:pt x="337" y="1486"/>
                  <a:pt x="337" y="1486"/>
                  <a:pt x="337" y="1486"/>
                </a:cubicBezTo>
                <a:cubicBezTo>
                  <a:pt x="335" y="1485"/>
                  <a:pt x="334" y="1483"/>
                  <a:pt x="333" y="1480"/>
                </a:cubicBezTo>
                <a:cubicBezTo>
                  <a:pt x="333" y="1478"/>
                  <a:pt x="334" y="1476"/>
                  <a:pt x="335" y="1474"/>
                </a:cubicBezTo>
                <a:cubicBezTo>
                  <a:pt x="338" y="1470"/>
                  <a:pt x="343" y="1470"/>
                  <a:pt x="347" y="1472"/>
                </a:cubicBezTo>
                <a:cubicBezTo>
                  <a:pt x="351" y="1475"/>
                  <a:pt x="351" y="1480"/>
                  <a:pt x="349" y="1484"/>
                </a:cubicBezTo>
                <a:cubicBezTo>
                  <a:pt x="347" y="1486"/>
                  <a:pt x="345" y="1488"/>
                  <a:pt x="342" y="1488"/>
                </a:cubicBezTo>
                <a:close/>
                <a:moveTo>
                  <a:pt x="319" y="1471"/>
                </a:moveTo>
                <a:cubicBezTo>
                  <a:pt x="317" y="1471"/>
                  <a:pt x="316" y="1470"/>
                  <a:pt x="314" y="1469"/>
                </a:cubicBezTo>
                <a:cubicBezTo>
                  <a:pt x="289" y="1449"/>
                  <a:pt x="264" y="1427"/>
                  <a:pt x="242" y="1404"/>
                </a:cubicBezTo>
                <a:cubicBezTo>
                  <a:pt x="241" y="1404"/>
                  <a:pt x="241" y="1404"/>
                  <a:pt x="241" y="1404"/>
                </a:cubicBezTo>
                <a:cubicBezTo>
                  <a:pt x="241" y="1404"/>
                  <a:pt x="241" y="1404"/>
                  <a:pt x="241" y="1404"/>
                </a:cubicBezTo>
                <a:cubicBezTo>
                  <a:pt x="220" y="1383"/>
                  <a:pt x="199" y="1360"/>
                  <a:pt x="180" y="1336"/>
                </a:cubicBezTo>
                <a:cubicBezTo>
                  <a:pt x="176" y="1330"/>
                  <a:pt x="171" y="1324"/>
                  <a:pt x="166" y="1318"/>
                </a:cubicBezTo>
                <a:cubicBezTo>
                  <a:pt x="166" y="1318"/>
                  <a:pt x="166" y="1318"/>
                  <a:pt x="166" y="1318"/>
                </a:cubicBezTo>
                <a:cubicBezTo>
                  <a:pt x="165" y="1316"/>
                  <a:pt x="164" y="1314"/>
                  <a:pt x="165" y="1312"/>
                </a:cubicBezTo>
                <a:cubicBezTo>
                  <a:pt x="165" y="1310"/>
                  <a:pt x="166" y="1308"/>
                  <a:pt x="168" y="1306"/>
                </a:cubicBezTo>
                <a:cubicBezTo>
                  <a:pt x="172" y="1304"/>
                  <a:pt x="177" y="1304"/>
                  <a:pt x="180" y="1308"/>
                </a:cubicBezTo>
                <a:cubicBezTo>
                  <a:pt x="184" y="1314"/>
                  <a:pt x="189" y="1320"/>
                  <a:pt x="194" y="1325"/>
                </a:cubicBezTo>
                <a:cubicBezTo>
                  <a:pt x="212" y="1349"/>
                  <a:pt x="232" y="1371"/>
                  <a:pt x="253" y="1392"/>
                </a:cubicBezTo>
                <a:cubicBezTo>
                  <a:pt x="253" y="1392"/>
                  <a:pt x="253" y="1392"/>
                  <a:pt x="253" y="1392"/>
                </a:cubicBezTo>
                <a:cubicBezTo>
                  <a:pt x="276" y="1415"/>
                  <a:pt x="300" y="1436"/>
                  <a:pt x="325" y="1455"/>
                </a:cubicBezTo>
                <a:cubicBezTo>
                  <a:pt x="328" y="1458"/>
                  <a:pt x="329" y="1464"/>
                  <a:pt x="326" y="1467"/>
                </a:cubicBezTo>
                <a:cubicBezTo>
                  <a:pt x="324" y="1469"/>
                  <a:pt x="322" y="1471"/>
                  <a:pt x="319" y="1471"/>
                </a:cubicBezTo>
                <a:close/>
                <a:moveTo>
                  <a:pt x="1331" y="1467"/>
                </a:moveTo>
                <a:cubicBezTo>
                  <a:pt x="1329" y="1467"/>
                  <a:pt x="1326" y="1466"/>
                  <a:pt x="1324" y="1464"/>
                </a:cubicBezTo>
                <a:cubicBezTo>
                  <a:pt x="1323" y="1462"/>
                  <a:pt x="1322" y="1460"/>
                  <a:pt x="1323" y="1457"/>
                </a:cubicBezTo>
                <a:cubicBezTo>
                  <a:pt x="1323" y="1455"/>
                  <a:pt x="1324" y="1453"/>
                  <a:pt x="1326" y="1452"/>
                </a:cubicBezTo>
                <a:cubicBezTo>
                  <a:pt x="1329" y="1449"/>
                  <a:pt x="1335" y="1449"/>
                  <a:pt x="1338" y="1453"/>
                </a:cubicBezTo>
                <a:cubicBezTo>
                  <a:pt x="1341" y="1457"/>
                  <a:pt x="1340" y="1462"/>
                  <a:pt x="1336" y="1465"/>
                </a:cubicBezTo>
                <a:cubicBezTo>
                  <a:pt x="1335" y="1466"/>
                  <a:pt x="1333" y="1467"/>
                  <a:pt x="1331" y="1467"/>
                </a:cubicBezTo>
                <a:close/>
                <a:moveTo>
                  <a:pt x="1353" y="1449"/>
                </a:moveTo>
                <a:cubicBezTo>
                  <a:pt x="1350" y="1449"/>
                  <a:pt x="1348" y="1448"/>
                  <a:pt x="1346" y="1446"/>
                </a:cubicBezTo>
                <a:cubicBezTo>
                  <a:pt x="1345" y="1444"/>
                  <a:pt x="1344" y="1442"/>
                  <a:pt x="1344" y="1440"/>
                </a:cubicBezTo>
                <a:cubicBezTo>
                  <a:pt x="1345" y="1437"/>
                  <a:pt x="1346" y="1435"/>
                  <a:pt x="1347" y="1434"/>
                </a:cubicBezTo>
                <a:cubicBezTo>
                  <a:pt x="1375" y="1410"/>
                  <a:pt x="1402" y="1383"/>
                  <a:pt x="1427" y="1355"/>
                </a:cubicBezTo>
                <a:cubicBezTo>
                  <a:pt x="1427" y="1355"/>
                  <a:pt x="1427" y="1355"/>
                  <a:pt x="1427" y="1355"/>
                </a:cubicBezTo>
                <a:cubicBezTo>
                  <a:pt x="1448" y="1331"/>
                  <a:pt x="1467" y="1306"/>
                  <a:pt x="1485" y="1280"/>
                </a:cubicBezTo>
                <a:cubicBezTo>
                  <a:pt x="1488" y="1276"/>
                  <a:pt x="1493" y="1275"/>
                  <a:pt x="1497" y="1278"/>
                </a:cubicBezTo>
                <a:cubicBezTo>
                  <a:pt x="1501" y="1281"/>
                  <a:pt x="1502" y="1286"/>
                  <a:pt x="1499" y="1290"/>
                </a:cubicBezTo>
                <a:cubicBezTo>
                  <a:pt x="1481" y="1316"/>
                  <a:pt x="1461" y="1342"/>
                  <a:pt x="1440" y="1366"/>
                </a:cubicBezTo>
                <a:cubicBezTo>
                  <a:pt x="1414" y="1395"/>
                  <a:pt x="1387" y="1422"/>
                  <a:pt x="1358" y="1447"/>
                </a:cubicBezTo>
                <a:cubicBezTo>
                  <a:pt x="1357" y="1448"/>
                  <a:pt x="1355" y="1449"/>
                  <a:pt x="1353" y="1449"/>
                </a:cubicBezTo>
                <a:close/>
                <a:moveTo>
                  <a:pt x="157" y="1299"/>
                </a:moveTo>
                <a:cubicBezTo>
                  <a:pt x="154" y="1299"/>
                  <a:pt x="151" y="1297"/>
                  <a:pt x="150" y="1295"/>
                </a:cubicBezTo>
                <a:cubicBezTo>
                  <a:pt x="150" y="1295"/>
                  <a:pt x="150" y="1295"/>
                  <a:pt x="150" y="1295"/>
                </a:cubicBezTo>
                <a:cubicBezTo>
                  <a:pt x="148" y="1293"/>
                  <a:pt x="148" y="1291"/>
                  <a:pt x="148" y="1289"/>
                </a:cubicBezTo>
                <a:cubicBezTo>
                  <a:pt x="149" y="1286"/>
                  <a:pt x="150" y="1285"/>
                  <a:pt x="152" y="1283"/>
                </a:cubicBezTo>
                <a:cubicBezTo>
                  <a:pt x="155" y="1281"/>
                  <a:pt x="161" y="1282"/>
                  <a:pt x="163" y="1285"/>
                </a:cubicBezTo>
                <a:cubicBezTo>
                  <a:pt x="163" y="1285"/>
                  <a:pt x="163" y="1285"/>
                  <a:pt x="163" y="1285"/>
                </a:cubicBezTo>
                <a:cubicBezTo>
                  <a:pt x="166" y="1289"/>
                  <a:pt x="165" y="1294"/>
                  <a:pt x="161" y="1297"/>
                </a:cubicBezTo>
                <a:cubicBezTo>
                  <a:pt x="160" y="1298"/>
                  <a:pt x="158" y="1299"/>
                  <a:pt x="157" y="1299"/>
                </a:cubicBezTo>
                <a:close/>
                <a:moveTo>
                  <a:pt x="141" y="1275"/>
                </a:moveTo>
                <a:cubicBezTo>
                  <a:pt x="138" y="1275"/>
                  <a:pt x="135" y="1274"/>
                  <a:pt x="134" y="1271"/>
                </a:cubicBezTo>
                <a:cubicBezTo>
                  <a:pt x="116" y="1244"/>
                  <a:pt x="100" y="1216"/>
                  <a:pt x="86" y="1187"/>
                </a:cubicBezTo>
                <a:cubicBezTo>
                  <a:pt x="69" y="1153"/>
                  <a:pt x="54" y="1117"/>
                  <a:pt x="42" y="1081"/>
                </a:cubicBezTo>
                <a:cubicBezTo>
                  <a:pt x="42" y="1079"/>
                  <a:pt x="42" y="1077"/>
                  <a:pt x="43" y="1075"/>
                </a:cubicBezTo>
                <a:cubicBezTo>
                  <a:pt x="44" y="1073"/>
                  <a:pt x="45" y="1071"/>
                  <a:pt x="48" y="1071"/>
                </a:cubicBezTo>
                <a:cubicBezTo>
                  <a:pt x="52" y="1069"/>
                  <a:pt x="57" y="1072"/>
                  <a:pt x="58" y="1076"/>
                </a:cubicBezTo>
                <a:cubicBezTo>
                  <a:pt x="70" y="1111"/>
                  <a:pt x="84" y="1146"/>
                  <a:pt x="101" y="1179"/>
                </a:cubicBezTo>
                <a:cubicBezTo>
                  <a:pt x="115" y="1208"/>
                  <a:pt x="131" y="1236"/>
                  <a:pt x="148" y="1262"/>
                </a:cubicBezTo>
                <a:cubicBezTo>
                  <a:pt x="150" y="1266"/>
                  <a:pt x="149" y="1271"/>
                  <a:pt x="145" y="1274"/>
                </a:cubicBezTo>
                <a:cubicBezTo>
                  <a:pt x="144" y="1275"/>
                  <a:pt x="142" y="1275"/>
                  <a:pt x="141" y="1275"/>
                </a:cubicBezTo>
                <a:close/>
                <a:moveTo>
                  <a:pt x="1508" y="1270"/>
                </a:moveTo>
                <a:cubicBezTo>
                  <a:pt x="1506" y="1270"/>
                  <a:pt x="1505" y="1269"/>
                  <a:pt x="1503" y="1269"/>
                </a:cubicBezTo>
                <a:cubicBezTo>
                  <a:pt x="1502" y="1267"/>
                  <a:pt x="1500" y="1265"/>
                  <a:pt x="1500" y="1263"/>
                </a:cubicBezTo>
                <a:cubicBezTo>
                  <a:pt x="1499" y="1261"/>
                  <a:pt x="1500" y="1259"/>
                  <a:pt x="1501" y="1257"/>
                </a:cubicBezTo>
                <a:cubicBezTo>
                  <a:pt x="1503" y="1253"/>
                  <a:pt x="1509" y="1252"/>
                  <a:pt x="1513" y="1254"/>
                </a:cubicBezTo>
                <a:cubicBezTo>
                  <a:pt x="1516" y="1257"/>
                  <a:pt x="1518" y="1262"/>
                  <a:pt x="1515" y="1266"/>
                </a:cubicBezTo>
                <a:cubicBezTo>
                  <a:pt x="1514" y="1268"/>
                  <a:pt x="1511" y="1270"/>
                  <a:pt x="1508" y="1270"/>
                </a:cubicBezTo>
                <a:close/>
                <a:moveTo>
                  <a:pt x="1523" y="1246"/>
                </a:moveTo>
                <a:cubicBezTo>
                  <a:pt x="1521" y="1246"/>
                  <a:pt x="1520" y="1245"/>
                  <a:pt x="1518" y="1245"/>
                </a:cubicBezTo>
                <a:cubicBezTo>
                  <a:pt x="1514" y="1242"/>
                  <a:pt x="1513" y="1237"/>
                  <a:pt x="1515" y="1233"/>
                </a:cubicBezTo>
                <a:cubicBezTo>
                  <a:pt x="1516" y="1233"/>
                  <a:pt x="1516" y="1232"/>
                  <a:pt x="1516" y="1232"/>
                </a:cubicBezTo>
                <a:cubicBezTo>
                  <a:pt x="1516" y="1232"/>
                  <a:pt x="1516" y="1232"/>
                  <a:pt x="1516" y="1232"/>
                </a:cubicBezTo>
                <a:cubicBezTo>
                  <a:pt x="1535" y="1200"/>
                  <a:pt x="1552" y="1167"/>
                  <a:pt x="1566" y="1133"/>
                </a:cubicBezTo>
                <a:cubicBezTo>
                  <a:pt x="1578" y="1104"/>
                  <a:pt x="1588" y="1074"/>
                  <a:pt x="1597" y="1043"/>
                </a:cubicBezTo>
                <a:cubicBezTo>
                  <a:pt x="1598" y="1039"/>
                  <a:pt x="1603" y="1036"/>
                  <a:pt x="1608" y="1037"/>
                </a:cubicBezTo>
                <a:cubicBezTo>
                  <a:pt x="1610" y="1038"/>
                  <a:pt x="1612" y="1039"/>
                  <a:pt x="1613" y="1041"/>
                </a:cubicBezTo>
                <a:cubicBezTo>
                  <a:pt x="1614" y="1043"/>
                  <a:pt x="1614" y="1046"/>
                  <a:pt x="1613" y="1048"/>
                </a:cubicBezTo>
                <a:cubicBezTo>
                  <a:pt x="1605" y="1079"/>
                  <a:pt x="1594" y="1110"/>
                  <a:pt x="1581" y="1140"/>
                </a:cubicBezTo>
                <a:cubicBezTo>
                  <a:pt x="1567" y="1174"/>
                  <a:pt x="1550" y="1208"/>
                  <a:pt x="1531" y="1240"/>
                </a:cubicBezTo>
                <a:cubicBezTo>
                  <a:pt x="1531" y="1241"/>
                  <a:pt x="1531" y="1241"/>
                  <a:pt x="1531" y="1241"/>
                </a:cubicBezTo>
                <a:cubicBezTo>
                  <a:pt x="1530" y="1241"/>
                  <a:pt x="1530" y="1241"/>
                  <a:pt x="1530" y="1242"/>
                </a:cubicBezTo>
                <a:cubicBezTo>
                  <a:pt x="1529" y="1244"/>
                  <a:pt x="1526" y="1246"/>
                  <a:pt x="1523" y="1246"/>
                </a:cubicBezTo>
                <a:close/>
                <a:moveTo>
                  <a:pt x="42" y="1060"/>
                </a:moveTo>
                <a:cubicBezTo>
                  <a:pt x="38" y="1060"/>
                  <a:pt x="35" y="1058"/>
                  <a:pt x="34" y="1054"/>
                </a:cubicBezTo>
                <a:cubicBezTo>
                  <a:pt x="33" y="1052"/>
                  <a:pt x="33" y="1050"/>
                  <a:pt x="34" y="1048"/>
                </a:cubicBezTo>
                <a:cubicBezTo>
                  <a:pt x="35" y="1046"/>
                  <a:pt x="37" y="1044"/>
                  <a:pt x="39" y="1043"/>
                </a:cubicBezTo>
                <a:cubicBezTo>
                  <a:pt x="44" y="1042"/>
                  <a:pt x="49" y="1045"/>
                  <a:pt x="50" y="1049"/>
                </a:cubicBezTo>
                <a:cubicBezTo>
                  <a:pt x="51" y="1051"/>
                  <a:pt x="50" y="1054"/>
                  <a:pt x="49" y="1056"/>
                </a:cubicBezTo>
                <a:cubicBezTo>
                  <a:pt x="48" y="1058"/>
                  <a:pt x="46" y="1059"/>
                  <a:pt x="44" y="1060"/>
                </a:cubicBezTo>
                <a:cubicBezTo>
                  <a:pt x="43" y="1060"/>
                  <a:pt x="43" y="1060"/>
                  <a:pt x="42" y="1060"/>
                </a:cubicBezTo>
                <a:close/>
                <a:moveTo>
                  <a:pt x="34" y="1033"/>
                </a:moveTo>
                <a:cubicBezTo>
                  <a:pt x="30" y="1033"/>
                  <a:pt x="27" y="1030"/>
                  <a:pt x="26" y="1026"/>
                </a:cubicBezTo>
                <a:cubicBezTo>
                  <a:pt x="18" y="995"/>
                  <a:pt x="12" y="963"/>
                  <a:pt x="8" y="931"/>
                </a:cubicBezTo>
                <a:cubicBezTo>
                  <a:pt x="3" y="895"/>
                  <a:pt x="0" y="859"/>
                  <a:pt x="0" y="822"/>
                </a:cubicBezTo>
                <a:cubicBezTo>
                  <a:pt x="0" y="821"/>
                  <a:pt x="1" y="820"/>
                  <a:pt x="1" y="818"/>
                </a:cubicBezTo>
                <a:cubicBezTo>
                  <a:pt x="1" y="817"/>
                  <a:pt x="1" y="817"/>
                  <a:pt x="1" y="817"/>
                </a:cubicBezTo>
                <a:cubicBezTo>
                  <a:pt x="1" y="812"/>
                  <a:pt x="4" y="809"/>
                  <a:pt x="9" y="809"/>
                </a:cubicBezTo>
                <a:cubicBezTo>
                  <a:pt x="9" y="809"/>
                  <a:pt x="9" y="809"/>
                  <a:pt x="9" y="809"/>
                </a:cubicBezTo>
                <a:cubicBezTo>
                  <a:pt x="11" y="809"/>
                  <a:pt x="13" y="810"/>
                  <a:pt x="15" y="811"/>
                </a:cubicBezTo>
                <a:cubicBezTo>
                  <a:pt x="17" y="813"/>
                  <a:pt x="17" y="815"/>
                  <a:pt x="17" y="817"/>
                </a:cubicBezTo>
                <a:cubicBezTo>
                  <a:pt x="17" y="819"/>
                  <a:pt x="17" y="821"/>
                  <a:pt x="17" y="822"/>
                </a:cubicBezTo>
                <a:cubicBezTo>
                  <a:pt x="17" y="858"/>
                  <a:pt x="20" y="894"/>
                  <a:pt x="25" y="929"/>
                </a:cubicBezTo>
                <a:cubicBezTo>
                  <a:pt x="29" y="960"/>
                  <a:pt x="35" y="992"/>
                  <a:pt x="43" y="1022"/>
                </a:cubicBezTo>
                <a:cubicBezTo>
                  <a:pt x="44" y="1027"/>
                  <a:pt x="41" y="1031"/>
                  <a:pt x="36" y="1033"/>
                </a:cubicBezTo>
                <a:cubicBezTo>
                  <a:pt x="36" y="1033"/>
                  <a:pt x="35" y="1033"/>
                  <a:pt x="34" y="1033"/>
                </a:cubicBezTo>
                <a:close/>
                <a:moveTo>
                  <a:pt x="1613" y="1027"/>
                </a:moveTo>
                <a:cubicBezTo>
                  <a:pt x="1612" y="1027"/>
                  <a:pt x="1611" y="1027"/>
                  <a:pt x="1611" y="1027"/>
                </a:cubicBezTo>
                <a:cubicBezTo>
                  <a:pt x="1608" y="1026"/>
                  <a:pt x="1606" y="1025"/>
                  <a:pt x="1605" y="1023"/>
                </a:cubicBezTo>
                <a:cubicBezTo>
                  <a:pt x="1604" y="1021"/>
                  <a:pt x="1604" y="1018"/>
                  <a:pt x="1604" y="1016"/>
                </a:cubicBezTo>
                <a:cubicBezTo>
                  <a:pt x="1605" y="1012"/>
                  <a:pt x="1610" y="1009"/>
                  <a:pt x="1615" y="1010"/>
                </a:cubicBezTo>
                <a:cubicBezTo>
                  <a:pt x="1619" y="1011"/>
                  <a:pt x="1622" y="1016"/>
                  <a:pt x="1621" y="1020"/>
                </a:cubicBezTo>
                <a:cubicBezTo>
                  <a:pt x="1620" y="1024"/>
                  <a:pt x="1617" y="1027"/>
                  <a:pt x="1613" y="1027"/>
                </a:cubicBezTo>
                <a:close/>
                <a:moveTo>
                  <a:pt x="1619" y="999"/>
                </a:moveTo>
                <a:cubicBezTo>
                  <a:pt x="1618" y="999"/>
                  <a:pt x="1618" y="999"/>
                  <a:pt x="1617" y="999"/>
                </a:cubicBezTo>
                <a:cubicBezTo>
                  <a:pt x="1613" y="998"/>
                  <a:pt x="1610" y="994"/>
                  <a:pt x="1611" y="989"/>
                </a:cubicBezTo>
                <a:cubicBezTo>
                  <a:pt x="1614" y="973"/>
                  <a:pt x="1617" y="956"/>
                  <a:pt x="1619" y="940"/>
                </a:cubicBezTo>
                <a:cubicBezTo>
                  <a:pt x="1622" y="919"/>
                  <a:pt x="1625" y="899"/>
                  <a:pt x="1626" y="878"/>
                </a:cubicBezTo>
                <a:cubicBezTo>
                  <a:pt x="1627" y="860"/>
                  <a:pt x="1628" y="842"/>
                  <a:pt x="1628" y="823"/>
                </a:cubicBezTo>
                <a:cubicBezTo>
                  <a:pt x="1628" y="810"/>
                  <a:pt x="1628" y="796"/>
                  <a:pt x="1627" y="783"/>
                </a:cubicBezTo>
                <a:cubicBezTo>
                  <a:pt x="1627" y="781"/>
                  <a:pt x="1628" y="779"/>
                  <a:pt x="1629" y="777"/>
                </a:cubicBezTo>
                <a:cubicBezTo>
                  <a:pt x="1631" y="775"/>
                  <a:pt x="1633" y="774"/>
                  <a:pt x="1635" y="774"/>
                </a:cubicBezTo>
                <a:cubicBezTo>
                  <a:pt x="1640" y="774"/>
                  <a:pt x="1644" y="778"/>
                  <a:pt x="1644" y="782"/>
                </a:cubicBezTo>
                <a:cubicBezTo>
                  <a:pt x="1645" y="796"/>
                  <a:pt x="1645" y="810"/>
                  <a:pt x="1645" y="823"/>
                </a:cubicBezTo>
                <a:cubicBezTo>
                  <a:pt x="1645" y="842"/>
                  <a:pt x="1644" y="861"/>
                  <a:pt x="1643" y="879"/>
                </a:cubicBezTo>
                <a:cubicBezTo>
                  <a:pt x="1642" y="900"/>
                  <a:pt x="1639" y="921"/>
                  <a:pt x="1636" y="942"/>
                </a:cubicBezTo>
                <a:cubicBezTo>
                  <a:pt x="1634" y="959"/>
                  <a:pt x="1631" y="976"/>
                  <a:pt x="1627" y="992"/>
                </a:cubicBezTo>
                <a:cubicBezTo>
                  <a:pt x="1626" y="996"/>
                  <a:pt x="1623" y="999"/>
                  <a:pt x="1619" y="999"/>
                </a:cubicBezTo>
                <a:close/>
                <a:moveTo>
                  <a:pt x="10" y="797"/>
                </a:moveTo>
                <a:cubicBezTo>
                  <a:pt x="10" y="797"/>
                  <a:pt x="9" y="797"/>
                  <a:pt x="9" y="797"/>
                </a:cubicBezTo>
                <a:cubicBezTo>
                  <a:pt x="7" y="797"/>
                  <a:pt x="5" y="796"/>
                  <a:pt x="3" y="795"/>
                </a:cubicBezTo>
                <a:cubicBezTo>
                  <a:pt x="2" y="793"/>
                  <a:pt x="1" y="791"/>
                  <a:pt x="1" y="789"/>
                </a:cubicBezTo>
                <a:cubicBezTo>
                  <a:pt x="1" y="784"/>
                  <a:pt x="5" y="780"/>
                  <a:pt x="10" y="780"/>
                </a:cubicBezTo>
                <a:cubicBezTo>
                  <a:pt x="12" y="780"/>
                  <a:pt x="14" y="781"/>
                  <a:pt x="16" y="783"/>
                </a:cubicBezTo>
                <a:cubicBezTo>
                  <a:pt x="17" y="785"/>
                  <a:pt x="18" y="787"/>
                  <a:pt x="18" y="789"/>
                </a:cubicBezTo>
                <a:cubicBezTo>
                  <a:pt x="18" y="794"/>
                  <a:pt x="14" y="797"/>
                  <a:pt x="10" y="797"/>
                </a:cubicBezTo>
                <a:close/>
                <a:moveTo>
                  <a:pt x="11" y="769"/>
                </a:moveTo>
                <a:cubicBezTo>
                  <a:pt x="11" y="769"/>
                  <a:pt x="11" y="769"/>
                  <a:pt x="11" y="769"/>
                </a:cubicBezTo>
                <a:cubicBezTo>
                  <a:pt x="8" y="769"/>
                  <a:pt x="6" y="768"/>
                  <a:pt x="5" y="766"/>
                </a:cubicBezTo>
                <a:cubicBezTo>
                  <a:pt x="3" y="764"/>
                  <a:pt x="3" y="762"/>
                  <a:pt x="3" y="760"/>
                </a:cubicBezTo>
                <a:cubicBezTo>
                  <a:pt x="3" y="754"/>
                  <a:pt x="4" y="748"/>
                  <a:pt x="5" y="741"/>
                </a:cubicBezTo>
                <a:cubicBezTo>
                  <a:pt x="7" y="715"/>
                  <a:pt x="11" y="689"/>
                  <a:pt x="16" y="664"/>
                </a:cubicBezTo>
                <a:cubicBezTo>
                  <a:pt x="16" y="664"/>
                  <a:pt x="16" y="664"/>
                  <a:pt x="16" y="664"/>
                </a:cubicBezTo>
                <a:cubicBezTo>
                  <a:pt x="16" y="664"/>
                  <a:pt x="16" y="663"/>
                  <a:pt x="16" y="663"/>
                </a:cubicBezTo>
                <a:cubicBezTo>
                  <a:pt x="24" y="626"/>
                  <a:pt x="34" y="589"/>
                  <a:pt x="46" y="554"/>
                </a:cubicBezTo>
                <a:cubicBezTo>
                  <a:pt x="48" y="549"/>
                  <a:pt x="52" y="547"/>
                  <a:pt x="57" y="548"/>
                </a:cubicBezTo>
                <a:cubicBezTo>
                  <a:pt x="61" y="550"/>
                  <a:pt x="64" y="555"/>
                  <a:pt x="62" y="559"/>
                </a:cubicBezTo>
                <a:cubicBezTo>
                  <a:pt x="50" y="594"/>
                  <a:pt x="40" y="631"/>
                  <a:pt x="33" y="667"/>
                </a:cubicBezTo>
                <a:cubicBezTo>
                  <a:pt x="28" y="692"/>
                  <a:pt x="24" y="717"/>
                  <a:pt x="21" y="743"/>
                </a:cubicBezTo>
                <a:cubicBezTo>
                  <a:pt x="21" y="749"/>
                  <a:pt x="20" y="755"/>
                  <a:pt x="20" y="761"/>
                </a:cubicBezTo>
                <a:cubicBezTo>
                  <a:pt x="19" y="766"/>
                  <a:pt x="16" y="769"/>
                  <a:pt x="11" y="769"/>
                </a:cubicBezTo>
                <a:close/>
                <a:moveTo>
                  <a:pt x="1634" y="763"/>
                </a:moveTo>
                <a:cubicBezTo>
                  <a:pt x="1629" y="763"/>
                  <a:pt x="1625" y="760"/>
                  <a:pt x="1625" y="755"/>
                </a:cubicBezTo>
                <a:cubicBezTo>
                  <a:pt x="1625" y="755"/>
                  <a:pt x="1625" y="755"/>
                  <a:pt x="1625" y="755"/>
                </a:cubicBezTo>
                <a:cubicBezTo>
                  <a:pt x="1625" y="753"/>
                  <a:pt x="1626" y="751"/>
                  <a:pt x="1627" y="749"/>
                </a:cubicBezTo>
                <a:cubicBezTo>
                  <a:pt x="1629" y="747"/>
                  <a:pt x="1631" y="746"/>
                  <a:pt x="1633" y="746"/>
                </a:cubicBezTo>
                <a:cubicBezTo>
                  <a:pt x="1638" y="746"/>
                  <a:pt x="1642" y="749"/>
                  <a:pt x="1642" y="754"/>
                </a:cubicBezTo>
                <a:cubicBezTo>
                  <a:pt x="1642" y="754"/>
                  <a:pt x="1642" y="754"/>
                  <a:pt x="1642" y="754"/>
                </a:cubicBezTo>
                <a:cubicBezTo>
                  <a:pt x="1642" y="754"/>
                  <a:pt x="1642" y="754"/>
                  <a:pt x="1642" y="754"/>
                </a:cubicBezTo>
                <a:cubicBezTo>
                  <a:pt x="1642" y="756"/>
                  <a:pt x="1641" y="758"/>
                  <a:pt x="1640" y="760"/>
                </a:cubicBezTo>
                <a:cubicBezTo>
                  <a:pt x="1639" y="762"/>
                  <a:pt x="1637" y="763"/>
                  <a:pt x="1634" y="763"/>
                </a:cubicBezTo>
                <a:cubicBezTo>
                  <a:pt x="1634" y="763"/>
                  <a:pt x="1634" y="763"/>
                  <a:pt x="1634" y="763"/>
                </a:cubicBezTo>
                <a:close/>
                <a:moveTo>
                  <a:pt x="1631" y="735"/>
                </a:moveTo>
                <a:cubicBezTo>
                  <a:pt x="1626" y="735"/>
                  <a:pt x="1623" y="732"/>
                  <a:pt x="1622" y="727"/>
                </a:cubicBezTo>
                <a:cubicBezTo>
                  <a:pt x="1618" y="695"/>
                  <a:pt x="1612" y="662"/>
                  <a:pt x="1605" y="630"/>
                </a:cubicBezTo>
                <a:cubicBezTo>
                  <a:pt x="1603" y="626"/>
                  <a:pt x="1606" y="621"/>
                  <a:pt x="1611" y="620"/>
                </a:cubicBezTo>
                <a:cubicBezTo>
                  <a:pt x="1615" y="619"/>
                  <a:pt x="1620" y="622"/>
                  <a:pt x="1621" y="626"/>
                </a:cubicBezTo>
                <a:cubicBezTo>
                  <a:pt x="1629" y="659"/>
                  <a:pt x="1635" y="692"/>
                  <a:pt x="1639" y="725"/>
                </a:cubicBezTo>
                <a:cubicBezTo>
                  <a:pt x="1640" y="730"/>
                  <a:pt x="1636" y="734"/>
                  <a:pt x="1632" y="735"/>
                </a:cubicBezTo>
                <a:cubicBezTo>
                  <a:pt x="1631" y="735"/>
                  <a:pt x="1631" y="735"/>
                  <a:pt x="1631" y="735"/>
                </a:cubicBezTo>
                <a:close/>
                <a:moveTo>
                  <a:pt x="1592" y="566"/>
                </a:moveTo>
                <a:cubicBezTo>
                  <a:pt x="1588" y="566"/>
                  <a:pt x="1585" y="563"/>
                  <a:pt x="1584" y="560"/>
                </a:cubicBezTo>
                <a:cubicBezTo>
                  <a:pt x="1573" y="530"/>
                  <a:pt x="1561" y="500"/>
                  <a:pt x="1547" y="472"/>
                </a:cubicBezTo>
                <a:cubicBezTo>
                  <a:pt x="1546" y="470"/>
                  <a:pt x="1546" y="468"/>
                  <a:pt x="1547" y="465"/>
                </a:cubicBezTo>
                <a:cubicBezTo>
                  <a:pt x="1548" y="463"/>
                  <a:pt x="1549" y="462"/>
                  <a:pt x="1551" y="461"/>
                </a:cubicBezTo>
                <a:cubicBezTo>
                  <a:pt x="1556" y="459"/>
                  <a:pt x="1561" y="461"/>
                  <a:pt x="1563" y="465"/>
                </a:cubicBezTo>
                <a:cubicBezTo>
                  <a:pt x="1577" y="494"/>
                  <a:pt x="1589" y="524"/>
                  <a:pt x="1600" y="554"/>
                </a:cubicBezTo>
                <a:cubicBezTo>
                  <a:pt x="1601" y="556"/>
                  <a:pt x="1600" y="559"/>
                  <a:pt x="1599" y="561"/>
                </a:cubicBezTo>
                <a:cubicBezTo>
                  <a:pt x="1598" y="563"/>
                  <a:pt x="1597" y="564"/>
                  <a:pt x="1595" y="565"/>
                </a:cubicBezTo>
                <a:cubicBezTo>
                  <a:pt x="1594" y="565"/>
                  <a:pt x="1593" y="566"/>
                  <a:pt x="1592" y="566"/>
                </a:cubicBezTo>
                <a:close/>
                <a:moveTo>
                  <a:pt x="64" y="538"/>
                </a:moveTo>
                <a:cubicBezTo>
                  <a:pt x="64" y="538"/>
                  <a:pt x="64" y="538"/>
                  <a:pt x="64" y="538"/>
                </a:cubicBezTo>
                <a:cubicBezTo>
                  <a:pt x="64" y="538"/>
                  <a:pt x="64" y="538"/>
                  <a:pt x="64" y="538"/>
                </a:cubicBezTo>
                <a:cubicBezTo>
                  <a:pt x="63" y="538"/>
                  <a:pt x="62" y="538"/>
                  <a:pt x="61" y="538"/>
                </a:cubicBezTo>
                <a:cubicBezTo>
                  <a:pt x="56" y="536"/>
                  <a:pt x="54" y="531"/>
                  <a:pt x="56" y="527"/>
                </a:cubicBezTo>
                <a:cubicBezTo>
                  <a:pt x="58" y="522"/>
                  <a:pt x="63" y="520"/>
                  <a:pt x="67" y="522"/>
                </a:cubicBezTo>
                <a:cubicBezTo>
                  <a:pt x="71" y="524"/>
                  <a:pt x="73" y="528"/>
                  <a:pt x="72" y="533"/>
                </a:cubicBezTo>
                <a:cubicBezTo>
                  <a:pt x="72" y="533"/>
                  <a:pt x="72" y="533"/>
                  <a:pt x="72" y="533"/>
                </a:cubicBezTo>
                <a:cubicBezTo>
                  <a:pt x="70" y="536"/>
                  <a:pt x="67" y="538"/>
                  <a:pt x="64" y="538"/>
                </a:cubicBezTo>
                <a:close/>
                <a:moveTo>
                  <a:pt x="74" y="512"/>
                </a:moveTo>
                <a:cubicBezTo>
                  <a:pt x="73" y="512"/>
                  <a:pt x="72" y="512"/>
                  <a:pt x="71" y="511"/>
                </a:cubicBezTo>
                <a:cubicBezTo>
                  <a:pt x="69" y="510"/>
                  <a:pt x="67" y="509"/>
                  <a:pt x="67" y="507"/>
                </a:cubicBezTo>
                <a:cubicBezTo>
                  <a:pt x="66" y="505"/>
                  <a:pt x="66" y="502"/>
                  <a:pt x="67" y="500"/>
                </a:cubicBezTo>
                <a:cubicBezTo>
                  <a:pt x="76" y="479"/>
                  <a:pt x="86" y="458"/>
                  <a:pt x="96" y="438"/>
                </a:cubicBezTo>
                <a:cubicBezTo>
                  <a:pt x="101" y="430"/>
                  <a:pt x="105" y="421"/>
                  <a:pt x="110" y="413"/>
                </a:cubicBezTo>
                <a:cubicBezTo>
                  <a:pt x="129" y="380"/>
                  <a:pt x="150" y="349"/>
                  <a:pt x="174" y="318"/>
                </a:cubicBezTo>
                <a:cubicBezTo>
                  <a:pt x="176" y="315"/>
                  <a:pt x="182" y="314"/>
                  <a:pt x="185" y="317"/>
                </a:cubicBezTo>
                <a:cubicBezTo>
                  <a:pt x="189" y="320"/>
                  <a:pt x="190" y="325"/>
                  <a:pt x="187" y="329"/>
                </a:cubicBezTo>
                <a:cubicBezTo>
                  <a:pt x="164" y="358"/>
                  <a:pt x="143" y="390"/>
                  <a:pt x="125" y="422"/>
                </a:cubicBezTo>
                <a:cubicBezTo>
                  <a:pt x="120" y="430"/>
                  <a:pt x="116" y="438"/>
                  <a:pt x="111" y="446"/>
                </a:cubicBezTo>
                <a:cubicBezTo>
                  <a:pt x="101" y="466"/>
                  <a:pt x="91" y="486"/>
                  <a:pt x="82" y="507"/>
                </a:cubicBezTo>
                <a:cubicBezTo>
                  <a:pt x="81" y="510"/>
                  <a:pt x="78" y="512"/>
                  <a:pt x="74" y="512"/>
                </a:cubicBezTo>
                <a:close/>
                <a:moveTo>
                  <a:pt x="1542" y="451"/>
                </a:moveTo>
                <a:cubicBezTo>
                  <a:pt x="1539" y="451"/>
                  <a:pt x="1536" y="450"/>
                  <a:pt x="1535" y="447"/>
                </a:cubicBezTo>
                <a:cubicBezTo>
                  <a:pt x="1533" y="443"/>
                  <a:pt x="1534" y="438"/>
                  <a:pt x="1538" y="436"/>
                </a:cubicBezTo>
                <a:cubicBezTo>
                  <a:pt x="1542" y="433"/>
                  <a:pt x="1548" y="435"/>
                  <a:pt x="1550" y="439"/>
                </a:cubicBezTo>
                <a:cubicBezTo>
                  <a:pt x="1551" y="441"/>
                  <a:pt x="1551" y="443"/>
                  <a:pt x="1550" y="446"/>
                </a:cubicBezTo>
                <a:cubicBezTo>
                  <a:pt x="1550" y="448"/>
                  <a:pt x="1548" y="449"/>
                  <a:pt x="1546" y="451"/>
                </a:cubicBezTo>
                <a:cubicBezTo>
                  <a:pt x="1545" y="451"/>
                  <a:pt x="1544" y="451"/>
                  <a:pt x="1542" y="451"/>
                </a:cubicBezTo>
                <a:close/>
                <a:moveTo>
                  <a:pt x="1529" y="427"/>
                </a:moveTo>
                <a:cubicBezTo>
                  <a:pt x="1526" y="427"/>
                  <a:pt x="1523" y="425"/>
                  <a:pt x="1521" y="422"/>
                </a:cubicBezTo>
                <a:cubicBezTo>
                  <a:pt x="1503" y="390"/>
                  <a:pt x="1482" y="359"/>
                  <a:pt x="1459" y="329"/>
                </a:cubicBezTo>
                <a:cubicBezTo>
                  <a:pt x="1449" y="317"/>
                  <a:pt x="1439" y="304"/>
                  <a:pt x="1428" y="292"/>
                </a:cubicBezTo>
                <a:cubicBezTo>
                  <a:pt x="1418" y="280"/>
                  <a:pt x="1407" y="269"/>
                  <a:pt x="1397" y="258"/>
                </a:cubicBezTo>
                <a:cubicBezTo>
                  <a:pt x="1393" y="255"/>
                  <a:pt x="1393" y="249"/>
                  <a:pt x="1397" y="246"/>
                </a:cubicBezTo>
                <a:cubicBezTo>
                  <a:pt x="1400" y="243"/>
                  <a:pt x="1405" y="243"/>
                  <a:pt x="1409" y="246"/>
                </a:cubicBezTo>
                <a:cubicBezTo>
                  <a:pt x="1420" y="257"/>
                  <a:pt x="1431" y="269"/>
                  <a:pt x="1441" y="281"/>
                </a:cubicBezTo>
                <a:cubicBezTo>
                  <a:pt x="1452" y="293"/>
                  <a:pt x="1462" y="306"/>
                  <a:pt x="1473" y="319"/>
                </a:cubicBezTo>
                <a:cubicBezTo>
                  <a:pt x="1496" y="349"/>
                  <a:pt x="1517" y="381"/>
                  <a:pt x="1536" y="414"/>
                </a:cubicBezTo>
                <a:cubicBezTo>
                  <a:pt x="1538" y="418"/>
                  <a:pt x="1537" y="423"/>
                  <a:pt x="1533" y="426"/>
                </a:cubicBezTo>
                <a:cubicBezTo>
                  <a:pt x="1532" y="426"/>
                  <a:pt x="1530" y="427"/>
                  <a:pt x="1529" y="427"/>
                </a:cubicBezTo>
                <a:close/>
                <a:moveTo>
                  <a:pt x="198" y="310"/>
                </a:moveTo>
                <a:cubicBezTo>
                  <a:pt x="196" y="310"/>
                  <a:pt x="194" y="309"/>
                  <a:pt x="193" y="308"/>
                </a:cubicBezTo>
                <a:cubicBezTo>
                  <a:pt x="191" y="307"/>
                  <a:pt x="190" y="305"/>
                  <a:pt x="190" y="302"/>
                </a:cubicBezTo>
                <a:cubicBezTo>
                  <a:pt x="189" y="300"/>
                  <a:pt x="190" y="298"/>
                  <a:pt x="191" y="296"/>
                </a:cubicBezTo>
                <a:cubicBezTo>
                  <a:pt x="194" y="293"/>
                  <a:pt x="200" y="292"/>
                  <a:pt x="203" y="295"/>
                </a:cubicBezTo>
                <a:cubicBezTo>
                  <a:pt x="207" y="298"/>
                  <a:pt x="208" y="303"/>
                  <a:pt x="205" y="307"/>
                </a:cubicBezTo>
                <a:cubicBezTo>
                  <a:pt x="204" y="307"/>
                  <a:pt x="204" y="307"/>
                  <a:pt x="204" y="307"/>
                </a:cubicBezTo>
                <a:cubicBezTo>
                  <a:pt x="203" y="309"/>
                  <a:pt x="200" y="310"/>
                  <a:pt x="198" y="310"/>
                </a:cubicBezTo>
                <a:close/>
                <a:moveTo>
                  <a:pt x="216" y="289"/>
                </a:moveTo>
                <a:cubicBezTo>
                  <a:pt x="214" y="289"/>
                  <a:pt x="212" y="288"/>
                  <a:pt x="211" y="287"/>
                </a:cubicBezTo>
                <a:cubicBezTo>
                  <a:pt x="209" y="285"/>
                  <a:pt x="208" y="283"/>
                  <a:pt x="208" y="281"/>
                </a:cubicBezTo>
                <a:cubicBezTo>
                  <a:pt x="208" y="278"/>
                  <a:pt x="209" y="276"/>
                  <a:pt x="210" y="275"/>
                </a:cubicBezTo>
                <a:cubicBezTo>
                  <a:pt x="232" y="250"/>
                  <a:pt x="255" y="227"/>
                  <a:pt x="279" y="206"/>
                </a:cubicBezTo>
                <a:cubicBezTo>
                  <a:pt x="284" y="201"/>
                  <a:pt x="290" y="197"/>
                  <a:pt x="295" y="192"/>
                </a:cubicBezTo>
                <a:cubicBezTo>
                  <a:pt x="319" y="172"/>
                  <a:pt x="344" y="154"/>
                  <a:pt x="370" y="137"/>
                </a:cubicBezTo>
                <a:cubicBezTo>
                  <a:pt x="370" y="137"/>
                  <a:pt x="370" y="137"/>
                  <a:pt x="370" y="137"/>
                </a:cubicBezTo>
                <a:cubicBezTo>
                  <a:pt x="374" y="134"/>
                  <a:pt x="379" y="135"/>
                  <a:pt x="381" y="139"/>
                </a:cubicBezTo>
                <a:cubicBezTo>
                  <a:pt x="383" y="141"/>
                  <a:pt x="383" y="143"/>
                  <a:pt x="383" y="145"/>
                </a:cubicBezTo>
                <a:cubicBezTo>
                  <a:pt x="382" y="148"/>
                  <a:pt x="381" y="150"/>
                  <a:pt x="379" y="151"/>
                </a:cubicBezTo>
                <a:cubicBezTo>
                  <a:pt x="354" y="168"/>
                  <a:pt x="329" y="186"/>
                  <a:pt x="306" y="205"/>
                </a:cubicBezTo>
                <a:cubicBezTo>
                  <a:pt x="301" y="210"/>
                  <a:pt x="295" y="214"/>
                  <a:pt x="290" y="219"/>
                </a:cubicBezTo>
                <a:cubicBezTo>
                  <a:pt x="267" y="240"/>
                  <a:pt x="244" y="262"/>
                  <a:pt x="223" y="286"/>
                </a:cubicBezTo>
                <a:cubicBezTo>
                  <a:pt x="221" y="288"/>
                  <a:pt x="219" y="289"/>
                  <a:pt x="216" y="289"/>
                </a:cubicBezTo>
                <a:close/>
                <a:moveTo>
                  <a:pt x="1382" y="241"/>
                </a:moveTo>
                <a:cubicBezTo>
                  <a:pt x="1380" y="241"/>
                  <a:pt x="1378" y="240"/>
                  <a:pt x="1377" y="238"/>
                </a:cubicBezTo>
                <a:cubicBezTo>
                  <a:pt x="1375" y="237"/>
                  <a:pt x="1374" y="235"/>
                  <a:pt x="1374" y="232"/>
                </a:cubicBezTo>
                <a:cubicBezTo>
                  <a:pt x="1374" y="230"/>
                  <a:pt x="1375" y="228"/>
                  <a:pt x="1376" y="226"/>
                </a:cubicBezTo>
                <a:cubicBezTo>
                  <a:pt x="1379" y="223"/>
                  <a:pt x="1385" y="223"/>
                  <a:pt x="1388" y="226"/>
                </a:cubicBezTo>
                <a:cubicBezTo>
                  <a:pt x="1390" y="228"/>
                  <a:pt x="1391" y="230"/>
                  <a:pt x="1391" y="232"/>
                </a:cubicBezTo>
                <a:cubicBezTo>
                  <a:pt x="1391" y="234"/>
                  <a:pt x="1390" y="236"/>
                  <a:pt x="1389" y="238"/>
                </a:cubicBezTo>
                <a:cubicBezTo>
                  <a:pt x="1387" y="240"/>
                  <a:pt x="1385" y="241"/>
                  <a:pt x="1382" y="241"/>
                </a:cubicBezTo>
                <a:close/>
                <a:moveTo>
                  <a:pt x="1361" y="222"/>
                </a:moveTo>
                <a:cubicBezTo>
                  <a:pt x="1359" y="222"/>
                  <a:pt x="1357" y="221"/>
                  <a:pt x="1356" y="219"/>
                </a:cubicBezTo>
                <a:cubicBezTo>
                  <a:pt x="1328" y="195"/>
                  <a:pt x="1298" y="172"/>
                  <a:pt x="1267" y="151"/>
                </a:cubicBezTo>
                <a:cubicBezTo>
                  <a:pt x="1241" y="134"/>
                  <a:pt x="1213" y="118"/>
                  <a:pt x="1185" y="104"/>
                </a:cubicBezTo>
                <a:cubicBezTo>
                  <a:pt x="1183" y="103"/>
                  <a:pt x="1181" y="101"/>
                  <a:pt x="1180" y="99"/>
                </a:cubicBezTo>
                <a:cubicBezTo>
                  <a:pt x="1180" y="97"/>
                  <a:pt x="1180" y="94"/>
                  <a:pt x="1181" y="92"/>
                </a:cubicBezTo>
                <a:cubicBezTo>
                  <a:pt x="1183" y="88"/>
                  <a:pt x="1188" y="87"/>
                  <a:pt x="1192" y="89"/>
                </a:cubicBezTo>
                <a:cubicBezTo>
                  <a:pt x="1221" y="103"/>
                  <a:pt x="1249" y="119"/>
                  <a:pt x="1276" y="137"/>
                </a:cubicBezTo>
                <a:cubicBezTo>
                  <a:pt x="1308" y="158"/>
                  <a:pt x="1339" y="182"/>
                  <a:pt x="1367" y="207"/>
                </a:cubicBezTo>
                <a:cubicBezTo>
                  <a:pt x="1367" y="207"/>
                  <a:pt x="1367" y="207"/>
                  <a:pt x="1367" y="207"/>
                </a:cubicBezTo>
                <a:cubicBezTo>
                  <a:pt x="1371" y="210"/>
                  <a:pt x="1371" y="215"/>
                  <a:pt x="1368" y="219"/>
                </a:cubicBezTo>
                <a:cubicBezTo>
                  <a:pt x="1366" y="221"/>
                  <a:pt x="1364" y="222"/>
                  <a:pt x="1361" y="222"/>
                </a:cubicBezTo>
                <a:close/>
                <a:moveTo>
                  <a:pt x="398" y="137"/>
                </a:moveTo>
                <a:cubicBezTo>
                  <a:pt x="395" y="137"/>
                  <a:pt x="393" y="136"/>
                  <a:pt x="391" y="133"/>
                </a:cubicBezTo>
                <a:cubicBezTo>
                  <a:pt x="390" y="131"/>
                  <a:pt x="390" y="129"/>
                  <a:pt x="390" y="127"/>
                </a:cubicBezTo>
                <a:cubicBezTo>
                  <a:pt x="391" y="124"/>
                  <a:pt x="392" y="123"/>
                  <a:pt x="394" y="121"/>
                </a:cubicBezTo>
                <a:cubicBezTo>
                  <a:pt x="398" y="119"/>
                  <a:pt x="403" y="120"/>
                  <a:pt x="406" y="124"/>
                </a:cubicBezTo>
                <a:cubicBezTo>
                  <a:pt x="408" y="128"/>
                  <a:pt x="407" y="133"/>
                  <a:pt x="403" y="136"/>
                </a:cubicBezTo>
                <a:cubicBezTo>
                  <a:pt x="401" y="137"/>
                  <a:pt x="400" y="137"/>
                  <a:pt x="398" y="137"/>
                </a:cubicBezTo>
                <a:close/>
                <a:moveTo>
                  <a:pt x="423" y="123"/>
                </a:moveTo>
                <a:cubicBezTo>
                  <a:pt x="423" y="123"/>
                  <a:pt x="423" y="123"/>
                  <a:pt x="423" y="123"/>
                </a:cubicBezTo>
                <a:cubicBezTo>
                  <a:pt x="420" y="123"/>
                  <a:pt x="417" y="121"/>
                  <a:pt x="415" y="118"/>
                </a:cubicBezTo>
                <a:cubicBezTo>
                  <a:pt x="413" y="114"/>
                  <a:pt x="414" y="109"/>
                  <a:pt x="419" y="107"/>
                </a:cubicBezTo>
                <a:cubicBezTo>
                  <a:pt x="447" y="91"/>
                  <a:pt x="476" y="77"/>
                  <a:pt x="506" y="64"/>
                </a:cubicBezTo>
                <a:cubicBezTo>
                  <a:pt x="528" y="55"/>
                  <a:pt x="550" y="47"/>
                  <a:pt x="572" y="40"/>
                </a:cubicBezTo>
                <a:cubicBezTo>
                  <a:pt x="586" y="36"/>
                  <a:pt x="600" y="32"/>
                  <a:pt x="614" y="28"/>
                </a:cubicBezTo>
                <a:cubicBezTo>
                  <a:pt x="619" y="27"/>
                  <a:pt x="623" y="29"/>
                  <a:pt x="624" y="34"/>
                </a:cubicBezTo>
                <a:cubicBezTo>
                  <a:pt x="625" y="36"/>
                  <a:pt x="625" y="38"/>
                  <a:pt x="624" y="40"/>
                </a:cubicBezTo>
                <a:cubicBezTo>
                  <a:pt x="622" y="42"/>
                  <a:pt x="621" y="44"/>
                  <a:pt x="618" y="44"/>
                </a:cubicBezTo>
                <a:cubicBezTo>
                  <a:pt x="605" y="48"/>
                  <a:pt x="591" y="52"/>
                  <a:pt x="577" y="56"/>
                </a:cubicBezTo>
                <a:cubicBezTo>
                  <a:pt x="555" y="63"/>
                  <a:pt x="534" y="71"/>
                  <a:pt x="512" y="80"/>
                </a:cubicBezTo>
                <a:cubicBezTo>
                  <a:pt x="483" y="92"/>
                  <a:pt x="454" y="106"/>
                  <a:pt x="427" y="122"/>
                </a:cubicBezTo>
                <a:cubicBezTo>
                  <a:pt x="426" y="122"/>
                  <a:pt x="424" y="123"/>
                  <a:pt x="423" y="123"/>
                </a:cubicBezTo>
                <a:close/>
                <a:moveTo>
                  <a:pt x="1163" y="92"/>
                </a:moveTo>
                <a:cubicBezTo>
                  <a:pt x="1162" y="92"/>
                  <a:pt x="1161" y="92"/>
                  <a:pt x="1160" y="92"/>
                </a:cubicBezTo>
                <a:cubicBezTo>
                  <a:pt x="1157" y="91"/>
                  <a:pt x="1156" y="89"/>
                  <a:pt x="1155" y="87"/>
                </a:cubicBezTo>
                <a:cubicBezTo>
                  <a:pt x="1154" y="85"/>
                  <a:pt x="1154" y="82"/>
                  <a:pt x="1155" y="80"/>
                </a:cubicBezTo>
                <a:cubicBezTo>
                  <a:pt x="1157" y="76"/>
                  <a:pt x="1162" y="74"/>
                  <a:pt x="1167" y="76"/>
                </a:cubicBezTo>
                <a:cubicBezTo>
                  <a:pt x="1171" y="78"/>
                  <a:pt x="1173" y="83"/>
                  <a:pt x="1171" y="87"/>
                </a:cubicBezTo>
                <a:cubicBezTo>
                  <a:pt x="1169" y="90"/>
                  <a:pt x="1166" y="92"/>
                  <a:pt x="1163" y="92"/>
                </a:cubicBezTo>
                <a:close/>
                <a:moveTo>
                  <a:pt x="1137" y="81"/>
                </a:moveTo>
                <a:cubicBezTo>
                  <a:pt x="1136" y="81"/>
                  <a:pt x="1135" y="81"/>
                  <a:pt x="1134" y="80"/>
                </a:cubicBezTo>
                <a:cubicBezTo>
                  <a:pt x="1100" y="66"/>
                  <a:pt x="1064" y="54"/>
                  <a:pt x="1028" y="44"/>
                </a:cubicBezTo>
                <a:cubicBezTo>
                  <a:pt x="1028" y="44"/>
                  <a:pt x="1028" y="44"/>
                  <a:pt x="1028" y="44"/>
                </a:cubicBezTo>
                <a:cubicBezTo>
                  <a:pt x="997" y="36"/>
                  <a:pt x="966" y="30"/>
                  <a:pt x="935" y="25"/>
                </a:cubicBezTo>
                <a:cubicBezTo>
                  <a:pt x="933" y="25"/>
                  <a:pt x="931" y="24"/>
                  <a:pt x="929" y="22"/>
                </a:cubicBezTo>
                <a:cubicBezTo>
                  <a:pt x="928" y="20"/>
                  <a:pt x="927" y="18"/>
                  <a:pt x="928" y="16"/>
                </a:cubicBezTo>
                <a:cubicBezTo>
                  <a:pt x="928" y="11"/>
                  <a:pt x="933" y="8"/>
                  <a:pt x="937" y="9"/>
                </a:cubicBezTo>
                <a:cubicBezTo>
                  <a:pt x="969" y="13"/>
                  <a:pt x="1001" y="20"/>
                  <a:pt x="1032" y="28"/>
                </a:cubicBezTo>
                <a:cubicBezTo>
                  <a:pt x="1069" y="38"/>
                  <a:pt x="1105" y="50"/>
                  <a:pt x="1140" y="65"/>
                </a:cubicBezTo>
                <a:cubicBezTo>
                  <a:pt x="1145" y="66"/>
                  <a:pt x="1147" y="71"/>
                  <a:pt x="1145" y="76"/>
                </a:cubicBezTo>
                <a:cubicBezTo>
                  <a:pt x="1144" y="79"/>
                  <a:pt x="1141" y="81"/>
                  <a:pt x="1137" y="81"/>
                </a:cubicBezTo>
                <a:close/>
                <a:moveTo>
                  <a:pt x="644" y="38"/>
                </a:moveTo>
                <a:cubicBezTo>
                  <a:pt x="640" y="38"/>
                  <a:pt x="636" y="35"/>
                  <a:pt x="635" y="31"/>
                </a:cubicBezTo>
                <a:cubicBezTo>
                  <a:pt x="634" y="27"/>
                  <a:pt x="637" y="22"/>
                  <a:pt x="642" y="21"/>
                </a:cubicBezTo>
                <a:cubicBezTo>
                  <a:pt x="646" y="20"/>
                  <a:pt x="651" y="23"/>
                  <a:pt x="652" y="27"/>
                </a:cubicBezTo>
                <a:cubicBezTo>
                  <a:pt x="653" y="32"/>
                  <a:pt x="650" y="37"/>
                  <a:pt x="646" y="38"/>
                </a:cubicBezTo>
                <a:cubicBezTo>
                  <a:pt x="645" y="38"/>
                  <a:pt x="644" y="38"/>
                  <a:pt x="644" y="38"/>
                </a:cubicBezTo>
                <a:close/>
                <a:moveTo>
                  <a:pt x="671" y="32"/>
                </a:moveTo>
                <a:cubicBezTo>
                  <a:pt x="667" y="32"/>
                  <a:pt x="664" y="29"/>
                  <a:pt x="663" y="25"/>
                </a:cubicBezTo>
                <a:cubicBezTo>
                  <a:pt x="663" y="23"/>
                  <a:pt x="663" y="21"/>
                  <a:pt x="664" y="19"/>
                </a:cubicBezTo>
                <a:cubicBezTo>
                  <a:pt x="666" y="17"/>
                  <a:pt x="668" y="16"/>
                  <a:pt x="670" y="15"/>
                </a:cubicBezTo>
                <a:cubicBezTo>
                  <a:pt x="702" y="9"/>
                  <a:pt x="734" y="5"/>
                  <a:pt x="766" y="3"/>
                </a:cubicBezTo>
                <a:cubicBezTo>
                  <a:pt x="766" y="3"/>
                  <a:pt x="766" y="3"/>
                  <a:pt x="766" y="3"/>
                </a:cubicBezTo>
                <a:cubicBezTo>
                  <a:pt x="804" y="0"/>
                  <a:pt x="843" y="0"/>
                  <a:pt x="880" y="3"/>
                </a:cubicBezTo>
                <a:cubicBezTo>
                  <a:pt x="885" y="3"/>
                  <a:pt x="888" y="7"/>
                  <a:pt x="888" y="12"/>
                </a:cubicBezTo>
                <a:cubicBezTo>
                  <a:pt x="888" y="16"/>
                  <a:pt x="884" y="20"/>
                  <a:pt x="879" y="20"/>
                </a:cubicBezTo>
                <a:cubicBezTo>
                  <a:pt x="842" y="17"/>
                  <a:pt x="804" y="17"/>
                  <a:pt x="767" y="20"/>
                </a:cubicBezTo>
                <a:cubicBezTo>
                  <a:pt x="767" y="20"/>
                  <a:pt x="767" y="20"/>
                  <a:pt x="767" y="20"/>
                </a:cubicBezTo>
                <a:cubicBezTo>
                  <a:pt x="736" y="22"/>
                  <a:pt x="704" y="26"/>
                  <a:pt x="673" y="32"/>
                </a:cubicBezTo>
                <a:cubicBezTo>
                  <a:pt x="672" y="32"/>
                  <a:pt x="672" y="32"/>
                  <a:pt x="671" y="32"/>
                </a:cubicBezTo>
                <a:close/>
                <a:moveTo>
                  <a:pt x="908" y="22"/>
                </a:moveTo>
                <a:cubicBezTo>
                  <a:pt x="908" y="22"/>
                  <a:pt x="907" y="22"/>
                  <a:pt x="907" y="22"/>
                </a:cubicBezTo>
                <a:cubicBezTo>
                  <a:pt x="905" y="22"/>
                  <a:pt x="903" y="21"/>
                  <a:pt x="901" y="19"/>
                </a:cubicBezTo>
                <a:cubicBezTo>
                  <a:pt x="900" y="17"/>
                  <a:pt x="899" y="15"/>
                  <a:pt x="899" y="13"/>
                </a:cubicBezTo>
                <a:cubicBezTo>
                  <a:pt x="900" y="8"/>
                  <a:pt x="904" y="5"/>
                  <a:pt x="909" y="5"/>
                </a:cubicBezTo>
                <a:cubicBezTo>
                  <a:pt x="913" y="6"/>
                  <a:pt x="917" y="10"/>
                  <a:pt x="916" y="14"/>
                </a:cubicBezTo>
                <a:cubicBezTo>
                  <a:pt x="916" y="19"/>
                  <a:pt x="912" y="22"/>
                  <a:pt x="908" y="22"/>
                </a:cubicBezTo>
                <a:close/>
              </a:path>
            </a:pathLst>
          </a:custGeom>
          <a:solidFill>
            <a:schemeClr val="accent2"/>
          </a:solidFill>
          <a:ln>
            <a:noFill/>
          </a:ln>
        </p:spPr>
        <p:txBody>
          <a:bodyPr vert="horz" wrap="square" lIns="45714" tIns="22857" rIns="45714" bIns="22857" numCol="1" anchor="t" anchorCtr="0" compatLnSpc="1">
            <a:prstTxWarp prst="textNoShape">
              <a:avLst/>
            </a:prstTxWarp>
          </a:body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US" sz="900" b="0" i="0" u="none" strike="noStrike" kern="1200" cap="none" spc="0" normalizeH="0" baseline="0" noProof="0">
              <a:ln>
                <a:noFill/>
              </a:ln>
              <a:solidFill>
                <a:srgbClr val="343A3F"/>
              </a:solidFill>
              <a:effectLst/>
              <a:uLnTx/>
              <a:uFillTx/>
              <a:latin typeface="Roboto Light"/>
              <a:ea typeface="+mn-ea"/>
              <a:cs typeface="+mn-cs"/>
            </a:endParaRPr>
          </a:p>
        </p:txBody>
      </p:sp>
      <p:sp>
        <p:nvSpPr>
          <p:cNvPr id="15" name="Freeform 12">
            <a:extLst>
              <a:ext uri="{FF2B5EF4-FFF2-40B4-BE49-F238E27FC236}">
                <a16:creationId xmlns:a16="http://schemas.microsoft.com/office/drawing/2014/main" id="{D060AF10-E8BF-4C04-B5CB-38D1876A209C}"/>
              </a:ext>
            </a:extLst>
          </p:cNvPr>
          <p:cNvSpPr>
            <a:spLocks noEditPoints="1"/>
          </p:cNvSpPr>
          <p:nvPr/>
        </p:nvSpPr>
        <p:spPr bwMode="auto">
          <a:xfrm>
            <a:off x="4433843" y="1614991"/>
            <a:ext cx="3324314" cy="3323257"/>
          </a:xfrm>
          <a:custGeom>
            <a:avLst/>
            <a:gdLst>
              <a:gd name="T0" fmla="*/ 922 w 1572"/>
              <a:gd name="T1" fmla="*/ 1542 h 1571"/>
              <a:gd name="T2" fmla="*/ 1160 w 1572"/>
              <a:gd name="T3" fmla="*/ 1467 h 1571"/>
              <a:gd name="T4" fmla="*/ 925 w 1572"/>
              <a:gd name="T5" fmla="*/ 1559 h 1571"/>
              <a:gd name="T6" fmla="*/ 743 w 1572"/>
              <a:gd name="T7" fmla="*/ 1570 h 1571"/>
              <a:gd name="T8" fmla="*/ 744 w 1572"/>
              <a:gd name="T9" fmla="*/ 1553 h 1571"/>
              <a:gd name="T10" fmla="*/ 680 w 1572"/>
              <a:gd name="T11" fmla="*/ 1564 h 1571"/>
              <a:gd name="T12" fmla="*/ 342 w 1572"/>
              <a:gd name="T13" fmla="*/ 1434 h 1571"/>
              <a:gd name="T14" fmla="*/ 453 w 1572"/>
              <a:gd name="T15" fmla="*/ 1479 h 1571"/>
              <a:gd name="T16" fmla="*/ 681 w 1572"/>
              <a:gd name="T17" fmla="*/ 1564 h 1571"/>
              <a:gd name="T18" fmla="*/ 1201 w 1572"/>
              <a:gd name="T19" fmla="*/ 1433 h 1571"/>
              <a:gd name="T20" fmla="*/ 1187 w 1572"/>
              <a:gd name="T21" fmla="*/ 1460 h 1571"/>
              <a:gd name="T22" fmla="*/ 1304 w 1572"/>
              <a:gd name="T23" fmla="*/ 1353 h 1571"/>
              <a:gd name="T24" fmla="*/ 1257 w 1572"/>
              <a:gd name="T25" fmla="*/ 1412 h 1571"/>
              <a:gd name="T26" fmla="*/ 273 w 1572"/>
              <a:gd name="T27" fmla="*/ 1370 h 1571"/>
              <a:gd name="T28" fmla="*/ 297 w 1572"/>
              <a:gd name="T29" fmla="*/ 1398 h 1571"/>
              <a:gd name="T30" fmla="*/ 95 w 1572"/>
              <a:gd name="T31" fmla="*/ 1161 h 1571"/>
              <a:gd name="T32" fmla="*/ 51 w 1572"/>
              <a:gd name="T33" fmla="*/ 1040 h 1571"/>
              <a:gd name="T34" fmla="*/ 110 w 1572"/>
              <a:gd name="T35" fmla="*/ 1153 h 1571"/>
              <a:gd name="T36" fmla="*/ 250 w 1572"/>
              <a:gd name="T37" fmla="*/ 1357 h 1571"/>
              <a:gd name="T38" fmla="*/ 1486 w 1572"/>
              <a:gd name="T39" fmla="*/ 1104 h 1571"/>
              <a:gd name="T40" fmla="*/ 1360 w 1572"/>
              <a:gd name="T41" fmla="*/ 1318 h 1571"/>
              <a:gd name="T42" fmla="*/ 1507 w 1572"/>
              <a:gd name="T43" fmla="*/ 1051 h 1571"/>
              <a:gd name="T44" fmla="*/ 1523 w 1572"/>
              <a:gd name="T45" fmla="*/ 1057 h 1571"/>
              <a:gd name="T46" fmla="*/ 1534 w 1572"/>
              <a:gd name="T47" fmla="*/ 999 h 1571"/>
              <a:gd name="T48" fmla="*/ 1555 w 1572"/>
              <a:gd name="T49" fmla="*/ 785 h 1571"/>
              <a:gd name="T50" fmla="*/ 1556 w 1572"/>
              <a:gd name="T51" fmla="*/ 630 h 1571"/>
              <a:gd name="T52" fmla="*/ 1567 w 1572"/>
              <a:gd name="T53" fmla="*/ 875 h 1571"/>
              <a:gd name="T54" fmla="*/ 27 w 1572"/>
              <a:gd name="T55" fmla="*/ 991 h 1571"/>
              <a:gd name="T56" fmla="*/ 43 w 1572"/>
              <a:gd name="T57" fmla="*/ 987 h 1571"/>
              <a:gd name="T58" fmla="*/ 13 w 1572"/>
              <a:gd name="T59" fmla="*/ 930 h 1571"/>
              <a:gd name="T60" fmla="*/ 6 w 1572"/>
              <a:gd name="T61" fmla="*/ 685 h 1571"/>
              <a:gd name="T62" fmla="*/ 23 w 1572"/>
              <a:gd name="T63" fmla="*/ 687 h 1571"/>
              <a:gd name="T64" fmla="*/ 30 w 1572"/>
              <a:gd name="T65" fmla="*/ 927 h 1571"/>
              <a:gd name="T66" fmla="*/ 1531 w 1572"/>
              <a:gd name="T67" fmla="*/ 595 h 1571"/>
              <a:gd name="T68" fmla="*/ 1547 w 1572"/>
              <a:gd name="T69" fmla="*/ 591 h 1571"/>
              <a:gd name="T70" fmla="*/ 1506 w 1572"/>
              <a:gd name="T71" fmla="*/ 515 h 1571"/>
              <a:gd name="T72" fmla="*/ 1317 w 1572"/>
              <a:gd name="T73" fmla="*/ 229 h 1571"/>
              <a:gd name="T74" fmla="*/ 1329 w 1572"/>
              <a:gd name="T75" fmla="*/ 217 h 1571"/>
              <a:gd name="T76" fmla="*/ 1522 w 1572"/>
              <a:gd name="T77" fmla="*/ 509 h 1571"/>
              <a:gd name="T78" fmla="*/ 55 w 1572"/>
              <a:gd name="T79" fmla="*/ 519 h 1571"/>
              <a:gd name="T80" fmla="*/ 74 w 1572"/>
              <a:gd name="T81" fmla="*/ 493 h 1571"/>
              <a:gd name="T82" fmla="*/ 79 w 1572"/>
              <a:gd name="T83" fmla="*/ 461 h 1571"/>
              <a:gd name="T84" fmla="*/ 230 w 1572"/>
              <a:gd name="T85" fmla="*/ 229 h 1571"/>
              <a:gd name="T86" fmla="*/ 242 w 1572"/>
              <a:gd name="T87" fmla="*/ 241 h 1571"/>
              <a:gd name="T88" fmla="*/ 82 w 1572"/>
              <a:gd name="T89" fmla="*/ 462 h 1571"/>
              <a:gd name="T90" fmla="*/ 1260 w 1572"/>
              <a:gd name="T91" fmla="*/ 169 h 1571"/>
              <a:gd name="T92" fmla="*/ 1284 w 1572"/>
              <a:gd name="T93" fmla="*/ 197 h 1571"/>
              <a:gd name="T94" fmla="*/ 1109 w 1572"/>
              <a:gd name="T95" fmla="*/ 87 h 1571"/>
              <a:gd name="T96" fmla="*/ 880 w 1572"/>
              <a:gd name="T97" fmla="*/ 5 h 1571"/>
              <a:gd name="T98" fmla="*/ 1221 w 1572"/>
              <a:gd name="T99" fmla="*/ 131 h 1571"/>
              <a:gd name="T100" fmla="*/ 349 w 1572"/>
              <a:gd name="T101" fmla="*/ 141 h 1571"/>
              <a:gd name="T102" fmla="*/ 380 w 1572"/>
              <a:gd name="T103" fmla="*/ 132 h 1571"/>
              <a:gd name="T104" fmla="*/ 402 w 1572"/>
              <a:gd name="T105" fmla="*/ 109 h 1571"/>
              <a:gd name="T106" fmla="*/ 636 w 1572"/>
              <a:gd name="T107" fmla="*/ 14 h 1571"/>
              <a:gd name="T108" fmla="*/ 639 w 1572"/>
              <a:gd name="T109" fmla="*/ 30 h 1571"/>
              <a:gd name="T110" fmla="*/ 410 w 1572"/>
              <a:gd name="T111" fmla="*/ 113 h 1571"/>
              <a:gd name="T112" fmla="*/ 809 w 1572"/>
              <a:gd name="T113" fmla="*/ 8 h 1571"/>
              <a:gd name="T114" fmla="*/ 840 w 1572"/>
              <a:gd name="T115" fmla="*/ 18 h 15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72" h="1571">
                <a:moveTo>
                  <a:pt x="805" y="1571"/>
                </a:moveTo>
                <a:cubicBezTo>
                  <a:pt x="801" y="1571"/>
                  <a:pt x="797" y="1567"/>
                  <a:pt x="797" y="1563"/>
                </a:cubicBezTo>
                <a:cubicBezTo>
                  <a:pt x="797" y="1558"/>
                  <a:pt x="800" y="1554"/>
                  <a:pt x="805" y="1554"/>
                </a:cubicBezTo>
                <a:cubicBezTo>
                  <a:pt x="844" y="1553"/>
                  <a:pt x="883" y="1549"/>
                  <a:pt x="922" y="1542"/>
                </a:cubicBezTo>
                <a:cubicBezTo>
                  <a:pt x="922" y="1542"/>
                  <a:pt x="922" y="1542"/>
                  <a:pt x="922" y="1542"/>
                </a:cubicBezTo>
                <a:cubicBezTo>
                  <a:pt x="966" y="1534"/>
                  <a:pt x="1010" y="1523"/>
                  <a:pt x="1052" y="1507"/>
                </a:cubicBezTo>
                <a:cubicBezTo>
                  <a:pt x="1085" y="1495"/>
                  <a:pt x="1117" y="1480"/>
                  <a:pt x="1148" y="1464"/>
                </a:cubicBezTo>
                <a:cubicBezTo>
                  <a:pt x="1152" y="1462"/>
                  <a:pt x="1158" y="1463"/>
                  <a:pt x="1160" y="1467"/>
                </a:cubicBezTo>
                <a:cubicBezTo>
                  <a:pt x="1162" y="1471"/>
                  <a:pt x="1160" y="1476"/>
                  <a:pt x="1156" y="1479"/>
                </a:cubicBezTo>
                <a:cubicBezTo>
                  <a:pt x="1124" y="1496"/>
                  <a:pt x="1091" y="1511"/>
                  <a:pt x="1057" y="1523"/>
                </a:cubicBezTo>
                <a:cubicBezTo>
                  <a:pt x="1015" y="1539"/>
                  <a:pt x="970" y="1551"/>
                  <a:pt x="925" y="1559"/>
                </a:cubicBezTo>
                <a:cubicBezTo>
                  <a:pt x="925" y="1559"/>
                  <a:pt x="925" y="1559"/>
                  <a:pt x="925" y="1559"/>
                </a:cubicBezTo>
                <a:cubicBezTo>
                  <a:pt x="886" y="1566"/>
                  <a:pt x="845" y="1570"/>
                  <a:pt x="806" y="1571"/>
                </a:cubicBezTo>
                <a:cubicBezTo>
                  <a:pt x="806" y="1571"/>
                  <a:pt x="805" y="1571"/>
                  <a:pt x="805" y="1571"/>
                </a:cubicBezTo>
                <a:close/>
                <a:moveTo>
                  <a:pt x="743" y="1570"/>
                </a:moveTo>
                <a:cubicBezTo>
                  <a:pt x="743" y="1570"/>
                  <a:pt x="743" y="1570"/>
                  <a:pt x="743" y="1570"/>
                </a:cubicBezTo>
                <a:cubicBezTo>
                  <a:pt x="735" y="1570"/>
                  <a:pt x="727" y="1569"/>
                  <a:pt x="720" y="1569"/>
                </a:cubicBezTo>
                <a:cubicBezTo>
                  <a:pt x="715" y="1568"/>
                  <a:pt x="712" y="1564"/>
                  <a:pt x="712" y="1559"/>
                </a:cubicBezTo>
                <a:cubicBezTo>
                  <a:pt x="713" y="1555"/>
                  <a:pt x="717" y="1551"/>
                  <a:pt x="721" y="1552"/>
                </a:cubicBezTo>
                <a:cubicBezTo>
                  <a:pt x="729" y="1552"/>
                  <a:pt x="736" y="1553"/>
                  <a:pt x="744" y="1553"/>
                </a:cubicBezTo>
                <a:cubicBezTo>
                  <a:pt x="748" y="1553"/>
                  <a:pt x="752" y="1557"/>
                  <a:pt x="752" y="1562"/>
                </a:cubicBezTo>
                <a:cubicBezTo>
                  <a:pt x="751" y="1567"/>
                  <a:pt x="748" y="1570"/>
                  <a:pt x="743" y="1570"/>
                </a:cubicBezTo>
                <a:close/>
                <a:moveTo>
                  <a:pt x="681" y="1564"/>
                </a:moveTo>
                <a:cubicBezTo>
                  <a:pt x="681" y="1564"/>
                  <a:pt x="681" y="1564"/>
                  <a:pt x="680" y="1564"/>
                </a:cubicBezTo>
                <a:cubicBezTo>
                  <a:pt x="605" y="1554"/>
                  <a:pt x="533" y="1534"/>
                  <a:pt x="464" y="1503"/>
                </a:cubicBezTo>
                <a:cubicBezTo>
                  <a:pt x="458" y="1500"/>
                  <a:pt x="452" y="1497"/>
                  <a:pt x="446" y="1494"/>
                </a:cubicBezTo>
                <a:cubicBezTo>
                  <a:pt x="446" y="1494"/>
                  <a:pt x="446" y="1494"/>
                  <a:pt x="445" y="1494"/>
                </a:cubicBezTo>
                <a:cubicBezTo>
                  <a:pt x="410" y="1477"/>
                  <a:pt x="375" y="1457"/>
                  <a:pt x="342" y="1434"/>
                </a:cubicBezTo>
                <a:cubicBezTo>
                  <a:pt x="338" y="1431"/>
                  <a:pt x="337" y="1426"/>
                  <a:pt x="339" y="1422"/>
                </a:cubicBezTo>
                <a:cubicBezTo>
                  <a:pt x="342" y="1418"/>
                  <a:pt x="347" y="1417"/>
                  <a:pt x="351" y="1420"/>
                </a:cubicBezTo>
                <a:cubicBezTo>
                  <a:pt x="383" y="1442"/>
                  <a:pt x="418" y="1462"/>
                  <a:pt x="453" y="1479"/>
                </a:cubicBezTo>
                <a:cubicBezTo>
                  <a:pt x="453" y="1479"/>
                  <a:pt x="453" y="1479"/>
                  <a:pt x="453" y="1479"/>
                </a:cubicBezTo>
                <a:cubicBezTo>
                  <a:pt x="459" y="1482"/>
                  <a:pt x="465" y="1485"/>
                  <a:pt x="471" y="1487"/>
                </a:cubicBezTo>
                <a:cubicBezTo>
                  <a:pt x="538" y="1517"/>
                  <a:pt x="609" y="1538"/>
                  <a:pt x="682" y="1547"/>
                </a:cubicBezTo>
                <a:cubicBezTo>
                  <a:pt x="687" y="1548"/>
                  <a:pt x="690" y="1552"/>
                  <a:pt x="690" y="1557"/>
                </a:cubicBezTo>
                <a:cubicBezTo>
                  <a:pt x="689" y="1561"/>
                  <a:pt x="685" y="1564"/>
                  <a:pt x="681" y="1564"/>
                </a:cubicBezTo>
                <a:close/>
                <a:moveTo>
                  <a:pt x="1187" y="1460"/>
                </a:moveTo>
                <a:cubicBezTo>
                  <a:pt x="1184" y="1460"/>
                  <a:pt x="1181" y="1459"/>
                  <a:pt x="1179" y="1456"/>
                </a:cubicBezTo>
                <a:cubicBezTo>
                  <a:pt x="1177" y="1452"/>
                  <a:pt x="1178" y="1447"/>
                  <a:pt x="1182" y="1444"/>
                </a:cubicBezTo>
                <a:cubicBezTo>
                  <a:pt x="1189" y="1441"/>
                  <a:pt x="1195" y="1437"/>
                  <a:pt x="1201" y="1433"/>
                </a:cubicBezTo>
                <a:cubicBezTo>
                  <a:pt x="1205" y="1430"/>
                  <a:pt x="1211" y="1431"/>
                  <a:pt x="1213" y="1435"/>
                </a:cubicBezTo>
                <a:cubicBezTo>
                  <a:pt x="1216" y="1439"/>
                  <a:pt x="1214" y="1444"/>
                  <a:pt x="1211" y="1447"/>
                </a:cubicBezTo>
                <a:cubicBezTo>
                  <a:pt x="1204" y="1451"/>
                  <a:pt x="1198" y="1455"/>
                  <a:pt x="1191" y="1459"/>
                </a:cubicBezTo>
                <a:cubicBezTo>
                  <a:pt x="1190" y="1460"/>
                  <a:pt x="1188" y="1460"/>
                  <a:pt x="1187" y="1460"/>
                </a:cubicBezTo>
                <a:close/>
                <a:moveTo>
                  <a:pt x="1257" y="1412"/>
                </a:moveTo>
                <a:cubicBezTo>
                  <a:pt x="1254" y="1412"/>
                  <a:pt x="1252" y="1411"/>
                  <a:pt x="1250" y="1409"/>
                </a:cubicBezTo>
                <a:cubicBezTo>
                  <a:pt x="1247" y="1405"/>
                  <a:pt x="1248" y="1400"/>
                  <a:pt x="1252" y="1397"/>
                </a:cubicBezTo>
                <a:cubicBezTo>
                  <a:pt x="1270" y="1383"/>
                  <a:pt x="1287" y="1369"/>
                  <a:pt x="1304" y="1353"/>
                </a:cubicBezTo>
                <a:cubicBezTo>
                  <a:pt x="1308" y="1350"/>
                  <a:pt x="1313" y="1351"/>
                  <a:pt x="1316" y="1354"/>
                </a:cubicBezTo>
                <a:cubicBezTo>
                  <a:pt x="1319" y="1357"/>
                  <a:pt x="1319" y="1363"/>
                  <a:pt x="1316" y="1366"/>
                </a:cubicBezTo>
                <a:cubicBezTo>
                  <a:pt x="1298" y="1382"/>
                  <a:pt x="1280" y="1397"/>
                  <a:pt x="1262" y="1411"/>
                </a:cubicBezTo>
                <a:cubicBezTo>
                  <a:pt x="1260" y="1412"/>
                  <a:pt x="1259" y="1412"/>
                  <a:pt x="1257" y="1412"/>
                </a:cubicBezTo>
                <a:close/>
                <a:moveTo>
                  <a:pt x="297" y="1398"/>
                </a:moveTo>
                <a:cubicBezTo>
                  <a:pt x="295" y="1398"/>
                  <a:pt x="293" y="1398"/>
                  <a:pt x="291" y="1396"/>
                </a:cubicBezTo>
                <a:cubicBezTo>
                  <a:pt x="285" y="1392"/>
                  <a:pt x="279" y="1387"/>
                  <a:pt x="274" y="1382"/>
                </a:cubicBezTo>
                <a:cubicBezTo>
                  <a:pt x="270" y="1379"/>
                  <a:pt x="270" y="1373"/>
                  <a:pt x="273" y="1370"/>
                </a:cubicBezTo>
                <a:cubicBezTo>
                  <a:pt x="276" y="1366"/>
                  <a:pt x="281" y="1366"/>
                  <a:pt x="285" y="1369"/>
                </a:cubicBezTo>
                <a:cubicBezTo>
                  <a:pt x="290" y="1374"/>
                  <a:pt x="296" y="1378"/>
                  <a:pt x="302" y="1383"/>
                </a:cubicBezTo>
                <a:cubicBezTo>
                  <a:pt x="306" y="1386"/>
                  <a:pt x="306" y="1392"/>
                  <a:pt x="303" y="1395"/>
                </a:cubicBezTo>
                <a:cubicBezTo>
                  <a:pt x="302" y="1397"/>
                  <a:pt x="299" y="1398"/>
                  <a:pt x="297" y="1398"/>
                </a:cubicBezTo>
                <a:close/>
                <a:moveTo>
                  <a:pt x="250" y="1357"/>
                </a:moveTo>
                <a:cubicBezTo>
                  <a:pt x="248" y="1357"/>
                  <a:pt x="246" y="1356"/>
                  <a:pt x="244" y="1355"/>
                </a:cubicBezTo>
                <a:cubicBezTo>
                  <a:pt x="235" y="1346"/>
                  <a:pt x="226" y="1337"/>
                  <a:pt x="217" y="1328"/>
                </a:cubicBezTo>
                <a:cubicBezTo>
                  <a:pt x="169" y="1278"/>
                  <a:pt x="128" y="1222"/>
                  <a:pt x="95" y="1161"/>
                </a:cubicBezTo>
                <a:cubicBezTo>
                  <a:pt x="95" y="1161"/>
                  <a:pt x="95" y="1161"/>
                  <a:pt x="95" y="1161"/>
                </a:cubicBezTo>
                <a:cubicBezTo>
                  <a:pt x="80" y="1133"/>
                  <a:pt x="66" y="1103"/>
                  <a:pt x="54" y="1074"/>
                </a:cubicBezTo>
                <a:cubicBezTo>
                  <a:pt x="51" y="1066"/>
                  <a:pt x="48" y="1059"/>
                  <a:pt x="46" y="1051"/>
                </a:cubicBezTo>
                <a:cubicBezTo>
                  <a:pt x="44" y="1047"/>
                  <a:pt x="46" y="1042"/>
                  <a:pt x="51" y="1040"/>
                </a:cubicBezTo>
                <a:cubicBezTo>
                  <a:pt x="55" y="1039"/>
                  <a:pt x="60" y="1041"/>
                  <a:pt x="62" y="1046"/>
                </a:cubicBezTo>
                <a:cubicBezTo>
                  <a:pt x="64" y="1053"/>
                  <a:pt x="67" y="1060"/>
                  <a:pt x="70" y="1068"/>
                </a:cubicBezTo>
                <a:cubicBezTo>
                  <a:pt x="81" y="1097"/>
                  <a:pt x="95" y="1125"/>
                  <a:pt x="110" y="1153"/>
                </a:cubicBezTo>
                <a:cubicBezTo>
                  <a:pt x="110" y="1153"/>
                  <a:pt x="110" y="1153"/>
                  <a:pt x="110" y="1153"/>
                </a:cubicBezTo>
                <a:cubicBezTo>
                  <a:pt x="142" y="1212"/>
                  <a:pt x="183" y="1267"/>
                  <a:pt x="230" y="1316"/>
                </a:cubicBezTo>
                <a:cubicBezTo>
                  <a:pt x="238" y="1325"/>
                  <a:pt x="247" y="1334"/>
                  <a:pt x="256" y="1343"/>
                </a:cubicBezTo>
                <a:cubicBezTo>
                  <a:pt x="259" y="1346"/>
                  <a:pt x="259" y="1351"/>
                  <a:pt x="256" y="1355"/>
                </a:cubicBezTo>
                <a:cubicBezTo>
                  <a:pt x="254" y="1356"/>
                  <a:pt x="252" y="1357"/>
                  <a:pt x="250" y="1357"/>
                </a:cubicBezTo>
                <a:close/>
                <a:moveTo>
                  <a:pt x="1360" y="1318"/>
                </a:moveTo>
                <a:cubicBezTo>
                  <a:pt x="1358" y="1318"/>
                  <a:pt x="1356" y="1317"/>
                  <a:pt x="1354" y="1316"/>
                </a:cubicBezTo>
                <a:cubicBezTo>
                  <a:pt x="1351" y="1313"/>
                  <a:pt x="1351" y="1307"/>
                  <a:pt x="1354" y="1304"/>
                </a:cubicBezTo>
                <a:cubicBezTo>
                  <a:pt x="1408" y="1244"/>
                  <a:pt x="1453" y="1177"/>
                  <a:pt x="1486" y="1104"/>
                </a:cubicBezTo>
                <a:cubicBezTo>
                  <a:pt x="1488" y="1100"/>
                  <a:pt x="1493" y="1098"/>
                  <a:pt x="1497" y="1100"/>
                </a:cubicBezTo>
                <a:cubicBezTo>
                  <a:pt x="1501" y="1102"/>
                  <a:pt x="1503" y="1107"/>
                  <a:pt x="1501" y="1111"/>
                </a:cubicBezTo>
                <a:cubicBezTo>
                  <a:pt x="1467" y="1186"/>
                  <a:pt x="1422" y="1254"/>
                  <a:pt x="1366" y="1315"/>
                </a:cubicBezTo>
                <a:cubicBezTo>
                  <a:pt x="1365" y="1317"/>
                  <a:pt x="1362" y="1318"/>
                  <a:pt x="1360" y="1318"/>
                </a:cubicBezTo>
                <a:close/>
                <a:moveTo>
                  <a:pt x="1509" y="1079"/>
                </a:moveTo>
                <a:cubicBezTo>
                  <a:pt x="1508" y="1079"/>
                  <a:pt x="1507" y="1079"/>
                  <a:pt x="1506" y="1079"/>
                </a:cubicBezTo>
                <a:cubicBezTo>
                  <a:pt x="1502" y="1077"/>
                  <a:pt x="1499" y="1072"/>
                  <a:pt x="1501" y="1068"/>
                </a:cubicBezTo>
                <a:cubicBezTo>
                  <a:pt x="1503" y="1062"/>
                  <a:pt x="1505" y="1057"/>
                  <a:pt x="1507" y="1051"/>
                </a:cubicBezTo>
                <a:cubicBezTo>
                  <a:pt x="1509" y="1047"/>
                  <a:pt x="1509" y="1047"/>
                  <a:pt x="1509" y="1047"/>
                </a:cubicBezTo>
                <a:cubicBezTo>
                  <a:pt x="1511" y="1042"/>
                  <a:pt x="1516" y="1040"/>
                  <a:pt x="1520" y="1042"/>
                </a:cubicBezTo>
                <a:cubicBezTo>
                  <a:pt x="1524" y="1043"/>
                  <a:pt x="1527" y="1048"/>
                  <a:pt x="1525" y="1053"/>
                </a:cubicBezTo>
                <a:cubicBezTo>
                  <a:pt x="1523" y="1057"/>
                  <a:pt x="1523" y="1057"/>
                  <a:pt x="1523" y="1057"/>
                </a:cubicBezTo>
                <a:cubicBezTo>
                  <a:pt x="1521" y="1063"/>
                  <a:pt x="1519" y="1068"/>
                  <a:pt x="1517" y="1074"/>
                </a:cubicBezTo>
                <a:cubicBezTo>
                  <a:pt x="1516" y="1077"/>
                  <a:pt x="1512" y="1079"/>
                  <a:pt x="1509" y="1079"/>
                </a:cubicBezTo>
                <a:close/>
                <a:moveTo>
                  <a:pt x="1536" y="999"/>
                </a:moveTo>
                <a:cubicBezTo>
                  <a:pt x="1535" y="999"/>
                  <a:pt x="1534" y="999"/>
                  <a:pt x="1534" y="999"/>
                </a:cubicBezTo>
                <a:cubicBezTo>
                  <a:pt x="1529" y="997"/>
                  <a:pt x="1526" y="993"/>
                  <a:pt x="1528" y="988"/>
                </a:cubicBezTo>
                <a:cubicBezTo>
                  <a:pt x="1538" y="951"/>
                  <a:pt x="1545" y="912"/>
                  <a:pt x="1550" y="873"/>
                </a:cubicBezTo>
                <a:cubicBezTo>
                  <a:pt x="1550" y="873"/>
                  <a:pt x="1550" y="873"/>
                  <a:pt x="1550" y="873"/>
                </a:cubicBezTo>
                <a:cubicBezTo>
                  <a:pt x="1553" y="844"/>
                  <a:pt x="1555" y="814"/>
                  <a:pt x="1555" y="785"/>
                </a:cubicBezTo>
                <a:cubicBezTo>
                  <a:pt x="1555" y="777"/>
                  <a:pt x="1555" y="768"/>
                  <a:pt x="1554" y="759"/>
                </a:cubicBezTo>
                <a:cubicBezTo>
                  <a:pt x="1553" y="717"/>
                  <a:pt x="1548" y="675"/>
                  <a:pt x="1540" y="633"/>
                </a:cubicBezTo>
                <a:cubicBezTo>
                  <a:pt x="1539" y="629"/>
                  <a:pt x="1542" y="624"/>
                  <a:pt x="1546" y="623"/>
                </a:cubicBezTo>
                <a:cubicBezTo>
                  <a:pt x="1551" y="623"/>
                  <a:pt x="1555" y="626"/>
                  <a:pt x="1556" y="630"/>
                </a:cubicBezTo>
                <a:cubicBezTo>
                  <a:pt x="1565" y="672"/>
                  <a:pt x="1570" y="716"/>
                  <a:pt x="1571" y="758"/>
                </a:cubicBezTo>
                <a:cubicBezTo>
                  <a:pt x="1572" y="767"/>
                  <a:pt x="1572" y="776"/>
                  <a:pt x="1572" y="785"/>
                </a:cubicBezTo>
                <a:cubicBezTo>
                  <a:pt x="1572" y="815"/>
                  <a:pt x="1570" y="845"/>
                  <a:pt x="1567" y="875"/>
                </a:cubicBezTo>
                <a:cubicBezTo>
                  <a:pt x="1567" y="875"/>
                  <a:pt x="1567" y="875"/>
                  <a:pt x="1567" y="875"/>
                </a:cubicBezTo>
                <a:cubicBezTo>
                  <a:pt x="1562" y="915"/>
                  <a:pt x="1554" y="954"/>
                  <a:pt x="1544" y="993"/>
                </a:cubicBezTo>
                <a:cubicBezTo>
                  <a:pt x="1543" y="996"/>
                  <a:pt x="1540" y="999"/>
                  <a:pt x="1536" y="999"/>
                </a:cubicBezTo>
                <a:close/>
                <a:moveTo>
                  <a:pt x="35" y="998"/>
                </a:moveTo>
                <a:cubicBezTo>
                  <a:pt x="31" y="998"/>
                  <a:pt x="28" y="995"/>
                  <a:pt x="27" y="991"/>
                </a:cubicBezTo>
                <a:cubicBezTo>
                  <a:pt x="25" y="984"/>
                  <a:pt x="23" y="976"/>
                  <a:pt x="21" y="969"/>
                </a:cubicBezTo>
                <a:cubicBezTo>
                  <a:pt x="20" y="965"/>
                  <a:pt x="23" y="960"/>
                  <a:pt x="28" y="959"/>
                </a:cubicBezTo>
                <a:cubicBezTo>
                  <a:pt x="32" y="958"/>
                  <a:pt x="37" y="961"/>
                  <a:pt x="38" y="965"/>
                </a:cubicBezTo>
                <a:cubicBezTo>
                  <a:pt x="39" y="972"/>
                  <a:pt x="41" y="980"/>
                  <a:pt x="43" y="987"/>
                </a:cubicBezTo>
                <a:cubicBezTo>
                  <a:pt x="44" y="991"/>
                  <a:pt x="42" y="996"/>
                  <a:pt x="37" y="997"/>
                </a:cubicBezTo>
                <a:cubicBezTo>
                  <a:pt x="37" y="997"/>
                  <a:pt x="36" y="998"/>
                  <a:pt x="35" y="998"/>
                </a:cubicBezTo>
                <a:close/>
                <a:moveTo>
                  <a:pt x="21" y="937"/>
                </a:moveTo>
                <a:cubicBezTo>
                  <a:pt x="17" y="937"/>
                  <a:pt x="14" y="934"/>
                  <a:pt x="13" y="930"/>
                </a:cubicBezTo>
                <a:cubicBezTo>
                  <a:pt x="4" y="882"/>
                  <a:pt x="0" y="834"/>
                  <a:pt x="0" y="786"/>
                </a:cubicBezTo>
                <a:cubicBezTo>
                  <a:pt x="0" y="783"/>
                  <a:pt x="0" y="779"/>
                  <a:pt x="0" y="776"/>
                </a:cubicBezTo>
                <a:cubicBezTo>
                  <a:pt x="0" y="746"/>
                  <a:pt x="2" y="715"/>
                  <a:pt x="6" y="685"/>
                </a:cubicBezTo>
                <a:cubicBezTo>
                  <a:pt x="6" y="685"/>
                  <a:pt x="6" y="685"/>
                  <a:pt x="6" y="685"/>
                </a:cubicBezTo>
                <a:cubicBezTo>
                  <a:pt x="11" y="645"/>
                  <a:pt x="19" y="606"/>
                  <a:pt x="30" y="568"/>
                </a:cubicBezTo>
                <a:cubicBezTo>
                  <a:pt x="32" y="563"/>
                  <a:pt x="36" y="560"/>
                  <a:pt x="41" y="562"/>
                </a:cubicBezTo>
                <a:cubicBezTo>
                  <a:pt x="45" y="563"/>
                  <a:pt x="48" y="568"/>
                  <a:pt x="47" y="572"/>
                </a:cubicBezTo>
                <a:cubicBezTo>
                  <a:pt x="36" y="610"/>
                  <a:pt x="28" y="648"/>
                  <a:pt x="23" y="687"/>
                </a:cubicBezTo>
                <a:cubicBezTo>
                  <a:pt x="23" y="687"/>
                  <a:pt x="23" y="687"/>
                  <a:pt x="23" y="687"/>
                </a:cubicBezTo>
                <a:cubicBezTo>
                  <a:pt x="19" y="717"/>
                  <a:pt x="17" y="747"/>
                  <a:pt x="17" y="777"/>
                </a:cubicBezTo>
                <a:cubicBezTo>
                  <a:pt x="17" y="780"/>
                  <a:pt x="17" y="783"/>
                  <a:pt x="17" y="786"/>
                </a:cubicBezTo>
                <a:cubicBezTo>
                  <a:pt x="17" y="833"/>
                  <a:pt x="21" y="880"/>
                  <a:pt x="30" y="927"/>
                </a:cubicBezTo>
                <a:cubicBezTo>
                  <a:pt x="30" y="931"/>
                  <a:pt x="27" y="936"/>
                  <a:pt x="23" y="937"/>
                </a:cubicBezTo>
                <a:cubicBezTo>
                  <a:pt x="22" y="937"/>
                  <a:pt x="22" y="937"/>
                  <a:pt x="21" y="937"/>
                </a:cubicBezTo>
                <a:close/>
                <a:moveTo>
                  <a:pt x="1539" y="602"/>
                </a:moveTo>
                <a:cubicBezTo>
                  <a:pt x="1535" y="602"/>
                  <a:pt x="1532" y="599"/>
                  <a:pt x="1531" y="595"/>
                </a:cubicBezTo>
                <a:cubicBezTo>
                  <a:pt x="1529" y="588"/>
                  <a:pt x="1527" y="581"/>
                  <a:pt x="1525" y="574"/>
                </a:cubicBezTo>
                <a:cubicBezTo>
                  <a:pt x="1524" y="569"/>
                  <a:pt x="1526" y="564"/>
                  <a:pt x="1531" y="563"/>
                </a:cubicBezTo>
                <a:cubicBezTo>
                  <a:pt x="1536" y="562"/>
                  <a:pt x="1540" y="565"/>
                  <a:pt x="1541" y="569"/>
                </a:cubicBezTo>
                <a:cubicBezTo>
                  <a:pt x="1544" y="576"/>
                  <a:pt x="1546" y="584"/>
                  <a:pt x="1547" y="591"/>
                </a:cubicBezTo>
                <a:cubicBezTo>
                  <a:pt x="1549" y="596"/>
                  <a:pt x="1546" y="600"/>
                  <a:pt x="1541" y="601"/>
                </a:cubicBezTo>
                <a:cubicBezTo>
                  <a:pt x="1541" y="602"/>
                  <a:pt x="1540" y="602"/>
                  <a:pt x="1539" y="602"/>
                </a:cubicBezTo>
                <a:close/>
                <a:moveTo>
                  <a:pt x="1514" y="521"/>
                </a:moveTo>
                <a:cubicBezTo>
                  <a:pt x="1510" y="521"/>
                  <a:pt x="1507" y="519"/>
                  <a:pt x="1506" y="515"/>
                </a:cubicBezTo>
                <a:cubicBezTo>
                  <a:pt x="1500" y="500"/>
                  <a:pt x="1494" y="485"/>
                  <a:pt x="1488" y="471"/>
                </a:cubicBezTo>
                <a:cubicBezTo>
                  <a:pt x="1478" y="450"/>
                  <a:pt x="1468" y="429"/>
                  <a:pt x="1456" y="409"/>
                </a:cubicBezTo>
                <a:cubicBezTo>
                  <a:pt x="1456" y="409"/>
                  <a:pt x="1456" y="409"/>
                  <a:pt x="1456" y="409"/>
                </a:cubicBezTo>
                <a:cubicBezTo>
                  <a:pt x="1419" y="343"/>
                  <a:pt x="1372" y="282"/>
                  <a:pt x="1317" y="229"/>
                </a:cubicBezTo>
                <a:cubicBezTo>
                  <a:pt x="1314" y="226"/>
                  <a:pt x="1311" y="224"/>
                  <a:pt x="1308" y="221"/>
                </a:cubicBezTo>
                <a:cubicBezTo>
                  <a:pt x="1304" y="218"/>
                  <a:pt x="1304" y="212"/>
                  <a:pt x="1307" y="209"/>
                </a:cubicBezTo>
                <a:cubicBezTo>
                  <a:pt x="1311" y="205"/>
                  <a:pt x="1316" y="205"/>
                  <a:pt x="1319" y="208"/>
                </a:cubicBezTo>
                <a:cubicBezTo>
                  <a:pt x="1322" y="211"/>
                  <a:pt x="1326" y="214"/>
                  <a:pt x="1329" y="217"/>
                </a:cubicBezTo>
                <a:cubicBezTo>
                  <a:pt x="1385" y="271"/>
                  <a:pt x="1433" y="333"/>
                  <a:pt x="1471" y="400"/>
                </a:cubicBezTo>
                <a:cubicBezTo>
                  <a:pt x="1471" y="400"/>
                  <a:pt x="1471" y="400"/>
                  <a:pt x="1471" y="400"/>
                </a:cubicBezTo>
                <a:cubicBezTo>
                  <a:pt x="1483" y="421"/>
                  <a:pt x="1494" y="442"/>
                  <a:pt x="1503" y="464"/>
                </a:cubicBezTo>
                <a:cubicBezTo>
                  <a:pt x="1510" y="479"/>
                  <a:pt x="1516" y="494"/>
                  <a:pt x="1522" y="509"/>
                </a:cubicBezTo>
                <a:cubicBezTo>
                  <a:pt x="1523" y="514"/>
                  <a:pt x="1521" y="519"/>
                  <a:pt x="1517" y="520"/>
                </a:cubicBezTo>
                <a:cubicBezTo>
                  <a:pt x="1516" y="521"/>
                  <a:pt x="1515" y="521"/>
                  <a:pt x="1514" y="521"/>
                </a:cubicBezTo>
                <a:close/>
                <a:moveTo>
                  <a:pt x="58" y="519"/>
                </a:moveTo>
                <a:cubicBezTo>
                  <a:pt x="57" y="519"/>
                  <a:pt x="56" y="519"/>
                  <a:pt x="55" y="519"/>
                </a:cubicBezTo>
                <a:cubicBezTo>
                  <a:pt x="51" y="517"/>
                  <a:pt x="48" y="512"/>
                  <a:pt x="50" y="508"/>
                </a:cubicBezTo>
                <a:cubicBezTo>
                  <a:pt x="53" y="501"/>
                  <a:pt x="55" y="494"/>
                  <a:pt x="58" y="487"/>
                </a:cubicBezTo>
                <a:cubicBezTo>
                  <a:pt x="60" y="482"/>
                  <a:pt x="65" y="480"/>
                  <a:pt x="69" y="482"/>
                </a:cubicBezTo>
                <a:cubicBezTo>
                  <a:pt x="74" y="484"/>
                  <a:pt x="76" y="489"/>
                  <a:pt x="74" y="493"/>
                </a:cubicBezTo>
                <a:cubicBezTo>
                  <a:pt x="71" y="500"/>
                  <a:pt x="68" y="507"/>
                  <a:pt x="66" y="514"/>
                </a:cubicBezTo>
                <a:cubicBezTo>
                  <a:pt x="65" y="517"/>
                  <a:pt x="61" y="519"/>
                  <a:pt x="58" y="519"/>
                </a:cubicBezTo>
                <a:close/>
                <a:moveTo>
                  <a:pt x="82" y="462"/>
                </a:moveTo>
                <a:cubicBezTo>
                  <a:pt x="81" y="462"/>
                  <a:pt x="80" y="462"/>
                  <a:pt x="79" y="461"/>
                </a:cubicBezTo>
                <a:cubicBezTo>
                  <a:pt x="74" y="459"/>
                  <a:pt x="72" y="454"/>
                  <a:pt x="74" y="450"/>
                </a:cubicBezTo>
                <a:cubicBezTo>
                  <a:pt x="109" y="376"/>
                  <a:pt x="156" y="308"/>
                  <a:pt x="212" y="247"/>
                </a:cubicBezTo>
                <a:cubicBezTo>
                  <a:pt x="212" y="247"/>
                  <a:pt x="212" y="247"/>
                  <a:pt x="212" y="247"/>
                </a:cubicBezTo>
                <a:cubicBezTo>
                  <a:pt x="218" y="241"/>
                  <a:pt x="224" y="235"/>
                  <a:pt x="230" y="229"/>
                </a:cubicBezTo>
                <a:cubicBezTo>
                  <a:pt x="252" y="207"/>
                  <a:pt x="276" y="186"/>
                  <a:pt x="301" y="167"/>
                </a:cubicBezTo>
                <a:cubicBezTo>
                  <a:pt x="304" y="164"/>
                  <a:pt x="310" y="164"/>
                  <a:pt x="313" y="168"/>
                </a:cubicBezTo>
                <a:cubicBezTo>
                  <a:pt x="316" y="172"/>
                  <a:pt x="315" y="177"/>
                  <a:pt x="311" y="180"/>
                </a:cubicBezTo>
                <a:cubicBezTo>
                  <a:pt x="287" y="199"/>
                  <a:pt x="264" y="220"/>
                  <a:pt x="242" y="241"/>
                </a:cubicBezTo>
                <a:cubicBezTo>
                  <a:pt x="236" y="247"/>
                  <a:pt x="230" y="253"/>
                  <a:pt x="225" y="259"/>
                </a:cubicBezTo>
                <a:cubicBezTo>
                  <a:pt x="225" y="259"/>
                  <a:pt x="225" y="259"/>
                  <a:pt x="225" y="259"/>
                </a:cubicBezTo>
                <a:cubicBezTo>
                  <a:pt x="169" y="318"/>
                  <a:pt x="124" y="385"/>
                  <a:pt x="90" y="457"/>
                </a:cubicBezTo>
                <a:cubicBezTo>
                  <a:pt x="88" y="460"/>
                  <a:pt x="85" y="462"/>
                  <a:pt x="82" y="462"/>
                </a:cubicBezTo>
                <a:close/>
                <a:moveTo>
                  <a:pt x="1284" y="197"/>
                </a:moveTo>
                <a:cubicBezTo>
                  <a:pt x="1282" y="197"/>
                  <a:pt x="1280" y="196"/>
                  <a:pt x="1278" y="195"/>
                </a:cubicBezTo>
                <a:cubicBezTo>
                  <a:pt x="1273" y="190"/>
                  <a:pt x="1267" y="185"/>
                  <a:pt x="1261" y="181"/>
                </a:cubicBezTo>
                <a:cubicBezTo>
                  <a:pt x="1257" y="178"/>
                  <a:pt x="1257" y="173"/>
                  <a:pt x="1260" y="169"/>
                </a:cubicBezTo>
                <a:cubicBezTo>
                  <a:pt x="1263" y="165"/>
                  <a:pt x="1268" y="165"/>
                  <a:pt x="1272" y="167"/>
                </a:cubicBezTo>
                <a:cubicBezTo>
                  <a:pt x="1278" y="172"/>
                  <a:pt x="1284" y="177"/>
                  <a:pt x="1289" y="182"/>
                </a:cubicBezTo>
                <a:cubicBezTo>
                  <a:pt x="1293" y="185"/>
                  <a:pt x="1293" y="190"/>
                  <a:pt x="1290" y="194"/>
                </a:cubicBezTo>
                <a:cubicBezTo>
                  <a:pt x="1289" y="196"/>
                  <a:pt x="1286" y="197"/>
                  <a:pt x="1284" y="197"/>
                </a:cubicBezTo>
                <a:close/>
                <a:moveTo>
                  <a:pt x="1216" y="146"/>
                </a:moveTo>
                <a:cubicBezTo>
                  <a:pt x="1214" y="146"/>
                  <a:pt x="1213" y="146"/>
                  <a:pt x="1211" y="145"/>
                </a:cubicBezTo>
                <a:cubicBezTo>
                  <a:pt x="1179" y="123"/>
                  <a:pt x="1144" y="104"/>
                  <a:pt x="1109" y="87"/>
                </a:cubicBezTo>
                <a:cubicBezTo>
                  <a:pt x="1109" y="87"/>
                  <a:pt x="1109" y="87"/>
                  <a:pt x="1109" y="87"/>
                </a:cubicBezTo>
                <a:cubicBezTo>
                  <a:pt x="1095" y="81"/>
                  <a:pt x="1082" y="75"/>
                  <a:pt x="1068" y="70"/>
                </a:cubicBezTo>
                <a:cubicBezTo>
                  <a:pt x="1007" y="46"/>
                  <a:pt x="944" y="30"/>
                  <a:pt x="878" y="22"/>
                </a:cubicBezTo>
                <a:cubicBezTo>
                  <a:pt x="874" y="21"/>
                  <a:pt x="870" y="17"/>
                  <a:pt x="871" y="12"/>
                </a:cubicBezTo>
                <a:cubicBezTo>
                  <a:pt x="872" y="8"/>
                  <a:pt x="876" y="4"/>
                  <a:pt x="880" y="5"/>
                </a:cubicBezTo>
                <a:cubicBezTo>
                  <a:pt x="947" y="13"/>
                  <a:pt x="1012" y="29"/>
                  <a:pt x="1074" y="54"/>
                </a:cubicBezTo>
                <a:cubicBezTo>
                  <a:pt x="1088" y="59"/>
                  <a:pt x="1102" y="65"/>
                  <a:pt x="1116" y="72"/>
                </a:cubicBezTo>
                <a:cubicBezTo>
                  <a:pt x="1116" y="72"/>
                  <a:pt x="1116" y="72"/>
                  <a:pt x="1116" y="72"/>
                </a:cubicBezTo>
                <a:cubicBezTo>
                  <a:pt x="1152" y="89"/>
                  <a:pt x="1187" y="108"/>
                  <a:pt x="1221" y="131"/>
                </a:cubicBezTo>
                <a:cubicBezTo>
                  <a:pt x="1225" y="133"/>
                  <a:pt x="1226" y="138"/>
                  <a:pt x="1223" y="142"/>
                </a:cubicBezTo>
                <a:cubicBezTo>
                  <a:pt x="1221" y="145"/>
                  <a:pt x="1219" y="146"/>
                  <a:pt x="1216" y="146"/>
                </a:cubicBezTo>
                <a:close/>
                <a:moveTo>
                  <a:pt x="356" y="145"/>
                </a:moveTo>
                <a:cubicBezTo>
                  <a:pt x="354" y="145"/>
                  <a:pt x="351" y="144"/>
                  <a:pt x="349" y="141"/>
                </a:cubicBezTo>
                <a:cubicBezTo>
                  <a:pt x="347" y="138"/>
                  <a:pt x="348" y="132"/>
                  <a:pt x="352" y="130"/>
                </a:cubicBezTo>
                <a:cubicBezTo>
                  <a:pt x="358" y="126"/>
                  <a:pt x="364" y="121"/>
                  <a:pt x="371" y="117"/>
                </a:cubicBezTo>
                <a:cubicBezTo>
                  <a:pt x="375" y="115"/>
                  <a:pt x="380" y="116"/>
                  <a:pt x="383" y="120"/>
                </a:cubicBezTo>
                <a:cubicBezTo>
                  <a:pt x="385" y="124"/>
                  <a:pt x="384" y="129"/>
                  <a:pt x="380" y="132"/>
                </a:cubicBezTo>
                <a:cubicBezTo>
                  <a:pt x="374" y="136"/>
                  <a:pt x="367" y="140"/>
                  <a:pt x="361" y="144"/>
                </a:cubicBezTo>
                <a:cubicBezTo>
                  <a:pt x="360" y="145"/>
                  <a:pt x="358" y="145"/>
                  <a:pt x="356" y="145"/>
                </a:cubicBezTo>
                <a:close/>
                <a:moveTo>
                  <a:pt x="410" y="113"/>
                </a:moveTo>
                <a:cubicBezTo>
                  <a:pt x="407" y="113"/>
                  <a:pt x="404" y="111"/>
                  <a:pt x="402" y="109"/>
                </a:cubicBezTo>
                <a:cubicBezTo>
                  <a:pt x="400" y="105"/>
                  <a:pt x="401" y="99"/>
                  <a:pt x="405" y="97"/>
                </a:cubicBezTo>
                <a:cubicBezTo>
                  <a:pt x="430" y="84"/>
                  <a:pt x="455" y="71"/>
                  <a:pt x="481" y="61"/>
                </a:cubicBezTo>
                <a:cubicBezTo>
                  <a:pt x="530" y="40"/>
                  <a:pt x="582" y="24"/>
                  <a:pt x="636" y="14"/>
                </a:cubicBezTo>
                <a:cubicBezTo>
                  <a:pt x="636" y="14"/>
                  <a:pt x="636" y="14"/>
                  <a:pt x="636" y="14"/>
                </a:cubicBezTo>
                <a:cubicBezTo>
                  <a:pt x="675" y="6"/>
                  <a:pt x="715" y="1"/>
                  <a:pt x="755" y="0"/>
                </a:cubicBezTo>
                <a:cubicBezTo>
                  <a:pt x="760" y="0"/>
                  <a:pt x="764" y="3"/>
                  <a:pt x="764" y="8"/>
                </a:cubicBezTo>
                <a:cubicBezTo>
                  <a:pt x="764" y="13"/>
                  <a:pt x="760" y="17"/>
                  <a:pt x="756" y="17"/>
                </a:cubicBezTo>
                <a:cubicBezTo>
                  <a:pt x="717" y="18"/>
                  <a:pt x="677" y="23"/>
                  <a:pt x="639" y="30"/>
                </a:cubicBezTo>
                <a:cubicBezTo>
                  <a:pt x="639" y="30"/>
                  <a:pt x="639" y="30"/>
                  <a:pt x="639" y="30"/>
                </a:cubicBezTo>
                <a:cubicBezTo>
                  <a:pt x="587" y="40"/>
                  <a:pt x="536" y="56"/>
                  <a:pt x="487" y="76"/>
                </a:cubicBezTo>
                <a:cubicBezTo>
                  <a:pt x="462" y="87"/>
                  <a:pt x="438" y="99"/>
                  <a:pt x="414" y="112"/>
                </a:cubicBezTo>
                <a:cubicBezTo>
                  <a:pt x="412" y="113"/>
                  <a:pt x="411" y="113"/>
                  <a:pt x="410" y="113"/>
                </a:cubicBezTo>
                <a:close/>
                <a:moveTo>
                  <a:pt x="840" y="18"/>
                </a:moveTo>
                <a:cubicBezTo>
                  <a:pt x="840" y="18"/>
                  <a:pt x="840" y="18"/>
                  <a:pt x="839" y="18"/>
                </a:cubicBezTo>
                <a:cubicBezTo>
                  <a:pt x="832" y="18"/>
                  <a:pt x="824" y="17"/>
                  <a:pt x="817" y="17"/>
                </a:cubicBezTo>
                <a:cubicBezTo>
                  <a:pt x="812" y="17"/>
                  <a:pt x="809" y="13"/>
                  <a:pt x="809" y="8"/>
                </a:cubicBezTo>
                <a:cubicBezTo>
                  <a:pt x="809" y="3"/>
                  <a:pt x="813" y="0"/>
                  <a:pt x="818" y="0"/>
                </a:cubicBezTo>
                <a:cubicBezTo>
                  <a:pt x="825" y="0"/>
                  <a:pt x="833" y="1"/>
                  <a:pt x="841" y="1"/>
                </a:cubicBezTo>
                <a:cubicBezTo>
                  <a:pt x="845" y="2"/>
                  <a:pt x="849" y="6"/>
                  <a:pt x="849" y="10"/>
                </a:cubicBezTo>
                <a:cubicBezTo>
                  <a:pt x="848" y="15"/>
                  <a:pt x="844" y="18"/>
                  <a:pt x="840" y="18"/>
                </a:cubicBezTo>
                <a:close/>
              </a:path>
            </a:pathLst>
          </a:custGeom>
          <a:solidFill>
            <a:schemeClr val="accent2"/>
          </a:solidFill>
          <a:ln>
            <a:noFill/>
          </a:ln>
        </p:spPr>
        <p:txBody>
          <a:bodyPr vert="horz" wrap="square" lIns="45714" tIns="22857" rIns="45714" bIns="22857" numCol="1" anchor="t" anchorCtr="0" compatLnSpc="1">
            <a:prstTxWarp prst="textNoShape">
              <a:avLst/>
            </a:prstTxWarp>
          </a:body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US" sz="900" b="0" i="0" u="none" strike="noStrike" kern="1200" cap="none" spc="0" normalizeH="0" baseline="0" noProof="0">
              <a:ln>
                <a:noFill/>
              </a:ln>
              <a:solidFill>
                <a:srgbClr val="343A3F"/>
              </a:solidFill>
              <a:effectLst/>
              <a:uLnTx/>
              <a:uFillTx/>
              <a:latin typeface="Roboto Light"/>
              <a:ea typeface="+mn-ea"/>
              <a:cs typeface="+mn-cs"/>
            </a:endParaRPr>
          </a:p>
        </p:txBody>
      </p:sp>
      <p:sp>
        <p:nvSpPr>
          <p:cNvPr id="16" name="Freeform 13">
            <a:extLst>
              <a:ext uri="{FF2B5EF4-FFF2-40B4-BE49-F238E27FC236}">
                <a16:creationId xmlns:a16="http://schemas.microsoft.com/office/drawing/2014/main" id="{E71E582D-7768-456D-B74A-CC782477C33A}"/>
              </a:ext>
            </a:extLst>
          </p:cNvPr>
          <p:cNvSpPr>
            <a:spLocks noEditPoints="1"/>
          </p:cNvSpPr>
          <p:nvPr/>
        </p:nvSpPr>
        <p:spPr bwMode="auto">
          <a:xfrm>
            <a:off x="4511485" y="1689991"/>
            <a:ext cx="3169031" cy="3173257"/>
          </a:xfrm>
          <a:custGeom>
            <a:avLst/>
            <a:gdLst>
              <a:gd name="T0" fmla="*/ 733 w 1499"/>
              <a:gd name="T1" fmla="*/ 1483 h 1500"/>
              <a:gd name="T2" fmla="*/ 638 w 1499"/>
              <a:gd name="T3" fmla="*/ 1492 h 1500"/>
              <a:gd name="T4" fmla="*/ 639 w 1499"/>
              <a:gd name="T5" fmla="*/ 1475 h 1500"/>
              <a:gd name="T6" fmla="*/ 592 w 1499"/>
              <a:gd name="T7" fmla="*/ 1483 h 1500"/>
              <a:gd name="T8" fmla="*/ 601 w 1499"/>
              <a:gd name="T9" fmla="*/ 1470 h 1500"/>
              <a:gd name="T10" fmla="*/ 949 w 1499"/>
              <a:gd name="T11" fmla="*/ 1456 h 1500"/>
              <a:gd name="T12" fmla="*/ 952 w 1499"/>
              <a:gd name="T13" fmla="*/ 1472 h 1500"/>
              <a:gd name="T14" fmla="*/ 300 w 1499"/>
              <a:gd name="T15" fmla="*/ 1340 h 1500"/>
              <a:gd name="T16" fmla="*/ 1037 w 1499"/>
              <a:gd name="T17" fmla="*/ 1442 h 1500"/>
              <a:gd name="T18" fmla="*/ 1078 w 1499"/>
              <a:gd name="T19" fmla="*/ 1423 h 1500"/>
              <a:gd name="T20" fmla="*/ 1271 w 1499"/>
              <a:gd name="T21" fmla="*/ 1286 h 1500"/>
              <a:gd name="T22" fmla="*/ 272 w 1499"/>
              <a:gd name="T23" fmla="*/ 1325 h 1500"/>
              <a:gd name="T24" fmla="*/ 272 w 1499"/>
              <a:gd name="T25" fmla="*/ 1325 h 1500"/>
              <a:gd name="T26" fmla="*/ 201 w 1499"/>
              <a:gd name="T27" fmla="*/ 1248 h 1500"/>
              <a:gd name="T28" fmla="*/ 238 w 1499"/>
              <a:gd name="T29" fmla="*/ 1295 h 1500"/>
              <a:gd name="T30" fmla="*/ 1330 w 1499"/>
              <a:gd name="T31" fmla="*/ 1212 h 1500"/>
              <a:gd name="T32" fmla="*/ 170 w 1499"/>
              <a:gd name="T33" fmla="*/ 1226 h 1500"/>
              <a:gd name="T34" fmla="*/ 71 w 1499"/>
              <a:gd name="T35" fmla="*/ 1027 h 1500"/>
              <a:gd name="T36" fmla="*/ 1345 w 1499"/>
              <a:gd name="T37" fmla="*/ 1178 h 1500"/>
              <a:gd name="T38" fmla="*/ 1377 w 1499"/>
              <a:gd name="T39" fmla="*/ 1154 h 1500"/>
              <a:gd name="T40" fmla="*/ 1475 w 1499"/>
              <a:gd name="T41" fmla="*/ 941 h 1500"/>
              <a:gd name="T42" fmla="*/ 38 w 1499"/>
              <a:gd name="T43" fmla="*/ 980 h 1500"/>
              <a:gd name="T44" fmla="*/ 46 w 1499"/>
              <a:gd name="T45" fmla="*/ 993 h 1500"/>
              <a:gd name="T46" fmla="*/ 31 w 1499"/>
              <a:gd name="T47" fmla="*/ 895 h 1500"/>
              <a:gd name="T48" fmla="*/ 1470 w 1499"/>
              <a:gd name="T49" fmla="*/ 900 h 1500"/>
              <a:gd name="T50" fmla="*/ 1486 w 1499"/>
              <a:gd name="T51" fmla="*/ 897 h 1500"/>
              <a:gd name="T52" fmla="*/ 10 w 1499"/>
              <a:gd name="T53" fmla="*/ 625 h 1500"/>
              <a:gd name="T54" fmla="*/ 15 w 1499"/>
              <a:gd name="T55" fmla="*/ 861 h 1500"/>
              <a:gd name="T56" fmla="*/ 1498 w 1499"/>
              <a:gd name="T57" fmla="*/ 806 h 1500"/>
              <a:gd name="T58" fmla="*/ 1486 w 1499"/>
              <a:gd name="T59" fmla="*/ 663 h 1500"/>
              <a:gd name="T60" fmla="*/ 1473 w 1499"/>
              <a:gd name="T61" fmla="*/ 628 h 1500"/>
              <a:gd name="T62" fmla="*/ 1481 w 1499"/>
              <a:gd name="T63" fmla="*/ 635 h 1500"/>
              <a:gd name="T64" fmla="*/ 29 w 1499"/>
              <a:gd name="T65" fmla="*/ 574 h 1500"/>
              <a:gd name="T66" fmla="*/ 1381 w 1499"/>
              <a:gd name="T67" fmla="*/ 377 h 1500"/>
              <a:gd name="T68" fmla="*/ 1474 w 1499"/>
              <a:gd name="T69" fmla="*/ 590 h 1500"/>
              <a:gd name="T70" fmla="*/ 45 w 1499"/>
              <a:gd name="T71" fmla="*/ 493 h 1500"/>
              <a:gd name="T72" fmla="*/ 66 w 1499"/>
              <a:gd name="T73" fmla="*/ 461 h 1500"/>
              <a:gd name="T74" fmla="*/ 197 w 1499"/>
              <a:gd name="T75" fmla="*/ 269 h 1500"/>
              <a:gd name="T76" fmla="*/ 1331 w 1499"/>
              <a:gd name="T77" fmla="*/ 303 h 1500"/>
              <a:gd name="T78" fmla="*/ 1369 w 1499"/>
              <a:gd name="T79" fmla="*/ 341 h 1500"/>
              <a:gd name="T80" fmla="*/ 1315 w 1499"/>
              <a:gd name="T81" fmla="*/ 257 h 1500"/>
              <a:gd name="T82" fmla="*/ 215 w 1499"/>
              <a:gd name="T83" fmla="*/ 224 h 1500"/>
              <a:gd name="T84" fmla="*/ 1250 w 1499"/>
              <a:gd name="T85" fmla="*/ 214 h 1500"/>
              <a:gd name="T86" fmla="*/ 1284 w 1499"/>
              <a:gd name="T87" fmla="*/ 224 h 1500"/>
              <a:gd name="T88" fmla="*/ 248 w 1499"/>
              <a:gd name="T89" fmla="*/ 192 h 1500"/>
              <a:gd name="T90" fmla="*/ 325 w 1499"/>
              <a:gd name="T91" fmla="*/ 151 h 1500"/>
              <a:gd name="T92" fmla="*/ 524 w 1499"/>
              <a:gd name="T93" fmla="*/ 34 h 1500"/>
              <a:gd name="T94" fmla="*/ 325 w 1499"/>
              <a:gd name="T95" fmla="*/ 151 h 1500"/>
              <a:gd name="T96" fmla="*/ 1060 w 1499"/>
              <a:gd name="T97" fmla="*/ 67 h 1500"/>
              <a:gd name="T98" fmla="*/ 964 w 1499"/>
              <a:gd name="T99" fmla="*/ 40 h 1500"/>
              <a:gd name="T100" fmla="*/ 562 w 1499"/>
              <a:gd name="T101" fmla="*/ 32 h 1500"/>
              <a:gd name="T102" fmla="*/ 572 w 1499"/>
              <a:gd name="T103" fmla="*/ 39 h 1500"/>
              <a:gd name="T104" fmla="*/ 705 w 1499"/>
              <a:gd name="T105" fmla="*/ 18 h 1500"/>
              <a:gd name="T106" fmla="*/ 936 w 1499"/>
              <a:gd name="T107" fmla="*/ 26 h 1500"/>
              <a:gd name="T108" fmla="*/ 658 w 1499"/>
              <a:gd name="T109" fmla="*/ 6 h 1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99" h="1500">
                <a:moveTo>
                  <a:pt x="750" y="1500"/>
                </a:moveTo>
                <a:cubicBezTo>
                  <a:pt x="744" y="1500"/>
                  <a:pt x="738" y="1500"/>
                  <a:pt x="733" y="1500"/>
                </a:cubicBezTo>
                <a:cubicBezTo>
                  <a:pt x="716" y="1499"/>
                  <a:pt x="699" y="1498"/>
                  <a:pt x="682" y="1497"/>
                </a:cubicBezTo>
                <a:cubicBezTo>
                  <a:pt x="677" y="1497"/>
                  <a:pt x="674" y="1492"/>
                  <a:pt x="674" y="1488"/>
                </a:cubicBezTo>
                <a:cubicBezTo>
                  <a:pt x="675" y="1483"/>
                  <a:pt x="679" y="1480"/>
                  <a:pt x="684" y="1480"/>
                </a:cubicBezTo>
                <a:cubicBezTo>
                  <a:pt x="700" y="1482"/>
                  <a:pt x="717" y="1482"/>
                  <a:pt x="733" y="1483"/>
                </a:cubicBezTo>
                <a:cubicBezTo>
                  <a:pt x="739" y="1483"/>
                  <a:pt x="744" y="1483"/>
                  <a:pt x="750" y="1483"/>
                </a:cubicBezTo>
                <a:cubicBezTo>
                  <a:pt x="803" y="1483"/>
                  <a:pt x="855" y="1477"/>
                  <a:pt x="906" y="1466"/>
                </a:cubicBezTo>
                <a:cubicBezTo>
                  <a:pt x="911" y="1465"/>
                  <a:pt x="915" y="1468"/>
                  <a:pt x="916" y="1473"/>
                </a:cubicBezTo>
                <a:cubicBezTo>
                  <a:pt x="917" y="1477"/>
                  <a:pt x="914" y="1482"/>
                  <a:pt x="910" y="1483"/>
                </a:cubicBezTo>
                <a:cubicBezTo>
                  <a:pt x="857" y="1494"/>
                  <a:pt x="804" y="1500"/>
                  <a:pt x="750" y="1500"/>
                </a:cubicBezTo>
                <a:close/>
                <a:moveTo>
                  <a:pt x="638" y="1492"/>
                </a:moveTo>
                <a:cubicBezTo>
                  <a:pt x="638" y="1492"/>
                  <a:pt x="637" y="1492"/>
                  <a:pt x="637" y="1492"/>
                </a:cubicBezTo>
                <a:cubicBezTo>
                  <a:pt x="637" y="1491"/>
                  <a:pt x="637" y="1491"/>
                  <a:pt x="637" y="1491"/>
                </a:cubicBezTo>
                <a:cubicBezTo>
                  <a:pt x="634" y="1491"/>
                  <a:pt x="632" y="1490"/>
                  <a:pt x="631" y="1488"/>
                </a:cubicBezTo>
                <a:cubicBezTo>
                  <a:pt x="630" y="1486"/>
                  <a:pt x="629" y="1484"/>
                  <a:pt x="630" y="1482"/>
                </a:cubicBezTo>
                <a:cubicBezTo>
                  <a:pt x="630" y="1477"/>
                  <a:pt x="634" y="1474"/>
                  <a:pt x="639" y="1475"/>
                </a:cubicBezTo>
                <a:cubicBezTo>
                  <a:pt x="639" y="1475"/>
                  <a:pt x="639" y="1475"/>
                  <a:pt x="639" y="1475"/>
                </a:cubicBezTo>
                <a:cubicBezTo>
                  <a:pt x="639" y="1475"/>
                  <a:pt x="639" y="1475"/>
                  <a:pt x="639" y="1475"/>
                </a:cubicBezTo>
                <a:cubicBezTo>
                  <a:pt x="641" y="1475"/>
                  <a:pt x="643" y="1476"/>
                  <a:pt x="645" y="1478"/>
                </a:cubicBezTo>
                <a:cubicBezTo>
                  <a:pt x="646" y="1480"/>
                  <a:pt x="647" y="1482"/>
                  <a:pt x="646" y="1484"/>
                </a:cubicBezTo>
                <a:cubicBezTo>
                  <a:pt x="646" y="1489"/>
                  <a:pt x="642" y="1492"/>
                  <a:pt x="638" y="1492"/>
                </a:cubicBezTo>
                <a:close/>
                <a:moveTo>
                  <a:pt x="593" y="1484"/>
                </a:moveTo>
                <a:cubicBezTo>
                  <a:pt x="593" y="1484"/>
                  <a:pt x="592" y="1483"/>
                  <a:pt x="592" y="1483"/>
                </a:cubicBezTo>
                <a:cubicBezTo>
                  <a:pt x="577" y="1480"/>
                  <a:pt x="562" y="1476"/>
                  <a:pt x="547" y="1472"/>
                </a:cubicBezTo>
                <a:cubicBezTo>
                  <a:pt x="545" y="1472"/>
                  <a:pt x="543" y="1470"/>
                  <a:pt x="542" y="1468"/>
                </a:cubicBezTo>
                <a:cubicBezTo>
                  <a:pt x="541" y="1466"/>
                  <a:pt x="541" y="1464"/>
                  <a:pt x="541" y="1462"/>
                </a:cubicBezTo>
                <a:cubicBezTo>
                  <a:pt x="543" y="1458"/>
                  <a:pt x="547" y="1455"/>
                  <a:pt x="552" y="1456"/>
                </a:cubicBezTo>
                <a:cubicBezTo>
                  <a:pt x="566" y="1460"/>
                  <a:pt x="581" y="1464"/>
                  <a:pt x="595" y="1467"/>
                </a:cubicBezTo>
                <a:cubicBezTo>
                  <a:pt x="597" y="1467"/>
                  <a:pt x="599" y="1469"/>
                  <a:pt x="601" y="1470"/>
                </a:cubicBezTo>
                <a:cubicBezTo>
                  <a:pt x="602" y="1472"/>
                  <a:pt x="602" y="1475"/>
                  <a:pt x="602" y="1477"/>
                </a:cubicBezTo>
                <a:cubicBezTo>
                  <a:pt x="601" y="1481"/>
                  <a:pt x="597" y="1484"/>
                  <a:pt x="593" y="1484"/>
                </a:cubicBezTo>
                <a:close/>
                <a:moveTo>
                  <a:pt x="952" y="1472"/>
                </a:moveTo>
                <a:cubicBezTo>
                  <a:pt x="948" y="1472"/>
                  <a:pt x="945" y="1470"/>
                  <a:pt x="944" y="1466"/>
                </a:cubicBezTo>
                <a:cubicBezTo>
                  <a:pt x="943" y="1464"/>
                  <a:pt x="943" y="1462"/>
                  <a:pt x="944" y="1460"/>
                </a:cubicBezTo>
                <a:cubicBezTo>
                  <a:pt x="946" y="1458"/>
                  <a:pt x="947" y="1456"/>
                  <a:pt x="949" y="1456"/>
                </a:cubicBezTo>
                <a:cubicBezTo>
                  <a:pt x="964" y="1452"/>
                  <a:pt x="978" y="1447"/>
                  <a:pt x="992" y="1442"/>
                </a:cubicBezTo>
                <a:cubicBezTo>
                  <a:pt x="996" y="1441"/>
                  <a:pt x="1001" y="1443"/>
                  <a:pt x="1003" y="1447"/>
                </a:cubicBezTo>
                <a:cubicBezTo>
                  <a:pt x="1005" y="1452"/>
                  <a:pt x="1002" y="1457"/>
                  <a:pt x="998" y="1458"/>
                </a:cubicBezTo>
                <a:cubicBezTo>
                  <a:pt x="983" y="1463"/>
                  <a:pt x="969" y="1468"/>
                  <a:pt x="954" y="1472"/>
                </a:cubicBezTo>
                <a:cubicBezTo>
                  <a:pt x="954" y="1472"/>
                  <a:pt x="954" y="1472"/>
                  <a:pt x="954" y="1472"/>
                </a:cubicBezTo>
                <a:cubicBezTo>
                  <a:pt x="953" y="1472"/>
                  <a:pt x="953" y="1472"/>
                  <a:pt x="952" y="1472"/>
                </a:cubicBezTo>
                <a:close/>
                <a:moveTo>
                  <a:pt x="506" y="1459"/>
                </a:moveTo>
                <a:cubicBezTo>
                  <a:pt x="505" y="1459"/>
                  <a:pt x="504" y="1459"/>
                  <a:pt x="504" y="1459"/>
                </a:cubicBezTo>
                <a:cubicBezTo>
                  <a:pt x="486" y="1453"/>
                  <a:pt x="468" y="1446"/>
                  <a:pt x="451" y="1438"/>
                </a:cubicBezTo>
                <a:cubicBezTo>
                  <a:pt x="399" y="1415"/>
                  <a:pt x="348" y="1386"/>
                  <a:pt x="302" y="1352"/>
                </a:cubicBezTo>
                <a:cubicBezTo>
                  <a:pt x="302" y="1352"/>
                  <a:pt x="302" y="1352"/>
                  <a:pt x="302" y="1352"/>
                </a:cubicBezTo>
                <a:cubicBezTo>
                  <a:pt x="298" y="1349"/>
                  <a:pt x="298" y="1344"/>
                  <a:pt x="300" y="1340"/>
                </a:cubicBezTo>
                <a:cubicBezTo>
                  <a:pt x="303" y="1336"/>
                  <a:pt x="309" y="1336"/>
                  <a:pt x="312" y="1338"/>
                </a:cubicBezTo>
                <a:cubicBezTo>
                  <a:pt x="358" y="1372"/>
                  <a:pt x="406" y="1400"/>
                  <a:pt x="458" y="1423"/>
                </a:cubicBezTo>
                <a:cubicBezTo>
                  <a:pt x="475" y="1430"/>
                  <a:pt x="492" y="1437"/>
                  <a:pt x="509" y="1443"/>
                </a:cubicBezTo>
                <a:cubicBezTo>
                  <a:pt x="514" y="1444"/>
                  <a:pt x="516" y="1449"/>
                  <a:pt x="514" y="1453"/>
                </a:cubicBezTo>
                <a:cubicBezTo>
                  <a:pt x="513" y="1457"/>
                  <a:pt x="510" y="1459"/>
                  <a:pt x="506" y="1459"/>
                </a:cubicBezTo>
                <a:close/>
                <a:moveTo>
                  <a:pt x="1037" y="1442"/>
                </a:moveTo>
                <a:cubicBezTo>
                  <a:pt x="1034" y="1442"/>
                  <a:pt x="1031" y="1440"/>
                  <a:pt x="1029" y="1437"/>
                </a:cubicBezTo>
                <a:cubicBezTo>
                  <a:pt x="1028" y="1433"/>
                  <a:pt x="1030" y="1428"/>
                  <a:pt x="1034" y="1426"/>
                </a:cubicBezTo>
                <a:cubicBezTo>
                  <a:pt x="1038" y="1424"/>
                  <a:pt x="1043" y="1426"/>
                  <a:pt x="1045" y="1431"/>
                </a:cubicBezTo>
                <a:cubicBezTo>
                  <a:pt x="1047" y="1435"/>
                  <a:pt x="1045" y="1440"/>
                  <a:pt x="1040" y="1442"/>
                </a:cubicBezTo>
                <a:cubicBezTo>
                  <a:pt x="1039" y="1442"/>
                  <a:pt x="1038" y="1442"/>
                  <a:pt x="1037" y="1442"/>
                </a:cubicBezTo>
                <a:close/>
                <a:moveTo>
                  <a:pt x="1078" y="1423"/>
                </a:moveTo>
                <a:cubicBezTo>
                  <a:pt x="1075" y="1423"/>
                  <a:pt x="1072" y="1422"/>
                  <a:pt x="1071" y="1419"/>
                </a:cubicBezTo>
                <a:cubicBezTo>
                  <a:pt x="1069" y="1415"/>
                  <a:pt x="1070" y="1409"/>
                  <a:pt x="1075" y="1407"/>
                </a:cubicBezTo>
                <a:cubicBezTo>
                  <a:pt x="1139" y="1376"/>
                  <a:pt x="1198" y="1335"/>
                  <a:pt x="1250" y="1286"/>
                </a:cubicBezTo>
                <a:cubicBezTo>
                  <a:pt x="1253" y="1283"/>
                  <a:pt x="1255" y="1281"/>
                  <a:pt x="1257" y="1279"/>
                </a:cubicBezTo>
                <a:cubicBezTo>
                  <a:pt x="1260" y="1276"/>
                  <a:pt x="1266" y="1276"/>
                  <a:pt x="1269" y="1280"/>
                </a:cubicBezTo>
                <a:cubicBezTo>
                  <a:pt x="1270" y="1281"/>
                  <a:pt x="1271" y="1283"/>
                  <a:pt x="1271" y="1286"/>
                </a:cubicBezTo>
                <a:cubicBezTo>
                  <a:pt x="1271" y="1288"/>
                  <a:pt x="1270" y="1290"/>
                  <a:pt x="1269" y="1292"/>
                </a:cubicBezTo>
                <a:cubicBezTo>
                  <a:pt x="1267" y="1294"/>
                  <a:pt x="1264" y="1296"/>
                  <a:pt x="1262" y="1298"/>
                </a:cubicBezTo>
                <a:cubicBezTo>
                  <a:pt x="1208" y="1348"/>
                  <a:pt x="1148" y="1390"/>
                  <a:pt x="1082" y="1423"/>
                </a:cubicBezTo>
                <a:cubicBezTo>
                  <a:pt x="1082" y="1423"/>
                  <a:pt x="1082" y="1423"/>
                  <a:pt x="1082" y="1423"/>
                </a:cubicBezTo>
                <a:cubicBezTo>
                  <a:pt x="1081" y="1423"/>
                  <a:pt x="1080" y="1423"/>
                  <a:pt x="1078" y="1423"/>
                </a:cubicBezTo>
                <a:close/>
                <a:moveTo>
                  <a:pt x="272" y="1325"/>
                </a:moveTo>
                <a:cubicBezTo>
                  <a:pt x="270" y="1325"/>
                  <a:pt x="268" y="1325"/>
                  <a:pt x="266" y="1323"/>
                </a:cubicBezTo>
                <a:cubicBezTo>
                  <a:pt x="265" y="1322"/>
                  <a:pt x="264" y="1320"/>
                  <a:pt x="263" y="1318"/>
                </a:cubicBezTo>
                <a:cubicBezTo>
                  <a:pt x="263" y="1315"/>
                  <a:pt x="264" y="1313"/>
                  <a:pt x="265" y="1312"/>
                </a:cubicBezTo>
                <a:cubicBezTo>
                  <a:pt x="268" y="1308"/>
                  <a:pt x="274" y="1308"/>
                  <a:pt x="277" y="1310"/>
                </a:cubicBezTo>
                <a:cubicBezTo>
                  <a:pt x="281" y="1314"/>
                  <a:pt x="281" y="1319"/>
                  <a:pt x="278" y="1322"/>
                </a:cubicBezTo>
                <a:cubicBezTo>
                  <a:pt x="277" y="1324"/>
                  <a:pt x="274" y="1325"/>
                  <a:pt x="272" y="1325"/>
                </a:cubicBezTo>
                <a:close/>
                <a:moveTo>
                  <a:pt x="238" y="1295"/>
                </a:moveTo>
                <a:cubicBezTo>
                  <a:pt x="236" y="1295"/>
                  <a:pt x="234" y="1294"/>
                  <a:pt x="232" y="1293"/>
                </a:cubicBezTo>
                <a:cubicBezTo>
                  <a:pt x="226" y="1287"/>
                  <a:pt x="219" y="1280"/>
                  <a:pt x="213" y="1274"/>
                </a:cubicBezTo>
                <a:cubicBezTo>
                  <a:pt x="209" y="1270"/>
                  <a:pt x="205" y="1265"/>
                  <a:pt x="200" y="1260"/>
                </a:cubicBezTo>
                <a:cubicBezTo>
                  <a:pt x="200" y="1260"/>
                  <a:pt x="200" y="1260"/>
                  <a:pt x="200" y="1260"/>
                </a:cubicBezTo>
                <a:cubicBezTo>
                  <a:pt x="197" y="1257"/>
                  <a:pt x="197" y="1251"/>
                  <a:pt x="201" y="1248"/>
                </a:cubicBezTo>
                <a:cubicBezTo>
                  <a:pt x="204" y="1245"/>
                  <a:pt x="209" y="1245"/>
                  <a:pt x="213" y="1249"/>
                </a:cubicBezTo>
                <a:cubicBezTo>
                  <a:pt x="217" y="1254"/>
                  <a:pt x="221" y="1258"/>
                  <a:pt x="226" y="1262"/>
                </a:cubicBezTo>
                <a:cubicBezTo>
                  <a:pt x="232" y="1269"/>
                  <a:pt x="238" y="1275"/>
                  <a:pt x="244" y="1281"/>
                </a:cubicBezTo>
                <a:cubicBezTo>
                  <a:pt x="246" y="1282"/>
                  <a:pt x="247" y="1284"/>
                  <a:pt x="247" y="1287"/>
                </a:cubicBezTo>
                <a:cubicBezTo>
                  <a:pt x="247" y="1289"/>
                  <a:pt x="246" y="1291"/>
                  <a:pt x="244" y="1293"/>
                </a:cubicBezTo>
                <a:cubicBezTo>
                  <a:pt x="243" y="1294"/>
                  <a:pt x="240" y="1295"/>
                  <a:pt x="238" y="1295"/>
                </a:cubicBezTo>
                <a:close/>
                <a:moveTo>
                  <a:pt x="1294" y="1262"/>
                </a:moveTo>
                <a:cubicBezTo>
                  <a:pt x="1292" y="1262"/>
                  <a:pt x="1290" y="1261"/>
                  <a:pt x="1289" y="1259"/>
                </a:cubicBezTo>
                <a:cubicBezTo>
                  <a:pt x="1287" y="1258"/>
                  <a:pt x="1286" y="1256"/>
                  <a:pt x="1286" y="1253"/>
                </a:cubicBezTo>
                <a:cubicBezTo>
                  <a:pt x="1286" y="1251"/>
                  <a:pt x="1287" y="1249"/>
                  <a:pt x="1288" y="1247"/>
                </a:cubicBezTo>
                <a:cubicBezTo>
                  <a:pt x="1298" y="1237"/>
                  <a:pt x="1308" y="1225"/>
                  <a:pt x="1318" y="1214"/>
                </a:cubicBezTo>
                <a:cubicBezTo>
                  <a:pt x="1320" y="1210"/>
                  <a:pt x="1326" y="1210"/>
                  <a:pt x="1330" y="1212"/>
                </a:cubicBezTo>
                <a:cubicBezTo>
                  <a:pt x="1331" y="1214"/>
                  <a:pt x="1332" y="1216"/>
                  <a:pt x="1333" y="1218"/>
                </a:cubicBezTo>
                <a:cubicBezTo>
                  <a:pt x="1333" y="1220"/>
                  <a:pt x="1332" y="1223"/>
                  <a:pt x="1331" y="1224"/>
                </a:cubicBezTo>
                <a:cubicBezTo>
                  <a:pt x="1321" y="1236"/>
                  <a:pt x="1311" y="1248"/>
                  <a:pt x="1301" y="1259"/>
                </a:cubicBezTo>
                <a:cubicBezTo>
                  <a:pt x="1299" y="1261"/>
                  <a:pt x="1297" y="1262"/>
                  <a:pt x="1294" y="1262"/>
                </a:cubicBezTo>
                <a:close/>
                <a:moveTo>
                  <a:pt x="177" y="1229"/>
                </a:moveTo>
                <a:cubicBezTo>
                  <a:pt x="174" y="1229"/>
                  <a:pt x="172" y="1228"/>
                  <a:pt x="170" y="1226"/>
                </a:cubicBezTo>
                <a:cubicBezTo>
                  <a:pt x="122" y="1167"/>
                  <a:pt x="83" y="1103"/>
                  <a:pt x="55" y="1033"/>
                </a:cubicBezTo>
                <a:cubicBezTo>
                  <a:pt x="55" y="1032"/>
                  <a:pt x="54" y="1031"/>
                  <a:pt x="54" y="1030"/>
                </a:cubicBezTo>
                <a:cubicBezTo>
                  <a:pt x="52" y="1025"/>
                  <a:pt x="54" y="1021"/>
                  <a:pt x="58" y="1019"/>
                </a:cubicBezTo>
                <a:cubicBezTo>
                  <a:pt x="63" y="1017"/>
                  <a:pt x="68" y="1019"/>
                  <a:pt x="69" y="1023"/>
                </a:cubicBezTo>
                <a:cubicBezTo>
                  <a:pt x="70" y="1024"/>
                  <a:pt x="70" y="1025"/>
                  <a:pt x="70" y="1026"/>
                </a:cubicBezTo>
                <a:cubicBezTo>
                  <a:pt x="71" y="1027"/>
                  <a:pt x="71" y="1027"/>
                  <a:pt x="71" y="1027"/>
                </a:cubicBezTo>
                <a:cubicBezTo>
                  <a:pt x="98" y="1095"/>
                  <a:pt x="136" y="1158"/>
                  <a:pt x="183" y="1215"/>
                </a:cubicBezTo>
                <a:cubicBezTo>
                  <a:pt x="186" y="1219"/>
                  <a:pt x="186" y="1224"/>
                  <a:pt x="182" y="1227"/>
                </a:cubicBezTo>
                <a:cubicBezTo>
                  <a:pt x="180" y="1228"/>
                  <a:pt x="179" y="1229"/>
                  <a:pt x="177" y="1229"/>
                </a:cubicBezTo>
                <a:close/>
                <a:moveTo>
                  <a:pt x="1352" y="1192"/>
                </a:moveTo>
                <a:cubicBezTo>
                  <a:pt x="1350" y="1192"/>
                  <a:pt x="1348" y="1191"/>
                  <a:pt x="1347" y="1190"/>
                </a:cubicBezTo>
                <a:cubicBezTo>
                  <a:pt x="1343" y="1187"/>
                  <a:pt x="1342" y="1182"/>
                  <a:pt x="1345" y="1178"/>
                </a:cubicBezTo>
                <a:cubicBezTo>
                  <a:pt x="1345" y="1178"/>
                  <a:pt x="1345" y="1178"/>
                  <a:pt x="1345" y="1178"/>
                </a:cubicBezTo>
                <a:cubicBezTo>
                  <a:pt x="1345" y="1178"/>
                  <a:pt x="1345" y="1178"/>
                  <a:pt x="1345" y="1178"/>
                </a:cubicBezTo>
                <a:cubicBezTo>
                  <a:pt x="1348" y="1174"/>
                  <a:pt x="1353" y="1174"/>
                  <a:pt x="1357" y="1176"/>
                </a:cubicBezTo>
                <a:cubicBezTo>
                  <a:pt x="1360" y="1179"/>
                  <a:pt x="1361" y="1184"/>
                  <a:pt x="1359" y="1188"/>
                </a:cubicBezTo>
                <a:cubicBezTo>
                  <a:pt x="1357" y="1190"/>
                  <a:pt x="1354" y="1192"/>
                  <a:pt x="1352" y="1192"/>
                </a:cubicBezTo>
                <a:close/>
                <a:moveTo>
                  <a:pt x="1377" y="1154"/>
                </a:moveTo>
                <a:cubicBezTo>
                  <a:pt x="1375" y="1154"/>
                  <a:pt x="1374" y="1154"/>
                  <a:pt x="1373" y="1153"/>
                </a:cubicBezTo>
                <a:cubicBezTo>
                  <a:pt x="1369" y="1150"/>
                  <a:pt x="1367" y="1145"/>
                  <a:pt x="1370" y="1141"/>
                </a:cubicBezTo>
                <a:cubicBezTo>
                  <a:pt x="1387" y="1114"/>
                  <a:pt x="1402" y="1086"/>
                  <a:pt x="1416" y="1057"/>
                </a:cubicBezTo>
                <a:cubicBezTo>
                  <a:pt x="1433" y="1019"/>
                  <a:pt x="1448" y="978"/>
                  <a:pt x="1459" y="937"/>
                </a:cubicBezTo>
                <a:cubicBezTo>
                  <a:pt x="1460" y="932"/>
                  <a:pt x="1465" y="930"/>
                  <a:pt x="1469" y="931"/>
                </a:cubicBezTo>
                <a:cubicBezTo>
                  <a:pt x="1474" y="932"/>
                  <a:pt x="1476" y="937"/>
                  <a:pt x="1475" y="941"/>
                </a:cubicBezTo>
                <a:cubicBezTo>
                  <a:pt x="1464" y="983"/>
                  <a:pt x="1449" y="1025"/>
                  <a:pt x="1431" y="1064"/>
                </a:cubicBezTo>
                <a:cubicBezTo>
                  <a:pt x="1417" y="1094"/>
                  <a:pt x="1402" y="1123"/>
                  <a:pt x="1384" y="1150"/>
                </a:cubicBezTo>
                <a:cubicBezTo>
                  <a:pt x="1383" y="1153"/>
                  <a:pt x="1380" y="1154"/>
                  <a:pt x="1377" y="1154"/>
                </a:cubicBezTo>
                <a:close/>
                <a:moveTo>
                  <a:pt x="46" y="993"/>
                </a:moveTo>
                <a:cubicBezTo>
                  <a:pt x="42" y="993"/>
                  <a:pt x="39" y="990"/>
                  <a:pt x="38" y="987"/>
                </a:cubicBezTo>
                <a:cubicBezTo>
                  <a:pt x="37" y="985"/>
                  <a:pt x="37" y="982"/>
                  <a:pt x="38" y="980"/>
                </a:cubicBezTo>
                <a:cubicBezTo>
                  <a:pt x="39" y="978"/>
                  <a:pt x="41" y="977"/>
                  <a:pt x="43" y="976"/>
                </a:cubicBezTo>
                <a:cubicBezTo>
                  <a:pt x="48" y="975"/>
                  <a:pt x="52" y="977"/>
                  <a:pt x="54" y="981"/>
                </a:cubicBezTo>
                <a:cubicBezTo>
                  <a:pt x="54" y="981"/>
                  <a:pt x="54" y="981"/>
                  <a:pt x="54" y="981"/>
                </a:cubicBezTo>
                <a:cubicBezTo>
                  <a:pt x="54" y="981"/>
                  <a:pt x="54" y="981"/>
                  <a:pt x="54" y="981"/>
                </a:cubicBezTo>
                <a:cubicBezTo>
                  <a:pt x="55" y="986"/>
                  <a:pt x="53" y="991"/>
                  <a:pt x="49" y="992"/>
                </a:cubicBezTo>
                <a:cubicBezTo>
                  <a:pt x="48" y="992"/>
                  <a:pt x="47" y="993"/>
                  <a:pt x="46" y="993"/>
                </a:cubicBezTo>
                <a:close/>
                <a:moveTo>
                  <a:pt x="33" y="949"/>
                </a:moveTo>
                <a:cubicBezTo>
                  <a:pt x="29" y="949"/>
                  <a:pt x="26" y="947"/>
                  <a:pt x="25" y="943"/>
                </a:cubicBezTo>
                <a:cubicBezTo>
                  <a:pt x="21" y="928"/>
                  <a:pt x="17" y="913"/>
                  <a:pt x="14" y="898"/>
                </a:cubicBezTo>
                <a:cubicBezTo>
                  <a:pt x="14" y="896"/>
                  <a:pt x="14" y="894"/>
                  <a:pt x="16" y="892"/>
                </a:cubicBezTo>
                <a:cubicBezTo>
                  <a:pt x="17" y="890"/>
                  <a:pt x="19" y="889"/>
                  <a:pt x="21" y="888"/>
                </a:cubicBezTo>
                <a:cubicBezTo>
                  <a:pt x="26" y="887"/>
                  <a:pt x="30" y="891"/>
                  <a:pt x="31" y="895"/>
                </a:cubicBezTo>
                <a:cubicBezTo>
                  <a:pt x="34" y="910"/>
                  <a:pt x="37" y="924"/>
                  <a:pt x="41" y="939"/>
                </a:cubicBezTo>
                <a:cubicBezTo>
                  <a:pt x="42" y="943"/>
                  <a:pt x="40" y="948"/>
                  <a:pt x="35" y="949"/>
                </a:cubicBezTo>
                <a:cubicBezTo>
                  <a:pt x="34" y="949"/>
                  <a:pt x="34" y="949"/>
                  <a:pt x="33" y="949"/>
                </a:cubicBezTo>
                <a:close/>
                <a:moveTo>
                  <a:pt x="1477" y="903"/>
                </a:moveTo>
                <a:cubicBezTo>
                  <a:pt x="1477" y="903"/>
                  <a:pt x="1476" y="903"/>
                  <a:pt x="1476" y="903"/>
                </a:cubicBezTo>
                <a:cubicBezTo>
                  <a:pt x="1473" y="903"/>
                  <a:pt x="1471" y="901"/>
                  <a:pt x="1470" y="900"/>
                </a:cubicBezTo>
                <a:cubicBezTo>
                  <a:pt x="1469" y="898"/>
                  <a:pt x="1468" y="895"/>
                  <a:pt x="1469" y="893"/>
                </a:cubicBezTo>
                <a:cubicBezTo>
                  <a:pt x="1472" y="879"/>
                  <a:pt x="1474" y="864"/>
                  <a:pt x="1476" y="849"/>
                </a:cubicBezTo>
                <a:cubicBezTo>
                  <a:pt x="1477" y="845"/>
                  <a:pt x="1481" y="841"/>
                  <a:pt x="1486" y="842"/>
                </a:cubicBezTo>
                <a:cubicBezTo>
                  <a:pt x="1488" y="842"/>
                  <a:pt x="1490" y="843"/>
                  <a:pt x="1491" y="845"/>
                </a:cubicBezTo>
                <a:cubicBezTo>
                  <a:pt x="1493" y="847"/>
                  <a:pt x="1493" y="849"/>
                  <a:pt x="1493" y="851"/>
                </a:cubicBezTo>
                <a:cubicBezTo>
                  <a:pt x="1491" y="866"/>
                  <a:pt x="1488" y="882"/>
                  <a:pt x="1486" y="897"/>
                </a:cubicBezTo>
                <a:cubicBezTo>
                  <a:pt x="1485" y="897"/>
                  <a:pt x="1485" y="897"/>
                  <a:pt x="1485" y="897"/>
                </a:cubicBezTo>
                <a:cubicBezTo>
                  <a:pt x="1485" y="901"/>
                  <a:pt x="1481" y="903"/>
                  <a:pt x="1477" y="903"/>
                </a:cubicBezTo>
                <a:close/>
                <a:moveTo>
                  <a:pt x="15" y="861"/>
                </a:moveTo>
                <a:cubicBezTo>
                  <a:pt x="11" y="861"/>
                  <a:pt x="7" y="857"/>
                  <a:pt x="7" y="853"/>
                </a:cubicBezTo>
                <a:cubicBezTo>
                  <a:pt x="2" y="819"/>
                  <a:pt x="0" y="784"/>
                  <a:pt x="0" y="750"/>
                </a:cubicBezTo>
                <a:cubicBezTo>
                  <a:pt x="0" y="708"/>
                  <a:pt x="3" y="666"/>
                  <a:pt x="10" y="625"/>
                </a:cubicBezTo>
                <a:cubicBezTo>
                  <a:pt x="11" y="621"/>
                  <a:pt x="15" y="618"/>
                  <a:pt x="20" y="618"/>
                </a:cubicBezTo>
                <a:cubicBezTo>
                  <a:pt x="24" y="619"/>
                  <a:pt x="28" y="624"/>
                  <a:pt x="27" y="628"/>
                </a:cubicBezTo>
                <a:cubicBezTo>
                  <a:pt x="20" y="668"/>
                  <a:pt x="17" y="709"/>
                  <a:pt x="17" y="750"/>
                </a:cubicBezTo>
                <a:cubicBezTo>
                  <a:pt x="17" y="784"/>
                  <a:pt x="19" y="818"/>
                  <a:pt x="24" y="851"/>
                </a:cubicBezTo>
                <a:cubicBezTo>
                  <a:pt x="24" y="856"/>
                  <a:pt x="21" y="860"/>
                  <a:pt x="16" y="861"/>
                </a:cubicBezTo>
                <a:cubicBezTo>
                  <a:pt x="16" y="861"/>
                  <a:pt x="16" y="861"/>
                  <a:pt x="15" y="861"/>
                </a:cubicBezTo>
                <a:close/>
                <a:moveTo>
                  <a:pt x="1489" y="814"/>
                </a:moveTo>
                <a:cubicBezTo>
                  <a:pt x="1489" y="814"/>
                  <a:pt x="1489" y="814"/>
                  <a:pt x="1489" y="814"/>
                </a:cubicBezTo>
                <a:cubicBezTo>
                  <a:pt x="1486" y="814"/>
                  <a:pt x="1484" y="813"/>
                  <a:pt x="1483" y="811"/>
                </a:cubicBezTo>
                <a:cubicBezTo>
                  <a:pt x="1481" y="809"/>
                  <a:pt x="1481" y="807"/>
                  <a:pt x="1481" y="805"/>
                </a:cubicBezTo>
                <a:cubicBezTo>
                  <a:pt x="1481" y="800"/>
                  <a:pt x="1485" y="796"/>
                  <a:pt x="1490" y="797"/>
                </a:cubicBezTo>
                <a:cubicBezTo>
                  <a:pt x="1495" y="797"/>
                  <a:pt x="1498" y="801"/>
                  <a:pt x="1498" y="806"/>
                </a:cubicBezTo>
                <a:cubicBezTo>
                  <a:pt x="1497" y="810"/>
                  <a:pt x="1494" y="814"/>
                  <a:pt x="1489" y="814"/>
                </a:cubicBezTo>
                <a:close/>
                <a:moveTo>
                  <a:pt x="1491" y="725"/>
                </a:moveTo>
                <a:cubicBezTo>
                  <a:pt x="1486" y="725"/>
                  <a:pt x="1482" y="721"/>
                  <a:pt x="1482" y="716"/>
                </a:cubicBezTo>
                <a:cubicBezTo>
                  <a:pt x="1481" y="702"/>
                  <a:pt x="1480" y="687"/>
                  <a:pt x="1479" y="672"/>
                </a:cubicBezTo>
                <a:cubicBezTo>
                  <a:pt x="1479" y="670"/>
                  <a:pt x="1479" y="667"/>
                  <a:pt x="1481" y="666"/>
                </a:cubicBezTo>
                <a:cubicBezTo>
                  <a:pt x="1482" y="664"/>
                  <a:pt x="1484" y="663"/>
                  <a:pt x="1486" y="663"/>
                </a:cubicBezTo>
                <a:cubicBezTo>
                  <a:pt x="1491" y="662"/>
                  <a:pt x="1495" y="665"/>
                  <a:pt x="1496" y="670"/>
                </a:cubicBezTo>
                <a:cubicBezTo>
                  <a:pt x="1497" y="685"/>
                  <a:pt x="1498" y="700"/>
                  <a:pt x="1499" y="716"/>
                </a:cubicBezTo>
                <a:cubicBezTo>
                  <a:pt x="1499" y="720"/>
                  <a:pt x="1496" y="724"/>
                  <a:pt x="1491" y="725"/>
                </a:cubicBezTo>
                <a:cubicBezTo>
                  <a:pt x="1491" y="725"/>
                  <a:pt x="1491" y="725"/>
                  <a:pt x="1491" y="725"/>
                </a:cubicBezTo>
                <a:close/>
                <a:moveTo>
                  <a:pt x="1481" y="635"/>
                </a:moveTo>
                <a:cubicBezTo>
                  <a:pt x="1477" y="635"/>
                  <a:pt x="1473" y="632"/>
                  <a:pt x="1473" y="628"/>
                </a:cubicBezTo>
                <a:cubicBezTo>
                  <a:pt x="1472" y="625"/>
                  <a:pt x="1473" y="623"/>
                  <a:pt x="1474" y="621"/>
                </a:cubicBezTo>
                <a:cubicBezTo>
                  <a:pt x="1475" y="619"/>
                  <a:pt x="1477" y="618"/>
                  <a:pt x="1480" y="618"/>
                </a:cubicBezTo>
                <a:cubicBezTo>
                  <a:pt x="1484" y="617"/>
                  <a:pt x="1489" y="620"/>
                  <a:pt x="1489" y="625"/>
                </a:cubicBezTo>
                <a:cubicBezTo>
                  <a:pt x="1490" y="627"/>
                  <a:pt x="1489" y="629"/>
                  <a:pt x="1488" y="631"/>
                </a:cubicBezTo>
                <a:cubicBezTo>
                  <a:pt x="1487" y="633"/>
                  <a:pt x="1485" y="634"/>
                  <a:pt x="1482" y="635"/>
                </a:cubicBezTo>
                <a:cubicBezTo>
                  <a:pt x="1482" y="635"/>
                  <a:pt x="1482" y="635"/>
                  <a:pt x="1481" y="635"/>
                </a:cubicBezTo>
                <a:close/>
                <a:moveTo>
                  <a:pt x="27" y="591"/>
                </a:moveTo>
                <a:cubicBezTo>
                  <a:pt x="27" y="591"/>
                  <a:pt x="27" y="591"/>
                  <a:pt x="27" y="591"/>
                </a:cubicBezTo>
                <a:cubicBezTo>
                  <a:pt x="27" y="591"/>
                  <a:pt x="27" y="591"/>
                  <a:pt x="27" y="591"/>
                </a:cubicBezTo>
                <a:cubicBezTo>
                  <a:pt x="27" y="591"/>
                  <a:pt x="26" y="591"/>
                  <a:pt x="25" y="591"/>
                </a:cubicBezTo>
                <a:cubicBezTo>
                  <a:pt x="21" y="590"/>
                  <a:pt x="18" y="585"/>
                  <a:pt x="19" y="580"/>
                </a:cubicBezTo>
                <a:cubicBezTo>
                  <a:pt x="20" y="576"/>
                  <a:pt x="25" y="573"/>
                  <a:pt x="29" y="574"/>
                </a:cubicBezTo>
                <a:cubicBezTo>
                  <a:pt x="34" y="575"/>
                  <a:pt x="37" y="580"/>
                  <a:pt x="35" y="584"/>
                </a:cubicBezTo>
                <a:cubicBezTo>
                  <a:pt x="35" y="588"/>
                  <a:pt x="31" y="591"/>
                  <a:pt x="27" y="591"/>
                </a:cubicBezTo>
                <a:close/>
                <a:moveTo>
                  <a:pt x="1472" y="590"/>
                </a:moveTo>
                <a:cubicBezTo>
                  <a:pt x="1468" y="590"/>
                  <a:pt x="1465" y="588"/>
                  <a:pt x="1464" y="584"/>
                </a:cubicBezTo>
                <a:cubicBezTo>
                  <a:pt x="1453" y="535"/>
                  <a:pt x="1436" y="488"/>
                  <a:pt x="1416" y="443"/>
                </a:cubicBezTo>
                <a:cubicBezTo>
                  <a:pt x="1405" y="420"/>
                  <a:pt x="1394" y="398"/>
                  <a:pt x="1381" y="377"/>
                </a:cubicBezTo>
                <a:cubicBezTo>
                  <a:pt x="1379" y="373"/>
                  <a:pt x="1380" y="368"/>
                  <a:pt x="1384" y="365"/>
                </a:cubicBezTo>
                <a:cubicBezTo>
                  <a:pt x="1388" y="363"/>
                  <a:pt x="1393" y="364"/>
                  <a:pt x="1396" y="368"/>
                </a:cubicBezTo>
                <a:cubicBezTo>
                  <a:pt x="1408" y="390"/>
                  <a:pt x="1420" y="413"/>
                  <a:pt x="1431" y="436"/>
                </a:cubicBezTo>
                <a:cubicBezTo>
                  <a:pt x="1452" y="481"/>
                  <a:pt x="1469" y="530"/>
                  <a:pt x="1480" y="579"/>
                </a:cubicBezTo>
                <a:cubicBezTo>
                  <a:pt x="1480" y="580"/>
                  <a:pt x="1480" y="580"/>
                  <a:pt x="1480" y="580"/>
                </a:cubicBezTo>
                <a:cubicBezTo>
                  <a:pt x="1481" y="584"/>
                  <a:pt x="1479" y="589"/>
                  <a:pt x="1474" y="590"/>
                </a:cubicBezTo>
                <a:cubicBezTo>
                  <a:pt x="1473" y="590"/>
                  <a:pt x="1473" y="590"/>
                  <a:pt x="1472" y="590"/>
                </a:cubicBezTo>
                <a:close/>
                <a:moveTo>
                  <a:pt x="39" y="547"/>
                </a:moveTo>
                <a:cubicBezTo>
                  <a:pt x="38" y="547"/>
                  <a:pt x="37" y="547"/>
                  <a:pt x="36" y="547"/>
                </a:cubicBezTo>
                <a:cubicBezTo>
                  <a:pt x="34" y="546"/>
                  <a:pt x="32" y="545"/>
                  <a:pt x="31" y="543"/>
                </a:cubicBezTo>
                <a:cubicBezTo>
                  <a:pt x="30" y="541"/>
                  <a:pt x="30" y="538"/>
                  <a:pt x="31" y="536"/>
                </a:cubicBezTo>
                <a:cubicBezTo>
                  <a:pt x="35" y="522"/>
                  <a:pt x="40" y="507"/>
                  <a:pt x="45" y="493"/>
                </a:cubicBezTo>
                <a:cubicBezTo>
                  <a:pt x="47" y="488"/>
                  <a:pt x="52" y="486"/>
                  <a:pt x="56" y="488"/>
                </a:cubicBezTo>
                <a:cubicBezTo>
                  <a:pt x="60" y="489"/>
                  <a:pt x="63" y="494"/>
                  <a:pt x="61" y="499"/>
                </a:cubicBezTo>
                <a:cubicBezTo>
                  <a:pt x="56" y="513"/>
                  <a:pt x="51" y="527"/>
                  <a:pt x="47" y="541"/>
                </a:cubicBezTo>
                <a:cubicBezTo>
                  <a:pt x="46" y="545"/>
                  <a:pt x="42" y="547"/>
                  <a:pt x="39" y="547"/>
                </a:cubicBezTo>
                <a:close/>
                <a:moveTo>
                  <a:pt x="70" y="462"/>
                </a:moveTo>
                <a:cubicBezTo>
                  <a:pt x="69" y="462"/>
                  <a:pt x="67" y="462"/>
                  <a:pt x="66" y="461"/>
                </a:cubicBezTo>
                <a:cubicBezTo>
                  <a:pt x="64" y="461"/>
                  <a:pt x="63" y="459"/>
                  <a:pt x="62" y="457"/>
                </a:cubicBezTo>
                <a:cubicBezTo>
                  <a:pt x="61" y="455"/>
                  <a:pt x="61" y="452"/>
                  <a:pt x="62" y="450"/>
                </a:cubicBezTo>
                <a:cubicBezTo>
                  <a:pt x="93" y="380"/>
                  <a:pt x="134" y="316"/>
                  <a:pt x="184" y="258"/>
                </a:cubicBezTo>
                <a:cubicBezTo>
                  <a:pt x="184" y="258"/>
                  <a:pt x="184" y="258"/>
                  <a:pt x="184" y="258"/>
                </a:cubicBezTo>
                <a:cubicBezTo>
                  <a:pt x="187" y="254"/>
                  <a:pt x="193" y="254"/>
                  <a:pt x="196" y="257"/>
                </a:cubicBezTo>
                <a:cubicBezTo>
                  <a:pt x="199" y="260"/>
                  <a:pt x="200" y="265"/>
                  <a:pt x="197" y="269"/>
                </a:cubicBezTo>
                <a:cubicBezTo>
                  <a:pt x="147" y="325"/>
                  <a:pt x="107" y="389"/>
                  <a:pt x="78" y="457"/>
                </a:cubicBezTo>
                <a:cubicBezTo>
                  <a:pt x="76" y="460"/>
                  <a:pt x="73" y="462"/>
                  <a:pt x="70" y="462"/>
                </a:cubicBezTo>
                <a:close/>
                <a:moveTo>
                  <a:pt x="1364" y="343"/>
                </a:moveTo>
                <a:cubicBezTo>
                  <a:pt x="1364" y="343"/>
                  <a:pt x="1364" y="343"/>
                  <a:pt x="1364" y="343"/>
                </a:cubicBezTo>
                <a:cubicBezTo>
                  <a:pt x="1361" y="343"/>
                  <a:pt x="1359" y="341"/>
                  <a:pt x="1357" y="339"/>
                </a:cubicBezTo>
                <a:cubicBezTo>
                  <a:pt x="1349" y="327"/>
                  <a:pt x="1340" y="315"/>
                  <a:pt x="1331" y="303"/>
                </a:cubicBezTo>
                <a:cubicBezTo>
                  <a:pt x="1328" y="299"/>
                  <a:pt x="1329" y="294"/>
                  <a:pt x="1332" y="291"/>
                </a:cubicBezTo>
                <a:cubicBezTo>
                  <a:pt x="1336" y="288"/>
                  <a:pt x="1341" y="289"/>
                  <a:pt x="1344" y="293"/>
                </a:cubicBezTo>
                <a:cubicBezTo>
                  <a:pt x="1353" y="304"/>
                  <a:pt x="1362" y="317"/>
                  <a:pt x="1371" y="330"/>
                </a:cubicBezTo>
                <a:cubicBezTo>
                  <a:pt x="1371" y="330"/>
                  <a:pt x="1371" y="330"/>
                  <a:pt x="1371" y="330"/>
                </a:cubicBezTo>
                <a:cubicBezTo>
                  <a:pt x="1372" y="332"/>
                  <a:pt x="1373" y="334"/>
                  <a:pt x="1372" y="336"/>
                </a:cubicBezTo>
                <a:cubicBezTo>
                  <a:pt x="1372" y="338"/>
                  <a:pt x="1371" y="340"/>
                  <a:pt x="1369" y="341"/>
                </a:cubicBezTo>
                <a:cubicBezTo>
                  <a:pt x="1367" y="342"/>
                  <a:pt x="1366" y="343"/>
                  <a:pt x="1364" y="343"/>
                </a:cubicBezTo>
                <a:close/>
                <a:moveTo>
                  <a:pt x="1309" y="271"/>
                </a:moveTo>
                <a:cubicBezTo>
                  <a:pt x="1306" y="271"/>
                  <a:pt x="1304" y="270"/>
                  <a:pt x="1302" y="268"/>
                </a:cubicBezTo>
                <a:cubicBezTo>
                  <a:pt x="1301" y="267"/>
                  <a:pt x="1300" y="264"/>
                  <a:pt x="1300" y="262"/>
                </a:cubicBezTo>
                <a:cubicBezTo>
                  <a:pt x="1300" y="260"/>
                  <a:pt x="1301" y="258"/>
                  <a:pt x="1303" y="256"/>
                </a:cubicBezTo>
                <a:cubicBezTo>
                  <a:pt x="1307" y="253"/>
                  <a:pt x="1312" y="254"/>
                  <a:pt x="1315" y="257"/>
                </a:cubicBezTo>
                <a:cubicBezTo>
                  <a:pt x="1315" y="257"/>
                  <a:pt x="1315" y="257"/>
                  <a:pt x="1315" y="257"/>
                </a:cubicBezTo>
                <a:cubicBezTo>
                  <a:pt x="1318" y="261"/>
                  <a:pt x="1318" y="266"/>
                  <a:pt x="1314" y="269"/>
                </a:cubicBezTo>
                <a:cubicBezTo>
                  <a:pt x="1313" y="270"/>
                  <a:pt x="1311" y="271"/>
                  <a:pt x="1309" y="271"/>
                </a:cubicBezTo>
                <a:close/>
                <a:moveTo>
                  <a:pt x="221" y="238"/>
                </a:moveTo>
                <a:cubicBezTo>
                  <a:pt x="219" y="238"/>
                  <a:pt x="217" y="238"/>
                  <a:pt x="215" y="236"/>
                </a:cubicBezTo>
                <a:cubicBezTo>
                  <a:pt x="212" y="233"/>
                  <a:pt x="212" y="227"/>
                  <a:pt x="215" y="224"/>
                </a:cubicBezTo>
                <a:cubicBezTo>
                  <a:pt x="218" y="221"/>
                  <a:pt x="224" y="221"/>
                  <a:pt x="227" y="224"/>
                </a:cubicBezTo>
                <a:cubicBezTo>
                  <a:pt x="230" y="227"/>
                  <a:pt x="230" y="233"/>
                  <a:pt x="227" y="236"/>
                </a:cubicBezTo>
                <a:cubicBezTo>
                  <a:pt x="226" y="238"/>
                  <a:pt x="223" y="238"/>
                  <a:pt x="221" y="238"/>
                </a:cubicBezTo>
                <a:close/>
                <a:moveTo>
                  <a:pt x="1278" y="238"/>
                </a:moveTo>
                <a:cubicBezTo>
                  <a:pt x="1276" y="238"/>
                  <a:pt x="1274" y="237"/>
                  <a:pt x="1272" y="236"/>
                </a:cubicBezTo>
                <a:cubicBezTo>
                  <a:pt x="1265" y="228"/>
                  <a:pt x="1257" y="221"/>
                  <a:pt x="1250" y="214"/>
                </a:cubicBezTo>
                <a:cubicBezTo>
                  <a:pt x="1203" y="170"/>
                  <a:pt x="1150" y="133"/>
                  <a:pt x="1093" y="102"/>
                </a:cubicBezTo>
                <a:cubicBezTo>
                  <a:pt x="1091" y="101"/>
                  <a:pt x="1090" y="99"/>
                  <a:pt x="1089" y="97"/>
                </a:cubicBezTo>
                <a:cubicBezTo>
                  <a:pt x="1089" y="95"/>
                  <a:pt x="1089" y="93"/>
                  <a:pt x="1090" y="91"/>
                </a:cubicBezTo>
                <a:cubicBezTo>
                  <a:pt x="1092" y="87"/>
                  <a:pt x="1097" y="85"/>
                  <a:pt x="1101" y="87"/>
                </a:cubicBezTo>
                <a:cubicBezTo>
                  <a:pt x="1160" y="118"/>
                  <a:pt x="1214" y="157"/>
                  <a:pt x="1262" y="202"/>
                </a:cubicBezTo>
                <a:cubicBezTo>
                  <a:pt x="1269" y="209"/>
                  <a:pt x="1277" y="216"/>
                  <a:pt x="1284" y="224"/>
                </a:cubicBezTo>
                <a:cubicBezTo>
                  <a:pt x="1287" y="227"/>
                  <a:pt x="1287" y="232"/>
                  <a:pt x="1284" y="236"/>
                </a:cubicBezTo>
                <a:cubicBezTo>
                  <a:pt x="1282" y="237"/>
                  <a:pt x="1280" y="238"/>
                  <a:pt x="1278" y="238"/>
                </a:cubicBezTo>
                <a:close/>
                <a:moveTo>
                  <a:pt x="254" y="207"/>
                </a:moveTo>
                <a:cubicBezTo>
                  <a:pt x="251" y="207"/>
                  <a:pt x="249" y="206"/>
                  <a:pt x="247" y="204"/>
                </a:cubicBezTo>
                <a:cubicBezTo>
                  <a:pt x="246" y="203"/>
                  <a:pt x="245" y="201"/>
                  <a:pt x="245" y="198"/>
                </a:cubicBezTo>
                <a:cubicBezTo>
                  <a:pt x="245" y="196"/>
                  <a:pt x="246" y="194"/>
                  <a:pt x="248" y="192"/>
                </a:cubicBezTo>
                <a:cubicBezTo>
                  <a:pt x="259" y="182"/>
                  <a:pt x="271" y="172"/>
                  <a:pt x="283" y="163"/>
                </a:cubicBezTo>
                <a:cubicBezTo>
                  <a:pt x="287" y="160"/>
                  <a:pt x="292" y="161"/>
                  <a:pt x="295" y="164"/>
                </a:cubicBezTo>
                <a:cubicBezTo>
                  <a:pt x="298" y="168"/>
                  <a:pt x="297" y="173"/>
                  <a:pt x="294" y="176"/>
                </a:cubicBezTo>
                <a:cubicBezTo>
                  <a:pt x="282" y="185"/>
                  <a:pt x="270" y="195"/>
                  <a:pt x="259" y="205"/>
                </a:cubicBezTo>
                <a:cubicBezTo>
                  <a:pt x="258" y="206"/>
                  <a:pt x="256" y="207"/>
                  <a:pt x="254" y="207"/>
                </a:cubicBezTo>
                <a:close/>
                <a:moveTo>
                  <a:pt x="325" y="151"/>
                </a:moveTo>
                <a:cubicBezTo>
                  <a:pt x="322" y="151"/>
                  <a:pt x="319" y="150"/>
                  <a:pt x="318" y="147"/>
                </a:cubicBezTo>
                <a:cubicBezTo>
                  <a:pt x="316" y="145"/>
                  <a:pt x="316" y="143"/>
                  <a:pt x="316" y="141"/>
                </a:cubicBezTo>
                <a:cubicBezTo>
                  <a:pt x="317" y="139"/>
                  <a:pt x="318" y="137"/>
                  <a:pt x="320" y="135"/>
                </a:cubicBezTo>
                <a:cubicBezTo>
                  <a:pt x="361" y="106"/>
                  <a:pt x="405" y="82"/>
                  <a:pt x="451" y="62"/>
                </a:cubicBezTo>
                <a:cubicBezTo>
                  <a:pt x="475" y="52"/>
                  <a:pt x="499" y="42"/>
                  <a:pt x="524" y="34"/>
                </a:cubicBezTo>
                <a:cubicBezTo>
                  <a:pt x="524" y="34"/>
                  <a:pt x="524" y="34"/>
                  <a:pt x="524" y="34"/>
                </a:cubicBezTo>
                <a:cubicBezTo>
                  <a:pt x="524" y="34"/>
                  <a:pt x="524" y="34"/>
                  <a:pt x="524" y="34"/>
                </a:cubicBezTo>
                <a:cubicBezTo>
                  <a:pt x="529" y="33"/>
                  <a:pt x="533" y="36"/>
                  <a:pt x="535" y="40"/>
                </a:cubicBezTo>
                <a:cubicBezTo>
                  <a:pt x="536" y="44"/>
                  <a:pt x="534" y="49"/>
                  <a:pt x="529" y="51"/>
                </a:cubicBezTo>
                <a:cubicBezTo>
                  <a:pt x="505" y="58"/>
                  <a:pt x="481" y="67"/>
                  <a:pt x="458" y="77"/>
                </a:cubicBezTo>
                <a:cubicBezTo>
                  <a:pt x="413" y="97"/>
                  <a:pt x="370" y="121"/>
                  <a:pt x="329" y="149"/>
                </a:cubicBezTo>
                <a:cubicBezTo>
                  <a:pt x="328" y="150"/>
                  <a:pt x="326" y="151"/>
                  <a:pt x="325" y="151"/>
                </a:cubicBezTo>
                <a:close/>
                <a:moveTo>
                  <a:pt x="1057" y="83"/>
                </a:moveTo>
                <a:cubicBezTo>
                  <a:pt x="1056" y="83"/>
                  <a:pt x="1054" y="83"/>
                  <a:pt x="1053" y="82"/>
                </a:cubicBezTo>
                <a:cubicBezTo>
                  <a:pt x="1040" y="76"/>
                  <a:pt x="1026" y="70"/>
                  <a:pt x="1012" y="65"/>
                </a:cubicBezTo>
                <a:cubicBezTo>
                  <a:pt x="1008" y="64"/>
                  <a:pt x="1005" y="59"/>
                  <a:pt x="1007" y="54"/>
                </a:cubicBezTo>
                <a:cubicBezTo>
                  <a:pt x="1009" y="50"/>
                  <a:pt x="1014" y="48"/>
                  <a:pt x="1018" y="49"/>
                </a:cubicBezTo>
                <a:cubicBezTo>
                  <a:pt x="1032" y="55"/>
                  <a:pt x="1046" y="61"/>
                  <a:pt x="1060" y="67"/>
                </a:cubicBezTo>
                <a:cubicBezTo>
                  <a:pt x="1065" y="69"/>
                  <a:pt x="1066" y="74"/>
                  <a:pt x="1064" y="78"/>
                </a:cubicBezTo>
                <a:cubicBezTo>
                  <a:pt x="1063" y="81"/>
                  <a:pt x="1060" y="83"/>
                  <a:pt x="1057" y="83"/>
                </a:cubicBezTo>
                <a:close/>
                <a:moveTo>
                  <a:pt x="972" y="51"/>
                </a:moveTo>
                <a:cubicBezTo>
                  <a:pt x="971" y="51"/>
                  <a:pt x="971" y="51"/>
                  <a:pt x="970" y="50"/>
                </a:cubicBezTo>
                <a:cubicBezTo>
                  <a:pt x="968" y="50"/>
                  <a:pt x="966" y="48"/>
                  <a:pt x="965" y="46"/>
                </a:cubicBezTo>
                <a:cubicBezTo>
                  <a:pt x="964" y="44"/>
                  <a:pt x="964" y="42"/>
                  <a:pt x="964" y="40"/>
                </a:cubicBezTo>
                <a:cubicBezTo>
                  <a:pt x="966" y="35"/>
                  <a:pt x="970" y="33"/>
                  <a:pt x="975" y="34"/>
                </a:cubicBezTo>
                <a:cubicBezTo>
                  <a:pt x="979" y="36"/>
                  <a:pt x="982" y="40"/>
                  <a:pt x="980" y="45"/>
                </a:cubicBezTo>
                <a:cubicBezTo>
                  <a:pt x="979" y="48"/>
                  <a:pt x="976" y="51"/>
                  <a:pt x="972" y="51"/>
                </a:cubicBezTo>
                <a:close/>
                <a:moveTo>
                  <a:pt x="570" y="39"/>
                </a:moveTo>
                <a:cubicBezTo>
                  <a:pt x="570" y="39"/>
                  <a:pt x="570" y="39"/>
                  <a:pt x="570" y="39"/>
                </a:cubicBezTo>
                <a:cubicBezTo>
                  <a:pt x="566" y="39"/>
                  <a:pt x="563" y="36"/>
                  <a:pt x="562" y="32"/>
                </a:cubicBezTo>
                <a:cubicBezTo>
                  <a:pt x="561" y="28"/>
                  <a:pt x="564" y="23"/>
                  <a:pt x="568" y="22"/>
                </a:cubicBezTo>
                <a:cubicBezTo>
                  <a:pt x="573" y="21"/>
                  <a:pt x="577" y="24"/>
                  <a:pt x="578" y="28"/>
                </a:cubicBezTo>
                <a:cubicBezTo>
                  <a:pt x="579" y="31"/>
                  <a:pt x="579" y="33"/>
                  <a:pt x="577" y="35"/>
                </a:cubicBezTo>
                <a:cubicBezTo>
                  <a:pt x="577" y="36"/>
                  <a:pt x="575" y="37"/>
                  <a:pt x="573" y="38"/>
                </a:cubicBezTo>
                <a:cubicBezTo>
                  <a:pt x="574" y="38"/>
                  <a:pt x="574" y="38"/>
                  <a:pt x="574" y="38"/>
                </a:cubicBezTo>
                <a:cubicBezTo>
                  <a:pt x="572" y="39"/>
                  <a:pt x="572" y="39"/>
                  <a:pt x="572" y="39"/>
                </a:cubicBezTo>
                <a:cubicBezTo>
                  <a:pt x="572" y="39"/>
                  <a:pt x="571" y="39"/>
                  <a:pt x="570" y="39"/>
                </a:cubicBezTo>
                <a:close/>
                <a:moveTo>
                  <a:pt x="929" y="39"/>
                </a:moveTo>
                <a:cubicBezTo>
                  <a:pt x="928" y="39"/>
                  <a:pt x="927" y="39"/>
                  <a:pt x="927" y="38"/>
                </a:cubicBezTo>
                <a:cubicBezTo>
                  <a:pt x="869" y="24"/>
                  <a:pt x="810" y="17"/>
                  <a:pt x="750" y="17"/>
                </a:cubicBezTo>
                <a:cubicBezTo>
                  <a:pt x="744" y="17"/>
                  <a:pt x="738" y="17"/>
                  <a:pt x="733" y="17"/>
                </a:cubicBezTo>
                <a:cubicBezTo>
                  <a:pt x="724" y="17"/>
                  <a:pt x="714" y="18"/>
                  <a:pt x="705" y="18"/>
                </a:cubicBezTo>
                <a:cubicBezTo>
                  <a:pt x="700" y="19"/>
                  <a:pt x="696" y="15"/>
                  <a:pt x="696" y="10"/>
                </a:cubicBezTo>
                <a:cubicBezTo>
                  <a:pt x="695" y="6"/>
                  <a:pt x="699" y="2"/>
                  <a:pt x="704" y="1"/>
                </a:cubicBezTo>
                <a:cubicBezTo>
                  <a:pt x="713" y="1"/>
                  <a:pt x="723" y="0"/>
                  <a:pt x="733" y="0"/>
                </a:cubicBezTo>
                <a:cubicBezTo>
                  <a:pt x="738" y="0"/>
                  <a:pt x="744" y="0"/>
                  <a:pt x="750" y="0"/>
                </a:cubicBezTo>
                <a:cubicBezTo>
                  <a:pt x="811" y="0"/>
                  <a:pt x="872" y="7"/>
                  <a:pt x="931" y="22"/>
                </a:cubicBezTo>
                <a:cubicBezTo>
                  <a:pt x="933" y="23"/>
                  <a:pt x="935" y="24"/>
                  <a:pt x="936" y="26"/>
                </a:cubicBezTo>
                <a:cubicBezTo>
                  <a:pt x="937" y="28"/>
                  <a:pt x="938" y="30"/>
                  <a:pt x="937" y="32"/>
                </a:cubicBezTo>
                <a:cubicBezTo>
                  <a:pt x="936" y="36"/>
                  <a:pt x="933" y="39"/>
                  <a:pt x="929" y="39"/>
                </a:cubicBezTo>
                <a:close/>
                <a:moveTo>
                  <a:pt x="614" y="29"/>
                </a:moveTo>
                <a:cubicBezTo>
                  <a:pt x="610" y="29"/>
                  <a:pt x="607" y="26"/>
                  <a:pt x="606" y="22"/>
                </a:cubicBezTo>
                <a:cubicBezTo>
                  <a:pt x="605" y="18"/>
                  <a:pt x="608" y="13"/>
                  <a:pt x="613" y="12"/>
                </a:cubicBezTo>
                <a:cubicBezTo>
                  <a:pt x="628" y="10"/>
                  <a:pt x="643" y="7"/>
                  <a:pt x="658" y="6"/>
                </a:cubicBezTo>
                <a:cubicBezTo>
                  <a:pt x="658" y="6"/>
                  <a:pt x="658" y="6"/>
                  <a:pt x="658" y="6"/>
                </a:cubicBezTo>
                <a:cubicBezTo>
                  <a:pt x="663" y="5"/>
                  <a:pt x="667" y="8"/>
                  <a:pt x="668" y="13"/>
                </a:cubicBezTo>
                <a:cubicBezTo>
                  <a:pt x="668" y="18"/>
                  <a:pt x="665" y="22"/>
                  <a:pt x="660" y="22"/>
                </a:cubicBezTo>
                <a:cubicBezTo>
                  <a:pt x="645" y="24"/>
                  <a:pt x="631" y="26"/>
                  <a:pt x="616" y="29"/>
                </a:cubicBezTo>
                <a:cubicBezTo>
                  <a:pt x="615" y="29"/>
                  <a:pt x="615" y="29"/>
                  <a:pt x="614" y="29"/>
                </a:cubicBezTo>
                <a:close/>
              </a:path>
            </a:pathLst>
          </a:custGeom>
          <a:solidFill>
            <a:schemeClr val="accent2"/>
          </a:solidFill>
          <a:ln>
            <a:noFill/>
          </a:ln>
        </p:spPr>
        <p:txBody>
          <a:bodyPr vert="horz" wrap="square" lIns="45714" tIns="22857" rIns="45714" bIns="22857" numCol="1" anchor="t" anchorCtr="0" compatLnSpc="1">
            <a:prstTxWarp prst="textNoShape">
              <a:avLst/>
            </a:prstTxWarp>
          </a:body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US" sz="900" b="0" i="0" u="none" strike="noStrike" kern="1200" cap="none" spc="0" normalizeH="0" baseline="0" noProof="0">
              <a:ln>
                <a:noFill/>
              </a:ln>
              <a:solidFill>
                <a:srgbClr val="343A3F"/>
              </a:solidFill>
              <a:effectLst/>
              <a:uLnTx/>
              <a:uFillTx/>
              <a:latin typeface="Roboto Light"/>
              <a:ea typeface="+mn-ea"/>
              <a:cs typeface="+mn-cs"/>
            </a:endParaRPr>
          </a:p>
        </p:txBody>
      </p:sp>
      <p:sp>
        <p:nvSpPr>
          <p:cNvPr id="3" name="Rectangle: Rounded Corners 2">
            <a:extLst>
              <a:ext uri="{FF2B5EF4-FFF2-40B4-BE49-F238E27FC236}">
                <a16:creationId xmlns:a16="http://schemas.microsoft.com/office/drawing/2014/main" id="{49DD84B6-ED55-4EB0-B1B2-61E8BD0AFC16}"/>
              </a:ext>
            </a:extLst>
          </p:cNvPr>
          <p:cNvSpPr/>
          <p:nvPr/>
        </p:nvSpPr>
        <p:spPr>
          <a:xfrm>
            <a:off x="4527027" y="3595752"/>
            <a:ext cx="3137947" cy="806377"/>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a:ln>
                <a:noFill/>
              </a:ln>
              <a:solidFill>
                <a:srgbClr val="FFFFFF"/>
              </a:solidFill>
              <a:effectLst/>
              <a:uLnTx/>
              <a:uFillTx/>
              <a:latin typeface="Roboto Light"/>
              <a:ea typeface="+mn-ea"/>
              <a:cs typeface="+mn-cs"/>
            </a:endParaRPr>
          </a:p>
        </p:txBody>
      </p:sp>
      <p:sp>
        <p:nvSpPr>
          <p:cNvPr id="4" name="TextBox 3">
            <a:extLst>
              <a:ext uri="{FF2B5EF4-FFF2-40B4-BE49-F238E27FC236}">
                <a16:creationId xmlns:a16="http://schemas.microsoft.com/office/drawing/2014/main" id="{55DFA584-9037-4A51-963C-DEBC18501164}"/>
              </a:ext>
            </a:extLst>
          </p:cNvPr>
          <p:cNvSpPr txBox="1"/>
          <p:nvPr/>
        </p:nvSpPr>
        <p:spPr>
          <a:xfrm>
            <a:off x="5340823" y="2000311"/>
            <a:ext cx="1510350" cy="400110"/>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ct val="0"/>
              </a:spcBef>
              <a:spcAft>
                <a:spcPct val="0"/>
              </a:spcAft>
              <a:buClrTx/>
              <a:buSzTx/>
              <a:buFontTx/>
              <a:buNone/>
              <a:defRPr/>
            </a:pPr>
            <a:r>
              <a:rPr lang="he-IL" sz="2000" b="1" noProof="0">
                <a:solidFill>
                  <a:srgbClr val="3C5B7B"/>
                </a:solidFill>
                <a:latin typeface="Calibri" panose="020F0502020204030204" pitchFamily="34" charset="0"/>
                <a:ea typeface="Calibri" panose="020F0502020204030204" pitchFamily="34" charset="0"/>
                <a:cs typeface="Calibri" panose="020F0502020204030204" pitchFamily="34" charset="0"/>
              </a:rPr>
              <a:t>שנת היווסדות</a:t>
            </a:r>
            <a:endParaRPr kumimoji="0" lang="en-US" sz="2000" b="1" i="0" u="none" strike="noStrike" kern="1200" cap="none" spc="0" normalizeH="0" baseline="0" noProof="0">
              <a:ln>
                <a:noFill/>
              </a:ln>
              <a:solidFill>
                <a:srgbClr val="3C5B7B"/>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5" name="TextBox 4">
            <a:extLst>
              <a:ext uri="{FF2B5EF4-FFF2-40B4-BE49-F238E27FC236}">
                <a16:creationId xmlns:a16="http://schemas.microsoft.com/office/drawing/2014/main" id="{423C3B24-3304-43CB-8F7C-AD4B6921672B}"/>
              </a:ext>
            </a:extLst>
          </p:cNvPr>
          <p:cNvSpPr txBox="1"/>
          <p:nvPr/>
        </p:nvSpPr>
        <p:spPr>
          <a:xfrm>
            <a:off x="4926460" y="3768108"/>
            <a:ext cx="2339102" cy="461665"/>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ct val="0"/>
              </a:spcBef>
              <a:spcAft>
                <a:spcPct val="0"/>
              </a:spcAft>
              <a:buClrTx/>
              <a:buSzTx/>
              <a:buFontTx/>
              <a:buNone/>
              <a:defRPr/>
            </a:pPr>
            <a:r>
              <a:rPr lang="he-IL" sz="2400" b="1" noProof="0" dirty="0" err="1">
                <a:solidFill>
                  <a:srgbClr val="FFFFFF"/>
                </a:solidFill>
                <a:latin typeface="Calibri" panose="020F0502020204030204" pitchFamily="34" charset="0"/>
                <a:ea typeface="Calibri" panose="020F0502020204030204" pitchFamily="34" charset="0"/>
                <a:cs typeface="Calibri" panose="020F0502020204030204" pitchFamily="34" charset="0"/>
              </a:rPr>
              <a:t>פלטרנספורט</a:t>
            </a:r>
            <a:r>
              <a:rPr lang="he-IL" sz="2400" b="1" noProof="0" dirty="0">
                <a:solidFill>
                  <a:srgbClr val="FFFFFF"/>
                </a:solidFill>
                <a:latin typeface="Calibri" panose="020F0502020204030204" pitchFamily="34" charset="0"/>
                <a:ea typeface="Calibri" panose="020F0502020204030204" pitchFamily="34" charset="0"/>
                <a:cs typeface="Calibri" panose="020F0502020204030204" pitchFamily="34" charset="0"/>
              </a:rPr>
              <a:t> בע"מ</a:t>
            </a:r>
            <a:endParaRPr kumimoji="0" lang="en-US" sz="2400" b="1"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6" name="TextBox 5">
            <a:extLst>
              <a:ext uri="{FF2B5EF4-FFF2-40B4-BE49-F238E27FC236}">
                <a16:creationId xmlns:a16="http://schemas.microsoft.com/office/drawing/2014/main" id="{5AD12F5F-41A7-4D03-995E-C0045162928A}"/>
              </a:ext>
            </a:extLst>
          </p:cNvPr>
          <p:cNvSpPr txBox="1"/>
          <p:nvPr/>
        </p:nvSpPr>
        <p:spPr>
          <a:xfrm>
            <a:off x="4941679" y="2354222"/>
            <a:ext cx="2308645" cy="1154034"/>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ct val="0"/>
              </a:spcBef>
              <a:spcAft>
                <a:spcPct val="0"/>
              </a:spcAft>
              <a:buClrTx/>
              <a:buSzTx/>
              <a:buFontTx/>
              <a:buNone/>
              <a:defRPr/>
            </a:pPr>
            <a:r>
              <a:rPr kumimoji="0" lang="en-US" sz="6899" b="1" i="0" u="none" strike="noStrike" kern="1200" cap="none" spc="0" normalizeH="0" baseline="0" noProof="0" dirty="0">
                <a:ln>
                  <a:noFill/>
                </a:ln>
                <a:solidFill>
                  <a:srgbClr val="004C99"/>
                </a:solidFill>
                <a:effectLst/>
                <a:uLnTx/>
                <a:uFillTx/>
                <a:latin typeface="Univia Pro"/>
                <a:ea typeface="+mn-ea"/>
                <a:cs typeface="+mn-cs"/>
              </a:rPr>
              <a:t>1947</a:t>
            </a:r>
          </a:p>
        </p:txBody>
      </p:sp>
      <p:cxnSp>
        <p:nvCxnSpPr>
          <p:cNvPr id="18" name="Straight Connector 17">
            <a:extLst>
              <a:ext uri="{FF2B5EF4-FFF2-40B4-BE49-F238E27FC236}">
                <a16:creationId xmlns:a16="http://schemas.microsoft.com/office/drawing/2014/main" id="{7BD6B961-4BCF-42B2-8437-6175E15D63CE}"/>
              </a:ext>
            </a:extLst>
          </p:cNvPr>
          <p:cNvCxnSpPr>
            <a:stCxn id="3" idx="2"/>
          </p:cNvCxnSpPr>
          <p:nvPr/>
        </p:nvCxnSpPr>
        <p:spPr>
          <a:xfrm flipH="1">
            <a:off x="6096000" y="4402129"/>
            <a:ext cx="1" cy="2455424"/>
          </a:xfrm>
          <a:prstGeom prst="line">
            <a:avLst/>
          </a:prstGeom>
          <a:ln w="635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1424124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1" dur="1000" decel="10000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1000" fill="hold"/>
                                        <p:tgtEl>
                                          <p:spTgt spid="3"/>
                                        </p:tgtEl>
                                        <p:attrNameLst>
                                          <p:attrName>ppt_x</p:attrName>
                                        </p:attrNameLst>
                                      </p:cBhvr>
                                      <p:tavLst>
                                        <p:tav tm="0">
                                          <p:val>
                                            <p:strVal val="#ppt_x"/>
                                          </p:val>
                                        </p:tav>
                                        <p:tav tm="100000">
                                          <p:val>
                                            <p:strVal val="#ppt_x"/>
                                          </p:val>
                                        </p:tav>
                                      </p:tavLst>
                                    </p:anim>
                                    <p:anim calcmode="lin" valueType="num">
                                      <p:cBhvr additive="base">
                                        <p:cTn id="8" dur="1000" fill="hold"/>
                                        <p:tgtEl>
                                          <p:spTgt spid="3"/>
                                        </p:tgtEl>
                                        <p:attrNameLst>
                                          <p:attrName>ppt_y</p:attrName>
                                        </p:attrNameLst>
                                      </p:cBhvr>
                                      <p:tavLst>
                                        <p:tav tm="0">
                                          <p:val>
                                            <p:strVal val="0-#ppt_h/2"/>
                                          </p:val>
                                        </p:tav>
                                        <p:tav tm="100000">
                                          <p:val>
                                            <p:strVal val="#ppt_y"/>
                                          </p:val>
                                        </p:tav>
                                      </p:tavLst>
                                    </p:anim>
                                  </p:childTnLst>
                                </p:cTn>
                              </p:par>
                              <p:par>
                                <p:cTn id="9" presetID="2" presetClass="entr" presetSubtype="1" dur="1000" decel="100000" fill="hold" grpId="0" nodeType="withEffect">
                                  <p:stCondLst>
                                    <p:cond delay="0"/>
                                  </p:stCondLst>
                                  <p:childTnLst>
                                    <p:set>
                                      <p:cBhvr>
                                        <p:cTn id="10" dur="1" fill="hold">
                                          <p:stCondLst>
                                            <p:cond delay="0"/>
                                          </p:stCondLst>
                                        </p:cTn>
                                        <p:tgtEl>
                                          <p:spTgt spid="6"/>
                                        </p:tgtEl>
                                        <p:attrNameLst>
                                          <p:attrName>style.visibility</p:attrName>
                                        </p:attrNameLst>
                                      </p:cBhvr>
                                      <p:to>
                                        <p:strVal val="visible"/>
                                      </p:to>
                                    </p:set>
                                    <p:anim calcmode="lin" valueType="num">
                                      <p:cBhvr additive="base">
                                        <p:cTn id="11" dur="1000" fill="hold"/>
                                        <p:tgtEl>
                                          <p:spTgt spid="6"/>
                                        </p:tgtEl>
                                        <p:attrNameLst>
                                          <p:attrName>ppt_x</p:attrName>
                                        </p:attrNameLst>
                                      </p:cBhvr>
                                      <p:tavLst>
                                        <p:tav tm="0">
                                          <p:val>
                                            <p:strVal val="#ppt_x"/>
                                          </p:val>
                                        </p:tav>
                                        <p:tav tm="100000">
                                          <p:val>
                                            <p:strVal val="#ppt_x"/>
                                          </p:val>
                                        </p:tav>
                                      </p:tavLst>
                                    </p:anim>
                                    <p:anim calcmode="lin" valueType="num">
                                      <p:cBhvr additive="base">
                                        <p:cTn id="12" dur="1000" fill="hold"/>
                                        <p:tgtEl>
                                          <p:spTgt spid="6"/>
                                        </p:tgtEl>
                                        <p:attrNameLst>
                                          <p:attrName>ppt_y</p:attrName>
                                        </p:attrNameLst>
                                      </p:cBhvr>
                                      <p:tavLst>
                                        <p:tav tm="0">
                                          <p:val>
                                            <p:strVal val="0-#ppt_h/2"/>
                                          </p:val>
                                        </p:tav>
                                        <p:tav tm="100000">
                                          <p:val>
                                            <p:strVal val="#ppt_y"/>
                                          </p:val>
                                        </p:tav>
                                      </p:tavLst>
                                    </p:anim>
                                  </p:childTnLst>
                                </p:cTn>
                              </p:par>
                              <p:par>
                                <p:cTn id="13" presetID="2" presetClass="entr" presetSubtype="1" dur="1000" decel="100000" fill="hold" grpId="0" nodeType="withEffect">
                                  <p:stCondLst>
                                    <p:cond delay="0"/>
                                  </p:stCondLst>
                                  <p:childTnLst>
                                    <p:set>
                                      <p:cBhvr>
                                        <p:cTn id="14" dur="1" fill="hold">
                                          <p:stCondLst>
                                            <p:cond delay="0"/>
                                          </p:stCondLst>
                                        </p:cTn>
                                        <p:tgtEl>
                                          <p:spTgt spid="4"/>
                                        </p:tgtEl>
                                        <p:attrNameLst>
                                          <p:attrName>style.visibility</p:attrName>
                                        </p:attrNameLst>
                                      </p:cBhvr>
                                      <p:to>
                                        <p:strVal val="visible"/>
                                      </p:to>
                                    </p:set>
                                    <p:anim calcmode="lin" valueType="num">
                                      <p:cBhvr additive="base">
                                        <p:cTn id="15" dur="1000" fill="hold"/>
                                        <p:tgtEl>
                                          <p:spTgt spid="4"/>
                                        </p:tgtEl>
                                        <p:attrNameLst>
                                          <p:attrName>ppt_x</p:attrName>
                                        </p:attrNameLst>
                                      </p:cBhvr>
                                      <p:tavLst>
                                        <p:tav tm="0">
                                          <p:val>
                                            <p:strVal val="#ppt_x"/>
                                          </p:val>
                                        </p:tav>
                                        <p:tav tm="100000">
                                          <p:val>
                                            <p:strVal val="#ppt_x"/>
                                          </p:val>
                                        </p:tav>
                                      </p:tavLst>
                                    </p:anim>
                                    <p:anim calcmode="lin" valueType="num">
                                      <p:cBhvr additive="base">
                                        <p:cTn id="16" dur="1000" fill="hold"/>
                                        <p:tgtEl>
                                          <p:spTgt spid="4"/>
                                        </p:tgtEl>
                                        <p:attrNameLst>
                                          <p:attrName>ppt_y</p:attrName>
                                        </p:attrNameLst>
                                      </p:cBhvr>
                                      <p:tavLst>
                                        <p:tav tm="0">
                                          <p:val>
                                            <p:strVal val="0-#ppt_h/2"/>
                                          </p:val>
                                        </p:tav>
                                        <p:tav tm="100000">
                                          <p:val>
                                            <p:strVal val="#ppt_y"/>
                                          </p:val>
                                        </p:tav>
                                      </p:tavLst>
                                    </p:anim>
                                  </p:childTnLst>
                                </p:cTn>
                              </p:par>
                              <p:par>
                                <p:cTn id="17" presetID="49" presetClass="entr" presetSubtype="0" dur="1000" decel="100000" fill="hold" grpId="0" nodeType="withEffect">
                                  <p:stCondLst>
                                    <p:cond delay="0"/>
                                  </p:stCondLst>
                                  <p:childTnLst>
                                    <p:set>
                                      <p:cBhvr>
                                        <p:cTn id="18" dur="1" fill="hold">
                                          <p:stCondLst>
                                            <p:cond delay="0"/>
                                          </p:stCondLst>
                                        </p:cTn>
                                        <p:tgtEl>
                                          <p:spTgt spid="8"/>
                                        </p:tgtEl>
                                        <p:attrNameLst>
                                          <p:attrName>style.visibility</p:attrName>
                                        </p:attrNameLst>
                                      </p:cBhvr>
                                      <p:to>
                                        <p:strVal val="visible"/>
                                      </p:to>
                                    </p:set>
                                    <p:anim calcmode="lin" valueType="num">
                                      <p:cBhvr>
                                        <p:cTn id="19" dur="1000" fill="hold"/>
                                        <p:tgtEl>
                                          <p:spTgt spid="8"/>
                                        </p:tgtEl>
                                        <p:attrNameLst>
                                          <p:attrName>ppt_w</p:attrName>
                                        </p:attrNameLst>
                                      </p:cBhvr>
                                      <p:tavLst>
                                        <p:tav tm="0">
                                          <p:val>
                                            <p:fltVal val="0"/>
                                          </p:val>
                                        </p:tav>
                                        <p:tav tm="100000">
                                          <p:val>
                                            <p:strVal val="#ppt_w"/>
                                          </p:val>
                                        </p:tav>
                                      </p:tavLst>
                                    </p:anim>
                                    <p:anim calcmode="lin" valueType="num">
                                      <p:cBhvr>
                                        <p:cTn id="20" dur="1000" fill="hold"/>
                                        <p:tgtEl>
                                          <p:spTgt spid="8"/>
                                        </p:tgtEl>
                                        <p:attrNameLst>
                                          <p:attrName>ppt_h</p:attrName>
                                        </p:attrNameLst>
                                      </p:cBhvr>
                                      <p:tavLst>
                                        <p:tav tm="0">
                                          <p:val>
                                            <p:fltVal val="0"/>
                                          </p:val>
                                        </p:tav>
                                        <p:tav tm="100000">
                                          <p:val>
                                            <p:strVal val="#ppt_h"/>
                                          </p:val>
                                        </p:tav>
                                      </p:tavLst>
                                    </p:anim>
                                    <p:anim calcmode="lin" valueType="num">
                                      <p:cBhvr>
                                        <p:cTn id="21" dur="1000" fill="hold"/>
                                        <p:tgtEl>
                                          <p:spTgt spid="8"/>
                                        </p:tgtEl>
                                        <p:attrNameLst>
                                          <p:attrName>style.rotation</p:attrName>
                                        </p:attrNameLst>
                                      </p:cBhvr>
                                      <p:tavLst>
                                        <p:tav tm="0">
                                          <p:val>
                                            <p:fltVal val="360"/>
                                          </p:val>
                                        </p:tav>
                                        <p:tav tm="100000">
                                          <p:val>
                                            <p:fltVal val="0"/>
                                          </p:val>
                                        </p:tav>
                                      </p:tavLst>
                                    </p:anim>
                                    <p:animEffect transition="in" filter="fade">
                                      <p:cBhvr>
                                        <p:cTn id="22" dur="1000"/>
                                        <p:tgtEl>
                                          <p:spTgt spid="8"/>
                                        </p:tgtEl>
                                      </p:cBhvr>
                                    </p:animEffect>
                                  </p:childTnLst>
                                </p:cTn>
                              </p:par>
                              <p:par>
                                <p:cTn id="23" presetID="49" presetClass="entr" presetSubtype="0" dur="1000" decel="100000" fill="hold" grpId="0" nodeType="withEffect">
                                  <p:stCondLst>
                                    <p:cond delay="100"/>
                                  </p:stCondLst>
                                  <p:childTnLst>
                                    <p:set>
                                      <p:cBhvr>
                                        <p:cTn id="24" dur="1" fill="hold">
                                          <p:stCondLst>
                                            <p:cond delay="0"/>
                                          </p:stCondLst>
                                        </p:cTn>
                                        <p:tgtEl>
                                          <p:spTgt spid="9"/>
                                        </p:tgtEl>
                                        <p:attrNameLst>
                                          <p:attrName>style.visibility</p:attrName>
                                        </p:attrNameLst>
                                      </p:cBhvr>
                                      <p:to>
                                        <p:strVal val="visible"/>
                                      </p:to>
                                    </p:set>
                                    <p:anim calcmode="lin" valueType="num">
                                      <p:cBhvr>
                                        <p:cTn id="25" dur="1000" fill="hold"/>
                                        <p:tgtEl>
                                          <p:spTgt spid="9"/>
                                        </p:tgtEl>
                                        <p:attrNameLst>
                                          <p:attrName>ppt_w</p:attrName>
                                        </p:attrNameLst>
                                      </p:cBhvr>
                                      <p:tavLst>
                                        <p:tav tm="0">
                                          <p:val>
                                            <p:fltVal val="0"/>
                                          </p:val>
                                        </p:tav>
                                        <p:tav tm="100000">
                                          <p:val>
                                            <p:strVal val="#ppt_w"/>
                                          </p:val>
                                        </p:tav>
                                      </p:tavLst>
                                    </p:anim>
                                    <p:anim calcmode="lin" valueType="num">
                                      <p:cBhvr>
                                        <p:cTn id="26" dur="1000" fill="hold"/>
                                        <p:tgtEl>
                                          <p:spTgt spid="9"/>
                                        </p:tgtEl>
                                        <p:attrNameLst>
                                          <p:attrName>ppt_h</p:attrName>
                                        </p:attrNameLst>
                                      </p:cBhvr>
                                      <p:tavLst>
                                        <p:tav tm="0">
                                          <p:val>
                                            <p:fltVal val="0"/>
                                          </p:val>
                                        </p:tav>
                                        <p:tav tm="100000">
                                          <p:val>
                                            <p:strVal val="#ppt_h"/>
                                          </p:val>
                                        </p:tav>
                                      </p:tavLst>
                                    </p:anim>
                                    <p:anim calcmode="lin" valueType="num">
                                      <p:cBhvr>
                                        <p:cTn id="27" dur="1000" fill="hold"/>
                                        <p:tgtEl>
                                          <p:spTgt spid="9"/>
                                        </p:tgtEl>
                                        <p:attrNameLst>
                                          <p:attrName>style.rotation</p:attrName>
                                        </p:attrNameLst>
                                      </p:cBhvr>
                                      <p:tavLst>
                                        <p:tav tm="0">
                                          <p:val>
                                            <p:fltVal val="360"/>
                                          </p:val>
                                        </p:tav>
                                        <p:tav tm="100000">
                                          <p:val>
                                            <p:fltVal val="0"/>
                                          </p:val>
                                        </p:tav>
                                      </p:tavLst>
                                    </p:anim>
                                    <p:animEffect transition="in" filter="fade">
                                      <p:cBhvr>
                                        <p:cTn id="28" dur="1000"/>
                                        <p:tgtEl>
                                          <p:spTgt spid="9"/>
                                        </p:tgtEl>
                                      </p:cBhvr>
                                    </p:animEffect>
                                  </p:childTnLst>
                                </p:cTn>
                              </p:par>
                              <p:par>
                                <p:cTn id="29" presetID="49" presetClass="entr" presetSubtype="0" dur="1000" decel="100000" fill="hold" grpId="0" nodeType="withEffect">
                                  <p:stCondLst>
                                    <p:cond delay="200"/>
                                  </p:stCondLst>
                                  <p:childTnLst>
                                    <p:set>
                                      <p:cBhvr>
                                        <p:cTn id="30" dur="1" fill="hold">
                                          <p:stCondLst>
                                            <p:cond delay="0"/>
                                          </p:stCondLst>
                                        </p:cTn>
                                        <p:tgtEl>
                                          <p:spTgt spid="10"/>
                                        </p:tgtEl>
                                        <p:attrNameLst>
                                          <p:attrName>style.visibility</p:attrName>
                                        </p:attrNameLst>
                                      </p:cBhvr>
                                      <p:to>
                                        <p:strVal val="visible"/>
                                      </p:to>
                                    </p:set>
                                    <p:anim calcmode="lin" valueType="num">
                                      <p:cBhvr>
                                        <p:cTn id="31" dur="1000" fill="hold"/>
                                        <p:tgtEl>
                                          <p:spTgt spid="10"/>
                                        </p:tgtEl>
                                        <p:attrNameLst>
                                          <p:attrName>ppt_w</p:attrName>
                                        </p:attrNameLst>
                                      </p:cBhvr>
                                      <p:tavLst>
                                        <p:tav tm="0">
                                          <p:val>
                                            <p:fltVal val="0"/>
                                          </p:val>
                                        </p:tav>
                                        <p:tav tm="100000">
                                          <p:val>
                                            <p:strVal val="#ppt_w"/>
                                          </p:val>
                                        </p:tav>
                                      </p:tavLst>
                                    </p:anim>
                                    <p:anim calcmode="lin" valueType="num">
                                      <p:cBhvr>
                                        <p:cTn id="32" dur="1000" fill="hold"/>
                                        <p:tgtEl>
                                          <p:spTgt spid="10"/>
                                        </p:tgtEl>
                                        <p:attrNameLst>
                                          <p:attrName>ppt_h</p:attrName>
                                        </p:attrNameLst>
                                      </p:cBhvr>
                                      <p:tavLst>
                                        <p:tav tm="0">
                                          <p:val>
                                            <p:fltVal val="0"/>
                                          </p:val>
                                        </p:tav>
                                        <p:tav tm="100000">
                                          <p:val>
                                            <p:strVal val="#ppt_h"/>
                                          </p:val>
                                        </p:tav>
                                      </p:tavLst>
                                    </p:anim>
                                    <p:anim calcmode="lin" valueType="num">
                                      <p:cBhvr>
                                        <p:cTn id="33" dur="1000" fill="hold"/>
                                        <p:tgtEl>
                                          <p:spTgt spid="10"/>
                                        </p:tgtEl>
                                        <p:attrNameLst>
                                          <p:attrName>style.rotation</p:attrName>
                                        </p:attrNameLst>
                                      </p:cBhvr>
                                      <p:tavLst>
                                        <p:tav tm="0">
                                          <p:val>
                                            <p:fltVal val="360"/>
                                          </p:val>
                                        </p:tav>
                                        <p:tav tm="100000">
                                          <p:val>
                                            <p:fltVal val="0"/>
                                          </p:val>
                                        </p:tav>
                                      </p:tavLst>
                                    </p:anim>
                                    <p:animEffect transition="in" filter="fade">
                                      <p:cBhvr>
                                        <p:cTn id="34" dur="1000"/>
                                        <p:tgtEl>
                                          <p:spTgt spid="10"/>
                                        </p:tgtEl>
                                      </p:cBhvr>
                                    </p:animEffect>
                                  </p:childTnLst>
                                </p:cTn>
                              </p:par>
                              <p:par>
                                <p:cTn id="35" presetID="49" presetClass="entr" presetSubtype="0" dur="1000" decel="100000" fill="hold" grpId="0" nodeType="withEffect">
                                  <p:stCondLst>
                                    <p:cond delay="300"/>
                                  </p:stCondLst>
                                  <p:childTnLst>
                                    <p:set>
                                      <p:cBhvr>
                                        <p:cTn id="36" dur="1" fill="hold">
                                          <p:stCondLst>
                                            <p:cond delay="0"/>
                                          </p:stCondLst>
                                        </p:cTn>
                                        <p:tgtEl>
                                          <p:spTgt spid="11"/>
                                        </p:tgtEl>
                                        <p:attrNameLst>
                                          <p:attrName>style.visibility</p:attrName>
                                        </p:attrNameLst>
                                      </p:cBhvr>
                                      <p:to>
                                        <p:strVal val="visible"/>
                                      </p:to>
                                    </p:set>
                                    <p:anim calcmode="lin" valueType="num">
                                      <p:cBhvr>
                                        <p:cTn id="37" dur="1000" fill="hold"/>
                                        <p:tgtEl>
                                          <p:spTgt spid="11"/>
                                        </p:tgtEl>
                                        <p:attrNameLst>
                                          <p:attrName>ppt_w</p:attrName>
                                        </p:attrNameLst>
                                      </p:cBhvr>
                                      <p:tavLst>
                                        <p:tav tm="0">
                                          <p:val>
                                            <p:fltVal val="0"/>
                                          </p:val>
                                        </p:tav>
                                        <p:tav tm="100000">
                                          <p:val>
                                            <p:strVal val="#ppt_w"/>
                                          </p:val>
                                        </p:tav>
                                      </p:tavLst>
                                    </p:anim>
                                    <p:anim calcmode="lin" valueType="num">
                                      <p:cBhvr>
                                        <p:cTn id="38" dur="1000" fill="hold"/>
                                        <p:tgtEl>
                                          <p:spTgt spid="11"/>
                                        </p:tgtEl>
                                        <p:attrNameLst>
                                          <p:attrName>ppt_h</p:attrName>
                                        </p:attrNameLst>
                                      </p:cBhvr>
                                      <p:tavLst>
                                        <p:tav tm="0">
                                          <p:val>
                                            <p:fltVal val="0"/>
                                          </p:val>
                                        </p:tav>
                                        <p:tav tm="100000">
                                          <p:val>
                                            <p:strVal val="#ppt_h"/>
                                          </p:val>
                                        </p:tav>
                                      </p:tavLst>
                                    </p:anim>
                                    <p:anim calcmode="lin" valueType="num">
                                      <p:cBhvr>
                                        <p:cTn id="39" dur="1000" fill="hold"/>
                                        <p:tgtEl>
                                          <p:spTgt spid="11"/>
                                        </p:tgtEl>
                                        <p:attrNameLst>
                                          <p:attrName>style.rotation</p:attrName>
                                        </p:attrNameLst>
                                      </p:cBhvr>
                                      <p:tavLst>
                                        <p:tav tm="0">
                                          <p:val>
                                            <p:fltVal val="360"/>
                                          </p:val>
                                        </p:tav>
                                        <p:tav tm="100000">
                                          <p:val>
                                            <p:fltVal val="0"/>
                                          </p:val>
                                        </p:tav>
                                      </p:tavLst>
                                    </p:anim>
                                    <p:animEffect transition="in" filter="fade">
                                      <p:cBhvr>
                                        <p:cTn id="40" dur="1000"/>
                                        <p:tgtEl>
                                          <p:spTgt spid="11"/>
                                        </p:tgtEl>
                                      </p:cBhvr>
                                    </p:animEffect>
                                  </p:childTnLst>
                                </p:cTn>
                              </p:par>
                              <p:par>
                                <p:cTn id="41" presetID="49" presetClass="entr" presetSubtype="0" dur="1000" decel="100000" fill="hold" grpId="0" nodeType="withEffect">
                                  <p:stCondLst>
                                    <p:cond delay="400"/>
                                  </p:stCondLst>
                                  <p:childTnLst>
                                    <p:set>
                                      <p:cBhvr>
                                        <p:cTn id="42" dur="1" fill="hold">
                                          <p:stCondLst>
                                            <p:cond delay="0"/>
                                          </p:stCondLst>
                                        </p:cTn>
                                        <p:tgtEl>
                                          <p:spTgt spid="12"/>
                                        </p:tgtEl>
                                        <p:attrNameLst>
                                          <p:attrName>style.visibility</p:attrName>
                                        </p:attrNameLst>
                                      </p:cBhvr>
                                      <p:to>
                                        <p:strVal val="visible"/>
                                      </p:to>
                                    </p:set>
                                    <p:anim calcmode="lin" valueType="num">
                                      <p:cBhvr>
                                        <p:cTn id="43" dur="1000" fill="hold"/>
                                        <p:tgtEl>
                                          <p:spTgt spid="12"/>
                                        </p:tgtEl>
                                        <p:attrNameLst>
                                          <p:attrName>ppt_w</p:attrName>
                                        </p:attrNameLst>
                                      </p:cBhvr>
                                      <p:tavLst>
                                        <p:tav tm="0">
                                          <p:val>
                                            <p:fltVal val="0"/>
                                          </p:val>
                                        </p:tav>
                                        <p:tav tm="100000">
                                          <p:val>
                                            <p:strVal val="#ppt_w"/>
                                          </p:val>
                                        </p:tav>
                                      </p:tavLst>
                                    </p:anim>
                                    <p:anim calcmode="lin" valueType="num">
                                      <p:cBhvr>
                                        <p:cTn id="44" dur="1000" fill="hold"/>
                                        <p:tgtEl>
                                          <p:spTgt spid="12"/>
                                        </p:tgtEl>
                                        <p:attrNameLst>
                                          <p:attrName>ppt_h</p:attrName>
                                        </p:attrNameLst>
                                      </p:cBhvr>
                                      <p:tavLst>
                                        <p:tav tm="0">
                                          <p:val>
                                            <p:fltVal val="0"/>
                                          </p:val>
                                        </p:tav>
                                        <p:tav tm="100000">
                                          <p:val>
                                            <p:strVal val="#ppt_h"/>
                                          </p:val>
                                        </p:tav>
                                      </p:tavLst>
                                    </p:anim>
                                    <p:anim calcmode="lin" valueType="num">
                                      <p:cBhvr>
                                        <p:cTn id="45" dur="1000" fill="hold"/>
                                        <p:tgtEl>
                                          <p:spTgt spid="12"/>
                                        </p:tgtEl>
                                        <p:attrNameLst>
                                          <p:attrName>style.rotation</p:attrName>
                                        </p:attrNameLst>
                                      </p:cBhvr>
                                      <p:tavLst>
                                        <p:tav tm="0">
                                          <p:val>
                                            <p:fltVal val="360"/>
                                          </p:val>
                                        </p:tav>
                                        <p:tav tm="100000">
                                          <p:val>
                                            <p:fltVal val="0"/>
                                          </p:val>
                                        </p:tav>
                                      </p:tavLst>
                                    </p:anim>
                                    <p:animEffect transition="in" filter="fade">
                                      <p:cBhvr>
                                        <p:cTn id="46" dur="1000"/>
                                        <p:tgtEl>
                                          <p:spTgt spid="12"/>
                                        </p:tgtEl>
                                      </p:cBhvr>
                                    </p:animEffect>
                                  </p:childTnLst>
                                </p:cTn>
                              </p:par>
                              <p:par>
                                <p:cTn id="47" presetID="49" presetClass="entr" presetSubtype="0" dur="1000" decel="100000" fill="hold" grpId="0" nodeType="withEffect">
                                  <p:stCondLst>
                                    <p:cond delay="500"/>
                                  </p:stCondLst>
                                  <p:childTnLst>
                                    <p:set>
                                      <p:cBhvr>
                                        <p:cTn id="48" dur="1" fill="hold">
                                          <p:stCondLst>
                                            <p:cond delay="0"/>
                                          </p:stCondLst>
                                        </p:cTn>
                                        <p:tgtEl>
                                          <p:spTgt spid="13"/>
                                        </p:tgtEl>
                                        <p:attrNameLst>
                                          <p:attrName>style.visibility</p:attrName>
                                        </p:attrNameLst>
                                      </p:cBhvr>
                                      <p:to>
                                        <p:strVal val="visible"/>
                                      </p:to>
                                    </p:set>
                                    <p:anim calcmode="lin" valueType="num">
                                      <p:cBhvr>
                                        <p:cTn id="49" dur="1000" fill="hold"/>
                                        <p:tgtEl>
                                          <p:spTgt spid="13"/>
                                        </p:tgtEl>
                                        <p:attrNameLst>
                                          <p:attrName>ppt_w</p:attrName>
                                        </p:attrNameLst>
                                      </p:cBhvr>
                                      <p:tavLst>
                                        <p:tav tm="0">
                                          <p:val>
                                            <p:fltVal val="0"/>
                                          </p:val>
                                        </p:tav>
                                        <p:tav tm="100000">
                                          <p:val>
                                            <p:strVal val="#ppt_w"/>
                                          </p:val>
                                        </p:tav>
                                      </p:tavLst>
                                    </p:anim>
                                    <p:anim calcmode="lin" valueType="num">
                                      <p:cBhvr>
                                        <p:cTn id="50" dur="1000" fill="hold"/>
                                        <p:tgtEl>
                                          <p:spTgt spid="13"/>
                                        </p:tgtEl>
                                        <p:attrNameLst>
                                          <p:attrName>ppt_h</p:attrName>
                                        </p:attrNameLst>
                                      </p:cBhvr>
                                      <p:tavLst>
                                        <p:tav tm="0">
                                          <p:val>
                                            <p:fltVal val="0"/>
                                          </p:val>
                                        </p:tav>
                                        <p:tav tm="100000">
                                          <p:val>
                                            <p:strVal val="#ppt_h"/>
                                          </p:val>
                                        </p:tav>
                                      </p:tavLst>
                                    </p:anim>
                                    <p:anim calcmode="lin" valueType="num">
                                      <p:cBhvr>
                                        <p:cTn id="51" dur="1000" fill="hold"/>
                                        <p:tgtEl>
                                          <p:spTgt spid="13"/>
                                        </p:tgtEl>
                                        <p:attrNameLst>
                                          <p:attrName>style.rotation</p:attrName>
                                        </p:attrNameLst>
                                      </p:cBhvr>
                                      <p:tavLst>
                                        <p:tav tm="0">
                                          <p:val>
                                            <p:fltVal val="360"/>
                                          </p:val>
                                        </p:tav>
                                        <p:tav tm="100000">
                                          <p:val>
                                            <p:fltVal val="0"/>
                                          </p:val>
                                        </p:tav>
                                      </p:tavLst>
                                    </p:anim>
                                    <p:animEffect transition="in" filter="fade">
                                      <p:cBhvr>
                                        <p:cTn id="52" dur="1000"/>
                                        <p:tgtEl>
                                          <p:spTgt spid="13"/>
                                        </p:tgtEl>
                                      </p:cBhvr>
                                    </p:animEffect>
                                  </p:childTnLst>
                                </p:cTn>
                              </p:par>
                              <p:par>
                                <p:cTn id="53" presetID="49" presetClass="entr" presetSubtype="0" dur="1000" decel="100000" fill="hold" grpId="0" nodeType="withEffect">
                                  <p:stCondLst>
                                    <p:cond delay="600"/>
                                  </p:stCondLst>
                                  <p:childTnLst>
                                    <p:set>
                                      <p:cBhvr>
                                        <p:cTn id="54" dur="1" fill="hold">
                                          <p:stCondLst>
                                            <p:cond delay="0"/>
                                          </p:stCondLst>
                                        </p:cTn>
                                        <p:tgtEl>
                                          <p:spTgt spid="14"/>
                                        </p:tgtEl>
                                        <p:attrNameLst>
                                          <p:attrName>style.visibility</p:attrName>
                                        </p:attrNameLst>
                                      </p:cBhvr>
                                      <p:to>
                                        <p:strVal val="visible"/>
                                      </p:to>
                                    </p:set>
                                    <p:anim calcmode="lin" valueType="num">
                                      <p:cBhvr>
                                        <p:cTn id="55" dur="1000" fill="hold"/>
                                        <p:tgtEl>
                                          <p:spTgt spid="14"/>
                                        </p:tgtEl>
                                        <p:attrNameLst>
                                          <p:attrName>ppt_w</p:attrName>
                                        </p:attrNameLst>
                                      </p:cBhvr>
                                      <p:tavLst>
                                        <p:tav tm="0">
                                          <p:val>
                                            <p:fltVal val="0"/>
                                          </p:val>
                                        </p:tav>
                                        <p:tav tm="100000">
                                          <p:val>
                                            <p:strVal val="#ppt_w"/>
                                          </p:val>
                                        </p:tav>
                                      </p:tavLst>
                                    </p:anim>
                                    <p:anim calcmode="lin" valueType="num">
                                      <p:cBhvr>
                                        <p:cTn id="56" dur="1000" fill="hold"/>
                                        <p:tgtEl>
                                          <p:spTgt spid="14"/>
                                        </p:tgtEl>
                                        <p:attrNameLst>
                                          <p:attrName>ppt_h</p:attrName>
                                        </p:attrNameLst>
                                      </p:cBhvr>
                                      <p:tavLst>
                                        <p:tav tm="0">
                                          <p:val>
                                            <p:fltVal val="0"/>
                                          </p:val>
                                        </p:tav>
                                        <p:tav tm="100000">
                                          <p:val>
                                            <p:strVal val="#ppt_h"/>
                                          </p:val>
                                        </p:tav>
                                      </p:tavLst>
                                    </p:anim>
                                    <p:anim calcmode="lin" valueType="num">
                                      <p:cBhvr>
                                        <p:cTn id="57" dur="1000" fill="hold"/>
                                        <p:tgtEl>
                                          <p:spTgt spid="14"/>
                                        </p:tgtEl>
                                        <p:attrNameLst>
                                          <p:attrName>style.rotation</p:attrName>
                                        </p:attrNameLst>
                                      </p:cBhvr>
                                      <p:tavLst>
                                        <p:tav tm="0">
                                          <p:val>
                                            <p:fltVal val="360"/>
                                          </p:val>
                                        </p:tav>
                                        <p:tav tm="100000">
                                          <p:val>
                                            <p:fltVal val="0"/>
                                          </p:val>
                                        </p:tav>
                                      </p:tavLst>
                                    </p:anim>
                                    <p:animEffect transition="in" filter="fade">
                                      <p:cBhvr>
                                        <p:cTn id="58" dur="1000"/>
                                        <p:tgtEl>
                                          <p:spTgt spid="14"/>
                                        </p:tgtEl>
                                      </p:cBhvr>
                                    </p:animEffect>
                                  </p:childTnLst>
                                </p:cTn>
                              </p:par>
                              <p:par>
                                <p:cTn id="59" presetID="49" presetClass="entr" presetSubtype="0" dur="1000" decel="100000" fill="hold" grpId="0" nodeType="withEffect">
                                  <p:stCondLst>
                                    <p:cond delay="700"/>
                                  </p:stCondLst>
                                  <p:childTnLst>
                                    <p:set>
                                      <p:cBhvr>
                                        <p:cTn id="60" dur="1" fill="hold">
                                          <p:stCondLst>
                                            <p:cond delay="0"/>
                                          </p:stCondLst>
                                        </p:cTn>
                                        <p:tgtEl>
                                          <p:spTgt spid="15"/>
                                        </p:tgtEl>
                                        <p:attrNameLst>
                                          <p:attrName>style.visibility</p:attrName>
                                        </p:attrNameLst>
                                      </p:cBhvr>
                                      <p:to>
                                        <p:strVal val="visible"/>
                                      </p:to>
                                    </p:set>
                                    <p:anim calcmode="lin" valueType="num">
                                      <p:cBhvr>
                                        <p:cTn id="61" dur="1000" fill="hold"/>
                                        <p:tgtEl>
                                          <p:spTgt spid="15"/>
                                        </p:tgtEl>
                                        <p:attrNameLst>
                                          <p:attrName>ppt_w</p:attrName>
                                        </p:attrNameLst>
                                      </p:cBhvr>
                                      <p:tavLst>
                                        <p:tav tm="0">
                                          <p:val>
                                            <p:fltVal val="0"/>
                                          </p:val>
                                        </p:tav>
                                        <p:tav tm="100000">
                                          <p:val>
                                            <p:strVal val="#ppt_w"/>
                                          </p:val>
                                        </p:tav>
                                      </p:tavLst>
                                    </p:anim>
                                    <p:anim calcmode="lin" valueType="num">
                                      <p:cBhvr>
                                        <p:cTn id="62" dur="1000" fill="hold"/>
                                        <p:tgtEl>
                                          <p:spTgt spid="15"/>
                                        </p:tgtEl>
                                        <p:attrNameLst>
                                          <p:attrName>ppt_h</p:attrName>
                                        </p:attrNameLst>
                                      </p:cBhvr>
                                      <p:tavLst>
                                        <p:tav tm="0">
                                          <p:val>
                                            <p:fltVal val="0"/>
                                          </p:val>
                                        </p:tav>
                                        <p:tav tm="100000">
                                          <p:val>
                                            <p:strVal val="#ppt_h"/>
                                          </p:val>
                                        </p:tav>
                                      </p:tavLst>
                                    </p:anim>
                                    <p:anim calcmode="lin" valueType="num">
                                      <p:cBhvr>
                                        <p:cTn id="63" dur="1000" fill="hold"/>
                                        <p:tgtEl>
                                          <p:spTgt spid="15"/>
                                        </p:tgtEl>
                                        <p:attrNameLst>
                                          <p:attrName>style.rotation</p:attrName>
                                        </p:attrNameLst>
                                      </p:cBhvr>
                                      <p:tavLst>
                                        <p:tav tm="0">
                                          <p:val>
                                            <p:fltVal val="360"/>
                                          </p:val>
                                        </p:tav>
                                        <p:tav tm="100000">
                                          <p:val>
                                            <p:fltVal val="0"/>
                                          </p:val>
                                        </p:tav>
                                      </p:tavLst>
                                    </p:anim>
                                    <p:animEffect transition="in" filter="fade">
                                      <p:cBhvr>
                                        <p:cTn id="64" dur="1000"/>
                                        <p:tgtEl>
                                          <p:spTgt spid="15"/>
                                        </p:tgtEl>
                                      </p:cBhvr>
                                    </p:animEffect>
                                  </p:childTnLst>
                                </p:cTn>
                              </p:par>
                              <p:par>
                                <p:cTn id="65" presetID="49" presetClass="entr" presetSubtype="0" dur="1000" decel="100000" fill="hold" grpId="0" nodeType="withEffect">
                                  <p:stCondLst>
                                    <p:cond delay="800"/>
                                  </p:stCondLst>
                                  <p:childTnLst>
                                    <p:set>
                                      <p:cBhvr>
                                        <p:cTn id="66" dur="1" fill="hold">
                                          <p:stCondLst>
                                            <p:cond delay="0"/>
                                          </p:stCondLst>
                                        </p:cTn>
                                        <p:tgtEl>
                                          <p:spTgt spid="16"/>
                                        </p:tgtEl>
                                        <p:attrNameLst>
                                          <p:attrName>style.visibility</p:attrName>
                                        </p:attrNameLst>
                                      </p:cBhvr>
                                      <p:to>
                                        <p:strVal val="visible"/>
                                      </p:to>
                                    </p:set>
                                    <p:anim calcmode="lin" valueType="num">
                                      <p:cBhvr>
                                        <p:cTn id="67" dur="1000" fill="hold"/>
                                        <p:tgtEl>
                                          <p:spTgt spid="16"/>
                                        </p:tgtEl>
                                        <p:attrNameLst>
                                          <p:attrName>ppt_w</p:attrName>
                                        </p:attrNameLst>
                                      </p:cBhvr>
                                      <p:tavLst>
                                        <p:tav tm="0">
                                          <p:val>
                                            <p:fltVal val="0"/>
                                          </p:val>
                                        </p:tav>
                                        <p:tav tm="100000">
                                          <p:val>
                                            <p:strVal val="#ppt_w"/>
                                          </p:val>
                                        </p:tav>
                                      </p:tavLst>
                                    </p:anim>
                                    <p:anim calcmode="lin" valueType="num">
                                      <p:cBhvr>
                                        <p:cTn id="68" dur="1000" fill="hold"/>
                                        <p:tgtEl>
                                          <p:spTgt spid="16"/>
                                        </p:tgtEl>
                                        <p:attrNameLst>
                                          <p:attrName>ppt_h</p:attrName>
                                        </p:attrNameLst>
                                      </p:cBhvr>
                                      <p:tavLst>
                                        <p:tav tm="0">
                                          <p:val>
                                            <p:fltVal val="0"/>
                                          </p:val>
                                        </p:tav>
                                        <p:tav tm="100000">
                                          <p:val>
                                            <p:strVal val="#ppt_h"/>
                                          </p:val>
                                        </p:tav>
                                      </p:tavLst>
                                    </p:anim>
                                    <p:anim calcmode="lin" valueType="num">
                                      <p:cBhvr>
                                        <p:cTn id="69" dur="1000" fill="hold"/>
                                        <p:tgtEl>
                                          <p:spTgt spid="16"/>
                                        </p:tgtEl>
                                        <p:attrNameLst>
                                          <p:attrName>style.rotation</p:attrName>
                                        </p:attrNameLst>
                                      </p:cBhvr>
                                      <p:tavLst>
                                        <p:tav tm="0">
                                          <p:val>
                                            <p:fltVal val="360"/>
                                          </p:val>
                                        </p:tav>
                                        <p:tav tm="100000">
                                          <p:val>
                                            <p:fltVal val="0"/>
                                          </p:val>
                                        </p:tav>
                                      </p:tavLst>
                                    </p:anim>
                                    <p:animEffect transition="in" filter="fade">
                                      <p:cBhvr>
                                        <p:cTn id="70" dur="1000"/>
                                        <p:tgtEl>
                                          <p:spTgt spid="16"/>
                                        </p:tgtEl>
                                      </p:cBhvr>
                                    </p:animEffect>
                                  </p:childTnLst>
                                </p:cTn>
                              </p:par>
                              <p:par>
                                <p:cTn id="71" presetID="8" presetClass="emph" presetSubtype="0" dur="15000" repeatCount="indefinite" fill="hold" grpId="1" nodeType="withEffect">
                                  <p:stCondLst>
                                    <p:cond delay="0"/>
                                  </p:stCondLst>
                                  <p:childTnLst>
                                    <p:animRot by="21600000">
                                      <p:cBhvr>
                                        <p:cTn id="72" dur="15000" fill="hold"/>
                                        <p:tgtEl>
                                          <p:spTgt spid="8"/>
                                        </p:tgtEl>
                                        <p:attrNameLst>
                                          <p:attrName>r</p:attrName>
                                        </p:attrNameLst>
                                      </p:cBhvr>
                                    </p:animRot>
                                  </p:childTnLst>
                                </p:cTn>
                              </p:par>
                              <p:par>
                                <p:cTn id="73" presetID="8" presetClass="emph" presetSubtype="0" dur="15000" repeatCount="indefinite" fill="hold" grpId="1" nodeType="withEffect">
                                  <p:stCondLst>
                                    <p:cond delay="0"/>
                                  </p:stCondLst>
                                  <p:childTnLst>
                                    <p:animRot by="-21600000">
                                      <p:cBhvr>
                                        <p:cTn id="74" dur="15000" fill="hold"/>
                                        <p:tgtEl>
                                          <p:spTgt spid="9"/>
                                        </p:tgtEl>
                                        <p:attrNameLst>
                                          <p:attrName>r</p:attrName>
                                        </p:attrNameLst>
                                      </p:cBhvr>
                                    </p:animRot>
                                  </p:childTnLst>
                                </p:cTn>
                              </p:par>
                              <p:par>
                                <p:cTn id="75" presetID="8" presetClass="emph" presetSubtype="0" dur="15000" repeatCount="indefinite" fill="hold" grpId="1" nodeType="withEffect">
                                  <p:stCondLst>
                                    <p:cond delay="0"/>
                                  </p:stCondLst>
                                  <p:childTnLst>
                                    <p:animRot by="21600000">
                                      <p:cBhvr>
                                        <p:cTn id="76" dur="15000" fill="hold"/>
                                        <p:tgtEl>
                                          <p:spTgt spid="10"/>
                                        </p:tgtEl>
                                        <p:attrNameLst>
                                          <p:attrName>r</p:attrName>
                                        </p:attrNameLst>
                                      </p:cBhvr>
                                    </p:animRot>
                                  </p:childTnLst>
                                </p:cTn>
                              </p:par>
                              <p:par>
                                <p:cTn id="77" presetID="8" presetClass="emph" presetSubtype="0" dur="15000" repeatCount="indefinite" fill="hold" grpId="1" nodeType="withEffect">
                                  <p:stCondLst>
                                    <p:cond delay="0"/>
                                  </p:stCondLst>
                                  <p:childTnLst>
                                    <p:animRot by="-21600000">
                                      <p:cBhvr>
                                        <p:cTn id="78" dur="15000" fill="hold"/>
                                        <p:tgtEl>
                                          <p:spTgt spid="11"/>
                                        </p:tgtEl>
                                        <p:attrNameLst>
                                          <p:attrName>r</p:attrName>
                                        </p:attrNameLst>
                                      </p:cBhvr>
                                    </p:animRot>
                                  </p:childTnLst>
                                </p:cTn>
                              </p:par>
                              <p:par>
                                <p:cTn id="79" presetID="8" presetClass="emph" presetSubtype="0" dur="15000" repeatCount="indefinite" fill="hold" grpId="1" nodeType="withEffect">
                                  <p:stCondLst>
                                    <p:cond delay="0"/>
                                  </p:stCondLst>
                                  <p:childTnLst>
                                    <p:animRot by="21600000">
                                      <p:cBhvr>
                                        <p:cTn id="80" dur="15000" fill="hold"/>
                                        <p:tgtEl>
                                          <p:spTgt spid="12"/>
                                        </p:tgtEl>
                                        <p:attrNameLst>
                                          <p:attrName>r</p:attrName>
                                        </p:attrNameLst>
                                      </p:cBhvr>
                                    </p:animRot>
                                  </p:childTnLst>
                                </p:cTn>
                              </p:par>
                              <p:par>
                                <p:cTn id="81" presetID="8" presetClass="emph" presetSubtype="0" dur="15000" repeatCount="indefinite" fill="hold" grpId="1" nodeType="withEffect">
                                  <p:stCondLst>
                                    <p:cond delay="0"/>
                                  </p:stCondLst>
                                  <p:childTnLst>
                                    <p:animRot by="-21600000">
                                      <p:cBhvr>
                                        <p:cTn id="82" dur="15000" fill="hold"/>
                                        <p:tgtEl>
                                          <p:spTgt spid="13"/>
                                        </p:tgtEl>
                                        <p:attrNameLst>
                                          <p:attrName>r</p:attrName>
                                        </p:attrNameLst>
                                      </p:cBhvr>
                                    </p:animRot>
                                  </p:childTnLst>
                                </p:cTn>
                              </p:par>
                              <p:par>
                                <p:cTn id="83" presetID="8" presetClass="emph" presetSubtype="0" dur="15000" repeatCount="indefinite" fill="hold" grpId="1" nodeType="withEffect">
                                  <p:stCondLst>
                                    <p:cond delay="0"/>
                                  </p:stCondLst>
                                  <p:childTnLst>
                                    <p:animRot by="21600000">
                                      <p:cBhvr>
                                        <p:cTn id="84" dur="15000" fill="hold"/>
                                        <p:tgtEl>
                                          <p:spTgt spid="14"/>
                                        </p:tgtEl>
                                        <p:attrNameLst>
                                          <p:attrName>r</p:attrName>
                                        </p:attrNameLst>
                                      </p:cBhvr>
                                    </p:animRot>
                                  </p:childTnLst>
                                </p:cTn>
                              </p:par>
                              <p:par>
                                <p:cTn id="85" presetID="8" presetClass="emph" presetSubtype="0" dur="15000" repeatCount="indefinite" fill="hold" grpId="1" nodeType="withEffect">
                                  <p:stCondLst>
                                    <p:cond delay="0"/>
                                  </p:stCondLst>
                                  <p:childTnLst>
                                    <p:animRot by="-21600000">
                                      <p:cBhvr>
                                        <p:cTn id="86" dur="15000" fill="hold"/>
                                        <p:tgtEl>
                                          <p:spTgt spid="15"/>
                                        </p:tgtEl>
                                        <p:attrNameLst>
                                          <p:attrName>r</p:attrName>
                                        </p:attrNameLst>
                                      </p:cBhvr>
                                    </p:animRot>
                                  </p:childTnLst>
                                </p:cTn>
                              </p:par>
                              <p:par>
                                <p:cTn id="87" presetID="8" presetClass="emph" presetSubtype="0" dur="15000" repeatCount="indefinite" fill="hold" grpId="1" nodeType="withEffect">
                                  <p:stCondLst>
                                    <p:cond delay="0"/>
                                  </p:stCondLst>
                                  <p:childTnLst>
                                    <p:animRot by="21600000">
                                      <p:cBhvr>
                                        <p:cTn id="88" dur="15000" fill="hold"/>
                                        <p:tgtEl>
                                          <p:spTgt spid="16"/>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9" grpId="0" animBg="1"/>
      <p:bldP spid="9" grpId="1" animBg="1"/>
      <p:bldP spid="10" grpId="0" animBg="1"/>
      <p:bldP spid="10" grpId="1" animBg="1"/>
      <p:bldP spid="11" grpId="0" animBg="1"/>
      <p:bldP spid="11" grpId="1" animBg="1"/>
      <p:bldP spid="12" grpId="0" animBg="1"/>
      <p:bldP spid="12" grpId="1" animBg="1"/>
      <p:bldP spid="13" grpId="0" animBg="1"/>
      <p:bldP spid="13" grpId="1" animBg="1"/>
      <p:bldP spid="14" grpId="0" animBg="1"/>
      <p:bldP spid="14" grpId="1" animBg="1"/>
      <p:bldP spid="15" grpId="0" animBg="1"/>
      <p:bldP spid="15" grpId="1" animBg="1"/>
      <p:bldP spid="16" grpId="0" animBg="1"/>
      <p:bldP spid="16" grpId="1" animBg="1"/>
      <p:bldP spid="3" grpId="0" animBg="1"/>
      <p:bldP spid="4" grpId="0"/>
      <p:bldP spid="6"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B7A6A8C3-30C5-402C-8B1E-13ADB9707C43}"/>
              </a:ext>
            </a:extLst>
          </p:cNvPr>
          <p:cNvCxnSpPr/>
          <p:nvPr/>
        </p:nvCxnSpPr>
        <p:spPr>
          <a:xfrm flipH="1">
            <a:off x="6096000" y="447"/>
            <a:ext cx="0" cy="6857107"/>
          </a:xfrm>
          <a:prstGeom prst="line">
            <a:avLst/>
          </a:prstGeom>
          <a:ln w="635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6" name="Oval 15">
            <a:extLst>
              <a:ext uri="{FF2B5EF4-FFF2-40B4-BE49-F238E27FC236}">
                <a16:creationId xmlns:a16="http://schemas.microsoft.com/office/drawing/2014/main" id="{2D9159DE-9DFE-4797-8273-978A10437C34}"/>
              </a:ext>
            </a:extLst>
          </p:cNvPr>
          <p:cNvSpPr/>
          <p:nvPr/>
        </p:nvSpPr>
        <p:spPr>
          <a:xfrm>
            <a:off x="5918331" y="1460548"/>
            <a:ext cx="355339" cy="355339"/>
          </a:xfrm>
          <a:prstGeom prst="ellipse">
            <a:avLst/>
          </a:prstGeom>
          <a:solidFill>
            <a:schemeClr val="bg1"/>
          </a:solidFill>
          <a:ln w="635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000" b="1" i="0" u="none" strike="noStrike" kern="1200" cap="none" spc="0" normalizeH="0" baseline="0" noProof="0">
              <a:ln>
                <a:noFill/>
              </a:ln>
              <a:solidFill>
                <a:srgbClr val="3C5B7B"/>
              </a:solidFill>
              <a:effectLst/>
              <a:uLnTx/>
              <a:uFillTx/>
              <a:latin typeface="Univia Pro"/>
              <a:ea typeface="+mn-ea"/>
              <a:cs typeface="+mn-cs"/>
            </a:endParaRPr>
          </a:p>
        </p:txBody>
      </p:sp>
      <p:sp>
        <p:nvSpPr>
          <p:cNvPr id="19" name="TextBox 18">
            <a:extLst>
              <a:ext uri="{FF2B5EF4-FFF2-40B4-BE49-F238E27FC236}">
                <a16:creationId xmlns:a16="http://schemas.microsoft.com/office/drawing/2014/main" id="{C251FA08-DB59-4AD0-A744-2F8B933FDFC7}"/>
              </a:ext>
            </a:extLst>
          </p:cNvPr>
          <p:cNvSpPr txBox="1"/>
          <p:nvPr/>
        </p:nvSpPr>
        <p:spPr>
          <a:xfrm>
            <a:off x="636186" y="993197"/>
            <a:ext cx="2380551" cy="1107996"/>
          </a:xfrm>
          <a:prstGeom prst="rect">
            <a:avLst/>
          </a:prstGeom>
          <a:noFill/>
        </p:spPr>
        <p:txBody>
          <a:bodyPr wrap="square" rtlCol="0">
            <a:spAutoFit/>
          </a:bodyPr>
          <a:lstStyle/>
          <a:p>
            <a:pPr algn="r" rtl="1" fontAlgn="base"/>
            <a:r>
              <a:rPr lang="he-IL" sz="1100" b="0" i="0" dirty="0">
                <a:solidFill>
                  <a:schemeClr val="tx1">
                    <a:lumMod val="60000"/>
                    <a:lumOff val="40000"/>
                  </a:schemeClr>
                </a:solidFill>
                <a:effectLst/>
                <a:latin typeface="Calibri" panose="020F0502020204030204" pitchFamily="34" charset="0"/>
                <a:ea typeface="Calibri" panose="020F0502020204030204" pitchFamily="34" charset="0"/>
                <a:cs typeface="Calibri" panose="020F0502020204030204" pitchFamily="34" charset="0"/>
              </a:rPr>
              <a:t>קבוצת יהודים דרום אפריקאים הקימו בארץ ישראל, שהייתה אז תחת המנדט הבריטי, חברה בשם </a:t>
            </a:r>
            <a:r>
              <a:rPr lang="he-IL" sz="1100" dirty="0">
                <a:solidFill>
                  <a:schemeClr val="tx1">
                    <a:lumMod val="60000"/>
                    <a:lumOff val="40000"/>
                  </a:schemeClr>
                </a:solidFill>
                <a:latin typeface="Calibri" panose="020F0502020204030204" pitchFamily="34" charset="0"/>
                <a:ea typeface="Calibri" panose="020F0502020204030204" pitchFamily="34" charset="0"/>
                <a:cs typeface="Calibri" panose="020F0502020204030204" pitchFamily="34" charset="0"/>
              </a:rPr>
              <a:t>"</a:t>
            </a:r>
            <a:r>
              <a:rPr lang="he-IL" sz="1100" b="0" i="0" dirty="0" err="1">
                <a:solidFill>
                  <a:schemeClr val="tx1">
                    <a:lumMod val="60000"/>
                    <a:lumOff val="40000"/>
                  </a:schemeClr>
                </a:solidFill>
                <a:effectLst/>
                <a:latin typeface="Calibri" panose="020F0502020204030204" pitchFamily="34" charset="0"/>
                <a:ea typeface="Calibri" panose="020F0502020204030204" pitchFamily="34" charset="0"/>
                <a:cs typeface="Calibri" panose="020F0502020204030204" pitchFamily="34" charset="0"/>
              </a:rPr>
              <a:t>פלתורס</a:t>
            </a:r>
            <a:r>
              <a:rPr lang="he-IL" sz="1100" dirty="0">
                <a:solidFill>
                  <a:schemeClr val="tx1">
                    <a:lumMod val="60000"/>
                    <a:lumOff val="40000"/>
                  </a:schemeClr>
                </a:solidFill>
                <a:latin typeface="Calibri" panose="020F0502020204030204" pitchFamily="34" charset="0"/>
                <a:ea typeface="Calibri" panose="020F0502020204030204" pitchFamily="34" charset="0"/>
                <a:cs typeface="Calibri" panose="020F0502020204030204" pitchFamily="34" charset="0"/>
              </a:rPr>
              <a:t>" </a:t>
            </a:r>
            <a:r>
              <a:rPr lang="he-IL" sz="1100" b="0" i="0" dirty="0">
                <a:solidFill>
                  <a:schemeClr val="tx1">
                    <a:lumMod val="60000"/>
                    <a:lumOff val="40000"/>
                  </a:schemeClr>
                </a:solidFill>
                <a:effectLst/>
                <a:latin typeface="Calibri" panose="020F0502020204030204" pitchFamily="34" charset="0"/>
                <a:ea typeface="Calibri" panose="020F0502020204030204" pitchFamily="34" charset="0"/>
                <a:cs typeface="Calibri" panose="020F0502020204030204" pitchFamily="34" charset="0"/>
              </a:rPr>
              <a:t>בפינת הרחובות אלנבי ורוטשילד, במרכז תל אביב. </a:t>
            </a:r>
            <a:r>
              <a:rPr lang="he-IL" sz="1100" b="0" i="0" dirty="0" err="1">
                <a:solidFill>
                  <a:schemeClr val="tx1">
                    <a:lumMod val="60000"/>
                    <a:lumOff val="40000"/>
                  </a:schemeClr>
                </a:solidFill>
                <a:effectLst/>
                <a:latin typeface="Calibri" panose="020F0502020204030204" pitchFamily="34" charset="0"/>
                <a:ea typeface="Calibri" panose="020F0502020204030204" pitchFamily="34" charset="0"/>
                <a:cs typeface="Calibri" panose="020F0502020204030204" pitchFamily="34" charset="0"/>
              </a:rPr>
              <a:t>פלתורס</a:t>
            </a:r>
            <a:r>
              <a:rPr lang="he-IL" sz="1100" b="0" i="0" dirty="0">
                <a:solidFill>
                  <a:schemeClr val="tx1">
                    <a:lumMod val="60000"/>
                    <a:lumOff val="40000"/>
                  </a:schemeClr>
                </a:solidFill>
                <a:effectLst/>
                <a:latin typeface="Calibri" panose="020F0502020204030204" pitchFamily="34" charset="0"/>
                <a:ea typeface="Calibri" panose="020F0502020204030204" pitchFamily="34" charset="0"/>
                <a:cs typeface="Calibri" panose="020F0502020204030204" pitchFamily="34" charset="0"/>
              </a:rPr>
              <a:t> תפקדה כסוכנות נסיעות, סוכנות ביטוח וחברה לעמילות מכס</a:t>
            </a:r>
          </a:p>
        </p:txBody>
      </p:sp>
      <p:sp>
        <p:nvSpPr>
          <p:cNvPr id="20" name="TextBox 19">
            <a:extLst>
              <a:ext uri="{FF2B5EF4-FFF2-40B4-BE49-F238E27FC236}">
                <a16:creationId xmlns:a16="http://schemas.microsoft.com/office/drawing/2014/main" id="{CEBA23FF-2A98-42B9-AD2D-AB3AAECD26E4}"/>
              </a:ext>
            </a:extLst>
          </p:cNvPr>
          <p:cNvSpPr txBox="1"/>
          <p:nvPr/>
        </p:nvSpPr>
        <p:spPr>
          <a:xfrm>
            <a:off x="6171142" y="409724"/>
            <a:ext cx="5711529" cy="523220"/>
          </a:xfrm>
          <a:prstGeom prst="rect">
            <a:avLst/>
          </a:prstGeom>
          <a:noFill/>
        </p:spPr>
        <p:txBody>
          <a:bodyPr wrap="square" rtlCol="0" anchor="ctr">
            <a:spAutoFit/>
          </a:bodyPr>
          <a:lstStyle/>
          <a:p>
            <a:pPr marL="0" marR="0" lvl="0" indent="0" algn="r" defTabSz="914400" rtl="0" eaLnBrk="1" fontAlgn="auto" latinLnBrk="0" hangingPunct="1">
              <a:lnSpc>
                <a:spcPct val="100000"/>
              </a:lnSpc>
              <a:spcBef>
                <a:spcPct val="0"/>
              </a:spcBef>
              <a:spcAft>
                <a:spcPct val="0"/>
              </a:spcAft>
              <a:buClrTx/>
              <a:buSzTx/>
              <a:buFontTx/>
              <a:buNone/>
              <a:defRPr/>
            </a:pPr>
            <a:r>
              <a:rPr lang="he-IL" sz="2800" b="1">
                <a:solidFill>
                  <a:srgbClr val="004C99"/>
                </a:solidFill>
                <a:effectLst>
                  <a:outerShdw blurRad="38100" dist="38100" dir="2700000" algn="tl">
                    <a:srgbClr val="000000">
                      <a:alpha val="43137"/>
                    </a:srgbClr>
                  </a:outerShdw>
                </a:effectLst>
                <a:latin typeface="Univia Pro"/>
              </a:rPr>
              <a:t>ההיסטוריה של חברת </a:t>
            </a:r>
            <a:r>
              <a:rPr lang="he-IL" sz="2800" b="1" err="1">
                <a:solidFill>
                  <a:srgbClr val="004C99"/>
                </a:solidFill>
                <a:effectLst>
                  <a:outerShdw blurRad="38100" dist="38100" dir="2700000" algn="tl">
                    <a:srgbClr val="000000">
                      <a:alpha val="43137"/>
                    </a:srgbClr>
                  </a:outerShdw>
                </a:effectLst>
                <a:latin typeface="Univia Pro"/>
              </a:rPr>
              <a:t>פלטרנספורט</a:t>
            </a:r>
            <a:endParaRPr kumimoji="0" lang="en-US" sz="2800" b="1" i="0" u="none" strike="noStrike" kern="1200" cap="none" spc="0" normalizeH="0" baseline="0" noProof="0">
              <a:ln>
                <a:noFill/>
              </a:ln>
              <a:solidFill>
                <a:srgbClr val="004C99"/>
              </a:solidFill>
              <a:effectLst>
                <a:outerShdw blurRad="38100" dist="38100" dir="2700000" algn="tl">
                  <a:srgbClr val="000000">
                    <a:alpha val="43137"/>
                  </a:srgbClr>
                </a:outerShdw>
              </a:effectLst>
              <a:uLnTx/>
              <a:uFillTx/>
              <a:latin typeface="Univia Pro"/>
            </a:endParaRPr>
          </a:p>
        </p:txBody>
      </p:sp>
      <p:sp>
        <p:nvSpPr>
          <p:cNvPr id="34" name="TextBox 33">
            <a:extLst>
              <a:ext uri="{FF2B5EF4-FFF2-40B4-BE49-F238E27FC236}">
                <a16:creationId xmlns:a16="http://schemas.microsoft.com/office/drawing/2014/main" id="{AD74F7E4-54C9-4649-A79B-4A7579E28577}"/>
              </a:ext>
            </a:extLst>
          </p:cNvPr>
          <p:cNvSpPr txBox="1"/>
          <p:nvPr/>
        </p:nvSpPr>
        <p:spPr>
          <a:xfrm>
            <a:off x="6430133" y="1222782"/>
            <a:ext cx="1704585" cy="830868"/>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n-US" sz="4799" b="1" i="0" u="none" strike="noStrike" kern="1200" cap="none" spc="0" normalizeH="0" baseline="0" noProof="0">
                <a:ln>
                  <a:noFill/>
                </a:ln>
                <a:solidFill>
                  <a:srgbClr val="004C99"/>
                </a:solidFill>
                <a:effectLst/>
                <a:uLnTx/>
                <a:uFillTx/>
                <a:latin typeface="Univia Pro"/>
                <a:ea typeface="+mn-ea"/>
                <a:cs typeface="+mn-cs"/>
              </a:rPr>
              <a:t>1920</a:t>
            </a:r>
          </a:p>
        </p:txBody>
      </p:sp>
      <p:sp>
        <p:nvSpPr>
          <p:cNvPr id="38" name="Oval 37">
            <a:extLst>
              <a:ext uri="{FF2B5EF4-FFF2-40B4-BE49-F238E27FC236}">
                <a16:creationId xmlns:a16="http://schemas.microsoft.com/office/drawing/2014/main" id="{ACB3E889-34DC-406E-97C3-AB7AF8121F03}"/>
              </a:ext>
            </a:extLst>
          </p:cNvPr>
          <p:cNvSpPr/>
          <p:nvPr/>
        </p:nvSpPr>
        <p:spPr>
          <a:xfrm>
            <a:off x="5918331" y="5348605"/>
            <a:ext cx="355339" cy="355339"/>
          </a:xfrm>
          <a:prstGeom prst="ellipse">
            <a:avLst/>
          </a:prstGeom>
          <a:solidFill>
            <a:schemeClr val="bg1"/>
          </a:solidFill>
          <a:ln w="635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000" b="1" i="0" u="none" strike="noStrike" kern="1200" cap="none" spc="0" normalizeH="0" baseline="0" noProof="0">
              <a:ln>
                <a:noFill/>
              </a:ln>
              <a:solidFill>
                <a:srgbClr val="3C5B7B"/>
              </a:solidFill>
              <a:effectLst/>
              <a:uLnTx/>
              <a:uFillTx/>
              <a:latin typeface="Univia Pro"/>
              <a:ea typeface="+mn-ea"/>
              <a:cs typeface="+mn-cs"/>
            </a:endParaRPr>
          </a:p>
        </p:txBody>
      </p:sp>
      <p:sp>
        <p:nvSpPr>
          <p:cNvPr id="39" name="TextBox 38">
            <a:extLst>
              <a:ext uri="{FF2B5EF4-FFF2-40B4-BE49-F238E27FC236}">
                <a16:creationId xmlns:a16="http://schemas.microsoft.com/office/drawing/2014/main" id="{A79B11B3-DBA5-4B34-85D6-713DE75F543A}"/>
              </a:ext>
            </a:extLst>
          </p:cNvPr>
          <p:cNvSpPr txBox="1"/>
          <p:nvPr/>
        </p:nvSpPr>
        <p:spPr>
          <a:xfrm>
            <a:off x="2186609" y="5341606"/>
            <a:ext cx="2291860" cy="369332"/>
          </a:xfrm>
          <a:prstGeom prst="rect">
            <a:avLst/>
          </a:prstGeom>
          <a:noFill/>
        </p:spPr>
        <p:txBody>
          <a:bodyPr wrap="square" rtlCol="0" anchor="ctr">
            <a:spAutoFit/>
          </a:bodyPr>
          <a:lstStyle/>
          <a:p>
            <a:pPr marL="0" marR="0" lvl="0" indent="0" algn="r" defTabSz="914400" rtl="0" eaLnBrk="1" fontAlgn="auto" latinLnBrk="0" hangingPunct="1">
              <a:lnSpc>
                <a:spcPct val="100000"/>
              </a:lnSpc>
              <a:spcBef>
                <a:spcPct val="0"/>
              </a:spcBef>
              <a:spcAft>
                <a:spcPct val="0"/>
              </a:spcAft>
              <a:buClrTx/>
              <a:buSzTx/>
              <a:buFontTx/>
              <a:buNone/>
              <a:defRPr/>
            </a:pPr>
            <a:r>
              <a:rPr lang="he-IL" b="1">
                <a:solidFill>
                  <a:srgbClr val="3C5B7B">
                    <a:alpha val="70000"/>
                  </a:srgbClr>
                </a:solidFill>
                <a:latin typeface="Univia Pro"/>
              </a:rPr>
              <a:t>הקמת "</a:t>
            </a:r>
            <a:r>
              <a:rPr lang="he-IL" b="1" err="1">
                <a:solidFill>
                  <a:srgbClr val="3C5B7B">
                    <a:alpha val="70000"/>
                  </a:srgbClr>
                </a:solidFill>
                <a:latin typeface="Univia Pro"/>
              </a:rPr>
              <a:t>פלטרנספורט</a:t>
            </a:r>
            <a:r>
              <a:rPr lang="he-IL" b="1">
                <a:solidFill>
                  <a:srgbClr val="3C5B7B">
                    <a:alpha val="70000"/>
                  </a:srgbClr>
                </a:solidFill>
                <a:latin typeface="Univia Pro"/>
              </a:rPr>
              <a:t>"</a:t>
            </a:r>
            <a:endParaRPr kumimoji="0" lang="en-US" sz="1800" b="1" i="0" u="none" strike="noStrike" kern="1200" cap="none" spc="0" normalizeH="0" baseline="0" noProof="0">
              <a:ln>
                <a:noFill/>
              </a:ln>
              <a:solidFill>
                <a:srgbClr val="3C5B7B">
                  <a:alpha val="70000"/>
                </a:srgbClr>
              </a:solidFill>
              <a:effectLst/>
              <a:uLnTx/>
              <a:uFillTx/>
              <a:latin typeface="Univia Pro"/>
              <a:ea typeface="+mn-ea"/>
              <a:cs typeface="+mn-cs"/>
            </a:endParaRPr>
          </a:p>
        </p:txBody>
      </p:sp>
      <p:sp>
        <p:nvSpPr>
          <p:cNvPr id="40" name="TextBox 39">
            <a:extLst>
              <a:ext uri="{FF2B5EF4-FFF2-40B4-BE49-F238E27FC236}">
                <a16:creationId xmlns:a16="http://schemas.microsoft.com/office/drawing/2014/main" id="{1B2531B0-CEFD-4DCB-B202-815B938E8AAE}"/>
              </a:ext>
            </a:extLst>
          </p:cNvPr>
          <p:cNvSpPr txBox="1"/>
          <p:nvPr/>
        </p:nvSpPr>
        <p:spPr>
          <a:xfrm>
            <a:off x="9452908" y="5040864"/>
            <a:ext cx="2354620" cy="938719"/>
          </a:xfrm>
          <a:prstGeom prst="rect">
            <a:avLst/>
          </a:prstGeom>
          <a:noFill/>
        </p:spPr>
        <p:txBody>
          <a:bodyPr wrap="square" rtlCol="0">
            <a:spAutoFit/>
          </a:bodyPr>
          <a:lstStyle/>
          <a:p>
            <a:pPr marR="0" lvl="0" indent="0" algn="r" rtl="1" fontAlgn="base">
              <a:lnSpc>
                <a:spcPct val="100000"/>
              </a:lnSpc>
              <a:spcBef>
                <a:spcPct val="0"/>
              </a:spcBef>
              <a:spcAft>
                <a:spcPct val="0"/>
              </a:spcAft>
              <a:buClrTx/>
              <a:buSzTx/>
              <a:buFontTx/>
              <a:buNone/>
              <a:defRPr/>
            </a:pPr>
            <a:r>
              <a:rPr lang="he-IL" sz="1100">
                <a:solidFill>
                  <a:schemeClr val="tx1">
                    <a:lumMod val="60000"/>
                    <a:lumOff val="40000"/>
                  </a:schemeClr>
                </a:solidFill>
                <a:latin typeface="Calibri" panose="020F0502020204030204" pitchFamily="34" charset="0"/>
                <a:ea typeface="Calibri" panose="020F0502020204030204" pitchFamily="34" charset="0"/>
                <a:cs typeface="Calibri" panose="020F0502020204030204" pitchFamily="34" charset="0"/>
              </a:rPr>
              <a:t>ב-29.5.1947, התפצלה </a:t>
            </a:r>
            <a:r>
              <a:rPr lang="he-IL" sz="1100" err="1">
                <a:solidFill>
                  <a:schemeClr val="tx1">
                    <a:lumMod val="60000"/>
                    <a:lumOff val="40000"/>
                  </a:schemeClr>
                </a:solidFill>
                <a:latin typeface="Calibri" panose="020F0502020204030204" pitchFamily="34" charset="0"/>
                <a:ea typeface="Calibri" panose="020F0502020204030204" pitchFamily="34" charset="0"/>
                <a:cs typeface="Calibri" panose="020F0502020204030204" pitchFamily="34" charset="0"/>
              </a:rPr>
              <a:t>פלתורס</a:t>
            </a:r>
            <a:r>
              <a:rPr lang="he-IL" sz="1100">
                <a:solidFill>
                  <a:schemeClr val="tx1">
                    <a:lumMod val="60000"/>
                    <a:lumOff val="40000"/>
                  </a:schemeClr>
                </a:solidFill>
                <a:latin typeface="Calibri" panose="020F0502020204030204" pitchFamily="34" charset="0"/>
                <a:ea typeface="Calibri" panose="020F0502020204030204" pitchFamily="34" charset="0"/>
                <a:cs typeface="Calibri" panose="020F0502020204030204" pitchFamily="34" charset="0"/>
              </a:rPr>
              <a:t> לשתי חברות: </a:t>
            </a:r>
            <a:r>
              <a:rPr lang="he-IL" sz="1100" err="1">
                <a:solidFill>
                  <a:schemeClr val="tx1">
                    <a:lumMod val="60000"/>
                    <a:lumOff val="40000"/>
                  </a:schemeClr>
                </a:solidFill>
                <a:latin typeface="Calibri" panose="020F0502020204030204" pitchFamily="34" charset="0"/>
                <a:ea typeface="Calibri" panose="020F0502020204030204" pitchFamily="34" charset="0"/>
                <a:cs typeface="Calibri" panose="020F0502020204030204" pitchFamily="34" charset="0"/>
              </a:rPr>
              <a:t>פלתורס</a:t>
            </a:r>
            <a:r>
              <a:rPr lang="he-IL" sz="1100">
                <a:solidFill>
                  <a:schemeClr val="tx1">
                    <a:lumMod val="60000"/>
                    <a:lumOff val="40000"/>
                  </a:schemeClr>
                </a:solidFill>
                <a:latin typeface="Calibri" panose="020F0502020204030204" pitchFamily="34" charset="0"/>
                <a:ea typeface="Calibri" panose="020F0502020204030204" pitchFamily="34" charset="0"/>
                <a:cs typeface="Calibri" panose="020F0502020204030204" pitchFamily="34" charset="0"/>
              </a:rPr>
              <a:t> </a:t>
            </a:r>
            <a:r>
              <a:rPr lang="he-IL" sz="1100" err="1">
                <a:solidFill>
                  <a:schemeClr val="tx1">
                    <a:lumMod val="60000"/>
                    <a:lumOff val="40000"/>
                  </a:schemeClr>
                </a:solidFill>
                <a:latin typeface="Calibri" panose="020F0502020204030204" pitchFamily="34" charset="0"/>
                <a:ea typeface="Calibri" panose="020F0502020204030204" pitchFamily="34" charset="0"/>
                <a:cs typeface="Calibri" panose="020F0502020204030204" pitchFamily="34" charset="0"/>
              </a:rPr>
              <a:t>ופלטרנספורט</a:t>
            </a:r>
            <a:r>
              <a:rPr lang="he-IL" sz="1100">
                <a:solidFill>
                  <a:schemeClr val="tx1">
                    <a:lumMod val="60000"/>
                    <a:lumOff val="40000"/>
                  </a:schemeClr>
                </a:solidFill>
                <a:latin typeface="Calibri" panose="020F0502020204030204" pitchFamily="34" charset="0"/>
                <a:ea typeface="Calibri" panose="020F0502020204030204" pitchFamily="34" charset="0"/>
                <a:cs typeface="Calibri" panose="020F0502020204030204" pitchFamily="34" charset="0"/>
              </a:rPr>
              <a:t>.</a:t>
            </a:r>
            <a:br>
              <a:rPr lang="he-IL" sz="1100">
                <a:solidFill>
                  <a:schemeClr val="tx1">
                    <a:lumMod val="60000"/>
                    <a:lumOff val="40000"/>
                  </a:schemeClr>
                </a:solidFill>
                <a:latin typeface="Calibri" panose="020F0502020204030204" pitchFamily="34" charset="0"/>
                <a:ea typeface="Calibri" panose="020F0502020204030204" pitchFamily="34" charset="0"/>
                <a:cs typeface="Calibri" panose="020F0502020204030204" pitchFamily="34" charset="0"/>
              </a:rPr>
            </a:br>
            <a:r>
              <a:rPr lang="he-IL" sz="1100" err="1">
                <a:solidFill>
                  <a:schemeClr val="tx1">
                    <a:lumMod val="60000"/>
                    <a:lumOff val="40000"/>
                  </a:schemeClr>
                </a:solidFill>
                <a:latin typeface="Calibri" panose="020F0502020204030204" pitchFamily="34" charset="0"/>
                <a:ea typeface="Calibri" panose="020F0502020204030204" pitchFamily="34" charset="0"/>
                <a:cs typeface="Calibri" panose="020F0502020204030204" pitchFamily="34" charset="0"/>
              </a:rPr>
              <a:t>פלתורס</a:t>
            </a:r>
            <a:r>
              <a:rPr lang="he-IL" sz="1100">
                <a:solidFill>
                  <a:schemeClr val="tx1">
                    <a:lumMod val="60000"/>
                    <a:lumOff val="40000"/>
                  </a:schemeClr>
                </a:solidFill>
                <a:latin typeface="Calibri" panose="020F0502020204030204" pitchFamily="34" charset="0"/>
                <a:ea typeface="Calibri" panose="020F0502020204030204" pitchFamily="34" charset="0"/>
                <a:cs typeface="Calibri" panose="020F0502020204030204" pitchFamily="34" charset="0"/>
              </a:rPr>
              <a:t> המשיכה לעסוק בעיקר בנסיעות ותיירות, </a:t>
            </a:r>
            <a:r>
              <a:rPr lang="he-IL" sz="1100" err="1">
                <a:solidFill>
                  <a:schemeClr val="tx1">
                    <a:lumMod val="60000"/>
                    <a:lumOff val="40000"/>
                  </a:schemeClr>
                </a:solidFill>
                <a:latin typeface="Calibri" panose="020F0502020204030204" pitchFamily="34" charset="0"/>
                <a:ea typeface="Calibri" panose="020F0502020204030204" pitchFamily="34" charset="0"/>
                <a:cs typeface="Calibri" panose="020F0502020204030204" pitchFamily="34" charset="0"/>
              </a:rPr>
              <a:t>ופלטרנספורט</a:t>
            </a:r>
            <a:r>
              <a:rPr lang="he-IL" sz="1100">
                <a:solidFill>
                  <a:schemeClr val="tx1">
                    <a:lumMod val="60000"/>
                    <a:lumOff val="40000"/>
                  </a:schemeClr>
                </a:solidFill>
                <a:latin typeface="Calibri" panose="020F0502020204030204" pitchFamily="34" charset="0"/>
                <a:ea typeface="Calibri" panose="020F0502020204030204" pitchFamily="34" charset="0"/>
                <a:cs typeface="Calibri" panose="020F0502020204030204" pitchFamily="34" charset="0"/>
              </a:rPr>
              <a:t> עסקה בעמילות מכס, תובלה בינלאומית ובתיירות</a:t>
            </a:r>
            <a:endParaRPr lang="en-US" sz="1100">
              <a:solidFill>
                <a:schemeClr val="tx1">
                  <a:lumMod val="60000"/>
                  <a:lumOff val="40000"/>
                </a:schemeClr>
              </a:solidFill>
              <a:latin typeface="Calibri" panose="020F0502020204030204" pitchFamily="34" charset="0"/>
              <a:ea typeface="Calibri" panose="020F0502020204030204" pitchFamily="34" charset="0"/>
              <a:cs typeface="Calibri" panose="020F0502020204030204" pitchFamily="34" charset="0"/>
            </a:endParaRPr>
          </a:p>
        </p:txBody>
      </p:sp>
      <p:sp>
        <p:nvSpPr>
          <p:cNvPr id="41" name="TextBox 40">
            <a:extLst>
              <a:ext uri="{FF2B5EF4-FFF2-40B4-BE49-F238E27FC236}">
                <a16:creationId xmlns:a16="http://schemas.microsoft.com/office/drawing/2014/main" id="{9D3CC50F-52DB-4991-87C3-BAA6BF4C61CA}"/>
              </a:ext>
            </a:extLst>
          </p:cNvPr>
          <p:cNvSpPr txBox="1"/>
          <p:nvPr/>
        </p:nvSpPr>
        <p:spPr>
          <a:xfrm>
            <a:off x="4478469" y="5172394"/>
            <a:ext cx="1625170" cy="707758"/>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n-US" sz="3999" b="1" i="0" u="none" strike="noStrike" kern="1200" cap="none" spc="0" normalizeH="0" baseline="0" noProof="0">
                <a:ln>
                  <a:noFill/>
                </a:ln>
                <a:solidFill>
                  <a:srgbClr val="004C99"/>
                </a:solidFill>
                <a:effectLst/>
                <a:uLnTx/>
                <a:uFillTx/>
                <a:latin typeface="Univia Pro"/>
                <a:ea typeface="+mn-ea"/>
                <a:cs typeface="+mn-cs"/>
              </a:rPr>
              <a:t>1947</a:t>
            </a:r>
          </a:p>
        </p:txBody>
      </p:sp>
      <p:sp>
        <p:nvSpPr>
          <p:cNvPr id="12" name="TextBox 11">
            <a:extLst>
              <a:ext uri="{FF2B5EF4-FFF2-40B4-BE49-F238E27FC236}">
                <a16:creationId xmlns:a16="http://schemas.microsoft.com/office/drawing/2014/main" id="{023CD804-8E86-9EBB-2C4D-E3542B42E2A6}"/>
              </a:ext>
            </a:extLst>
          </p:cNvPr>
          <p:cNvSpPr txBox="1"/>
          <p:nvPr/>
        </p:nvSpPr>
        <p:spPr>
          <a:xfrm>
            <a:off x="499343" y="3143247"/>
            <a:ext cx="2517394" cy="938719"/>
          </a:xfrm>
          <a:prstGeom prst="rect">
            <a:avLst/>
          </a:prstGeom>
          <a:noFill/>
        </p:spPr>
        <p:txBody>
          <a:bodyPr wrap="square" rtlCol="0">
            <a:spAutoFit/>
          </a:bodyPr>
          <a:lstStyle/>
          <a:p>
            <a:pPr algn="r" rtl="1" fontAlgn="base"/>
            <a:r>
              <a:rPr lang="he-IL" sz="1100" dirty="0">
                <a:solidFill>
                  <a:schemeClr val="tx1">
                    <a:lumMod val="60000"/>
                    <a:lumOff val="40000"/>
                  </a:schemeClr>
                </a:solidFill>
                <a:latin typeface="Calibri" panose="020F0502020204030204" pitchFamily="34" charset="0"/>
                <a:ea typeface="Calibri" panose="020F0502020204030204" pitchFamily="34" charset="0"/>
                <a:cs typeface="Calibri" panose="020F0502020204030204" pitchFamily="34" charset="0"/>
              </a:rPr>
              <a:t>הקידומת</a:t>
            </a:r>
            <a:r>
              <a:rPr lang="en-US" sz="1100" dirty="0">
                <a:solidFill>
                  <a:schemeClr val="tx1">
                    <a:lumMod val="60000"/>
                    <a:lumOff val="40000"/>
                  </a:schemeClr>
                </a:solidFill>
                <a:latin typeface="Calibri" panose="020F0502020204030204" pitchFamily="34" charset="0"/>
                <a:ea typeface="Calibri" panose="020F0502020204030204" pitchFamily="34" charset="0"/>
                <a:cs typeface="Calibri" panose="020F0502020204030204" pitchFamily="34" charset="0"/>
              </a:rPr>
              <a:t> PEL </a:t>
            </a:r>
            <a:r>
              <a:rPr lang="he-IL" sz="1100" dirty="0">
                <a:solidFill>
                  <a:schemeClr val="tx1">
                    <a:lumMod val="60000"/>
                    <a:lumOff val="40000"/>
                  </a:schemeClr>
                </a:solidFill>
                <a:latin typeface="Calibri" panose="020F0502020204030204" pitchFamily="34" charset="0"/>
                <a:ea typeface="Calibri" panose="020F0502020204030204" pitchFamily="34" charset="0"/>
                <a:cs typeface="Calibri" panose="020F0502020204030204" pitchFamily="34" charset="0"/>
              </a:rPr>
              <a:t>ייצגה את המילים </a:t>
            </a:r>
            <a:r>
              <a:rPr lang="en-US" sz="1100" dirty="0">
                <a:solidFill>
                  <a:schemeClr val="tx1">
                    <a:lumMod val="60000"/>
                    <a:lumOff val="40000"/>
                  </a:schemeClr>
                </a:solidFill>
                <a:latin typeface="Calibri" panose="020F0502020204030204" pitchFamily="34" charset="0"/>
                <a:ea typeface="Calibri" panose="020F0502020204030204" pitchFamily="34" charset="0"/>
                <a:cs typeface="Calibri" panose="020F0502020204030204" pitchFamily="34" charset="0"/>
              </a:rPr>
              <a:t>Palestine</a:t>
            </a:r>
            <a:r>
              <a:rPr lang="en-US" sz="1100" b="0" i="0" dirty="0">
                <a:solidFill>
                  <a:srgbClr val="000000"/>
                </a:solidFill>
                <a:effectLst/>
                <a:latin typeface="Arial" panose="020B0604020202020204" pitchFamily="34" charset="0"/>
              </a:rPr>
              <a:t>  </a:t>
            </a:r>
            <a:r>
              <a:rPr lang="en-US" sz="1100" dirty="0">
                <a:solidFill>
                  <a:schemeClr val="tx1">
                    <a:lumMod val="60000"/>
                    <a:lumOff val="40000"/>
                  </a:schemeClr>
                </a:solidFill>
                <a:latin typeface="Calibri" panose="020F0502020204030204" pitchFamily="34" charset="0"/>
                <a:ea typeface="Calibri" panose="020F0502020204030204" pitchFamily="34" charset="0"/>
                <a:cs typeface="Calibri" panose="020F0502020204030204" pitchFamily="34" charset="0"/>
              </a:rPr>
              <a:t>Egypt</a:t>
            </a:r>
            <a:r>
              <a:rPr lang="en-US" sz="1100" b="0" i="0" dirty="0">
                <a:solidFill>
                  <a:srgbClr val="000000"/>
                </a:solidFill>
                <a:effectLst/>
                <a:latin typeface="Arial" panose="020B0604020202020204" pitchFamily="34" charset="0"/>
              </a:rPr>
              <a:t> </a:t>
            </a:r>
            <a:r>
              <a:rPr lang="en-US" sz="1100" dirty="0">
                <a:solidFill>
                  <a:schemeClr val="tx1">
                    <a:lumMod val="60000"/>
                    <a:lumOff val="40000"/>
                  </a:schemeClr>
                </a:solidFill>
                <a:latin typeface="Calibri" panose="020F0502020204030204" pitchFamily="34" charset="0"/>
                <a:ea typeface="Calibri" panose="020F0502020204030204" pitchFamily="34" charset="0"/>
                <a:cs typeface="Calibri" panose="020F0502020204030204" pitchFamily="34" charset="0"/>
              </a:rPr>
              <a:t>Lloyds, </a:t>
            </a:r>
            <a:r>
              <a:rPr lang="he-IL" sz="1100" dirty="0">
                <a:solidFill>
                  <a:schemeClr val="tx1">
                    <a:lumMod val="60000"/>
                    <a:lumOff val="40000"/>
                  </a:schemeClr>
                </a:solidFill>
                <a:latin typeface="Calibri" panose="020F0502020204030204" pitchFamily="34" charset="0"/>
                <a:ea typeface="Calibri" panose="020F0502020204030204" pitchFamily="34" charset="0"/>
                <a:cs typeface="Calibri" panose="020F0502020204030204" pitchFamily="34" charset="0"/>
              </a:rPr>
              <a:t> שהיה </a:t>
            </a:r>
            <a:r>
              <a:rPr lang="he-IL" sz="1100">
                <a:solidFill>
                  <a:schemeClr val="tx1">
                    <a:lumMod val="60000"/>
                    <a:lumOff val="40000"/>
                  </a:schemeClr>
                </a:solidFill>
                <a:latin typeface="Calibri" panose="020F0502020204030204" pitchFamily="34" charset="0"/>
                <a:ea typeface="Calibri" panose="020F0502020204030204" pitchFamily="34" charset="0"/>
                <a:cs typeface="Calibri" panose="020F0502020204030204" pitchFamily="34" charset="0"/>
              </a:rPr>
              <a:t>תאגיד ארץ ישראלי-מצרי </a:t>
            </a:r>
            <a:r>
              <a:rPr lang="he-IL" sz="1100" dirty="0">
                <a:solidFill>
                  <a:schemeClr val="tx1">
                    <a:lumMod val="60000"/>
                    <a:lumOff val="40000"/>
                  </a:schemeClr>
                </a:solidFill>
                <a:latin typeface="Calibri" panose="020F0502020204030204" pitchFamily="34" charset="0"/>
                <a:ea typeface="Calibri" panose="020F0502020204030204" pitchFamily="34" charset="0"/>
                <a:cs typeface="Calibri" panose="020F0502020204030204" pitchFamily="34" charset="0"/>
              </a:rPr>
              <a:t>שעסק בתחומים שונים, בין היתר בהפעלת קו רכבת ישראל-מצרים. על בניין המשרדים של </a:t>
            </a:r>
            <a:r>
              <a:rPr lang="he-IL" sz="1100" dirty="0" err="1">
                <a:solidFill>
                  <a:schemeClr val="tx1">
                    <a:lumMod val="60000"/>
                    <a:lumOff val="40000"/>
                  </a:schemeClr>
                </a:solidFill>
                <a:latin typeface="Calibri" panose="020F0502020204030204" pitchFamily="34" charset="0"/>
                <a:ea typeface="Calibri" panose="020F0502020204030204" pitchFamily="34" charset="0"/>
                <a:cs typeface="Calibri" panose="020F0502020204030204" pitchFamily="34" charset="0"/>
              </a:rPr>
              <a:t>פלתורס</a:t>
            </a:r>
            <a:r>
              <a:rPr lang="he-IL" sz="1100" dirty="0">
                <a:solidFill>
                  <a:schemeClr val="tx1">
                    <a:lumMod val="60000"/>
                    <a:lumOff val="40000"/>
                  </a:schemeClr>
                </a:solidFill>
                <a:latin typeface="Calibri" panose="020F0502020204030204" pitchFamily="34" charset="0"/>
                <a:ea typeface="Calibri" panose="020F0502020204030204" pitchFamily="34" charset="0"/>
                <a:cs typeface="Calibri" panose="020F0502020204030204" pitchFamily="34" charset="0"/>
              </a:rPr>
              <a:t> נרשם: </a:t>
            </a:r>
            <a:r>
              <a:rPr lang="he-IL" sz="1100" dirty="0" err="1">
                <a:solidFill>
                  <a:schemeClr val="tx1">
                    <a:lumMod val="60000"/>
                    <a:lumOff val="40000"/>
                  </a:schemeClr>
                </a:solidFill>
                <a:latin typeface="Calibri" panose="020F0502020204030204" pitchFamily="34" charset="0"/>
                <a:ea typeface="Calibri" panose="020F0502020204030204" pitchFamily="34" charset="0"/>
                <a:cs typeface="Calibri" panose="020F0502020204030204" pitchFamily="34" charset="0"/>
              </a:rPr>
              <a:t>ללויד</a:t>
            </a:r>
            <a:r>
              <a:rPr lang="he-IL" sz="1100" dirty="0">
                <a:solidFill>
                  <a:schemeClr val="tx1">
                    <a:lumMod val="60000"/>
                    <a:lumOff val="40000"/>
                  </a:schemeClr>
                </a:solidFill>
                <a:latin typeface="Calibri" panose="020F0502020204030204" pitchFamily="34" charset="0"/>
                <a:ea typeface="Calibri" panose="020F0502020204030204" pitchFamily="34" charset="0"/>
                <a:cs typeface="Calibri" panose="020F0502020204030204" pitchFamily="34" charset="0"/>
              </a:rPr>
              <a:t> ארץ ישראלי מצרי</a:t>
            </a:r>
          </a:p>
        </p:txBody>
      </p:sp>
      <p:pic>
        <p:nvPicPr>
          <p:cNvPr id="1026" name="Picture 2">
            <a:extLst>
              <a:ext uri="{FF2B5EF4-FFF2-40B4-BE49-F238E27FC236}">
                <a16:creationId xmlns:a16="http://schemas.microsoft.com/office/drawing/2014/main" id="{5C3285E7-F96E-C10A-3692-7039320050FD}"/>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229835" y="637896"/>
            <a:ext cx="2497268" cy="1818599"/>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096908EA-164C-C952-F719-FFCE64FC3E25}"/>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197437" y="2841105"/>
            <a:ext cx="2497268" cy="1543005"/>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38">
            <a:extLst>
              <a:ext uri="{FF2B5EF4-FFF2-40B4-BE49-F238E27FC236}">
                <a16:creationId xmlns:a16="http://schemas.microsoft.com/office/drawing/2014/main" id="{7D275E78-8FA0-A4E1-6877-CC4898B2CFEF}"/>
              </a:ext>
            </a:extLst>
          </p:cNvPr>
          <p:cNvSpPr txBox="1"/>
          <p:nvPr/>
        </p:nvSpPr>
        <p:spPr>
          <a:xfrm>
            <a:off x="6341173" y="3274381"/>
            <a:ext cx="2714993" cy="615553"/>
          </a:xfrm>
          <a:prstGeom prst="rect">
            <a:avLst/>
          </a:prstGeom>
          <a:noFill/>
        </p:spPr>
        <p:txBody>
          <a:bodyPr wrap="square" rtlCol="0" anchor="ctr">
            <a:spAutoFit/>
          </a:bodyPr>
          <a:lstStyle/>
          <a:p>
            <a:pPr marL="0" marR="0" lvl="0" indent="0" algn="r" defTabSz="914400" rtl="0" eaLnBrk="1" fontAlgn="auto" latinLnBrk="0" hangingPunct="1">
              <a:lnSpc>
                <a:spcPct val="100000"/>
              </a:lnSpc>
              <a:spcBef>
                <a:spcPct val="0"/>
              </a:spcBef>
              <a:spcAft>
                <a:spcPct val="0"/>
              </a:spcAft>
              <a:buClrTx/>
              <a:buSzTx/>
              <a:buFontTx/>
              <a:buNone/>
              <a:defRPr/>
            </a:pPr>
            <a:r>
              <a:rPr lang="he-IL" b="1" dirty="0">
                <a:solidFill>
                  <a:srgbClr val="3C5B7B">
                    <a:alpha val="70000"/>
                  </a:srgbClr>
                </a:solidFill>
                <a:latin typeface="Univia Pro"/>
              </a:rPr>
              <a:t>כרטיס קו הרכבת </a:t>
            </a:r>
            <a:endParaRPr lang="en-US" b="1" dirty="0">
              <a:solidFill>
                <a:srgbClr val="3C5B7B">
                  <a:alpha val="70000"/>
                </a:srgbClr>
              </a:solidFill>
              <a:latin typeface="Univia Pro"/>
            </a:endParaRPr>
          </a:p>
          <a:p>
            <a:pPr marL="0" marR="0" lvl="0" indent="0" algn="r" defTabSz="914400" rtl="0" eaLnBrk="1" fontAlgn="auto" latinLnBrk="0" hangingPunct="1">
              <a:lnSpc>
                <a:spcPct val="100000"/>
              </a:lnSpc>
              <a:spcBef>
                <a:spcPct val="0"/>
              </a:spcBef>
              <a:spcAft>
                <a:spcPct val="0"/>
              </a:spcAft>
              <a:buClrTx/>
              <a:buSzTx/>
              <a:buFontTx/>
              <a:buNone/>
              <a:defRPr/>
            </a:pPr>
            <a:r>
              <a:rPr kumimoji="0" lang="en-US" sz="1600" b="1" i="0" u="none" strike="noStrike" kern="1200" cap="none" spc="0" normalizeH="0" baseline="0" noProof="0" dirty="0">
                <a:ln>
                  <a:noFill/>
                </a:ln>
                <a:solidFill>
                  <a:srgbClr val="3C5B7B">
                    <a:alpha val="70000"/>
                  </a:srgbClr>
                </a:solidFill>
                <a:effectLst/>
                <a:uLnTx/>
                <a:uFillTx/>
                <a:latin typeface="Univia Pro"/>
                <a:ea typeface="+mn-ea"/>
                <a:cs typeface="+mn-cs"/>
              </a:rPr>
              <a:t>Palestinian Egypt Lloyds</a:t>
            </a:r>
          </a:p>
        </p:txBody>
      </p:sp>
      <p:pic>
        <p:nvPicPr>
          <p:cNvPr id="1030" name="Picture 6">
            <a:extLst>
              <a:ext uri="{FF2B5EF4-FFF2-40B4-BE49-F238E27FC236}">
                <a16:creationId xmlns:a16="http://schemas.microsoft.com/office/drawing/2014/main" id="{9A2937BA-FCD0-646D-88EC-91E9455706C7}"/>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529640" y="4278800"/>
            <a:ext cx="2497267" cy="2462848"/>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38">
            <a:extLst>
              <a:ext uri="{FF2B5EF4-FFF2-40B4-BE49-F238E27FC236}">
                <a16:creationId xmlns:a16="http://schemas.microsoft.com/office/drawing/2014/main" id="{C20153F3-E3DD-383D-28E2-AA9FE6DDD611}"/>
              </a:ext>
            </a:extLst>
          </p:cNvPr>
          <p:cNvSpPr txBox="1"/>
          <p:nvPr/>
        </p:nvSpPr>
        <p:spPr>
          <a:xfrm>
            <a:off x="8015334" y="1453051"/>
            <a:ext cx="2714993" cy="369332"/>
          </a:xfrm>
          <a:prstGeom prst="rect">
            <a:avLst/>
          </a:prstGeom>
          <a:noFill/>
        </p:spPr>
        <p:txBody>
          <a:bodyPr wrap="square" rtlCol="0" anchor="ctr">
            <a:spAutoFit/>
          </a:bodyPr>
          <a:lstStyle/>
          <a:p>
            <a:pPr marL="0" marR="0" lvl="0" indent="0" algn="r" defTabSz="914400" rtl="0" eaLnBrk="1" fontAlgn="auto" latinLnBrk="0" hangingPunct="1">
              <a:lnSpc>
                <a:spcPct val="100000"/>
              </a:lnSpc>
              <a:spcBef>
                <a:spcPct val="0"/>
              </a:spcBef>
              <a:spcAft>
                <a:spcPct val="0"/>
              </a:spcAft>
              <a:buClrTx/>
              <a:buSzTx/>
              <a:buFontTx/>
              <a:buNone/>
              <a:defRPr/>
            </a:pPr>
            <a:r>
              <a:rPr lang="he-IL" b="1">
                <a:solidFill>
                  <a:srgbClr val="3C5B7B">
                    <a:alpha val="70000"/>
                  </a:srgbClr>
                </a:solidFill>
                <a:latin typeface="Univia Pro"/>
              </a:rPr>
              <a:t>היווסדות חברת "</a:t>
            </a:r>
            <a:r>
              <a:rPr lang="he-IL" b="1" err="1">
                <a:solidFill>
                  <a:srgbClr val="3C5B7B">
                    <a:alpha val="70000"/>
                  </a:srgbClr>
                </a:solidFill>
                <a:latin typeface="Univia Pro"/>
              </a:rPr>
              <a:t>פלתורס</a:t>
            </a:r>
            <a:r>
              <a:rPr lang="he-IL" b="1">
                <a:solidFill>
                  <a:srgbClr val="3C5B7B">
                    <a:alpha val="70000"/>
                  </a:srgbClr>
                </a:solidFill>
                <a:latin typeface="Univia Pro"/>
              </a:rPr>
              <a:t>"</a:t>
            </a:r>
            <a:endParaRPr lang="en-US" b="1">
              <a:solidFill>
                <a:srgbClr val="3C5B7B">
                  <a:alpha val="70000"/>
                </a:srgbClr>
              </a:solidFill>
              <a:latin typeface="Univia Pro"/>
            </a:endParaRPr>
          </a:p>
        </p:txBody>
      </p:sp>
      <p:sp>
        <p:nvSpPr>
          <p:cNvPr id="4" name="Oval 15">
            <a:extLst>
              <a:ext uri="{FF2B5EF4-FFF2-40B4-BE49-F238E27FC236}">
                <a16:creationId xmlns:a16="http://schemas.microsoft.com/office/drawing/2014/main" id="{06DA0426-7C48-D409-5A71-6CE9497A5FEA}"/>
              </a:ext>
            </a:extLst>
          </p:cNvPr>
          <p:cNvSpPr/>
          <p:nvPr/>
        </p:nvSpPr>
        <p:spPr>
          <a:xfrm>
            <a:off x="5964571" y="3459572"/>
            <a:ext cx="245173" cy="245173"/>
          </a:xfrm>
          <a:prstGeom prst="ellipse">
            <a:avLst/>
          </a:prstGeom>
          <a:solidFill>
            <a:srgbClr val="3C5B7B"/>
          </a:solidFill>
          <a:ln w="635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000" b="1" i="0" u="none" strike="noStrike" kern="1200" cap="none" spc="0" normalizeH="0" baseline="0" noProof="0">
              <a:ln>
                <a:noFill/>
              </a:ln>
              <a:solidFill>
                <a:srgbClr val="3C5B7B"/>
              </a:solidFill>
              <a:effectLst/>
              <a:uLnTx/>
              <a:uFillTx/>
              <a:latin typeface="Univia Pro"/>
              <a:ea typeface="+mn-ea"/>
              <a:cs typeface="+mn-cs"/>
            </a:endParaRPr>
          </a:p>
        </p:txBody>
      </p:sp>
    </p:spTree>
    <p:extLst>
      <p:ext uri="{BB962C8B-B14F-4D97-AF65-F5344CB8AC3E}">
        <p14:creationId xmlns:p14="http://schemas.microsoft.com/office/powerpoint/2010/main" val="2501452229"/>
      </p:ext>
    </p:extLst>
  </p:cSld>
  <p:clrMapOvr>
    <a:masterClrMapping/>
  </p:clrMapOvr>
  <p:transition spd="slow">
    <p:push dir="u"/>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B7A6A8C3-30C5-402C-8B1E-13ADB9707C43}"/>
              </a:ext>
            </a:extLst>
          </p:cNvPr>
          <p:cNvCxnSpPr/>
          <p:nvPr/>
        </p:nvCxnSpPr>
        <p:spPr>
          <a:xfrm flipH="1">
            <a:off x="6096000" y="447"/>
            <a:ext cx="0" cy="6857107"/>
          </a:xfrm>
          <a:prstGeom prst="line">
            <a:avLst/>
          </a:prstGeom>
          <a:ln w="635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6" name="Oval 15">
            <a:extLst>
              <a:ext uri="{FF2B5EF4-FFF2-40B4-BE49-F238E27FC236}">
                <a16:creationId xmlns:a16="http://schemas.microsoft.com/office/drawing/2014/main" id="{2D9159DE-9DFE-4797-8273-978A10437C34}"/>
              </a:ext>
            </a:extLst>
          </p:cNvPr>
          <p:cNvSpPr/>
          <p:nvPr/>
        </p:nvSpPr>
        <p:spPr>
          <a:xfrm>
            <a:off x="5918331" y="1460548"/>
            <a:ext cx="355339" cy="355339"/>
          </a:xfrm>
          <a:prstGeom prst="ellipse">
            <a:avLst/>
          </a:prstGeom>
          <a:solidFill>
            <a:schemeClr val="bg1"/>
          </a:solidFill>
          <a:ln w="635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000" b="1" i="0" u="none" strike="noStrike" kern="1200" cap="none" spc="0" normalizeH="0" baseline="0" noProof="0">
              <a:ln>
                <a:noFill/>
              </a:ln>
              <a:solidFill>
                <a:srgbClr val="3C5B7B"/>
              </a:solidFill>
              <a:effectLst/>
              <a:uLnTx/>
              <a:uFillTx/>
              <a:latin typeface="Univia Pro"/>
              <a:ea typeface="+mn-ea"/>
              <a:cs typeface="+mn-cs"/>
            </a:endParaRPr>
          </a:p>
        </p:txBody>
      </p:sp>
      <p:sp>
        <p:nvSpPr>
          <p:cNvPr id="17" name="Oval 16">
            <a:extLst>
              <a:ext uri="{FF2B5EF4-FFF2-40B4-BE49-F238E27FC236}">
                <a16:creationId xmlns:a16="http://schemas.microsoft.com/office/drawing/2014/main" id="{15478016-AAA9-400F-9257-FF659FF9C54D}"/>
              </a:ext>
            </a:extLst>
          </p:cNvPr>
          <p:cNvSpPr/>
          <p:nvPr/>
        </p:nvSpPr>
        <p:spPr>
          <a:xfrm>
            <a:off x="5918331" y="3257523"/>
            <a:ext cx="355339" cy="355339"/>
          </a:xfrm>
          <a:prstGeom prst="ellipse">
            <a:avLst/>
          </a:prstGeom>
          <a:solidFill>
            <a:schemeClr val="bg1"/>
          </a:solidFill>
          <a:ln w="635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000" b="1" i="0" u="none" strike="noStrike" kern="1200" cap="none" spc="0" normalizeH="0" baseline="0" noProof="0">
              <a:ln>
                <a:noFill/>
              </a:ln>
              <a:solidFill>
                <a:srgbClr val="3C5B7B"/>
              </a:solidFill>
              <a:effectLst/>
              <a:uLnTx/>
              <a:uFillTx/>
              <a:latin typeface="Univia Pro"/>
              <a:ea typeface="+mn-ea"/>
              <a:cs typeface="+mn-cs"/>
            </a:endParaRPr>
          </a:p>
        </p:txBody>
      </p:sp>
      <p:sp>
        <p:nvSpPr>
          <p:cNvPr id="18" name="TextBox 17">
            <a:extLst>
              <a:ext uri="{FF2B5EF4-FFF2-40B4-BE49-F238E27FC236}">
                <a16:creationId xmlns:a16="http://schemas.microsoft.com/office/drawing/2014/main" id="{AD857DF9-06F8-40AB-992F-6C447FF87015}"/>
              </a:ext>
            </a:extLst>
          </p:cNvPr>
          <p:cNvSpPr txBox="1"/>
          <p:nvPr/>
        </p:nvSpPr>
        <p:spPr>
          <a:xfrm>
            <a:off x="2188129" y="3250526"/>
            <a:ext cx="2168292" cy="369332"/>
          </a:xfrm>
          <a:prstGeom prst="rect">
            <a:avLst/>
          </a:prstGeom>
          <a:noFill/>
        </p:spPr>
        <p:txBody>
          <a:bodyPr wrap="square" rtlCol="0" anchor="ctr">
            <a:spAutoFit/>
          </a:bodyPr>
          <a:lstStyle/>
          <a:p>
            <a:pPr marL="0" marR="0" lvl="0" indent="0" defTabSz="914400" rtl="0" eaLnBrk="1" fontAlgn="auto" latinLnBrk="0" hangingPunct="1">
              <a:lnSpc>
                <a:spcPct val="100000"/>
              </a:lnSpc>
              <a:spcBef>
                <a:spcPct val="0"/>
              </a:spcBef>
              <a:spcAft>
                <a:spcPct val="0"/>
              </a:spcAft>
              <a:buClrTx/>
              <a:buSzTx/>
              <a:buFontTx/>
              <a:buNone/>
              <a:defRPr/>
            </a:pPr>
            <a:r>
              <a:rPr lang="en-US" b="1" err="1">
                <a:solidFill>
                  <a:srgbClr val="3C5B7B">
                    <a:alpha val="70000"/>
                  </a:srgbClr>
                </a:solidFill>
                <a:latin typeface="Univia Pro"/>
              </a:rPr>
              <a:t>Envirotainer</a:t>
            </a:r>
            <a:r>
              <a:rPr lang="en-US" b="1">
                <a:solidFill>
                  <a:srgbClr val="3C5B7B">
                    <a:alpha val="70000"/>
                  </a:srgbClr>
                </a:solidFill>
                <a:latin typeface="Univia Pro"/>
              </a:rPr>
              <a:t>  GSA</a:t>
            </a:r>
            <a:endParaRPr kumimoji="0" lang="en-US" sz="1800" b="1" i="0" u="none" strike="noStrike" kern="1200" cap="none" spc="0" normalizeH="0" baseline="0" noProof="0">
              <a:ln>
                <a:noFill/>
              </a:ln>
              <a:solidFill>
                <a:srgbClr val="3C5B7B">
                  <a:alpha val="70000"/>
                </a:srgbClr>
              </a:solidFill>
              <a:effectLst/>
              <a:uLnTx/>
              <a:uFillTx/>
              <a:latin typeface="Univia Pro"/>
              <a:ea typeface="+mn-ea"/>
              <a:cs typeface="+mn-cs"/>
            </a:endParaRPr>
          </a:p>
        </p:txBody>
      </p:sp>
      <p:sp>
        <p:nvSpPr>
          <p:cNvPr id="19" name="TextBox 18">
            <a:extLst>
              <a:ext uri="{FF2B5EF4-FFF2-40B4-BE49-F238E27FC236}">
                <a16:creationId xmlns:a16="http://schemas.microsoft.com/office/drawing/2014/main" id="{C251FA08-DB59-4AD0-A744-2F8B933FDFC7}"/>
              </a:ext>
            </a:extLst>
          </p:cNvPr>
          <p:cNvSpPr txBox="1"/>
          <p:nvPr/>
        </p:nvSpPr>
        <p:spPr>
          <a:xfrm>
            <a:off x="776751" y="1338135"/>
            <a:ext cx="2376830" cy="600164"/>
          </a:xfrm>
          <a:prstGeom prst="rect">
            <a:avLst/>
          </a:prstGeom>
          <a:noFill/>
        </p:spPr>
        <p:txBody>
          <a:bodyPr wrap="square" rtlCol="0">
            <a:spAutoFit/>
          </a:bodyPr>
          <a:lstStyle/>
          <a:p>
            <a:pPr algn="r" rtl="1" fontAlgn="base"/>
            <a:r>
              <a:rPr lang="he-IL" sz="1100">
                <a:solidFill>
                  <a:schemeClr val="tx1">
                    <a:lumMod val="60000"/>
                    <a:lumOff val="40000"/>
                  </a:schemeClr>
                </a:solidFill>
                <a:latin typeface="Calibri" panose="020F0502020204030204" pitchFamily="34" charset="0"/>
                <a:ea typeface="Calibri" panose="020F0502020204030204" pitchFamily="34" charset="0"/>
                <a:cs typeface="Calibri" panose="020F0502020204030204" pitchFamily="34" charset="0"/>
              </a:rPr>
              <a:t>בשנת 1999 רכשה </a:t>
            </a:r>
            <a:r>
              <a:rPr lang="he-IL" sz="1100" err="1">
                <a:solidFill>
                  <a:schemeClr val="tx1">
                    <a:lumMod val="60000"/>
                    <a:lumOff val="40000"/>
                  </a:schemeClr>
                </a:solidFill>
                <a:latin typeface="Calibri" panose="020F0502020204030204" pitchFamily="34" charset="0"/>
                <a:ea typeface="Calibri" panose="020F0502020204030204" pitchFamily="34" charset="0"/>
                <a:cs typeface="Calibri" panose="020F0502020204030204" pitchFamily="34" charset="0"/>
              </a:rPr>
              <a:t>פלטרנספורט</a:t>
            </a:r>
            <a:r>
              <a:rPr lang="he-IL" sz="1100">
                <a:solidFill>
                  <a:schemeClr val="tx1">
                    <a:lumMod val="60000"/>
                    <a:lumOff val="40000"/>
                  </a:schemeClr>
                </a:solidFill>
                <a:latin typeface="Calibri" panose="020F0502020204030204" pitchFamily="34" charset="0"/>
                <a:ea typeface="Calibri" panose="020F0502020204030204" pitchFamily="34" charset="0"/>
                <a:cs typeface="Calibri" panose="020F0502020204030204" pitchFamily="34" charset="0"/>
              </a:rPr>
              <a:t> את פעילות חברת </a:t>
            </a:r>
            <a:r>
              <a:rPr lang="en-US" sz="1100">
                <a:solidFill>
                  <a:schemeClr val="tx1">
                    <a:lumMod val="60000"/>
                    <a:lumOff val="40000"/>
                  </a:schemeClr>
                </a:solidFill>
                <a:latin typeface="Calibri" panose="020F0502020204030204" pitchFamily="34" charset="0"/>
                <a:ea typeface="Calibri" panose="020F0502020204030204" pitchFamily="34" charset="0"/>
                <a:cs typeface="Calibri" panose="020F0502020204030204" pitchFamily="34" charset="0"/>
              </a:rPr>
              <a:t>Air Tigers </a:t>
            </a:r>
            <a:r>
              <a:rPr lang="he-IL" sz="1100">
                <a:solidFill>
                  <a:schemeClr val="tx1">
                    <a:lumMod val="60000"/>
                    <a:lumOff val="40000"/>
                  </a:schemeClr>
                </a:solidFill>
                <a:latin typeface="Calibri" panose="020F0502020204030204" pitchFamily="34" charset="0"/>
                <a:ea typeface="Calibri" panose="020F0502020204030204" pitchFamily="34" charset="0"/>
                <a:cs typeface="Calibri" panose="020F0502020204030204" pitchFamily="34" charset="0"/>
              </a:rPr>
              <a:t> בישראל. </a:t>
            </a:r>
            <a:r>
              <a:rPr lang="he-IL" sz="1100" err="1">
                <a:solidFill>
                  <a:schemeClr val="tx1">
                    <a:lumMod val="60000"/>
                    <a:lumOff val="40000"/>
                  </a:schemeClr>
                </a:solidFill>
                <a:latin typeface="Calibri" panose="020F0502020204030204" pitchFamily="34" charset="0"/>
                <a:ea typeface="Calibri" panose="020F0502020204030204" pitchFamily="34" charset="0"/>
                <a:cs typeface="Calibri" panose="020F0502020204030204" pitchFamily="34" charset="0"/>
              </a:rPr>
              <a:t>היתה</a:t>
            </a:r>
            <a:r>
              <a:rPr lang="he-IL" sz="1100">
                <a:solidFill>
                  <a:schemeClr val="tx1">
                    <a:lumMod val="60000"/>
                    <a:lumOff val="40000"/>
                  </a:schemeClr>
                </a:solidFill>
                <a:latin typeface="Calibri" panose="020F0502020204030204" pitchFamily="34" charset="0"/>
                <a:ea typeface="Calibri" panose="020F0502020204030204" pitchFamily="34" charset="0"/>
                <a:cs typeface="Calibri" panose="020F0502020204030204" pitchFamily="34" charset="0"/>
              </a:rPr>
              <a:t> זו רכישה ראשונה מסוגה עבור </a:t>
            </a:r>
            <a:r>
              <a:rPr lang="he-IL" sz="1100" err="1">
                <a:solidFill>
                  <a:schemeClr val="tx1">
                    <a:lumMod val="60000"/>
                    <a:lumOff val="40000"/>
                  </a:schemeClr>
                </a:solidFill>
                <a:latin typeface="Calibri" panose="020F0502020204030204" pitchFamily="34" charset="0"/>
                <a:ea typeface="Calibri" panose="020F0502020204030204" pitchFamily="34" charset="0"/>
                <a:cs typeface="Calibri" panose="020F0502020204030204" pitchFamily="34" charset="0"/>
              </a:rPr>
              <a:t>פלטרנספורט</a:t>
            </a:r>
            <a:r>
              <a:rPr lang="he-IL" sz="1100">
                <a:solidFill>
                  <a:schemeClr val="tx1">
                    <a:lumMod val="60000"/>
                    <a:lumOff val="40000"/>
                  </a:schemeClr>
                </a:solidFill>
                <a:latin typeface="Calibri" panose="020F0502020204030204" pitchFamily="34" charset="0"/>
                <a:ea typeface="Calibri" panose="020F0502020204030204" pitchFamily="34" charset="0"/>
                <a:cs typeface="Calibri" panose="020F0502020204030204" pitchFamily="34" charset="0"/>
              </a:rPr>
              <a:t>.</a:t>
            </a:r>
          </a:p>
        </p:txBody>
      </p:sp>
      <p:sp>
        <p:nvSpPr>
          <p:cNvPr id="38" name="Oval 37">
            <a:extLst>
              <a:ext uri="{FF2B5EF4-FFF2-40B4-BE49-F238E27FC236}">
                <a16:creationId xmlns:a16="http://schemas.microsoft.com/office/drawing/2014/main" id="{ACB3E889-34DC-406E-97C3-AB7AF8121F03}"/>
              </a:ext>
            </a:extLst>
          </p:cNvPr>
          <p:cNvSpPr/>
          <p:nvPr/>
        </p:nvSpPr>
        <p:spPr>
          <a:xfrm>
            <a:off x="5918331" y="5010671"/>
            <a:ext cx="355339" cy="355339"/>
          </a:xfrm>
          <a:prstGeom prst="ellipse">
            <a:avLst/>
          </a:prstGeom>
          <a:solidFill>
            <a:schemeClr val="bg1"/>
          </a:solidFill>
          <a:ln w="635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000" b="1" i="0" u="none" strike="noStrike" kern="1200" cap="none" spc="0" normalizeH="0" baseline="0" noProof="0">
              <a:ln>
                <a:noFill/>
              </a:ln>
              <a:solidFill>
                <a:srgbClr val="3C5B7B"/>
              </a:solidFill>
              <a:effectLst/>
              <a:uLnTx/>
              <a:uFillTx/>
              <a:latin typeface="Univia Pro"/>
              <a:ea typeface="+mn-ea"/>
              <a:cs typeface="+mn-cs"/>
            </a:endParaRPr>
          </a:p>
        </p:txBody>
      </p:sp>
      <p:sp>
        <p:nvSpPr>
          <p:cNvPr id="39" name="TextBox 38">
            <a:extLst>
              <a:ext uri="{FF2B5EF4-FFF2-40B4-BE49-F238E27FC236}">
                <a16:creationId xmlns:a16="http://schemas.microsoft.com/office/drawing/2014/main" id="{A79B11B3-DBA5-4B34-85D6-713DE75F543A}"/>
              </a:ext>
            </a:extLst>
          </p:cNvPr>
          <p:cNvSpPr txBox="1"/>
          <p:nvPr/>
        </p:nvSpPr>
        <p:spPr>
          <a:xfrm>
            <a:off x="3175926" y="4865174"/>
            <a:ext cx="2619852" cy="646331"/>
          </a:xfrm>
          <a:prstGeom prst="rect">
            <a:avLst/>
          </a:prstGeom>
          <a:noFill/>
        </p:spPr>
        <p:txBody>
          <a:bodyPr wrap="square" rtlCol="0" anchor="ctr">
            <a:spAutoFit/>
          </a:bodyPr>
          <a:lstStyle/>
          <a:p>
            <a:pPr marL="0" marR="0" lvl="0" indent="0" algn="r" defTabSz="914400" rtl="0" eaLnBrk="1" fontAlgn="auto" latinLnBrk="0" hangingPunct="1">
              <a:lnSpc>
                <a:spcPct val="100000"/>
              </a:lnSpc>
              <a:spcBef>
                <a:spcPct val="0"/>
              </a:spcBef>
              <a:spcAft>
                <a:spcPct val="0"/>
              </a:spcAft>
              <a:buClrTx/>
              <a:buSzTx/>
              <a:buFontTx/>
              <a:buNone/>
              <a:defRPr/>
            </a:pPr>
            <a:r>
              <a:rPr kumimoji="0" lang="he-IL" sz="1800" b="1" i="0" u="none" strike="noStrike" kern="1200" cap="none" spc="0" normalizeH="0" baseline="0" noProof="0">
                <a:ln>
                  <a:noFill/>
                </a:ln>
                <a:solidFill>
                  <a:srgbClr val="3C5B7B">
                    <a:alpha val="70000"/>
                  </a:srgbClr>
                </a:solidFill>
                <a:effectLst/>
                <a:uLnTx/>
                <a:uFillTx/>
                <a:latin typeface="Univia Pro"/>
                <a:ea typeface="+mn-ea"/>
                <a:cs typeface="+mn-cs"/>
              </a:rPr>
              <a:t>רכישת פעילות חברת "</a:t>
            </a:r>
            <a:r>
              <a:rPr kumimoji="0" lang="he-IL" sz="1800" b="1" i="0" u="none" strike="noStrike" kern="1200" cap="none" spc="0" normalizeH="0" baseline="0" noProof="0" err="1">
                <a:ln>
                  <a:noFill/>
                </a:ln>
                <a:solidFill>
                  <a:srgbClr val="3C5B7B">
                    <a:alpha val="70000"/>
                  </a:srgbClr>
                </a:solidFill>
                <a:effectLst/>
                <a:uLnTx/>
                <a:uFillTx/>
                <a:latin typeface="Univia Pro"/>
                <a:ea typeface="+mn-ea"/>
                <a:cs typeface="+mn-cs"/>
              </a:rPr>
              <a:t>מ.הולצמן</a:t>
            </a:r>
            <a:r>
              <a:rPr kumimoji="0" lang="he-IL" sz="1800" b="1" i="0" u="none" strike="noStrike" kern="1200" cap="none" spc="0" normalizeH="0" baseline="0" noProof="0">
                <a:ln>
                  <a:noFill/>
                </a:ln>
                <a:solidFill>
                  <a:srgbClr val="3C5B7B">
                    <a:alpha val="70000"/>
                  </a:srgbClr>
                </a:solidFill>
                <a:effectLst/>
                <a:uLnTx/>
                <a:uFillTx/>
                <a:latin typeface="Univia Pro"/>
                <a:ea typeface="+mn-ea"/>
                <a:cs typeface="+mn-cs"/>
              </a:rPr>
              <a:t> עמילות מכס"</a:t>
            </a:r>
            <a:endParaRPr kumimoji="0" lang="en-US" sz="1800" b="1" i="0" u="none" strike="noStrike" kern="1200" cap="none" spc="0" normalizeH="0" baseline="0" noProof="0">
              <a:ln>
                <a:noFill/>
              </a:ln>
              <a:solidFill>
                <a:srgbClr val="3C5B7B">
                  <a:alpha val="70000"/>
                </a:srgbClr>
              </a:solidFill>
              <a:effectLst/>
              <a:uLnTx/>
              <a:uFillTx/>
              <a:latin typeface="Univia Pro"/>
              <a:ea typeface="+mn-ea"/>
              <a:cs typeface="+mn-cs"/>
            </a:endParaRPr>
          </a:p>
        </p:txBody>
      </p:sp>
      <p:sp>
        <p:nvSpPr>
          <p:cNvPr id="41" name="TextBox 40">
            <a:extLst>
              <a:ext uri="{FF2B5EF4-FFF2-40B4-BE49-F238E27FC236}">
                <a16:creationId xmlns:a16="http://schemas.microsoft.com/office/drawing/2014/main" id="{9D3CC50F-52DB-4991-87C3-BAA6BF4C61CA}"/>
              </a:ext>
            </a:extLst>
          </p:cNvPr>
          <p:cNvSpPr txBox="1"/>
          <p:nvPr/>
        </p:nvSpPr>
        <p:spPr>
          <a:xfrm>
            <a:off x="6515201" y="4836994"/>
            <a:ext cx="1625170" cy="707758"/>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n-US" sz="3999" b="1" i="0" u="none" strike="noStrike" kern="1200" cap="none" spc="0" normalizeH="0" baseline="0" noProof="0">
                <a:ln>
                  <a:noFill/>
                </a:ln>
                <a:solidFill>
                  <a:srgbClr val="004C99"/>
                </a:solidFill>
                <a:effectLst/>
                <a:uLnTx/>
                <a:uFillTx/>
                <a:latin typeface="Univia Pro"/>
                <a:ea typeface="+mn-ea"/>
                <a:cs typeface="+mn-cs"/>
              </a:rPr>
              <a:t>2013</a:t>
            </a:r>
          </a:p>
        </p:txBody>
      </p:sp>
      <p:sp>
        <p:nvSpPr>
          <p:cNvPr id="10" name="TextBox 9">
            <a:extLst>
              <a:ext uri="{FF2B5EF4-FFF2-40B4-BE49-F238E27FC236}">
                <a16:creationId xmlns:a16="http://schemas.microsoft.com/office/drawing/2014/main" id="{CECF0510-D01C-B925-13DC-704AD5BE509B}"/>
              </a:ext>
            </a:extLst>
          </p:cNvPr>
          <p:cNvSpPr txBox="1"/>
          <p:nvPr/>
        </p:nvSpPr>
        <p:spPr>
          <a:xfrm>
            <a:off x="4356421" y="3073919"/>
            <a:ext cx="1547651" cy="707758"/>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n-US" sz="3999" b="1" i="0" u="none" strike="noStrike" kern="1200" cap="none" spc="0" normalizeH="0" baseline="0" noProof="0">
                <a:ln>
                  <a:noFill/>
                </a:ln>
                <a:solidFill>
                  <a:srgbClr val="004C99"/>
                </a:solidFill>
                <a:effectLst/>
                <a:uLnTx/>
                <a:uFillTx/>
                <a:latin typeface="Univia Pro"/>
                <a:ea typeface="+mn-ea"/>
                <a:cs typeface="+mn-cs"/>
              </a:rPr>
              <a:t>2006</a:t>
            </a:r>
          </a:p>
        </p:txBody>
      </p:sp>
      <p:sp>
        <p:nvSpPr>
          <p:cNvPr id="2" name="TextBox 1">
            <a:extLst>
              <a:ext uri="{FF2B5EF4-FFF2-40B4-BE49-F238E27FC236}">
                <a16:creationId xmlns:a16="http://schemas.microsoft.com/office/drawing/2014/main" id="{1C27645F-27A2-640E-F3D0-758931624E1B}"/>
              </a:ext>
            </a:extLst>
          </p:cNvPr>
          <p:cNvSpPr txBox="1"/>
          <p:nvPr/>
        </p:nvSpPr>
        <p:spPr>
          <a:xfrm>
            <a:off x="6515201" y="1313249"/>
            <a:ext cx="1625170" cy="707758"/>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n-US" sz="3999" b="1" i="0" u="none" strike="noStrike" kern="1200" cap="none" spc="0" normalizeH="0" baseline="0" noProof="0">
                <a:ln>
                  <a:noFill/>
                </a:ln>
                <a:solidFill>
                  <a:srgbClr val="004C99"/>
                </a:solidFill>
                <a:effectLst/>
                <a:uLnTx/>
                <a:uFillTx/>
                <a:latin typeface="Univia Pro"/>
                <a:ea typeface="+mn-ea"/>
                <a:cs typeface="+mn-cs"/>
              </a:rPr>
              <a:t>1999</a:t>
            </a:r>
          </a:p>
        </p:txBody>
      </p:sp>
      <p:sp>
        <p:nvSpPr>
          <p:cNvPr id="3" name="TextBox 2">
            <a:extLst>
              <a:ext uri="{FF2B5EF4-FFF2-40B4-BE49-F238E27FC236}">
                <a16:creationId xmlns:a16="http://schemas.microsoft.com/office/drawing/2014/main" id="{F3D97242-7AA6-F72B-88E4-42F74E3396EC}"/>
              </a:ext>
            </a:extLst>
          </p:cNvPr>
          <p:cNvSpPr txBox="1"/>
          <p:nvPr/>
        </p:nvSpPr>
        <p:spPr>
          <a:xfrm>
            <a:off x="7648654" y="1206500"/>
            <a:ext cx="2494196" cy="923330"/>
          </a:xfrm>
          <a:prstGeom prst="rect">
            <a:avLst/>
          </a:prstGeom>
          <a:noFill/>
        </p:spPr>
        <p:txBody>
          <a:bodyPr wrap="square" rtlCol="0" anchor="ctr">
            <a:spAutoFit/>
          </a:bodyPr>
          <a:lstStyle/>
          <a:p>
            <a:pPr marL="0" marR="0" lvl="0" indent="0" algn="r" defTabSz="914400" rtl="0" eaLnBrk="1" fontAlgn="auto" latinLnBrk="0" hangingPunct="1">
              <a:lnSpc>
                <a:spcPct val="100000"/>
              </a:lnSpc>
              <a:spcBef>
                <a:spcPct val="0"/>
              </a:spcBef>
              <a:spcAft>
                <a:spcPct val="0"/>
              </a:spcAft>
              <a:buClrTx/>
              <a:buSzTx/>
              <a:buFontTx/>
              <a:buNone/>
              <a:defRPr/>
            </a:pPr>
            <a:r>
              <a:rPr kumimoji="0" lang="he-IL" sz="1800" b="1" i="0" u="none" strike="noStrike" kern="1200" cap="none" spc="0" normalizeH="0" baseline="0" noProof="0">
                <a:ln>
                  <a:noFill/>
                </a:ln>
                <a:solidFill>
                  <a:srgbClr val="3C5B7B">
                    <a:alpha val="70000"/>
                  </a:srgbClr>
                </a:solidFill>
                <a:effectLst/>
                <a:uLnTx/>
                <a:uFillTx/>
                <a:latin typeface="Univia Pro"/>
                <a:ea typeface="+mn-ea"/>
                <a:cs typeface="+mn-cs"/>
              </a:rPr>
              <a:t>רכישת פעילות </a:t>
            </a:r>
          </a:p>
          <a:p>
            <a:pPr marL="0" marR="0" lvl="0" indent="0" algn="r" defTabSz="914400" rtl="0" eaLnBrk="1" fontAlgn="auto" latinLnBrk="0" hangingPunct="1">
              <a:lnSpc>
                <a:spcPct val="100000"/>
              </a:lnSpc>
              <a:spcBef>
                <a:spcPct val="0"/>
              </a:spcBef>
              <a:spcAft>
                <a:spcPct val="0"/>
              </a:spcAft>
              <a:buClrTx/>
              <a:buSzTx/>
              <a:buFontTx/>
              <a:buNone/>
              <a:defRPr/>
            </a:pPr>
            <a:r>
              <a:rPr lang="en-US" b="1">
                <a:solidFill>
                  <a:srgbClr val="3C5B7B">
                    <a:alpha val="70000"/>
                  </a:srgbClr>
                </a:solidFill>
                <a:latin typeface="Univia Pro"/>
              </a:rPr>
              <a:t>Air Tiger Express </a:t>
            </a:r>
          </a:p>
          <a:p>
            <a:pPr marL="0" marR="0" lvl="0" indent="0" algn="r" defTabSz="914400" rtl="0" eaLnBrk="1" fontAlgn="auto" latinLnBrk="0" hangingPunct="1">
              <a:lnSpc>
                <a:spcPct val="100000"/>
              </a:lnSpc>
              <a:spcBef>
                <a:spcPct val="0"/>
              </a:spcBef>
              <a:spcAft>
                <a:spcPct val="0"/>
              </a:spcAft>
              <a:buClrTx/>
              <a:buSzTx/>
              <a:buFontTx/>
              <a:buNone/>
              <a:defRPr/>
            </a:pPr>
            <a:r>
              <a:rPr kumimoji="0" lang="he-IL" sz="1800" b="1" i="0" u="none" strike="noStrike" kern="1200" cap="none" spc="0" normalizeH="0" baseline="0" noProof="0">
                <a:ln>
                  <a:noFill/>
                </a:ln>
                <a:solidFill>
                  <a:srgbClr val="3C5B7B">
                    <a:alpha val="70000"/>
                  </a:srgbClr>
                </a:solidFill>
                <a:effectLst/>
                <a:uLnTx/>
                <a:uFillTx/>
                <a:latin typeface="Univia Pro"/>
                <a:ea typeface="+mn-ea"/>
                <a:cs typeface="+mn-cs"/>
              </a:rPr>
              <a:t>בישראל</a:t>
            </a:r>
            <a:endParaRPr kumimoji="0" lang="en-US" sz="1800" b="1" i="0" u="none" strike="noStrike" kern="1200" cap="none" spc="0" normalizeH="0" baseline="0" noProof="0">
              <a:ln>
                <a:noFill/>
              </a:ln>
              <a:solidFill>
                <a:srgbClr val="3C5B7B">
                  <a:alpha val="70000"/>
                </a:srgbClr>
              </a:solidFill>
              <a:effectLst/>
              <a:uLnTx/>
              <a:uFillTx/>
              <a:latin typeface="Univia Pro"/>
              <a:ea typeface="+mn-ea"/>
              <a:cs typeface="+mn-cs"/>
            </a:endParaRPr>
          </a:p>
        </p:txBody>
      </p:sp>
      <p:pic>
        <p:nvPicPr>
          <p:cNvPr id="2050" name="Picture 2" descr="Air Tiger Express Companies Inc. Logo">
            <a:extLst>
              <a:ext uri="{FF2B5EF4-FFF2-40B4-BE49-F238E27FC236}">
                <a16:creationId xmlns:a16="http://schemas.microsoft.com/office/drawing/2014/main" id="{9F4C487A-45B1-3E3F-5380-FBC6B51123B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92853" y="1233307"/>
            <a:ext cx="2602925" cy="867642"/>
          </a:xfrm>
          <a:prstGeom prst="rect">
            <a:avLst/>
          </a:prstGeom>
          <a:noFill/>
          <a:extLst>
            <a:ext uri="{909E8E84-426E-40DD-AFC4-6F175D3DCCD1}">
              <a14:hiddenFill xmlns:a14="http://schemas.microsoft.com/office/drawing/2010/main">
                <a:solidFill>
                  <a:srgbClr val="FFFFFF"/>
                </a:solidFill>
              </a14:hiddenFill>
            </a:ext>
          </a:extLst>
        </p:spPr>
      </p:pic>
      <p:pic>
        <p:nvPicPr>
          <p:cNvPr id="4" name="תמונה 3" descr="תמונה שמכילה גופן, גרפיקה, לוגו, טקסט&#10;&#10;התיאור נוצר באופן אוטומטי">
            <a:extLst>
              <a:ext uri="{FF2B5EF4-FFF2-40B4-BE49-F238E27FC236}">
                <a16:creationId xmlns:a16="http://schemas.microsoft.com/office/drawing/2014/main" id="{F3389FC3-122B-390A-0B2A-C4ED9BE6596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734638" y="3239197"/>
            <a:ext cx="1828032" cy="391990"/>
          </a:xfrm>
          <a:prstGeom prst="rect">
            <a:avLst/>
          </a:prstGeom>
        </p:spPr>
      </p:pic>
      <p:sp>
        <p:nvSpPr>
          <p:cNvPr id="5" name="TextBox 18">
            <a:extLst>
              <a:ext uri="{FF2B5EF4-FFF2-40B4-BE49-F238E27FC236}">
                <a16:creationId xmlns:a16="http://schemas.microsoft.com/office/drawing/2014/main" id="{476CB5CD-AA3C-F82B-F7A0-9B72126FDB8A}"/>
              </a:ext>
            </a:extLst>
          </p:cNvPr>
          <p:cNvSpPr txBox="1"/>
          <p:nvPr/>
        </p:nvSpPr>
        <p:spPr>
          <a:xfrm>
            <a:off x="8807048" y="2789161"/>
            <a:ext cx="2671604" cy="1277273"/>
          </a:xfrm>
          <a:prstGeom prst="rect">
            <a:avLst/>
          </a:prstGeom>
          <a:noFill/>
        </p:spPr>
        <p:txBody>
          <a:bodyPr wrap="square" rtlCol="0">
            <a:spAutoFit/>
          </a:bodyPr>
          <a:lstStyle/>
          <a:p>
            <a:pPr algn="r" rtl="1" fontAlgn="base"/>
            <a:r>
              <a:rPr lang="he-IL" sz="1100">
                <a:solidFill>
                  <a:schemeClr val="tx1">
                    <a:lumMod val="60000"/>
                    <a:lumOff val="40000"/>
                  </a:schemeClr>
                </a:solidFill>
                <a:latin typeface="Calibri" panose="020F0502020204030204" pitchFamily="34" charset="0"/>
                <a:ea typeface="Calibri" panose="020F0502020204030204" pitchFamily="34" charset="0"/>
                <a:cs typeface="Calibri" panose="020F0502020204030204" pitchFamily="34" charset="0"/>
              </a:rPr>
              <a:t>בשנת 2006 קיבלה </a:t>
            </a:r>
            <a:r>
              <a:rPr lang="he-IL" sz="1100" err="1">
                <a:solidFill>
                  <a:schemeClr val="tx1">
                    <a:lumMod val="60000"/>
                    <a:lumOff val="40000"/>
                  </a:schemeClr>
                </a:solidFill>
                <a:latin typeface="Calibri" panose="020F0502020204030204" pitchFamily="34" charset="0"/>
                <a:ea typeface="Calibri" panose="020F0502020204030204" pitchFamily="34" charset="0"/>
                <a:cs typeface="Calibri" panose="020F0502020204030204" pitchFamily="34" charset="0"/>
              </a:rPr>
              <a:t>פלטרנספורט</a:t>
            </a:r>
            <a:r>
              <a:rPr lang="he-IL" sz="1100">
                <a:solidFill>
                  <a:schemeClr val="tx1">
                    <a:lumMod val="60000"/>
                    <a:lumOff val="40000"/>
                  </a:schemeClr>
                </a:solidFill>
                <a:latin typeface="Calibri" panose="020F0502020204030204" pitchFamily="34" charset="0"/>
                <a:ea typeface="Calibri" panose="020F0502020204030204" pitchFamily="34" charset="0"/>
                <a:cs typeface="Calibri" panose="020F0502020204030204" pitchFamily="34" charset="0"/>
              </a:rPr>
              <a:t> את נציגות המכירות הבלעדית בישראל (</a:t>
            </a:r>
            <a:r>
              <a:rPr lang="en-US" sz="1100">
                <a:solidFill>
                  <a:schemeClr val="tx1">
                    <a:lumMod val="60000"/>
                    <a:lumOff val="40000"/>
                  </a:schemeClr>
                </a:solidFill>
                <a:latin typeface="Calibri" panose="020F0502020204030204" pitchFamily="34" charset="0"/>
                <a:ea typeface="Calibri" panose="020F0502020204030204" pitchFamily="34" charset="0"/>
                <a:cs typeface="Calibri" panose="020F0502020204030204" pitchFamily="34" charset="0"/>
              </a:rPr>
              <a:t>GSA</a:t>
            </a:r>
            <a:r>
              <a:rPr lang="he-IL" sz="1100">
                <a:solidFill>
                  <a:schemeClr val="tx1">
                    <a:lumMod val="60000"/>
                    <a:lumOff val="40000"/>
                  </a:schemeClr>
                </a:solidFill>
                <a:latin typeface="Calibri" panose="020F0502020204030204" pitchFamily="34" charset="0"/>
                <a:ea typeface="Calibri" panose="020F0502020204030204" pitchFamily="34" charset="0"/>
                <a:cs typeface="Calibri" panose="020F0502020204030204" pitchFamily="34" charset="0"/>
              </a:rPr>
              <a:t>) של חברת </a:t>
            </a:r>
            <a:r>
              <a:rPr lang="en-US" sz="1100">
                <a:solidFill>
                  <a:schemeClr val="tx1">
                    <a:lumMod val="60000"/>
                    <a:lumOff val="40000"/>
                  </a:schemeClr>
                </a:solidFill>
                <a:latin typeface="Calibri" panose="020F0502020204030204" pitchFamily="34" charset="0"/>
                <a:ea typeface="Calibri" panose="020F0502020204030204" pitchFamily="34" charset="0"/>
                <a:cs typeface="Calibri" panose="020F0502020204030204" pitchFamily="34" charset="0"/>
              </a:rPr>
              <a:t>   </a:t>
            </a:r>
            <a:r>
              <a:rPr lang="he-IL" sz="1100">
                <a:solidFill>
                  <a:schemeClr val="tx1">
                    <a:lumMod val="60000"/>
                    <a:lumOff val="40000"/>
                  </a:schemeClr>
                </a:solidFill>
                <a:latin typeface="Calibri" panose="020F0502020204030204" pitchFamily="34" charset="0"/>
                <a:ea typeface="Calibri" panose="020F0502020204030204" pitchFamily="34" charset="0"/>
                <a:cs typeface="Calibri" panose="020F0502020204030204" pitchFamily="34" charset="0"/>
              </a:rPr>
              <a:t>  </a:t>
            </a:r>
            <a:r>
              <a:rPr lang="en-US" sz="1100" err="1">
                <a:solidFill>
                  <a:schemeClr val="tx1">
                    <a:lumMod val="60000"/>
                    <a:lumOff val="40000"/>
                  </a:schemeClr>
                </a:solidFill>
                <a:latin typeface="Calibri" panose="020F0502020204030204" pitchFamily="34" charset="0"/>
                <a:ea typeface="Calibri" panose="020F0502020204030204" pitchFamily="34" charset="0"/>
                <a:cs typeface="Calibri" panose="020F0502020204030204" pitchFamily="34" charset="0"/>
              </a:rPr>
              <a:t>Envirotainer</a:t>
            </a:r>
            <a:r>
              <a:rPr lang="en-US" sz="1100">
                <a:solidFill>
                  <a:schemeClr val="tx1">
                    <a:lumMod val="60000"/>
                    <a:lumOff val="40000"/>
                  </a:schemeClr>
                </a:solidFill>
                <a:latin typeface="Calibri" panose="020F0502020204030204" pitchFamily="34" charset="0"/>
                <a:ea typeface="Calibri" panose="020F0502020204030204" pitchFamily="34" charset="0"/>
                <a:cs typeface="Calibri" panose="020F0502020204030204" pitchFamily="34" charset="0"/>
              </a:rPr>
              <a:t> </a:t>
            </a:r>
            <a:r>
              <a:rPr lang="he-IL" sz="1100">
                <a:solidFill>
                  <a:schemeClr val="tx1">
                    <a:lumMod val="60000"/>
                    <a:lumOff val="40000"/>
                  </a:schemeClr>
                </a:solidFill>
                <a:latin typeface="Calibri" panose="020F0502020204030204" pitchFamily="34" charset="0"/>
                <a:ea typeface="Calibri" panose="020F0502020204030204" pitchFamily="34" charset="0"/>
                <a:cs typeface="Calibri" panose="020F0502020204030204" pitchFamily="34" charset="0"/>
              </a:rPr>
              <a:t> השוודית, החברה המובילה בעולם לייצור ותפעול מכולות קירור אוויריות ופתרונות שינוע מתקדמים בתנאים מבוקרי טמפרטורה.</a:t>
            </a:r>
          </a:p>
          <a:p>
            <a:pPr algn="r" rtl="1" fontAlgn="base"/>
            <a:r>
              <a:rPr lang="he-IL" sz="1100">
                <a:solidFill>
                  <a:schemeClr val="tx1">
                    <a:lumMod val="60000"/>
                    <a:lumOff val="40000"/>
                  </a:schemeClr>
                </a:solidFill>
                <a:latin typeface="Calibri" panose="020F0502020204030204" pitchFamily="34" charset="0"/>
                <a:ea typeface="Calibri" panose="020F0502020204030204" pitchFamily="34" charset="0"/>
                <a:cs typeface="Calibri" panose="020F0502020204030204" pitchFamily="34" charset="0"/>
              </a:rPr>
              <a:t>במסגרת זו </a:t>
            </a:r>
            <a:r>
              <a:rPr lang="he-IL" sz="1100" err="1">
                <a:solidFill>
                  <a:schemeClr val="tx1">
                    <a:lumMod val="60000"/>
                    <a:lumOff val="40000"/>
                  </a:schemeClr>
                </a:solidFill>
                <a:latin typeface="Calibri" panose="020F0502020204030204" pitchFamily="34" charset="0"/>
                <a:ea typeface="Calibri" panose="020F0502020204030204" pitchFamily="34" charset="0"/>
                <a:cs typeface="Calibri" panose="020F0502020204030204" pitchFamily="34" charset="0"/>
              </a:rPr>
              <a:t>פלטרנספורט</a:t>
            </a:r>
            <a:r>
              <a:rPr lang="he-IL" sz="1100">
                <a:solidFill>
                  <a:schemeClr val="tx1">
                    <a:lumMod val="60000"/>
                    <a:lumOff val="40000"/>
                  </a:schemeClr>
                </a:solidFill>
                <a:latin typeface="Calibri" panose="020F0502020204030204" pitchFamily="34" charset="0"/>
                <a:ea typeface="Calibri" panose="020F0502020204030204" pitchFamily="34" charset="0"/>
                <a:cs typeface="Calibri" panose="020F0502020204030204" pitchFamily="34" charset="0"/>
              </a:rPr>
              <a:t> נותנת שירותי מכירה וייעוץ למשלחים אחרים, חברות תעופה ולקוחות</a:t>
            </a:r>
          </a:p>
        </p:txBody>
      </p:sp>
    </p:spTree>
    <p:extLst>
      <p:ext uri="{BB962C8B-B14F-4D97-AF65-F5344CB8AC3E}">
        <p14:creationId xmlns:p14="http://schemas.microsoft.com/office/powerpoint/2010/main" val="666961166"/>
      </p:ext>
    </p:extLst>
  </p:cSld>
  <p:clrMapOvr>
    <a:masterClrMapping/>
  </p:clrMapOvr>
  <p:transition spd="slow">
    <p:push dir="u"/>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B7A6A8C3-30C5-402C-8B1E-13ADB9707C43}"/>
              </a:ext>
            </a:extLst>
          </p:cNvPr>
          <p:cNvCxnSpPr/>
          <p:nvPr/>
        </p:nvCxnSpPr>
        <p:spPr>
          <a:xfrm flipH="1">
            <a:off x="6096000" y="447"/>
            <a:ext cx="0" cy="6857107"/>
          </a:xfrm>
          <a:prstGeom prst="line">
            <a:avLst/>
          </a:prstGeom>
          <a:ln w="635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6" name="Oval 15">
            <a:extLst>
              <a:ext uri="{FF2B5EF4-FFF2-40B4-BE49-F238E27FC236}">
                <a16:creationId xmlns:a16="http://schemas.microsoft.com/office/drawing/2014/main" id="{2D9159DE-9DFE-4797-8273-978A10437C34}"/>
              </a:ext>
            </a:extLst>
          </p:cNvPr>
          <p:cNvSpPr/>
          <p:nvPr/>
        </p:nvSpPr>
        <p:spPr>
          <a:xfrm>
            <a:off x="5918331" y="793859"/>
            <a:ext cx="355339" cy="355339"/>
          </a:xfrm>
          <a:prstGeom prst="ellipse">
            <a:avLst/>
          </a:prstGeom>
          <a:solidFill>
            <a:schemeClr val="bg1"/>
          </a:solidFill>
          <a:ln w="635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000" b="1" i="0" u="none" strike="noStrike" kern="1200" cap="none" spc="0" normalizeH="0" baseline="0" noProof="0">
              <a:ln>
                <a:noFill/>
              </a:ln>
              <a:solidFill>
                <a:srgbClr val="3C5B7B"/>
              </a:solidFill>
              <a:effectLst/>
              <a:uLnTx/>
              <a:uFillTx/>
              <a:latin typeface="Univia Pro"/>
              <a:ea typeface="+mn-ea"/>
              <a:cs typeface="+mn-cs"/>
            </a:endParaRPr>
          </a:p>
        </p:txBody>
      </p:sp>
      <p:sp>
        <p:nvSpPr>
          <p:cNvPr id="17" name="Oval 16">
            <a:extLst>
              <a:ext uri="{FF2B5EF4-FFF2-40B4-BE49-F238E27FC236}">
                <a16:creationId xmlns:a16="http://schemas.microsoft.com/office/drawing/2014/main" id="{15478016-AAA9-400F-9257-FF659FF9C54D}"/>
              </a:ext>
            </a:extLst>
          </p:cNvPr>
          <p:cNvSpPr/>
          <p:nvPr/>
        </p:nvSpPr>
        <p:spPr>
          <a:xfrm>
            <a:off x="5918331" y="3178677"/>
            <a:ext cx="355339" cy="355339"/>
          </a:xfrm>
          <a:prstGeom prst="ellipse">
            <a:avLst/>
          </a:prstGeom>
          <a:solidFill>
            <a:schemeClr val="bg1"/>
          </a:solidFill>
          <a:ln w="635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000" b="1" i="0" u="none" strike="noStrike" kern="1200" cap="none" spc="0" normalizeH="0" baseline="0" noProof="0">
              <a:ln>
                <a:noFill/>
              </a:ln>
              <a:solidFill>
                <a:srgbClr val="3C5B7B"/>
              </a:solidFill>
              <a:effectLst/>
              <a:uLnTx/>
              <a:uFillTx/>
              <a:latin typeface="Univia Pro"/>
              <a:ea typeface="+mn-ea"/>
              <a:cs typeface="+mn-cs"/>
            </a:endParaRPr>
          </a:p>
        </p:txBody>
      </p:sp>
      <p:sp>
        <p:nvSpPr>
          <p:cNvPr id="18" name="TextBox 17">
            <a:extLst>
              <a:ext uri="{FF2B5EF4-FFF2-40B4-BE49-F238E27FC236}">
                <a16:creationId xmlns:a16="http://schemas.microsoft.com/office/drawing/2014/main" id="{AD857DF9-06F8-40AB-992F-6C447FF87015}"/>
              </a:ext>
            </a:extLst>
          </p:cNvPr>
          <p:cNvSpPr txBox="1"/>
          <p:nvPr/>
        </p:nvSpPr>
        <p:spPr>
          <a:xfrm>
            <a:off x="1030585" y="3033180"/>
            <a:ext cx="3133908" cy="646331"/>
          </a:xfrm>
          <a:prstGeom prst="rect">
            <a:avLst/>
          </a:prstGeom>
          <a:noFill/>
        </p:spPr>
        <p:txBody>
          <a:bodyPr wrap="square" rtlCol="0" anchor="ctr">
            <a:spAutoFit/>
          </a:bodyPr>
          <a:lstStyle/>
          <a:p>
            <a:pPr marL="0" marR="0" lvl="0" indent="0" algn="r" defTabSz="914400" rtl="0" eaLnBrk="1" fontAlgn="auto" latinLnBrk="0" hangingPunct="1">
              <a:lnSpc>
                <a:spcPct val="100000"/>
              </a:lnSpc>
              <a:spcBef>
                <a:spcPct val="0"/>
              </a:spcBef>
              <a:spcAft>
                <a:spcPct val="0"/>
              </a:spcAft>
              <a:buClrTx/>
              <a:buSzTx/>
              <a:buFontTx/>
              <a:buNone/>
              <a:defRPr/>
            </a:pPr>
            <a:r>
              <a:rPr lang="he-IL" b="1" dirty="0">
                <a:solidFill>
                  <a:srgbClr val="3C5B7B">
                    <a:alpha val="70000"/>
                  </a:srgbClr>
                </a:solidFill>
                <a:latin typeface="Univia Pro"/>
              </a:rPr>
              <a:t>מיתוג מחדש תחת השם</a:t>
            </a:r>
          </a:p>
          <a:p>
            <a:pPr marL="0" marR="0" lvl="0" indent="0" algn="r" defTabSz="914400" rtl="0" eaLnBrk="1" fontAlgn="auto" latinLnBrk="0" hangingPunct="1">
              <a:lnSpc>
                <a:spcPct val="100000"/>
              </a:lnSpc>
              <a:spcBef>
                <a:spcPct val="0"/>
              </a:spcBef>
              <a:spcAft>
                <a:spcPct val="0"/>
              </a:spcAft>
              <a:buClrTx/>
              <a:buSzTx/>
              <a:buFontTx/>
              <a:buNone/>
              <a:defRPr/>
            </a:pPr>
            <a:r>
              <a:rPr lang="he-IL" b="1" dirty="0">
                <a:solidFill>
                  <a:srgbClr val="3C5B7B">
                    <a:alpha val="70000"/>
                  </a:srgbClr>
                </a:solidFill>
                <a:latin typeface="Univia Pro"/>
              </a:rPr>
              <a:t>הלמן לוגיסטיקה בינ"ל (ישראל)</a:t>
            </a:r>
            <a:endParaRPr kumimoji="0" lang="en-US" sz="1800" b="1" i="0" u="none" strike="noStrike" kern="1200" cap="none" spc="0" normalizeH="0" baseline="0" noProof="0" dirty="0">
              <a:ln>
                <a:noFill/>
              </a:ln>
              <a:solidFill>
                <a:srgbClr val="3C5B7B">
                  <a:alpha val="70000"/>
                </a:srgbClr>
              </a:solidFill>
              <a:effectLst/>
              <a:uLnTx/>
              <a:uFillTx/>
              <a:latin typeface="Univia Pro"/>
              <a:ea typeface="+mn-ea"/>
              <a:cs typeface="+mn-cs"/>
            </a:endParaRPr>
          </a:p>
        </p:txBody>
      </p:sp>
      <p:sp>
        <p:nvSpPr>
          <p:cNvPr id="10" name="TextBox 9">
            <a:extLst>
              <a:ext uri="{FF2B5EF4-FFF2-40B4-BE49-F238E27FC236}">
                <a16:creationId xmlns:a16="http://schemas.microsoft.com/office/drawing/2014/main" id="{CECF0510-D01C-B925-13DC-704AD5BE509B}"/>
              </a:ext>
            </a:extLst>
          </p:cNvPr>
          <p:cNvSpPr txBox="1"/>
          <p:nvPr/>
        </p:nvSpPr>
        <p:spPr>
          <a:xfrm>
            <a:off x="4356421" y="2995073"/>
            <a:ext cx="1547651" cy="707758"/>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n-US" sz="3999" b="1" i="0" u="none" strike="noStrike" kern="1200" cap="none" spc="0" normalizeH="0" baseline="0" noProof="0" dirty="0">
                <a:ln>
                  <a:noFill/>
                </a:ln>
                <a:solidFill>
                  <a:srgbClr val="004C99"/>
                </a:solidFill>
                <a:effectLst/>
                <a:uLnTx/>
                <a:uFillTx/>
                <a:latin typeface="Univia Pro"/>
                <a:ea typeface="+mn-ea"/>
                <a:cs typeface="+mn-cs"/>
              </a:rPr>
              <a:t>2017</a:t>
            </a:r>
          </a:p>
        </p:txBody>
      </p:sp>
      <p:sp>
        <p:nvSpPr>
          <p:cNvPr id="2" name="TextBox 1">
            <a:extLst>
              <a:ext uri="{FF2B5EF4-FFF2-40B4-BE49-F238E27FC236}">
                <a16:creationId xmlns:a16="http://schemas.microsoft.com/office/drawing/2014/main" id="{1C27645F-27A2-640E-F3D0-758931624E1B}"/>
              </a:ext>
            </a:extLst>
          </p:cNvPr>
          <p:cNvSpPr txBox="1"/>
          <p:nvPr/>
        </p:nvSpPr>
        <p:spPr>
          <a:xfrm>
            <a:off x="6515201" y="646560"/>
            <a:ext cx="1625170" cy="707758"/>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n-US" sz="3999" b="1" i="0" u="none" strike="noStrike" kern="1200" cap="none" spc="0" normalizeH="0" baseline="0" noProof="0">
                <a:ln>
                  <a:noFill/>
                </a:ln>
                <a:solidFill>
                  <a:srgbClr val="004C99"/>
                </a:solidFill>
                <a:effectLst/>
                <a:uLnTx/>
                <a:uFillTx/>
                <a:latin typeface="Univia Pro"/>
                <a:ea typeface="+mn-ea"/>
                <a:cs typeface="+mn-cs"/>
              </a:rPr>
              <a:t>2016</a:t>
            </a:r>
          </a:p>
        </p:txBody>
      </p:sp>
      <p:sp>
        <p:nvSpPr>
          <p:cNvPr id="3" name="TextBox 2">
            <a:extLst>
              <a:ext uri="{FF2B5EF4-FFF2-40B4-BE49-F238E27FC236}">
                <a16:creationId xmlns:a16="http://schemas.microsoft.com/office/drawing/2014/main" id="{F3D97242-7AA6-F72B-88E4-42F74E3396EC}"/>
              </a:ext>
            </a:extLst>
          </p:cNvPr>
          <p:cNvSpPr txBox="1"/>
          <p:nvPr/>
        </p:nvSpPr>
        <p:spPr>
          <a:xfrm>
            <a:off x="8140371" y="624775"/>
            <a:ext cx="2858328" cy="646331"/>
          </a:xfrm>
          <a:prstGeom prst="rect">
            <a:avLst/>
          </a:prstGeom>
          <a:noFill/>
        </p:spPr>
        <p:txBody>
          <a:bodyPr wrap="square" rtlCol="0" anchor="ctr">
            <a:spAutoFit/>
          </a:bodyPr>
          <a:lstStyle/>
          <a:p>
            <a:pPr marL="0" marR="0" lvl="0" indent="0" algn="r" defTabSz="914400" rtl="0" eaLnBrk="1" fontAlgn="auto" latinLnBrk="0" hangingPunct="1">
              <a:lnSpc>
                <a:spcPct val="100000"/>
              </a:lnSpc>
              <a:spcBef>
                <a:spcPct val="0"/>
              </a:spcBef>
              <a:spcAft>
                <a:spcPct val="0"/>
              </a:spcAft>
              <a:buClrTx/>
              <a:buSzTx/>
              <a:buFontTx/>
              <a:buNone/>
              <a:defRPr/>
            </a:pPr>
            <a:r>
              <a:rPr kumimoji="0" lang="he-IL" sz="1800" b="1" i="0" u="none" strike="noStrike" kern="1200" cap="none" spc="0" normalizeH="0" baseline="0" noProof="0">
                <a:ln>
                  <a:noFill/>
                </a:ln>
                <a:solidFill>
                  <a:srgbClr val="3C5B7B">
                    <a:alpha val="70000"/>
                  </a:srgbClr>
                </a:solidFill>
                <a:effectLst/>
                <a:uLnTx/>
                <a:uFillTx/>
                <a:latin typeface="Univia Pro"/>
                <a:ea typeface="+mn-ea"/>
                <a:cs typeface="+mn-cs"/>
              </a:rPr>
              <a:t>רכישת פעילות </a:t>
            </a:r>
            <a:r>
              <a:rPr lang="he-IL" b="1">
                <a:solidFill>
                  <a:srgbClr val="3C5B7B">
                    <a:alpha val="70000"/>
                  </a:srgbClr>
                </a:solidFill>
                <a:latin typeface="Univia Pro"/>
              </a:rPr>
              <a:t>חברת</a:t>
            </a:r>
          </a:p>
          <a:p>
            <a:pPr marL="0" marR="0" lvl="0" indent="0" algn="r" defTabSz="914400" rtl="0" eaLnBrk="1" fontAlgn="auto" latinLnBrk="0" hangingPunct="1">
              <a:lnSpc>
                <a:spcPct val="100000"/>
              </a:lnSpc>
              <a:spcBef>
                <a:spcPct val="0"/>
              </a:spcBef>
              <a:spcAft>
                <a:spcPct val="0"/>
              </a:spcAft>
              <a:buClrTx/>
              <a:buSzTx/>
              <a:buFontTx/>
              <a:buNone/>
              <a:defRPr/>
            </a:pPr>
            <a:r>
              <a:rPr lang="he-IL" b="1">
                <a:solidFill>
                  <a:srgbClr val="3C5B7B">
                    <a:alpha val="70000"/>
                  </a:srgbClr>
                </a:solidFill>
                <a:latin typeface="Univia Pro"/>
              </a:rPr>
              <a:t>"אבי-עד שירותים לוגיסטיים"</a:t>
            </a:r>
            <a:endParaRPr lang="en-US" b="1">
              <a:solidFill>
                <a:srgbClr val="3C5B7B">
                  <a:alpha val="70000"/>
                </a:srgbClr>
              </a:solidFill>
              <a:latin typeface="Univia Pro"/>
            </a:endParaRPr>
          </a:p>
        </p:txBody>
      </p:sp>
      <p:sp>
        <p:nvSpPr>
          <p:cNvPr id="5" name="TextBox 18">
            <a:extLst>
              <a:ext uri="{FF2B5EF4-FFF2-40B4-BE49-F238E27FC236}">
                <a16:creationId xmlns:a16="http://schemas.microsoft.com/office/drawing/2014/main" id="{476CB5CD-AA3C-F82B-F7A0-9B72126FDB8A}"/>
              </a:ext>
            </a:extLst>
          </p:cNvPr>
          <p:cNvSpPr txBox="1"/>
          <p:nvPr/>
        </p:nvSpPr>
        <p:spPr>
          <a:xfrm>
            <a:off x="8871647" y="2995073"/>
            <a:ext cx="2581003" cy="938719"/>
          </a:xfrm>
          <a:prstGeom prst="rect">
            <a:avLst/>
          </a:prstGeom>
          <a:noFill/>
        </p:spPr>
        <p:txBody>
          <a:bodyPr wrap="square" rtlCol="0">
            <a:spAutoFit/>
          </a:bodyPr>
          <a:lstStyle/>
          <a:p>
            <a:pPr algn="r" rtl="1" fontAlgn="base"/>
            <a:r>
              <a:rPr lang="he-IL" sz="1100" dirty="0">
                <a:solidFill>
                  <a:schemeClr val="tx1">
                    <a:lumMod val="60000"/>
                    <a:lumOff val="40000"/>
                  </a:schemeClr>
                </a:solidFill>
                <a:latin typeface="Calibri" panose="020F0502020204030204" pitchFamily="34" charset="0"/>
                <a:ea typeface="Calibri" panose="020F0502020204030204" pitchFamily="34" charset="0"/>
                <a:cs typeface="Calibri" panose="020F0502020204030204" pitchFamily="34" charset="0"/>
              </a:rPr>
              <a:t>בשנת 2017 הצטרפה </a:t>
            </a:r>
            <a:r>
              <a:rPr lang="he-IL" sz="1100" dirty="0" err="1">
                <a:solidFill>
                  <a:schemeClr val="tx1">
                    <a:lumMod val="60000"/>
                    <a:lumOff val="40000"/>
                  </a:schemeClr>
                </a:solidFill>
                <a:latin typeface="Calibri" panose="020F0502020204030204" pitchFamily="34" charset="0"/>
                <a:ea typeface="Calibri" panose="020F0502020204030204" pitchFamily="34" charset="0"/>
                <a:cs typeface="Calibri" panose="020F0502020204030204" pitchFamily="34" charset="0"/>
              </a:rPr>
              <a:t>פלטרנספורט</a:t>
            </a:r>
            <a:r>
              <a:rPr lang="he-IL" sz="1100" dirty="0">
                <a:solidFill>
                  <a:schemeClr val="tx1">
                    <a:lumMod val="60000"/>
                    <a:lumOff val="40000"/>
                  </a:schemeClr>
                </a:solidFill>
                <a:latin typeface="Calibri" panose="020F0502020204030204" pitchFamily="34" charset="0"/>
                <a:ea typeface="Calibri" panose="020F0502020204030204" pitchFamily="34" charset="0"/>
                <a:cs typeface="Calibri" panose="020F0502020204030204" pitchFamily="34" charset="0"/>
              </a:rPr>
              <a:t> לרשת הגלובלית של קונצרן הלוגיסטיקה</a:t>
            </a:r>
          </a:p>
          <a:p>
            <a:pPr algn="r" rtl="1" fontAlgn="base"/>
            <a:r>
              <a:rPr lang="he-IL" sz="1100" b="1" dirty="0">
                <a:solidFill>
                  <a:schemeClr val="tx1">
                    <a:lumMod val="60000"/>
                    <a:lumOff val="40000"/>
                  </a:schemeClr>
                </a:solidFill>
                <a:latin typeface="Calibri" panose="020F0502020204030204" pitchFamily="34" charset="0"/>
                <a:ea typeface="Calibri" panose="020F0502020204030204" pitchFamily="34" charset="0"/>
                <a:cs typeface="Calibri" panose="020F0502020204030204" pitchFamily="34" charset="0"/>
              </a:rPr>
              <a:t> </a:t>
            </a:r>
            <a:r>
              <a:rPr lang="en-US" sz="1100" b="1" dirty="0">
                <a:solidFill>
                  <a:schemeClr val="tx1">
                    <a:lumMod val="60000"/>
                    <a:lumOff val="40000"/>
                  </a:schemeClr>
                </a:solidFill>
                <a:latin typeface="Calibri" panose="020F0502020204030204" pitchFamily="34" charset="0"/>
                <a:ea typeface="Calibri" panose="020F0502020204030204" pitchFamily="34" charset="0"/>
                <a:cs typeface="Calibri" panose="020F0502020204030204" pitchFamily="34" charset="0"/>
              </a:rPr>
              <a:t>Hellmann Worldwide Logistics</a:t>
            </a:r>
          </a:p>
          <a:p>
            <a:pPr algn="r" rtl="1" fontAlgn="base"/>
            <a:r>
              <a:rPr lang="he-IL" sz="1100" dirty="0">
                <a:solidFill>
                  <a:schemeClr val="tx1">
                    <a:lumMod val="60000"/>
                    <a:lumOff val="40000"/>
                  </a:schemeClr>
                </a:solidFill>
                <a:latin typeface="Calibri" panose="020F0502020204030204" pitchFamily="34" charset="0"/>
                <a:ea typeface="Calibri" panose="020F0502020204030204" pitchFamily="34" charset="0"/>
                <a:cs typeface="Calibri" panose="020F0502020204030204" pitchFamily="34" charset="0"/>
              </a:rPr>
              <a:t>ומותגה מחדש תחת השם המסחרי "הלמן לוגיסטיקה בינ"ל (ישראל)"</a:t>
            </a:r>
          </a:p>
        </p:txBody>
      </p:sp>
      <p:pic>
        <p:nvPicPr>
          <p:cNvPr id="6" name="תמונה 5">
            <a:extLst>
              <a:ext uri="{FF2B5EF4-FFF2-40B4-BE49-F238E27FC236}">
                <a16:creationId xmlns:a16="http://schemas.microsoft.com/office/drawing/2014/main" id="{C574090A-1852-C57F-3199-6D5EF8F8C6D7}"/>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3844283" y="613001"/>
            <a:ext cx="1832517" cy="707758"/>
          </a:xfrm>
          <a:prstGeom prst="rect">
            <a:avLst/>
          </a:prstGeom>
        </p:spPr>
      </p:pic>
      <p:pic>
        <p:nvPicPr>
          <p:cNvPr id="8" name="תמונה 7" descr="תמונה שמכילה טקסט, גופן, גרפיקה, לוגו&#10;&#10;התיאור נוצר באופן אוטומטי">
            <a:extLst>
              <a:ext uri="{FF2B5EF4-FFF2-40B4-BE49-F238E27FC236}">
                <a16:creationId xmlns:a16="http://schemas.microsoft.com/office/drawing/2014/main" id="{19991260-4963-AB82-1EB9-CC307F457C4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573892" y="2995073"/>
            <a:ext cx="2297755" cy="707758"/>
          </a:xfrm>
          <a:prstGeom prst="rect">
            <a:avLst/>
          </a:prstGeom>
        </p:spPr>
      </p:pic>
      <p:sp>
        <p:nvSpPr>
          <p:cNvPr id="12" name="Oval 16">
            <a:extLst>
              <a:ext uri="{FF2B5EF4-FFF2-40B4-BE49-F238E27FC236}">
                <a16:creationId xmlns:a16="http://schemas.microsoft.com/office/drawing/2014/main" id="{8D4C6536-D713-4209-8E5D-8F2E0212D1A0}"/>
              </a:ext>
            </a:extLst>
          </p:cNvPr>
          <p:cNvSpPr/>
          <p:nvPr/>
        </p:nvSpPr>
        <p:spPr>
          <a:xfrm>
            <a:off x="5918331" y="5186930"/>
            <a:ext cx="355339" cy="355339"/>
          </a:xfrm>
          <a:prstGeom prst="ellipse">
            <a:avLst/>
          </a:prstGeom>
          <a:solidFill>
            <a:schemeClr val="bg1"/>
          </a:solidFill>
          <a:ln w="635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000" b="1" i="0" u="none" strike="noStrike" kern="1200" cap="none" spc="0" normalizeH="0" baseline="0" noProof="0">
              <a:ln>
                <a:noFill/>
              </a:ln>
              <a:solidFill>
                <a:srgbClr val="3C5B7B"/>
              </a:solidFill>
              <a:effectLst/>
              <a:uLnTx/>
              <a:uFillTx/>
              <a:latin typeface="Univia Pro"/>
              <a:ea typeface="+mn-ea"/>
              <a:cs typeface="+mn-cs"/>
            </a:endParaRPr>
          </a:p>
        </p:txBody>
      </p:sp>
      <p:sp>
        <p:nvSpPr>
          <p:cNvPr id="13" name="TextBox 12">
            <a:extLst>
              <a:ext uri="{FF2B5EF4-FFF2-40B4-BE49-F238E27FC236}">
                <a16:creationId xmlns:a16="http://schemas.microsoft.com/office/drawing/2014/main" id="{46E8B9E6-55A5-4F9B-BCE9-D3043A650193}"/>
              </a:ext>
            </a:extLst>
          </p:cNvPr>
          <p:cNvSpPr txBox="1"/>
          <p:nvPr/>
        </p:nvSpPr>
        <p:spPr>
          <a:xfrm>
            <a:off x="6592720" y="4989707"/>
            <a:ext cx="1547651" cy="707758"/>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n-US" sz="3999" b="1" i="0" u="none" strike="noStrike" kern="1200" cap="none" spc="0" normalizeH="0" baseline="0" noProof="0" dirty="0">
                <a:ln>
                  <a:noFill/>
                </a:ln>
                <a:solidFill>
                  <a:srgbClr val="004C99"/>
                </a:solidFill>
                <a:effectLst/>
                <a:uLnTx/>
                <a:uFillTx/>
                <a:latin typeface="Univia Pro"/>
                <a:ea typeface="+mn-ea"/>
                <a:cs typeface="+mn-cs"/>
              </a:rPr>
              <a:t>2024</a:t>
            </a:r>
          </a:p>
        </p:txBody>
      </p:sp>
      <p:sp>
        <p:nvSpPr>
          <p:cNvPr id="14" name="TextBox 13">
            <a:extLst>
              <a:ext uri="{FF2B5EF4-FFF2-40B4-BE49-F238E27FC236}">
                <a16:creationId xmlns:a16="http://schemas.microsoft.com/office/drawing/2014/main" id="{867FCF82-A181-4509-B6C9-D3CAD4847204}"/>
              </a:ext>
            </a:extLst>
          </p:cNvPr>
          <p:cNvSpPr txBox="1"/>
          <p:nvPr/>
        </p:nvSpPr>
        <p:spPr>
          <a:xfrm>
            <a:off x="7864791" y="4989707"/>
            <a:ext cx="3133908" cy="369332"/>
          </a:xfrm>
          <a:prstGeom prst="rect">
            <a:avLst/>
          </a:prstGeom>
          <a:noFill/>
        </p:spPr>
        <p:txBody>
          <a:bodyPr wrap="square" rtlCol="0" anchor="ctr">
            <a:spAutoFit/>
          </a:bodyPr>
          <a:lstStyle/>
          <a:p>
            <a:pPr marL="0" marR="0" lvl="0" indent="0" algn="r" defTabSz="914400" rtl="0" eaLnBrk="1" fontAlgn="auto" latinLnBrk="0" hangingPunct="1">
              <a:lnSpc>
                <a:spcPct val="100000"/>
              </a:lnSpc>
              <a:spcBef>
                <a:spcPct val="0"/>
              </a:spcBef>
              <a:spcAft>
                <a:spcPct val="0"/>
              </a:spcAft>
              <a:buClrTx/>
              <a:buSzTx/>
              <a:buFontTx/>
              <a:buNone/>
              <a:defRPr/>
            </a:pPr>
            <a:r>
              <a:rPr lang="he-IL" b="1" dirty="0">
                <a:solidFill>
                  <a:srgbClr val="3C5B7B">
                    <a:alpha val="70000"/>
                  </a:srgbClr>
                </a:solidFill>
                <a:latin typeface="Univia Pro"/>
              </a:rPr>
              <a:t>חזרה למקורות</a:t>
            </a:r>
            <a:endParaRPr kumimoji="0" lang="en-US" sz="1800" b="1" i="0" u="none" strike="noStrike" kern="1200" cap="none" spc="0" normalizeH="0" baseline="0" noProof="0" dirty="0">
              <a:ln>
                <a:noFill/>
              </a:ln>
              <a:solidFill>
                <a:srgbClr val="3C5B7B">
                  <a:alpha val="70000"/>
                </a:srgbClr>
              </a:solidFill>
              <a:effectLst/>
              <a:uLnTx/>
              <a:uFillTx/>
              <a:latin typeface="Univia Pro"/>
              <a:ea typeface="+mn-ea"/>
              <a:cs typeface="+mn-cs"/>
            </a:endParaRPr>
          </a:p>
        </p:txBody>
      </p:sp>
      <p:sp>
        <p:nvSpPr>
          <p:cNvPr id="19" name="TextBox 18">
            <a:extLst>
              <a:ext uri="{FF2B5EF4-FFF2-40B4-BE49-F238E27FC236}">
                <a16:creationId xmlns:a16="http://schemas.microsoft.com/office/drawing/2014/main" id="{D4ED7F69-D9B8-4674-A68F-0E20B6968FFE}"/>
              </a:ext>
            </a:extLst>
          </p:cNvPr>
          <p:cNvSpPr txBox="1"/>
          <p:nvPr/>
        </p:nvSpPr>
        <p:spPr>
          <a:xfrm>
            <a:off x="8417696" y="5359039"/>
            <a:ext cx="2581003" cy="261610"/>
          </a:xfrm>
          <a:prstGeom prst="rect">
            <a:avLst/>
          </a:prstGeom>
          <a:noFill/>
        </p:spPr>
        <p:txBody>
          <a:bodyPr wrap="square" rtlCol="0">
            <a:spAutoFit/>
          </a:bodyPr>
          <a:lstStyle/>
          <a:p>
            <a:pPr algn="r" rtl="1" fontAlgn="base"/>
            <a:r>
              <a:rPr lang="he-IL" sz="1100" dirty="0" err="1">
                <a:solidFill>
                  <a:schemeClr val="tx1">
                    <a:lumMod val="60000"/>
                    <a:lumOff val="40000"/>
                  </a:schemeClr>
                </a:solidFill>
                <a:latin typeface="Calibri" panose="020F0502020204030204" pitchFamily="34" charset="0"/>
                <a:ea typeface="Calibri" panose="020F0502020204030204" pitchFamily="34" charset="0"/>
                <a:cs typeface="Calibri" panose="020F0502020204030204" pitchFamily="34" charset="0"/>
              </a:rPr>
              <a:t>פלטרספורט</a:t>
            </a:r>
            <a:r>
              <a:rPr lang="he-IL" sz="1100" dirty="0">
                <a:solidFill>
                  <a:schemeClr val="tx1">
                    <a:lumMod val="60000"/>
                    <a:lumOff val="40000"/>
                  </a:schemeClr>
                </a:solidFill>
                <a:latin typeface="Calibri" panose="020F0502020204030204" pitchFamily="34" charset="0"/>
                <a:ea typeface="Calibri" panose="020F0502020204030204" pitchFamily="34" charset="0"/>
                <a:cs typeface="Calibri" panose="020F0502020204030204" pitchFamily="34" charset="0"/>
              </a:rPr>
              <a:t> בע"מ / </a:t>
            </a:r>
            <a:r>
              <a:rPr lang="en-US" sz="1100" dirty="0">
                <a:solidFill>
                  <a:schemeClr val="tx1">
                    <a:lumMod val="60000"/>
                    <a:lumOff val="40000"/>
                  </a:schemeClr>
                </a:solidFill>
                <a:latin typeface="Calibri" panose="020F0502020204030204" pitchFamily="34" charset="0"/>
                <a:ea typeface="Calibri" panose="020F0502020204030204" pitchFamily="34" charset="0"/>
                <a:cs typeface="Calibri" panose="020F0502020204030204" pitchFamily="34" charset="0"/>
              </a:rPr>
              <a:t>Peltransport Ltd</a:t>
            </a:r>
            <a:endParaRPr lang="he-IL" sz="1100" dirty="0">
              <a:solidFill>
                <a:schemeClr val="tx1">
                  <a:lumMod val="60000"/>
                  <a:lumOff val="40000"/>
                </a:schemeClr>
              </a:solidFill>
              <a:latin typeface="Calibri" panose="020F0502020204030204" pitchFamily="34" charset="0"/>
              <a:ea typeface="Calibri" panose="020F0502020204030204" pitchFamily="34" charset="0"/>
              <a:cs typeface="Calibri" panose="020F0502020204030204" pitchFamily="34" charset="0"/>
            </a:endParaRPr>
          </a:p>
        </p:txBody>
      </p:sp>
      <p:pic>
        <p:nvPicPr>
          <p:cNvPr id="7" name="תמונה 6">
            <a:extLst>
              <a:ext uri="{FF2B5EF4-FFF2-40B4-BE49-F238E27FC236}">
                <a16:creationId xmlns:a16="http://schemas.microsoft.com/office/drawing/2014/main" id="{D7EDA8B9-1F45-4A7E-B587-B75AC6DD05D7}"/>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1536379" y="4585424"/>
            <a:ext cx="3885233" cy="1177898"/>
          </a:xfrm>
          <a:prstGeom prst="rect">
            <a:avLst/>
          </a:prstGeom>
        </p:spPr>
      </p:pic>
    </p:spTree>
    <p:extLst>
      <p:ext uri="{BB962C8B-B14F-4D97-AF65-F5344CB8AC3E}">
        <p14:creationId xmlns:p14="http://schemas.microsoft.com/office/powerpoint/2010/main" val="2876969475"/>
      </p:ext>
    </p:extLst>
  </p:cSld>
  <p:clrMapOvr>
    <a:masterClrMapping/>
  </p:clrMapOvr>
  <p:transition spd="slow">
    <p:push dir="u"/>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E3A5189B-D107-FA13-3D91-60BEF9DBD367}"/>
              </a:ext>
            </a:extLst>
          </p:cNvPr>
          <p:cNvCxnSpPr>
            <a:cxnSpLocks/>
          </p:cNvCxnSpPr>
          <p:nvPr/>
        </p:nvCxnSpPr>
        <p:spPr>
          <a:xfrm>
            <a:off x="6096000" y="-66675"/>
            <a:ext cx="1" cy="2536917"/>
          </a:xfrm>
          <a:prstGeom prst="line">
            <a:avLst/>
          </a:prstGeom>
          <a:ln w="63500">
            <a:solidFill>
              <a:schemeClr val="accent1"/>
            </a:solidFill>
          </a:ln>
        </p:spPr>
        <p:style>
          <a:lnRef idx="1">
            <a:schemeClr val="accent1"/>
          </a:lnRef>
          <a:fillRef idx="0">
            <a:schemeClr val="accent1"/>
          </a:fillRef>
          <a:effectRef idx="0">
            <a:schemeClr val="accent1"/>
          </a:effectRef>
          <a:fontRef idx="minor">
            <a:schemeClr val="tx1"/>
          </a:fontRef>
        </p:style>
      </p:cxnSp>
      <p:sp>
        <p:nvSpPr>
          <p:cNvPr id="6" name="Freeform 5">
            <a:extLst>
              <a:ext uri="{FF2B5EF4-FFF2-40B4-BE49-F238E27FC236}">
                <a16:creationId xmlns:a16="http://schemas.microsoft.com/office/drawing/2014/main" id="{2714F897-4834-4271-85B0-4270B235D8F1}"/>
              </a:ext>
            </a:extLst>
          </p:cNvPr>
          <p:cNvSpPr>
            <a:spLocks noEditPoints="1"/>
          </p:cNvSpPr>
          <p:nvPr/>
        </p:nvSpPr>
        <p:spPr bwMode="auto">
          <a:xfrm>
            <a:off x="3900918" y="1080481"/>
            <a:ext cx="4390165" cy="4392278"/>
          </a:xfrm>
          <a:custGeom>
            <a:avLst/>
            <a:gdLst>
              <a:gd name="T0" fmla="*/ 1101 w 2076"/>
              <a:gd name="T1" fmla="*/ 2066 h 2076"/>
              <a:gd name="T2" fmla="*/ 1121 w 2076"/>
              <a:gd name="T3" fmla="*/ 2073 h 2076"/>
              <a:gd name="T4" fmla="*/ 1351 w 2076"/>
              <a:gd name="T5" fmla="*/ 2010 h 2076"/>
              <a:gd name="T6" fmla="*/ 856 w 2076"/>
              <a:gd name="T7" fmla="*/ 2060 h 2076"/>
              <a:gd name="T8" fmla="*/ 733 w 2076"/>
              <a:gd name="T9" fmla="*/ 2030 h 2076"/>
              <a:gd name="T10" fmla="*/ 738 w 2076"/>
              <a:gd name="T11" fmla="*/ 2014 h 2076"/>
              <a:gd name="T12" fmla="*/ 1377 w 2076"/>
              <a:gd name="T13" fmla="*/ 2001 h 2076"/>
              <a:gd name="T14" fmla="*/ 1505 w 2076"/>
              <a:gd name="T15" fmla="*/ 1946 h 2076"/>
              <a:gd name="T16" fmla="*/ 1513 w 2076"/>
              <a:gd name="T17" fmla="*/ 1961 h 2076"/>
              <a:gd name="T18" fmla="*/ 611 w 2076"/>
              <a:gd name="T19" fmla="*/ 1975 h 2076"/>
              <a:gd name="T20" fmla="*/ 406 w 2076"/>
              <a:gd name="T21" fmla="*/ 1841 h 2076"/>
              <a:gd name="T22" fmla="*/ 1624 w 2076"/>
              <a:gd name="T23" fmla="*/ 1885 h 2076"/>
              <a:gd name="T24" fmla="*/ 1802 w 2076"/>
              <a:gd name="T25" fmla="*/ 1728 h 2076"/>
              <a:gd name="T26" fmla="*/ 374 w 2076"/>
              <a:gd name="T27" fmla="*/ 1837 h 2076"/>
              <a:gd name="T28" fmla="*/ 358 w 2076"/>
              <a:gd name="T29" fmla="*/ 1820 h 2076"/>
              <a:gd name="T30" fmla="*/ 295 w 2076"/>
              <a:gd name="T31" fmla="*/ 1739 h 2076"/>
              <a:gd name="T32" fmla="*/ 1807 w 2076"/>
              <a:gd name="T33" fmla="*/ 1714 h 2076"/>
              <a:gd name="T34" fmla="*/ 1825 w 2076"/>
              <a:gd name="T35" fmla="*/ 1693 h 2076"/>
              <a:gd name="T36" fmla="*/ 1833 w 2076"/>
              <a:gd name="T37" fmla="*/ 1700 h 2076"/>
              <a:gd name="T38" fmla="*/ 183 w 2076"/>
              <a:gd name="T39" fmla="*/ 1621 h 2076"/>
              <a:gd name="T40" fmla="*/ 183 w 2076"/>
              <a:gd name="T41" fmla="*/ 1621 h 2076"/>
              <a:gd name="T42" fmla="*/ 1969 w 2076"/>
              <a:gd name="T43" fmla="*/ 1496 h 2076"/>
              <a:gd name="T44" fmla="*/ 2033 w 2076"/>
              <a:gd name="T45" fmla="*/ 1267 h 2076"/>
              <a:gd name="T46" fmla="*/ 1981 w 2076"/>
              <a:gd name="T47" fmla="*/ 1471 h 2076"/>
              <a:gd name="T48" fmla="*/ 52 w 2076"/>
              <a:gd name="T49" fmla="*/ 1336 h 2076"/>
              <a:gd name="T50" fmla="*/ 39 w 2076"/>
              <a:gd name="T51" fmla="*/ 1313 h 2076"/>
              <a:gd name="T52" fmla="*/ 12 w 2076"/>
              <a:gd name="T53" fmla="*/ 1197 h 2076"/>
              <a:gd name="T54" fmla="*/ 41 w 2076"/>
              <a:gd name="T55" fmla="*/ 1298 h 2076"/>
              <a:gd name="T56" fmla="*/ 2047 w 2076"/>
              <a:gd name="T57" fmla="*/ 1250 h 2076"/>
              <a:gd name="T58" fmla="*/ 2067 w 2076"/>
              <a:gd name="T59" fmla="*/ 997 h 2076"/>
              <a:gd name="T60" fmla="*/ 8 w 2076"/>
              <a:gd name="T61" fmla="*/ 1064 h 2076"/>
              <a:gd name="T62" fmla="*/ 8 w 2076"/>
              <a:gd name="T63" fmla="*/ 1035 h 2076"/>
              <a:gd name="T64" fmla="*/ 40 w 2076"/>
              <a:gd name="T65" fmla="*/ 821 h 2076"/>
              <a:gd name="T66" fmla="*/ 2074 w 2076"/>
              <a:gd name="T67" fmla="*/ 976 h 2076"/>
              <a:gd name="T68" fmla="*/ 2017 w 2076"/>
              <a:gd name="T69" fmla="*/ 740 h 2076"/>
              <a:gd name="T70" fmla="*/ 36 w 2076"/>
              <a:gd name="T71" fmla="*/ 800 h 2076"/>
              <a:gd name="T72" fmla="*/ 45 w 2076"/>
              <a:gd name="T73" fmla="*/ 773 h 2076"/>
              <a:gd name="T74" fmla="*/ 69 w 2076"/>
              <a:gd name="T75" fmla="*/ 666 h 2076"/>
              <a:gd name="T76" fmla="*/ 45 w 2076"/>
              <a:gd name="T77" fmla="*/ 773 h 2076"/>
              <a:gd name="T78" fmla="*/ 2007 w 2076"/>
              <a:gd name="T79" fmla="*/ 698 h 2076"/>
              <a:gd name="T80" fmla="*/ 1970 w 2076"/>
              <a:gd name="T81" fmla="*/ 582 h 2076"/>
              <a:gd name="T82" fmla="*/ 134 w 2076"/>
              <a:gd name="T83" fmla="*/ 553 h 2076"/>
              <a:gd name="T84" fmla="*/ 144 w 2076"/>
              <a:gd name="T85" fmla="*/ 527 h 2076"/>
              <a:gd name="T86" fmla="*/ 148 w 2076"/>
              <a:gd name="T87" fmla="*/ 528 h 2076"/>
              <a:gd name="T88" fmla="*/ 1901 w 2076"/>
              <a:gd name="T89" fmla="*/ 486 h 2076"/>
              <a:gd name="T90" fmla="*/ 1823 w 2076"/>
              <a:gd name="T91" fmla="*/ 359 h 2076"/>
              <a:gd name="T92" fmla="*/ 299 w 2076"/>
              <a:gd name="T93" fmla="*/ 330 h 2076"/>
              <a:gd name="T94" fmla="*/ 468 w 2076"/>
              <a:gd name="T95" fmla="*/ 171 h 2076"/>
              <a:gd name="T96" fmla="*/ 1724 w 2076"/>
              <a:gd name="T97" fmla="*/ 282 h 2076"/>
              <a:gd name="T98" fmla="*/ 1703 w 2076"/>
              <a:gd name="T99" fmla="*/ 263 h 2076"/>
              <a:gd name="T100" fmla="*/ 1714 w 2076"/>
              <a:gd name="T101" fmla="*/ 250 h 2076"/>
              <a:gd name="T102" fmla="*/ 503 w 2076"/>
              <a:gd name="T103" fmla="*/ 158 h 2076"/>
              <a:gd name="T104" fmla="*/ 602 w 2076"/>
              <a:gd name="T105" fmla="*/ 96 h 2076"/>
              <a:gd name="T106" fmla="*/ 609 w 2076"/>
              <a:gd name="T107" fmla="*/ 112 h 2076"/>
              <a:gd name="T108" fmla="*/ 1504 w 2076"/>
              <a:gd name="T109" fmla="*/ 120 h 2076"/>
              <a:gd name="T110" fmla="*/ 1288 w 2076"/>
              <a:gd name="T111" fmla="*/ 48 h 2076"/>
              <a:gd name="T112" fmla="*/ 1494 w 2076"/>
              <a:gd name="T113" fmla="*/ 115 h 2076"/>
              <a:gd name="T114" fmla="*/ 764 w 2076"/>
              <a:gd name="T115" fmla="*/ 54 h 2076"/>
              <a:gd name="T116" fmla="*/ 767 w 2076"/>
              <a:gd name="T117" fmla="*/ 54 h 2076"/>
              <a:gd name="T118" fmla="*/ 1263 w 2076"/>
              <a:gd name="T119" fmla="*/ 42 h 2076"/>
              <a:gd name="T120" fmla="*/ 1019 w 2076"/>
              <a:gd name="T121" fmla="*/ 9 h 2076"/>
              <a:gd name="T122" fmla="*/ 990 w 2076"/>
              <a:gd name="T123" fmla="*/ 10 h 2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76" h="2076">
                <a:moveTo>
                  <a:pt x="1038" y="2076"/>
                </a:moveTo>
                <a:cubicBezTo>
                  <a:pt x="1024" y="2076"/>
                  <a:pt x="1010" y="2076"/>
                  <a:pt x="996" y="2076"/>
                </a:cubicBezTo>
                <a:cubicBezTo>
                  <a:pt x="958" y="2074"/>
                  <a:pt x="920" y="2070"/>
                  <a:pt x="883" y="2065"/>
                </a:cubicBezTo>
                <a:cubicBezTo>
                  <a:pt x="878" y="2064"/>
                  <a:pt x="875" y="2060"/>
                  <a:pt x="876" y="2055"/>
                </a:cubicBezTo>
                <a:cubicBezTo>
                  <a:pt x="876" y="2051"/>
                  <a:pt x="881" y="2047"/>
                  <a:pt x="885" y="2048"/>
                </a:cubicBezTo>
                <a:cubicBezTo>
                  <a:pt x="922" y="2054"/>
                  <a:pt x="960" y="2057"/>
                  <a:pt x="997" y="2059"/>
                </a:cubicBezTo>
                <a:cubicBezTo>
                  <a:pt x="1028" y="2060"/>
                  <a:pt x="1060" y="2060"/>
                  <a:pt x="1092" y="2058"/>
                </a:cubicBezTo>
                <a:cubicBezTo>
                  <a:pt x="1097" y="2058"/>
                  <a:pt x="1101" y="2061"/>
                  <a:pt x="1101" y="2066"/>
                </a:cubicBezTo>
                <a:cubicBezTo>
                  <a:pt x="1101" y="2071"/>
                  <a:pt x="1098" y="2075"/>
                  <a:pt x="1093" y="2075"/>
                </a:cubicBezTo>
                <a:cubicBezTo>
                  <a:pt x="1075" y="2076"/>
                  <a:pt x="1057" y="2076"/>
                  <a:pt x="1038" y="2076"/>
                </a:cubicBezTo>
                <a:close/>
                <a:moveTo>
                  <a:pt x="1121" y="2073"/>
                </a:moveTo>
                <a:cubicBezTo>
                  <a:pt x="1116" y="2073"/>
                  <a:pt x="1113" y="2070"/>
                  <a:pt x="1112" y="2065"/>
                </a:cubicBezTo>
                <a:cubicBezTo>
                  <a:pt x="1112" y="2061"/>
                  <a:pt x="1116" y="2057"/>
                  <a:pt x="1120" y="2056"/>
                </a:cubicBezTo>
                <a:cubicBezTo>
                  <a:pt x="1125" y="2056"/>
                  <a:pt x="1129" y="2059"/>
                  <a:pt x="1129" y="2064"/>
                </a:cubicBezTo>
                <a:cubicBezTo>
                  <a:pt x="1130" y="2069"/>
                  <a:pt x="1126" y="2073"/>
                  <a:pt x="1122" y="2073"/>
                </a:cubicBezTo>
                <a:cubicBezTo>
                  <a:pt x="1121" y="2073"/>
                  <a:pt x="1121" y="2073"/>
                  <a:pt x="1121" y="2073"/>
                </a:cubicBezTo>
                <a:close/>
                <a:moveTo>
                  <a:pt x="1149" y="2070"/>
                </a:moveTo>
                <a:cubicBezTo>
                  <a:pt x="1145" y="2070"/>
                  <a:pt x="1141" y="2067"/>
                  <a:pt x="1141" y="2063"/>
                </a:cubicBezTo>
                <a:cubicBezTo>
                  <a:pt x="1140" y="2061"/>
                  <a:pt x="1141" y="2058"/>
                  <a:pt x="1142" y="2057"/>
                </a:cubicBezTo>
                <a:cubicBezTo>
                  <a:pt x="1144" y="2055"/>
                  <a:pt x="1146" y="2054"/>
                  <a:pt x="1148" y="2054"/>
                </a:cubicBezTo>
                <a:cubicBezTo>
                  <a:pt x="1185" y="2050"/>
                  <a:pt x="1222" y="2043"/>
                  <a:pt x="1259" y="2035"/>
                </a:cubicBezTo>
                <a:cubicBezTo>
                  <a:pt x="1259" y="2035"/>
                  <a:pt x="1259" y="2035"/>
                  <a:pt x="1259" y="2035"/>
                </a:cubicBezTo>
                <a:cubicBezTo>
                  <a:pt x="1259" y="2035"/>
                  <a:pt x="1259" y="2035"/>
                  <a:pt x="1259" y="2035"/>
                </a:cubicBezTo>
                <a:cubicBezTo>
                  <a:pt x="1290" y="2028"/>
                  <a:pt x="1321" y="2020"/>
                  <a:pt x="1351" y="2010"/>
                </a:cubicBezTo>
                <a:cubicBezTo>
                  <a:pt x="1355" y="2009"/>
                  <a:pt x="1360" y="2011"/>
                  <a:pt x="1361" y="2016"/>
                </a:cubicBezTo>
                <a:cubicBezTo>
                  <a:pt x="1362" y="2018"/>
                  <a:pt x="1362" y="2020"/>
                  <a:pt x="1361" y="2022"/>
                </a:cubicBezTo>
                <a:cubicBezTo>
                  <a:pt x="1360" y="2024"/>
                  <a:pt x="1358" y="2026"/>
                  <a:pt x="1356" y="2026"/>
                </a:cubicBezTo>
                <a:cubicBezTo>
                  <a:pt x="1325" y="2036"/>
                  <a:pt x="1294" y="2045"/>
                  <a:pt x="1262" y="2052"/>
                </a:cubicBezTo>
                <a:cubicBezTo>
                  <a:pt x="1225" y="2060"/>
                  <a:pt x="1187" y="2066"/>
                  <a:pt x="1150" y="2070"/>
                </a:cubicBezTo>
                <a:cubicBezTo>
                  <a:pt x="1150" y="2070"/>
                  <a:pt x="1149" y="2070"/>
                  <a:pt x="1149" y="2070"/>
                </a:cubicBezTo>
                <a:close/>
                <a:moveTo>
                  <a:pt x="856" y="2060"/>
                </a:moveTo>
                <a:cubicBezTo>
                  <a:pt x="856" y="2060"/>
                  <a:pt x="856" y="2060"/>
                  <a:pt x="856" y="2060"/>
                </a:cubicBezTo>
                <a:cubicBezTo>
                  <a:pt x="856" y="2060"/>
                  <a:pt x="855" y="2060"/>
                  <a:pt x="855" y="2060"/>
                </a:cubicBezTo>
                <a:cubicBezTo>
                  <a:pt x="850" y="2059"/>
                  <a:pt x="847" y="2055"/>
                  <a:pt x="848" y="2050"/>
                </a:cubicBezTo>
                <a:cubicBezTo>
                  <a:pt x="849" y="2046"/>
                  <a:pt x="853" y="2043"/>
                  <a:pt x="858" y="2043"/>
                </a:cubicBezTo>
                <a:cubicBezTo>
                  <a:pt x="862" y="2044"/>
                  <a:pt x="865" y="2049"/>
                  <a:pt x="864" y="2053"/>
                </a:cubicBezTo>
                <a:cubicBezTo>
                  <a:pt x="864" y="2057"/>
                  <a:pt x="860" y="2060"/>
                  <a:pt x="856" y="2060"/>
                </a:cubicBezTo>
                <a:close/>
                <a:moveTo>
                  <a:pt x="828" y="2055"/>
                </a:moveTo>
                <a:cubicBezTo>
                  <a:pt x="828" y="2055"/>
                  <a:pt x="827" y="2055"/>
                  <a:pt x="827" y="2055"/>
                </a:cubicBezTo>
                <a:cubicBezTo>
                  <a:pt x="795" y="2048"/>
                  <a:pt x="763" y="2040"/>
                  <a:pt x="733" y="2030"/>
                </a:cubicBezTo>
                <a:cubicBezTo>
                  <a:pt x="732" y="2030"/>
                  <a:pt x="732" y="2030"/>
                  <a:pt x="732" y="2030"/>
                </a:cubicBezTo>
                <a:cubicBezTo>
                  <a:pt x="732" y="2030"/>
                  <a:pt x="732" y="2030"/>
                  <a:pt x="732" y="2030"/>
                </a:cubicBezTo>
                <a:cubicBezTo>
                  <a:pt x="696" y="2019"/>
                  <a:pt x="660" y="2006"/>
                  <a:pt x="626" y="1991"/>
                </a:cubicBezTo>
                <a:cubicBezTo>
                  <a:pt x="624" y="1990"/>
                  <a:pt x="622" y="1988"/>
                  <a:pt x="621" y="1986"/>
                </a:cubicBezTo>
                <a:cubicBezTo>
                  <a:pt x="620" y="1984"/>
                  <a:pt x="620" y="1982"/>
                  <a:pt x="621" y="1980"/>
                </a:cubicBezTo>
                <a:cubicBezTo>
                  <a:pt x="623" y="1976"/>
                  <a:pt x="628" y="1974"/>
                  <a:pt x="632" y="1975"/>
                </a:cubicBezTo>
                <a:cubicBezTo>
                  <a:pt x="667" y="1990"/>
                  <a:pt x="702" y="2003"/>
                  <a:pt x="737" y="2014"/>
                </a:cubicBezTo>
                <a:cubicBezTo>
                  <a:pt x="738" y="2014"/>
                  <a:pt x="738" y="2014"/>
                  <a:pt x="738" y="2014"/>
                </a:cubicBezTo>
                <a:cubicBezTo>
                  <a:pt x="738" y="2014"/>
                  <a:pt x="738" y="2014"/>
                  <a:pt x="738" y="2014"/>
                </a:cubicBezTo>
                <a:cubicBezTo>
                  <a:pt x="768" y="2024"/>
                  <a:pt x="799" y="2032"/>
                  <a:pt x="830" y="2038"/>
                </a:cubicBezTo>
                <a:cubicBezTo>
                  <a:pt x="835" y="2039"/>
                  <a:pt x="838" y="2043"/>
                  <a:pt x="837" y="2048"/>
                </a:cubicBezTo>
                <a:cubicBezTo>
                  <a:pt x="836" y="2052"/>
                  <a:pt x="832" y="2055"/>
                  <a:pt x="828" y="2055"/>
                </a:cubicBezTo>
                <a:close/>
                <a:moveTo>
                  <a:pt x="1380" y="2018"/>
                </a:moveTo>
                <a:cubicBezTo>
                  <a:pt x="1377" y="2018"/>
                  <a:pt x="1373" y="2015"/>
                  <a:pt x="1372" y="2012"/>
                </a:cubicBezTo>
                <a:cubicBezTo>
                  <a:pt x="1371" y="2008"/>
                  <a:pt x="1373" y="2003"/>
                  <a:pt x="1377" y="2001"/>
                </a:cubicBezTo>
                <a:cubicBezTo>
                  <a:pt x="1377" y="2001"/>
                  <a:pt x="1377" y="2001"/>
                  <a:pt x="1377" y="2001"/>
                </a:cubicBezTo>
                <a:cubicBezTo>
                  <a:pt x="1382" y="2000"/>
                  <a:pt x="1387" y="2002"/>
                  <a:pt x="1388" y="2006"/>
                </a:cubicBezTo>
                <a:cubicBezTo>
                  <a:pt x="1390" y="2011"/>
                  <a:pt x="1387" y="2016"/>
                  <a:pt x="1383" y="2017"/>
                </a:cubicBezTo>
                <a:cubicBezTo>
                  <a:pt x="1382" y="2017"/>
                  <a:pt x="1381" y="2018"/>
                  <a:pt x="1380" y="2018"/>
                </a:cubicBezTo>
                <a:close/>
                <a:moveTo>
                  <a:pt x="1407" y="2008"/>
                </a:moveTo>
                <a:cubicBezTo>
                  <a:pt x="1403" y="2008"/>
                  <a:pt x="1400" y="2006"/>
                  <a:pt x="1399" y="2002"/>
                </a:cubicBezTo>
                <a:cubicBezTo>
                  <a:pt x="1398" y="2000"/>
                  <a:pt x="1398" y="1998"/>
                  <a:pt x="1399" y="1996"/>
                </a:cubicBezTo>
                <a:cubicBezTo>
                  <a:pt x="1400" y="1994"/>
                  <a:pt x="1401" y="1992"/>
                  <a:pt x="1404" y="1991"/>
                </a:cubicBezTo>
                <a:cubicBezTo>
                  <a:pt x="1438" y="1978"/>
                  <a:pt x="1472" y="1963"/>
                  <a:pt x="1505" y="1946"/>
                </a:cubicBezTo>
                <a:cubicBezTo>
                  <a:pt x="1505" y="1946"/>
                  <a:pt x="1505" y="1946"/>
                  <a:pt x="1505" y="1946"/>
                </a:cubicBezTo>
                <a:cubicBezTo>
                  <a:pt x="1506" y="1946"/>
                  <a:pt x="1506" y="1946"/>
                  <a:pt x="1506" y="1946"/>
                </a:cubicBezTo>
                <a:cubicBezTo>
                  <a:pt x="1534" y="1931"/>
                  <a:pt x="1562" y="1915"/>
                  <a:pt x="1589" y="1898"/>
                </a:cubicBezTo>
                <a:cubicBezTo>
                  <a:pt x="1592" y="1896"/>
                  <a:pt x="1598" y="1897"/>
                  <a:pt x="1600" y="1901"/>
                </a:cubicBezTo>
                <a:cubicBezTo>
                  <a:pt x="1603" y="1905"/>
                  <a:pt x="1602" y="1910"/>
                  <a:pt x="1598" y="1912"/>
                </a:cubicBezTo>
                <a:cubicBezTo>
                  <a:pt x="1571" y="1930"/>
                  <a:pt x="1542" y="1946"/>
                  <a:pt x="1514" y="1961"/>
                </a:cubicBezTo>
                <a:cubicBezTo>
                  <a:pt x="1513" y="1961"/>
                  <a:pt x="1513" y="1961"/>
                  <a:pt x="1513" y="1961"/>
                </a:cubicBezTo>
                <a:cubicBezTo>
                  <a:pt x="1513" y="1961"/>
                  <a:pt x="1513" y="1961"/>
                  <a:pt x="1513" y="1961"/>
                </a:cubicBezTo>
                <a:cubicBezTo>
                  <a:pt x="1479" y="1978"/>
                  <a:pt x="1445" y="1994"/>
                  <a:pt x="1410" y="2007"/>
                </a:cubicBezTo>
                <a:cubicBezTo>
                  <a:pt x="1409" y="2008"/>
                  <a:pt x="1408" y="2008"/>
                  <a:pt x="1407" y="2008"/>
                </a:cubicBezTo>
                <a:close/>
                <a:moveTo>
                  <a:pt x="603" y="1980"/>
                </a:moveTo>
                <a:cubicBezTo>
                  <a:pt x="602" y="1980"/>
                  <a:pt x="601" y="1980"/>
                  <a:pt x="600" y="1979"/>
                </a:cubicBezTo>
                <a:cubicBezTo>
                  <a:pt x="595" y="1977"/>
                  <a:pt x="594" y="1972"/>
                  <a:pt x="596" y="1968"/>
                </a:cubicBezTo>
                <a:cubicBezTo>
                  <a:pt x="597" y="1964"/>
                  <a:pt x="603" y="1962"/>
                  <a:pt x="607" y="1964"/>
                </a:cubicBezTo>
                <a:cubicBezTo>
                  <a:pt x="607" y="1964"/>
                  <a:pt x="607" y="1964"/>
                  <a:pt x="607" y="1964"/>
                </a:cubicBezTo>
                <a:cubicBezTo>
                  <a:pt x="611" y="1966"/>
                  <a:pt x="613" y="1971"/>
                  <a:pt x="611" y="1975"/>
                </a:cubicBezTo>
                <a:cubicBezTo>
                  <a:pt x="610" y="1978"/>
                  <a:pt x="607" y="1980"/>
                  <a:pt x="603" y="1980"/>
                </a:cubicBezTo>
                <a:close/>
                <a:moveTo>
                  <a:pt x="578" y="1968"/>
                </a:moveTo>
                <a:cubicBezTo>
                  <a:pt x="576" y="1968"/>
                  <a:pt x="575" y="1968"/>
                  <a:pt x="574" y="1967"/>
                </a:cubicBezTo>
                <a:cubicBezTo>
                  <a:pt x="545" y="1953"/>
                  <a:pt x="517" y="1937"/>
                  <a:pt x="489" y="1920"/>
                </a:cubicBezTo>
                <a:cubicBezTo>
                  <a:pt x="457" y="1900"/>
                  <a:pt x="426" y="1878"/>
                  <a:pt x="396" y="1854"/>
                </a:cubicBezTo>
                <a:cubicBezTo>
                  <a:pt x="394" y="1853"/>
                  <a:pt x="393" y="1851"/>
                  <a:pt x="393" y="1849"/>
                </a:cubicBezTo>
                <a:cubicBezTo>
                  <a:pt x="393" y="1846"/>
                  <a:pt x="393" y="1844"/>
                  <a:pt x="395" y="1842"/>
                </a:cubicBezTo>
                <a:cubicBezTo>
                  <a:pt x="397" y="1839"/>
                  <a:pt x="403" y="1838"/>
                  <a:pt x="406" y="1841"/>
                </a:cubicBezTo>
                <a:cubicBezTo>
                  <a:pt x="436" y="1864"/>
                  <a:pt x="467" y="1886"/>
                  <a:pt x="498" y="1905"/>
                </a:cubicBezTo>
                <a:cubicBezTo>
                  <a:pt x="525" y="1922"/>
                  <a:pt x="553" y="1938"/>
                  <a:pt x="582" y="1952"/>
                </a:cubicBezTo>
                <a:cubicBezTo>
                  <a:pt x="586" y="1954"/>
                  <a:pt x="587" y="1959"/>
                  <a:pt x="585" y="1963"/>
                </a:cubicBezTo>
                <a:cubicBezTo>
                  <a:pt x="584" y="1966"/>
                  <a:pt x="581" y="1968"/>
                  <a:pt x="578" y="1968"/>
                </a:cubicBezTo>
                <a:close/>
                <a:moveTo>
                  <a:pt x="1617" y="1898"/>
                </a:moveTo>
                <a:cubicBezTo>
                  <a:pt x="1614" y="1898"/>
                  <a:pt x="1611" y="1897"/>
                  <a:pt x="1610" y="1894"/>
                </a:cubicBezTo>
                <a:cubicBezTo>
                  <a:pt x="1607" y="1890"/>
                  <a:pt x="1608" y="1885"/>
                  <a:pt x="1612" y="1883"/>
                </a:cubicBezTo>
                <a:cubicBezTo>
                  <a:pt x="1616" y="1880"/>
                  <a:pt x="1621" y="1881"/>
                  <a:pt x="1624" y="1885"/>
                </a:cubicBezTo>
                <a:cubicBezTo>
                  <a:pt x="1626" y="1889"/>
                  <a:pt x="1625" y="1894"/>
                  <a:pt x="1622" y="1897"/>
                </a:cubicBezTo>
                <a:cubicBezTo>
                  <a:pt x="1620" y="1898"/>
                  <a:pt x="1618" y="1898"/>
                  <a:pt x="1617" y="1898"/>
                </a:cubicBezTo>
                <a:close/>
                <a:moveTo>
                  <a:pt x="1640" y="1882"/>
                </a:moveTo>
                <a:cubicBezTo>
                  <a:pt x="1637" y="1882"/>
                  <a:pt x="1635" y="1881"/>
                  <a:pt x="1633" y="1878"/>
                </a:cubicBezTo>
                <a:cubicBezTo>
                  <a:pt x="1630" y="1875"/>
                  <a:pt x="1631" y="1869"/>
                  <a:pt x="1635" y="1866"/>
                </a:cubicBezTo>
                <a:cubicBezTo>
                  <a:pt x="1665" y="1845"/>
                  <a:pt x="1695" y="1821"/>
                  <a:pt x="1722" y="1796"/>
                </a:cubicBezTo>
                <a:cubicBezTo>
                  <a:pt x="1746" y="1775"/>
                  <a:pt x="1769" y="1752"/>
                  <a:pt x="1790" y="1729"/>
                </a:cubicBezTo>
                <a:cubicBezTo>
                  <a:pt x="1793" y="1726"/>
                  <a:pt x="1799" y="1725"/>
                  <a:pt x="1802" y="1728"/>
                </a:cubicBezTo>
                <a:cubicBezTo>
                  <a:pt x="1805" y="1732"/>
                  <a:pt x="1806" y="1737"/>
                  <a:pt x="1803" y="1740"/>
                </a:cubicBezTo>
                <a:cubicBezTo>
                  <a:pt x="1781" y="1764"/>
                  <a:pt x="1758" y="1787"/>
                  <a:pt x="1734" y="1808"/>
                </a:cubicBezTo>
                <a:cubicBezTo>
                  <a:pt x="1734" y="1809"/>
                  <a:pt x="1734" y="1809"/>
                  <a:pt x="1734" y="1809"/>
                </a:cubicBezTo>
                <a:cubicBezTo>
                  <a:pt x="1734" y="1809"/>
                  <a:pt x="1733" y="1809"/>
                  <a:pt x="1733" y="1809"/>
                </a:cubicBezTo>
                <a:cubicBezTo>
                  <a:pt x="1705" y="1834"/>
                  <a:pt x="1676" y="1858"/>
                  <a:pt x="1645" y="1880"/>
                </a:cubicBezTo>
                <a:cubicBezTo>
                  <a:pt x="1643" y="1881"/>
                  <a:pt x="1642" y="1882"/>
                  <a:pt x="1640" y="1882"/>
                </a:cubicBezTo>
                <a:close/>
                <a:moveTo>
                  <a:pt x="379" y="1838"/>
                </a:moveTo>
                <a:cubicBezTo>
                  <a:pt x="377" y="1838"/>
                  <a:pt x="376" y="1838"/>
                  <a:pt x="374" y="1837"/>
                </a:cubicBezTo>
                <a:cubicBezTo>
                  <a:pt x="374" y="1837"/>
                  <a:pt x="374" y="1837"/>
                  <a:pt x="374" y="1837"/>
                </a:cubicBezTo>
                <a:cubicBezTo>
                  <a:pt x="374" y="1836"/>
                  <a:pt x="374" y="1836"/>
                  <a:pt x="374" y="1836"/>
                </a:cubicBezTo>
                <a:cubicBezTo>
                  <a:pt x="372" y="1835"/>
                  <a:pt x="371" y="1833"/>
                  <a:pt x="371" y="1831"/>
                </a:cubicBezTo>
                <a:cubicBezTo>
                  <a:pt x="371" y="1828"/>
                  <a:pt x="371" y="1826"/>
                  <a:pt x="373" y="1825"/>
                </a:cubicBezTo>
                <a:cubicBezTo>
                  <a:pt x="376" y="1821"/>
                  <a:pt x="381" y="1821"/>
                  <a:pt x="385" y="1823"/>
                </a:cubicBezTo>
                <a:cubicBezTo>
                  <a:pt x="388" y="1826"/>
                  <a:pt x="389" y="1832"/>
                  <a:pt x="386" y="1835"/>
                </a:cubicBezTo>
                <a:cubicBezTo>
                  <a:pt x="384" y="1837"/>
                  <a:pt x="382" y="1838"/>
                  <a:pt x="379" y="1838"/>
                </a:cubicBezTo>
                <a:close/>
                <a:moveTo>
                  <a:pt x="358" y="1820"/>
                </a:moveTo>
                <a:cubicBezTo>
                  <a:pt x="356" y="1820"/>
                  <a:pt x="354" y="1819"/>
                  <a:pt x="352" y="1818"/>
                </a:cubicBezTo>
                <a:cubicBezTo>
                  <a:pt x="328" y="1797"/>
                  <a:pt x="304" y="1774"/>
                  <a:pt x="282" y="1751"/>
                </a:cubicBezTo>
                <a:cubicBezTo>
                  <a:pt x="256" y="1723"/>
                  <a:pt x="232" y="1694"/>
                  <a:pt x="209" y="1663"/>
                </a:cubicBezTo>
                <a:cubicBezTo>
                  <a:pt x="207" y="1662"/>
                  <a:pt x="207" y="1659"/>
                  <a:pt x="207" y="1657"/>
                </a:cubicBezTo>
                <a:cubicBezTo>
                  <a:pt x="208" y="1655"/>
                  <a:pt x="209" y="1653"/>
                  <a:pt x="211" y="1652"/>
                </a:cubicBezTo>
                <a:cubicBezTo>
                  <a:pt x="214" y="1649"/>
                  <a:pt x="220" y="1650"/>
                  <a:pt x="222" y="1653"/>
                </a:cubicBezTo>
                <a:cubicBezTo>
                  <a:pt x="245" y="1683"/>
                  <a:pt x="269" y="1712"/>
                  <a:pt x="294" y="1739"/>
                </a:cubicBezTo>
                <a:cubicBezTo>
                  <a:pt x="295" y="1739"/>
                  <a:pt x="295" y="1739"/>
                  <a:pt x="295" y="1739"/>
                </a:cubicBezTo>
                <a:cubicBezTo>
                  <a:pt x="295" y="1739"/>
                  <a:pt x="295" y="1739"/>
                  <a:pt x="295" y="1739"/>
                </a:cubicBezTo>
                <a:cubicBezTo>
                  <a:pt x="316" y="1762"/>
                  <a:pt x="339" y="1784"/>
                  <a:pt x="363" y="1805"/>
                </a:cubicBezTo>
                <a:cubicBezTo>
                  <a:pt x="365" y="1807"/>
                  <a:pt x="366" y="1809"/>
                  <a:pt x="366" y="1811"/>
                </a:cubicBezTo>
                <a:cubicBezTo>
                  <a:pt x="366" y="1813"/>
                  <a:pt x="366" y="1815"/>
                  <a:pt x="364" y="1817"/>
                </a:cubicBezTo>
                <a:cubicBezTo>
                  <a:pt x="362" y="1819"/>
                  <a:pt x="360" y="1820"/>
                  <a:pt x="358" y="1820"/>
                </a:cubicBezTo>
                <a:close/>
                <a:moveTo>
                  <a:pt x="1815" y="1722"/>
                </a:moveTo>
                <a:cubicBezTo>
                  <a:pt x="1813" y="1722"/>
                  <a:pt x="1811" y="1721"/>
                  <a:pt x="1810" y="1720"/>
                </a:cubicBezTo>
                <a:cubicBezTo>
                  <a:pt x="1808" y="1719"/>
                  <a:pt x="1807" y="1716"/>
                  <a:pt x="1807" y="1714"/>
                </a:cubicBezTo>
                <a:cubicBezTo>
                  <a:pt x="1806" y="1712"/>
                  <a:pt x="1807" y="1710"/>
                  <a:pt x="1809" y="1708"/>
                </a:cubicBezTo>
                <a:cubicBezTo>
                  <a:pt x="1812" y="1705"/>
                  <a:pt x="1817" y="1704"/>
                  <a:pt x="1821" y="1707"/>
                </a:cubicBezTo>
                <a:cubicBezTo>
                  <a:pt x="1822" y="1709"/>
                  <a:pt x="1823" y="1711"/>
                  <a:pt x="1824" y="1713"/>
                </a:cubicBezTo>
                <a:cubicBezTo>
                  <a:pt x="1824" y="1715"/>
                  <a:pt x="1823" y="1717"/>
                  <a:pt x="1821" y="1719"/>
                </a:cubicBezTo>
                <a:cubicBezTo>
                  <a:pt x="1820" y="1721"/>
                  <a:pt x="1818" y="1722"/>
                  <a:pt x="1815" y="1722"/>
                </a:cubicBezTo>
                <a:close/>
                <a:moveTo>
                  <a:pt x="1833" y="1700"/>
                </a:moveTo>
                <a:cubicBezTo>
                  <a:pt x="1831" y="1700"/>
                  <a:pt x="1829" y="1700"/>
                  <a:pt x="1828" y="1699"/>
                </a:cubicBezTo>
                <a:cubicBezTo>
                  <a:pt x="1826" y="1697"/>
                  <a:pt x="1825" y="1695"/>
                  <a:pt x="1825" y="1693"/>
                </a:cubicBezTo>
                <a:cubicBezTo>
                  <a:pt x="1825" y="1691"/>
                  <a:pt x="1825" y="1688"/>
                  <a:pt x="1827" y="1687"/>
                </a:cubicBezTo>
                <a:cubicBezTo>
                  <a:pt x="1850" y="1658"/>
                  <a:pt x="1873" y="1627"/>
                  <a:pt x="1893" y="1596"/>
                </a:cubicBezTo>
                <a:cubicBezTo>
                  <a:pt x="1910" y="1570"/>
                  <a:pt x="1926" y="1542"/>
                  <a:pt x="1941" y="1514"/>
                </a:cubicBezTo>
                <a:cubicBezTo>
                  <a:pt x="1943" y="1510"/>
                  <a:pt x="1949" y="1508"/>
                  <a:pt x="1953" y="1510"/>
                </a:cubicBezTo>
                <a:cubicBezTo>
                  <a:pt x="1957" y="1513"/>
                  <a:pt x="1958" y="1518"/>
                  <a:pt x="1956" y="1522"/>
                </a:cubicBezTo>
                <a:cubicBezTo>
                  <a:pt x="1941" y="1550"/>
                  <a:pt x="1925" y="1578"/>
                  <a:pt x="1907" y="1605"/>
                </a:cubicBezTo>
                <a:cubicBezTo>
                  <a:pt x="1887" y="1637"/>
                  <a:pt x="1864" y="1668"/>
                  <a:pt x="1840" y="1697"/>
                </a:cubicBezTo>
                <a:cubicBezTo>
                  <a:pt x="1838" y="1699"/>
                  <a:pt x="1836" y="1700"/>
                  <a:pt x="1833" y="1700"/>
                </a:cubicBezTo>
                <a:close/>
                <a:moveTo>
                  <a:pt x="199" y="1644"/>
                </a:moveTo>
                <a:cubicBezTo>
                  <a:pt x="196" y="1644"/>
                  <a:pt x="194" y="1643"/>
                  <a:pt x="192" y="1640"/>
                </a:cubicBezTo>
                <a:cubicBezTo>
                  <a:pt x="191" y="1639"/>
                  <a:pt x="190" y="1636"/>
                  <a:pt x="191" y="1634"/>
                </a:cubicBezTo>
                <a:cubicBezTo>
                  <a:pt x="191" y="1632"/>
                  <a:pt x="192" y="1630"/>
                  <a:pt x="194" y="1629"/>
                </a:cubicBezTo>
                <a:cubicBezTo>
                  <a:pt x="198" y="1626"/>
                  <a:pt x="203" y="1627"/>
                  <a:pt x="206" y="1631"/>
                </a:cubicBezTo>
                <a:cubicBezTo>
                  <a:pt x="209" y="1634"/>
                  <a:pt x="208" y="1640"/>
                  <a:pt x="204" y="1642"/>
                </a:cubicBezTo>
                <a:cubicBezTo>
                  <a:pt x="202" y="1643"/>
                  <a:pt x="201" y="1644"/>
                  <a:pt x="199" y="1644"/>
                </a:cubicBezTo>
                <a:close/>
                <a:moveTo>
                  <a:pt x="183" y="1621"/>
                </a:moveTo>
                <a:cubicBezTo>
                  <a:pt x="180" y="1621"/>
                  <a:pt x="177" y="1619"/>
                  <a:pt x="176" y="1617"/>
                </a:cubicBezTo>
                <a:cubicBezTo>
                  <a:pt x="158" y="1590"/>
                  <a:pt x="141" y="1562"/>
                  <a:pt x="126" y="1534"/>
                </a:cubicBezTo>
                <a:cubicBezTo>
                  <a:pt x="125" y="1532"/>
                  <a:pt x="124" y="1530"/>
                  <a:pt x="125" y="1528"/>
                </a:cubicBezTo>
                <a:cubicBezTo>
                  <a:pt x="126" y="1525"/>
                  <a:pt x="127" y="1524"/>
                  <a:pt x="129" y="1523"/>
                </a:cubicBezTo>
                <a:cubicBezTo>
                  <a:pt x="133" y="1520"/>
                  <a:pt x="138" y="1522"/>
                  <a:pt x="141" y="1526"/>
                </a:cubicBezTo>
                <a:cubicBezTo>
                  <a:pt x="156" y="1554"/>
                  <a:pt x="172" y="1581"/>
                  <a:pt x="190" y="1608"/>
                </a:cubicBezTo>
                <a:cubicBezTo>
                  <a:pt x="192" y="1611"/>
                  <a:pt x="191" y="1617"/>
                  <a:pt x="188" y="1619"/>
                </a:cubicBezTo>
                <a:cubicBezTo>
                  <a:pt x="186" y="1620"/>
                  <a:pt x="185" y="1621"/>
                  <a:pt x="183" y="1621"/>
                </a:cubicBezTo>
                <a:close/>
                <a:moveTo>
                  <a:pt x="1962" y="1501"/>
                </a:moveTo>
                <a:cubicBezTo>
                  <a:pt x="1962" y="1501"/>
                  <a:pt x="1962" y="1501"/>
                  <a:pt x="1962" y="1501"/>
                </a:cubicBezTo>
                <a:cubicBezTo>
                  <a:pt x="1960" y="1501"/>
                  <a:pt x="1959" y="1501"/>
                  <a:pt x="1958" y="1500"/>
                </a:cubicBezTo>
                <a:cubicBezTo>
                  <a:pt x="1956" y="1499"/>
                  <a:pt x="1954" y="1498"/>
                  <a:pt x="1954" y="1495"/>
                </a:cubicBezTo>
                <a:cubicBezTo>
                  <a:pt x="1953" y="1493"/>
                  <a:pt x="1953" y="1491"/>
                  <a:pt x="1954" y="1489"/>
                </a:cubicBezTo>
                <a:cubicBezTo>
                  <a:pt x="1956" y="1485"/>
                  <a:pt x="1961" y="1483"/>
                  <a:pt x="1965" y="1485"/>
                </a:cubicBezTo>
                <a:cubicBezTo>
                  <a:pt x="1967" y="1486"/>
                  <a:pt x="1969" y="1488"/>
                  <a:pt x="1970" y="1490"/>
                </a:cubicBezTo>
                <a:cubicBezTo>
                  <a:pt x="1970" y="1492"/>
                  <a:pt x="1970" y="1494"/>
                  <a:pt x="1969" y="1496"/>
                </a:cubicBezTo>
                <a:cubicBezTo>
                  <a:pt x="1968" y="1499"/>
                  <a:pt x="1965" y="1501"/>
                  <a:pt x="1962" y="1501"/>
                </a:cubicBezTo>
                <a:close/>
                <a:moveTo>
                  <a:pt x="1974" y="1476"/>
                </a:moveTo>
                <a:cubicBezTo>
                  <a:pt x="1972" y="1476"/>
                  <a:pt x="1971" y="1475"/>
                  <a:pt x="1970" y="1475"/>
                </a:cubicBezTo>
                <a:cubicBezTo>
                  <a:pt x="1966" y="1473"/>
                  <a:pt x="1964" y="1468"/>
                  <a:pt x="1966" y="1464"/>
                </a:cubicBezTo>
                <a:cubicBezTo>
                  <a:pt x="1981" y="1430"/>
                  <a:pt x="1995" y="1396"/>
                  <a:pt x="2006" y="1361"/>
                </a:cubicBezTo>
                <a:cubicBezTo>
                  <a:pt x="2007" y="1360"/>
                  <a:pt x="2007" y="1360"/>
                  <a:pt x="2007" y="1360"/>
                </a:cubicBezTo>
                <a:cubicBezTo>
                  <a:pt x="2007" y="1360"/>
                  <a:pt x="2007" y="1360"/>
                  <a:pt x="2007" y="1359"/>
                </a:cubicBezTo>
                <a:cubicBezTo>
                  <a:pt x="2017" y="1329"/>
                  <a:pt x="2026" y="1298"/>
                  <a:pt x="2033" y="1267"/>
                </a:cubicBezTo>
                <a:cubicBezTo>
                  <a:pt x="2034" y="1263"/>
                  <a:pt x="2038" y="1260"/>
                  <a:pt x="2043" y="1261"/>
                </a:cubicBezTo>
                <a:cubicBezTo>
                  <a:pt x="2047" y="1262"/>
                  <a:pt x="2050" y="1267"/>
                  <a:pt x="2049" y="1271"/>
                </a:cubicBezTo>
                <a:cubicBezTo>
                  <a:pt x="2042" y="1303"/>
                  <a:pt x="2033" y="1334"/>
                  <a:pt x="2023" y="1365"/>
                </a:cubicBezTo>
                <a:cubicBezTo>
                  <a:pt x="2023" y="1365"/>
                  <a:pt x="2023" y="1365"/>
                  <a:pt x="2023" y="1365"/>
                </a:cubicBezTo>
                <a:cubicBezTo>
                  <a:pt x="2023" y="1366"/>
                  <a:pt x="2023" y="1366"/>
                  <a:pt x="2022" y="1366"/>
                </a:cubicBezTo>
                <a:cubicBezTo>
                  <a:pt x="2011" y="1402"/>
                  <a:pt x="1997" y="1437"/>
                  <a:pt x="1981" y="1471"/>
                </a:cubicBezTo>
                <a:cubicBezTo>
                  <a:pt x="1981" y="1471"/>
                  <a:pt x="1981" y="1471"/>
                  <a:pt x="1981" y="1471"/>
                </a:cubicBezTo>
                <a:cubicBezTo>
                  <a:pt x="1981" y="1471"/>
                  <a:pt x="1981" y="1471"/>
                  <a:pt x="1981" y="1471"/>
                </a:cubicBezTo>
                <a:cubicBezTo>
                  <a:pt x="1980" y="1474"/>
                  <a:pt x="1977" y="1476"/>
                  <a:pt x="1974" y="1476"/>
                </a:cubicBezTo>
                <a:close/>
                <a:moveTo>
                  <a:pt x="92" y="1454"/>
                </a:moveTo>
                <a:cubicBezTo>
                  <a:pt x="89" y="1454"/>
                  <a:pt x="86" y="1452"/>
                  <a:pt x="84" y="1449"/>
                </a:cubicBezTo>
                <a:cubicBezTo>
                  <a:pt x="70" y="1416"/>
                  <a:pt x="58" y="1382"/>
                  <a:pt x="47" y="1348"/>
                </a:cubicBezTo>
                <a:cubicBezTo>
                  <a:pt x="47" y="1348"/>
                  <a:pt x="47" y="1348"/>
                  <a:pt x="47" y="1348"/>
                </a:cubicBezTo>
                <a:cubicBezTo>
                  <a:pt x="46" y="1347"/>
                  <a:pt x="46" y="1347"/>
                  <a:pt x="46" y="1347"/>
                </a:cubicBezTo>
                <a:cubicBezTo>
                  <a:pt x="46" y="1345"/>
                  <a:pt x="46" y="1343"/>
                  <a:pt x="47" y="1341"/>
                </a:cubicBezTo>
                <a:cubicBezTo>
                  <a:pt x="48" y="1339"/>
                  <a:pt x="50" y="1337"/>
                  <a:pt x="52" y="1336"/>
                </a:cubicBezTo>
                <a:cubicBezTo>
                  <a:pt x="56" y="1335"/>
                  <a:pt x="61" y="1338"/>
                  <a:pt x="63" y="1342"/>
                </a:cubicBezTo>
                <a:cubicBezTo>
                  <a:pt x="73" y="1376"/>
                  <a:pt x="86" y="1410"/>
                  <a:pt x="100" y="1442"/>
                </a:cubicBezTo>
                <a:cubicBezTo>
                  <a:pt x="102" y="1447"/>
                  <a:pt x="100" y="1452"/>
                  <a:pt x="95" y="1454"/>
                </a:cubicBezTo>
                <a:cubicBezTo>
                  <a:pt x="94" y="1454"/>
                  <a:pt x="93" y="1454"/>
                  <a:pt x="92" y="1454"/>
                </a:cubicBezTo>
                <a:close/>
                <a:moveTo>
                  <a:pt x="47" y="1326"/>
                </a:moveTo>
                <a:cubicBezTo>
                  <a:pt x="43" y="1326"/>
                  <a:pt x="39" y="1323"/>
                  <a:pt x="38" y="1320"/>
                </a:cubicBezTo>
                <a:cubicBezTo>
                  <a:pt x="38" y="1320"/>
                  <a:pt x="38" y="1320"/>
                  <a:pt x="38" y="1320"/>
                </a:cubicBezTo>
                <a:cubicBezTo>
                  <a:pt x="38" y="1318"/>
                  <a:pt x="38" y="1315"/>
                  <a:pt x="39" y="1313"/>
                </a:cubicBezTo>
                <a:cubicBezTo>
                  <a:pt x="40" y="1311"/>
                  <a:pt x="42" y="1310"/>
                  <a:pt x="44" y="1309"/>
                </a:cubicBezTo>
                <a:cubicBezTo>
                  <a:pt x="49" y="1308"/>
                  <a:pt x="53" y="1311"/>
                  <a:pt x="55" y="1315"/>
                </a:cubicBezTo>
                <a:cubicBezTo>
                  <a:pt x="55" y="1317"/>
                  <a:pt x="55" y="1320"/>
                  <a:pt x="54" y="1322"/>
                </a:cubicBezTo>
                <a:cubicBezTo>
                  <a:pt x="53" y="1324"/>
                  <a:pt x="51" y="1325"/>
                  <a:pt x="49" y="1326"/>
                </a:cubicBezTo>
                <a:cubicBezTo>
                  <a:pt x="48" y="1326"/>
                  <a:pt x="47" y="1326"/>
                  <a:pt x="47" y="1326"/>
                </a:cubicBezTo>
                <a:close/>
                <a:moveTo>
                  <a:pt x="39" y="1299"/>
                </a:moveTo>
                <a:cubicBezTo>
                  <a:pt x="35" y="1299"/>
                  <a:pt x="32" y="1296"/>
                  <a:pt x="31" y="1292"/>
                </a:cubicBezTo>
                <a:cubicBezTo>
                  <a:pt x="23" y="1261"/>
                  <a:pt x="17" y="1229"/>
                  <a:pt x="12" y="1197"/>
                </a:cubicBezTo>
                <a:cubicBezTo>
                  <a:pt x="6" y="1160"/>
                  <a:pt x="2" y="1121"/>
                  <a:pt x="0" y="1084"/>
                </a:cubicBezTo>
                <a:cubicBezTo>
                  <a:pt x="0" y="1081"/>
                  <a:pt x="1" y="1079"/>
                  <a:pt x="3" y="1078"/>
                </a:cubicBezTo>
                <a:cubicBezTo>
                  <a:pt x="4" y="1076"/>
                  <a:pt x="6" y="1075"/>
                  <a:pt x="9" y="1075"/>
                </a:cubicBezTo>
                <a:cubicBezTo>
                  <a:pt x="13" y="1075"/>
                  <a:pt x="17" y="1078"/>
                  <a:pt x="17" y="1083"/>
                </a:cubicBezTo>
                <a:cubicBezTo>
                  <a:pt x="19" y="1120"/>
                  <a:pt x="23" y="1158"/>
                  <a:pt x="28" y="1195"/>
                </a:cubicBezTo>
                <a:cubicBezTo>
                  <a:pt x="28" y="1195"/>
                  <a:pt x="28" y="1195"/>
                  <a:pt x="28" y="1195"/>
                </a:cubicBezTo>
                <a:cubicBezTo>
                  <a:pt x="33" y="1226"/>
                  <a:pt x="40" y="1257"/>
                  <a:pt x="47" y="1288"/>
                </a:cubicBezTo>
                <a:cubicBezTo>
                  <a:pt x="49" y="1293"/>
                  <a:pt x="46" y="1297"/>
                  <a:pt x="41" y="1298"/>
                </a:cubicBezTo>
                <a:cubicBezTo>
                  <a:pt x="41" y="1298"/>
                  <a:pt x="40" y="1299"/>
                  <a:pt x="39" y="1299"/>
                </a:cubicBezTo>
                <a:close/>
                <a:moveTo>
                  <a:pt x="2047" y="1250"/>
                </a:moveTo>
                <a:cubicBezTo>
                  <a:pt x="2046" y="1250"/>
                  <a:pt x="2046" y="1250"/>
                  <a:pt x="2045" y="1250"/>
                </a:cubicBezTo>
                <a:cubicBezTo>
                  <a:pt x="2041" y="1249"/>
                  <a:pt x="2038" y="1245"/>
                  <a:pt x="2039" y="1240"/>
                </a:cubicBezTo>
                <a:cubicBezTo>
                  <a:pt x="2039" y="1240"/>
                  <a:pt x="2039" y="1240"/>
                  <a:pt x="2039" y="1240"/>
                </a:cubicBezTo>
                <a:cubicBezTo>
                  <a:pt x="2040" y="1235"/>
                  <a:pt x="2044" y="1232"/>
                  <a:pt x="2049" y="1233"/>
                </a:cubicBezTo>
                <a:cubicBezTo>
                  <a:pt x="2053" y="1234"/>
                  <a:pt x="2056" y="1239"/>
                  <a:pt x="2055" y="1243"/>
                </a:cubicBezTo>
                <a:cubicBezTo>
                  <a:pt x="2054" y="1247"/>
                  <a:pt x="2051" y="1250"/>
                  <a:pt x="2047" y="1250"/>
                </a:cubicBezTo>
                <a:close/>
                <a:moveTo>
                  <a:pt x="2052" y="1222"/>
                </a:moveTo>
                <a:cubicBezTo>
                  <a:pt x="2052" y="1222"/>
                  <a:pt x="2051" y="1222"/>
                  <a:pt x="2051" y="1222"/>
                </a:cubicBezTo>
                <a:cubicBezTo>
                  <a:pt x="2049" y="1222"/>
                  <a:pt x="2047" y="1221"/>
                  <a:pt x="2045" y="1219"/>
                </a:cubicBezTo>
                <a:cubicBezTo>
                  <a:pt x="2044" y="1217"/>
                  <a:pt x="2043" y="1215"/>
                  <a:pt x="2044" y="1212"/>
                </a:cubicBezTo>
                <a:cubicBezTo>
                  <a:pt x="2050" y="1176"/>
                  <a:pt x="2055" y="1138"/>
                  <a:pt x="2057" y="1101"/>
                </a:cubicBezTo>
                <a:cubicBezTo>
                  <a:pt x="2058" y="1080"/>
                  <a:pt x="2059" y="1059"/>
                  <a:pt x="2059" y="1038"/>
                </a:cubicBezTo>
                <a:cubicBezTo>
                  <a:pt x="2059" y="1027"/>
                  <a:pt x="2059" y="1016"/>
                  <a:pt x="2058" y="1006"/>
                </a:cubicBezTo>
                <a:cubicBezTo>
                  <a:pt x="2058" y="1001"/>
                  <a:pt x="2062" y="997"/>
                  <a:pt x="2067" y="997"/>
                </a:cubicBezTo>
                <a:cubicBezTo>
                  <a:pt x="2071" y="997"/>
                  <a:pt x="2075" y="1000"/>
                  <a:pt x="2075" y="1005"/>
                </a:cubicBezTo>
                <a:cubicBezTo>
                  <a:pt x="2076" y="1016"/>
                  <a:pt x="2076" y="1027"/>
                  <a:pt x="2076" y="1038"/>
                </a:cubicBezTo>
                <a:cubicBezTo>
                  <a:pt x="2076" y="1059"/>
                  <a:pt x="2075" y="1081"/>
                  <a:pt x="2074" y="1102"/>
                </a:cubicBezTo>
                <a:cubicBezTo>
                  <a:pt x="2072" y="1140"/>
                  <a:pt x="2067" y="1178"/>
                  <a:pt x="2061" y="1215"/>
                </a:cubicBezTo>
                <a:cubicBezTo>
                  <a:pt x="2061" y="1215"/>
                  <a:pt x="2061" y="1215"/>
                  <a:pt x="2061" y="1215"/>
                </a:cubicBezTo>
                <a:cubicBezTo>
                  <a:pt x="2060" y="1219"/>
                  <a:pt x="2056" y="1222"/>
                  <a:pt x="2052" y="1222"/>
                </a:cubicBezTo>
                <a:close/>
                <a:moveTo>
                  <a:pt x="8" y="1064"/>
                </a:moveTo>
                <a:cubicBezTo>
                  <a:pt x="8" y="1064"/>
                  <a:pt x="8" y="1064"/>
                  <a:pt x="8" y="1064"/>
                </a:cubicBezTo>
                <a:cubicBezTo>
                  <a:pt x="3" y="1064"/>
                  <a:pt x="0" y="1060"/>
                  <a:pt x="0" y="1055"/>
                </a:cubicBezTo>
                <a:cubicBezTo>
                  <a:pt x="0" y="1053"/>
                  <a:pt x="0" y="1051"/>
                  <a:pt x="2" y="1049"/>
                </a:cubicBezTo>
                <a:cubicBezTo>
                  <a:pt x="4" y="1048"/>
                  <a:pt x="6" y="1047"/>
                  <a:pt x="8" y="1047"/>
                </a:cubicBezTo>
                <a:cubicBezTo>
                  <a:pt x="8" y="1047"/>
                  <a:pt x="8" y="1047"/>
                  <a:pt x="8" y="1047"/>
                </a:cubicBezTo>
                <a:cubicBezTo>
                  <a:pt x="13" y="1047"/>
                  <a:pt x="16" y="1050"/>
                  <a:pt x="17" y="1055"/>
                </a:cubicBezTo>
                <a:cubicBezTo>
                  <a:pt x="17" y="1060"/>
                  <a:pt x="13" y="1063"/>
                  <a:pt x="8" y="1064"/>
                </a:cubicBezTo>
                <a:close/>
                <a:moveTo>
                  <a:pt x="8" y="1035"/>
                </a:moveTo>
                <a:cubicBezTo>
                  <a:pt x="8" y="1035"/>
                  <a:pt x="8" y="1035"/>
                  <a:pt x="8" y="1035"/>
                </a:cubicBezTo>
                <a:cubicBezTo>
                  <a:pt x="6" y="1035"/>
                  <a:pt x="4" y="1034"/>
                  <a:pt x="2" y="1033"/>
                </a:cubicBezTo>
                <a:cubicBezTo>
                  <a:pt x="0" y="1031"/>
                  <a:pt x="0" y="1029"/>
                  <a:pt x="0" y="1027"/>
                </a:cubicBezTo>
                <a:cubicBezTo>
                  <a:pt x="0" y="995"/>
                  <a:pt x="2" y="962"/>
                  <a:pt x="5" y="930"/>
                </a:cubicBezTo>
                <a:cubicBezTo>
                  <a:pt x="9" y="892"/>
                  <a:pt x="15" y="855"/>
                  <a:pt x="23" y="818"/>
                </a:cubicBezTo>
                <a:cubicBezTo>
                  <a:pt x="23" y="817"/>
                  <a:pt x="23" y="817"/>
                  <a:pt x="23" y="817"/>
                </a:cubicBezTo>
                <a:cubicBezTo>
                  <a:pt x="24" y="813"/>
                  <a:pt x="29" y="810"/>
                  <a:pt x="34" y="811"/>
                </a:cubicBezTo>
                <a:cubicBezTo>
                  <a:pt x="36" y="811"/>
                  <a:pt x="38" y="813"/>
                  <a:pt x="39" y="815"/>
                </a:cubicBezTo>
                <a:cubicBezTo>
                  <a:pt x="40" y="817"/>
                  <a:pt x="40" y="819"/>
                  <a:pt x="40" y="821"/>
                </a:cubicBezTo>
                <a:cubicBezTo>
                  <a:pt x="32" y="857"/>
                  <a:pt x="26" y="895"/>
                  <a:pt x="22" y="932"/>
                </a:cubicBezTo>
                <a:cubicBezTo>
                  <a:pt x="19" y="963"/>
                  <a:pt x="17" y="995"/>
                  <a:pt x="17" y="1027"/>
                </a:cubicBezTo>
                <a:cubicBezTo>
                  <a:pt x="16" y="1032"/>
                  <a:pt x="13" y="1035"/>
                  <a:pt x="8" y="1035"/>
                </a:cubicBezTo>
                <a:close/>
                <a:moveTo>
                  <a:pt x="2066" y="986"/>
                </a:moveTo>
                <a:cubicBezTo>
                  <a:pt x="2061" y="986"/>
                  <a:pt x="2057" y="982"/>
                  <a:pt x="2057" y="978"/>
                </a:cubicBezTo>
                <a:cubicBezTo>
                  <a:pt x="2057" y="975"/>
                  <a:pt x="2058" y="973"/>
                  <a:pt x="2059" y="972"/>
                </a:cubicBezTo>
                <a:cubicBezTo>
                  <a:pt x="2061" y="970"/>
                  <a:pt x="2063" y="969"/>
                  <a:pt x="2065" y="969"/>
                </a:cubicBezTo>
                <a:cubicBezTo>
                  <a:pt x="2070" y="968"/>
                  <a:pt x="2074" y="972"/>
                  <a:pt x="2074" y="976"/>
                </a:cubicBezTo>
                <a:cubicBezTo>
                  <a:pt x="2074" y="977"/>
                  <a:pt x="2074" y="977"/>
                  <a:pt x="2074" y="977"/>
                </a:cubicBezTo>
                <a:cubicBezTo>
                  <a:pt x="2074" y="981"/>
                  <a:pt x="2071" y="985"/>
                  <a:pt x="2066" y="986"/>
                </a:cubicBezTo>
                <a:cubicBezTo>
                  <a:pt x="2066" y="986"/>
                  <a:pt x="2066" y="986"/>
                  <a:pt x="2066" y="986"/>
                </a:cubicBezTo>
                <a:close/>
                <a:moveTo>
                  <a:pt x="2064" y="957"/>
                </a:moveTo>
                <a:cubicBezTo>
                  <a:pt x="2059" y="957"/>
                  <a:pt x="2055" y="954"/>
                  <a:pt x="2055" y="950"/>
                </a:cubicBezTo>
                <a:cubicBezTo>
                  <a:pt x="2052" y="913"/>
                  <a:pt x="2047" y="875"/>
                  <a:pt x="2039" y="839"/>
                </a:cubicBezTo>
                <a:cubicBezTo>
                  <a:pt x="2033" y="808"/>
                  <a:pt x="2025" y="777"/>
                  <a:pt x="2016" y="746"/>
                </a:cubicBezTo>
                <a:cubicBezTo>
                  <a:pt x="2016" y="744"/>
                  <a:pt x="2016" y="742"/>
                  <a:pt x="2017" y="740"/>
                </a:cubicBezTo>
                <a:cubicBezTo>
                  <a:pt x="2018" y="738"/>
                  <a:pt x="2020" y="736"/>
                  <a:pt x="2022" y="736"/>
                </a:cubicBezTo>
                <a:cubicBezTo>
                  <a:pt x="2026" y="734"/>
                  <a:pt x="2031" y="737"/>
                  <a:pt x="2032" y="741"/>
                </a:cubicBezTo>
                <a:cubicBezTo>
                  <a:pt x="2042" y="772"/>
                  <a:pt x="2050" y="804"/>
                  <a:pt x="2056" y="835"/>
                </a:cubicBezTo>
                <a:cubicBezTo>
                  <a:pt x="2063" y="873"/>
                  <a:pt x="2069" y="911"/>
                  <a:pt x="2072" y="948"/>
                </a:cubicBezTo>
                <a:cubicBezTo>
                  <a:pt x="2072" y="953"/>
                  <a:pt x="2069" y="957"/>
                  <a:pt x="2064" y="957"/>
                </a:cubicBezTo>
                <a:cubicBezTo>
                  <a:pt x="2064" y="957"/>
                  <a:pt x="2064" y="957"/>
                  <a:pt x="2064" y="957"/>
                </a:cubicBezTo>
                <a:close/>
                <a:moveTo>
                  <a:pt x="38" y="800"/>
                </a:moveTo>
                <a:cubicBezTo>
                  <a:pt x="37" y="800"/>
                  <a:pt x="37" y="800"/>
                  <a:pt x="36" y="800"/>
                </a:cubicBezTo>
                <a:cubicBezTo>
                  <a:pt x="32" y="799"/>
                  <a:pt x="29" y="794"/>
                  <a:pt x="30" y="790"/>
                </a:cubicBezTo>
                <a:cubicBezTo>
                  <a:pt x="30" y="788"/>
                  <a:pt x="30" y="788"/>
                  <a:pt x="30" y="788"/>
                </a:cubicBezTo>
                <a:cubicBezTo>
                  <a:pt x="30" y="788"/>
                  <a:pt x="30" y="788"/>
                  <a:pt x="30" y="788"/>
                </a:cubicBezTo>
                <a:cubicBezTo>
                  <a:pt x="32" y="785"/>
                  <a:pt x="36" y="782"/>
                  <a:pt x="40" y="783"/>
                </a:cubicBezTo>
                <a:cubicBezTo>
                  <a:pt x="42" y="784"/>
                  <a:pt x="44" y="785"/>
                  <a:pt x="45" y="787"/>
                </a:cubicBezTo>
                <a:cubicBezTo>
                  <a:pt x="47" y="789"/>
                  <a:pt x="47" y="791"/>
                  <a:pt x="46" y="794"/>
                </a:cubicBezTo>
                <a:cubicBezTo>
                  <a:pt x="45" y="797"/>
                  <a:pt x="42" y="800"/>
                  <a:pt x="38" y="800"/>
                </a:cubicBezTo>
                <a:close/>
                <a:moveTo>
                  <a:pt x="45" y="773"/>
                </a:moveTo>
                <a:cubicBezTo>
                  <a:pt x="45" y="773"/>
                  <a:pt x="44" y="773"/>
                  <a:pt x="43" y="772"/>
                </a:cubicBezTo>
                <a:cubicBezTo>
                  <a:pt x="41" y="772"/>
                  <a:pt x="39" y="770"/>
                  <a:pt x="38" y="768"/>
                </a:cubicBezTo>
                <a:cubicBezTo>
                  <a:pt x="37" y="766"/>
                  <a:pt x="36" y="764"/>
                  <a:pt x="37" y="762"/>
                </a:cubicBezTo>
                <a:cubicBezTo>
                  <a:pt x="46" y="731"/>
                  <a:pt x="56" y="700"/>
                  <a:pt x="67" y="670"/>
                </a:cubicBezTo>
                <a:cubicBezTo>
                  <a:pt x="67" y="670"/>
                  <a:pt x="67" y="670"/>
                  <a:pt x="67" y="670"/>
                </a:cubicBezTo>
                <a:cubicBezTo>
                  <a:pt x="67" y="670"/>
                  <a:pt x="67" y="670"/>
                  <a:pt x="67" y="670"/>
                </a:cubicBezTo>
                <a:cubicBezTo>
                  <a:pt x="68" y="669"/>
                  <a:pt x="68" y="669"/>
                  <a:pt x="68" y="669"/>
                </a:cubicBezTo>
                <a:cubicBezTo>
                  <a:pt x="68" y="668"/>
                  <a:pt x="68" y="667"/>
                  <a:pt x="69" y="666"/>
                </a:cubicBezTo>
                <a:cubicBezTo>
                  <a:pt x="82" y="632"/>
                  <a:pt x="97" y="598"/>
                  <a:pt x="113" y="566"/>
                </a:cubicBezTo>
                <a:cubicBezTo>
                  <a:pt x="115" y="562"/>
                  <a:pt x="121" y="560"/>
                  <a:pt x="125" y="562"/>
                </a:cubicBezTo>
                <a:cubicBezTo>
                  <a:pt x="129" y="564"/>
                  <a:pt x="131" y="569"/>
                  <a:pt x="129" y="573"/>
                </a:cubicBezTo>
                <a:cubicBezTo>
                  <a:pt x="112" y="605"/>
                  <a:pt x="97" y="638"/>
                  <a:pt x="85" y="672"/>
                </a:cubicBezTo>
                <a:cubicBezTo>
                  <a:pt x="84" y="672"/>
                  <a:pt x="84" y="673"/>
                  <a:pt x="84" y="674"/>
                </a:cubicBezTo>
                <a:cubicBezTo>
                  <a:pt x="84" y="675"/>
                  <a:pt x="83" y="675"/>
                  <a:pt x="83" y="676"/>
                </a:cubicBezTo>
                <a:cubicBezTo>
                  <a:pt x="72" y="706"/>
                  <a:pt x="62" y="736"/>
                  <a:pt x="53" y="767"/>
                </a:cubicBezTo>
                <a:cubicBezTo>
                  <a:pt x="52" y="770"/>
                  <a:pt x="49" y="773"/>
                  <a:pt x="45" y="773"/>
                </a:cubicBezTo>
                <a:close/>
                <a:moveTo>
                  <a:pt x="2016" y="725"/>
                </a:moveTo>
                <a:cubicBezTo>
                  <a:pt x="2012" y="725"/>
                  <a:pt x="2009" y="723"/>
                  <a:pt x="2008" y="719"/>
                </a:cubicBezTo>
                <a:cubicBezTo>
                  <a:pt x="2007" y="717"/>
                  <a:pt x="2007" y="715"/>
                  <a:pt x="2008" y="713"/>
                </a:cubicBezTo>
                <a:cubicBezTo>
                  <a:pt x="2009" y="711"/>
                  <a:pt x="2011" y="709"/>
                  <a:pt x="2013" y="709"/>
                </a:cubicBezTo>
                <a:cubicBezTo>
                  <a:pt x="2018" y="707"/>
                  <a:pt x="2023" y="710"/>
                  <a:pt x="2024" y="714"/>
                </a:cubicBezTo>
                <a:cubicBezTo>
                  <a:pt x="2025" y="719"/>
                  <a:pt x="2023" y="723"/>
                  <a:pt x="2019" y="725"/>
                </a:cubicBezTo>
                <a:cubicBezTo>
                  <a:pt x="2018" y="725"/>
                  <a:pt x="2017" y="725"/>
                  <a:pt x="2016" y="725"/>
                </a:cubicBezTo>
                <a:close/>
                <a:moveTo>
                  <a:pt x="2007" y="698"/>
                </a:moveTo>
                <a:cubicBezTo>
                  <a:pt x="2003" y="698"/>
                  <a:pt x="2000" y="696"/>
                  <a:pt x="1999" y="693"/>
                </a:cubicBezTo>
                <a:cubicBezTo>
                  <a:pt x="1986" y="659"/>
                  <a:pt x="1972" y="625"/>
                  <a:pt x="1956" y="592"/>
                </a:cubicBezTo>
                <a:cubicBezTo>
                  <a:pt x="1956" y="591"/>
                  <a:pt x="1956" y="591"/>
                  <a:pt x="1956" y="591"/>
                </a:cubicBezTo>
                <a:cubicBezTo>
                  <a:pt x="1956" y="591"/>
                  <a:pt x="1955" y="590"/>
                  <a:pt x="1955" y="590"/>
                </a:cubicBezTo>
                <a:cubicBezTo>
                  <a:pt x="1941" y="561"/>
                  <a:pt x="1926" y="533"/>
                  <a:pt x="1909" y="506"/>
                </a:cubicBezTo>
                <a:cubicBezTo>
                  <a:pt x="1907" y="502"/>
                  <a:pt x="1908" y="497"/>
                  <a:pt x="1912" y="494"/>
                </a:cubicBezTo>
                <a:cubicBezTo>
                  <a:pt x="1916" y="492"/>
                  <a:pt x="1921" y="493"/>
                  <a:pt x="1924" y="497"/>
                </a:cubicBezTo>
                <a:cubicBezTo>
                  <a:pt x="1940" y="525"/>
                  <a:pt x="1956" y="553"/>
                  <a:pt x="1970" y="582"/>
                </a:cubicBezTo>
                <a:cubicBezTo>
                  <a:pt x="1970" y="582"/>
                  <a:pt x="1971" y="583"/>
                  <a:pt x="1971" y="583"/>
                </a:cubicBezTo>
                <a:cubicBezTo>
                  <a:pt x="1971" y="584"/>
                  <a:pt x="1971" y="584"/>
                  <a:pt x="1971" y="584"/>
                </a:cubicBezTo>
                <a:cubicBezTo>
                  <a:pt x="1988" y="618"/>
                  <a:pt x="2002" y="652"/>
                  <a:pt x="2015" y="687"/>
                </a:cubicBezTo>
                <a:cubicBezTo>
                  <a:pt x="2015" y="687"/>
                  <a:pt x="2015" y="687"/>
                  <a:pt x="2015" y="687"/>
                </a:cubicBezTo>
                <a:cubicBezTo>
                  <a:pt x="2015" y="689"/>
                  <a:pt x="2015" y="692"/>
                  <a:pt x="2014" y="694"/>
                </a:cubicBezTo>
                <a:cubicBezTo>
                  <a:pt x="2013" y="696"/>
                  <a:pt x="2012" y="697"/>
                  <a:pt x="2010" y="698"/>
                </a:cubicBezTo>
                <a:cubicBezTo>
                  <a:pt x="2009" y="698"/>
                  <a:pt x="2008" y="698"/>
                  <a:pt x="2007" y="698"/>
                </a:cubicBezTo>
                <a:close/>
                <a:moveTo>
                  <a:pt x="134" y="553"/>
                </a:moveTo>
                <a:cubicBezTo>
                  <a:pt x="133" y="553"/>
                  <a:pt x="131" y="553"/>
                  <a:pt x="130" y="552"/>
                </a:cubicBezTo>
                <a:cubicBezTo>
                  <a:pt x="128" y="551"/>
                  <a:pt x="127" y="549"/>
                  <a:pt x="126" y="547"/>
                </a:cubicBezTo>
                <a:cubicBezTo>
                  <a:pt x="125" y="545"/>
                  <a:pt x="126" y="542"/>
                  <a:pt x="127" y="540"/>
                </a:cubicBezTo>
                <a:cubicBezTo>
                  <a:pt x="129" y="536"/>
                  <a:pt x="134" y="535"/>
                  <a:pt x="138" y="537"/>
                </a:cubicBezTo>
                <a:cubicBezTo>
                  <a:pt x="142" y="539"/>
                  <a:pt x="144" y="544"/>
                  <a:pt x="142" y="549"/>
                </a:cubicBezTo>
                <a:cubicBezTo>
                  <a:pt x="140" y="551"/>
                  <a:pt x="137" y="553"/>
                  <a:pt x="134" y="553"/>
                </a:cubicBezTo>
                <a:close/>
                <a:moveTo>
                  <a:pt x="148" y="528"/>
                </a:moveTo>
                <a:cubicBezTo>
                  <a:pt x="147" y="528"/>
                  <a:pt x="145" y="528"/>
                  <a:pt x="144" y="527"/>
                </a:cubicBezTo>
                <a:cubicBezTo>
                  <a:pt x="140" y="525"/>
                  <a:pt x="138" y="520"/>
                  <a:pt x="141" y="516"/>
                </a:cubicBezTo>
                <a:cubicBezTo>
                  <a:pt x="157" y="488"/>
                  <a:pt x="175" y="460"/>
                  <a:pt x="193" y="434"/>
                </a:cubicBezTo>
                <a:cubicBezTo>
                  <a:pt x="215" y="403"/>
                  <a:pt x="239" y="373"/>
                  <a:pt x="265" y="345"/>
                </a:cubicBezTo>
                <a:cubicBezTo>
                  <a:pt x="268" y="342"/>
                  <a:pt x="273" y="342"/>
                  <a:pt x="277" y="345"/>
                </a:cubicBezTo>
                <a:cubicBezTo>
                  <a:pt x="280" y="348"/>
                  <a:pt x="280" y="353"/>
                  <a:pt x="277" y="357"/>
                </a:cubicBezTo>
                <a:cubicBezTo>
                  <a:pt x="252" y="384"/>
                  <a:pt x="229" y="414"/>
                  <a:pt x="207" y="444"/>
                </a:cubicBezTo>
                <a:cubicBezTo>
                  <a:pt x="189" y="470"/>
                  <a:pt x="171" y="497"/>
                  <a:pt x="155" y="524"/>
                </a:cubicBezTo>
                <a:cubicBezTo>
                  <a:pt x="154" y="527"/>
                  <a:pt x="151" y="528"/>
                  <a:pt x="148" y="528"/>
                </a:cubicBezTo>
                <a:close/>
                <a:moveTo>
                  <a:pt x="1901" y="486"/>
                </a:moveTo>
                <a:cubicBezTo>
                  <a:pt x="1899" y="486"/>
                  <a:pt x="1896" y="485"/>
                  <a:pt x="1895" y="483"/>
                </a:cubicBezTo>
                <a:cubicBezTo>
                  <a:pt x="1895" y="483"/>
                  <a:pt x="1895" y="483"/>
                  <a:pt x="1895" y="483"/>
                </a:cubicBezTo>
                <a:cubicBezTo>
                  <a:pt x="1894" y="482"/>
                  <a:pt x="1894" y="482"/>
                  <a:pt x="1894" y="482"/>
                </a:cubicBezTo>
                <a:cubicBezTo>
                  <a:pt x="1892" y="478"/>
                  <a:pt x="1893" y="473"/>
                  <a:pt x="1897" y="470"/>
                </a:cubicBezTo>
                <a:cubicBezTo>
                  <a:pt x="1901" y="468"/>
                  <a:pt x="1906" y="469"/>
                  <a:pt x="1908" y="473"/>
                </a:cubicBezTo>
                <a:cubicBezTo>
                  <a:pt x="1911" y="477"/>
                  <a:pt x="1910" y="482"/>
                  <a:pt x="1906" y="485"/>
                </a:cubicBezTo>
                <a:cubicBezTo>
                  <a:pt x="1905" y="486"/>
                  <a:pt x="1903" y="486"/>
                  <a:pt x="1901" y="486"/>
                </a:cubicBezTo>
                <a:close/>
                <a:moveTo>
                  <a:pt x="1886" y="463"/>
                </a:moveTo>
                <a:cubicBezTo>
                  <a:pt x="1883" y="463"/>
                  <a:pt x="1880" y="461"/>
                  <a:pt x="1879" y="459"/>
                </a:cubicBezTo>
                <a:cubicBezTo>
                  <a:pt x="1857" y="428"/>
                  <a:pt x="1834" y="398"/>
                  <a:pt x="1810" y="370"/>
                </a:cubicBezTo>
                <a:cubicBezTo>
                  <a:pt x="1789" y="346"/>
                  <a:pt x="1767" y="323"/>
                  <a:pt x="1744" y="301"/>
                </a:cubicBezTo>
                <a:cubicBezTo>
                  <a:pt x="1743" y="299"/>
                  <a:pt x="1742" y="297"/>
                  <a:pt x="1742" y="295"/>
                </a:cubicBezTo>
                <a:cubicBezTo>
                  <a:pt x="1742" y="293"/>
                  <a:pt x="1743" y="291"/>
                  <a:pt x="1744" y="289"/>
                </a:cubicBezTo>
                <a:cubicBezTo>
                  <a:pt x="1747" y="286"/>
                  <a:pt x="1753" y="286"/>
                  <a:pt x="1756" y="289"/>
                </a:cubicBezTo>
                <a:cubicBezTo>
                  <a:pt x="1779" y="311"/>
                  <a:pt x="1802" y="335"/>
                  <a:pt x="1823" y="359"/>
                </a:cubicBezTo>
                <a:cubicBezTo>
                  <a:pt x="1848" y="388"/>
                  <a:pt x="1871" y="418"/>
                  <a:pt x="1893" y="449"/>
                </a:cubicBezTo>
                <a:cubicBezTo>
                  <a:pt x="1895" y="453"/>
                  <a:pt x="1894" y="458"/>
                  <a:pt x="1890" y="461"/>
                </a:cubicBezTo>
                <a:cubicBezTo>
                  <a:pt x="1889" y="462"/>
                  <a:pt x="1887" y="463"/>
                  <a:pt x="1886" y="463"/>
                </a:cubicBezTo>
                <a:close/>
                <a:moveTo>
                  <a:pt x="290" y="339"/>
                </a:moveTo>
                <a:cubicBezTo>
                  <a:pt x="288" y="339"/>
                  <a:pt x="286" y="338"/>
                  <a:pt x="284" y="336"/>
                </a:cubicBezTo>
                <a:cubicBezTo>
                  <a:pt x="281" y="333"/>
                  <a:pt x="281" y="328"/>
                  <a:pt x="284" y="324"/>
                </a:cubicBezTo>
                <a:cubicBezTo>
                  <a:pt x="287" y="321"/>
                  <a:pt x="293" y="321"/>
                  <a:pt x="296" y="324"/>
                </a:cubicBezTo>
                <a:cubicBezTo>
                  <a:pt x="298" y="325"/>
                  <a:pt x="298" y="328"/>
                  <a:pt x="299" y="330"/>
                </a:cubicBezTo>
                <a:cubicBezTo>
                  <a:pt x="299" y="332"/>
                  <a:pt x="298" y="334"/>
                  <a:pt x="296" y="336"/>
                </a:cubicBezTo>
                <a:cubicBezTo>
                  <a:pt x="295" y="338"/>
                  <a:pt x="292" y="339"/>
                  <a:pt x="290" y="339"/>
                </a:cubicBezTo>
                <a:close/>
                <a:moveTo>
                  <a:pt x="310" y="318"/>
                </a:moveTo>
                <a:cubicBezTo>
                  <a:pt x="308" y="318"/>
                  <a:pt x="305" y="317"/>
                  <a:pt x="304" y="316"/>
                </a:cubicBezTo>
                <a:cubicBezTo>
                  <a:pt x="300" y="312"/>
                  <a:pt x="300" y="307"/>
                  <a:pt x="304" y="304"/>
                </a:cubicBezTo>
                <a:cubicBezTo>
                  <a:pt x="327" y="281"/>
                  <a:pt x="351" y="259"/>
                  <a:pt x="376" y="239"/>
                </a:cubicBezTo>
                <a:cubicBezTo>
                  <a:pt x="405" y="215"/>
                  <a:pt x="436" y="192"/>
                  <a:pt x="467" y="171"/>
                </a:cubicBezTo>
                <a:cubicBezTo>
                  <a:pt x="468" y="171"/>
                  <a:pt x="468" y="171"/>
                  <a:pt x="468" y="171"/>
                </a:cubicBezTo>
                <a:cubicBezTo>
                  <a:pt x="468" y="171"/>
                  <a:pt x="468" y="171"/>
                  <a:pt x="468" y="171"/>
                </a:cubicBezTo>
                <a:cubicBezTo>
                  <a:pt x="471" y="168"/>
                  <a:pt x="477" y="170"/>
                  <a:pt x="479" y="173"/>
                </a:cubicBezTo>
                <a:cubicBezTo>
                  <a:pt x="482" y="177"/>
                  <a:pt x="481" y="183"/>
                  <a:pt x="477" y="185"/>
                </a:cubicBezTo>
                <a:cubicBezTo>
                  <a:pt x="445" y="206"/>
                  <a:pt x="415" y="228"/>
                  <a:pt x="386" y="252"/>
                </a:cubicBezTo>
                <a:cubicBezTo>
                  <a:pt x="362" y="272"/>
                  <a:pt x="338" y="293"/>
                  <a:pt x="316" y="316"/>
                </a:cubicBezTo>
                <a:cubicBezTo>
                  <a:pt x="314" y="317"/>
                  <a:pt x="312" y="318"/>
                  <a:pt x="310" y="318"/>
                </a:cubicBezTo>
                <a:close/>
                <a:moveTo>
                  <a:pt x="1730" y="284"/>
                </a:moveTo>
                <a:cubicBezTo>
                  <a:pt x="1728" y="284"/>
                  <a:pt x="1725" y="283"/>
                  <a:pt x="1724" y="282"/>
                </a:cubicBezTo>
                <a:cubicBezTo>
                  <a:pt x="1722" y="280"/>
                  <a:pt x="1721" y="278"/>
                  <a:pt x="1721" y="276"/>
                </a:cubicBezTo>
                <a:cubicBezTo>
                  <a:pt x="1721" y="274"/>
                  <a:pt x="1722" y="272"/>
                  <a:pt x="1723" y="270"/>
                </a:cubicBezTo>
                <a:cubicBezTo>
                  <a:pt x="1726" y="267"/>
                  <a:pt x="1732" y="266"/>
                  <a:pt x="1735" y="269"/>
                </a:cubicBezTo>
                <a:cubicBezTo>
                  <a:pt x="1737" y="271"/>
                  <a:pt x="1738" y="273"/>
                  <a:pt x="1738" y="275"/>
                </a:cubicBezTo>
                <a:cubicBezTo>
                  <a:pt x="1738" y="277"/>
                  <a:pt x="1737" y="280"/>
                  <a:pt x="1736" y="281"/>
                </a:cubicBezTo>
                <a:cubicBezTo>
                  <a:pt x="1734" y="283"/>
                  <a:pt x="1732" y="284"/>
                  <a:pt x="1730" y="284"/>
                </a:cubicBezTo>
                <a:close/>
                <a:moveTo>
                  <a:pt x="1708" y="265"/>
                </a:moveTo>
                <a:cubicBezTo>
                  <a:pt x="1706" y="265"/>
                  <a:pt x="1704" y="265"/>
                  <a:pt x="1703" y="263"/>
                </a:cubicBezTo>
                <a:cubicBezTo>
                  <a:pt x="1675" y="239"/>
                  <a:pt x="1645" y="216"/>
                  <a:pt x="1614" y="195"/>
                </a:cubicBezTo>
                <a:cubicBezTo>
                  <a:pt x="1614" y="195"/>
                  <a:pt x="1614" y="195"/>
                  <a:pt x="1614" y="195"/>
                </a:cubicBezTo>
                <a:cubicBezTo>
                  <a:pt x="1614" y="195"/>
                  <a:pt x="1614" y="195"/>
                  <a:pt x="1614" y="195"/>
                </a:cubicBezTo>
                <a:cubicBezTo>
                  <a:pt x="1588" y="177"/>
                  <a:pt x="1560" y="160"/>
                  <a:pt x="1533" y="145"/>
                </a:cubicBezTo>
                <a:cubicBezTo>
                  <a:pt x="1529" y="143"/>
                  <a:pt x="1527" y="138"/>
                  <a:pt x="1529" y="134"/>
                </a:cubicBezTo>
                <a:cubicBezTo>
                  <a:pt x="1532" y="130"/>
                  <a:pt x="1537" y="128"/>
                  <a:pt x="1541" y="130"/>
                </a:cubicBezTo>
                <a:cubicBezTo>
                  <a:pt x="1569" y="146"/>
                  <a:pt x="1597" y="163"/>
                  <a:pt x="1623" y="181"/>
                </a:cubicBezTo>
                <a:cubicBezTo>
                  <a:pt x="1655" y="202"/>
                  <a:pt x="1685" y="226"/>
                  <a:pt x="1714" y="250"/>
                </a:cubicBezTo>
                <a:cubicBezTo>
                  <a:pt x="1716" y="252"/>
                  <a:pt x="1717" y="254"/>
                  <a:pt x="1717" y="256"/>
                </a:cubicBezTo>
                <a:cubicBezTo>
                  <a:pt x="1717" y="259"/>
                  <a:pt x="1716" y="261"/>
                  <a:pt x="1715" y="262"/>
                </a:cubicBezTo>
                <a:cubicBezTo>
                  <a:pt x="1713" y="264"/>
                  <a:pt x="1711" y="265"/>
                  <a:pt x="1708" y="265"/>
                </a:cubicBezTo>
                <a:close/>
                <a:moveTo>
                  <a:pt x="496" y="171"/>
                </a:moveTo>
                <a:cubicBezTo>
                  <a:pt x="493" y="171"/>
                  <a:pt x="490" y="170"/>
                  <a:pt x="489" y="167"/>
                </a:cubicBezTo>
                <a:cubicBezTo>
                  <a:pt x="487" y="165"/>
                  <a:pt x="487" y="163"/>
                  <a:pt x="488" y="161"/>
                </a:cubicBezTo>
                <a:cubicBezTo>
                  <a:pt x="488" y="159"/>
                  <a:pt x="489" y="157"/>
                  <a:pt x="491" y="156"/>
                </a:cubicBezTo>
                <a:cubicBezTo>
                  <a:pt x="495" y="153"/>
                  <a:pt x="501" y="155"/>
                  <a:pt x="503" y="158"/>
                </a:cubicBezTo>
                <a:cubicBezTo>
                  <a:pt x="504" y="160"/>
                  <a:pt x="505" y="163"/>
                  <a:pt x="504" y="165"/>
                </a:cubicBezTo>
                <a:cubicBezTo>
                  <a:pt x="504" y="167"/>
                  <a:pt x="502" y="169"/>
                  <a:pt x="500" y="170"/>
                </a:cubicBezTo>
                <a:cubicBezTo>
                  <a:pt x="499" y="171"/>
                  <a:pt x="497" y="171"/>
                  <a:pt x="496" y="171"/>
                </a:cubicBezTo>
                <a:close/>
                <a:moveTo>
                  <a:pt x="520" y="157"/>
                </a:moveTo>
                <a:cubicBezTo>
                  <a:pt x="517" y="157"/>
                  <a:pt x="514" y="155"/>
                  <a:pt x="513" y="153"/>
                </a:cubicBezTo>
                <a:cubicBezTo>
                  <a:pt x="512" y="151"/>
                  <a:pt x="511" y="148"/>
                  <a:pt x="512" y="146"/>
                </a:cubicBezTo>
                <a:cubicBezTo>
                  <a:pt x="512" y="144"/>
                  <a:pt x="514" y="142"/>
                  <a:pt x="516" y="141"/>
                </a:cubicBezTo>
                <a:cubicBezTo>
                  <a:pt x="544" y="125"/>
                  <a:pt x="573" y="110"/>
                  <a:pt x="602" y="96"/>
                </a:cubicBezTo>
                <a:cubicBezTo>
                  <a:pt x="602" y="96"/>
                  <a:pt x="603" y="96"/>
                  <a:pt x="604" y="95"/>
                </a:cubicBezTo>
                <a:cubicBezTo>
                  <a:pt x="605" y="95"/>
                  <a:pt x="605" y="95"/>
                  <a:pt x="605" y="95"/>
                </a:cubicBezTo>
                <a:cubicBezTo>
                  <a:pt x="638" y="79"/>
                  <a:pt x="673" y="66"/>
                  <a:pt x="708" y="54"/>
                </a:cubicBezTo>
                <a:cubicBezTo>
                  <a:pt x="712" y="53"/>
                  <a:pt x="717" y="55"/>
                  <a:pt x="718" y="59"/>
                </a:cubicBezTo>
                <a:cubicBezTo>
                  <a:pt x="720" y="64"/>
                  <a:pt x="718" y="69"/>
                  <a:pt x="713" y="70"/>
                </a:cubicBezTo>
                <a:cubicBezTo>
                  <a:pt x="679" y="82"/>
                  <a:pt x="645" y="95"/>
                  <a:pt x="612" y="110"/>
                </a:cubicBezTo>
                <a:cubicBezTo>
                  <a:pt x="611" y="110"/>
                  <a:pt x="611" y="111"/>
                  <a:pt x="610" y="111"/>
                </a:cubicBezTo>
                <a:cubicBezTo>
                  <a:pt x="609" y="112"/>
                  <a:pt x="609" y="112"/>
                  <a:pt x="609" y="112"/>
                </a:cubicBezTo>
                <a:cubicBezTo>
                  <a:pt x="609" y="112"/>
                  <a:pt x="609" y="112"/>
                  <a:pt x="609" y="112"/>
                </a:cubicBezTo>
                <a:cubicBezTo>
                  <a:pt x="609" y="112"/>
                  <a:pt x="609" y="112"/>
                  <a:pt x="609" y="112"/>
                </a:cubicBezTo>
                <a:cubicBezTo>
                  <a:pt x="580" y="125"/>
                  <a:pt x="552" y="140"/>
                  <a:pt x="524" y="156"/>
                </a:cubicBezTo>
                <a:cubicBezTo>
                  <a:pt x="523" y="156"/>
                  <a:pt x="522" y="157"/>
                  <a:pt x="520" y="157"/>
                </a:cubicBezTo>
                <a:close/>
                <a:moveTo>
                  <a:pt x="1512" y="133"/>
                </a:moveTo>
                <a:cubicBezTo>
                  <a:pt x="1511" y="133"/>
                  <a:pt x="1509" y="133"/>
                  <a:pt x="1508" y="132"/>
                </a:cubicBezTo>
                <a:cubicBezTo>
                  <a:pt x="1506" y="131"/>
                  <a:pt x="1504" y="129"/>
                  <a:pt x="1504" y="127"/>
                </a:cubicBezTo>
                <a:cubicBezTo>
                  <a:pt x="1503" y="125"/>
                  <a:pt x="1503" y="122"/>
                  <a:pt x="1504" y="120"/>
                </a:cubicBezTo>
                <a:cubicBezTo>
                  <a:pt x="1506" y="116"/>
                  <a:pt x="1512" y="115"/>
                  <a:pt x="1516" y="117"/>
                </a:cubicBezTo>
                <a:cubicBezTo>
                  <a:pt x="1520" y="119"/>
                  <a:pt x="1522" y="124"/>
                  <a:pt x="1519" y="128"/>
                </a:cubicBezTo>
                <a:cubicBezTo>
                  <a:pt x="1518" y="131"/>
                  <a:pt x="1515" y="133"/>
                  <a:pt x="1512" y="133"/>
                </a:cubicBezTo>
                <a:close/>
                <a:moveTo>
                  <a:pt x="1487" y="120"/>
                </a:moveTo>
                <a:cubicBezTo>
                  <a:pt x="1485" y="120"/>
                  <a:pt x="1484" y="120"/>
                  <a:pt x="1483" y="119"/>
                </a:cubicBezTo>
                <a:cubicBezTo>
                  <a:pt x="1450" y="104"/>
                  <a:pt x="1416" y="89"/>
                  <a:pt x="1382" y="77"/>
                </a:cubicBezTo>
                <a:cubicBezTo>
                  <a:pt x="1381" y="77"/>
                  <a:pt x="1380" y="76"/>
                  <a:pt x="1379" y="76"/>
                </a:cubicBezTo>
                <a:cubicBezTo>
                  <a:pt x="1350" y="65"/>
                  <a:pt x="1319" y="56"/>
                  <a:pt x="1288" y="48"/>
                </a:cubicBezTo>
                <a:cubicBezTo>
                  <a:pt x="1284" y="47"/>
                  <a:pt x="1281" y="43"/>
                  <a:pt x="1282" y="38"/>
                </a:cubicBezTo>
                <a:cubicBezTo>
                  <a:pt x="1283" y="34"/>
                  <a:pt x="1288" y="31"/>
                  <a:pt x="1292" y="32"/>
                </a:cubicBezTo>
                <a:cubicBezTo>
                  <a:pt x="1324" y="40"/>
                  <a:pt x="1355" y="49"/>
                  <a:pt x="1385" y="60"/>
                </a:cubicBezTo>
                <a:cubicBezTo>
                  <a:pt x="1386" y="60"/>
                  <a:pt x="1386" y="61"/>
                  <a:pt x="1387" y="61"/>
                </a:cubicBezTo>
                <a:cubicBezTo>
                  <a:pt x="1388" y="61"/>
                  <a:pt x="1388" y="61"/>
                  <a:pt x="1388" y="61"/>
                </a:cubicBezTo>
                <a:cubicBezTo>
                  <a:pt x="1423" y="74"/>
                  <a:pt x="1457" y="88"/>
                  <a:pt x="1490" y="104"/>
                </a:cubicBezTo>
                <a:cubicBezTo>
                  <a:pt x="1492" y="105"/>
                  <a:pt x="1494" y="107"/>
                  <a:pt x="1495" y="109"/>
                </a:cubicBezTo>
                <a:cubicBezTo>
                  <a:pt x="1495" y="111"/>
                  <a:pt x="1495" y="113"/>
                  <a:pt x="1494" y="115"/>
                </a:cubicBezTo>
                <a:cubicBezTo>
                  <a:pt x="1493" y="118"/>
                  <a:pt x="1490" y="120"/>
                  <a:pt x="1487" y="120"/>
                </a:cubicBezTo>
                <a:close/>
                <a:moveTo>
                  <a:pt x="737" y="62"/>
                </a:moveTo>
                <a:cubicBezTo>
                  <a:pt x="734" y="62"/>
                  <a:pt x="730" y="59"/>
                  <a:pt x="729" y="56"/>
                </a:cubicBezTo>
                <a:cubicBezTo>
                  <a:pt x="728" y="51"/>
                  <a:pt x="730" y="47"/>
                  <a:pt x="735" y="45"/>
                </a:cubicBezTo>
                <a:cubicBezTo>
                  <a:pt x="739" y="44"/>
                  <a:pt x="744" y="47"/>
                  <a:pt x="745" y="51"/>
                </a:cubicBezTo>
                <a:cubicBezTo>
                  <a:pt x="747" y="55"/>
                  <a:pt x="744" y="60"/>
                  <a:pt x="740" y="62"/>
                </a:cubicBezTo>
                <a:cubicBezTo>
                  <a:pt x="739" y="62"/>
                  <a:pt x="738" y="62"/>
                  <a:pt x="737" y="62"/>
                </a:cubicBezTo>
                <a:close/>
                <a:moveTo>
                  <a:pt x="764" y="54"/>
                </a:moveTo>
                <a:cubicBezTo>
                  <a:pt x="761" y="54"/>
                  <a:pt x="757" y="51"/>
                  <a:pt x="756" y="48"/>
                </a:cubicBezTo>
                <a:cubicBezTo>
                  <a:pt x="755" y="43"/>
                  <a:pt x="758" y="39"/>
                  <a:pt x="762" y="37"/>
                </a:cubicBezTo>
                <a:cubicBezTo>
                  <a:pt x="793" y="29"/>
                  <a:pt x="825" y="22"/>
                  <a:pt x="857" y="16"/>
                </a:cubicBezTo>
                <a:cubicBezTo>
                  <a:pt x="894" y="9"/>
                  <a:pt x="932" y="5"/>
                  <a:pt x="970" y="2"/>
                </a:cubicBezTo>
                <a:cubicBezTo>
                  <a:pt x="975" y="2"/>
                  <a:pt x="979" y="5"/>
                  <a:pt x="979" y="10"/>
                </a:cubicBezTo>
                <a:cubicBezTo>
                  <a:pt x="979" y="15"/>
                  <a:pt x="976" y="19"/>
                  <a:pt x="971" y="19"/>
                </a:cubicBezTo>
                <a:cubicBezTo>
                  <a:pt x="934" y="22"/>
                  <a:pt x="897" y="26"/>
                  <a:pt x="860" y="33"/>
                </a:cubicBezTo>
                <a:cubicBezTo>
                  <a:pt x="828" y="38"/>
                  <a:pt x="797" y="45"/>
                  <a:pt x="767" y="54"/>
                </a:cubicBezTo>
                <a:cubicBezTo>
                  <a:pt x="766" y="54"/>
                  <a:pt x="765" y="54"/>
                  <a:pt x="764" y="54"/>
                </a:cubicBezTo>
                <a:close/>
                <a:moveTo>
                  <a:pt x="1263" y="42"/>
                </a:moveTo>
                <a:cubicBezTo>
                  <a:pt x="1262" y="42"/>
                  <a:pt x="1262" y="42"/>
                  <a:pt x="1261" y="42"/>
                </a:cubicBezTo>
                <a:cubicBezTo>
                  <a:pt x="1256" y="41"/>
                  <a:pt x="1253" y="36"/>
                  <a:pt x="1254" y="32"/>
                </a:cubicBezTo>
                <a:cubicBezTo>
                  <a:pt x="1255" y="27"/>
                  <a:pt x="1260" y="24"/>
                  <a:pt x="1265" y="25"/>
                </a:cubicBezTo>
                <a:cubicBezTo>
                  <a:pt x="1267" y="26"/>
                  <a:pt x="1269" y="27"/>
                  <a:pt x="1270" y="29"/>
                </a:cubicBezTo>
                <a:cubicBezTo>
                  <a:pt x="1271" y="31"/>
                  <a:pt x="1272" y="33"/>
                  <a:pt x="1271" y="35"/>
                </a:cubicBezTo>
                <a:cubicBezTo>
                  <a:pt x="1270" y="39"/>
                  <a:pt x="1267" y="42"/>
                  <a:pt x="1263" y="42"/>
                </a:cubicBezTo>
                <a:close/>
                <a:moveTo>
                  <a:pt x="1235" y="36"/>
                </a:moveTo>
                <a:cubicBezTo>
                  <a:pt x="1235" y="36"/>
                  <a:pt x="1234" y="36"/>
                  <a:pt x="1233" y="36"/>
                </a:cubicBezTo>
                <a:cubicBezTo>
                  <a:pt x="1197" y="29"/>
                  <a:pt x="1160" y="24"/>
                  <a:pt x="1123" y="21"/>
                </a:cubicBezTo>
                <a:cubicBezTo>
                  <a:pt x="1123" y="21"/>
                  <a:pt x="1123" y="21"/>
                  <a:pt x="1122" y="21"/>
                </a:cubicBezTo>
                <a:cubicBezTo>
                  <a:pt x="1094" y="18"/>
                  <a:pt x="1065" y="17"/>
                  <a:pt x="1037" y="17"/>
                </a:cubicBezTo>
                <a:cubicBezTo>
                  <a:pt x="1034" y="17"/>
                  <a:pt x="1031" y="17"/>
                  <a:pt x="1027" y="17"/>
                </a:cubicBezTo>
                <a:cubicBezTo>
                  <a:pt x="1027" y="17"/>
                  <a:pt x="1027" y="17"/>
                  <a:pt x="1027" y="17"/>
                </a:cubicBezTo>
                <a:cubicBezTo>
                  <a:pt x="1022" y="17"/>
                  <a:pt x="1019" y="13"/>
                  <a:pt x="1019" y="9"/>
                </a:cubicBezTo>
                <a:cubicBezTo>
                  <a:pt x="1018" y="4"/>
                  <a:pt x="1022" y="0"/>
                  <a:pt x="1027" y="0"/>
                </a:cubicBezTo>
                <a:cubicBezTo>
                  <a:pt x="1031" y="0"/>
                  <a:pt x="1034" y="0"/>
                  <a:pt x="1037" y="0"/>
                </a:cubicBezTo>
                <a:cubicBezTo>
                  <a:pt x="1066" y="0"/>
                  <a:pt x="1095" y="1"/>
                  <a:pt x="1124" y="4"/>
                </a:cubicBezTo>
                <a:cubicBezTo>
                  <a:pt x="1162" y="7"/>
                  <a:pt x="1200" y="12"/>
                  <a:pt x="1237" y="19"/>
                </a:cubicBezTo>
                <a:cubicBezTo>
                  <a:pt x="1241" y="20"/>
                  <a:pt x="1244" y="25"/>
                  <a:pt x="1243" y="29"/>
                </a:cubicBezTo>
                <a:cubicBezTo>
                  <a:pt x="1243" y="33"/>
                  <a:pt x="1239" y="36"/>
                  <a:pt x="1235" y="36"/>
                </a:cubicBezTo>
                <a:close/>
                <a:moveTo>
                  <a:pt x="999" y="18"/>
                </a:moveTo>
                <a:cubicBezTo>
                  <a:pt x="994" y="18"/>
                  <a:pt x="990" y="14"/>
                  <a:pt x="990" y="10"/>
                </a:cubicBezTo>
                <a:cubicBezTo>
                  <a:pt x="990" y="7"/>
                  <a:pt x="991" y="5"/>
                  <a:pt x="993" y="3"/>
                </a:cubicBezTo>
                <a:cubicBezTo>
                  <a:pt x="994" y="2"/>
                  <a:pt x="996" y="1"/>
                  <a:pt x="998" y="1"/>
                </a:cubicBezTo>
                <a:cubicBezTo>
                  <a:pt x="999" y="1"/>
                  <a:pt x="999" y="1"/>
                  <a:pt x="999" y="1"/>
                </a:cubicBezTo>
                <a:cubicBezTo>
                  <a:pt x="1003" y="1"/>
                  <a:pt x="1007" y="4"/>
                  <a:pt x="1007" y="9"/>
                </a:cubicBezTo>
                <a:cubicBezTo>
                  <a:pt x="1007" y="14"/>
                  <a:pt x="1004" y="18"/>
                  <a:pt x="999" y="18"/>
                </a:cubicBezTo>
                <a:cubicBezTo>
                  <a:pt x="999" y="18"/>
                  <a:pt x="999" y="18"/>
                  <a:pt x="999" y="18"/>
                </a:cubicBezTo>
                <a:close/>
              </a:path>
            </a:pathLst>
          </a:custGeom>
          <a:solidFill>
            <a:schemeClr val="accent2"/>
          </a:solidFill>
          <a:ln>
            <a:noFill/>
          </a:ln>
        </p:spPr>
        <p:txBody>
          <a:bodyPr vert="horz" wrap="square" lIns="45714" tIns="22857" rIns="45714" bIns="22857" numCol="1" anchor="t" anchorCtr="0" compatLnSpc="1">
            <a:prstTxWarp prst="textNoShape">
              <a:avLst/>
            </a:prstTxWarp>
          </a:body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US" sz="900" b="0" i="0" u="none" strike="noStrike" kern="1200" cap="none" spc="0" normalizeH="0" baseline="0" noProof="0">
              <a:ln>
                <a:noFill/>
              </a:ln>
              <a:solidFill>
                <a:srgbClr val="343A3F"/>
              </a:solidFill>
              <a:effectLst/>
              <a:uLnTx/>
              <a:uFillTx/>
              <a:latin typeface="Roboto Light"/>
              <a:ea typeface="+mn-ea"/>
              <a:cs typeface="+mn-cs"/>
            </a:endParaRPr>
          </a:p>
        </p:txBody>
      </p:sp>
      <p:sp>
        <p:nvSpPr>
          <p:cNvPr id="7" name="Freeform 6">
            <a:extLst>
              <a:ext uri="{FF2B5EF4-FFF2-40B4-BE49-F238E27FC236}">
                <a16:creationId xmlns:a16="http://schemas.microsoft.com/office/drawing/2014/main" id="{217DABC6-4A28-4EE5-AF3D-A1067C708E92}"/>
              </a:ext>
            </a:extLst>
          </p:cNvPr>
          <p:cNvSpPr>
            <a:spLocks noEditPoints="1"/>
          </p:cNvSpPr>
          <p:nvPr/>
        </p:nvSpPr>
        <p:spPr bwMode="auto">
          <a:xfrm>
            <a:off x="3976975" y="1154425"/>
            <a:ext cx="4238051" cy="4244389"/>
          </a:xfrm>
          <a:custGeom>
            <a:avLst/>
            <a:gdLst>
              <a:gd name="T0" fmla="*/ 991 w 2004"/>
              <a:gd name="T1" fmla="*/ 1989 h 2006"/>
              <a:gd name="T2" fmla="*/ 1003 w 2004"/>
              <a:gd name="T3" fmla="*/ 2006 h 2006"/>
              <a:gd name="T4" fmla="*/ 1354 w 2004"/>
              <a:gd name="T5" fmla="*/ 1924 h 2006"/>
              <a:gd name="T6" fmla="*/ 1037 w 2004"/>
              <a:gd name="T7" fmla="*/ 2005 h 2006"/>
              <a:gd name="T8" fmla="*/ 631 w 2004"/>
              <a:gd name="T9" fmla="*/ 1925 h 2006"/>
              <a:gd name="T10" fmla="*/ 958 w 2004"/>
              <a:gd name="T11" fmla="*/ 2005 h 2006"/>
              <a:gd name="T12" fmla="*/ 1408 w 2004"/>
              <a:gd name="T13" fmla="*/ 1920 h 2006"/>
              <a:gd name="T14" fmla="*/ 584 w 2004"/>
              <a:gd name="T15" fmla="*/ 1905 h 2006"/>
              <a:gd name="T16" fmla="*/ 1422 w 2004"/>
              <a:gd name="T17" fmla="*/ 1904 h 2006"/>
              <a:gd name="T18" fmla="*/ 1704 w 2004"/>
              <a:gd name="T19" fmla="*/ 1707 h 2006"/>
              <a:gd name="T20" fmla="*/ 1430 w 2004"/>
              <a:gd name="T21" fmla="*/ 1909 h 2006"/>
              <a:gd name="T22" fmla="*/ 294 w 2004"/>
              <a:gd name="T23" fmla="*/ 1701 h 2006"/>
              <a:gd name="T24" fmla="*/ 566 w 2004"/>
              <a:gd name="T25" fmla="*/ 1905 h 2006"/>
              <a:gd name="T26" fmla="*/ 1739 w 2004"/>
              <a:gd name="T27" fmla="*/ 1682 h 2006"/>
              <a:gd name="T28" fmla="*/ 259 w 2004"/>
              <a:gd name="T29" fmla="*/ 1664 h 2006"/>
              <a:gd name="T30" fmla="*/ 1746 w 2004"/>
              <a:gd name="T31" fmla="*/ 1662 h 2006"/>
              <a:gd name="T32" fmla="*/ 1926 w 2004"/>
              <a:gd name="T33" fmla="*/ 1369 h 2006"/>
              <a:gd name="T34" fmla="*/ 1752 w 2004"/>
              <a:gd name="T35" fmla="*/ 1664 h 2006"/>
              <a:gd name="T36" fmla="*/ 70 w 2004"/>
              <a:gd name="T37" fmla="*/ 1372 h 2006"/>
              <a:gd name="T38" fmla="*/ 253 w 2004"/>
              <a:gd name="T39" fmla="*/ 1643 h 2006"/>
              <a:gd name="T40" fmla="*/ 1933 w 2004"/>
              <a:gd name="T41" fmla="*/ 1327 h 2006"/>
              <a:gd name="T42" fmla="*/ 60 w 2004"/>
              <a:gd name="T43" fmla="*/ 1345 h 2006"/>
              <a:gd name="T44" fmla="*/ 68 w 2004"/>
              <a:gd name="T45" fmla="*/ 1351 h 2006"/>
              <a:gd name="T46" fmla="*/ 1987 w 2004"/>
              <a:gd name="T47" fmla="*/ 1037 h 2006"/>
              <a:gd name="T48" fmla="*/ 2004 w 2004"/>
              <a:gd name="T49" fmla="*/ 1037 h 2006"/>
              <a:gd name="T50" fmla="*/ 44 w 2004"/>
              <a:gd name="T51" fmla="*/ 1297 h 2006"/>
              <a:gd name="T52" fmla="*/ 9 w 2004"/>
              <a:gd name="T53" fmla="*/ 962 h 2006"/>
              <a:gd name="T54" fmla="*/ 60 w 2004"/>
              <a:gd name="T55" fmla="*/ 1292 h 2006"/>
              <a:gd name="T56" fmla="*/ 1992 w 2004"/>
              <a:gd name="T57" fmla="*/ 920 h 2006"/>
              <a:gd name="T58" fmla="*/ 10 w 2004"/>
              <a:gd name="T59" fmla="*/ 951 h 2006"/>
              <a:gd name="T60" fmla="*/ 10 w 2004"/>
              <a:gd name="T61" fmla="*/ 951 h 2006"/>
              <a:gd name="T62" fmla="*/ 1896 w 2004"/>
              <a:gd name="T63" fmla="*/ 589 h 2006"/>
              <a:gd name="T64" fmla="*/ 1999 w 2004"/>
              <a:gd name="T65" fmla="*/ 899 h 2006"/>
              <a:gd name="T66" fmla="*/ 54 w 2004"/>
              <a:gd name="T67" fmla="*/ 679 h 2006"/>
              <a:gd name="T68" fmla="*/ 85 w 2004"/>
              <a:gd name="T69" fmla="*/ 643 h 2006"/>
              <a:gd name="T70" fmla="*/ 1883 w 2004"/>
              <a:gd name="T71" fmla="*/ 564 h 2006"/>
              <a:gd name="T72" fmla="*/ 1891 w 2004"/>
              <a:gd name="T73" fmla="*/ 568 h 2006"/>
              <a:gd name="T74" fmla="*/ 135 w 2004"/>
              <a:gd name="T75" fmla="*/ 536 h 2006"/>
              <a:gd name="T76" fmla="*/ 1799 w 2004"/>
              <a:gd name="T77" fmla="*/ 425 h 2006"/>
              <a:gd name="T78" fmla="*/ 1813 w 2004"/>
              <a:gd name="T79" fmla="*/ 415 h 2006"/>
              <a:gd name="T80" fmla="*/ 137 w 2004"/>
              <a:gd name="T81" fmla="*/ 515 h 2006"/>
              <a:gd name="T82" fmla="*/ 355 w 2004"/>
              <a:gd name="T83" fmla="*/ 249 h 2006"/>
              <a:gd name="T84" fmla="*/ 141 w 2004"/>
              <a:gd name="T85" fmla="*/ 516 h 2006"/>
              <a:gd name="T86" fmla="*/ 1646 w 2004"/>
              <a:gd name="T87" fmla="*/ 236 h 2006"/>
              <a:gd name="T88" fmla="*/ 383 w 2004"/>
              <a:gd name="T89" fmla="*/ 216 h 2006"/>
              <a:gd name="T90" fmla="*/ 1596 w 2004"/>
              <a:gd name="T91" fmla="*/ 217 h 2006"/>
              <a:gd name="T92" fmla="*/ 1314 w 2004"/>
              <a:gd name="T93" fmla="*/ 51 h 2006"/>
              <a:gd name="T94" fmla="*/ 1601 w 2004"/>
              <a:gd name="T95" fmla="*/ 219 h 2006"/>
              <a:gd name="T96" fmla="*/ 599 w 2004"/>
              <a:gd name="T97" fmla="*/ 105 h 2006"/>
              <a:gd name="T98" fmla="*/ 718 w 2004"/>
              <a:gd name="T99" fmla="*/ 42 h 2006"/>
              <a:gd name="T100" fmla="*/ 723 w 2004"/>
              <a:gd name="T101" fmla="*/ 59 h 2006"/>
              <a:gd name="T102" fmla="*/ 1254 w 2004"/>
              <a:gd name="T103" fmla="*/ 42 h 2006"/>
              <a:gd name="T104" fmla="*/ 1233 w 2004"/>
              <a:gd name="T105" fmla="*/ 46 h 2006"/>
              <a:gd name="T106" fmla="*/ 909 w 2004"/>
              <a:gd name="T107" fmla="*/ 6 h 2006"/>
              <a:gd name="T108" fmla="*/ 1235 w 2004"/>
              <a:gd name="T109" fmla="*/ 46 h 2006"/>
              <a:gd name="T110" fmla="*/ 882 w 2004"/>
              <a:gd name="T111" fmla="*/ 26 h 20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004" h="2006">
                <a:moveTo>
                  <a:pt x="1003" y="2006"/>
                </a:moveTo>
                <a:cubicBezTo>
                  <a:pt x="999" y="2006"/>
                  <a:pt x="995" y="2006"/>
                  <a:pt x="991" y="2006"/>
                </a:cubicBezTo>
                <a:cubicBezTo>
                  <a:pt x="986" y="2006"/>
                  <a:pt x="986" y="2006"/>
                  <a:pt x="986" y="2006"/>
                </a:cubicBezTo>
                <a:cubicBezTo>
                  <a:pt x="981" y="2006"/>
                  <a:pt x="978" y="2002"/>
                  <a:pt x="978" y="1997"/>
                </a:cubicBezTo>
                <a:cubicBezTo>
                  <a:pt x="978" y="1992"/>
                  <a:pt x="982" y="1989"/>
                  <a:pt x="986" y="1989"/>
                </a:cubicBezTo>
                <a:cubicBezTo>
                  <a:pt x="991" y="1989"/>
                  <a:pt x="991" y="1989"/>
                  <a:pt x="991" y="1989"/>
                </a:cubicBezTo>
                <a:cubicBezTo>
                  <a:pt x="995" y="1989"/>
                  <a:pt x="999" y="1989"/>
                  <a:pt x="1003" y="1989"/>
                </a:cubicBezTo>
                <a:cubicBezTo>
                  <a:pt x="1009" y="1989"/>
                  <a:pt x="1009" y="1989"/>
                  <a:pt x="1009" y="1989"/>
                </a:cubicBezTo>
                <a:cubicBezTo>
                  <a:pt x="1009" y="1989"/>
                  <a:pt x="1009" y="1989"/>
                  <a:pt x="1009" y="1989"/>
                </a:cubicBezTo>
                <a:cubicBezTo>
                  <a:pt x="1014" y="1989"/>
                  <a:pt x="1017" y="1993"/>
                  <a:pt x="1017" y="1997"/>
                </a:cubicBezTo>
                <a:cubicBezTo>
                  <a:pt x="1017" y="2002"/>
                  <a:pt x="1014" y="2006"/>
                  <a:pt x="1009" y="2006"/>
                </a:cubicBezTo>
                <a:lnTo>
                  <a:pt x="1003" y="2006"/>
                </a:lnTo>
                <a:close/>
                <a:moveTo>
                  <a:pt x="1037" y="2005"/>
                </a:moveTo>
                <a:cubicBezTo>
                  <a:pt x="1033" y="2005"/>
                  <a:pt x="1029" y="2002"/>
                  <a:pt x="1029" y="1997"/>
                </a:cubicBezTo>
                <a:cubicBezTo>
                  <a:pt x="1029" y="1992"/>
                  <a:pt x="1032" y="1988"/>
                  <a:pt x="1037" y="1988"/>
                </a:cubicBezTo>
                <a:cubicBezTo>
                  <a:pt x="1074" y="1987"/>
                  <a:pt x="1111" y="1983"/>
                  <a:pt x="1148" y="1978"/>
                </a:cubicBezTo>
                <a:cubicBezTo>
                  <a:pt x="1148" y="1978"/>
                  <a:pt x="1148" y="1978"/>
                  <a:pt x="1148" y="1978"/>
                </a:cubicBezTo>
                <a:cubicBezTo>
                  <a:pt x="1219" y="1967"/>
                  <a:pt x="1288" y="1949"/>
                  <a:pt x="1354" y="1924"/>
                </a:cubicBezTo>
                <a:cubicBezTo>
                  <a:pt x="1359" y="1922"/>
                  <a:pt x="1363" y="1924"/>
                  <a:pt x="1365" y="1929"/>
                </a:cubicBezTo>
                <a:cubicBezTo>
                  <a:pt x="1367" y="1933"/>
                  <a:pt x="1365" y="1938"/>
                  <a:pt x="1360" y="1939"/>
                </a:cubicBezTo>
                <a:cubicBezTo>
                  <a:pt x="1293" y="1965"/>
                  <a:pt x="1223" y="1984"/>
                  <a:pt x="1151" y="1995"/>
                </a:cubicBezTo>
                <a:cubicBezTo>
                  <a:pt x="1151" y="1995"/>
                  <a:pt x="1151" y="1995"/>
                  <a:pt x="1151" y="1995"/>
                </a:cubicBezTo>
                <a:cubicBezTo>
                  <a:pt x="1113" y="2000"/>
                  <a:pt x="1075" y="2004"/>
                  <a:pt x="1037" y="2005"/>
                </a:cubicBezTo>
                <a:cubicBezTo>
                  <a:pt x="1037" y="2005"/>
                  <a:pt x="1037" y="2005"/>
                  <a:pt x="1037" y="2005"/>
                </a:cubicBezTo>
                <a:close/>
                <a:moveTo>
                  <a:pt x="958" y="2005"/>
                </a:moveTo>
                <a:cubicBezTo>
                  <a:pt x="958" y="2005"/>
                  <a:pt x="958" y="2005"/>
                  <a:pt x="958" y="2005"/>
                </a:cubicBezTo>
                <a:cubicBezTo>
                  <a:pt x="886" y="2002"/>
                  <a:pt x="814" y="1990"/>
                  <a:pt x="744" y="1972"/>
                </a:cubicBezTo>
                <a:cubicBezTo>
                  <a:pt x="744" y="1972"/>
                  <a:pt x="744" y="1972"/>
                  <a:pt x="744" y="1972"/>
                </a:cubicBezTo>
                <a:cubicBezTo>
                  <a:pt x="707" y="1962"/>
                  <a:pt x="671" y="1950"/>
                  <a:pt x="635" y="1936"/>
                </a:cubicBezTo>
                <a:cubicBezTo>
                  <a:pt x="631" y="1934"/>
                  <a:pt x="629" y="1929"/>
                  <a:pt x="631" y="1925"/>
                </a:cubicBezTo>
                <a:cubicBezTo>
                  <a:pt x="632" y="1921"/>
                  <a:pt x="637" y="1919"/>
                  <a:pt x="642" y="1920"/>
                </a:cubicBezTo>
                <a:cubicBezTo>
                  <a:pt x="676" y="1934"/>
                  <a:pt x="712" y="1946"/>
                  <a:pt x="748" y="1955"/>
                </a:cubicBezTo>
                <a:cubicBezTo>
                  <a:pt x="748" y="1955"/>
                  <a:pt x="748" y="1955"/>
                  <a:pt x="748" y="1955"/>
                </a:cubicBezTo>
                <a:cubicBezTo>
                  <a:pt x="817" y="1974"/>
                  <a:pt x="888" y="1985"/>
                  <a:pt x="958" y="1988"/>
                </a:cubicBezTo>
                <a:cubicBezTo>
                  <a:pt x="963" y="1988"/>
                  <a:pt x="967" y="1992"/>
                  <a:pt x="966" y="1997"/>
                </a:cubicBezTo>
                <a:cubicBezTo>
                  <a:pt x="966" y="2001"/>
                  <a:pt x="963" y="2005"/>
                  <a:pt x="958" y="2005"/>
                </a:cubicBezTo>
                <a:close/>
                <a:moveTo>
                  <a:pt x="1384" y="1930"/>
                </a:moveTo>
                <a:cubicBezTo>
                  <a:pt x="1380" y="1930"/>
                  <a:pt x="1377" y="1928"/>
                  <a:pt x="1376" y="1924"/>
                </a:cubicBezTo>
                <a:cubicBezTo>
                  <a:pt x="1374" y="1920"/>
                  <a:pt x="1376" y="1915"/>
                  <a:pt x="1380" y="1913"/>
                </a:cubicBezTo>
                <a:cubicBezTo>
                  <a:pt x="1387" y="1910"/>
                  <a:pt x="1394" y="1907"/>
                  <a:pt x="1401" y="1904"/>
                </a:cubicBezTo>
                <a:cubicBezTo>
                  <a:pt x="1405" y="1902"/>
                  <a:pt x="1410" y="1904"/>
                  <a:pt x="1412" y="1909"/>
                </a:cubicBezTo>
                <a:cubicBezTo>
                  <a:pt x="1414" y="1913"/>
                  <a:pt x="1412" y="1918"/>
                  <a:pt x="1408" y="1920"/>
                </a:cubicBezTo>
                <a:cubicBezTo>
                  <a:pt x="1401" y="1923"/>
                  <a:pt x="1394" y="1926"/>
                  <a:pt x="1387" y="1929"/>
                </a:cubicBezTo>
                <a:cubicBezTo>
                  <a:pt x="1386" y="1929"/>
                  <a:pt x="1385" y="1930"/>
                  <a:pt x="1384" y="1930"/>
                </a:cubicBezTo>
                <a:close/>
                <a:moveTo>
                  <a:pt x="612" y="1926"/>
                </a:moveTo>
                <a:cubicBezTo>
                  <a:pt x="611" y="1926"/>
                  <a:pt x="610" y="1926"/>
                  <a:pt x="609" y="1925"/>
                </a:cubicBezTo>
                <a:cubicBezTo>
                  <a:pt x="602" y="1922"/>
                  <a:pt x="595" y="1919"/>
                  <a:pt x="588" y="1916"/>
                </a:cubicBezTo>
                <a:cubicBezTo>
                  <a:pt x="584" y="1914"/>
                  <a:pt x="582" y="1909"/>
                  <a:pt x="584" y="1905"/>
                </a:cubicBezTo>
                <a:cubicBezTo>
                  <a:pt x="586" y="1901"/>
                  <a:pt x="591" y="1899"/>
                  <a:pt x="595" y="1901"/>
                </a:cubicBezTo>
                <a:cubicBezTo>
                  <a:pt x="602" y="1904"/>
                  <a:pt x="609" y="1907"/>
                  <a:pt x="616" y="1910"/>
                </a:cubicBezTo>
                <a:cubicBezTo>
                  <a:pt x="620" y="1911"/>
                  <a:pt x="622" y="1916"/>
                  <a:pt x="620" y="1921"/>
                </a:cubicBezTo>
                <a:cubicBezTo>
                  <a:pt x="619" y="1924"/>
                  <a:pt x="616" y="1926"/>
                  <a:pt x="612" y="1926"/>
                </a:cubicBezTo>
                <a:close/>
                <a:moveTo>
                  <a:pt x="1430" y="1909"/>
                </a:moveTo>
                <a:cubicBezTo>
                  <a:pt x="1427" y="1909"/>
                  <a:pt x="1424" y="1907"/>
                  <a:pt x="1422" y="1904"/>
                </a:cubicBezTo>
                <a:cubicBezTo>
                  <a:pt x="1420" y="1900"/>
                  <a:pt x="1422" y="1895"/>
                  <a:pt x="1426" y="1893"/>
                </a:cubicBezTo>
                <a:cubicBezTo>
                  <a:pt x="1460" y="1877"/>
                  <a:pt x="1493" y="1858"/>
                  <a:pt x="1524" y="1839"/>
                </a:cubicBezTo>
                <a:cubicBezTo>
                  <a:pt x="1524" y="1839"/>
                  <a:pt x="1525" y="1839"/>
                  <a:pt x="1525" y="1839"/>
                </a:cubicBezTo>
                <a:cubicBezTo>
                  <a:pt x="1582" y="1803"/>
                  <a:pt x="1635" y="1762"/>
                  <a:pt x="1683" y="1716"/>
                </a:cubicBezTo>
                <a:cubicBezTo>
                  <a:pt x="1686" y="1713"/>
                  <a:pt x="1689" y="1710"/>
                  <a:pt x="1692" y="1707"/>
                </a:cubicBezTo>
                <a:cubicBezTo>
                  <a:pt x="1695" y="1704"/>
                  <a:pt x="1700" y="1704"/>
                  <a:pt x="1704" y="1707"/>
                </a:cubicBezTo>
                <a:cubicBezTo>
                  <a:pt x="1707" y="1711"/>
                  <a:pt x="1707" y="1716"/>
                  <a:pt x="1704" y="1719"/>
                </a:cubicBezTo>
                <a:cubicBezTo>
                  <a:pt x="1701" y="1722"/>
                  <a:pt x="1698" y="1725"/>
                  <a:pt x="1695" y="1728"/>
                </a:cubicBezTo>
                <a:cubicBezTo>
                  <a:pt x="1646" y="1775"/>
                  <a:pt x="1592" y="1817"/>
                  <a:pt x="1534" y="1853"/>
                </a:cubicBezTo>
                <a:cubicBezTo>
                  <a:pt x="1534" y="1853"/>
                  <a:pt x="1534" y="1853"/>
                  <a:pt x="1534" y="1853"/>
                </a:cubicBezTo>
                <a:cubicBezTo>
                  <a:pt x="1501" y="1873"/>
                  <a:pt x="1468" y="1892"/>
                  <a:pt x="1434" y="1908"/>
                </a:cubicBezTo>
                <a:cubicBezTo>
                  <a:pt x="1432" y="1909"/>
                  <a:pt x="1431" y="1909"/>
                  <a:pt x="1430" y="1909"/>
                </a:cubicBezTo>
                <a:close/>
                <a:moveTo>
                  <a:pt x="566" y="1905"/>
                </a:moveTo>
                <a:cubicBezTo>
                  <a:pt x="565" y="1905"/>
                  <a:pt x="564" y="1905"/>
                  <a:pt x="562" y="1904"/>
                </a:cubicBezTo>
                <a:cubicBezTo>
                  <a:pt x="497" y="1872"/>
                  <a:pt x="436" y="1833"/>
                  <a:pt x="379" y="1789"/>
                </a:cubicBezTo>
                <a:cubicBezTo>
                  <a:pt x="379" y="1789"/>
                  <a:pt x="379" y="1789"/>
                  <a:pt x="379" y="1789"/>
                </a:cubicBezTo>
                <a:cubicBezTo>
                  <a:pt x="349" y="1765"/>
                  <a:pt x="321" y="1740"/>
                  <a:pt x="294" y="1713"/>
                </a:cubicBezTo>
                <a:cubicBezTo>
                  <a:pt x="291" y="1710"/>
                  <a:pt x="291" y="1704"/>
                  <a:pt x="294" y="1701"/>
                </a:cubicBezTo>
                <a:cubicBezTo>
                  <a:pt x="297" y="1698"/>
                  <a:pt x="303" y="1698"/>
                  <a:pt x="306" y="1701"/>
                </a:cubicBezTo>
                <a:cubicBezTo>
                  <a:pt x="332" y="1727"/>
                  <a:pt x="360" y="1752"/>
                  <a:pt x="390" y="1775"/>
                </a:cubicBezTo>
                <a:cubicBezTo>
                  <a:pt x="390" y="1775"/>
                  <a:pt x="390" y="1775"/>
                  <a:pt x="390" y="1775"/>
                </a:cubicBezTo>
                <a:cubicBezTo>
                  <a:pt x="445" y="1819"/>
                  <a:pt x="506" y="1858"/>
                  <a:pt x="570" y="1889"/>
                </a:cubicBezTo>
                <a:cubicBezTo>
                  <a:pt x="574" y="1891"/>
                  <a:pt x="576" y="1896"/>
                  <a:pt x="574" y="1900"/>
                </a:cubicBezTo>
                <a:cubicBezTo>
                  <a:pt x="572" y="1903"/>
                  <a:pt x="569" y="1905"/>
                  <a:pt x="566" y="1905"/>
                </a:cubicBezTo>
                <a:close/>
                <a:moveTo>
                  <a:pt x="1718" y="1702"/>
                </a:moveTo>
                <a:cubicBezTo>
                  <a:pt x="1715" y="1702"/>
                  <a:pt x="1713" y="1701"/>
                  <a:pt x="1712" y="1699"/>
                </a:cubicBezTo>
                <a:cubicBezTo>
                  <a:pt x="1708" y="1696"/>
                  <a:pt x="1708" y="1691"/>
                  <a:pt x="1711" y="1687"/>
                </a:cubicBezTo>
                <a:cubicBezTo>
                  <a:pt x="1717" y="1682"/>
                  <a:pt x="1722" y="1676"/>
                  <a:pt x="1727" y="1671"/>
                </a:cubicBezTo>
                <a:cubicBezTo>
                  <a:pt x="1730" y="1667"/>
                  <a:pt x="1735" y="1667"/>
                  <a:pt x="1739" y="1670"/>
                </a:cubicBezTo>
                <a:cubicBezTo>
                  <a:pt x="1742" y="1674"/>
                  <a:pt x="1742" y="1679"/>
                  <a:pt x="1739" y="1682"/>
                </a:cubicBezTo>
                <a:cubicBezTo>
                  <a:pt x="1734" y="1688"/>
                  <a:pt x="1729" y="1693"/>
                  <a:pt x="1724" y="1699"/>
                </a:cubicBezTo>
                <a:cubicBezTo>
                  <a:pt x="1722" y="1701"/>
                  <a:pt x="1720" y="1702"/>
                  <a:pt x="1718" y="1702"/>
                </a:cubicBezTo>
                <a:close/>
                <a:moveTo>
                  <a:pt x="280" y="1695"/>
                </a:moveTo>
                <a:cubicBezTo>
                  <a:pt x="278" y="1695"/>
                  <a:pt x="276" y="1694"/>
                  <a:pt x="274" y="1692"/>
                </a:cubicBezTo>
                <a:cubicBezTo>
                  <a:pt x="269" y="1687"/>
                  <a:pt x="264" y="1681"/>
                  <a:pt x="259" y="1676"/>
                </a:cubicBezTo>
                <a:cubicBezTo>
                  <a:pt x="255" y="1672"/>
                  <a:pt x="256" y="1667"/>
                  <a:pt x="259" y="1664"/>
                </a:cubicBezTo>
                <a:cubicBezTo>
                  <a:pt x="263" y="1661"/>
                  <a:pt x="268" y="1661"/>
                  <a:pt x="271" y="1664"/>
                </a:cubicBezTo>
                <a:cubicBezTo>
                  <a:pt x="276" y="1670"/>
                  <a:pt x="281" y="1675"/>
                  <a:pt x="286" y="1681"/>
                </a:cubicBezTo>
                <a:cubicBezTo>
                  <a:pt x="290" y="1684"/>
                  <a:pt x="289" y="1690"/>
                  <a:pt x="286" y="1693"/>
                </a:cubicBezTo>
                <a:cubicBezTo>
                  <a:pt x="284" y="1694"/>
                  <a:pt x="282" y="1695"/>
                  <a:pt x="280" y="1695"/>
                </a:cubicBezTo>
                <a:close/>
                <a:moveTo>
                  <a:pt x="1752" y="1664"/>
                </a:moveTo>
                <a:cubicBezTo>
                  <a:pt x="1750" y="1664"/>
                  <a:pt x="1748" y="1663"/>
                  <a:pt x="1746" y="1662"/>
                </a:cubicBezTo>
                <a:cubicBezTo>
                  <a:pt x="1743" y="1659"/>
                  <a:pt x="1742" y="1653"/>
                  <a:pt x="1746" y="1650"/>
                </a:cubicBezTo>
                <a:cubicBezTo>
                  <a:pt x="1770" y="1622"/>
                  <a:pt x="1793" y="1592"/>
                  <a:pt x="1814" y="1561"/>
                </a:cubicBezTo>
                <a:cubicBezTo>
                  <a:pt x="1814" y="1561"/>
                  <a:pt x="1814" y="1561"/>
                  <a:pt x="1814" y="1561"/>
                </a:cubicBezTo>
                <a:cubicBezTo>
                  <a:pt x="1848" y="1512"/>
                  <a:pt x="1877" y="1460"/>
                  <a:pt x="1901" y="1406"/>
                </a:cubicBezTo>
                <a:cubicBezTo>
                  <a:pt x="1906" y="1395"/>
                  <a:pt x="1910" y="1385"/>
                  <a:pt x="1915" y="1374"/>
                </a:cubicBezTo>
                <a:cubicBezTo>
                  <a:pt x="1917" y="1370"/>
                  <a:pt x="1922" y="1367"/>
                  <a:pt x="1926" y="1369"/>
                </a:cubicBezTo>
                <a:cubicBezTo>
                  <a:pt x="1930" y="1371"/>
                  <a:pt x="1932" y="1376"/>
                  <a:pt x="1931" y="1380"/>
                </a:cubicBezTo>
                <a:cubicBezTo>
                  <a:pt x="1926" y="1391"/>
                  <a:pt x="1921" y="1402"/>
                  <a:pt x="1917" y="1413"/>
                </a:cubicBezTo>
                <a:cubicBezTo>
                  <a:pt x="1892" y="1468"/>
                  <a:pt x="1862" y="1521"/>
                  <a:pt x="1828" y="1571"/>
                </a:cubicBezTo>
                <a:cubicBezTo>
                  <a:pt x="1828" y="1571"/>
                  <a:pt x="1828" y="1571"/>
                  <a:pt x="1828" y="1571"/>
                </a:cubicBezTo>
                <a:cubicBezTo>
                  <a:pt x="1806" y="1602"/>
                  <a:pt x="1783" y="1633"/>
                  <a:pt x="1758" y="1661"/>
                </a:cubicBezTo>
                <a:cubicBezTo>
                  <a:pt x="1757" y="1663"/>
                  <a:pt x="1754" y="1664"/>
                  <a:pt x="1752" y="1664"/>
                </a:cubicBezTo>
                <a:close/>
                <a:moveTo>
                  <a:pt x="246" y="1657"/>
                </a:moveTo>
                <a:cubicBezTo>
                  <a:pt x="244" y="1657"/>
                  <a:pt x="241" y="1656"/>
                  <a:pt x="240" y="1654"/>
                </a:cubicBezTo>
                <a:cubicBezTo>
                  <a:pt x="193" y="1599"/>
                  <a:pt x="152" y="1539"/>
                  <a:pt x="118" y="1475"/>
                </a:cubicBezTo>
                <a:cubicBezTo>
                  <a:pt x="118" y="1475"/>
                  <a:pt x="118" y="1475"/>
                  <a:pt x="118" y="1475"/>
                </a:cubicBezTo>
                <a:cubicBezTo>
                  <a:pt x="104" y="1448"/>
                  <a:pt x="90" y="1421"/>
                  <a:pt x="79" y="1393"/>
                </a:cubicBezTo>
                <a:cubicBezTo>
                  <a:pt x="76" y="1386"/>
                  <a:pt x="73" y="1379"/>
                  <a:pt x="70" y="1372"/>
                </a:cubicBezTo>
                <a:cubicBezTo>
                  <a:pt x="69" y="1368"/>
                  <a:pt x="71" y="1363"/>
                  <a:pt x="75" y="1361"/>
                </a:cubicBezTo>
                <a:cubicBezTo>
                  <a:pt x="79" y="1359"/>
                  <a:pt x="84" y="1361"/>
                  <a:pt x="86" y="1366"/>
                </a:cubicBezTo>
                <a:cubicBezTo>
                  <a:pt x="89" y="1372"/>
                  <a:pt x="91" y="1379"/>
                  <a:pt x="94" y="1386"/>
                </a:cubicBezTo>
                <a:cubicBezTo>
                  <a:pt x="106" y="1414"/>
                  <a:pt x="119" y="1441"/>
                  <a:pt x="133" y="1467"/>
                </a:cubicBezTo>
                <a:cubicBezTo>
                  <a:pt x="133" y="1467"/>
                  <a:pt x="133" y="1467"/>
                  <a:pt x="133" y="1467"/>
                </a:cubicBezTo>
                <a:cubicBezTo>
                  <a:pt x="166" y="1530"/>
                  <a:pt x="207" y="1589"/>
                  <a:pt x="253" y="1643"/>
                </a:cubicBezTo>
                <a:cubicBezTo>
                  <a:pt x="256" y="1647"/>
                  <a:pt x="255" y="1652"/>
                  <a:pt x="252" y="1655"/>
                </a:cubicBezTo>
                <a:cubicBezTo>
                  <a:pt x="250" y="1657"/>
                  <a:pt x="248" y="1657"/>
                  <a:pt x="246" y="1657"/>
                </a:cubicBezTo>
                <a:close/>
                <a:moveTo>
                  <a:pt x="1933" y="1359"/>
                </a:moveTo>
                <a:cubicBezTo>
                  <a:pt x="1932" y="1359"/>
                  <a:pt x="1931" y="1359"/>
                  <a:pt x="1930" y="1359"/>
                </a:cubicBezTo>
                <a:cubicBezTo>
                  <a:pt x="1926" y="1357"/>
                  <a:pt x="1923" y="1352"/>
                  <a:pt x="1925" y="1348"/>
                </a:cubicBezTo>
                <a:cubicBezTo>
                  <a:pt x="1928" y="1341"/>
                  <a:pt x="1930" y="1334"/>
                  <a:pt x="1933" y="1327"/>
                </a:cubicBezTo>
                <a:cubicBezTo>
                  <a:pt x="1934" y="1322"/>
                  <a:pt x="1939" y="1320"/>
                  <a:pt x="1943" y="1321"/>
                </a:cubicBezTo>
                <a:cubicBezTo>
                  <a:pt x="1948" y="1323"/>
                  <a:pt x="1950" y="1328"/>
                  <a:pt x="1949" y="1332"/>
                </a:cubicBezTo>
                <a:cubicBezTo>
                  <a:pt x="1946" y="1339"/>
                  <a:pt x="1944" y="1347"/>
                  <a:pt x="1941" y="1354"/>
                </a:cubicBezTo>
                <a:cubicBezTo>
                  <a:pt x="1940" y="1357"/>
                  <a:pt x="1936" y="1359"/>
                  <a:pt x="1933" y="1359"/>
                </a:cubicBezTo>
                <a:close/>
                <a:moveTo>
                  <a:pt x="68" y="1351"/>
                </a:moveTo>
                <a:cubicBezTo>
                  <a:pt x="65" y="1351"/>
                  <a:pt x="61" y="1349"/>
                  <a:pt x="60" y="1345"/>
                </a:cubicBezTo>
                <a:cubicBezTo>
                  <a:pt x="58" y="1338"/>
                  <a:pt x="55" y="1331"/>
                  <a:pt x="53" y="1324"/>
                </a:cubicBezTo>
                <a:cubicBezTo>
                  <a:pt x="51" y="1319"/>
                  <a:pt x="53" y="1314"/>
                  <a:pt x="58" y="1313"/>
                </a:cubicBezTo>
                <a:cubicBezTo>
                  <a:pt x="62" y="1311"/>
                  <a:pt x="67" y="1314"/>
                  <a:pt x="69" y="1318"/>
                </a:cubicBezTo>
                <a:cubicBezTo>
                  <a:pt x="71" y="1325"/>
                  <a:pt x="74" y="1332"/>
                  <a:pt x="76" y="1339"/>
                </a:cubicBezTo>
                <a:cubicBezTo>
                  <a:pt x="78" y="1344"/>
                  <a:pt x="75" y="1349"/>
                  <a:pt x="71" y="1350"/>
                </a:cubicBezTo>
                <a:cubicBezTo>
                  <a:pt x="70" y="1351"/>
                  <a:pt x="69" y="1351"/>
                  <a:pt x="68" y="1351"/>
                </a:cubicBezTo>
                <a:close/>
                <a:moveTo>
                  <a:pt x="1950" y="1311"/>
                </a:moveTo>
                <a:cubicBezTo>
                  <a:pt x="1949" y="1311"/>
                  <a:pt x="1948" y="1311"/>
                  <a:pt x="1947" y="1311"/>
                </a:cubicBezTo>
                <a:cubicBezTo>
                  <a:pt x="1942" y="1309"/>
                  <a:pt x="1940" y="1304"/>
                  <a:pt x="1941" y="1300"/>
                </a:cubicBezTo>
                <a:cubicBezTo>
                  <a:pt x="1953" y="1264"/>
                  <a:pt x="1962" y="1228"/>
                  <a:pt x="1969" y="1191"/>
                </a:cubicBezTo>
                <a:cubicBezTo>
                  <a:pt x="1969" y="1191"/>
                  <a:pt x="1969" y="1191"/>
                  <a:pt x="1969" y="1191"/>
                </a:cubicBezTo>
                <a:cubicBezTo>
                  <a:pt x="1979" y="1140"/>
                  <a:pt x="1985" y="1088"/>
                  <a:pt x="1987" y="1037"/>
                </a:cubicBezTo>
                <a:cubicBezTo>
                  <a:pt x="1987" y="1026"/>
                  <a:pt x="1987" y="1014"/>
                  <a:pt x="1987" y="1003"/>
                </a:cubicBezTo>
                <a:cubicBezTo>
                  <a:pt x="1987" y="995"/>
                  <a:pt x="1987" y="987"/>
                  <a:pt x="1987" y="979"/>
                </a:cubicBezTo>
                <a:cubicBezTo>
                  <a:pt x="1987" y="975"/>
                  <a:pt x="1991" y="971"/>
                  <a:pt x="1995" y="971"/>
                </a:cubicBezTo>
                <a:cubicBezTo>
                  <a:pt x="2000" y="971"/>
                  <a:pt x="2004" y="974"/>
                  <a:pt x="2004" y="979"/>
                </a:cubicBezTo>
                <a:cubicBezTo>
                  <a:pt x="2004" y="987"/>
                  <a:pt x="2004" y="995"/>
                  <a:pt x="2004" y="1003"/>
                </a:cubicBezTo>
                <a:cubicBezTo>
                  <a:pt x="2004" y="1015"/>
                  <a:pt x="2004" y="1026"/>
                  <a:pt x="2004" y="1037"/>
                </a:cubicBezTo>
                <a:cubicBezTo>
                  <a:pt x="2002" y="1090"/>
                  <a:pt x="1996" y="1143"/>
                  <a:pt x="1986" y="1195"/>
                </a:cubicBezTo>
                <a:cubicBezTo>
                  <a:pt x="1986" y="1195"/>
                  <a:pt x="1986" y="1195"/>
                  <a:pt x="1986" y="1195"/>
                </a:cubicBezTo>
                <a:cubicBezTo>
                  <a:pt x="1978" y="1232"/>
                  <a:pt x="1969" y="1269"/>
                  <a:pt x="1958" y="1305"/>
                </a:cubicBezTo>
                <a:cubicBezTo>
                  <a:pt x="1956" y="1309"/>
                  <a:pt x="1953" y="1311"/>
                  <a:pt x="1950" y="1311"/>
                </a:cubicBezTo>
                <a:close/>
                <a:moveTo>
                  <a:pt x="52" y="1303"/>
                </a:moveTo>
                <a:cubicBezTo>
                  <a:pt x="48" y="1303"/>
                  <a:pt x="45" y="1300"/>
                  <a:pt x="44" y="1297"/>
                </a:cubicBezTo>
                <a:cubicBezTo>
                  <a:pt x="23" y="1227"/>
                  <a:pt x="9" y="1156"/>
                  <a:pt x="3" y="1084"/>
                </a:cubicBezTo>
                <a:cubicBezTo>
                  <a:pt x="3" y="1084"/>
                  <a:pt x="3" y="1084"/>
                  <a:pt x="3" y="1084"/>
                </a:cubicBezTo>
                <a:cubicBezTo>
                  <a:pt x="1" y="1061"/>
                  <a:pt x="0" y="1038"/>
                  <a:pt x="0" y="1015"/>
                </a:cubicBezTo>
                <a:cubicBezTo>
                  <a:pt x="0" y="1011"/>
                  <a:pt x="0" y="1007"/>
                  <a:pt x="0" y="1003"/>
                </a:cubicBezTo>
                <a:cubicBezTo>
                  <a:pt x="0" y="992"/>
                  <a:pt x="0" y="981"/>
                  <a:pt x="0" y="970"/>
                </a:cubicBezTo>
                <a:cubicBezTo>
                  <a:pt x="0" y="965"/>
                  <a:pt x="4" y="962"/>
                  <a:pt x="9" y="962"/>
                </a:cubicBezTo>
                <a:cubicBezTo>
                  <a:pt x="14" y="962"/>
                  <a:pt x="17" y="966"/>
                  <a:pt x="17" y="971"/>
                </a:cubicBezTo>
                <a:cubicBezTo>
                  <a:pt x="17" y="981"/>
                  <a:pt x="17" y="992"/>
                  <a:pt x="17" y="1003"/>
                </a:cubicBezTo>
                <a:cubicBezTo>
                  <a:pt x="17" y="1007"/>
                  <a:pt x="17" y="1011"/>
                  <a:pt x="17" y="1015"/>
                </a:cubicBezTo>
                <a:cubicBezTo>
                  <a:pt x="17" y="1037"/>
                  <a:pt x="18" y="1060"/>
                  <a:pt x="20" y="1083"/>
                </a:cubicBezTo>
                <a:cubicBezTo>
                  <a:pt x="20" y="1083"/>
                  <a:pt x="20" y="1083"/>
                  <a:pt x="20" y="1083"/>
                </a:cubicBezTo>
                <a:cubicBezTo>
                  <a:pt x="26" y="1153"/>
                  <a:pt x="39" y="1223"/>
                  <a:pt x="60" y="1292"/>
                </a:cubicBezTo>
                <a:cubicBezTo>
                  <a:pt x="61" y="1296"/>
                  <a:pt x="59" y="1301"/>
                  <a:pt x="54" y="1302"/>
                </a:cubicBezTo>
                <a:cubicBezTo>
                  <a:pt x="54" y="1302"/>
                  <a:pt x="53" y="1303"/>
                  <a:pt x="52" y="1303"/>
                </a:cubicBezTo>
                <a:close/>
                <a:moveTo>
                  <a:pt x="1994" y="959"/>
                </a:moveTo>
                <a:cubicBezTo>
                  <a:pt x="1990" y="959"/>
                  <a:pt x="1986" y="956"/>
                  <a:pt x="1986" y="951"/>
                </a:cubicBezTo>
                <a:cubicBezTo>
                  <a:pt x="1986" y="944"/>
                  <a:pt x="1985" y="936"/>
                  <a:pt x="1984" y="929"/>
                </a:cubicBezTo>
                <a:cubicBezTo>
                  <a:pt x="1984" y="924"/>
                  <a:pt x="1988" y="920"/>
                  <a:pt x="1992" y="920"/>
                </a:cubicBezTo>
                <a:cubicBezTo>
                  <a:pt x="1997" y="920"/>
                  <a:pt x="2001" y="923"/>
                  <a:pt x="2001" y="928"/>
                </a:cubicBezTo>
                <a:cubicBezTo>
                  <a:pt x="2002" y="935"/>
                  <a:pt x="2002" y="943"/>
                  <a:pt x="2003" y="951"/>
                </a:cubicBezTo>
                <a:cubicBezTo>
                  <a:pt x="2003" y="955"/>
                  <a:pt x="2000" y="959"/>
                  <a:pt x="1995" y="959"/>
                </a:cubicBezTo>
                <a:cubicBezTo>
                  <a:pt x="1995" y="959"/>
                  <a:pt x="1995" y="959"/>
                  <a:pt x="1994" y="959"/>
                </a:cubicBezTo>
                <a:close/>
                <a:moveTo>
                  <a:pt x="10" y="951"/>
                </a:moveTo>
                <a:cubicBezTo>
                  <a:pt x="10" y="951"/>
                  <a:pt x="10" y="951"/>
                  <a:pt x="10" y="951"/>
                </a:cubicBezTo>
                <a:cubicBezTo>
                  <a:pt x="5" y="950"/>
                  <a:pt x="1" y="946"/>
                  <a:pt x="2" y="942"/>
                </a:cubicBezTo>
                <a:cubicBezTo>
                  <a:pt x="2" y="934"/>
                  <a:pt x="3" y="926"/>
                  <a:pt x="3" y="919"/>
                </a:cubicBezTo>
                <a:cubicBezTo>
                  <a:pt x="4" y="914"/>
                  <a:pt x="8" y="911"/>
                  <a:pt x="13" y="911"/>
                </a:cubicBezTo>
                <a:cubicBezTo>
                  <a:pt x="17" y="911"/>
                  <a:pt x="21" y="916"/>
                  <a:pt x="20" y="920"/>
                </a:cubicBezTo>
                <a:cubicBezTo>
                  <a:pt x="20" y="928"/>
                  <a:pt x="19" y="935"/>
                  <a:pt x="19" y="943"/>
                </a:cubicBezTo>
                <a:cubicBezTo>
                  <a:pt x="18" y="947"/>
                  <a:pt x="15" y="951"/>
                  <a:pt x="10" y="951"/>
                </a:cubicBezTo>
                <a:close/>
                <a:moveTo>
                  <a:pt x="1990" y="909"/>
                </a:moveTo>
                <a:cubicBezTo>
                  <a:pt x="1986" y="909"/>
                  <a:pt x="1982" y="905"/>
                  <a:pt x="1982" y="901"/>
                </a:cubicBezTo>
                <a:cubicBezTo>
                  <a:pt x="1978" y="864"/>
                  <a:pt x="1972" y="827"/>
                  <a:pt x="1964" y="791"/>
                </a:cubicBezTo>
                <a:cubicBezTo>
                  <a:pt x="1964" y="791"/>
                  <a:pt x="1964" y="790"/>
                  <a:pt x="1964" y="790"/>
                </a:cubicBezTo>
                <a:cubicBezTo>
                  <a:pt x="1954" y="747"/>
                  <a:pt x="1942" y="704"/>
                  <a:pt x="1926" y="663"/>
                </a:cubicBezTo>
                <a:cubicBezTo>
                  <a:pt x="1917" y="638"/>
                  <a:pt x="1907" y="613"/>
                  <a:pt x="1896" y="589"/>
                </a:cubicBezTo>
                <a:cubicBezTo>
                  <a:pt x="1894" y="585"/>
                  <a:pt x="1895" y="580"/>
                  <a:pt x="1900" y="578"/>
                </a:cubicBezTo>
                <a:cubicBezTo>
                  <a:pt x="1904" y="576"/>
                  <a:pt x="1909" y="578"/>
                  <a:pt x="1911" y="582"/>
                </a:cubicBezTo>
                <a:cubicBezTo>
                  <a:pt x="1922" y="606"/>
                  <a:pt x="1933" y="632"/>
                  <a:pt x="1942" y="657"/>
                </a:cubicBezTo>
                <a:cubicBezTo>
                  <a:pt x="1958" y="699"/>
                  <a:pt x="1971" y="743"/>
                  <a:pt x="1980" y="787"/>
                </a:cubicBezTo>
                <a:cubicBezTo>
                  <a:pt x="1980" y="787"/>
                  <a:pt x="1980" y="787"/>
                  <a:pt x="1980" y="787"/>
                </a:cubicBezTo>
                <a:cubicBezTo>
                  <a:pt x="1989" y="824"/>
                  <a:pt x="1995" y="862"/>
                  <a:pt x="1999" y="899"/>
                </a:cubicBezTo>
                <a:cubicBezTo>
                  <a:pt x="1999" y="904"/>
                  <a:pt x="1996" y="908"/>
                  <a:pt x="1991" y="909"/>
                </a:cubicBezTo>
                <a:cubicBezTo>
                  <a:pt x="1991" y="909"/>
                  <a:pt x="1991" y="909"/>
                  <a:pt x="1990" y="909"/>
                </a:cubicBezTo>
                <a:close/>
                <a:moveTo>
                  <a:pt x="15" y="900"/>
                </a:moveTo>
                <a:cubicBezTo>
                  <a:pt x="14" y="900"/>
                  <a:pt x="14" y="900"/>
                  <a:pt x="14" y="900"/>
                </a:cubicBezTo>
                <a:cubicBezTo>
                  <a:pt x="9" y="899"/>
                  <a:pt x="6" y="895"/>
                  <a:pt x="6" y="890"/>
                </a:cubicBezTo>
                <a:cubicBezTo>
                  <a:pt x="14" y="819"/>
                  <a:pt x="30" y="748"/>
                  <a:pt x="54" y="679"/>
                </a:cubicBezTo>
                <a:cubicBezTo>
                  <a:pt x="54" y="679"/>
                  <a:pt x="54" y="679"/>
                  <a:pt x="54" y="679"/>
                </a:cubicBezTo>
                <a:cubicBezTo>
                  <a:pt x="59" y="665"/>
                  <a:pt x="64" y="650"/>
                  <a:pt x="70" y="636"/>
                </a:cubicBezTo>
                <a:cubicBezTo>
                  <a:pt x="78" y="615"/>
                  <a:pt x="87" y="594"/>
                  <a:pt x="97" y="574"/>
                </a:cubicBezTo>
                <a:cubicBezTo>
                  <a:pt x="99" y="569"/>
                  <a:pt x="104" y="568"/>
                  <a:pt x="108" y="570"/>
                </a:cubicBezTo>
                <a:cubicBezTo>
                  <a:pt x="112" y="572"/>
                  <a:pt x="114" y="577"/>
                  <a:pt x="112" y="581"/>
                </a:cubicBezTo>
                <a:cubicBezTo>
                  <a:pt x="103" y="601"/>
                  <a:pt x="94" y="622"/>
                  <a:pt x="85" y="643"/>
                </a:cubicBezTo>
                <a:cubicBezTo>
                  <a:pt x="80" y="656"/>
                  <a:pt x="75" y="671"/>
                  <a:pt x="70" y="685"/>
                </a:cubicBezTo>
                <a:cubicBezTo>
                  <a:pt x="70" y="685"/>
                  <a:pt x="70" y="685"/>
                  <a:pt x="70" y="685"/>
                </a:cubicBezTo>
                <a:cubicBezTo>
                  <a:pt x="47" y="752"/>
                  <a:pt x="31" y="822"/>
                  <a:pt x="23" y="892"/>
                </a:cubicBezTo>
                <a:cubicBezTo>
                  <a:pt x="23" y="897"/>
                  <a:pt x="19" y="900"/>
                  <a:pt x="15" y="900"/>
                </a:cubicBezTo>
                <a:close/>
                <a:moveTo>
                  <a:pt x="1891" y="568"/>
                </a:moveTo>
                <a:cubicBezTo>
                  <a:pt x="1888" y="568"/>
                  <a:pt x="1885" y="567"/>
                  <a:pt x="1883" y="564"/>
                </a:cubicBezTo>
                <a:cubicBezTo>
                  <a:pt x="1880" y="557"/>
                  <a:pt x="1877" y="550"/>
                  <a:pt x="1873" y="544"/>
                </a:cubicBezTo>
                <a:cubicBezTo>
                  <a:pt x="1871" y="540"/>
                  <a:pt x="1873" y="534"/>
                  <a:pt x="1877" y="532"/>
                </a:cubicBezTo>
                <a:cubicBezTo>
                  <a:pt x="1881" y="530"/>
                  <a:pt x="1886" y="532"/>
                  <a:pt x="1888" y="536"/>
                </a:cubicBezTo>
                <a:cubicBezTo>
                  <a:pt x="1892" y="543"/>
                  <a:pt x="1895" y="549"/>
                  <a:pt x="1899" y="556"/>
                </a:cubicBezTo>
                <a:cubicBezTo>
                  <a:pt x="1901" y="560"/>
                  <a:pt x="1899" y="565"/>
                  <a:pt x="1895" y="568"/>
                </a:cubicBezTo>
                <a:cubicBezTo>
                  <a:pt x="1894" y="568"/>
                  <a:pt x="1892" y="568"/>
                  <a:pt x="1891" y="568"/>
                </a:cubicBezTo>
                <a:close/>
                <a:moveTo>
                  <a:pt x="117" y="560"/>
                </a:moveTo>
                <a:cubicBezTo>
                  <a:pt x="116" y="560"/>
                  <a:pt x="114" y="560"/>
                  <a:pt x="113" y="560"/>
                </a:cubicBezTo>
                <a:cubicBezTo>
                  <a:pt x="109" y="557"/>
                  <a:pt x="107" y="552"/>
                  <a:pt x="109" y="548"/>
                </a:cubicBezTo>
                <a:cubicBezTo>
                  <a:pt x="113" y="541"/>
                  <a:pt x="116" y="535"/>
                  <a:pt x="120" y="528"/>
                </a:cubicBezTo>
                <a:cubicBezTo>
                  <a:pt x="122" y="524"/>
                  <a:pt x="127" y="522"/>
                  <a:pt x="132" y="524"/>
                </a:cubicBezTo>
                <a:cubicBezTo>
                  <a:pt x="136" y="527"/>
                  <a:pt x="137" y="532"/>
                  <a:pt x="135" y="536"/>
                </a:cubicBezTo>
                <a:cubicBezTo>
                  <a:pt x="131" y="543"/>
                  <a:pt x="128" y="549"/>
                  <a:pt x="125" y="556"/>
                </a:cubicBezTo>
                <a:cubicBezTo>
                  <a:pt x="123" y="559"/>
                  <a:pt x="120" y="560"/>
                  <a:pt x="117" y="560"/>
                </a:cubicBezTo>
                <a:close/>
                <a:moveTo>
                  <a:pt x="1867" y="523"/>
                </a:moveTo>
                <a:cubicBezTo>
                  <a:pt x="1864" y="523"/>
                  <a:pt x="1861" y="522"/>
                  <a:pt x="1860" y="519"/>
                </a:cubicBezTo>
                <a:cubicBezTo>
                  <a:pt x="1841" y="487"/>
                  <a:pt x="1821" y="455"/>
                  <a:pt x="1799" y="425"/>
                </a:cubicBezTo>
                <a:cubicBezTo>
                  <a:pt x="1799" y="425"/>
                  <a:pt x="1799" y="425"/>
                  <a:pt x="1799" y="425"/>
                </a:cubicBezTo>
                <a:cubicBezTo>
                  <a:pt x="1778" y="395"/>
                  <a:pt x="1754" y="366"/>
                  <a:pt x="1729" y="339"/>
                </a:cubicBezTo>
                <a:cubicBezTo>
                  <a:pt x="1707" y="314"/>
                  <a:pt x="1682" y="290"/>
                  <a:pt x="1657" y="267"/>
                </a:cubicBezTo>
                <a:cubicBezTo>
                  <a:pt x="1653" y="264"/>
                  <a:pt x="1653" y="259"/>
                  <a:pt x="1656" y="255"/>
                </a:cubicBezTo>
                <a:cubicBezTo>
                  <a:pt x="1659" y="252"/>
                  <a:pt x="1664" y="251"/>
                  <a:pt x="1668" y="254"/>
                </a:cubicBezTo>
                <a:cubicBezTo>
                  <a:pt x="1694" y="277"/>
                  <a:pt x="1719" y="302"/>
                  <a:pt x="1742" y="327"/>
                </a:cubicBezTo>
                <a:cubicBezTo>
                  <a:pt x="1767" y="355"/>
                  <a:pt x="1791" y="384"/>
                  <a:pt x="1813" y="415"/>
                </a:cubicBezTo>
                <a:cubicBezTo>
                  <a:pt x="1813" y="415"/>
                  <a:pt x="1813" y="415"/>
                  <a:pt x="1813" y="415"/>
                </a:cubicBezTo>
                <a:cubicBezTo>
                  <a:pt x="1835" y="446"/>
                  <a:pt x="1856" y="478"/>
                  <a:pt x="1875" y="511"/>
                </a:cubicBezTo>
                <a:cubicBezTo>
                  <a:pt x="1877" y="515"/>
                  <a:pt x="1875" y="520"/>
                  <a:pt x="1871" y="522"/>
                </a:cubicBezTo>
                <a:cubicBezTo>
                  <a:pt x="1870" y="523"/>
                  <a:pt x="1869" y="523"/>
                  <a:pt x="1867" y="523"/>
                </a:cubicBezTo>
                <a:close/>
                <a:moveTo>
                  <a:pt x="141" y="516"/>
                </a:moveTo>
                <a:cubicBezTo>
                  <a:pt x="140" y="516"/>
                  <a:pt x="138" y="515"/>
                  <a:pt x="137" y="515"/>
                </a:cubicBezTo>
                <a:cubicBezTo>
                  <a:pt x="133" y="512"/>
                  <a:pt x="132" y="507"/>
                  <a:pt x="134" y="503"/>
                </a:cubicBezTo>
                <a:cubicBezTo>
                  <a:pt x="170" y="440"/>
                  <a:pt x="213" y="381"/>
                  <a:pt x="261" y="328"/>
                </a:cubicBezTo>
                <a:cubicBezTo>
                  <a:pt x="261" y="328"/>
                  <a:pt x="261" y="328"/>
                  <a:pt x="262" y="328"/>
                </a:cubicBezTo>
                <a:cubicBezTo>
                  <a:pt x="267" y="323"/>
                  <a:pt x="272" y="317"/>
                  <a:pt x="277" y="312"/>
                </a:cubicBezTo>
                <a:cubicBezTo>
                  <a:pt x="298" y="290"/>
                  <a:pt x="320" y="268"/>
                  <a:pt x="343" y="248"/>
                </a:cubicBezTo>
                <a:cubicBezTo>
                  <a:pt x="347" y="245"/>
                  <a:pt x="352" y="246"/>
                  <a:pt x="355" y="249"/>
                </a:cubicBezTo>
                <a:cubicBezTo>
                  <a:pt x="358" y="253"/>
                  <a:pt x="358" y="258"/>
                  <a:pt x="354" y="261"/>
                </a:cubicBezTo>
                <a:cubicBezTo>
                  <a:pt x="332" y="281"/>
                  <a:pt x="310" y="302"/>
                  <a:pt x="289" y="323"/>
                </a:cubicBezTo>
                <a:cubicBezTo>
                  <a:pt x="284" y="329"/>
                  <a:pt x="279" y="334"/>
                  <a:pt x="274" y="340"/>
                </a:cubicBezTo>
                <a:cubicBezTo>
                  <a:pt x="274" y="340"/>
                  <a:pt x="274" y="340"/>
                  <a:pt x="274" y="340"/>
                </a:cubicBezTo>
                <a:cubicBezTo>
                  <a:pt x="226" y="392"/>
                  <a:pt x="184" y="450"/>
                  <a:pt x="149" y="511"/>
                </a:cubicBezTo>
                <a:cubicBezTo>
                  <a:pt x="147" y="514"/>
                  <a:pt x="144" y="516"/>
                  <a:pt x="141" y="516"/>
                </a:cubicBezTo>
                <a:close/>
                <a:moveTo>
                  <a:pt x="1641" y="251"/>
                </a:moveTo>
                <a:cubicBezTo>
                  <a:pt x="1639" y="251"/>
                  <a:pt x="1637" y="250"/>
                  <a:pt x="1635" y="249"/>
                </a:cubicBezTo>
                <a:cubicBezTo>
                  <a:pt x="1630" y="244"/>
                  <a:pt x="1624" y="239"/>
                  <a:pt x="1618" y="235"/>
                </a:cubicBezTo>
                <a:cubicBezTo>
                  <a:pt x="1614" y="232"/>
                  <a:pt x="1614" y="226"/>
                  <a:pt x="1617" y="223"/>
                </a:cubicBezTo>
                <a:cubicBezTo>
                  <a:pt x="1620" y="219"/>
                  <a:pt x="1625" y="218"/>
                  <a:pt x="1629" y="221"/>
                </a:cubicBezTo>
                <a:cubicBezTo>
                  <a:pt x="1634" y="226"/>
                  <a:pt x="1640" y="231"/>
                  <a:pt x="1646" y="236"/>
                </a:cubicBezTo>
                <a:cubicBezTo>
                  <a:pt x="1650" y="239"/>
                  <a:pt x="1650" y="244"/>
                  <a:pt x="1647" y="248"/>
                </a:cubicBezTo>
                <a:cubicBezTo>
                  <a:pt x="1646" y="250"/>
                  <a:pt x="1643" y="251"/>
                  <a:pt x="1641" y="251"/>
                </a:cubicBezTo>
                <a:close/>
                <a:moveTo>
                  <a:pt x="370" y="245"/>
                </a:moveTo>
                <a:cubicBezTo>
                  <a:pt x="368" y="245"/>
                  <a:pt x="365" y="244"/>
                  <a:pt x="364" y="242"/>
                </a:cubicBezTo>
                <a:cubicBezTo>
                  <a:pt x="361" y="238"/>
                  <a:pt x="361" y="233"/>
                  <a:pt x="365" y="230"/>
                </a:cubicBezTo>
                <a:cubicBezTo>
                  <a:pt x="371" y="225"/>
                  <a:pt x="377" y="220"/>
                  <a:pt x="383" y="216"/>
                </a:cubicBezTo>
                <a:cubicBezTo>
                  <a:pt x="386" y="213"/>
                  <a:pt x="392" y="213"/>
                  <a:pt x="394" y="217"/>
                </a:cubicBezTo>
                <a:cubicBezTo>
                  <a:pt x="397" y="221"/>
                  <a:pt x="397" y="226"/>
                  <a:pt x="393" y="229"/>
                </a:cubicBezTo>
                <a:cubicBezTo>
                  <a:pt x="387" y="234"/>
                  <a:pt x="381" y="238"/>
                  <a:pt x="376" y="243"/>
                </a:cubicBezTo>
                <a:cubicBezTo>
                  <a:pt x="374" y="244"/>
                  <a:pt x="372" y="245"/>
                  <a:pt x="370" y="245"/>
                </a:cubicBezTo>
                <a:close/>
                <a:moveTo>
                  <a:pt x="1601" y="219"/>
                </a:moveTo>
                <a:cubicBezTo>
                  <a:pt x="1599" y="219"/>
                  <a:pt x="1597" y="219"/>
                  <a:pt x="1596" y="217"/>
                </a:cubicBezTo>
                <a:cubicBezTo>
                  <a:pt x="1566" y="195"/>
                  <a:pt x="1535" y="174"/>
                  <a:pt x="1503" y="155"/>
                </a:cubicBezTo>
                <a:cubicBezTo>
                  <a:pt x="1503" y="155"/>
                  <a:pt x="1503" y="155"/>
                  <a:pt x="1503" y="155"/>
                </a:cubicBezTo>
                <a:cubicBezTo>
                  <a:pt x="1477" y="140"/>
                  <a:pt x="1451" y="126"/>
                  <a:pt x="1425" y="114"/>
                </a:cubicBezTo>
                <a:cubicBezTo>
                  <a:pt x="1387" y="96"/>
                  <a:pt x="1348" y="80"/>
                  <a:pt x="1309" y="67"/>
                </a:cubicBezTo>
                <a:cubicBezTo>
                  <a:pt x="1304" y="66"/>
                  <a:pt x="1302" y="61"/>
                  <a:pt x="1303" y="57"/>
                </a:cubicBezTo>
                <a:cubicBezTo>
                  <a:pt x="1305" y="52"/>
                  <a:pt x="1310" y="50"/>
                  <a:pt x="1314" y="51"/>
                </a:cubicBezTo>
                <a:cubicBezTo>
                  <a:pt x="1354" y="64"/>
                  <a:pt x="1394" y="80"/>
                  <a:pt x="1432" y="98"/>
                </a:cubicBezTo>
                <a:cubicBezTo>
                  <a:pt x="1459" y="111"/>
                  <a:pt x="1485" y="125"/>
                  <a:pt x="1511" y="140"/>
                </a:cubicBezTo>
                <a:cubicBezTo>
                  <a:pt x="1511" y="140"/>
                  <a:pt x="1511" y="140"/>
                  <a:pt x="1511" y="140"/>
                </a:cubicBezTo>
                <a:cubicBezTo>
                  <a:pt x="1544" y="160"/>
                  <a:pt x="1576" y="181"/>
                  <a:pt x="1606" y="204"/>
                </a:cubicBezTo>
                <a:cubicBezTo>
                  <a:pt x="1610" y="207"/>
                  <a:pt x="1611" y="212"/>
                  <a:pt x="1608" y="216"/>
                </a:cubicBezTo>
                <a:cubicBezTo>
                  <a:pt x="1606" y="218"/>
                  <a:pt x="1603" y="219"/>
                  <a:pt x="1601" y="219"/>
                </a:cubicBezTo>
                <a:close/>
                <a:moveTo>
                  <a:pt x="410" y="214"/>
                </a:moveTo>
                <a:cubicBezTo>
                  <a:pt x="408" y="214"/>
                  <a:pt x="405" y="212"/>
                  <a:pt x="403" y="210"/>
                </a:cubicBezTo>
                <a:cubicBezTo>
                  <a:pt x="401" y="206"/>
                  <a:pt x="401" y="201"/>
                  <a:pt x="405" y="198"/>
                </a:cubicBezTo>
                <a:cubicBezTo>
                  <a:pt x="463" y="155"/>
                  <a:pt x="526" y="119"/>
                  <a:pt x="592" y="89"/>
                </a:cubicBezTo>
                <a:cubicBezTo>
                  <a:pt x="596" y="87"/>
                  <a:pt x="601" y="89"/>
                  <a:pt x="603" y="93"/>
                </a:cubicBezTo>
                <a:cubicBezTo>
                  <a:pt x="605" y="98"/>
                  <a:pt x="603" y="103"/>
                  <a:pt x="599" y="105"/>
                </a:cubicBezTo>
                <a:cubicBezTo>
                  <a:pt x="534" y="134"/>
                  <a:pt x="472" y="170"/>
                  <a:pt x="415" y="212"/>
                </a:cubicBezTo>
                <a:cubicBezTo>
                  <a:pt x="414" y="213"/>
                  <a:pt x="412" y="214"/>
                  <a:pt x="410" y="214"/>
                </a:cubicBezTo>
                <a:close/>
                <a:moveTo>
                  <a:pt x="680" y="72"/>
                </a:moveTo>
                <a:cubicBezTo>
                  <a:pt x="676" y="72"/>
                  <a:pt x="673" y="70"/>
                  <a:pt x="672" y="66"/>
                </a:cubicBezTo>
                <a:cubicBezTo>
                  <a:pt x="670" y="62"/>
                  <a:pt x="672" y="57"/>
                  <a:pt x="677" y="56"/>
                </a:cubicBezTo>
                <a:cubicBezTo>
                  <a:pt x="690" y="51"/>
                  <a:pt x="704" y="46"/>
                  <a:pt x="718" y="42"/>
                </a:cubicBezTo>
                <a:cubicBezTo>
                  <a:pt x="718" y="42"/>
                  <a:pt x="718" y="42"/>
                  <a:pt x="719" y="42"/>
                </a:cubicBezTo>
                <a:cubicBezTo>
                  <a:pt x="755" y="32"/>
                  <a:pt x="792" y="23"/>
                  <a:pt x="830" y="16"/>
                </a:cubicBezTo>
                <a:cubicBezTo>
                  <a:pt x="834" y="15"/>
                  <a:pt x="839" y="19"/>
                  <a:pt x="839" y="23"/>
                </a:cubicBezTo>
                <a:cubicBezTo>
                  <a:pt x="840" y="28"/>
                  <a:pt x="837" y="32"/>
                  <a:pt x="833" y="33"/>
                </a:cubicBezTo>
                <a:cubicBezTo>
                  <a:pt x="796" y="39"/>
                  <a:pt x="759" y="48"/>
                  <a:pt x="724" y="58"/>
                </a:cubicBezTo>
                <a:cubicBezTo>
                  <a:pt x="724" y="58"/>
                  <a:pt x="723" y="59"/>
                  <a:pt x="723" y="59"/>
                </a:cubicBezTo>
                <a:cubicBezTo>
                  <a:pt x="710" y="63"/>
                  <a:pt x="696" y="67"/>
                  <a:pt x="682" y="72"/>
                </a:cubicBezTo>
                <a:cubicBezTo>
                  <a:pt x="681" y="72"/>
                  <a:pt x="680" y="72"/>
                  <a:pt x="680" y="72"/>
                </a:cubicBezTo>
                <a:close/>
                <a:moveTo>
                  <a:pt x="1284" y="59"/>
                </a:moveTo>
                <a:cubicBezTo>
                  <a:pt x="1284" y="59"/>
                  <a:pt x="1283" y="59"/>
                  <a:pt x="1282" y="59"/>
                </a:cubicBezTo>
                <a:cubicBezTo>
                  <a:pt x="1275" y="57"/>
                  <a:pt x="1268" y="55"/>
                  <a:pt x="1260" y="53"/>
                </a:cubicBezTo>
                <a:cubicBezTo>
                  <a:pt x="1256" y="52"/>
                  <a:pt x="1253" y="47"/>
                  <a:pt x="1254" y="42"/>
                </a:cubicBezTo>
                <a:cubicBezTo>
                  <a:pt x="1256" y="38"/>
                  <a:pt x="1260" y="35"/>
                  <a:pt x="1265" y="37"/>
                </a:cubicBezTo>
                <a:cubicBezTo>
                  <a:pt x="1272" y="39"/>
                  <a:pt x="1280" y="41"/>
                  <a:pt x="1287" y="43"/>
                </a:cubicBezTo>
                <a:cubicBezTo>
                  <a:pt x="1291" y="44"/>
                  <a:pt x="1294" y="49"/>
                  <a:pt x="1293" y="53"/>
                </a:cubicBezTo>
                <a:cubicBezTo>
                  <a:pt x="1291" y="57"/>
                  <a:pt x="1288" y="59"/>
                  <a:pt x="1284" y="59"/>
                </a:cubicBezTo>
                <a:close/>
                <a:moveTo>
                  <a:pt x="1235" y="46"/>
                </a:moveTo>
                <a:cubicBezTo>
                  <a:pt x="1235" y="46"/>
                  <a:pt x="1234" y="46"/>
                  <a:pt x="1233" y="46"/>
                </a:cubicBezTo>
                <a:cubicBezTo>
                  <a:pt x="1197" y="37"/>
                  <a:pt x="1160" y="30"/>
                  <a:pt x="1123" y="26"/>
                </a:cubicBezTo>
                <a:cubicBezTo>
                  <a:pt x="1123" y="26"/>
                  <a:pt x="1123" y="26"/>
                  <a:pt x="1123" y="26"/>
                </a:cubicBezTo>
                <a:cubicBezTo>
                  <a:pt x="1101" y="23"/>
                  <a:pt x="1079" y="21"/>
                  <a:pt x="1058" y="20"/>
                </a:cubicBezTo>
                <a:cubicBezTo>
                  <a:pt x="1009" y="17"/>
                  <a:pt x="959" y="18"/>
                  <a:pt x="910" y="23"/>
                </a:cubicBezTo>
                <a:cubicBezTo>
                  <a:pt x="906" y="23"/>
                  <a:pt x="902" y="20"/>
                  <a:pt x="901" y="15"/>
                </a:cubicBezTo>
                <a:cubicBezTo>
                  <a:pt x="901" y="10"/>
                  <a:pt x="904" y="6"/>
                  <a:pt x="909" y="6"/>
                </a:cubicBezTo>
                <a:cubicBezTo>
                  <a:pt x="959" y="1"/>
                  <a:pt x="1009" y="0"/>
                  <a:pt x="1059" y="3"/>
                </a:cubicBezTo>
                <a:cubicBezTo>
                  <a:pt x="1081" y="4"/>
                  <a:pt x="1103" y="6"/>
                  <a:pt x="1125" y="9"/>
                </a:cubicBezTo>
                <a:cubicBezTo>
                  <a:pt x="1125" y="9"/>
                  <a:pt x="1125" y="9"/>
                  <a:pt x="1125" y="9"/>
                </a:cubicBezTo>
                <a:cubicBezTo>
                  <a:pt x="1163" y="14"/>
                  <a:pt x="1200" y="20"/>
                  <a:pt x="1237" y="29"/>
                </a:cubicBezTo>
                <a:cubicBezTo>
                  <a:pt x="1242" y="31"/>
                  <a:pt x="1245" y="35"/>
                  <a:pt x="1244" y="40"/>
                </a:cubicBezTo>
                <a:cubicBezTo>
                  <a:pt x="1243" y="44"/>
                  <a:pt x="1239" y="46"/>
                  <a:pt x="1235" y="46"/>
                </a:cubicBezTo>
                <a:close/>
                <a:moveTo>
                  <a:pt x="859" y="29"/>
                </a:moveTo>
                <a:cubicBezTo>
                  <a:pt x="855" y="29"/>
                  <a:pt x="851" y="26"/>
                  <a:pt x="851" y="21"/>
                </a:cubicBezTo>
                <a:cubicBezTo>
                  <a:pt x="850" y="17"/>
                  <a:pt x="853" y="12"/>
                  <a:pt x="858" y="12"/>
                </a:cubicBezTo>
                <a:cubicBezTo>
                  <a:pt x="865" y="11"/>
                  <a:pt x="873" y="10"/>
                  <a:pt x="880" y="9"/>
                </a:cubicBezTo>
                <a:cubicBezTo>
                  <a:pt x="885" y="8"/>
                  <a:pt x="889" y="11"/>
                  <a:pt x="890" y="16"/>
                </a:cubicBezTo>
                <a:cubicBezTo>
                  <a:pt x="890" y="21"/>
                  <a:pt x="887" y="25"/>
                  <a:pt x="882" y="26"/>
                </a:cubicBezTo>
                <a:cubicBezTo>
                  <a:pt x="875" y="26"/>
                  <a:pt x="868" y="27"/>
                  <a:pt x="860" y="29"/>
                </a:cubicBezTo>
                <a:cubicBezTo>
                  <a:pt x="860" y="29"/>
                  <a:pt x="859" y="29"/>
                  <a:pt x="859" y="29"/>
                </a:cubicBezTo>
                <a:close/>
              </a:path>
            </a:pathLst>
          </a:custGeom>
          <a:solidFill>
            <a:schemeClr val="accent2"/>
          </a:solidFill>
          <a:ln>
            <a:noFill/>
          </a:ln>
        </p:spPr>
        <p:txBody>
          <a:bodyPr vert="horz" wrap="square" lIns="45714" tIns="22857" rIns="45714" bIns="22857" numCol="1" anchor="t" anchorCtr="0" compatLnSpc="1">
            <a:prstTxWarp prst="textNoShape">
              <a:avLst/>
            </a:prstTxWarp>
          </a:body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US" sz="900" b="0" i="0" u="none" strike="noStrike" kern="1200" cap="none" spc="0" normalizeH="0" baseline="0" noProof="0">
              <a:ln>
                <a:noFill/>
              </a:ln>
              <a:solidFill>
                <a:srgbClr val="343A3F"/>
              </a:solidFill>
              <a:effectLst/>
              <a:uLnTx/>
              <a:uFillTx/>
              <a:latin typeface="Roboto Light"/>
              <a:ea typeface="+mn-ea"/>
              <a:cs typeface="+mn-cs"/>
            </a:endParaRPr>
          </a:p>
        </p:txBody>
      </p:sp>
      <p:sp>
        <p:nvSpPr>
          <p:cNvPr id="8" name="Freeform 7">
            <a:extLst>
              <a:ext uri="{FF2B5EF4-FFF2-40B4-BE49-F238E27FC236}">
                <a16:creationId xmlns:a16="http://schemas.microsoft.com/office/drawing/2014/main" id="{77396746-8597-46EC-9F82-BE36529CD463}"/>
              </a:ext>
            </a:extLst>
          </p:cNvPr>
          <p:cNvSpPr>
            <a:spLocks noEditPoints="1"/>
          </p:cNvSpPr>
          <p:nvPr/>
        </p:nvSpPr>
        <p:spPr bwMode="auto">
          <a:xfrm>
            <a:off x="4051975" y="1231539"/>
            <a:ext cx="4088051" cy="4090163"/>
          </a:xfrm>
          <a:custGeom>
            <a:avLst/>
            <a:gdLst>
              <a:gd name="T0" fmla="*/ 785 w 1933"/>
              <a:gd name="T1" fmla="*/ 1899 h 1933"/>
              <a:gd name="T2" fmla="*/ 1043 w 1933"/>
              <a:gd name="T3" fmla="*/ 1930 h 1933"/>
              <a:gd name="T4" fmla="*/ 1092 w 1933"/>
              <a:gd name="T5" fmla="*/ 1908 h 1933"/>
              <a:gd name="T6" fmla="*/ 1113 w 1933"/>
              <a:gd name="T7" fmla="*/ 1914 h 1933"/>
              <a:gd name="T8" fmla="*/ 1377 w 1933"/>
              <a:gd name="T9" fmla="*/ 1833 h 1933"/>
              <a:gd name="T10" fmla="*/ 1121 w 1933"/>
              <a:gd name="T11" fmla="*/ 1921 h 1933"/>
              <a:gd name="T12" fmla="*/ 758 w 1933"/>
              <a:gd name="T13" fmla="*/ 1893 h 1933"/>
              <a:gd name="T14" fmla="*/ 596 w 1933"/>
              <a:gd name="T15" fmla="*/ 1859 h 1933"/>
              <a:gd name="T16" fmla="*/ 603 w 1933"/>
              <a:gd name="T17" fmla="*/ 1844 h 1933"/>
              <a:gd name="T18" fmla="*/ 1387 w 1933"/>
              <a:gd name="T19" fmla="*/ 1828 h 1933"/>
              <a:gd name="T20" fmla="*/ 1394 w 1933"/>
              <a:gd name="T21" fmla="*/ 1832 h 1933"/>
              <a:gd name="T22" fmla="*/ 1640 w 1933"/>
              <a:gd name="T23" fmla="*/ 1637 h 1933"/>
              <a:gd name="T24" fmla="*/ 1439 w 1933"/>
              <a:gd name="T25" fmla="*/ 1808 h 1933"/>
              <a:gd name="T26" fmla="*/ 449 w 1933"/>
              <a:gd name="T27" fmla="*/ 1763 h 1933"/>
              <a:gd name="T28" fmla="*/ 310 w 1933"/>
              <a:gd name="T29" fmla="*/ 1676 h 1933"/>
              <a:gd name="T30" fmla="*/ 321 w 1933"/>
              <a:gd name="T31" fmla="*/ 1663 h 1933"/>
              <a:gd name="T32" fmla="*/ 1659 w 1933"/>
              <a:gd name="T33" fmla="*/ 1629 h 1933"/>
              <a:gd name="T34" fmla="*/ 1665 w 1933"/>
              <a:gd name="T35" fmla="*/ 1631 h 1933"/>
              <a:gd name="T36" fmla="*/ 1830 w 1933"/>
              <a:gd name="T37" fmla="*/ 1362 h 1933"/>
              <a:gd name="T38" fmla="*/ 1699 w 1933"/>
              <a:gd name="T39" fmla="*/ 1593 h 1933"/>
              <a:gd name="T40" fmla="*/ 205 w 1933"/>
              <a:gd name="T41" fmla="*/ 1534 h 1933"/>
              <a:gd name="T42" fmla="*/ 105 w 1933"/>
              <a:gd name="T43" fmla="*/ 1403 h 1933"/>
              <a:gd name="T44" fmla="*/ 120 w 1933"/>
              <a:gd name="T45" fmla="*/ 1396 h 1933"/>
              <a:gd name="T46" fmla="*/ 1846 w 1933"/>
              <a:gd name="T47" fmla="*/ 1347 h 1933"/>
              <a:gd name="T48" fmla="*/ 1849 w 1933"/>
              <a:gd name="T49" fmla="*/ 1348 h 1933"/>
              <a:gd name="T50" fmla="*/ 1919 w 1933"/>
              <a:gd name="T51" fmla="*/ 1131 h 1933"/>
              <a:gd name="T52" fmla="*/ 40 w 1933"/>
              <a:gd name="T53" fmla="*/ 1207 h 1933"/>
              <a:gd name="T54" fmla="*/ 27 w 1933"/>
              <a:gd name="T55" fmla="*/ 1189 h 1933"/>
              <a:gd name="T56" fmla="*/ 18 w 1933"/>
              <a:gd name="T57" fmla="*/ 930 h 1933"/>
              <a:gd name="T58" fmla="*/ 35 w 1933"/>
              <a:gd name="T59" fmla="*/ 1196 h 1933"/>
              <a:gd name="T60" fmla="*/ 1926 w 1933"/>
              <a:gd name="T61" fmla="*/ 1080 h 1933"/>
              <a:gd name="T62" fmla="*/ 1916 w 1933"/>
              <a:gd name="T63" fmla="*/ 967 h 1933"/>
              <a:gd name="T64" fmla="*/ 1917 w 1933"/>
              <a:gd name="T65" fmla="*/ 790 h 1933"/>
              <a:gd name="T66" fmla="*/ 1921 w 1933"/>
              <a:gd name="T67" fmla="*/ 1060 h 1933"/>
              <a:gd name="T68" fmla="*/ 22 w 1933"/>
              <a:gd name="T69" fmla="*/ 879 h 1933"/>
              <a:gd name="T70" fmla="*/ 28 w 1933"/>
              <a:gd name="T71" fmla="*/ 737 h 1933"/>
              <a:gd name="T72" fmla="*/ 45 w 1933"/>
              <a:gd name="T73" fmla="*/ 741 h 1933"/>
              <a:gd name="T74" fmla="*/ 1896 w 1933"/>
              <a:gd name="T75" fmla="*/ 734 h 1933"/>
              <a:gd name="T76" fmla="*/ 1882 w 1933"/>
              <a:gd name="T77" fmla="*/ 717 h 1933"/>
              <a:gd name="T78" fmla="*/ 1796 w 1933"/>
              <a:gd name="T79" fmla="*/ 472 h 1933"/>
              <a:gd name="T80" fmla="*/ 1891 w 1933"/>
              <a:gd name="T81" fmla="*/ 723 h 1933"/>
              <a:gd name="T82" fmla="*/ 111 w 1933"/>
              <a:gd name="T83" fmla="*/ 557 h 1933"/>
              <a:gd name="T84" fmla="*/ 166 w 1933"/>
              <a:gd name="T85" fmla="*/ 426 h 1933"/>
              <a:gd name="T86" fmla="*/ 254 w 1933"/>
              <a:gd name="T87" fmla="*/ 340 h 1933"/>
              <a:gd name="T88" fmla="*/ 1767 w 1933"/>
              <a:gd name="T89" fmla="*/ 457 h 1933"/>
              <a:gd name="T90" fmla="*/ 1774 w 1933"/>
              <a:gd name="T91" fmla="*/ 461 h 1933"/>
              <a:gd name="T92" fmla="*/ 1562 w 1933"/>
              <a:gd name="T93" fmla="*/ 228 h 1933"/>
              <a:gd name="T94" fmla="*/ 1752 w 1933"/>
              <a:gd name="T95" fmla="*/ 405 h 1933"/>
              <a:gd name="T96" fmla="*/ 295 w 1933"/>
              <a:gd name="T97" fmla="*/ 273 h 1933"/>
              <a:gd name="T98" fmla="*/ 315 w 1933"/>
              <a:gd name="T99" fmla="*/ 265 h 1933"/>
              <a:gd name="T100" fmla="*/ 539 w 1933"/>
              <a:gd name="T101" fmla="*/ 120 h 1933"/>
              <a:gd name="T102" fmla="*/ 1540 w 1933"/>
              <a:gd name="T103" fmla="*/ 211 h 1933"/>
              <a:gd name="T104" fmla="*/ 1545 w 1933"/>
              <a:gd name="T105" fmla="*/ 212 h 1933"/>
              <a:gd name="T106" fmla="*/ 1263 w 1933"/>
              <a:gd name="T107" fmla="*/ 57 h 1933"/>
              <a:gd name="T108" fmla="*/ 1504 w 1933"/>
              <a:gd name="T109" fmla="*/ 183 h 1933"/>
              <a:gd name="T110" fmla="*/ 584 w 1933"/>
              <a:gd name="T111" fmla="*/ 99 h 1933"/>
              <a:gd name="T112" fmla="*/ 712 w 1933"/>
              <a:gd name="T113" fmla="*/ 35 h 1933"/>
              <a:gd name="T114" fmla="*/ 716 w 1933"/>
              <a:gd name="T115" fmla="*/ 52 h 1933"/>
              <a:gd name="T116" fmla="*/ 1214 w 1933"/>
              <a:gd name="T117" fmla="*/ 42 h 1933"/>
              <a:gd name="T118" fmla="*/ 1193 w 1933"/>
              <a:gd name="T119" fmla="*/ 46 h 1933"/>
              <a:gd name="T120" fmla="*/ 937 w 1933"/>
              <a:gd name="T121" fmla="*/ 1 h 1933"/>
              <a:gd name="T122" fmla="*/ 886 w 1933"/>
              <a:gd name="T123" fmla="*/ 21 h 1933"/>
              <a:gd name="T124" fmla="*/ 909 w 1933"/>
              <a:gd name="T125" fmla="*/ 20 h 19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933" h="1933">
                <a:moveTo>
                  <a:pt x="967" y="1933"/>
                </a:moveTo>
                <a:cubicBezTo>
                  <a:pt x="954" y="1933"/>
                  <a:pt x="941" y="1933"/>
                  <a:pt x="929" y="1933"/>
                </a:cubicBezTo>
                <a:cubicBezTo>
                  <a:pt x="929" y="1933"/>
                  <a:pt x="929" y="1933"/>
                  <a:pt x="929" y="1933"/>
                </a:cubicBezTo>
                <a:cubicBezTo>
                  <a:pt x="880" y="1931"/>
                  <a:pt x="830" y="1925"/>
                  <a:pt x="782" y="1915"/>
                </a:cubicBezTo>
                <a:cubicBezTo>
                  <a:pt x="777" y="1914"/>
                  <a:pt x="774" y="1910"/>
                  <a:pt x="775" y="1905"/>
                </a:cubicBezTo>
                <a:cubicBezTo>
                  <a:pt x="776" y="1901"/>
                  <a:pt x="780" y="1898"/>
                  <a:pt x="785" y="1899"/>
                </a:cubicBezTo>
                <a:cubicBezTo>
                  <a:pt x="833" y="1908"/>
                  <a:pt x="881" y="1914"/>
                  <a:pt x="930" y="1916"/>
                </a:cubicBezTo>
                <a:cubicBezTo>
                  <a:pt x="930" y="1916"/>
                  <a:pt x="930" y="1916"/>
                  <a:pt x="930" y="1916"/>
                </a:cubicBezTo>
                <a:cubicBezTo>
                  <a:pt x="952" y="1917"/>
                  <a:pt x="974" y="1917"/>
                  <a:pt x="995" y="1916"/>
                </a:cubicBezTo>
                <a:cubicBezTo>
                  <a:pt x="1011" y="1916"/>
                  <a:pt x="1026" y="1915"/>
                  <a:pt x="1042" y="1914"/>
                </a:cubicBezTo>
                <a:cubicBezTo>
                  <a:pt x="1046" y="1913"/>
                  <a:pt x="1050" y="1917"/>
                  <a:pt x="1051" y="1921"/>
                </a:cubicBezTo>
                <a:cubicBezTo>
                  <a:pt x="1051" y="1926"/>
                  <a:pt x="1048" y="1930"/>
                  <a:pt x="1043" y="1930"/>
                </a:cubicBezTo>
                <a:cubicBezTo>
                  <a:pt x="1027" y="1932"/>
                  <a:pt x="1011" y="1933"/>
                  <a:pt x="996" y="1933"/>
                </a:cubicBezTo>
                <a:cubicBezTo>
                  <a:pt x="986" y="1933"/>
                  <a:pt x="976" y="1933"/>
                  <a:pt x="967" y="1933"/>
                </a:cubicBezTo>
                <a:close/>
                <a:moveTo>
                  <a:pt x="1070" y="1928"/>
                </a:moveTo>
                <a:cubicBezTo>
                  <a:pt x="1066" y="1928"/>
                  <a:pt x="1063" y="1925"/>
                  <a:pt x="1062" y="1920"/>
                </a:cubicBezTo>
                <a:cubicBezTo>
                  <a:pt x="1062" y="1916"/>
                  <a:pt x="1065" y="1911"/>
                  <a:pt x="1070" y="1911"/>
                </a:cubicBezTo>
                <a:cubicBezTo>
                  <a:pt x="1077" y="1910"/>
                  <a:pt x="1085" y="1909"/>
                  <a:pt x="1092" y="1908"/>
                </a:cubicBezTo>
                <a:cubicBezTo>
                  <a:pt x="1096" y="1908"/>
                  <a:pt x="1101" y="1911"/>
                  <a:pt x="1101" y="1915"/>
                </a:cubicBezTo>
                <a:cubicBezTo>
                  <a:pt x="1102" y="1920"/>
                  <a:pt x="1099" y="1924"/>
                  <a:pt x="1094" y="1925"/>
                </a:cubicBezTo>
                <a:cubicBezTo>
                  <a:pt x="1087" y="1926"/>
                  <a:pt x="1079" y="1927"/>
                  <a:pt x="1071" y="1928"/>
                </a:cubicBezTo>
                <a:cubicBezTo>
                  <a:pt x="1071" y="1928"/>
                  <a:pt x="1071" y="1928"/>
                  <a:pt x="1070" y="1928"/>
                </a:cubicBezTo>
                <a:close/>
                <a:moveTo>
                  <a:pt x="1121" y="1921"/>
                </a:moveTo>
                <a:cubicBezTo>
                  <a:pt x="1117" y="1921"/>
                  <a:pt x="1113" y="1918"/>
                  <a:pt x="1113" y="1914"/>
                </a:cubicBezTo>
                <a:cubicBezTo>
                  <a:pt x="1112" y="1909"/>
                  <a:pt x="1115" y="1905"/>
                  <a:pt x="1120" y="1904"/>
                </a:cubicBezTo>
                <a:cubicBezTo>
                  <a:pt x="1167" y="1896"/>
                  <a:pt x="1215" y="1885"/>
                  <a:pt x="1261" y="1870"/>
                </a:cubicBezTo>
                <a:cubicBezTo>
                  <a:pt x="1261" y="1870"/>
                  <a:pt x="1261" y="1869"/>
                  <a:pt x="1261" y="1869"/>
                </a:cubicBezTo>
                <a:cubicBezTo>
                  <a:pt x="1292" y="1860"/>
                  <a:pt x="1322" y="1848"/>
                  <a:pt x="1351" y="1835"/>
                </a:cubicBezTo>
                <a:cubicBezTo>
                  <a:pt x="1356" y="1833"/>
                  <a:pt x="1361" y="1831"/>
                  <a:pt x="1365" y="1828"/>
                </a:cubicBezTo>
                <a:cubicBezTo>
                  <a:pt x="1370" y="1827"/>
                  <a:pt x="1375" y="1828"/>
                  <a:pt x="1377" y="1833"/>
                </a:cubicBezTo>
                <a:cubicBezTo>
                  <a:pt x="1379" y="1837"/>
                  <a:pt x="1377" y="1842"/>
                  <a:pt x="1372" y="1844"/>
                </a:cubicBezTo>
                <a:cubicBezTo>
                  <a:pt x="1368" y="1846"/>
                  <a:pt x="1363" y="1848"/>
                  <a:pt x="1358" y="1850"/>
                </a:cubicBezTo>
                <a:cubicBezTo>
                  <a:pt x="1328" y="1864"/>
                  <a:pt x="1297" y="1875"/>
                  <a:pt x="1266" y="1886"/>
                </a:cubicBezTo>
                <a:cubicBezTo>
                  <a:pt x="1266" y="1886"/>
                  <a:pt x="1266" y="1886"/>
                  <a:pt x="1266" y="1886"/>
                </a:cubicBezTo>
                <a:cubicBezTo>
                  <a:pt x="1219" y="1901"/>
                  <a:pt x="1171" y="1913"/>
                  <a:pt x="1122" y="1921"/>
                </a:cubicBezTo>
                <a:cubicBezTo>
                  <a:pt x="1122" y="1921"/>
                  <a:pt x="1121" y="1921"/>
                  <a:pt x="1121" y="1921"/>
                </a:cubicBezTo>
                <a:close/>
                <a:moveTo>
                  <a:pt x="756" y="1910"/>
                </a:moveTo>
                <a:cubicBezTo>
                  <a:pt x="755" y="1910"/>
                  <a:pt x="754" y="1910"/>
                  <a:pt x="754" y="1909"/>
                </a:cubicBezTo>
                <a:cubicBezTo>
                  <a:pt x="746" y="1908"/>
                  <a:pt x="739" y="1906"/>
                  <a:pt x="732" y="1904"/>
                </a:cubicBezTo>
                <a:cubicBezTo>
                  <a:pt x="727" y="1903"/>
                  <a:pt x="724" y="1898"/>
                  <a:pt x="725" y="1894"/>
                </a:cubicBezTo>
                <a:cubicBezTo>
                  <a:pt x="727" y="1889"/>
                  <a:pt x="731" y="1887"/>
                  <a:pt x="736" y="1888"/>
                </a:cubicBezTo>
                <a:cubicBezTo>
                  <a:pt x="743" y="1889"/>
                  <a:pt x="750" y="1891"/>
                  <a:pt x="758" y="1893"/>
                </a:cubicBezTo>
                <a:cubicBezTo>
                  <a:pt x="762" y="1894"/>
                  <a:pt x="765" y="1898"/>
                  <a:pt x="764" y="1903"/>
                </a:cubicBezTo>
                <a:cubicBezTo>
                  <a:pt x="763" y="1907"/>
                  <a:pt x="760" y="1910"/>
                  <a:pt x="756" y="1910"/>
                </a:cubicBezTo>
                <a:close/>
                <a:moveTo>
                  <a:pt x="706" y="1897"/>
                </a:moveTo>
                <a:cubicBezTo>
                  <a:pt x="706" y="1897"/>
                  <a:pt x="705" y="1897"/>
                  <a:pt x="704" y="1897"/>
                </a:cubicBezTo>
                <a:cubicBezTo>
                  <a:pt x="679" y="1890"/>
                  <a:pt x="654" y="1881"/>
                  <a:pt x="629" y="1872"/>
                </a:cubicBezTo>
                <a:cubicBezTo>
                  <a:pt x="618" y="1868"/>
                  <a:pt x="607" y="1864"/>
                  <a:pt x="596" y="1859"/>
                </a:cubicBezTo>
                <a:cubicBezTo>
                  <a:pt x="596" y="1859"/>
                  <a:pt x="596" y="1859"/>
                  <a:pt x="596" y="1859"/>
                </a:cubicBezTo>
                <a:cubicBezTo>
                  <a:pt x="551" y="1840"/>
                  <a:pt x="506" y="1818"/>
                  <a:pt x="464" y="1792"/>
                </a:cubicBezTo>
                <a:cubicBezTo>
                  <a:pt x="460" y="1790"/>
                  <a:pt x="459" y="1785"/>
                  <a:pt x="461" y="1781"/>
                </a:cubicBezTo>
                <a:cubicBezTo>
                  <a:pt x="464" y="1777"/>
                  <a:pt x="469" y="1775"/>
                  <a:pt x="473" y="1778"/>
                </a:cubicBezTo>
                <a:cubicBezTo>
                  <a:pt x="514" y="1803"/>
                  <a:pt x="558" y="1825"/>
                  <a:pt x="603" y="1844"/>
                </a:cubicBezTo>
                <a:cubicBezTo>
                  <a:pt x="603" y="1844"/>
                  <a:pt x="603" y="1844"/>
                  <a:pt x="603" y="1844"/>
                </a:cubicBezTo>
                <a:cubicBezTo>
                  <a:pt x="614" y="1848"/>
                  <a:pt x="624" y="1852"/>
                  <a:pt x="635" y="1856"/>
                </a:cubicBezTo>
                <a:cubicBezTo>
                  <a:pt x="659" y="1865"/>
                  <a:pt x="684" y="1873"/>
                  <a:pt x="709" y="1880"/>
                </a:cubicBezTo>
                <a:cubicBezTo>
                  <a:pt x="713" y="1882"/>
                  <a:pt x="716" y="1886"/>
                  <a:pt x="715" y="1891"/>
                </a:cubicBezTo>
                <a:cubicBezTo>
                  <a:pt x="713" y="1895"/>
                  <a:pt x="710" y="1897"/>
                  <a:pt x="706" y="1897"/>
                </a:cubicBezTo>
                <a:close/>
                <a:moveTo>
                  <a:pt x="1394" y="1832"/>
                </a:moveTo>
                <a:cubicBezTo>
                  <a:pt x="1391" y="1832"/>
                  <a:pt x="1388" y="1831"/>
                  <a:pt x="1387" y="1828"/>
                </a:cubicBezTo>
                <a:cubicBezTo>
                  <a:pt x="1385" y="1824"/>
                  <a:pt x="1386" y="1818"/>
                  <a:pt x="1391" y="1816"/>
                </a:cubicBezTo>
                <a:cubicBezTo>
                  <a:pt x="1397" y="1813"/>
                  <a:pt x="1404" y="1810"/>
                  <a:pt x="1411" y="1806"/>
                </a:cubicBezTo>
                <a:cubicBezTo>
                  <a:pt x="1415" y="1804"/>
                  <a:pt x="1420" y="1805"/>
                  <a:pt x="1422" y="1810"/>
                </a:cubicBezTo>
                <a:cubicBezTo>
                  <a:pt x="1424" y="1814"/>
                  <a:pt x="1423" y="1819"/>
                  <a:pt x="1418" y="1821"/>
                </a:cubicBezTo>
                <a:cubicBezTo>
                  <a:pt x="1412" y="1825"/>
                  <a:pt x="1405" y="1828"/>
                  <a:pt x="1398" y="1832"/>
                </a:cubicBezTo>
                <a:cubicBezTo>
                  <a:pt x="1397" y="1832"/>
                  <a:pt x="1396" y="1832"/>
                  <a:pt x="1394" y="1832"/>
                </a:cubicBezTo>
                <a:close/>
                <a:moveTo>
                  <a:pt x="1439" y="1808"/>
                </a:moveTo>
                <a:cubicBezTo>
                  <a:pt x="1436" y="1808"/>
                  <a:pt x="1433" y="1807"/>
                  <a:pt x="1432" y="1804"/>
                </a:cubicBezTo>
                <a:cubicBezTo>
                  <a:pt x="1430" y="1800"/>
                  <a:pt x="1431" y="1795"/>
                  <a:pt x="1435" y="1793"/>
                </a:cubicBezTo>
                <a:cubicBezTo>
                  <a:pt x="1477" y="1769"/>
                  <a:pt x="1518" y="1741"/>
                  <a:pt x="1556" y="1711"/>
                </a:cubicBezTo>
                <a:cubicBezTo>
                  <a:pt x="1556" y="1711"/>
                  <a:pt x="1556" y="1711"/>
                  <a:pt x="1556" y="1711"/>
                </a:cubicBezTo>
                <a:cubicBezTo>
                  <a:pt x="1585" y="1688"/>
                  <a:pt x="1613" y="1663"/>
                  <a:pt x="1640" y="1637"/>
                </a:cubicBezTo>
                <a:cubicBezTo>
                  <a:pt x="1643" y="1633"/>
                  <a:pt x="1648" y="1633"/>
                  <a:pt x="1652" y="1637"/>
                </a:cubicBezTo>
                <a:cubicBezTo>
                  <a:pt x="1655" y="1640"/>
                  <a:pt x="1655" y="1645"/>
                  <a:pt x="1652" y="1649"/>
                </a:cubicBezTo>
                <a:cubicBezTo>
                  <a:pt x="1625" y="1676"/>
                  <a:pt x="1596" y="1701"/>
                  <a:pt x="1566" y="1725"/>
                </a:cubicBezTo>
                <a:cubicBezTo>
                  <a:pt x="1566" y="1725"/>
                  <a:pt x="1566" y="1725"/>
                  <a:pt x="1566" y="1725"/>
                </a:cubicBezTo>
                <a:cubicBezTo>
                  <a:pt x="1528" y="1755"/>
                  <a:pt x="1486" y="1783"/>
                  <a:pt x="1443" y="1807"/>
                </a:cubicBezTo>
                <a:cubicBezTo>
                  <a:pt x="1442" y="1808"/>
                  <a:pt x="1441" y="1808"/>
                  <a:pt x="1439" y="1808"/>
                </a:cubicBezTo>
                <a:close/>
                <a:moveTo>
                  <a:pt x="445" y="1778"/>
                </a:moveTo>
                <a:cubicBezTo>
                  <a:pt x="443" y="1778"/>
                  <a:pt x="441" y="1778"/>
                  <a:pt x="440" y="1777"/>
                </a:cubicBezTo>
                <a:cubicBezTo>
                  <a:pt x="434" y="1773"/>
                  <a:pt x="427" y="1769"/>
                  <a:pt x="421" y="1764"/>
                </a:cubicBezTo>
                <a:cubicBezTo>
                  <a:pt x="417" y="1762"/>
                  <a:pt x="416" y="1757"/>
                  <a:pt x="419" y="1753"/>
                </a:cubicBezTo>
                <a:cubicBezTo>
                  <a:pt x="421" y="1749"/>
                  <a:pt x="427" y="1748"/>
                  <a:pt x="430" y="1750"/>
                </a:cubicBezTo>
                <a:cubicBezTo>
                  <a:pt x="437" y="1755"/>
                  <a:pt x="443" y="1759"/>
                  <a:pt x="449" y="1763"/>
                </a:cubicBezTo>
                <a:cubicBezTo>
                  <a:pt x="453" y="1765"/>
                  <a:pt x="454" y="1771"/>
                  <a:pt x="452" y="1775"/>
                </a:cubicBezTo>
                <a:cubicBezTo>
                  <a:pt x="450" y="1777"/>
                  <a:pt x="447" y="1778"/>
                  <a:pt x="445" y="1778"/>
                </a:cubicBezTo>
                <a:close/>
                <a:moveTo>
                  <a:pt x="403" y="1750"/>
                </a:moveTo>
                <a:cubicBezTo>
                  <a:pt x="401" y="1750"/>
                  <a:pt x="399" y="1749"/>
                  <a:pt x="398" y="1748"/>
                </a:cubicBezTo>
                <a:cubicBezTo>
                  <a:pt x="368" y="1726"/>
                  <a:pt x="339" y="1703"/>
                  <a:pt x="312" y="1678"/>
                </a:cubicBezTo>
                <a:cubicBezTo>
                  <a:pt x="310" y="1676"/>
                  <a:pt x="310" y="1676"/>
                  <a:pt x="310" y="1676"/>
                </a:cubicBezTo>
                <a:cubicBezTo>
                  <a:pt x="310" y="1676"/>
                  <a:pt x="310" y="1676"/>
                  <a:pt x="310" y="1676"/>
                </a:cubicBezTo>
                <a:cubicBezTo>
                  <a:pt x="273" y="1642"/>
                  <a:pt x="240" y="1605"/>
                  <a:pt x="209" y="1567"/>
                </a:cubicBezTo>
                <a:cubicBezTo>
                  <a:pt x="206" y="1563"/>
                  <a:pt x="207" y="1558"/>
                  <a:pt x="210" y="1555"/>
                </a:cubicBezTo>
                <a:cubicBezTo>
                  <a:pt x="214" y="1552"/>
                  <a:pt x="219" y="1552"/>
                  <a:pt x="222" y="1556"/>
                </a:cubicBezTo>
                <a:cubicBezTo>
                  <a:pt x="252" y="1594"/>
                  <a:pt x="286" y="1630"/>
                  <a:pt x="321" y="1663"/>
                </a:cubicBezTo>
                <a:cubicBezTo>
                  <a:pt x="321" y="1663"/>
                  <a:pt x="321" y="1663"/>
                  <a:pt x="321" y="1663"/>
                </a:cubicBezTo>
                <a:cubicBezTo>
                  <a:pt x="324" y="1666"/>
                  <a:pt x="324" y="1666"/>
                  <a:pt x="324" y="1666"/>
                </a:cubicBezTo>
                <a:cubicBezTo>
                  <a:pt x="350" y="1690"/>
                  <a:pt x="378" y="1713"/>
                  <a:pt x="408" y="1734"/>
                </a:cubicBezTo>
                <a:cubicBezTo>
                  <a:pt x="411" y="1737"/>
                  <a:pt x="412" y="1742"/>
                  <a:pt x="409" y="1746"/>
                </a:cubicBezTo>
                <a:cubicBezTo>
                  <a:pt x="408" y="1748"/>
                  <a:pt x="405" y="1750"/>
                  <a:pt x="403" y="1750"/>
                </a:cubicBezTo>
                <a:close/>
                <a:moveTo>
                  <a:pt x="1665" y="1631"/>
                </a:moveTo>
                <a:cubicBezTo>
                  <a:pt x="1663" y="1631"/>
                  <a:pt x="1661" y="1630"/>
                  <a:pt x="1659" y="1629"/>
                </a:cubicBezTo>
                <a:cubicBezTo>
                  <a:pt x="1656" y="1625"/>
                  <a:pt x="1656" y="1620"/>
                  <a:pt x="1659" y="1617"/>
                </a:cubicBezTo>
                <a:cubicBezTo>
                  <a:pt x="1664" y="1611"/>
                  <a:pt x="1669" y="1606"/>
                  <a:pt x="1674" y="1600"/>
                </a:cubicBezTo>
                <a:cubicBezTo>
                  <a:pt x="1677" y="1597"/>
                  <a:pt x="1683" y="1596"/>
                  <a:pt x="1686" y="1599"/>
                </a:cubicBezTo>
                <a:cubicBezTo>
                  <a:pt x="1690" y="1603"/>
                  <a:pt x="1690" y="1608"/>
                  <a:pt x="1687" y="1611"/>
                </a:cubicBezTo>
                <a:cubicBezTo>
                  <a:pt x="1682" y="1617"/>
                  <a:pt x="1677" y="1623"/>
                  <a:pt x="1671" y="1628"/>
                </a:cubicBezTo>
                <a:cubicBezTo>
                  <a:pt x="1670" y="1630"/>
                  <a:pt x="1668" y="1631"/>
                  <a:pt x="1665" y="1631"/>
                </a:cubicBezTo>
                <a:close/>
                <a:moveTo>
                  <a:pt x="1699" y="1593"/>
                </a:moveTo>
                <a:cubicBezTo>
                  <a:pt x="1697" y="1593"/>
                  <a:pt x="1695" y="1592"/>
                  <a:pt x="1694" y="1591"/>
                </a:cubicBezTo>
                <a:cubicBezTo>
                  <a:pt x="1690" y="1588"/>
                  <a:pt x="1690" y="1582"/>
                  <a:pt x="1693" y="1579"/>
                </a:cubicBezTo>
                <a:cubicBezTo>
                  <a:pt x="1724" y="1542"/>
                  <a:pt x="1752" y="1502"/>
                  <a:pt x="1778" y="1461"/>
                </a:cubicBezTo>
                <a:cubicBezTo>
                  <a:pt x="1778" y="1461"/>
                  <a:pt x="1778" y="1461"/>
                  <a:pt x="1778" y="1461"/>
                </a:cubicBezTo>
                <a:cubicBezTo>
                  <a:pt x="1797" y="1429"/>
                  <a:pt x="1815" y="1395"/>
                  <a:pt x="1830" y="1362"/>
                </a:cubicBezTo>
                <a:cubicBezTo>
                  <a:pt x="1832" y="1357"/>
                  <a:pt x="1837" y="1355"/>
                  <a:pt x="1841" y="1357"/>
                </a:cubicBezTo>
                <a:cubicBezTo>
                  <a:pt x="1846" y="1359"/>
                  <a:pt x="1847" y="1364"/>
                  <a:pt x="1846" y="1369"/>
                </a:cubicBezTo>
                <a:cubicBezTo>
                  <a:pt x="1830" y="1403"/>
                  <a:pt x="1812" y="1437"/>
                  <a:pt x="1792" y="1469"/>
                </a:cubicBezTo>
                <a:cubicBezTo>
                  <a:pt x="1792" y="1469"/>
                  <a:pt x="1792" y="1469"/>
                  <a:pt x="1792" y="1469"/>
                </a:cubicBezTo>
                <a:cubicBezTo>
                  <a:pt x="1766" y="1512"/>
                  <a:pt x="1737" y="1552"/>
                  <a:pt x="1706" y="1590"/>
                </a:cubicBezTo>
                <a:cubicBezTo>
                  <a:pt x="1704" y="1592"/>
                  <a:pt x="1702" y="1593"/>
                  <a:pt x="1699" y="1593"/>
                </a:cubicBezTo>
                <a:close/>
                <a:moveTo>
                  <a:pt x="198" y="1547"/>
                </a:moveTo>
                <a:cubicBezTo>
                  <a:pt x="196" y="1547"/>
                  <a:pt x="193" y="1546"/>
                  <a:pt x="192" y="1544"/>
                </a:cubicBezTo>
                <a:cubicBezTo>
                  <a:pt x="187" y="1538"/>
                  <a:pt x="183" y="1532"/>
                  <a:pt x="178" y="1525"/>
                </a:cubicBezTo>
                <a:cubicBezTo>
                  <a:pt x="176" y="1522"/>
                  <a:pt x="176" y="1516"/>
                  <a:pt x="180" y="1514"/>
                </a:cubicBezTo>
                <a:cubicBezTo>
                  <a:pt x="184" y="1511"/>
                  <a:pt x="189" y="1512"/>
                  <a:pt x="192" y="1516"/>
                </a:cubicBezTo>
                <a:cubicBezTo>
                  <a:pt x="196" y="1522"/>
                  <a:pt x="201" y="1528"/>
                  <a:pt x="205" y="1534"/>
                </a:cubicBezTo>
                <a:cubicBezTo>
                  <a:pt x="208" y="1538"/>
                  <a:pt x="207" y="1543"/>
                  <a:pt x="204" y="1546"/>
                </a:cubicBezTo>
                <a:cubicBezTo>
                  <a:pt x="202" y="1547"/>
                  <a:pt x="200" y="1547"/>
                  <a:pt x="198" y="1547"/>
                </a:cubicBezTo>
                <a:close/>
                <a:moveTo>
                  <a:pt x="169" y="1506"/>
                </a:moveTo>
                <a:cubicBezTo>
                  <a:pt x="166" y="1506"/>
                  <a:pt x="164" y="1504"/>
                  <a:pt x="162" y="1502"/>
                </a:cubicBezTo>
                <a:cubicBezTo>
                  <a:pt x="141" y="1470"/>
                  <a:pt x="122" y="1437"/>
                  <a:pt x="105" y="1403"/>
                </a:cubicBezTo>
                <a:cubicBezTo>
                  <a:pt x="105" y="1403"/>
                  <a:pt x="105" y="1403"/>
                  <a:pt x="105" y="1403"/>
                </a:cubicBezTo>
                <a:cubicBezTo>
                  <a:pt x="101" y="1395"/>
                  <a:pt x="97" y="1387"/>
                  <a:pt x="93" y="1379"/>
                </a:cubicBezTo>
                <a:cubicBezTo>
                  <a:pt x="76" y="1342"/>
                  <a:pt x="61" y="1305"/>
                  <a:pt x="48" y="1266"/>
                </a:cubicBezTo>
                <a:cubicBezTo>
                  <a:pt x="47" y="1262"/>
                  <a:pt x="49" y="1257"/>
                  <a:pt x="54" y="1256"/>
                </a:cubicBezTo>
                <a:cubicBezTo>
                  <a:pt x="58" y="1254"/>
                  <a:pt x="63" y="1257"/>
                  <a:pt x="64" y="1261"/>
                </a:cubicBezTo>
                <a:cubicBezTo>
                  <a:pt x="77" y="1299"/>
                  <a:pt x="91" y="1336"/>
                  <a:pt x="108" y="1371"/>
                </a:cubicBezTo>
                <a:cubicBezTo>
                  <a:pt x="112" y="1379"/>
                  <a:pt x="116" y="1388"/>
                  <a:pt x="120" y="1396"/>
                </a:cubicBezTo>
                <a:cubicBezTo>
                  <a:pt x="120" y="1396"/>
                  <a:pt x="120" y="1396"/>
                  <a:pt x="120" y="1396"/>
                </a:cubicBezTo>
                <a:cubicBezTo>
                  <a:pt x="137" y="1429"/>
                  <a:pt x="156" y="1461"/>
                  <a:pt x="176" y="1493"/>
                </a:cubicBezTo>
                <a:cubicBezTo>
                  <a:pt x="179" y="1496"/>
                  <a:pt x="178" y="1502"/>
                  <a:pt x="174" y="1504"/>
                </a:cubicBezTo>
                <a:cubicBezTo>
                  <a:pt x="172" y="1505"/>
                  <a:pt x="171" y="1506"/>
                  <a:pt x="169" y="1506"/>
                </a:cubicBezTo>
                <a:close/>
                <a:moveTo>
                  <a:pt x="1849" y="1348"/>
                </a:moveTo>
                <a:cubicBezTo>
                  <a:pt x="1848" y="1348"/>
                  <a:pt x="1847" y="1348"/>
                  <a:pt x="1846" y="1347"/>
                </a:cubicBezTo>
                <a:cubicBezTo>
                  <a:pt x="1842" y="1345"/>
                  <a:pt x="1840" y="1340"/>
                  <a:pt x="1841" y="1336"/>
                </a:cubicBezTo>
                <a:cubicBezTo>
                  <a:pt x="1844" y="1330"/>
                  <a:pt x="1846" y="1325"/>
                  <a:pt x="1848" y="1319"/>
                </a:cubicBezTo>
                <a:cubicBezTo>
                  <a:pt x="1850" y="1315"/>
                  <a:pt x="1855" y="1313"/>
                  <a:pt x="1859" y="1314"/>
                </a:cubicBezTo>
                <a:cubicBezTo>
                  <a:pt x="1864" y="1316"/>
                  <a:pt x="1866" y="1321"/>
                  <a:pt x="1864" y="1325"/>
                </a:cubicBezTo>
                <a:cubicBezTo>
                  <a:pt x="1862" y="1331"/>
                  <a:pt x="1859" y="1337"/>
                  <a:pt x="1857" y="1343"/>
                </a:cubicBezTo>
                <a:cubicBezTo>
                  <a:pt x="1856" y="1346"/>
                  <a:pt x="1852" y="1348"/>
                  <a:pt x="1849" y="1348"/>
                </a:cubicBezTo>
                <a:close/>
                <a:moveTo>
                  <a:pt x="1885" y="1248"/>
                </a:moveTo>
                <a:cubicBezTo>
                  <a:pt x="1884" y="1248"/>
                  <a:pt x="1883" y="1248"/>
                  <a:pt x="1882" y="1248"/>
                </a:cubicBezTo>
                <a:cubicBezTo>
                  <a:pt x="1878" y="1247"/>
                  <a:pt x="1875" y="1242"/>
                  <a:pt x="1877" y="1237"/>
                </a:cubicBezTo>
                <a:cubicBezTo>
                  <a:pt x="1887" y="1202"/>
                  <a:pt x="1896" y="1165"/>
                  <a:pt x="1902" y="1128"/>
                </a:cubicBezTo>
                <a:cubicBezTo>
                  <a:pt x="1903" y="1124"/>
                  <a:pt x="1907" y="1120"/>
                  <a:pt x="1912" y="1121"/>
                </a:cubicBezTo>
                <a:cubicBezTo>
                  <a:pt x="1917" y="1122"/>
                  <a:pt x="1920" y="1126"/>
                  <a:pt x="1919" y="1131"/>
                </a:cubicBezTo>
                <a:cubicBezTo>
                  <a:pt x="1912" y="1169"/>
                  <a:pt x="1904" y="1206"/>
                  <a:pt x="1893" y="1242"/>
                </a:cubicBezTo>
                <a:cubicBezTo>
                  <a:pt x="1892" y="1246"/>
                  <a:pt x="1888" y="1248"/>
                  <a:pt x="1885" y="1248"/>
                </a:cubicBezTo>
                <a:close/>
                <a:moveTo>
                  <a:pt x="48" y="1245"/>
                </a:moveTo>
                <a:cubicBezTo>
                  <a:pt x="44" y="1245"/>
                  <a:pt x="41" y="1243"/>
                  <a:pt x="40" y="1239"/>
                </a:cubicBezTo>
                <a:cubicBezTo>
                  <a:pt x="38" y="1232"/>
                  <a:pt x="36" y="1224"/>
                  <a:pt x="34" y="1217"/>
                </a:cubicBezTo>
                <a:cubicBezTo>
                  <a:pt x="32" y="1213"/>
                  <a:pt x="35" y="1208"/>
                  <a:pt x="40" y="1207"/>
                </a:cubicBezTo>
                <a:cubicBezTo>
                  <a:pt x="44" y="1205"/>
                  <a:pt x="49" y="1208"/>
                  <a:pt x="50" y="1213"/>
                </a:cubicBezTo>
                <a:cubicBezTo>
                  <a:pt x="52" y="1220"/>
                  <a:pt x="54" y="1227"/>
                  <a:pt x="56" y="1234"/>
                </a:cubicBezTo>
                <a:cubicBezTo>
                  <a:pt x="57" y="1239"/>
                  <a:pt x="55" y="1243"/>
                  <a:pt x="50" y="1245"/>
                </a:cubicBezTo>
                <a:cubicBezTo>
                  <a:pt x="49" y="1245"/>
                  <a:pt x="49" y="1245"/>
                  <a:pt x="48" y="1245"/>
                </a:cubicBezTo>
                <a:close/>
                <a:moveTo>
                  <a:pt x="35" y="1196"/>
                </a:moveTo>
                <a:cubicBezTo>
                  <a:pt x="31" y="1196"/>
                  <a:pt x="27" y="1193"/>
                  <a:pt x="27" y="1189"/>
                </a:cubicBezTo>
                <a:cubicBezTo>
                  <a:pt x="18" y="1152"/>
                  <a:pt x="11" y="1115"/>
                  <a:pt x="7" y="1077"/>
                </a:cubicBezTo>
                <a:cubicBezTo>
                  <a:pt x="5" y="1058"/>
                  <a:pt x="3" y="1038"/>
                  <a:pt x="2" y="1018"/>
                </a:cubicBezTo>
                <a:cubicBezTo>
                  <a:pt x="1" y="1001"/>
                  <a:pt x="0" y="984"/>
                  <a:pt x="0" y="967"/>
                </a:cubicBezTo>
                <a:cubicBezTo>
                  <a:pt x="0" y="954"/>
                  <a:pt x="1" y="942"/>
                  <a:pt x="1" y="929"/>
                </a:cubicBezTo>
                <a:cubicBezTo>
                  <a:pt x="1" y="924"/>
                  <a:pt x="6" y="921"/>
                  <a:pt x="10" y="921"/>
                </a:cubicBezTo>
                <a:cubicBezTo>
                  <a:pt x="15" y="921"/>
                  <a:pt x="18" y="925"/>
                  <a:pt x="18" y="930"/>
                </a:cubicBezTo>
                <a:cubicBezTo>
                  <a:pt x="18" y="942"/>
                  <a:pt x="17" y="955"/>
                  <a:pt x="17" y="967"/>
                </a:cubicBezTo>
                <a:cubicBezTo>
                  <a:pt x="17" y="984"/>
                  <a:pt x="18" y="1001"/>
                  <a:pt x="19" y="1017"/>
                </a:cubicBezTo>
                <a:cubicBezTo>
                  <a:pt x="20" y="1037"/>
                  <a:pt x="21" y="1056"/>
                  <a:pt x="24" y="1075"/>
                </a:cubicBezTo>
                <a:cubicBezTo>
                  <a:pt x="28" y="1112"/>
                  <a:pt x="34" y="1149"/>
                  <a:pt x="43" y="1185"/>
                </a:cubicBezTo>
                <a:cubicBezTo>
                  <a:pt x="44" y="1190"/>
                  <a:pt x="41" y="1195"/>
                  <a:pt x="37" y="1196"/>
                </a:cubicBezTo>
                <a:cubicBezTo>
                  <a:pt x="36" y="1196"/>
                  <a:pt x="35" y="1196"/>
                  <a:pt x="35" y="1196"/>
                </a:cubicBezTo>
                <a:close/>
                <a:moveTo>
                  <a:pt x="1915" y="1110"/>
                </a:moveTo>
                <a:cubicBezTo>
                  <a:pt x="1915" y="1110"/>
                  <a:pt x="1914" y="1110"/>
                  <a:pt x="1914" y="1110"/>
                </a:cubicBezTo>
                <a:cubicBezTo>
                  <a:pt x="1909" y="1109"/>
                  <a:pt x="1906" y="1105"/>
                  <a:pt x="1907" y="1100"/>
                </a:cubicBezTo>
                <a:cubicBezTo>
                  <a:pt x="1908" y="1093"/>
                  <a:pt x="1909" y="1086"/>
                  <a:pt x="1909" y="1078"/>
                </a:cubicBezTo>
                <a:cubicBezTo>
                  <a:pt x="1910" y="1074"/>
                  <a:pt x="1914" y="1070"/>
                  <a:pt x="1919" y="1071"/>
                </a:cubicBezTo>
                <a:cubicBezTo>
                  <a:pt x="1924" y="1071"/>
                  <a:pt x="1927" y="1076"/>
                  <a:pt x="1926" y="1080"/>
                </a:cubicBezTo>
                <a:cubicBezTo>
                  <a:pt x="1925" y="1088"/>
                  <a:pt x="1924" y="1095"/>
                  <a:pt x="1923" y="1103"/>
                </a:cubicBezTo>
                <a:cubicBezTo>
                  <a:pt x="1923" y="1107"/>
                  <a:pt x="1919" y="1110"/>
                  <a:pt x="1915" y="1110"/>
                </a:cubicBezTo>
                <a:close/>
                <a:moveTo>
                  <a:pt x="1921" y="1060"/>
                </a:moveTo>
                <a:cubicBezTo>
                  <a:pt x="1921" y="1060"/>
                  <a:pt x="1920" y="1060"/>
                  <a:pt x="1920" y="1060"/>
                </a:cubicBezTo>
                <a:cubicBezTo>
                  <a:pt x="1915" y="1059"/>
                  <a:pt x="1912" y="1055"/>
                  <a:pt x="1912" y="1050"/>
                </a:cubicBezTo>
                <a:cubicBezTo>
                  <a:pt x="1915" y="1023"/>
                  <a:pt x="1916" y="995"/>
                  <a:pt x="1916" y="967"/>
                </a:cubicBezTo>
                <a:cubicBezTo>
                  <a:pt x="1916" y="946"/>
                  <a:pt x="1915" y="925"/>
                  <a:pt x="1914" y="905"/>
                </a:cubicBezTo>
                <a:cubicBezTo>
                  <a:pt x="1914" y="905"/>
                  <a:pt x="1914" y="905"/>
                  <a:pt x="1914" y="905"/>
                </a:cubicBezTo>
                <a:cubicBezTo>
                  <a:pt x="1913" y="894"/>
                  <a:pt x="1912" y="884"/>
                  <a:pt x="1911" y="874"/>
                </a:cubicBezTo>
                <a:cubicBezTo>
                  <a:pt x="1909" y="847"/>
                  <a:pt x="1905" y="820"/>
                  <a:pt x="1900" y="794"/>
                </a:cubicBezTo>
                <a:cubicBezTo>
                  <a:pt x="1899" y="789"/>
                  <a:pt x="1902" y="785"/>
                  <a:pt x="1907" y="784"/>
                </a:cubicBezTo>
                <a:cubicBezTo>
                  <a:pt x="1911" y="783"/>
                  <a:pt x="1916" y="786"/>
                  <a:pt x="1917" y="790"/>
                </a:cubicBezTo>
                <a:cubicBezTo>
                  <a:pt x="1922" y="817"/>
                  <a:pt x="1926" y="845"/>
                  <a:pt x="1928" y="872"/>
                </a:cubicBezTo>
                <a:cubicBezTo>
                  <a:pt x="1929" y="883"/>
                  <a:pt x="1930" y="893"/>
                  <a:pt x="1931" y="904"/>
                </a:cubicBezTo>
                <a:cubicBezTo>
                  <a:pt x="1931" y="904"/>
                  <a:pt x="1931" y="904"/>
                  <a:pt x="1931" y="904"/>
                </a:cubicBezTo>
                <a:cubicBezTo>
                  <a:pt x="1932" y="925"/>
                  <a:pt x="1933" y="946"/>
                  <a:pt x="1933" y="967"/>
                </a:cubicBezTo>
                <a:cubicBezTo>
                  <a:pt x="1933" y="995"/>
                  <a:pt x="1932" y="1024"/>
                  <a:pt x="1929" y="1052"/>
                </a:cubicBezTo>
                <a:cubicBezTo>
                  <a:pt x="1929" y="1056"/>
                  <a:pt x="1925" y="1060"/>
                  <a:pt x="1921" y="1060"/>
                </a:cubicBezTo>
                <a:close/>
                <a:moveTo>
                  <a:pt x="11" y="910"/>
                </a:moveTo>
                <a:cubicBezTo>
                  <a:pt x="11" y="910"/>
                  <a:pt x="11" y="909"/>
                  <a:pt x="11" y="909"/>
                </a:cubicBezTo>
                <a:cubicBezTo>
                  <a:pt x="6" y="909"/>
                  <a:pt x="2" y="905"/>
                  <a:pt x="3" y="900"/>
                </a:cubicBezTo>
                <a:cubicBezTo>
                  <a:pt x="3" y="893"/>
                  <a:pt x="4" y="885"/>
                  <a:pt x="5" y="878"/>
                </a:cubicBezTo>
                <a:cubicBezTo>
                  <a:pt x="5" y="873"/>
                  <a:pt x="9" y="870"/>
                  <a:pt x="14" y="870"/>
                </a:cubicBezTo>
                <a:cubicBezTo>
                  <a:pt x="19" y="870"/>
                  <a:pt x="22" y="875"/>
                  <a:pt x="22" y="879"/>
                </a:cubicBezTo>
                <a:cubicBezTo>
                  <a:pt x="21" y="887"/>
                  <a:pt x="20" y="894"/>
                  <a:pt x="20" y="902"/>
                </a:cubicBezTo>
                <a:cubicBezTo>
                  <a:pt x="19" y="906"/>
                  <a:pt x="16" y="910"/>
                  <a:pt x="11" y="910"/>
                </a:cubicBezTo>
                <a:close/>
                <a:moveTo>
                  <a:pt x="16" y="859"/>
                </a:moveTo>
                <a:cubicBezTo>
                  <a:pt x="16" y="859"/>
                  <a:pt x="15" y="859"/>
                  <a:pt x="15" y="859"/>
                </a:cubicBezTo>
                <a:cubicBezTo>
                  <a:pt x="10" y="858"/>
                  <a:pt x="7" y="854"/>
                  <a:pt x="8" y="849"/>
                </a:cubicBezTo>
                <a:cubicBezTo>
                  <a:pt x="12" y="812"/>
                  <a:pt x="19" y="774"/>
                  <a:pt x="28" y="737"/>
                </a:cubicBezTo>
                <a:cubicBezTo>
                  <a:pt x="36" y="708"/>
                  <a:pt x="44" y="679"/>
                  <a:pt x="54" y="650"/>
                </a:cubicBezTo>
                <a:cubicBezTo>
                  <a:pt x="60" y="632"/>
                  <a:pt x="67" y="614"/>
                  <a:pt x="75" y="596"/>
                </a:cubicBezTo>
                <a:cubicBezTo>
                  <a:pt x="76" y="592"/>
                  <a:pt x="81" y="590"/>
                  <a:pt x="86" y="592"/>
                </a:cubicBezTo>
                <a:cubicBezTo>
                  <a:pt x="90" y="593"/>
                  <a:pt x="92" y="598"/>
                  <a:pt x="90" y="603"/>
                </a:cubicBezTo>
                <a:cubicBezTo>
                  <a:pt x="83" y="620"/>
                  <a:pt x="76" y="638"/>
                  <a:pt x="70" y="656"/>
                </a:cubicBezTo>
                <a:cubicBezTo>
                  <a:pt x="60" y="684"/>
                  <a:pt x="52" y="712"/>
                  <a:pt x="45" y="741"/>
                </a:cubicBezTo>
                <a:cubicBezTo>
                  <a:pt x="36" y="777"/>
                  <a:pt x="29" y="814"/>
                  <a:pt x="25" y="851"/>
                </a:cubicBezTo>
                <a:cubicBezTo>
                  <a:pt x="24" y="856"/>
                  <a:pt x="20" y="859"/>
                  <a:pt x="16" y="859"/>
                </a:cubicBezTo>
                <a:close/>
                <a:moveTo>
                  <a:pt x="1903" y="773"/>
                </a:moveTo>
                <a:cubicBezTo>
                  <a:pt x="1899" y="773"/>
                  <a:pt x="1895" y="770"/>
                  <a:pt x="1894" y="766"/>
                </a:cubicBezTo>
                <a:cubicBezTo>
                  <a:pt x="1893" y="759"/>
                  <a:pt x="1891" y="751"/>
                  <a:pt x="1889" y="744"/>
                </a:cubicBezTo>
                <a:cubicBezTo>
                  <a:pt x="1888" y="740"/>
                  <a:pt x="1891" y="735"/>
                  <a:pt x="1896" y="734"/>
                </a:cubicBezTo>
                <a:cubicBezTo>
                  <a:pt x="1900" y="733"/>
                  <a:pt x="1905" y="736"/>
                  <a:pt x="1906" y="740"/>
                </a:cubicBezTo>
                <a:cubicBezTo>
                  <a:pt x="1908" y="748"/>
                  <a:pt x="1909" y="755"/>
                  <a:pt x="1911" y="762"/>
                </a:cubicBezTo>
                <a:cubicBezTo>
                  <a:pt x="1912" y="767"/>
                  <a:pt x="1909" y="772"/>
                  <a:pt x="1904" y="773"/>
                </a:cubicBezTo>
                <a:cubicBezTo>
                  <a:pt x="1904" y="773"/>
                  <a:pt x="1903" y="773"/>
                  <a:pt x="1903" y="773"/>
                </a:cubicBezTo>
                <a:close/>
                <a:moveTo>
                  <a:pt x="1891" y="723"/>
                </a:moveTo>
                <a:cubicBezTo>
                  <a:pt x="1887" y="723"/>
                  <a:pt x="1883" y="721"/>
                  <a:pt x="1882" y="717"/>
                </a:cubicBezTo>
                <a:cubicBezTo>
                  <a:pt x="1870" y="670"/>
                  <a:pt x="1853" y="624"/>
                  <a:pt x="1833" y="580"/>
                </a:cubicBezTo>
                <a:cubicBezTo>
                  <a:pt x="1833" y="580"/>
                  <a:pt x="1833" y="580"/>
                  <a:pt x="1833" y="580"/>
                </a:cubicBezTo>
                <a:cubicBezTo>
                  <a:pt x="1825" y="561"/>
                  <a:pt x="1816" y="542"/>
                  <a:pt x="1806" y="524"/>
                </a:cubicBezTo>
                <a:cubicBezTo>
                  <a:pt x="1798" y="510"/>
                  <a:pt x="1790" y="495"/>
                  <a:pt x="1782" y="481"/>
                </a:cubicBezTo>
                <a:cubicBezTo>
                  <a:pt x="1779" y="477"/>
                  <a:pt x="1780" y="471"/>
                  <a:pt x="1784" y="469"/>
                </a:cubicBezTo>
                <a:cubicBezTo>
                  <a:pt x="1789" y="466"/>
                  <a:pt x="1794" y="468"/>
                  <a:pt x="1796" y="472"/>
                </a:cubicBezTo>
                <a:cubicBezTo>
                  <a:pt x="1805" y="486"/>
                  <a:pt x="1813" y="501"/>
                  <a:pt x="1821" y="516"/>
                </a:cubicBezTo>
                <a:cubicBezTo>
                  <a:pt x="1831" y="535"/>
                  <a:pt x="1840" y="554"/>
                  <a:pt x="1849" y="573"/>
                </a:cubicBezTo>
                <a:cubicBezTo>
                  <a:pt x="1849" y="573"/>
                  <a:pt x="1849" y="573"/>
                  <a:pt x="1849" y="573"/>
                </a:cubicBezTo>
                <a:cubicBezTo>
                  <a:pt x="1869" y="618"/>
                  <a:pt x="1886" y="665"/>
                  <a:pt x="1899" y="713"/>
                </a:cubicBezTo>
                <a:cubicBezTo>
                  <a:pt x="1900" y="717"/>
                  <a:pt x="1897" y="722"/>
                  <a:pt x="1893" y="723"/>
                </a:cubicBezTo>
                <a:cubicBezTo>
                  <a:pt x="1892" y="723"/>
                  <a:pt x="1891" y="723"/>
                  <a:pt x="1891" y="723"/>
                </a:cubicBezTo>
                <a:close/>
                <a:moveTo>
                  <a:pt x="94" y="582"/>
                </a:moveTo>
                <a:cubicBezTo>
                  <a:pt x="93" y="582"/>
                  <a:pt x="91" y="582"/>
                  <a:pt x="90" y="581"/>
                </a:cubicBezTo>
                <a:cubicBezTo>
                  <a:pt x="86" y="579"/>
                  <a:pt x="84" y="574"/>
                  <a:pt x="86" y="570"/>
                </a:cubicBezTo>
                <a:cubicBezTo>
                  <a:pt x="89" y="563"/>
                  <a:pt x="92" y="556"/>
                  <a:pt x="96" y="549"/>
                </a:cubicBezTo>
                <a:cubicBezTo>
                  <a:pt x="98" y="545"/>
                  <a:pt x="103" y="543"/>
                  <a:pt x="107" y="545"/>
                </a:cubicBezTo>
                <a:cubicBezTo>
                  <a:pt x="111" y="547"/>
                  <a:pt x="113" y="553"/>
                  <a:pt x="111" y="557"/>
                </a:cubicBezTo>
                <a:cubicBezTo>
                  <a:pt x="108" y="563"/>
                  <a:pt x="104" y="570"/>
                  <a:pt x="101" y="577"/>
                </a:cubicBezTo>
                <a:cubicBezTo>
                  <a:pt x="100" y="580"/>
                  <a:pt x="97" y="582"/>
                  <a:pt x="94" y="582"/>
                </a:cubicBezTo>
                <a:close/>
                <a:moveTo>
                  <a:pt x="116" y="536"/>
                </a:moveTo>
                <a:cubicBezTo>
                  <a:pt x="115" y="536"/>
                  <a:pt x="113" y="536"/>
                  <a:pt x="112" y="535"/>
                </a:cubicBezTo>
                <a:cubicBezTo>
                  <a:pt x="108" y="533"/>
                  <a:pt x="106" y="528"/>
                  <a:pt x="108" y="524"/>
                </a:cubicBezTo>
                <a:cubicBezTo>
                  <a:pt x="126" y="490"/>
                  <a:pt x="145" y="457"/>
                  <a:pt x="166" y="426"/>
                </a:cubicBezTo>
                <a:cubicBezTo>
                  <a:pt x="166" y="426"/>
                  <a:pt x="166" y="426"/>
                  <a:pt x="166" y="426"/>
                </a:cubicBezTo>
                <a:cubicBezTo>
                  <a:pt x="189" y="392"/>
                  <a:pt x="214" y="359"/>
                  <a:pt x="241" y="329"/>
                </a:cubicBezTo>
                <a:cubicBezTo>
                  <a:pt x="247" y="323"/>
                  <a:pt x="253" y="316"/>
                  <a:pt x="259" y="310"/>
                </a:cubicBezTo>
                <a:cubicBezTo>
                  <a:pt x="262" y="306"/>
                  <a:pt x="267" y="306"/>
                  <a:pt x="271" y="309"/>
                </a:cubicBezTo>
                <a:cubicBezTo>
                  <a:pt x="274" y="312"/>
                  <a:pt x="274" y="318"/>
                  <a:pt x="271" y="321"/>
                </a:cubicBezTo>
                <a:cubicBezTo>
                  <a:pt x="265" y="328"/>
                  <a:pt x="259" y="334"/>
                  <a:pt x="254" y="340"/>
                </a:cubicBezTo>
                <a:cubicBezTo>
                  <a:pt x="228" y="370"/>
                  <a:pt x="203" y="402"/>
                  <a:pt x="181" y="435"/>
                </a:cubicBezTo>
                <a:cubicBezTo>
                  <a:pt x="181" y="435"/>
                  <a:pt x="181" y="435"/>
                  <a:pt x="181" y="435"/>
                </a:cubicBezTo>
                <a:cubicBezTo>
                  <a:pt x="160" y="466"/>
                  <a:pt x="140" y="498"/>
                  <a:pt x="123" y="532"/>
                </a:cubicBezTo>
                <a:cubicBezTo>
                  <a:pt x="122" y="535"/>
                  <a:pt x="119" y="536"/>
                  <a:pt x="116" y="536"/>
                </a:cubicBezTo>
                <a:close/>
                <a:moveTo>
                  <a:pt x="1774" y="461"/>
                </a:moveTo>
                <a:cubicBezTo>
                  <a:pt x="1771" y="461"/>
                  <a:pt x="1768" y="459"/>
                  <a:pt x="1767" y="457"/>
                </a:cubicBezTo>
                <a:cubicBezTo>
                  <a:pt x="1763" y="450"/>
                  <a:pt x="1759" y="444"/>
                  <a:pt x="1755" y="438"/>
                </a:cubicBezTo>
                <a:cubicBezTo>
                  <a:pt x="1752" y="434"/>
                  <a:pt x="1753" y="429"/>
                  <a:pt x="1757" y="426"/>
                </a:cubicBezTo>
                <a:cubicBezTo>
                  <a:pt x="1761" y="424"/>
                  <a:pt x="1766" y="425"/>
                  <a:pt x="1769" y="428"/>
                </a:cubicBezTo>
                <a:cubicBezTo>
                  <a:pt x="1773" y="435"/>
                  <a:pt x="1777" y="441"/>
                  <a:pt x="1781" y="448"/>
                </a:cubicBezTo>
                <a:cubicBezTo>
                  <a:pt x="1784" y="451"/>
                  <a:pt x="1783" y="457"/>
                  <a:pt x="1779" y="459"/>
                </a:cubicBezTo>
                <a:cubicBezTo>
                  <a:pt x="1777" y="460"/>
                  <a:pt x="1776" y="461"/>
                  <a:pt x="1774" y="461"/>
                </a:cubicBezTo>
                <a:close/>
                <a:moveTo>
                  <a:pt x="1746" y="418"/>
                </a:moveTo>
                <a:cubicBezTo>
                  <a:pt x="1743" y="418"/>
                  <a:pt x="1740" y="417"/>
                  <a:pt x="1739" y="415"/>
                </a:cubicBezTo>
                <a:cubicBezTo>
                  <a:pt x="1710" y="375"/>
                  <a:pt x="1679" y="338"/>
                  <a:pt x="1645" y="303"/>
                </a:cubicBezTo>
                <a:cubicBezTo>
                  <a:pt x="1645" y="303"/>
                  <a:pt x="1645" y="303"/>
                  <a:pt x="1645" y="303"/>
                </a:cubicBezTo>
                <a:cubicBezTo>
                  <a:pt x="1624" y="281"/>
                  <a:pt x="1601" y="260"/>
                  <a:pt x="1577" y="240"/>
                </a:cubicBezTo>
                <a:cubicBezTo>
                  <a:pt x="1572" y="236"/>
                  <a:pt x="1567" y="232"/>
                  <a:pt x="1562" y="228"/>
                </a:cubicBezTo>
                <a:cubicBezTo>
                  <a:pt x="1559" y="225"/>
                  <a:pt x="1558" y="220"/>
                  <a:pt x="1561" y="216"/>
                </a:cubicBezTo>
                <a:cubicBezTo>
                  <a:pt x="1564" y="212"/>
                  <a:pt x="1569" y="212"/>
                  <a:pt x="1573" y="215"/>
                </a:cubicBezTo>
                <a:cubicBezTo>
                  <a:pt x="1578" y="219"/>
                  <a:pt x="1583" y="223"/>
                  <a:pt x="1588" y="227"/>
                </a:cubicBezTo>
                <a:cubicBezTo>
                  <a:pt x="1612" y="247"/>
                  <a:pt x="1635" y="269"/>
                  <a:pt x="1657" y="291"/>
                </a:cubicBezTo>
                <a:cubicBezTo>
                  <a:pt x="1657" y="291"/>
                  <a:pt x="1657" y="291"/>
                  <a:pt x="1657" y="291"/>
                </a:cubicBezTo>
                <a:cubicBezTo>
                  <a:pt x="1692" y="327"/>
                  <a:pt x="1724" y="365"/>
                  <a:pt x="1752" y="405"/>
                </a:cubicBezTo>
                <a:cubicBezTo>
                  <a:pt x="1755" y="409"/>
                  <a:pt x="1754" y="414"/>
                  <a:pt x="1750" y="417"/>
                </a:cubicBezTo>
                <a:cubicBezTo>
                  <a:pt x="1749" y="418"/>
                  <a:pt x="1747" y="418"/>
                  <a:pt x="1746" y="418"/>
                </a:cubicBezTo>
                <a:close/>
                <a:moveTo>
                  <a:pt x="284" y="304"/>
                </a:moveTo>
                <a:cubicBezTo>
                  <a:pt x="282" y="304"/>
                  <a:pt x="280" y="303"/>
                  <a:pt x="279" y="301"/>
                </a:cubicBezTo>
                <a:cubicBezTo>
                  <a:pt x="275" y="298"/>
                  <a:pt x="275" y="292"/>
                  <a:pt x="278" y="289"/>
                </a:cubicBezTo>
                <a:cubicBezTo>
                  <a:pt x="284" y="284"/>
                  <a:pt x="289" y="278"/>
                  <a:pt x="295" y="273"/>
                </a:cubicBezTo>
                <a:cubicBezTo>
                  <a:pt x="298" y="270"/>
                  <a:pt x="303" y="270"/>
                  <a:pt x="307" y="273"/>
                </a:cubicBezTo>
                <a:cubicBezTo>
                  <a:pt x="310" y="277"/>
                  <a:pt x="310" y="282"/>
                  <a:pt x="306" y="285"/>
                </a:cubicBezTo>
                <a:cubicBezTo>
                  <a:pt x="301" y="290"/>
                  <a:pt x="296" y="296"/>
                  <a:pt x="291" y="301"/>
                </a:cubicBezTo>
                <a:cubicBezTo>
                  <a:pt x="289" y="303"/>
                  <a:pt x="287" y="304"/>
                  <a:pt x="284" y="304"/>
                </a:cubicBezTo>
                <a:close/>
                <a:moveTo>
                  <a:pt x="321" y="268"/>
                </a:moveTo>
                <a:cubicBezTo>
                  <a:pt x="319" y="268"/>
                  <a:pt x="317" y="267"/>
                  <a:pt x="315" y="265"/>
                </a:cubicBezTo>
                <a:cubicBezTo>
                  <a:pt x="312" y="262"/>
                  <a:pt x="312" y="257"/>
                  <a:pt x="315" y="253"/>
                </a:cubicBezTo>
                <a:cubicBezTo>
                  <a:pt x="343" y="228"/>
                  <a:pt x="373" y="204"/>
                  <a:pt x="404" y="182"/>
                </a:cubicBezTo>
                <a:cubicBezTo>
                  <a:pt x="404" y="182"/>
                  <a:pt x="404" y="182"/>
                  <a:pt x="404" y="182"/>
                </a:cubicBezTo>
                <a:cubicBezTo>
                  <a:pt x="444" y="153"/>
                  <a:pt x="487" y="127"/>
                  <a:pt x="531" y="105"/>
                </a:cubicBezTo>
                <a:cubicBezTo>
                  <a:pt x="535" y="103"/>
                  <a:pt x="540" y="105"/>
                  <a:pt x="542" y="109"/>
                </a:cubicBezTo>
                <a:cubicBezTo>
                  <a:pt x="545" y="113"/>
                  <a:pt x="543" y="118"/>
                  <a:pt x="539" y="120"/>
                </a:cubicBezTo>
                <a:cubicBezTo>
                  <a:pt x="495" y="142"/>
                  <a:pt x="454" y="167"/>
                  <a:pt x="414" y="196"/>
                </a:cubicBezTo>
                <a:cubicBezTo>
                  <a:pt x="414" y="196"/>
                  <a:pt x="414" y="196"/>
                  <a:pt x="414" y="196"/>
                </a:cubicBezTo>
                <a:cubicBezTo>
                  <a:pt x="384" y="217"/>
                  <a:pt x="354" y="241"/>
                  <a:pt x="327" y="266"/>
                </a:cubicBezTo>
                <a:cubicBezTo>
                  <a:pt x="325" y="268"/>
                  <a:pt x="323" y="268"/>
                  <a:pt x="321" y="268"/>
                </a:cubicBezTo>
                <a:close/>
                <a:moveTo>
                  <a:pt x="1545" y="212"/>
                </a:moveTo>
                <a:cubicBezTo>
                  <a:pt x="1543" y="212"/>
                  <a:pt x="1542" y="212"/>
                  <a:pt x="1540" y="211"/>
                </a:cubicBezTo>
                <a:cubicBezTo>
                  <a:pt x="1534" y="206"/>
                  <a:pt x="1528" y="202"/>
                  <a:pt x="1522" y="197"/>
                </a:cubicBezTo>
                <a:cubicBezTo>
                  <a:pt x="1518" y="195"/>
                  <a:pt x="1517" y="189"/>
                  <a:pt x="1520" y="185"/>
                </a:cubicBezTo>
                <a:cubicBezTo>
                  <a:pt x="1523" y="182"/>
                  <a:pt x="1528" y="181"/>
                  <a:pt x="1532" y="183"/>
                </a:cubicBezTo>
                <a:cubicBezTo>
                  <a:pt x="1538" y="188"/>
                  <a:pt x="1544" y="192"/>
                  <a:pt x="1550" y="197"/>
                </a:cubicBezTo>
                <a:cubicBezTo>
                  <a:pt x="1554" y="200"/>
                  <a:pt x="1555" y="205"/>
                  <a:pt x="1552" y="209"/>
                </a:cubicBezTo>
                <a:cubicBezTo>
                  <a:pt x="1550" y="211"/>
                  <a:pt x="1548" y="212"/>
                  <a:pt x="1545" y="212"/>
                </a:cubicBezTo>
                <a:close/>
                <a:moveTo>
                  <a:pt x="1504" y="183"/>
                </a:moveTo>
                <a:cubicBezTo>
                  <a:pt x="1502" y="183"/>
                  <a:pt x="1501" y="182"/>
                  <a:pt x="1499" y="181"/>
                </a:cubicBezTo>
                <a:cubicBezTo>
                  <a:pt x="1459" y="154"/>
                  <a:pt x="1416" y="130"/>
                  <a:pt x="1372" y="109"/>
                </a:cubicBezTo>
                <a:cubicBezTo>
                  <a:pt x="1372" y="109"/>
                  <a:pt x="1372" y="109"/>
                  <a:pt x="1372" y="109"/>
                </a:cubicBezTo>
                <a:cubicBezTo>
                  <a:pt x="1339" y="93"/>
                  <a:pt x="1304" y="79"/>
                  <a:pt x="1268" y="67"/>
                </a:cubicBezTo>
                <a:cubicBezTo>
                  <a:pt x="1264" y="66"/>
                  <a:pt x="1262" y="61"/>
                  <a:pt x="1263" y="57"/>
                </a:cubicBezTo>
                <a:cubicBezTo>
                  <a:pt x="1265" y="52"/>
                  <a:pt x="1269" y="50"/>
                  <a:pt x="1274" y="51"/>
                </a:cubicBezTo>
                <a:cubicBezTo>
                  <a:pt x="1310" y="63"/>
                  <a:pt x="1345" y="78"/>
                  <a:pt x="1380" y="94"/>
                </a:cubicBezTo>
                <a:cubicBezTo>
                  <a:pt x="1380" y="94"/>
                  <a:pt x="1380" y="94"/>
                  <a:pt x="1380" y="94"/>
                </a:cubicBezTo>
                <a:cubicBezTo>
                  <a:pt x="1424" y="115"/>
                  <a:pt x="1468" y="140"/>
                  <a:pt x="1509" y="167"/>
                </a:cubicBezTo>
                <a:cubicBezTo>
                  <a:pt x="1512" y="170"/>
                  <a:pt x="1513" y="175"/>
                  <a:pt x="1511" y="179"/>
                </a:cubicBezTo>
                <a:cubicBezTo>
                  <a:pt x="1509" y="181"/>
                  <a:pt x="1507" y="183"/>
                  <a:pt x="1504" y="183"/>
                </a:cubicBezTo>
                <a:close/>
                <a:moveTo>
                  <a:pt x="560" y="109"/>
                </a:moveTo>
                <a:cubicBezTo>
                  <a:pt x="557" y="109"/>
                  <a:pt x="554" y="107"/>
                  <a:pt x="553" y="104"/>
                </a:cubicBezTo>
                <a:cubicBezTo>
                  <a:pt x="551" y="100"/>
                  <a:pt x="552" y="95"/>
                  <a:pt x="557" y="93"/>
                </a:cubicBezTo>
                <a:cubicBezTo>
                  <a:pt x="563" y="89"/>
                  <a:pt x="570" y="86"/>
                  <a:pt x="577" y="83"/>
                </a:cubicBezTo>
                <a:cubicBezTo>
                  <a:pt x="582" y="81"/>
                  <a:pt x="587" y="83"/>
                  <a:pt x="589" y="87"/>
                </a:cubicBezTo>
                <a:cubicBezTo>
                  <a:pt x="590" y="92"/>
                  <a:pt x="589" y="97"/>
                  <a:pt x="584" y="99"/>
                </a:cubicBezTo>
                <a:cubicBezTo>
                  <a:pt x="577" y="102"/>
                  <a:pt x="571" y="105"/>
                  <a:pt x="564" y="108"/>
                </a:cubicBezTo>
                <a:cubicBezTo>
                  <a:pt x="563" y="108"/>
                  <a:pt x="561" y="109"/>
                  <a:pt x="560" y="109"/>
                </a:cubicBezTo>
                <a:close/>
                <a:moveTo>
                  <a:pt x="607" y="88"/>
                </a:moveTo>
                <a:cubicBezTo>
                  <a:pt x="604" y="88"/>
                  <a:pt x="600" y="86"/>
                  <a:pt x="599" y="83"/>
                </a:cubicBezTo>
                <a:cubicBezTo>
                  <a:pt x="597" y="79"/>
                  <a:pt x="599" y="74"/>
                  <a:pt x="604" y="72"/>
                </a:cubicBezTo>
                <a:cubicBezTo>
                  <a:pt x="639" y="58"/>
                  <a:pt x="675" y="45"/>
                  <a:pt x="712" y="35"/>
                </a:cubicBezTo>
                <a:cubicBezTo>
                  <a:pt x="712" y="35"/>
                  <a:pt x="712" y="35"/>
                  <a:pt x="712" y="35"/>
                </a:cubicBezTo>
                <a:cubicBezTo>
                  <a:pt x="760" y="22"/>
                  <a:pt x="808" y="13"/>
                  <a:pt x="857" y="7"/>
                </a:cubicBezTo>
                <a:cubicBezTo>
                  <a:pt x="862" y="7"/>
                  <a:pt x="866" y="10"/>
                  <a:pt x="867" y="15"/>
                </a:cubicBezTo>
                <a:cubicBezTo>
                  <a:pt x="867" y="19"/>
                  <a:pt x="864" y="23"/>
                  <a:pt x="859" y="24"/>
                </a:cubicBezTo>
                <a:cubicBezTo>
                  <a:pt x="811" y="30"/>
                  <a:pt x="763" y="39"/>
                  <a:pt x="716" y="52"/>
                </a:cubicBezTo>
                <a:cubicBezTo>
                  <a:pt x="716" y="52"/>
                  <a:pt x="716" y="52"/>
                  <a:pt x="716" y="52"/>
                </a:cubicBezTo>
                <a:cubicBezTo>
                  <a:pt x="680" y="62"/>
                  <a:pt x="645" y="74"/>
                  <a:pt x="610" y="88"/>
                </a:cubicBezTo>
                <a:cubicBezTo>
                  <a:pt x="609" y="88"/>
                  <a:pt x="608" y="88"/>
                  <a:pt x="607" y="88"/>
                </a:cubicBezTo>
                <a:close/>
                <a:moveTo>
                  <a:pt x="1244" y="59"/>
                </a:moveTo>
                <a:cubicBezTo>
                  <a:pt x="1243" y="59"/>
                  <a:pt x="1243" y="59"/>
                  <a:pt x="1242" y="59"/>
                </a:cubicBezTo>
                <a:cubicBezTo>
                  <a:pt x="1235" y="57"/>
                  <a:pt x="1227" y="55"/>
                  <a:pt x="1220" y="53"/>
                </a:cubicBezTo>
                <a:cubicBezTo>
                  <a:pt x="1216" y="51"/>
                  <a:pt x="1213" y="47"/>
                  <a:pt x="1214" y="42"/>
                </a:cubicBezTo>
                <a:cubicBezTo>
                  <a:pt x="1216" y="38"/>
                  <a:pt x="1220" y="35"/>
                  <a:pt x="1225" y="36"/>
                </a:cubicBezTo>
                <a:cubicBezTo>
                  <a:pt x="1232" y="38"/>
                  <a:pt x="1239" y="40"/>
                  <a:pt x="1247" y="43"/>
                </a:cubicBezTo>
                <a:cubicBezTo>
                  <a:pt x="1251" y="44"/>
                  <a:pt x="1254" y="49"/>
                  <a:pt x="1252" y="53"/>
                </a:cubicBezTo>
                <a:cubicBezTo>
                  <a:pt x="1251" y="57"/>
                  <a:pt x="1248" y="59"/>
                  <a:pt x="1244" y="59"/>
                </a:cubicBezTo>
                <a:close/>
                <a:moveTo>
                  <a:pt x="1195" y="46"/>
                </a:moveTo>
                <a:cubicBezTo>
                  <a:pt x="1194" y="46"/>
                  <a:pt x="1194" y="46"/>
                  <a:pt x="1193" y="46"/>
                </a:cubicBezTo>
                <a:cubicBezTo>
                  <a:pt x="1146" y="34"/>
                  <a:pt x="1098" y="26"/>
                  <a:pt x="1050" y="22"/>
                </a:cubicBezTo>
                <a:cubicBezTo>
                  <a:pt x="1050" y="22"/>
                  <a:pt x="1049" y="22"/>
                  <a:pt x="1049" y="22"/>
                </a:cubicBezTo>
                <a:cubicBezTo>
                  <a:pt x="1012" y="18"/>
                  <a:pt x="975" y="17"/>
                  <a:pt x="937" y="18"/>
                </a:cubicBezTo>
                <a:cubicBezTo>
                  <a:pt x="937" y="18"/>
                  <a:pt x="937" y="18"/>
                  <a:pt x="937" y="18"/>
                </a:cubicBezTo>
                <a:cubicBezTo>
                  <a:pt x="933" y="18"/>
                  <a:pt x="929" y="15"/>
                  <a:pt x="929" y="10"/>
                </a:cubicBezTo>
                <a:cubicBezTo>
                  <a:pt x="929" y="5"/>
                  <a:pt x="932" y="1"/>
                  <a:pt x="937" y="1"/>
                </a:cubicBezTo>
                <a:cubicBezTo>
                  <a:pt x="975" y="0"/>
                  <a:pt x="1013" y="1"/>
                  <a:pt x="1051" y="5"/>
                </a:cubicBezTo>
                <a:cubicBezTo>
                  <a:pt x="1051" y="5"/>
                  <a:pt x="1051" y="5"/>
                  <a:pt x="1051" y="5"/>
                </a:cubicBezTo>
                <a:cubicBezTo>
                  <a:pt x="1100" y="9"/>
                  <a:pt x="1149" y="17"/>
                  <a:pt x="1197" y="29"/>
                </a:cubicBezTo>
                <a:cubicBezTo>
                  <a:pt x="1202" y="30"/>
                  <a:pt x="1205" y="35"/>
                  <a:pt x="1203" y="39"/>
                </a:cubicBezTo>
                <a:cubicBezTo>
                  <a:pt x="1202" y="43"/>
                  <a:pt x="1199" y="46"/>
                  <a:pt x="1195" y="46"/>
                </a:cubicBezTo>
                <a:close/>
                <a:moveTo>
                  <a:pt x="886" y="21"/>
                </a:moveTo>
                <a:cubicBezTo>
                  <a:pt x="882" y="21"/>
                  <a:pt x="878" y="18"/>
                  <a:pt x="878" y="13"/>
                </a:cubicBezTo>
                <a:cubicBezTo>
                  <a:pt x="878" y="9"/>
                  <a:pt x="881" y="5"/>
                  <a:pt x="886" y="4"/>
                </a:cubicBezTo>
                <a:cubicBezTo>
                  <a:pt x="888" y="4"/>
                  <a:pt x="891" y="4"/>
                  <a:pt x="894" y="4"/>
                </a:cubicBezTo>
                <a:cubicBezTo>
                  <a:pt x="899" y="3"/>
                  <a:pt x="904" y="3"/>
                  <a:pt x="908" y="3"/>
                </a:cubicBezTo>
                <a:cubicBezTo>
                  <a:pt x="913" y="2"/>
                  <a:pt x="917" y="6"/>
                  <a:pt x="917" y="11"/>
                </a:cubicBezTo>
                <a:cubicBezTo>
                  <a:pt x="918" y="15"/>
                  <a:pt x="914" y="19"/>
                  <a:pt x="909" y="20"/>
                </a:cubicBezTo>
                <a:cubicBezTo>
                  <a:pt x="905" y="20"/>
                  <a:pt x="900" y="20"/>
                  <a:pt x="895" y="21"/>
                </a:cubicBezTo>
                <a:cubicBezTo>
                  <a:pt x="892" y="21"/>
                  <a:pt x="890" y="21"/>
                  <a:pt x="887" y="21"/>
                </a:cubicBezTo>
                <a:cubicBezTo>
                  <a:pt x="887" y="21"/>
                  <a:pt x="887" y="21"/>
                  <a:pt x="886" y="21"/>
                </a:cubicBezTo>
                <a:close/>
              </a:path>
            </a:pathLst>
          </a:custGeom>
          <a:solidFill>
            <a:schemeClr val="accent2"/>
          </a:solidFill>
          <a:ln>
            <a:noFill/>
          </a:ln>
        </p:spPr>
        <p:txBody>
          <a:bodyPr vert="horz" wrap="square" lIns="45714" tIns="22857" rIns="45714" bIns="22857" numCol="1" anchor="t" anchorCtr="0" compatLnSpc="1">
            <a:prstTxWarp prst="textNoShape">
              <a:avLst/>
            </a:prstTxWarp>
          </a:body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US" sz="900" b="0" i="0" u="none" strike="noStrike" kern="1200" cap="none" spc="0" normalizeH="0" baseline="0" noProof="0">
              <a:ln>
                <a:noFill/>
              </a:ln>
              <a:solidFill>
                <a:srgbClr val="343A3F"/>
              </a:solidFill>
              <a:effectLst/>
              <a:uLnTx/>
              <a:uFillTx/>
              <a:latin typeface="Roboto Light"/>
              <a:ea typeface="+mn-ea"/>
              <a:cs typeface="+mn-cs"/>
            </a:endParaRPr>
          </a:p>
        </p:txBody>
      </p:sp>
      <p:sp>
        <p:nvSpPr>
          <p:cNvPr id="9" name="Freeform 8">
            <a:extLst>
              <a:ext uri="{FF2B5EF4-FFF2-40B4-BE49-F238E27FC236}">
                <a16:creationId xmlns:a16="http://schemas.microsoft.com/office/drawing/2014/main" id="{3C0EC176-8C17-4D8E-9FCD-6BB352737979}"/>
              </a:ext>
            </a:extLst>
          </p:cNvPr>
          <p:cNvSpPr>
            <a:spLocks noEditPoints="1"/>
          </p:cNvSpPr>
          <p:nvPr/>
        </p:nvSpPr>
        <p:spPr bwMode="auto">
          <a:xfrm>
            <a:off x="4128032" y="1308652"/>
            <a:ext cx="3935937" cy="3935937"/>
          </a:xfrm>
          <a:custGeom>
            <a:avLst/>
            <a:gdLst>
              <a:gd name="T0" fmla="*/ 931 w 1861"/>
              <a:gd name="T1" fmla="*/ 1843 h 1860"/>
              <a:gd name="T2" fmla="*/ 1074 w 1861"/>
              <a:gd name="T3" fmla="*/ 1849 h 1860"/>
              <a:gd name="T4" fmla="*/ 867 w 1861"/>
              <a:gd name="T5" fmla="*/ 1850 h 1860"/>
              <a:gd name="T6" fmla="*/ 790 w 1861"/>
              <a:gd name="T7" fmla="*/ 1850 h 1860"/>
              <a:gd name="T8" fmla="*/ 629 w 1861"/>
              <a:gd name="T9" fmla="*/ 1792 h 1860"/>
              <a:gd name="T10" fmla="*/ 1148 w 1861"/>
              <a:gd name="T11" fmla="*/ 1826 h 1860"/>
              <a:gd name="T12" fmla="*/ 1176 w 1861"/>
              <a:gd name="T13" fmla="*/ 1812 h 1860"/>
              <a:gd name="T14" fmla="*/ 1356 w 1861"/>
              <a:gd name="T15" fmla="*/ 1757 h 1860"/>
              <a:gd name="T16" fmla="*/ 597 w 1861"/>
              <a:gd name="T17" fmla="*/ 1798 h 1860"/>
              <a:gd name="T18" fmla="*/ 571 w 1861"/>
              <a:gd name="T19" fmla="*/ 1788 h 1860"/>
              <a:gd name="T20" fmla="*/ 577 w 1861"/>
              <a:gd name="T21" fmla="*/ 1772 h 1860"/>
              <a:gd name="T22" fmla="*/ 1423 w 1861"/>
              <a:gd name="T23" fmla="*/ 1710 h 1860"/>
              <a:gd name="T24" fmla="*/ 1605 w 1861"/>
              <a:gd name="T25" fmla="*/ 1547 h 1860"/>
              <a:gd name="T26" fmla="*/ 350 w 1861"/>
              <a:gd name="T27" fmla="*/ 1657 h 1860"/>
              <a:gd name="T28" fmla="*/ 328 w 1861"/>
              <a:gd name="T29" fmla="*/ 1639 h 1860"/>
              <a:gd name="T30" fmla="*/ 340 w 1861"/>
              <a:gd name="T31" fmla="*/ 1638 h 1860"/>
              <a:gd name="T32" fmla="*/ 1636 w 1861"/>
              <a:gd name="T33" fmla="*/ 1537 h 1860"/>
              <a:gd name="T34" fmla="*/ 1759 w 1861"/>
              <a:gd name="T35" fmla="*/ 1314 h 1860"/>
              <a:gd name="T36" fmla="*/ 158 w 1861"/>
              <a:gd name="T37" fmla="*/ 1448 h 1860"/>
              <a:gd name="T38" fmla="*/ 170 w 1861"/>
              <a:gd name="T39" fmla="*/ 1450 h 1860"/>
              <a:gd name="T40" fmla="*/ 128 w 1861"/>
              <a:gd name="T41" fmla="*/ 1366 h 1860"/>
              <a:gd name="T42" fmla="*/ 14 w 1861"/>
              <a:gd name="T43" fmla="*/ 1086 h 1860"/>
              <a:gd name="T44" fmla="*/ 84 w 1861"/>
              <a:gd name="T45" fmla="*/ 1303 h 1860"/>
              <a:gd name="T46" fmla="*/ 1789 w 1861"/>
              <a:gd name="T47" fmla="*/ 1274 h 1860"/>
              <a:gd name="T48" fmla="*/ 1846 w 1861"/>
              <a:gd name="T49" fmla="*/ 1039 h 1860"/>
              <a:gd name="T50" fmla="*/ 18 w 1861"/>
              <a:gd name="T51" fmla="*/ 1065 h 1860"/>
              <a:gd name="T52" fmla="*/ 18 w 1861"/>
              <a:gd name="T53" fmla="*/ 1065 h 1860"/>
              <a:gd name="T54" fmla="*/ 19 w 1861"/>
              <a:gd name="T55" fmla="*/ 795 h 1860"/>
              <a:gd name="T56" fmla="*/ 15 w 1861"/>
              <a:gd name="T57" fmla="*/ 1037 h 1860"/>
              <a:gd name="T58" fmla="*/ 1848 w 1861"/>
              <a:gd name="T59" fmla="*/ 1027 h 1860"/>
              <a:gd name="T60" fmla="*/ 1838 w 1861"/>
              <a:gd name="T61" fmla="*/ 822 h 1860"/>
              <a:gd name="T62" fmla="*/ 1861 w 1861"/>
              <a:gd name="T63" fmla="*/ 930 h 1860"/>
              <a:gd name="T64" fmla="*/ 24 w 1861"/>
              <a:gd name="T65" fmla="*/ 767 h 1860"/>
              <a:gd name="T66" fmla="*/ 26 w 1861"/>
              <a:gd name="T67" fmla="*/ 756 h 1860"/>
              <a:gd name="T68" fmla="*/ 107 w 1861"/>
              <a:gd name="T69" fmla="*/ 537 h 1860"/>
              <a:gd name="T70" fmla="*/ 1824 w 1861"/>
              <a:gd name="T71" fmla="*/ 739 h 1860"/>
              <a:gd name="T72" fmla="*/ 1763 w 1861"/>
              <a:gd name="T73" fmla="*/ 553 h 1860"/>
              <a:gd name="T74" fmla="*/ 1834 w 1861"/>
              <a:gd name="T75" fmla="*/ 708 h 1860"/>
              <a:gd name="T76" fmla="*/ 104 w 1861"/>
              <a:gd name="T77" fmla="*/ 504 h 1860"/>
              <a:gd name="T78" fmla="*/ 121 w 1861"/>
              <a:gd name="T79" fmla="*/ 490 h 1860"/>
              <a:gd name="T80" fmla="*/ 161 w 1861"/>
              <a:gd name="T81" fmla="*/ 439 h 1860"/>
              <a:gd name="T82" fmla="*/ 1736 w 1861"/>
              <a:gd name="T83" fmla="*/ 482 h 1860"/>
              <a:gd name="T84" fmla="*/ 1569 w 1861"/>
              <a:gd name="T85" fmla="*/ 273 h 1860"/>
              <a:gd name="T86" fmla="*/ 1717 w 1861"/>
              <a:gd name="T87" fmla="*/ 459 h 1860"/>
              <a:gd name="T88" fmla="*/ 284 w 1861"/>
              <a:gd name="T89" fmla="*/ 286 h 1860"/>
              <a:gd name="T90" fmla="*/ 334 w 1861"/>
              <a:gd name="T91" fmla="*/ 216 h 1860"/>
              <a:gd name="T92" fmla="*/ 345 w 1861"/>
              <a:gd name="T93" fmla="*/ 229 h 1860"/>
              <a:gd name="T94" fmla="*/ 1562 w 1861"/>
              <a:gd name="T95" fmla="*/ 247 h 1860"/>
              <a:gd name="T96" fmla="*/ 1341 w 1861"/>
              <a:gd name="T97" fmla="*/ 105 h 1860"/>
              <a:gd name="T98" fmla="*/ 1544 w 1861"/>
              <a:gd name="T99" fmla="*/ 234 h 1860"/>
              <a:gd name="T100" fmla="*/ 512 w 1861"/>
              <a:gd name="T101" fmla="*/ 109 h 1860"/>
              <a:gd name="T102" fmla="*/ 526 w 1861"/>
              <a:gd name="T103" fmla="*/ 93 h 1860"/>
              <a:gd name="T104" fmla="*/ 550 w 1861"/>
              <a:gd name="T105" fmla="*/ 100 h 1860"/>
              <a:gd name="T106" fmla="*/ 1327 w 1861"/>
              <a:gd name="T107" fmla="*/ 89 h 1860"/>
              <a:gd name="T108" fmla="*/ 1079 w 1861"/>
              <a:gd name="T109" fmla="*/ 29 h 1860"/>
              <a:gd name="T110" fmla="*/ 1301 w 1861"/>
              <a:gd name="T111" fmla="*/ 77 h 1860"/>
              <a:gd name="T112" fmla="*/ 770 w 1861"/>
              <a:gd name="T113" fmla="*/ 14 h 1860"/>
              <a:gd name="T114" fmla="*/ 798 w 1861"/>
              <a:gd name="T115" fmla="*/ 10 h 1860"/>
              <a:gd name="T116" fmla="*/ 1024 w 1861"/>
              <a:gd name="T117" fmla="*/ 22 h 1860"/>
              <a:gd name="T118" fmla="*/ 1053 w 1861"/>
              <a:gd name="T119" fmla="*/ 25 h 1860"/>
              <a:gd name="T120" fmla="*/ 1061 w 1861"/>
              <a:gd name="T121" fmla="*/ 18 h 1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61" h="1860">
                <a:moveTo>
                  <a:pt x="931" y="1860"/>
                </a:moveTo>
                <a:cubicBezTo>
                  <a:pt x="922" y="1860"/>
                  <a:pt x="912" y="1860"/>
                  <a:pt x="903" y="1860"/>
                </a:cubicBezTo>
                <a:cubicBezTo>
                  <a:pt x="901" y="1860"/>
                  <a:pt x="899" y="1859"/>
                  <a:pt x="897" y="1857"/>
                </a:cubicBezTo>
                <a:cubicBezTo>
                  <a:pt x="896" y="1856"/>
                  <a:pt x="895" y="1854"/>
                  <a:pt x="895" y="1851"/>
                </a:cubicBezTo>
                <a:cubicBezTo>
                  <a:pt x="895" y="1847"/>
                  <a:pt x="899" y="1843"/>
                  <a:pt x="904" y="1843"/>
                </a:cubicBezTo>
                <a:cubicBezTo>
                  <a:pt x="904" y="1843"/>
                  <a:pt x="904" y="1843"/>
                  <a:pt x="904" y="1843"/>
                </a:cubicBezTo>
                <a:cubicBezTo>
                  <a:pt x="913" y="1843"/>
                  <a:pt x="922" y="1843"/>
                  <a:pt x="931" y="1843"/>
                </a:cubicBezTo>
                <a:cubicBezTo>
                  <a:pt x="958" y="1843"/>
                  <a:pt x="985" y="1842"/>
                  <a:pt x="1011" y="1840"/>
                </a:cubicBezTo>
                <a:cubicBezTo>
                  <a:pt x="1031" y="1838"/>
                  <a:pt x="1052" y="1836"/>
                  <a:pt x="1071" y="1833"/>
                </a:cubicBezTo>
                <a:cubicBezTo>
                  <a:pt x="1072" y="1833"/>
                  <a:pt x="1072" y="1833"/>
                  <a:pt x="1072" y="1833"/>
                </a:cubicBezTo>
                <a:cubicBezTo>
                  <a:pt x="1090" y="1830"/>
                  <a:pt x="1108" y="1826"/>
                  <a:pt x="1126" y="1822"/>
                </a:cubicBezTo>
                <a:cubicBezTo>
                  <a:pt x="1131" y="1821"/>
                  <a:pt x="1136" y="1824"/>
                  <a:pt x="1137" y="1829"/>
                </a:cubicBezTo>
                <a:cubicBezTo>
                  <a:pt x="1138" y="1833"/>
                  <a:pt x="1135" y="1838"/>
                  <a:pt x="1130" y="1839"/>
                </a:cubicBezTo>
                <a:cubicBezTo>
                  <a:pt x="1112" y="1843"/>
                  <a:pt x="1093" y="1846"/>
                  <a:pt x="1074" y="1849"/>
                </a:cubicBezTo>
                <a:cubicBezTo>
                  <a:pt x="1074" y="1849"/>
                  <a:pt x="1074" y="1849"/>
                  <a:pt x="1074" y="1849"/>
                </a:cubicBezTo>
                <a:cubicBezTo>
                  <a:pt x="1074" y="1849"/>
                  <a:pt x="1074" y="1849"/>
                  <a:pt x="1074" y="1849"/>
                </a:cubicBezTo>
                <a:cubicBezTo>
                  <a:pt x="1054" y="1853"/>
                  <a:pt x="1033" y="1855"/>
                  <a:pt x="1013" y="1857"/>
                </a:cubicBezTo>
                <a:cubicBezTo>
                  <a:pt x="986" y="1859"/>
                  <a:pt x="958" y="1860"/>
                  <a:pt x="931" y="1860"/>
                </a:cubicBezTo>
                <a:close/>
                <a:moveTo>
                  <a:pt x="875" y="1859"/>
                </a:moveTo>
                <a:cubicBezTo>
                  <a:pt x="875" y="1859"/>
                  <a:pt x="875" y="1859"/>
                  <a:pt x="875" y="1859"/>
                </a:cubicBezTo>
                <a:cubicBezTo>
                  <a:pt x="870" y="1858"/>
                  <a:pt x="867" y="1854"/>
                  <a:pt x="867" y="1850"/>
                </a:cubicBezTo>
                <a:cubicBezTo>
                  <a:pt x="867" y="1845"/>
                  <a:pt x="871" y="1841"/>
                  <a:pt x="876" y="1842"/>
                </a:cubicBezTo>
                <a:cubicBezTo>
                  <a:pt x="878" y="1842"/>
                  <a:pt x="880" y="1843"/>
                  <a:pt x="882" y="1845"/>
                </a:cubicBezTo>
                <a:cubicBezTo>
                  <a:pt x="883" y="1846"/>
                  <a:pt x="884" y="1849"/>
                  <a:pt x="884" y="1851"/>
                </a:cubicBezTo>
                <a:cubicBezTo>
                  <a:pt x="884" y="1855"/>
                  <a:pt x="880" y="1859"/>
                  <a:pt x="875" y="1859"/>
                </a:cubicBezTo>
                <a:close/>
                <a:moveTo>
                  <a:pt x="847" y="1857"/>
                </a:moveTo>
                <a:cubicBezTo>
                  <a:pt x="847" y="1857"/>
                  <a:pt x="847" y="1857"/>
                  <a:pt x="846" y="1857"/>
                </a:cubicBezTo>
                <a:cubicBezTo>
                  <a:pt x="828" y="1855"/>
                  <a:pt x="809" y="1852"/>
                  <a:pt x="790" y="1850"/>
                </a:cubicBezTo>
                <a:cubicBezTo>
                  <a:pt x="745" y="1843"/>
                  <a:pt x="700" y="1832"/>
                  <a:pt x="657" y="1819"/>
                </a:cubicBezTo>
                <a:cubicBezTo>
                  <a:pt x="646" y="1816"/>
                  <a:pt x="635" y="1812"/>
                  <a:pt x="624" y="1808"/>
                </a:cubicBezTo>
                <a:cubicBezTo>
                  <a:pt x="623" y="1808"/>
                  <a:pt x="623" y="1808"/>
                  <a:pt x="623" y="1808"/>
                </a:cubicBezTo>
                <a:cubicBezTo>
                  <a:pt x="623" y="1808"/>
                  <a:pt x="623" y="1808"/>
                  <a:pt x="623" y="1808"/>
                </a:cubicBezTo>
                <a:cubicBezTo>
                  <a:pt x="621" y="1807"/>
                  <a:pt x="620" y="1806"/>
                  <a:pt x="619" y="1804"/>
                </a:cubicBezTo>
                <a:cubicBezTo>
                  <a:pt x="618" y="1802"/>
                  <a:pt x="618" y="1800"/>
                  <a:pt x="619" y="1797"/>
                </a:cubicBezTo>
                <a:cubicBezTo>
                  <a:pt x="620" y="1793"/>
                  <a:pt x="625" y="1791"/>
                  <a:pt x="629" y="1792"/>
                </a:cubicBezTo>
                <a:cubicBezTo>
                  <a:pt x="640" y="1796"/>
                  <a:pt x="651" y="1800"/>
                  <a:pt x="662" y="1803"/>
                </a:cubicBezTo>
                <a:cubicBezTo>
                  <a:pt x="704" y="1816"/>
                  <a:pt x="748" y="1826"/>
                  <a:pt x="792" y="1833"/>
                </a:cubicBezTo>
                <a:cubicBezTo>
                  <a:pt x="811" y="1836"/>
                  <a:pt x="829" y="1838"/>
                  <a:pt x="848" y="1840"/>
                </a:cubicBezTo>
                <a:cubicBezTo>
                  <a:pt x="853" y="1840"/>
                  <a:pt x="856" y="1844"/>
                  <a:pt x="856" y="1849"/>
                </a:cubicBezTo>
                <a:cubicBezTo>
                  <a:pt x="855" y="1853"/>
                  <a:pt x="852" y="1857"/>
                  <a:pt x="847" y="1857"/>
                </a:cubicBezTo>
                <a:close/>
                <a:moveTo>
                  <a:pt x="1156" y="1832"/>
                </a:moveTo>
                <a:cubicBezTo>
                  <a:pt x="1152" y="1832"/>
                  <a:pt x="1149" y="1830"/>
                  <a:pt x="1148" y="1826"/>
                </a:cubicBezTo>
                <a:cubicBezTo>
                  <a:pt x="1146" y="1822"/>
                  <a:pt x="1149" y="1817"/>
                  <a:pt x="1154" y="1816"/>
                </a:cubicBezTo>
                <a:cubicBezTo>
                  <a:pt x="1158" y="1815"/>
                  <a:pt x="1163" y="1817"/>
                  <a:pt x="1164" y="1822"/>
                </a:cubicBezTo>
                <a:cubicBezTo>
                  <a:pt x="1165" y="1826"/>
                  <a:pt x="1162" y="1831"/>
                  <a:pt x="1158" y="1832"/>
                </a:cubicBezTo>
                <a:cubicBezTo>
                  <a:pt x="1157" y="1832"/>
                  <a:pt x="1157" y="1832"/>
                  <a:pt x="1156" y="1832"/>
                </a:cubicBezTo>
                <a:close/>
                <a:moveTo>
                  <a:pt x="1183" y="1825"/>
                </a:moveTo>
                <a:cubicBezTo>
                  <a:pt x="1179" y="1825"/>
                  <a:pt x="1176" y="1823"/>
                  <a:pt x="1175" y="1819"/>
                </a:cubicBezTo>
                <a:cubicBezTo>
                  <a:pt x="1174" y="1817"/>
                  <a:pt x="1175" y="1814"/>
                  <a:pt x="1176" y="1812"/>
                </a:cubicBezTo>
                <a:cubicBezTo>
                  <a:pt x="1177" y="1811"/>
                  <a:pt x="1179" y="1809"/>
                  <a:pt x="1181" y="1808"/>
                </a:cubicBezTo>
                <a:cubicBezTo>
                  <a:pt x="1235" y="1793"/>
                  <a:pt x="1287" y="1773"/>
                  <a:pt x="1337" y="1748"/>
                </a:cubicBezTo>
                <a:cubicBezTo>
                  <a:pt x="1341" y="1746"/>
                  <a:pt x="1345" y="1744"/>
                  <a:pt x="1348" y="1742"/>
                </a:cubicBezTo>
                <a:cubicBezTo>
                  <a:pt x="1361" y="1735"/>
                  <a:pt x="1374" y="1728"/>
                  <a:pt x="1387" y="1721"/>
                </a:cubicBezTo>
                <a:cubicBezTo>
                  <a:pt x="1391" y="1719"/>
                  <a:pt x="1396" y="1720"/>
                  <a:pt x="1398" y="1724"/>
                </a:cubicBezTo>
                <a:cubicBezTo>
                  <a:pt x="1401" y="1728"/>
                  <a:pt x="1399" y="1734"/>
                  <a:pt x="1395" y="1736"/>
                </a:cubicBezTo>
                <a:cubicBezTo>
                  <a:pt x="1383" y="1743"/>
                  <a:pt x="1369" y="1750"/>
                  <a:pt x="1356" y="1757"/>
                </a:cubicBezTo>
                <a:cubicBezTo>
                  <a:pt x="1352" y="1759"/>
                  <a:pt x="1349" y="1761"/>
                  <a:pt x="1345" y="1763"/>
                </a:cubicBezTo>
                <a:cubicBezTo>
                  <a:pt x="1345" y="1763"/>
                  <a:pt x="1345" y="1763"/>
                  <a:pt x="1345" y="1763"/>
                </a:cubicBezTo>
                <a:cubicBezTo>
                  <a:pt x="1345" y="1763"/>
                  <a:pt x="1345" y="1763"/>
                  <a:pt x="1344" y="1763"/>
                </a:cubicBezTo>
                <a:cubicBezTo>
                  <a:pt x="1294" y="1788"/>
                  <a:pt x="1240" y="1809"/>
                  <a:pt x="1185" y="1825"/>
                </a:cubicBezTo>
                <a:cubicBezTo>
                  <a:pt x="1185" y="1825"/>
                  <a:pt x="1184" y="1825"/>
                  <a:pt x="1183" y="1825"/>
                </a:cubicBezTo>
                <a:close/>
                <a:moveTo>
                  <a:pt x="600" y="1799"/>
                </a:moveTo>
                <a:cubicBezTo>
                  <a:pt x="599" y="1799"/>
                  <a:pt x="598" y="1799"/>
                  <a:pt x="597" y="1798"/>
                </a:cubicBezTo>
                <a:cubicBezTo>
                  <a:pt x="595" y="1798"/>
                  <a:pt x="593" y="1796"/>
                  <a:pt x="592" y="1794"/>
                </a:cubicBezTo>
                <a:cubicBezTo>
                  <a:pt x="591" y="1792"/>
                  <a:pt x="591" y="1790"/>
                  <a:pt x="592" y="1787"/>
                </a:cubicBezTo>
                <a:cubicBezTo>
                  <a:pt x="594" y="1783"/>
                  <a:pt x="599" y="1781"/>
                  <a:pt x="603" y="1783"/>
                </a:cubicBezTo>
                <a:cubicBezTo>
                  <a:pt x="607" y="1784"/>
                  <a:pt x="610" y="1789"/>
                  <a:pt x="608" y="1793"/>
                </a:cubicBezTo>
                <a:cubicBezTo>
                  <a:pt x="607" y="1797"/>
                  <a:pt x="604" y="1799"/>
                  <a:pt x="600" y="1799"/>
                </a:cubicBezTo>
                <a:close/>
                <a:moveTo>
                  <a:pt x="574" y="1788"/>
                </a:moveTo>
                <a:cubicBezTo>
                  <a:pt x="573" y="1788"/>
                  <a:pt x="572" y="1788"/>
                  <a:pt x="571" y="1788"/>
                </a:cubicBezTo>
                <a:cubicBezTo>
                  <a:pt x="553" y="1780"/>
                  <a:pt x="536" y="1772"/>
                  <a:pt x="519" y="1764"/>
                </a:cubicBezTo>
                <a:cubicBezTo>
                  <a:pt x="467" y="1739"/>
                  <a:pt x="418" y="1709"/>
                  <a:pt x="373" y="1675"/>
                </a:cubicBezTo>
                <a:cubicBezTo>
                  <a:pt x="373" y="1675"/>
                  <a:pt x="373" y="1675"/>
                  <a:pt x="373" y="1675"/>
                </a:cubicBezTo>
                <a:cubicBezTo>
                  <a:pt x="369" y="1672"/>
                  <a:pt x="368" y="1666"/>
                  <a:pt x="371" y="1663"/>
                </a:cubicBezTo>
                <a:cubicBezTo>
                  <a:pt x="374" y="1659"/>
                  <a:pt x="379" y="1658"/>
                  <a:pt x="383" y="1661"/>
                </a:cubicBezTo>
                <a:cubicBezTo>
                  <a:pt x="428" y="1694"/>
                  <a:pt x="476" y="1724"/>
                  <a:pt x="526" y="1749"/>
                </a:cubicBezTo>
                <a:cubicBezTo>
                  <a:pt x="543" y="1757"/>
                  <a:pt x="560" y="1765"/>
                  <a:pt x="577" y="1772"/>
                </a:cubicBezTo>
                <a:cubicBezTo>
                  <a:pt x="581" y="1774"/>
                  <a:pt x="583" y="1779"/>
                  <a:pt x="582" y="1783"/>
                </a:cubicBezTo>
                <a:cubicBezTo>
                  <a:pt x="580" y="1786"/>
                  <a:pt x="577" y="1788"/>
                  <a:pt x="574" y="1788"/>
                </a:cubicBezTo>
                <a:close/>
                <a:moveTo>
                  <a:pt x="1415" y="1723"/>
                </a:moveTo>
                <a:cubicBezTo>
                  <a:pt x="1412" y="1723"/>
                  <a:pt x="1410" y="1721"/>
                  <a:pt x="1408" y="1719"/>
                </a:cubicBezTo>
                <a:cubicBezTo>
                  <a:pt x="1407" y="1717"/>
                  <a:pt x="1407" y="1714"/>
                  <a:pt x="1407" y="1712"/>
                </a:cubicBezTo>
                <a:cubicBezTo>
                  <a:pt x="1408" y="1710"/>
                  <a:pt x="1409" y="1708"/>
                  <a:pt x="1411" y="1707"/>
                </a:cubicBezTo>
                <a:cubicBezTo>
                  <a:pt x="1415" y="1704"/>
                  <a:pt x="1420" y="1706"/>
                  <a:pt x="1423" y="1710"/>
                </a:cubicBezTo>
                <a:cubicBezTo>
                  <a:pt x="1425" y="1714"/>
                  <a:pt x="1424" y="1719"/>
                  <a:pt x="1420" y="1721"/>
                </a:cubicBezTo>
                <a:cubicBezTo>
                  <a:pt x="1418" y="1722"/>
                  <a:pt x="1417" y="1723"/>
                  <a:pt x="1415" y="1723"/>
                </a:cubicBezTo>
                <a:close/>
                <a:moveTo>
                  <a:pt x="1439" y="1707"/>
                </a:moveTo>
                <a:cubicBezTo>
                  <a:pt x="1436" y="1707"/>
                  <a:pt x="1434" y="1706"/>
                  <a:pt x="1432" y="1704"/>
                </a:cubicBezTo>
                <a:cubicBezTo>
                  <a:pt x="1429" y="1700"/>
                  <a:pt x="1431" y="1694"/>
                  <a:pt x="1434" y="1692"/>
                </a:cubicBezTo>
                <a:cubicBezTo>
                  <a:pt x="1481" y="1661"/>
                  <a:pt x="1525" y="1626"/>
                  <a:pt x="1566" y="1587"/>
                </a:cubicBezTo>
                <a:cubicBezTo>
                  <a:pt x="1579" y="1574"/>
                  <a:pt x="1592" y="1560"/>
                  <a:pt x="1605" y="1547"/>
                </a:cubicBezTo>
                <a:cubicBezTo>
                  <a:pt x="1608" y="1543"/>
                  <a:pt x="1613" y="1543"/>
                  <a:pt x="1617" y="1546"/>
                </a:cubicBezTo>
                <a:cubicBezTo>
                  <a:pt x="1620" y="1549"/>
                  <a:pt x="1620" y="1555"/>
                  <a:pt x="1617" y="1558"/>
                </a:cubicBezTo>
                <a:cubicBezTo>
                  <a:pt x="1604" y="1572"/>
                  <a:pt x="1591" y="1586"/>
                  <a:pt x="1577" y="1599"/>
                </a:cubicBezTo>
                <a:cubicBezTo>
                  <a:pt x="1536" y="1639"/>
                  <a:pt x="1491" y="1675"/>
                  <a:pt x="1444" y="1706"/>
                </a:cubicBezTo>
                <a:cubicBezTo>
                  <a:pt x="1442" y="1707"/>
                  <a:pt x="1441" y="1707"/>
                  <a:pt x="1439" y="1707"/>
                </a:cubicBezTo>
                <a:close/>
                <a:moveTo>
                  <a:pt x="356" y="1659"/>
                </a:moveTo>
                <a:cubicBezTo>
                  <a:pt x="354" y="1659"/>
                  <a:pt x="352" y="1658"/>
                  <a:pt x="350" y="1657"/>
                </a:cubicBezTo>
                <a:cubicBezTo>
                  <a:pt x="348" y="1656"/>
                  <a:pt x="347" y="1654"/>
                  <a:pt x="347" y="1651"/>
                </a:cubicBezTo>
                <a:cubicBezTo>
                  <a:pt x="347" y="1649"/>
                  <a:pt x="347" y="1647"/>
                  <a:pt x="349" y="1645"/>
                </a:cubicBezTo>
                <a:cubicBezTo>
                  <a:pt x="352" y="1642"/>
                  <a:pt x="357" y="1641"/>
                  <a:pt x="361" y="1644"/>
                </a:cubicBezTo>
                <a:cubicBezTo>
                  <a:pt x="364" y="1647"/>
                  <a:pt x="365" y="1652"/>
                  <a:pt x="362" y="1656"/>
                </a:cubicBezTo>
                <a:cubicBezTo>
                  <a:pt x="361" y="1658"/>
                  <a:pt x="358" y="1659"/>
                  <a:pt x="356" y="1659"/>
                </a:cubicBezTo>
                <a:close/>
                <a:moveTo>
                  <a:pt x="334" y="1641"/>
                </a:moveTo>
                <a:cubicBezTo>
                  <a:pt x="332" y="1641"/>
                  <a:pt x="330" y="1640"/>
                  <a:pt x="328" y="1639"/>
                </a:cubicBezTo>
                <a:cubicBezTo>
                  <a:pt x="314" y="1627"/>
                  <a:pt x="300" y="1614"/>
                  <a:pt x="286" y="1601"/>
                </a:cubicBezTo>
                <a:cubicBezTo>
                  <a:pt x="245" y="1561"/>
                  <a:pt x="207" y="1518"/>
                  <a:pt x="174" y="1471"/>
                </a:cubicBezTo>
                <a:cubicBezTo>
                  <a:pt x="171" y="1467"/>
                  <a:pt x="172" y="1462"/>
                  <a:pt x="176" y="1459"/>
                </a:cubicBezTo>
                <a:cubicBezTo>
                  <a:pt x="180" y="1457"/>
                  <a:pt x="185" y="1458"/>
                  <a:pt x="188" y="1461"/>
                </a:cubicBezTo>
                <a:cubicBezTo>
                  <a:pt x="220" y="1507"/>
                  <a:pt x="257" y="1550"/>
                  <a:pt x="298" y="1588"/>
                </a:cubicBezTo>
                <a:cubicBezTo>
                  <a:pt x="311" y="1601"/>
                  <a:pt x="325" y="1614"/>
                  <a:pt x="339" y="1626"/>
                </a:cubicBezTo>
                <a:cubicBezTo>
                  <a:pt x="343" y="1629"/>
                  <a:pt x="343" y="1634"/>
                  <a:pt x="340" y="1638"/>
                </a:cubicBezTo>
                <a:cubicBezTo>
                  <a:pt x="339" y="1640"/>
                  <a:pt x="336" y="1641"/>
                  <a:pt x="334" y="1641"/>
                </a:cubicBezTo>
                <a:close/>
                <a:moveTo>
                  <a:pt x="1630" y="1540"/>
                </a:moveTo>
                <a:cubicBezTo>
                  <a:pt x="1628" y="1540"/>
                  <a:pt x="1626" y="1539"/>
                  <a:pt x="1624" y="1538"/>
                </a:cubicBezTo>
                <a:cubicBezTo>
                  <a:pt x="1621" y="1535"/>
                  <a:pt x="1620" y="1529"/>
                  <a:pt x="1623" y="1526"/>
                </a:cubicBezTo>
                <a:cubicBezTo>
                  <a:pt x="1626" y="1522"/>
                  <a:pt x="1632" y="1522"/>
                  <a:pt x="1635" y="1525"/>
                </a:cubicBezTo>
                <a:cubicBezTo>
                  <a:pt x="1637" y="1526"/>
                  <a:pt x="1638" y="1528"/>
                  <a:pt x="1638" y="1531"/>
                </a:cubicBezTo>
                <a:cubicBezTo>
                  <a:pt x="1638" y="1533"/>
                  <a:pt x="1638" y="1535"/>
                  <a:pt x="1636" y="1537"/>
                </a:cubicBezTo>
                <a:cubicBezTo>
                  <a:pt x="1634" y="1539"/>
                  <a:pt x="1632" y="1540"/>
                  <a:pt x="1630" y="1540"/>
                </a:cubicBezTo>
                <a:close/>
                <a:moveTo>
                  <a:pt x="1648" y="1518"/>
                </a:moveTo>
                <a:cubicBezTo>
                  <a:pt x="1646" y="1518"/>
                  <a:pt x="1644" y="1517"/>
                  <a:pt x="1642" y="1516"/>
                </a:cubicBezTo>
                <a:cubicBezTo>
                  <a:pt x="1641" y="1515"/>
                  <a:pt x="1640" y="1513"/>
                  <a:pt x="1639" y="1510"/>
                </a:cubicBezTo>
                <a:cubicBezTo>
                  <a:pt x="1639" y="1508"/>
                  <a:pt x="1640" y="1506"/>
                  <a:pt x="1641" y="1504"/>
                </a:cubicBezTo>
                <a:cubicBezTo>
                  <a:pt x="1676" y="1461"/>
                  <a:pt x="1707" y="1414"/>
                  <a:pt x="1734" y="1364"/>
                </a:cubicBezTo>
                <a:cubicBezTo>
                  <a:pt x="1743" y="1348"/>
                  <a:pt x="1751" y="1331"/>
                  <a:pt x="1759" y="1314"/>
                </a:cubicBezTo>
                <a:cubicBezTo>
                  <a:pt x="1761" y="1310"/>
                  <a:pt x="1766" y="1308"/>
                  <a:pt x="1770" y="1310"/>
                </a:cubicBezTo>
                <a:cubicBezTo>
                  <a:pt x="1775" y="1312"/>
                  <a:pt x="1776" y="1317"/>
                  <a:pt x="1775" y="1321"/>
                </a:cubicBezTo>
                <a:cubicBezTo>
                  <a:pt x="1767" y="1338"/>
                  <a:pt x="1758" y="1356"/>
                  <a:pt x="1749" y="1372"/>
                </a:cubicBezTo>
                <a:cubicBezTo>
                  <a:pt x="1722" y="1423"/>
                  <a:pt x="1690" y="1471"/>
                  <a:pt x="1654" y="1515"/>
                </a:cubicBezTo>
                <a:cubicBezTo>
                  <a:pt x="1653" y="1517"/>
                  <a:pt x="1650" y="1518"/>
                  <a:pt x="1648" y="1518"/>
                </a:cubicBezTo>
                <a:close/>
                <a:moveTo>
                  <a:pt x="165" y="1452"/>
                </a:moveTo>
                <a:cubicBezTo>
                  <a:pt x="162" y="1452"/>
                  <a:pt x="159" y="1450"/>
                  <a:pt x="158" y="1448"/>
                </a:cubicBezTo>
                <a:cubicBezTo>
                  <a:pt x="158" y="1448"/>
                  <a:pt x="158" y="1448"/>
                  <a:pt x="158" y="1448"/>
                </a:cubicBezTo>
                <a:cubicBezTo>
                  <a:pt x="158" y="1448"/>
                  <a:pt x="158" y="1448"/>
                  <a:pt x="158" y="1448"/>
                </a:cubicBezTo>
                <a:cubicBezTo>
                  <a:pt x="157" y="1446"/>
                  <a:pt x="156" y="1444"/>
                  <a:pt x="157" y="1441"/>
                </a:cubicBezTo>
                <a:cubicBezTo>
                  <a:pt x="157" y="1439"/>
                  <a:pt x="158" y="1437"/>
                  <a:pt x="160" y="1436"/>
                </a:cubicBezTo>
                <a:cubicBezTo>
                  <a:pt x="164" y="1434"/>
                  <a:pt x="169" y="1435"/>
                  <a:pt x="172" y="1438"/>
                </a:cubicBezTo>
                <a:cubicBezTo>
                  <a:pt x="172" y="1438"/>
                  <a:pt x="172" y="1438"/>
                  <a:pt x="172" y="1438"/>
                </a:cubicBezTo>
                <a:cubicBezTo>
                  <a:pt x="175" y="1442"/>
                  <a:pt x="173" y="1448"/>
                  <a:pt x="170" y="1450"/>
                </a:cubicBezTo>
                <a:cubicBezTo>
                  <a:pt x="168" y="1451"/>
                  <a:pt x="167" y="1452"/>
                  <a:pt x="165" y="1452"/>
                </a:cubicBezTo>
                <a:close/>
                <a:moveTo>
                  <a:pt x="150" y="1428"/>
                </a:moveTo>
                <a:cubicBezTo>
                  <a:pt x="147" y="1428"/>
                  <a:pt x="144" y="1426"/>
                  <a:pt x="142" y="1424"/>
                </a:cubicBezTo>
                <a:cubicBezTo>
                  <a:pt x="132" y="1408"/>
                  <a:pt x="122" y="1391"/>
                  <a:pt x="114" y="1375"/>
                </a:cubicBezTo>
                <a:cubicBezTo>
                  <a:pt x="112" y="1373"/>
                  <a:pt x="112" y="1370"/>
                  <a:pt x="113" y="1368"/>
                </a:cubicBezTo>
                <a:cubicBezTo>
                  <a:pt x="113" y="1366"/>
                  <a:pt x="115" y="1364"/>
                  <a:pt x="117" y="1363"/>
                </a:cubicBezTo>
                <a:cubicBezTo>
                  <a:pt x="121" y="1361"/>
                  <a:pt x="126" y="1362"/>
                  <a:pt x="128" y="1366"/>
                </a:cubicBezTo>
                <a:cubicBezTo>
                  <a:pt x="137" y="1383"/>
                  <a:pt x="147" y="1399"/>
                  <a:pt x="157" y="1415"/>
                </a:cubicBezTo>
                <a:cubicBezTo>
                  <a:pt x="159" y="1419"/>
                  <a:pt x="158" y="1424"/>
                  <a:pt x="154" y="1427"/>
                </a:cubicBezTo>
                <a:cubicBezTo>
                  <a:pt x="153" y="1427"/>
                  <a:pt x="151" y="1428"/>
                  <a:pt x="150" y="1428"/>
                </a:cubicBezTo>
                <a:close/>
                <a:moveTo>
                  <a:pt x="84" y="1303"/>
                </a:moveTo>
                <a:cubicBezTo>
                  <a:pt x="81" y="1303"/>
                  <a:pt x="78" y="1301"/>
                  <a:pt x="76" y="1298"/>
                </a:cubicBezTo>
                <a:cubicBezTo>
                  <a:pt x="70" y="1283"/>
                  <a:pt x="64" y="1267"/>
                  <a:pt x="58" y="1251"/>
                </a:cubicBezTo>
                <a:cubicBezTo>
                  <a:pt x="38" y="1198"/>
                  <a:pt x="23" y="1142"/>
                  <a:pt x="14" y="1086"/>
                </a:cubicBezTo>
                <a:cubicBezTo>
                  <a:pt x="13" y="1084"/>
                  <a:pt x="14" y="1082"/>
                  <a:pt x="15" y="1080"/>
                </a:cubicBezTo>
                <a:cubicBezTo>
                  <a:pt x="16" y="1078"/>
                  <a:pt x="18" y="1077"/>
                  <a:pt x="21" y="1076"/>
                </a:cubicBezTo>
                <a:cubicBezTo>
                  <a:pt x="25" y="1076"/>
                  <a:pt x="30" y="1079"/>
                  <a:pt x="30" y="1083"/>
                </a:cubicBezTo>
                <a:cubicBezTo>
                  <a:pt x="40" y="1138"/>
                  <a:pt x="54" y="1193"/>
                  <a:pt x="74" y="1246"/>
                </a:cubicBezTo>
                <a:cubicBezTo>
                  <a:pt x="79" y="1261"/>
                  <a:pt x="86" y="1276"/>
                  <a:pt x="92" y="1292"/>
                </a:cubicBezTo>
                <a:cubicBezTo>
                  <a:pt x="94" y="1296"/>
                  <a:pt x="92" y="1301"/>
                  <a:pt x="88" y="1303"/>
                </a:cubicBezTo>
                <a:cubicBezTo>
                  <a:pt x="87" y="1303"/>
                  <a:pt x="85" y="1303"/>
                  <a:pt x="84" y="1303"/>
                </a:cubicBezTo>
                <a:close/>
                <a:moveTo>
                  <a:pt x="1778" y="1300"/>
                </a:moveTo>
                <a:cubicBezTo>
                  <a:pt x="1777" y="1300"/>
                  <a:pt x="1776" y="1300"/>
                  <a:pt x="1775" y="1300"/>
                </a:cubicBezTo>
                <a:cubicBezTo>
                  <a:pt x="1771" y="1298"/>
                  <a:pt x="1769" y="1293"/>
                  <a:pt x="1771" y="1289"/>
                </a:cubicBezTo>
                <a:cubicBezTo>
                  <a:pt x="1772" y="1284"/>
                  <a:pt x="1777" y="1282"/>
                  <a:pt x="1782" y="1284"/>
                </a:cubicBezTo>
                <a:cubicBezTo>
                  <a:pt x="1786" y="1286"/>
                  <a:pt x="1788" y="1291"/>
                  <a:pt x="1786" y="1295"/>
                </a:cubicBezTo>
                <a:cubicBezTo>
                  <a:pt x="1785" y="1298"/>
                  <a:pt x="1782" y="1300"/>
                  <a:pt x="1778" y="1300"/>
                </a:cubicBezTo>
                <a:close/>
                <a:moveTo>
                  <a:pt x="1789" y="1274"/>
                </a:moveTo>
                <a:cubicBezTo>
                  <a:pt x="1788" y="1274"/>
                  <a:pt x="1787" y="1274"/>
                  <a:pt x="1786" y="1274"/>
                </a:cubicBezTo>
                <a:cubicBezTo>
                  <a:pt x="1784" y="1273"/>
                  <a:pt x="1782" y="1271"/>
                  <a:pt x="1781" y="1269"/>
                </a:cubicBezTo>
                <a:cubicBezTo>
                  <a:pt x="1780" y="1267"/>
                  <a:pt x="1780" y="1265"/>
                  <a:pt x="1781" y="1263"/>
                </a:cubicBezTo>
                <a:cubicBezTo>
                  <a:pt x="1787" y="1248"/>
                  <a:pt x="1792" y="1234"/>
                  <a:pt x="1797" y="1219"/>
                </a:cubicBezTo>
                <a:cubicBezTo>
                  <a:pt x="1810" y="1181"/>
                  <a:pt x="1820" y="1141"/>
                  <a:pt x="1828" y="1101"/>
                </a:cubicBezTo>
                <a:cubicBezTo>
                  <a:pt x="1831" y="1083"/>
                  <a:pt x="1834" y="1065"/>
                  <a:pt x="1836" y="1046"/>
                </a:cubicBezTo>
                <a:cubicBezTo>
                  <a:pt x="1837" y="1041"/>
                  <a:pt x="1841" y="1038"/>
                  <a:pt x="1846" y="1039"/>
                </a:cubicBezTo>
                <a:cubicBezTo>
                  <a:pt x="1851" y="1039"/>
                  <a:pt x="1854" y="1044"/>
                  <a:pt x="1853" y="1048"/>
                </a:cubicBezTo>
                <a:cubicBezTo>
                  <a:pt x="1851" y="1067"/>
                  <a:pt x="1848" y="1086"/>
                  <a:pt x="1844" y="1105"/>
                </a:cubicBezTo>
                <a:cubicBezTo>
                  <a:pt x="1837" y="1145"/>
                  <a:pt x="1826" y="1185"/>
                  <a:pt x="1813" y="1224"/>
                </a:cubicBezTo>
                <a:cubicBezTo>
                  <a:pt x="1808" y="1239"/>
                  <a:pt x="1803" y="1254"/>
                  <a:pt x="1797" y="1269"/>
                </a:cubicBezTo>
                <a:cubicBezTo>
                  <a:pt x="1797" y="1269"/>
                  <a:pt x="1797" y="1269"/>
                  <a:pt x="1797" y="1269"/>
                </a:cubicBezTo>
                <a:cubicBezTo>
                  <a:pt x="1796" y="1272"/>
                  <a:pt x="1793" y="1274"/>
                  <a:pt x="1789" y="1274"/>
                </a:cubicBezTo>
                <a:close/>
                <a:moveTo>
                  <a:pt x="18" y="1065"/>
                </a:moveTo>
                <a:cubicBezTo>
                  <a:pt x="13" y="1065"/>
                  <a:pt x="10" y="1062"/>
                  <a:pt x="9" y="1058"/>
                </a:cubicBezTo>
                <a:cubicBezTo>
                  <a:pt x="9" y="1056"/>
                  <a:pt x="10" y="1053"/>
                  <a:pt x="11" y="1052"/>
                </a:cubicBezTo>
                <a:cubicBezTo>
                  <a:pt x="12" y="1050"/>
                  <a:pt x="14" y="1049"/>
                  <a:pt x="16" y="1048"/>
                </a:cubicBezTo>
                <a:cubicBezTo>
                  <a:pt x="21" y="1048"/>
                  <a:pt x="25" y="1051"/>
                  <a:pt x="26" y="1056"/>
                </a:cubicBezTo>
                <a:cubicBezTo>
                  <a:pt x="26" y="1058"/>
                  <a:pt x="26" y="1060"/>
                  <a:pt x="24" y="1062"/>
                </a:cubicBezTo>
                <a:cubicBezTo>
                  <a:pt x="23" y="1064"/>
                  <a:pt x="21" y="1065"/>
                  <a:pt x="19" y="1065"/>
                </a:cubicBezTo>
                <a:cubicBezTo>
                  <a:pt x="18" y="1065"/>
                  <a:pt x="18" y="1065"/>
                  <a:pt x="18" y="1065"/>
                </a:cubicBezTo>
                <a:close/>
                <a:moveTo>
                  <a:pt x="14" y="1037"/>
                </a:moveTo>
                <a:cubicBezTo>
                  <a:pt x="10" y="1037"/>
                  <a:pt x="6" y="1034"/>
                  <a:pt x="6" y="1030"/>
                </a:cubicBezTo>
                <a:cubicBezTo>
                  <a:pt x="4" y="1011"/>
                  <a:pt x="2" y="992"/>
                  <a:pt x="1" y="973"/>
                </a:cubicBezTo>
                <a:cubicBezTo>
                  <a:pt x="1" y="965"/>
                  <a:pt x="1" y="956"/>
                  <a:pt x="1" y="949"/>
                </a:cubicBezTo>
                <a:cubicBezTo>
                  <a:pt x="1" y="943"/>
                  <a:pt x="0" y="937"/>
                  <a:pt x="0" y="931"/>
                </a:cubicBezTo>
                <a:cubicBezTo>
                  <a:pt x="0" y="888"/>
                  <a:pt x="4" y="845"/>
                  <a:pt x="9" y="802"/>
                </a:cubicBezTo>
                <a:cubicBezTo>
                  <a:pt x="10" y="797"/>
                  <a:pt x="15" y="794"/>
                  <a:pt x="19" y="795"/>
                </a:cubicBezTo>
                <a:cubicBezTo>
                  <a:pt x="21" y="795"/>
                  <a:pt x="23" y="796"/>
                  <a:pt x="25" y="798"/>
                </a:cubicBezTo>
                <a:cubicBezTo>
                  <a:pt x="26" y="800"/>
                  <a:pt x="27" y="802"/>
                  <a:pt x="26" y="804"/>
                </a:cubicBezTo>
                <a:cubicBezTo>
                  <a:pt x="20" y="846"/>
                  <a:pt x="17" y="889"/>
                  <a:pt x="17" y="931"/>
                </a:cubicBezTo>
                <a:cubicBezTo>
                  <a:pt x="17" y="937"/>
                  <a:pt x="17" y="943"/>
                  <a:pt x="18" y="948"/>
                </a:cubicBezTo>
                <a:cubicBezTo>
                  <a:pt x="18" y="956"/>
                  <a:pt x="18" y="964"/>
                  <a:pt x="18" y="972"/>
                </a:cubicBezTo>
                <a:cubicBezTo>
                  <a:pt x="19" y="990"/>
                  <a:pt x="21" y="1009"/>
                  <a:pt x="23" y="1028"/>
                </a:cubicBezTo>
                <a:cubicBezTo>
                  <a:pt x="23" y="1032"/>
                  <a:pt x="20" y="1037"/>
                  <a:pt x="15" y="1037"/>
                </a:cubicBezTo>
                <a:cubicBezTo>
                  <a:pt x="15" y="1037"/>
                  <a:pt x="14" y="1037"/>
                  <a:pt x="14" y="1037"/>
                </a:cubicBezTo>
                <a:close/>
                <a:moveTo>
                  <a:pt x="1848" y="1027"/>
                </a:moveTo>
                <a:cubicBezTo>
                  <a:pt x="1848" y="1027"/>
                  <a:pt x="1847" y="1027"/>
                  <a:pt x="1847" y="1027"/>
                </a:cubicBezTo>
                <a:cubicBezTo>
                  <a:pt x="1843" y="1027"/>
                  <a:pt x="1839" y="1023"/>
                  <a:pt x="1840" y="1018"/>
                </a:cubicBezTo>
                <a:cubicBezTo>
                  <a:pt x="1840" y="1013"/>
                  <a:pt x="1844" y="1010"/>
                  <a:pt x="1849" y="1011"/>
                </a:cubicBezTo>
                <a:cubicBezTo>
                  <a:pt x="1854" y="1011"/>
                  <a:pt x="1857" y="1015"/>
                  <a:pt x="1856" y="1020"/>
                </a:cubicBezTo>
                <a:cubicBezTo>
                  <a:pt x="1856" y="1024"/>
                  <a:pt x="1852" y="1027"/>
                  <a:pt x="1848" y="1027"/>
                </a:cubicBezTo>
                <a:close/>
                <a:moveTo>
                  <a:pt x="1850" y="999"/>
                </a:moveTo>
                <a:cubicBezTo>
                  <a:pt x="1850" y="999"/>
                  <a:pt x="1850" y="999"/>
                  <a:pt x="1850" y="999"/>
                </a:cubicBezTo>
                <a:cubicBezTo>
                  <a:pt x="1848" y="999"/>
                  <a:pt x="1845" y="998"/>
                  <a:pt x="1844" y="996"/>
                </a:cubicBezTo>
                <a:cubicBezTo>
                  <a:pt x="1842" y="995"/>
                  <a:pt x="1842" y="992"/>
                  <a:pt x="1842" y="990"/>
                </a:cubicBezTo>
                <a:cubicBezTo>
                  <a:pt x="1843" y="970"/>
                  <a:pt x="1844" y="950"/>
                  <a:pt x="1844" y="930"/>
                </a:cubicBezTo>
                <a:cubicBezTo>
                  <a:pt x="1844" y="910"/>
                  <a:pt x="1843" y="890"/>
                  <a:pt x="1842" y="871"/>
                </a:cubicBezTo>
                <a:cubicBezTo>
                  <a:pt x="1841" y="854"/>
                  <a:pt x="1839" y="838"/>
                  <a:pt x="1838" y="822"/>
                </a:cubicBezTo>
                <a:cubicBezTo>
                  <a:pt x="1835" y="804"/>
                  <a:pt x="1833" y="785"/>
                  <a:pt x="1829" y="767"/>
                </a:cubicBezTo>
                <a:cubicBezTo>
                  <a:pt x="1829" y="765"/>
                  <a:pt x="1829" y="762"/>
                  <a:pt x="1831" y="761"/>
                </a:cubicBezTo>
                <a:cubicBezTo>
                  <a:pt x="1832" y="759"/>
                  <a:pt x="1834" y="757"/>
                  <a:pt x="1836" y="757"/>
                </a:cubicBezTo>
                <a:cubicBezTo>
                  <a:pt x="1841" y="756"/>
                  <a:pt x="1845" y="759"/>
                  <a:pt x="1846" y="764"/>
                </a:cubicBezTo>
                <a:cubicBezTo>
                  <a:pt x="1849" y="783"/>
                  <a:pt x="1852" y="802"/>
                  <a:pt x="1854" y="820"/>
                </a:cubicBezTo>
                <a:cubicBezTo>
                  <a:pt x="1856" y="837"/>
                  <a:pt x="1858" y="853"/>
                  <a:pt x="1859" y="869"/>
                </a:cubicBezTo>
                <a:cubicBezTo>
                  <a:pt x="1860" y="889"/>
                  <a:pt x="1861" y="910"/>
                  <a:pt x="1861" y="930"/>
                </a:cubicBezTo>
                <a:cubicBezTo>
                  <a:pt x="1861" y="950"/>
                  <a:pt x="1860" y="971"/>
                  <a:pt x="1859" y="991"/>
                </a:cubicBezTo>
                <a:cubicBezTo>
                  <a:pt x="1859" y="996"/>
                  <a:pt x="1855" y="999"/>
                  <a:pt x="1850" y="999"/>
                </a:cubicBezTo>
                <a:close/>
                <a:moveTo>
                  <a:pt x="22" y="784"/>
                </a:moveTo>
                <a:cubicBezTo>
                  <a:pt x="22" y="784"/>
                  <a:pt x="21" y="784"/>
                  <a:pt x="21" y="783"/>
                </a:cubicBezTo>
                <a:cubicBezTo>
                  <a:pt x="16" y="783"/>
                  <a:pt x="13" y="778"/>
                  <a:pt x="14" y="774"/>
                </a:cubicBezTo>
                <a:cubicBezTo>
                  <a:pt x="14" y="773"/>
                  <a:pt x="14" y="773"/>
                  <a:pt x="14" y="773"/>
                </a:cubicBezTo>
                <a:cubicBezTo>
                  <a:pt x="15" y="769"/>
                  <a:pt x="19" y="766"/>
                  <a:pt x="24" y="767"/>
                </a:cubicBezTo>
                <a:cubicBezTo>
                  <a:pt x="26" y="767"/>
                  <a:pt x="28" y="768"/>
                  <a:pt x="29" y="770"/>
                </a:cubicBezTo>
                <a:cubicBezTo>
                  <a:pt x="30" y="772"/>
                  <a:pt x="31" y="774"/>
                  <a:pt x="31" y="776"/>
                </a:cubicBezTo>
                <a:cubicBezTo>
                  <a:pt x="31" y="776"/>
                  <a:pt x="31" y="776"/>
                  <a:pt x="31" y="776"/>
                </a:cubicBezTo>
                <a:cubicBezTo>
                  <a:pt x="31" y="777"/>
                  <a:pt x="31" y="777"/>
                  <a:pt x="31" y="777"/>
                </a:cubicBezTo>
                <a:cubicBezTo>
                  <a:pt x="30" y="781"/>
                  <a:pt x="26" y="784"/>
                  <a:pt x="22" y="784"/>
                </a:cubicBezTo>
                <a:close/>
                <a:moveTo>
                  <a:pt x="27" y="756"/>
                </a:moveTo>
                <a:cubicBezTo>
                  <a:pt x="27" y="756"/>
                  <a:pt x="26" y="756"/>
                  <a:pt x="26" y="756"/>
                </a:cubicBezTo>
                <a:cubicBezTo>
                  <a:pt x="21" y="755"/>
                  <a:pt x="18" y="750"/>
                  <a:pt x="19" y="746"/>
                </a:cubicBezTo>
                <a:cubicBezTo>
                  <a:pt x="23" y="727"/>
                  <a:pt x="27" y="708"/>
                  <a:pt x="32" y="690"/>
                </a:cubicBezTo>
                <a:cubicBezTo>
                  <a:pt x="41" y="658"/>
                  <a:pt x="51" y="627"/>
                  <a:pt x="63" y="596"/>
                </a:cubicBezTo>
                <a:cubicBezTo>
                  <a:pt x="71" y="574"/>
                  <a:pt x="81" y="551"/>
                  <a:pt x="91" y="530"/>
                </a:cubicBezTo>
                <a:cubicBezTo>
                  <a:pt x="91" y="529"/>
                  <a:pt x="91" y="529"/>
                  <a:pt x="91" y="529"/>
                </a:cubicBezTo>
                <a:cubicBezTo>
                  <a:pt x="93" y="525"/>
                  <a:pt x="99" y="524"/>
                  <a:pt x="103" y="526"/>
                </a:cubicBezTo>
                <a:cubicBezTo>
                  <a:pt x="107" y="528"/>
                  <a:pt x="109" y="533"/>
                  <a:pt x="107" y="537"/>
                </a:cubicBezTo>
                <a:cubicBezTo>
                  <a:pt x="96" y="558"/>
                  <a:pt x="87" y="580"/>
                  <a:pt x="78" y="602"/>
                </a:cubicBezTo>
                <a:cubicBezTo>
                  <a:pt x="67" y="632"/>
                  <a:pt x="57" y="663"/>
                  <a:pt x="49" y="694"/>
                </a:cubicBezTo>
                <a:cubicBezTo>
                  <a:pt x="49" y="694"/>
                  <a:pt x="49" y="695"/>
                  <a:pt x="49" y="695"/>
                </a:cubicBezTo>
                <a:cubicBezTo>
                  <a:pt x="44" y="713"/>
                  <a:pt x="39" y="731"/>
                  <a:pt x="36" y="749"/>
                </a:cubicBezTo>
                <a:cubicBezTo>
                  <a:pt x="35" y="753"/>
                  <a:pt x="31" y="756"/>
                  <a:pt x="27" y="756"/>
                </a:cubicBezTo>
                <a:close/>
                <a:moveTo>
                  <a:pt x="1832" y="746"/>
                </a:moveTo>
                <a:cubicBezTo>
                  <a:pt x="1828" y="746"/>
                  <a:pt x="1825" y="743"/>
                  <a:pt x="1824" y="739"/>
                </a:cubicBezTo>
                <a:cubicBezTo>
                  <a:pt x="1823" y="735"/>
                  <a:pt x="1826" y="730"/>
                  <a:pt x="1830" y="729"/>
                </a:cubicBezTo>
                <a:cubicBezTo>
                  <a:pt x="1835" y="728"/>
                  <a:pt x="1839" y="731"/>
                  <a:pt x="1840" y="736"/>
                </a:cubicBezTo>
                <a:cubicBezTo>
                  <a:pt x="1841" y="740"/>
                  <a:pt x="1838" y="745"/>
                  <a:pt x="1834" y="746"/>
                </a:cubicBezTo>
                <a:cubicBezTo>
                  <a:pt x="1833" y="746"/>
                  <a:pt x="1833" y="746"/>
                  <a:pt x="1832" y="746"/>
                </a:cubicBezTo>
                <a:close/>
                <a:moveTo>
                  <a:pt x="1826" y="719"/>
                </a:moveTo>
                <a:cubicBezTo>
                  <a:pt x="1822" y="719"/>
                  <a:pt x="1818" y="716"/>
                  <a:pt x="1817" y="712"/>
                </a:cubicBezTo>
                <a:cubicBezTo>
                  <a:pt x="1804" y="658"/>
                  <a:pt x="1786" y="605"/>
                  <a:pt x="1763" y="553"/>
                </a:cubicBezTo>
                <a:cubicBezTo>
                  <a:pt x="1759" y="546"/>
                  <a:pt x="1756" y="538"/>
                  <a:pt x="1752" y="531"/>
                </a:cubicBezTo>
                <a:cubicBezTo>
                  <a:pt x="1747" y="522"/>
                  <a:pt x="1743" y="512"/>
                  <a:pt x="1738" y="503"/>
                </a:cubicBezTo>
                <a:cubicBezTo>
                  <a:pt x="1736" y="499"/>
                  <a:pt x="1737" y="494"/>
                  <a:pt x="1741" y="492"/>
                </a:cubicBezTo>
                <a:cubicBezTo>
                  <a:pt x="1745" y="490"/>
                  <a:pt x="1751" y="491"/>
                  <a:pt x="1753" y="495"/>
                </a:cubicBezTo>
                <a:cubicBezTo>
                  <a:pt x="1758" y="504"/>
                  <a:pt x="1763" y="514"/>
                  <a:pt x="1767" y="524"/>
                </a:cubicBezTo>
                <a:cubicBezTo>
                  <a:pt x="1771" y="531"/>
                  <a:pt x="1775" y="539"/>
                  <a:pt x="1778" y="546"/>
                </a:cubicBezTo>
                <a:cubicBezTo>
                  <a:pt x="1802" y="598"/>
                  <a:pt x="1820" y="653"/>
                  <a:pt x="1834" y="708"/>
                </a:cubicBezTo>
                <a:cubicBezTo>
                  <a:pt x="1835" y="710"/>
                  <a:pt x="1834" y="713"/>
                  <a:pt x="1833" y="715"/>
                </a:cubicBezTo>
                <a:cubicBezTo>
                  <a:pt x="1832" y="716"/>
                  <a:pt x="1830" y="718"/>
                  <a:pt x="1828" y="718"/>
                </a:cubicBezTo>
                <a:cubicBezTo>
                  <a:pt x="1827" y="719"/>
                  <a:pt x="1826" y="719"/>
                  <a:pt x="1826" y="719"/>
                </a:cubicBezTo>
                <a:close/>
                <a:moveTo>
                  <a:pt x="112" y="516"/>
                </a:moveTo>
                <a:cubicBezTo>
                  <a:pt x="110" y="516"/>
                  <a:pt x="109" y="516"/>
                  <a:pt x="108" y="515"/>
                </a:cubicBezTo>
                <a:cubicBezTo>
                  <a:pt x="106" y="514"/>
                  <a:pt x="104" y="513"/>
                  <a:pt x="103" y="510"/>
                </a:cubicBezTo>
                <a:cubicBezTo>
                  <a:pt x="103" y="508"/>
                  <a:pt x="103" y="506"/>
                  <a:pt x="104" y="504"/>
                </a:cubicBezTo>
                <a:cubicBezTo>
                  <a:pt x="104" y="504"/>
                  <a:pt x="104" y="504"/>
                  <a:pt x="104" y="504"/>
                </a:cubicBezTo>
                <a:cubicBezTo>
                  <a:pt x="104" y="504"/>
                  <a:pt x="104" y="504"/>
                  <a:pt x="104" y="504"/>
                </a:cubicBezTo>
                <a:cubicBezTo>
                  <a:pt x="106" y="500"/>
                  <a:pt x="111" y="498"/>
                  <a:pt x="115" y="500"/>
                </a:cubicBezTo>
                <a:cubicBezTo>
                  <a:pt x="120" y="502"/>
                  <a:pt x="121" y="508"/>
                  <a:pt x="119" y="512"/>
                </a:cubicBezTo>
                <a:cubicBezTo>
                  <a:pt x="118" y="515"/>
                  <a:pt x="115" y="516"/>
                  <a:pt x="112" y="516"/>
                </a:cubicBezTo>
                <a:close/>
                <a:moveTo>
                  <a:pt x="125" y="491"/>
                </a:moveTo>
                <a:cubicBezTo>
                  <a:pt x="123" y="491"/>
                  <a:pt x="122" y="491"/>
                  <a:pt x="121" y="490"/>
                </a:cubicBezTo>
                <a:cubicBezTo>
                  <a:pt x="117" y="488"/>
                  <a:pt x="115" y="483"/>
                  <a:pt x="117" y="479"/>
                </a:cubicBezTo>
                <a:cubicBezTo>
                  <a:pt x="127" y="462"/>
                  <a:pt x="137" y="446"/>
                  <a:pt x="147" y="430"/>
                </a:cubicBezTo>
                <a:cubicBezTo>
                  <a:pt x="177" y="381"/>
                  <a:pt x="213" y="336"/>
                  <a:pt x="251" y="295"/>
                </a:cubicBezTo>
                <a:cubicBezTo>
                  <a:pt x="255" y="291"/>
                  <a:pt x="260" y="291"/>
                  <a:pt x="263" y="294"/>
                </a:cubicBezTo>
                <a:cubicBezTo>
                  <a:pt x="267" y="297"/>
                  <a:pt x="267" y="303"/>
                  <a:pt x="264" y="306"/>
                </a:cubicBezTo>
                <a:cubicBezTo>
                  <a:pt x="226" y="347"/>
                  <a:pt x="191" y="391"/>
                  <a:pt x="161" y="439"/>
                </a:cubicBezTo>
                <a:cubicBezTo>
                  <a:pt x="161" y="439"/>
                  <a:pt x="161" y="439"/>
                  <a:pt x="161" y="439"/>
                </a:cubicBezTo>
                <a:cubicBezTo>
                  <a:pt x="151" y="454"/>
                  <a:pt x="141" y="471"/>
                  <a:pt x="132" y="487"/>
                </a:cubicBezTo>
                <a:cubicBezTo>
                  <a:pt x="131" y="490"/>
                  <a:pt x="128" y="491"/>
                  <a:pt x="125" y="491"/>
                </a:cubicBezTo>
                <a:close/>
                <a:moveTo>
                  <a:pt x="1732" y="483"/>
                </a:moveTo>
                <a:cubicBezTo>
                  <a:pt x="1729" y="483"/>
                  <a:pt x="1726" y="481"/>
                  <a:pt x="1724" y="479"/>
                </a:cubicBezTo>
                <a:cubicBezTo>
                  <a:pt x="1722" y="475"/>
                  <a:pt x="1724" y="469"/>
                  <a:pt x="1728" y="467"/>
                </a:cubicBezTo>
                <a:cubicBezTo>
                  <a:pt x="1731" y="465"/>
                  <a:pt x="1737" y="466"/>
                  <a:pt x="1739" y="470"/>
                </a:cubicBezTo>
                <a:cubicBezTo>
                  <a:pt x="1741" y="474"/>
                  <a:pt x="1740" y="479"/>
                  <a:pt x="1736" y="482"/>
                </a:cubicBezTo>
                <a:cubicBezTo>
                  <a:pt x="1735" y="483"/>
                  <a:pt x="1733" y="483"/>
                  <a:pt x="1732" y="483"/>
                </a:cubicBezTo>
                <a:close/>
                <a:moveTo>
                  <a:pt x="1717" y="459"/>
                </a:moveTo>
                <a:cubicBezTo>
                  <a:pt x="1717" y="459"/>
                  <a:pt x="1717" y="459"/>
                  <a:pt x="1717" y="459"/>
                </a:cubicBezTo>
                <a:cubicBezTo>
                  <a:pt x="1714" y="459"/>
                  <a:pt x="1712" y="457"/>
                  <a:pt x="1710" y="454"/>
                </a:cubicBezTo>
                <a:cubicBezTo>
                  <a:pt x="1681" y="407"/>
                  <a:pt x="1647" y="361"/>
                  <a:pt x="1610" y="320"/>
                </a:cubicBezTo>
                <a:cubicBezTo>
                  <a:pt x="1598" y="306"/>
                  <a:pt x="1585" y="292"/>
                  <a:pt x="1571" y="279"/>
                </a:cubicBezTo>
                <a:cubicBezTo>
                  <a:pt x="1570" y="278"/>
                  <a:pt x="1569" y="276"/>
                  <a:pt x="1569" y="273"/>
                </a:cubicBezTo>
                <a:cubicBezTo>
                  <a:pt x="1569" y="271"/>
                  <a:pt x="1570" y="269"/>
                  <a:pt x="1571" y="267"/>
                </a:cubicBezTo>
                <a:cubicBezTo>
                  <a:pt x="1574" y="264"/>
                  <a:pt x="1580" y="264"/>
                  <a:pt x="1583" y="267"/>
                </a:cubicBezTo>
                <a:cubicBezTo>
                  <a:pt x="1597" y="280"/>
                  <a:pt x="1610" y="294"/>
                  <a:pt x="1623" y="308"/>
                </a:cubicBezTo>
                <a:cubicBezTo>
                  <a:pt x="1661" y="351"/>
                  <a:pt x="1695" y="397"/>
                  <a:pt x="1725" y="446"/>
                </a:cubicBezTo>
                <a:cubicBezTo>
                  <a:pt x="1726" y="448"/>
                  <a:pt x="1726" y="450"/>
                  <a:pt x="1726" y="452"/>
                </a:cubicBezTo>
                <a:cubicBezTo>
                  <a:pt x="1725" y="454"/>
                  <a:pt x="1724" y="456"/>
                  <a:pt x="1722" y="457"/>
                </a:cubicBezTo>
                <a:cubicBezTo>
                  <a:pt x="1720" y="458"/>
                  <a:pt x="1719" y="459"/>
                  <a:pt x="1717" y="459"/>
                </a:cubicBezTo>
                <a:close/>
                <a:moveTo>
                  <a:pt x="277" y="289"/>
                </a:moveTo>
                <a:cubicBezTo>
                  <a:pt x="275" y="289"/>
                  <a:pt x="273" y="288"/>
                  <a:pt x="271" y="286"/>
                </a:cubicBezTo>
                <a:cubicBezTo>
                  <a:pt x="270" y="284"/>
                  <a:pt x="269" y="282"/>
                  <a:pt x="269" y="280"/>
                </a:cubicBezTo>
                <a:cubicBezTo>
                  <a:pt x="269" y="278"/>
                  <a:pt x="270" y="276"/>
                  <a:pt x="271" y="274"/>
                </a:cubicBezTo>
                <a:cubicBezTo>
                  <a:pt x="274" y="271"/>
                  <a:pt x="280" y="271"/>
                  <a:pt x="283" y="274"/>
                </a:cubicBezTo>
                <a:cubicBezTo>
                  <a:pt x="285" y="276"/>
                  <a:pt x="286" y="278"/>
                  <a:pt x="286" y="280"/>
                </a:cubicBezTo>
                <a:cubicBezTo>
                  <a:pt x="286" y="282"/>
                  <a:pt x="285" y="284"/>
                  <a:pt x="284" y="286"/>
                </a:cubicBezTo>
                <a:cubicBezTo>
                  <a:pt x="284" y="286"/>
                  <a:pt x="284" y="286"/>
                  <a:pt x="284" y="286"/>
                </a:cubicBezTo>
                <a:cubicBezTo>
                  <a:pt x="283" y="286"/>
                  <a:pt x="283" y="286"/>
                  <a:pt x="283" y="286"/>
                </a:cubicBezTo>
                <a:cubicBezTo>
                  <a:pt x="282" y="288"/>
                  <a:pt x="280" y="289"/>
                  <a:pt x="277" y="289"/>
                </a:cubicBezTo>
                <a:close/>
                <a:moveTo>
                  <a:pt x="298" y="269"/>
                </a:moveTo>
                <a:cubicBezTo>
                  <a:pt x="295" y="269"/>
                  <a:pt x="293" y="268"/>
                  <a:pt x="291" y="266"/>
                </a:cubicBezTo>
                <a:cubicBezTo>
                  <a:pt x="288" y="263"/>
                  <a:pt x="288" y="257"/>
                  <a:pt x="292" y="254"/>
                </a:cubicBezTo>
                <a:cubicBezTo>
                  <a:pt x="305" y="241"/>
                  <a:pt x="320" y="229"/>
                  <a:pt x="334" y="216"/>
                </a:cubicBezTo>
                <a:cubicBezTo>
                  <a:pt x="334" y="216"/>
                  <a:pt x="334" y="216"/>
                  <a:pt x="334" y="216"/>
                </a:cubicBezTo>
                <a:cubicBezTo>
                  <a:pt x="335" y="216"/>
                  <a:pt x="335" y="216"/>
                  <a:pt x="335" y="216"/>
                </a:cubicBezTo>
                <a:cubicBezTo>
                  <a:pt x="378" y="180"/>
                  <a:pt x="426" y="147"/>
                  <a:pt x="475" y="119"/>
                </a:cubicBezTo>
                <a:cubicBezTo>
                  <a:pt x="479" y="117"/>
                  <a:pt x="485" y="119"/>
                  <a:pt x="487" y="123"/>
                </a:cubicBezTo>
                <a:cubicBezTo>
                  <a:pt x="488" y="125"/>
                  <a:pt x="488" y="127"/>
                  <a:pt x="488" y="129"/>
                </a:cubicBezTo>
                <a:cubicBezTo>
                  <a:pt x="487" y="131"/>
                  <a:pt x="486" y="133"/>
                  <a:pt x="484" y="134"/>
                </a:cubicBezTo>
                <a:cubicBezTo>
                  <a:pt x="435" y="162"/>
                  <a:pt x="388" y="194"/>
                  <a:pt x="345" y="229"/>
                </a:cubicBezTo>
                <a:cubicBezTo>
                  <a:pt x="331" y="241"/>
                  <a:pt x="317" y="254"/>
                  <a:pt x="303" y="266"/>
                </a:cubicBezTo>
                <a:cubicBezTo>
                  <a:pt x="302" y="268"/>
                  <a:pt x="300" y="269"/>
                  <a:pt x="298" y="269"/>
                </a:cubicBezTo>
                <a:close/>
                <a:moveTo>
                  <a:pt x="1557" y="262"/>
                </a:moveTo>
                <a:cubicBezTo>
                  <a:pt x="1555" y="262"/>
                  <a:pt x="1553" y="261"/>
                  <a:pt x="1551" y="260"/>
                </a:cubicBezTo>
                <a:cubicBezTo>
                  <a:pt x="1549" y="258"/>
                  <a:pt x="1548" y="256"/>
                  <a:pt x="1548" y="254"/>
                </a:cubicBezTo>
                <a:cubicBezTo>
                  <a:pt x="1548" y="252"/>
                  <a:pt x="1549" y="250"/>
                  <a:pt x="1550" y="248"/>
                </a:cubicBezTo>
                <a:cubicBezTo>
                  <a:pt x="1554" y="245"/>
                  <a:pt x="1559" y="244"/>
                  <a:pt x="1562" y="247"/>
                </a:cubicBezTo>
                <a:cubicBezTo>
                  <a:pt x="1566" y="251"/>
                  <a:pt x="1566" y="256"/>
                  <a:pt x="1563" y="259"/>
                </a:cubicBezTo>
                <a:cubicBezTo>
                  <a:pt x="1561" y="261"/>
                  <a:pt x="1559" y="262"/>
                  <a:pt x="1557" y="262"/>
                </a:cubicBezTo>
                <a:close/>
                <a:moveTo>
                  <a:pt x="1536" y="243"/>
                </a:moveTo>
                <a:cubicBezTo>
                  <a:pt x="1534" y="243"/>
                  <a:pt x="1532" y="243"/>
                  <a:pt x="1530" y="241"/>
                </a:cubicBezTo>
                <a:cubicBezTo>
                  <a:pt x="1488" y="205"/>
                  <a:pt x="1442" y="172"/>
                  <a:pt x="1394" y="143"/>
                </a:cubicBezTo>
                <a:cubicBezTo>
                  <a:pt x="1378" y="134"/>
                  <a:pt x="1361" y="125"/>
                  <a:pt x="1345" y="116"/>
                </a:cubicBezTo>
                <a:cubicBezTo>
                  <a:pt x="1340" y="114"/>
                  <a:pt x="1339" y="109"/>
                  <a:pt x="1341" y="105"/>
                </a:cubicBezTo>
                <a:cubicBezTo>
                  <a:pt x="1343" y="101"/>
                  <a:pt x="1348" y="99"/>
                  <a:pt x="1352" y="101"/>
                </a:cubicBezTo>
                <a:cubicBezTo>
                  <a:pt x="1369" y="110"/>
                  <a:pt x="1386" y="119"/>
                  <a:pt x="1402" y="129"/>
                </a:cubicBezTo>
                <a:cubicBezTo>
                  <a:pt x="1402" y="129"/>
                  <a:pt x="1402" y="129"/>
                  <a:pt x="1402" y="129"/>
                </a:cubicBezTo>
                <a:cubicBezTo>
                  <a:pt x="1402" y="129"/>
                  <a:pt x="1402" y="129"/>
                  <a:pt x="1403" y="129"/>
                </a:cubicBezTo>
                <a:cubicBezTo>
                  <a:pt x="1403" y="129"/>
                  <a:pt x="1403" y="129"/>
                  <a:pt x="1403" y="129"/>
                </a:cubicBezTo>
                <a:cubicBezTo>
                  <a:pt x="1452" y="158"/>
                  <a:pt x="1498" y="191"/>
                  <a:pt x="1541" y="228"/>
                </a:cubicBezTo>
                <a:cubicBezTo>
                  <a:pt x="1543" y="230"/>
                  <a:pt x="1544" y="232"/>
                  <a:pt x="1544" y="234"/>
                </a:cubicBezTo>
                <a:cubicBezTo>
                  <a:pt x="1544" y="236"/>
                  <a:pt x="1544" y="239"/>
                  <a:pt x="1542" y="240"/>
                </a:cubicBezTo>
                <a:cubicBezTo>
                  <a:pt x="1540" y="242"/>
                  <a:pt x="1538" y="243"/>
                  <a:pt x="1536" y="243"/>
                </a:cubicBezTo>
                <a:close/>
                <a:moveTo>
                  <a:pt x="504" y="122"/>
                </a:moveTo>
                <a:cubicBezTo>
                  <a:pt x="501" y="122"/>
                  <a:pt x="498" y="120"/>
                  <a:pt x="497" y="117"/>
                </a:cubicBezTo>
                <a:cubicBezTo>
                  <a:pt x="496" y="115"/>
                  <a:pt x="496" y="113"/>
                  <a:pt x="496" y="111"/>
                </a:cubicBezTo>
                <a:cubicBezTo>
                  <a:pt x="497" y="109"/>
                  <a:pt x="498" y="107"/>
                  <a:pt x="500" y="106"/>
                </a:cubicBezTo>
                <a:cubicBezTo>
                  <a:pt x="505" y="104"/>
                  <a:pt x="510" y="105"/>
                  <a:pt x="512" y="109"/>
                </a:cubicBezTo>
                <a:cubicBezTo>
                  <a:pt x="513" y="111"/>
                  <a:pt x="513" y="114"/>
                  <a:pt x="512" y="116"/>
                </a:cubicBezTo>
                <a:cubicBezTo>
                  <a:pt x="512" y="118"/>
                  <a:pt x="510" y="120"/>
                  <a:pt x="508" y="121"/>
                </a:cubicBezTo>
                <a:cubicBezTo>
                  <a:pt x="507" y="121"/>
                  <a:pt x="506" y="122"/>
                  <a:pt x="504" y="122"/>
                </a:cubicBezTo>
                <a:close/>
                <a:moveTo>
                  <a:pt x="530" y="109"/>
                </a:moveTo>
                <a:cubicBezTo>
                  <a:pt x="526" y="109"/>
                  <a:pt x="523" y="107"/>
                  <a:pt x="522" y="104"/>
                </a:cubicBezTo>
                <a:cubicBezTo>
                  <a:pt x="521" y="102"/>
                  <a:pt x="521" y="100"/>
                  <a:pt x="522" y="98"/>
                </a:cubicBezTo>
                <a:cubicBezTo>
                  <a:pt x="522" y="96"/>
                  <a:pt x="524" y="94"/>
                  <a:pt x="526" y="93"/>
                </a:cubicBezTo>
                <a:cubicBezTo>
                  <a:pt x="532" y="90"/>
                  <a:pt x="537" y="88"/>
                  <a:pt x="543" y="85"/>
                </a:cubicBezTo>
                <a:cubicBezTo>
                  <a:pt x="555" y="80"/>
                  <a:pt x="566" y="74"/>
                  <a:pt x="578" y="70"/>
                </a:cubicBezTo>
                <a:cubicBezTo>
                  <a:pt x="631" y="48"/>
                  <a:pt x="686" y="31"/>
                  <a:pt x="742" y="19"/>
                </a:cubicBezTo>
                <a:cubicBezTo>
                  <a:pt x="746" y="19"/>
                  <a:pt x="751" y="22"/>
                  <a:pt x="752" y="26"/>
                </a:cubicBezTo>
                <a:cubicBezTo>
                  <a:pt x="753" y="31"/>
                  <a:pt x="750" y="35"/>
                  <a:pt x="745" y="36"/>
                </a:cubicBezTo>
                <a:cubicBezTo>
                  <a:pt x="690" y="48"/>
                  <a:pt x="636" y="64"/>
                  <a:pt x="585" y="85"/>
                </a:cubicBezTo>
                <a:cubicBezTo>
                  <a:pt x="573" y="90"/>
                  <a:pt x="562" y="95"/>
                  <a:pt x="550" y="100"/>
                </a:cubicBezTo>
                <a:cubicBezTo>
                  <a:pt x="544" y="103"/>
                  <a:pt x="539" y="106"/>
                  <a:pt x="533" y="108"/>
                </a:cubicBezTo>
                <a:cubicBezTo>
                  <a:pt x="532" y="109"/>
                  <a:pt x="531" y="109"/>
                  <a:pt x="530" y="109"/>
                </a:cubicBezTo>
                <a:close/>
                <a:moveTo>
                  <a:pt x="1323" y="105"/>
                </a:moveTo>
                <a:cubicBezTo>
                  <a:pt x="1322" y="105"/>
                  <a:pt x="1321" y="105"/>
                  <a:pt x="1319" y="104"/>
                </a:cubicBezTo>
                <a:cubicBezTo>
                  <a:pt x="1317" y="103"/>
                  <a:pt x="1316" y="101"/>
                  <a:pt x="1315" y="99"/>
                </a:cubicBezTo>
                <a:cubicBezTo>
                  <a:pt x="1314" y="97"/>
                  <a:pt x="1314" y="95"/>
                  <a:pt x="1315" y="93"/>
                </a:cubicBezTo>
                <a:cubicBezTo>
                  <a:pt x="1317" y="89"/>
                  <a:pt x="1322" y="87"/>
                  <a:pt x="1327" y="89"/>
                </a:cubicBezTo>
                <a:cubicBezTo>
                  <a:pt x="1331" y="91"/>
                  <a:pt x="1333" y="96"/>
                  <a:pt x="1331" y="100"/>
                </a:cubicBezTo>
                <a:cubicBezTo>
                  <a:pt x="1329" y="103"/>
                  <a:pt x="1326" y="105"/>
                  <a:pt x="1323" y="105"/>
                </a:cubicBezTo>
                <a:close/>
                <a:moveTo>
                  <a:pt x="1297" y="93"/>
                </a:moveTo>
                <a:cubicBezTo>
                  <a:pt x="1296" y="93"/>
                  <a:pt x="1295" y="93"/>
                  <a:pt x="1294" y="93"/>
                </a:cubicBezTo>
                <a:cubicBezTo>
                  <a:pt x="1276" y="85"/>
                  <a:pt x="1257" y="77"/>
                  <a:pt x="1239" y="71"/>
                </a:cubicBezTo>
                <a:cubicBezTo>
                  <a:pt x="1205" y="59"/>
                  <a:pt x="1170" y="48"/>
                  <a:pt x="1134" y="40"/>
                </a:cubicBezTo>
                <a:cubicBezTo>
                  <a:pt x="1116" y="36"/>
                  <a:pt x="1098" y="32"/>
                  <a:pt x="1079" y="29"/>
                </a:cubicBezTo>
                <a:cubicBezTo>
                  <a:pt x="1077" y="29"/>
                  <a:pt x="1075" y="28"/>
                  <a:pt x="1074" y="26"/>
                </a:cubicBezTo>
                <a:cubicBezTo>
                  <a:pt x="1072" y="24"/>
                  <a:pt x="1072" y="22"/>
                  <a:pt x="1072" y="20"/>
                </a:cubicBezTo>
                <a:cubicBezTo>
                  <a:pt x="1073" y="15"/>
                  <a:pt x="1077" y="12"/>
                  <a:pt x="1082" y="13"/>
                </a:cubicBezTo>
                <a:cubicBezTo>
                  <a:pt x="1101" y="16"/>
                  <a:pt x="1120" y="19"/>
                  <a:pt x="1138" y="24"/>
                </a:cubicBezTo>
                <a:cubicBezTo>
                  <a:pt x="1174" y="32"/>
                  <a:pt x="1210" y="42"/>
                  <a:pt x="1245" y="55"/>
                </a:cubicBezTo>
                <a:cubicBezTo>
                  <a:pt x="1263" y="62"/>
                  <a:pt x="1282" y="69"/>
                  <a:pt x="1300" y="77"/>
                </a:cubicBezTo>
                <a:cubicBezTo>
                  <a:pt x="1301" y="77"/>
                  <a:pt x="1301" y="77"/>
                  <a:pt x="1301" y="77"/>
                </a:cubicBezTo>
                <a:cubicBezTo>
                  <a:pt x="1303" y="78"/>
                  <a:pt x="1304" y="79"/>
                  <a:pt x="1305" y="82"/>
                </a:cubicBezTo>
                <a:cubicBezTo>
                  <a:pt x="1306" y="84"/>
                  <a:pt x="1306" y="86"/>
                  <a:pt x="1305" y="88"/>
                </a:cubicBezTo>
                <a:cubicBezTo>
                  <a:pt x="1304" y="91"/>
                  <a:pt x="1301" y="93"/>
                  <a:pt x="1297" y="93"/>
                </a:cubicBezTo>
                <a:close/>
                <a:moveTo>
                  <a:pt x="771" y="31"/>
                </a:moveTo>
                <a:cubicBezTo>
                  <a:pt x="767" y="31"/>
                  <a:pt x="763" y="28"/>
                  <a:pt x="763" y="24"/>
                </a:cubicBezTo>
                <a:cubicBezTo>
                  <a:pt x="762" y="22"/>
                  <a:pt x="763" y="19"/>
                  <a:pt x="764" y="18"/>
                </a:cubicBezTo>
                <a:cubicBezTo>
                  <a:pt x="765" y="16"/>
                  <a:pt x="767" y="14"/>
                  <a:pt x="770" y="14"/>
                </a:cubicBezTo>
                <a:cubicBezTo>
                  <a:pt x="774" y="13"/>
                  <a:pt x="779" y="16"/>
                  <a:pt x="779" y="21"/>
                </a:cubicBezTo>
                <a:cubicBezTo>
                  <a:pt x="780" y="23"/>
                  <a:pt x="779" y="25"/>
                  <a:pt x="778" y="27"/>
                </a:cubicBezTo>
                <a:cubicBezTo>
                  <a:pt x="777" y="29"/>
                  <a:pt x="775" y="30"/>
                  <a:pt x="773" y="31"/>
                </a:cubicBezTo>
                <a:cubicBezTo>
                  <a:pt x="772" y="31"/>
                  <a:pt x="772" y="31"/>
                  <a:pt x="771" y="31"/>
                </a:cubicBezTo>
                <a:close/>
                <a:moveTo>
                  <a:pt x="799" y="26"/>
                </a:moveTo>
                <a:cubicBezTo>
                  <a:pt x="795" y="26"/>
                  <a:pt x="791" y="23"/>
                  <a:pt x="791" y="19"/>
                </a:cubicBezTo>
                <a:cubicBezTo>
                  <a:pt x="790" y="15"/>
                  <a:pt x="793" y="10"/>
                  <a:pt x="798" y="10"/>
                </a:cubicBezTo>
                <a:cubicBezTo>
                  <a:pt x="817" y="7"/>
                  <a:pt x="836" y="5"/>
                  <a:pt x="855" y="3"/>
                </a:cubicBezTo>
                <a:cubicBezTo>
                  <a:pt x="867" y="2"/>
                  <a:pt x="879" y="1"/>
                  <a:pt x="891" y="1"/>
                </a:cubicBezTo>
                <a:cubicBezTo>
                  <a:pt x="904" y="0"/>
                  <a:pt x="917" y="0"/>
                  <a:pt x="930" y="0"/>
                </a:cubicBezTo>
                <a:cubicBezTo>
                  <a:pt x="962" y="0"/>
                  <a:pt x="994" y="2"/>
                  <a:pt x="1026" y="5"/>
                </a:cubicBezTo>
                <a:cubicBezTo>
                  <a:pt x="1028" y="5"/>
                  <a:pt x="1030" y="6"/>
                  <a:pt x="1031" y="8"/>
                </a:cubicBezTo>
                <a:cubicBezTo>
                  <a:pt x="1033" y="10"/>
                  <a:pt x="1033" y="12"/>
                  <a:pt x="1033" y="14"/>
                </a:cubicBezTo>
                <a:cubicBezTo>
                  <a:pt x="1033" y="19"/>
                  <a:pt x="1028" y="22"/>
                  <a:pt x="1024" y="22"/>
                </a:cubicBezTo>
                <a:cubicBezTo>
                  <a:pt x="993" y="19"/>
                  <a:pt x="961" y="17"/>
                  <a:pt x="930" y="17"/>
                </a:cubicBezTo>
                <a:cubicBezTo>
                  <a:pt x="917" y="17"/>
                  <a:pt x="904" y="17"/>
                  <a:pt x="892" y="18"/>
                </a:cubicBezTo>
                <a:cubicBezTo>
                  <a:pt x="880" y="18"/>
                  <a:pt x="868" y="19"/>
                  <a:pt x="856" y="20"/>
                </a:cubicBezTo>
                <a:cubicBezTo>
                  <a:pt x="856" y="20"/>
                  <a:pt x="856" y="20"/>
                  <a:pt x="856" y="20"/>
                </a:cubicBezTo>
                <a:cubicBezTo>
                  <a:pt x="837" y="22"/>
                  <a:pt x="819" y="24"/>
                  <a:pt x="800" y="26"/>
                </a:cubicBezTo>
                <a:cubicBezTo>
                  <a:pt x="800" y="26"/>
                  <a:pt x="799" y="26"/>
                  <a:pt x="799" y="26"/>
                </a:cubicBezTo>
                <a:close/>
                <a:moveTo>
                  <a:pt x="1053" y="25"/>
                </a:moveTo>
                <a:cubicBezTo>
                  <a:pt x="1053" y="25"/>
                  <a:pt x="1053" y="25"/>
                  <a:pt x="1053" y="25"/>
                </a:cubicBezTo>
                <a:cubicBezTo>
                  <a:pt x="1053" y="25"/>
                  <a:pt x="1053" y="25"/>
                  <a:pt x="1053" y="25"/>
                </a:cubicBezTo>
                <a:cubicBezTo>
                  <a:pt x="1052" y="25"/>
                  <a:pt x="1052" y="25"/>
                  <a:pt x="1052" y="25"/>
                </a:cubicBezTo>
                <a:cubicBezTo>
                  <a:pt x="1047" y="25"/>
                  <a:pt x="1044" y="20"/>
                  <a:pt x="1044" y="16"/>
                </a:cubicBezTo>
                <a:cubicBezTo>
                  <a:pt x="1045" y="11"/>
                  <a:pt x="1049" y="8"/>
                  <a:pt x="1054" y="8"/>
                </a:cubicBezTo>
                <a:cubicBezTo>
                  <a:pt x="1056" y="9"/>
                  <a:pt x="1058" y="10"/>
                  <a:pt x="1059" y="12"/>
                </a:cubicBezTo>
                <a:cubicBezTo>
                  <a:pt x="1061" y="13"/>
                  <a:pt x="1061" y="16"/>
                  <a:pt x="1061" y="18"/>
                </a:cubicBezTo>
                <a:cubicBezTo>
                  <a:pt x="1061" y="22"/>
                  <a:pt x="1057" y="25"/>
                  <a:pt x="1053" y="25"/>
                </a:cubicBezTo>
                <a:close/>
              </a:path>
            </a:pathLst>
          </a:custGeom>
          <a:solidFill>
            <a:schemeClr val="accent2"/>
          </a:solidFill>
          <a:ln>
            <a:noFill/>
          </a:ln>
        </p:spPr>
        <p:txBody>
          <a:bodyPr vert="horz" wrap="square" lIns="45714" tIns="22857" rIns="45714" bIns="22857" numCol="1" anchor="t" anchorCtr="0" compatLnSpc="1">
            <a:prstTxWarp prst="textNoShape">
              <a:avLst/>
            </a:prstTxWarp>
          </a:body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US" sz="900" b="0" i="0" u="none" strike="noStrike" kern="1200" cap="none" spc="0" normalizeH="0" baseline="0" noProof="0">
              <a:ln>
                <a:noFill/>
              </a:ln>
              <a:solidFill>
                <a:srgbClr val="343A3F"/>
              </a:solidFill>
              <a:effectLst/>
              <a:uLnTx/>
              <a:uFillTx/>
              <a:latin typeface="Roboto Light"/>
              <a:ea typeface="+mn-ea"/>
              <a:cs typeface="+mn-cs"/>
            </a:endParaRPr>
          </a:p>
        </p:txBody>
      </p:sp>
      <p:sp>
        <p:nvSpPr>
          <p:cNvPr id="10" name="Freeform 9">
            <a:extLst>
              <a:ext uri="{FF2B5EF4-FFF2-40B4-BE49-F238E27FC236}">
                <a16:creationId xmlns:a16="http://schemas.microsoft.com/office/drawing/2014/main" id="{7BA030B2-8035-4EE7-8CE0-9981953269B4}"/>
              </a:ext>
            </a:extLst>
          </p:cNvPr>
          <p:cNvSpPr/>
          <p:nvPr/>
        </p:nvSpPr>
        <p:spPr bwMode="auto">
          <a:xfrm>
            <a:off x="4192469" y="1378370"/>
            <a:ext cx="3807063" cy="3796500"/>
          </a:xfrm>
          <a:custGeom>
            <a:avLst/>
            <a:gdLst>
              <a:gd name="T0" fmla="*/ 899 w 1800"/>
              <a:gd name="T1" fmla="*/ 1794 h 1794"/>
              <a:gd name="T2" fmla="*/ 586 w 1800"/>
              <a:gd name="T3" fmla="*/ 1738 h 1794"/>
              <a:gd name="T4" fmla="*/ 293 w 1800"/>
              <a:gd name="T5" fmla="*/ 1558 h 1794"/>
              <a:gd name="T6" fmla="*/ 90 w 1800"/>
              <a:gd name="T7" fmla="*/ 1281 h 1794"/>
              <a:gd name="T8" fmla="*/ 6 w 1800"/>
              <a:gd name="T9" fmla="*/ 947 h 1794"/>
              <a:gd name="T10" fmla="*/ 54 w 1800"/>
              <a:gd name="T11" fmla="*/ 607 h 1794"/>
              <a:gd name="T12" fmla="*/ 227 w 1800"/>
              <a:gd name="T13" fmla="*/ 310 h 1794"/>
              <a:gd name="T14" fmla="*/ 500 w 1800"/>
              <a:gd name="T15" fmla="*/ 100 h 1794"/>
              <a:gd name="T16" fmla="*/ 831 w 1800"/>
              <a:gd name="T17" fmla="*/ 8 h 1794"/>
              <a:gd name="T18" fmla="*/ 1173 w 1800"/>
              <a:gd name="T19" fmla="*/ 49 h 1794"/>
              <a:gd name="T20" fmla="*/ 1474 w 1800"/>
              <a:gd name="T21" fmla="*/ 215 h 1794"/>
              <a:gd name="T22" fmla="*/ 1689 w 1800"/>
              <a:gd name="T23" fmla="*/ 483 h 1794"/>
              <a:gd name="T24" fmla="*/ 1789 w 1800"/>
              <a:gd name="T25" fmla="*/ 812 h 1794"/>
              <a:gd name="T26" fmla="*/ 1756 w 1800"/>
              <a:gd name="T27" fmla="*/ 1155 h 1794"/>
              <a:gd name="T28" fmla="*/ 1745 w 1800"/>
              <a:gd name="T29" fmla="*/ 1160 h 1794"/>
              <a:gd name="T30" fmla="*/ 1740 w 1800"/>
              <a:gd name="T31" fmla="*/ 1150 h 1794"/>
              <a:gd name="T32" fmla="*/ 1772 w 1800"/>
              <a:gd name="T33" fmla="*/ 814 h 1794"/>
              <a:gd name="T34" fmla="*/ 1674 w 1800"/>
              <a:gd name="T35" fmla="*/ 491 h 1794"/>
              <a:gd name="T36" fmla="*/ 1463 w 1800"/>
              <a:gd name="T37" fmla="*/ 228 h 1794"/>
              <a:gd name="T38" fmla="*/ 1167 w 1800"/>
              <a:gd name="T39" fmla="*/ 65 h 1794"/>
              <a:gd name="T40" fmla="*/ 832 w 1800"/>
              <a:gd name="T41" fmla="*/ 25 h 1794"/>
              <a:gd name="T42" fmla="*/ 507 w 1800"/>
              <a:gd name="T43" fmla="*/ 115 h 1794"/>
              <a:gd name="T44" fmla="*/ 240 w 1800"/>
              <a:gd name="T45" fmla="*/ 321 h 1794"/>
              <a:gd name="T46" fmla="*/ 70 w 1800"/>
              <a:gd name="T47" fmla="*/ 612 h 1794"/>
              <a:gd name="T48" fmla="*/ 23 w 1800"/>
              <a:gd name="T49" fmla="*/ 947 h 1794"/>
              <a:gd name="T50" fmla="*/ 105 w 1800"/>
              <a:gd name="T51" fmla="*/ 1274 h 1794"/>
              <a:gd name="T52" fmla="*/ 305 w 1800"/>
              <a:gd name="T53" fmla="*/ 1546 h 1794"/>
              <a:gd name="T54" fmla="*/ 592 w 1800"/>
              <a:gd name="T55" fmla="*/ 1722 h 1794"/>
              <a:gd name="T56" fmla="*/ 925 w 1800"/>
              <a:gd name="T57" fmla="*/ 1777 h 1794"/>
              <a:gd name="T58" fmla="*/ 1254 w 1800"/>
              <a:gd name="T59" fmla="*/ 1702 h 1794"/>
              <a:gd name="T60" fmla="*/ 1531 w 1800"/>
              <a:gd name="T61" fmla="*/ 1509 h 1794"/>
              <a:gd name="T62" fmla="*/ 1713 w 1800"/>
              <a:gd name="T63" fmla="*/ 1225 h 1794"/>
              <a:gd name="T64" fmla="*/ 1724 w 1800"/>
              <a:gd name="T65" fmla="*/ 1221 h 1794"/>
              <a:gd name="T66" fmla="*/ 1729 w 1800"/>
              <a:gd name="T67" fmla="*/ 1232 h 1794"/>
              <a:gd name="T68" fmla="*/ 1543 w 1800"/>
              <a:gd name="T69" fmla="*/ 1521 h 1794"/>
              <a:gd name="T70" fmla="*/ 1261 w 1800"/>
              <a:gd name="T71" fmla="*/ 1718 h 1794"/>
              <a:gd name="T72" fmla="*/ 926 w 1800"/>
              <a:gd name="T73" fmla="*/ 1794 h 1794"/>
              <a:gd name="T74" fmla="*/ 899 w 1800"/>
              <a:gd name="T75" fmla="*/ 1794 h 17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800" h="1794">
                <a:moveTo>
                  <a:pt x="899" y="1794"/>
                </a:moveTo>
                <a:cubicBezTo>
                  <a:pt x="794" y="1794"/>
                  <a:pt x="686" y="1775"/>
                  <a:pt x="586" y="1738"/>
                </a:cubicBezTo>
                <a:cubicBezTo>
                  <a:pt x="479" y="1698"/>
                  <a:pt x="377" y="1636"/>
                  <a:pt x="293" y="1558"/>
                </a:cubicBezTo>
                <a:cubicBezTo>
                  <a:pt x="209" y="1481"/>
                  <a:pt x="139" y="1385"/>
                  <a:pt x="90" y="1281"/>
                </a:cubicBezTo>
                <a:cubicBezTo>
                  <a:pt x="41" y="1177"/>
                  <a:pt x="12" y="1062"/>
                  <a:pt x="6" y="947"/>
                </a:cubicBezTo>
                <a:cubicBezTo>
                  <a:pt x="0" y="834"/>
                  <a:pt x="16" y="716"/>
                  <a:pt x="54" y="607"/>
                </a:cubicBezTo>
                <a:cubicBezTo>
                  <a:pt x="92" y="498"/>
                  <a:pt x="152" y="395"/>
                  <a:pt x="227" y="310"/>
                </a:cubicBezTo>
                <a:cubicBezTo>
                  <a:pt x="303" y="224"/>
                  <a:pt x="397" y="151"/>
                  <a:pt x="500" y="100"/>
                </a:cubicBezTo>
                <a:cubicBezTo>
                  <a:pt x="603" y="49"/>
                  <a:pt x="717" y="17"/>
                  <a:pt x="831" y="8"/>
                </a:cubicBezTo>
                <a:cubicBezTo>
                  <a:pt x="945" y="0"/>
                  <a:pt x="1063" y="14"/>
                  <a:pt x="1173" y="49"/>
                </a:cubicBezTo>
                <a:cubicBezTo>
                  <a:pt x="1282" y="85"/>
                  <a:pt x="1387" y="142"/>
                  <a:pt x="1474" y="215"/>
                </a:cubicBezTo>
                <a:cubicBezTo>
                  <a:pt x="1561" y="289"/>
                  <a:pt x="1636" y="381"/>
                  <a:pt x="1689" y="483"/>
                </a:cubicBezTo>
                <a:cubicBezTo>
                  <a:pt x="1743" y="585"/>
                  <a:pt x="1777" y="698"/>
                  <a:pt x="1789" y="812"/>
                </a:cubicBezTo>
                <a:cubicBezTo>
                  <a:pt x="1800" y="926"/>
                  <a:pt x="1789" y="1044"/>
                  <a:pt x="1756" y="1155"/>
                </a:cubicBezTo>
                <a:cubicBezTo>
                  <a:pt x="1755" y="1159"/>
                  <a:pt x="1750" y="1162"/>
                  <a:pt x="1745" y="1160"/>
                </a:cubicBezTo>
                <a:cubicBezTo>
                  <a:pt x="1741" y="1159"/>
                  <a:pt x="1738" y="1154"/>
                  <a:pt x="1740" y="1150"/>
                </a:cubicBezTo>
                <a:cubicBezTo>
                  <a:pt x="1772" y="1042"/>
                  <a:pt x="1783" y="925"/>
                  <a:pt x="1772" y="814"/>
                </a:cubicBezTo>
                <a:cubicBezTo>
                  <a:pt x="1761" y="702"/>
                  <a:pt x="1727" y="591"/>
                  <a:pt x="1674" y="491"/>
                </a:cubicBezTo>
                <a:cubicBezTo>
                  <a:pt x="1622" y="391"/>
                  <a:pt x="1549" y="300"/>
                  <a:pt x="1463" y="228"/>
                </a:cubicBezTo>
                <a:cubicBezTo>
                  <a:pt x="1377" y="156"/>
                  <a:pt x="1275" y="100"/>
                  <a:pt x="1167" y="65"/>
                </a:cubicBezTo>
                <a:cubicBezTo>
                  <a:pt x="1060" y="31"/>
                  <a:pt x="944" y="17"/>
                  <a:pt x="832" y="25"/>
                </a:cubicBezTo>
                <a:cubicBezTo>
                  <a:pt x="721" y="34"/>
                  <a:pt x="608" y="65"/>
                  <a:pt x="507" y="115"/>
                </a:cubicBezTo>
                <a:cubicBezTo>
                  <a:pt x="406" y="166"/>
                  <a:pt x="314" y="237"/>
                  <a:pt x="240" y="321"/>
                </a:cubicBezTo>
                <a:cubicBezTo>
                  <a:pt x="166" y="405"/>
                  <a:pt x="107" y="506"/>
                  <a:pt x="70" y="612"/>
                </a:cubicBezTo>
                <a:cubicBezTo>
                  <a:pt x="33" y="719"/>
                  <a:pt x="17" y="835"/>
                  <a:pt x="23" y="947"/>
                </a:cubicBezTo>
                <a:cubicBezTo>
                  <a:pt x="29" y="1059"/>
                  <a:pt x="57" y="1172"/>
                  <a:pt x="105" y="1274"/>
                </a:cubicBezTo>
                <a:cubicBezTo>
                  <a:pt x="153" y="1376"/>
                  <a:pt x="222" y="1470"/>
                  <a:pt x="305" y="1546"/>
                </a:cubicBezTo>
                <a:cubicBezTo>
                  <a:pt x="387" y="1622"/>
                  <a:pt x="486" y="1683"/>
                  <a:pt x="592" y="1722"/>
                </a:cubicBezTo>
                <a:cubicBezTo>
                  <a:pt x="698" y="1761"/>
                  <a:pt x="813" y="1781"/>
                  <a:pt x="925" y="1777"/>
                </a:cubicBezTo>
                <a:cubicBezTo>
                  <a:pt x="1037" y="1774"/>
                  <a:pt x="1151" y="1748"/>
                  <a:pt x="1254" y="1702"/>
                </a:cubicBezTo>
                <a:cubicBezTo>
                  <a:pt x="1357" y="1656"/>
                  <a:pt x="1453" y="1590"/>
                  <a:pt x="1531" y="1509"/>
                </a:cubicBezTo>
                <a:cubicBezTo>
                  <a:pt x="1608" y="1428"/>
                  <a:pt x="1672" y="1330"/>
                  <a:pt x="1713" y="1225"/>
                </a:cubicBezTo>
                <a:cubicBezTo>
                  <a:pt x="1715" y="1221"/>
                  <a:pt x="1720" y="1219"/>
                  <a:pt x="1724" y="1221"/>
                </a:cubicBezTo>
                <a:cubicBezTo>
                  <a:pt x="1729" y="1222"/>
                  <a:pt x="1731" y="1227"/>
                  <a:pt x="1729" y="1232"/>
                </a:cubicBezTo>
                <a:cubicBezTo>
                  <a:pt x="1687" y="1338"/>
                  <a:pt x="1622" y="1438"/>
                  <a:pt x="1543" y="1521"/>
                </a:cubicBezTo>
                <a:cubicBezTo>
                  <a:pt x="1463" y="1603"/>
                  <a:pt x="1366" y="1671"/>
                  <a:pt x="1261" y="1718"/>
                </a:cubicBezTo>
                <a:cubicBezTo>
                  <a:pt x="1156" y="1764"/>
                  <a:pt x="1040" y="1791"/>
                  <a:pt x="926" y="1794"/>
                </a:cubicBezTo>
                <a:cubicBezTo>
                  <a:pt x="917" y="1794"/>
                  <a:pt x="908" y="1794"/>
                  <a:pt x="899" y="1794"/>
                </a:cubicBezTo>
                <a:close/>
              </a:path>
            </a:pathLst>
          </a:custGeom>
          <a:solidFill>
            <a:schemeClr val="accent2"/>
          </a:solidFill>
          <a:ln>
            <a:noFill/>
          </a:ln>
        </p:spPr>
        <p:txBody>
          <a:bodyPr vert="horz" wrap="square" lIns="45714" tIns="22857" rIns="45714" bIns="22857" numCol="1" anchor="t" anchorCtr="0" compatLnSpc="1">
            <a:prstTxWarp prst="textNoShape">
              <a:avLst/>
            </a:prstTxWarp>
          </a:body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US" sz="900" b="0" i="0" u="none" strike="noStrike" kern="1200" cap="none" spc="0" normalizeH="0" baseline="0" noProof="0">
              <a:ln>
                <a:noFill/>
              </a:ln>
              <a:solidFill>
                <a:srgbClr val="343A3F"/>
              </a:solidFill>
              <a:effectLst/>
              <a:uLnTx/>
              <a:uFillTx/>
              <a:latin typeface="Roboto Light"/>
              <a:ea typeface="+mn-ea"/>
              <a:cs typeface="+mn-cs"/>
            </a:endParaRPr>
          </a:p>
        </p:txBody>
      </p:sp>
      <p:sp>
        <p:nvSpPr>
          <p:cNvPr id="11" name="Freeform 10">
            <a:extLst>
              <a:ext uri="{FF2B5EF4-FFF2-40B4-BE49-F238E27FC236}">
                <a16:creationId xmlns:a16="http://schemas.microsoft.com/office/drawing/2014/main" id="{C3E22292-2EF9-4E9C-B049-63ADB08ACC19}"/>
              </a:ext>
            </a:extLst>
          </p:cNvPr>
          <p:cNvSpPr>
            <a:spLocks noEditPoints="1"/>
          </p:cNvSpPr>
          <p:nvPr/>
        </p:nvSpPr>
        <p:spPr bwMode="auto">
          <a:xfrm>
            <a:off x="4281202" y="1459181"/>
            <a:ext cx="3629597" cy="3634879"/>
          </a:xfrm>
          <a:custGeom>
            <a:avLst/>
            <a:gdLst>
              <a:gd name="T0" fmla="*/ 634 w 1716"/>
              <a:gd name="T1" fmla="*/ 1679 h 1718"/>
              <a:gd name="T2" fmla="*/ 866 w 1716"/>
              <a:gd name="T3" fmla="*/ 1718 h 1718"/>
              <a:gd name="T4" fmla="*/ 903 w 1716"/>
              <a:gd name="T5" fmla="*/ 1708 h 1718"/>
              <a:gd name="T6" fmla="*/ 916 w 1716"/>
              <a:gd name="T7" fmla="*/ 1701 h 1718"/>
              <a:gd name="T8" fmla="*/ 1092 w 1716"/>
              <a:gd name="T9" fmla="*/ 1685 h 1718"/>
              <a:gd name="T10" fmla="*/ 623 w 1716"/>
              <a:gd name="T11" fmla="*/ 1676 h 1718"/>
              <a:gd name="T12" fmla="*/ 379 w 1716"/>
              <a:gd name="T13" fmla="*/ 1561 h 1718"/>
              <a:gd name="T14" fmla="*/ 588 w 1716"/>
              <a:gd name="T15" fmla="*/ 1674 h 1718"/>
              <a:gd name="T16" fmla="*/ 1178 w 1716"/>
              <a:gd name="T17" fmla="*/ 1647 h 1718"/>
              <a:gd name="T18" fmla="*/ 1339 w 1716"/>
              <a:gd name="T19" fmla="*/ 1550 h 1718"/>
              <a:gd name="T20" fmla="*/ 1199 w 1716"/>
              <a:gd name="T21" fmla="*/ 1647 h 1718"/>
              <a:gd name="T22" fmla="*/ 367 w 1716"/>
              <a:gd name="T23" fmla="*/ 1543 h 1718"/>
              <a:gd name="T24" fmla="*/ 251 w 1716"/>
              <a:gd name="T25" fmla="*/ 1467 h 1718"/>
              <a:gd name="T26" fmla="*/ 345 w 1716"/>
              <a:gd name="T27" fmla="*/ 1526 h 1718"/>
              <a:gd name="T28" fmla="*/ 1418 w 1716"/>
              <a:gd name="T29" fmla="*/ 1499 h 1718"/>
              <a:gd name="T30" fmla="*/ 1538 w 1716"/>
              <a:gd name="T31" fmla="*/ 1354 h 1718"/>
              <a:gd name="T32" fmla="*/ 1438 w 1716"/>
              <a:gd name="T33" fmla="*/ 1492 h 1718"/>
              <a:gd name="T34" fmla="*/ 159 w 1716"/>
              <a:gd name="T35" fmla="*/ 1343 h 1718"/>
              <a:gd name="T36" fmla="*/ 67 w 1716"/>
              <a:gd name="T37" fmla="*/ 1193 h 1718"/>
              <a:gd name="T38" fmla="*/ 155 w 1716"/>
              <a:gd name="T39" fmla="*/ 1322 h 1718"/>
              <a:gd name="T40" fmla="*/ 1584 w 1716"/>
              <a:gd name="T41" fmla="*/ 1284 h 1718"/>
              <a:gd name="T42" fmla="*/ 1601 w 1716"/>
              <a:gd name="T43" fmla="*/ 1271 h 1718"/>
              <a:gd name="T44" fmla="*/ 1687 w 1716"/>
              <a:gd name="T45" fmla="*/ 1044 h 1718"/>
              <a:gd name="T46" fmla="*/ 42 w 1716"/>
              <a:gd name="T47" fmla="*/ 1105 h 1718"/>
              <a:gd name="T48" fmla="*/ 35 w 1716"/>
              <a:gd name="T49" fmla="*/ 1077 h 1718"/>
              <a:gd name="T50" fmla="*/ 9 w 1716"/>
              <a:gd name="T51" fmla="*/ 836 h 1718"/>
              <a:gd name="T52" fmla="*/ 42 w 1716"/>
              <a:gd name="T53" fmla="*/ 1073 h 1718"/>
              <a:gd name="T54" fmla="*/ 1700 w 1716"/>
              <a:gd name="T55" fmla="*/ 1027 h 1718"/>
              <a:gd name="T56" fmla="*/ 1699 w 1716"/>
              <a:gd name="T57" fmla="*/ 829 h 1718"/>
              <a:gd name="T58" fmla="*/ 1716 w 1716"/>
              <a:gd name="T59" fmla="*/ 859 h 1718"/>
              <a:gd name="T60" fmla="*/ 9 w 1716"/>
              <a:gd name="T61" fmla="*/ 825 h 1718"/>
              <a:gd name="T62" fmla="*/ 11 w 1716"/>
              <a:gd name="T63" fmla="*/ 797 h 1718"/>
              <a:gd name="T64" fmla="*/ 26 w 1716"/>
              <a:gd name="T65" fmla="*/ 733 h 1718"/>
              <a:gd name="T66" fmla="*/ 1699 w 1716"/>
              <a:gd name="T67" fmla="*/ 735 h 1718"/>
              <a:gd name="T68" fmla="*/ 1647 w 1716"/>
              <a:gd name="T69" fmla="*/ 569 h 1718"/>
              <a:gd name="T70" fmla="*/ 1704 w 1716"/>
              <a:gd name="T71" fmla="*/ 714 h 1718"/>
              <a:gd name="T72" fmla="*/ 78 w 1716"/>
              <a:gd name="T73" fmla="*/ 545 h 1718"/>
              <a:gd name="T74" fmla="*/ 98 w 1716"/>
              <a:gd name="T75" fmla="*/ 461 h 1718"/>
              <a:gd name="T76" fmla="*/ 81 w 1716"/>
              <a:gd name="T77" fmla="*/ 524 h 1718"/>
              <a:gd name="T78" fmla="*/ 1624 w 1716"/>
              <a:gd name="T79" fmla="*/ 478 h 1718"/>
              <a:gd name="T80" fmla="*/ 1479 w 1716"/>
              <a:gd name="T81" fmla="*/ 292 h 1718"/>
              <a:gd name="T82" fmla="*/ 1610 w 1716"/>
              <a:gd name="T83" fmla="*/ 446 h 1718"/>
              <a:gd name="T84" fmla="*/ 224 w 1716"/>
              <a:gd name="T85" fmla="*/ 307 h 1718"/>
              <a:gd name="T86" fmla="*/ 237 w 1716"/>
              <a:gd name="T87" fmla="*/ 267 h 1718"/>
              <a:gd name="T88" fmla="*/ 242 w 1716"/>
              <a:gd name="T89" fmla="*/ 286 h 1718"/>
              <a:gd name="T90" fmla="*/ 1454 w 1716"/>
              <a:gd name="T91" fmla="*/ 242 h 1718"/>
              <a:gd name="T92" fmla="*/ 1287 w 1716"/>
              <a:gd name="T93" fmla="*/ 136 h 1718"/>
              <a:gd name="T94" fmla="*/ 1434 w 1716"/>
              <a:gd name="T95" fmla="*/ 235 h 1718"/>
              <a:gd name="T96" fmla="*/ 439 w 1716"/>
              <a:gd name="T97" fmla="*/ 130 h 1718"/>
              <a:gd name="T98" fmla="*/ 518 w 1716"/>
              <a:gd name="T99" fmla="*/ 81 h 1718"/>
              <a:gd name="T100" fmla="*/ 1212 w 1716"/>
              <a:gd name="T101" fmla="*/ 97 h 1718"/>
              <a:gd name="T102" fmla="*/ 1190 w 1716"/>
              <a:gd name="T103" fmla="*/ 86 h 1718"/>
              <a:gd name="T104" fmla="*/ 1030 w 1716"/>
              <a:gd name="T105" fmla="*/ 19 h 1718"/>
              <a:gd name="T106" fmla="*/ 582 w 1716"/>
              <a:gd name="T107" fmla="*/ 64 h 1718"/>
              <a:gd name="T108" fmla="*/ 639 w 1716"/>
              <a:gd name="T109" fmla="*/ 47 h 1718"/>
              <a:gd name="T110" fmla="*/ 662 w 1716"/>
              <a:gd name="T111" fmla="*/ 24 h 1718"/>
              <a:gd name="T112" fmla="*/ 683 w 1716"/>
              <a:gd name="T113" fmla="*/ 28 h 1718"/>
              <a:gd name="T114" fmla="*/ 916 w 1716"/>
              <a:gd name="T115" fmla="*/ 20 h 1718"/>
              <a:gd name="T116" fmla="*/ 945 w 1716"/>
              <a:gd name="T117" fmla="*/ 23 h 1718"/>
              <a:gd name="T118" fmla="*/ 945 w 1716"/>
              <a:gd name="T119" fmla="*/ 23 h 1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16" h="1718">
                <a:moveTo>
                  <a:pt x="859" y="1718"/>
                </a:moveTo>
                <a:cubicBezTo>
                  <a:pt x="855" y="1718"/>
                  <a:pt x="852" y="1718"/>
                  <a:pt x="849" y="1718"/>
                </a:cubicBezTo>
                <a:cubicBezTo>
                  <a:pt x="836" y="1718"/>
                  <a:pt x="822" y="1717"/>
                  <a:pt x="809" y="1716"/>
                </a:cubicBezTo>
                <a:cubicBezTo>
                  <a:pt x="753" y="1713"/>
                  <a:pt x="696" y="1704"/>
                  <a:pt x="641" y="1690"/>
                </a:cubicBezTo>
                <a:cubicBezTo>
                  <a:pt x="640" y="1689"/>
                  <a:pt x="640" y="1689"/>
                  <a:pt x="640" y="1689"/>
                </a:cubicBezTo>
                <a:cubicBezTo>
                  <a:pt x="638" y="1689"/>
                  <a:pt x="636" y="1688"/>
                  <a:pt x="635" y="1686"/>
                </a:cubicBezTo>
                <a:cubicBezTo>
                  <a:pt x="634" y="1684"/>
                  <a:pt x="634" y="1681"/>
                  <a:pt x="634" y="1679"/>
                </a:cubicBezTo>
                <a:cubicBezTo>
                  <a:pt x="635" y="1675"/>
                  <a:pt x="640" y="1672"/>
                  <a:pt x="645" y="1673"/>
                </a:cubicBezTo>
                <a:cubicBezTo>
                  <a:pt x="699" y="1687"/>
                  <a:pt x="755" y="1696"/>
                  <a:pt x="810" y="1699"/>
                </a:cubicBezTo>
                <a:cubicBezTo>
                  <a:pt x="823" y="1700"/>
                  <a:pt x="836" y="1701"/>
                  <a:pt x="849" y="1701"/>
                </a:cubicBezTo>
                <a:cubicBezTo>
                  <a:pt x="855" y="1701"/>
                  <a:pt x="861" y="1701"/>
                  <a:pt x="866" y="1701"/>
                </a:cubicBezTo>
                <a:cubicBezTo>
                  <a:pt x="866" y="1701"/>
                  <a:pt x="866" y="1701"/>
                  <a:pt x="866" y="1701"/>
                </a:cubicBezTo>
                <a:cubicBezTo>
                  <a:pt x="871" y="1701"/>
                  <a:pt x="875" y="1704"/>
                  <a:pt x="875" y="1709"/>
                </a:cubicBezTo>
                <a:cubicBezTo>
                  <a:pt x="875" y="1714"/>
                  <a:pt x="871" y="1718"/>
                  <a:pt x="866" y="1718"/>
                </a:cubicBezTo>
                <a:cubicBezTo>
                  <a:pt x="864" y="1718"/>
                  <a:pt x="862" y="1718"/>
                  <a:pt x="859" y="1718"/>
                </a:cubicBezTo>
                <a:close/>
                <a:moveTo>
                  <a:pt x="895" y="1717"/>
                </a:moveTo>
                <a:cubicBezTo>
                  <a:pt x="890" y="1717"/>
                  <a:pt x="886" y="1713"/>
                  <a:pt x="886" y="1709"/>
                </a:cubicBezTo>
                <a:cubicBezTo>
                  <a:pt x="886" y="1707"/>
                  <a:pt x="887" y="1704"/>
                  <a:pt x="888" y="1703"/>
                </a:cubicBezTo>
                <a:cubicBezTo>
                  <a:pt x="890" y="1701"/>
                  <a:pt x="892" y="1700"/>
                  <a:pt x="894" y="1700"/>
                </a:cubicBezTo>
                <a:cubicBezTo>
                  <a:pt x="894" y="1700"/>
                  <a:pt x="894" y="1700"/>
                  <a:pt x="894" y="1700"/>
                </a:cubicBezTo>
                <a:cubicBezTo>
                  <a:pt x="899" y="1700"/>
                  <a:pt x="903" y="1703"/>
                  <a:pt x="903" y="1708"/>
                </a:cubicBezTo>
                <a:cubicBezTo>
                  <a:pt x="903" y="1713"/>
                  <a:pt x="900" y="1717"/>
                  <a:pt x="895" y="1717"/>
                </a:cubicBezTo>
                <a:cubicBezTo>
                  <a:pt x="895" y="1717"/>
                  <a:pt x="895" y="1717"/>
                  <a:pt x="895" y="1717"/>
                </a:cubicBezTo>
                <a:cubicBezTo>
                  <a:pt x="895" y="1717"/>
                  <a:pt x="895" y="1717"/>
                  <a:pt x="895" y="1717"/>
                </a:cubicBezTo>
                <a:close/>
                <a:moveTo>
                  <a:pt x="923" y="1715"/>
                </a:moveTo>
                <a:cubicBezTo>
                  <a:pt x="923" y="1715"/>
                  <a:pt x="923" y="1715"/>
                  <a:pt x="923" y="1715"/>
                </a:cubicBezTo>
                <a:cubicBezTo>
                  <a:pt x="919" y="1715"/>
                  <a:pt x="915" y="1712"/>
                  <a:pt x="914" y="1707"/>
                </a:cubicBezTo>
                <a:cubicBezTo>
                  <a:pt x="914" y="1705"/>
                  <a:pt x="915" y="1703"/>
                  <a:pt x="916" y="1701"/>
                </a:cubicBezTo>
                <a:cubicBezTo>
                  <a:pt x="918" y="1700"/>
                  <a:pt x="920" y="1698"/>
                  <a:pt x="922" y="1698"/>
                </a:cubicBezTo>
                <a:cubicBezTo>
                  <a:pt x="978" y="1694"/>
                  <a:pt x="1033" y="1684"/>
                  <a:pt x="1087" y="1669"/>
                </a:cubicBezTo>
                <a:cubicBezTo>
                  <a:pt x="1105" y="1664"/>
                  <a:pt x="1123" y="1658"/>
                  <a:pt x="1141" y="1652"/>
                </a:cubicBezTo>
                <a:cubicBezTo>
                  <a:pt x="1145" y="1650"/>
                  <a:pt x="1150" y="1653"/>
                  <a:pt x="1152" y="1657"/>
                </a:cubicBezTo>
                <a:cubicBezTo>
                  <a:pt x="1152" y="1659"/>
                  <a:pt x="1152" y="1661"/>
                  <a:pt x="1151" y="1663"/>
                </a:cubicBezTo>
                <a:cubicBezTo>
                  <a:pt x="1150" y="1665"/>
                  <a:pt x="1148" y="1667"/>
                  <a:pt x="1146" y="1668"/>
                </a:cubicBezTo>
                <a:cubicBezTo>
                  <a:pt x="1128" y="1674"/>
                  <a:pt x="1110" y="1680"/>
                  <a:pt x="1092" y="1685"/>
                </a:cubicBezTo>
                <a:cubicBezTo>
                  <a:pt x="1037" y="1701"/>
                  <a:pt x="980" y="1711"/>
                  <a:pt x="923" y="1715"/>
                </a:cubicBezTo>
                <a:close/>
                <a:moveTo>
                  <a:pt x="615" y="1682"/>
                </a:moveTo>
                <a:cubicBezTo>
                  <a:pt x="614" y="1682"/>
                  <a:pt x="614" y="1682"/>
                  <a:pt x="613" y="1682"/>
                </a:cubicBezTo>
                <a:cubicBezTo>
                  <a:pt x="608" y="1680"/>
                  <a:pt x="606" y="1676"/>
                  <a:pt x="607" y="1671"/>
                </a:cubicBezTo>
                <a:cubicBezTo>
                  <a:pt x="608" y="1667"/>
                  <a:pt x="613" y="1664"/>
                  <a:pt x="618" y="1665"/>
                </a:cubicBezTo>
                <a:cubicBezTo>
                  <a:pt x="620" y="1666"/>
                  <a:pt x="622" y="1668"/>
                  <a:pt x="623" y="1670"/>
                </a:cubicBezTo>
                <a:cubicBezTo>
                  <a:pt x="624" y="1672"/>
                  <a:pt x="624" y="1674"/>
                  <a:pt x="623" y="1676"/>
                </a:cubicBezTo>
                <a:cubicBezTo>
                  <a:pt x="622" y="1680"/>
                  <a:pt x="619" y="1682"/>
                  <a:pt x="615" y="1682"/>
                </a:cubicBezTo>
                <a:close/>
                <a:moveTo>
                  <a:pt x="588" y="1674"/>
                </a:moveTo>
                <a:cubicBezTo>
                  <a:pt x="587" y="1674"/>
                  <a:pt x="586" y="1673"/>
                  <a:pt x="586" y="1673"/>
                </a:cubicBezTo>
                <a:cubicBezTo>
                  <a:pt x="568" y="1667"/>
                  <a:pt x="550" y="1660"/>
                  <a:pt x="532" y="1653"/>
                </a:cubicBezTo>
                <a:cubicBezTo>
                  <a:pt x="530" y="1652"/>
                  <a:pt x="527" y="1651"/>
                  <a:pt x="525" y="1650"/>
                </a:cubicBezTo>
                <a:cubicBezTo>
                  <a:pt x="475" y="1629"/>
                  <a:pt x="427" y="1603"/>
                  <a:pt x="381" y="1573"/>
                </a:cubicBezTo>
                <a:cubicBezTo>
                  <a:pt x="377" y="1570"/>
                  <a:pt x="376" y="1565"/>
                  <a:pt x="379" y="1561"/>
                </a:cubicBezTo>
                <a:cubicBezTo>
                  <a:pt x="381" y="1557"/>
                  <a:pt x="387" y="1556"/>
                  <a:pt x="390" y="1559"/>
                </a:cubicBezTo>
                <a:cubicBezTo>
                  <a:pt x="435" y="1589"/>
                  <a:pt x="483" y="1614"/>
                  <a:pt x="532" y="1635"/>
                </a:cubicBezTo>
                <a:cubicBezTo>
                  <a:pt x="533" y="1635"/>
                  <a:pt x="535" y="1636"/>
                  <a:pt x="536" y="1637"/>
                </a:cubicBezTo>
                <a:cubicBezTo>
                  <a:pt x="539" y="1637"/>
                  <a:pt x="539" y="1637"/>
                  <a:pt x="539" y="1637"/>
                </a:cubicBezTo>
                <a:cubicBezTo>
                  <a:pt x="556" y="1645"/>
                  <a:pt x="573" y="1651"/>
                  <a:pt x="591" y="1657"/>
                </a:cubicBezTo>
                <a:cubicBezTo>
                  <a:pt x="595" y="1659"/>
                  <a:pt x="598" y="1663"/>
                  <a:pt x="596" y="1668"/>
                </a:cubicBezTo>
                <a:cubicBezTo>
                  <a:pt x="595" y="1671"/>
                  <a:pt x="592" y="1674"/>
                  <a:pt x="588" y="1674"/>
                </a:cubicBezTo>
                <a:close/>
                <a:moveTo>
                  <a:pt x="1170" y="1658"/>
                </a:moveTo>
                <a:cubicBezTo>
                  <a:pt x="1166" y="1658"/>
                  <a:pt x="1163" y="1656"/>
                  <a:pt x="1162" y="1653"/>
                </a:cubicBezTo>
                <a:cubicBezTo>
                  <a:pt x="1161" y="1651"/>
                  <a:pt x="1161" y="1649"/>
                  <a:pt x="1162" y="1646"/>
                </a:cubicBezTo>
                <a:cubicBezTo>
                  <a:pt x="1163" y="1644"/>
                  <a:pt x="1165" y="1643"/>
                  <a:pt x="1167" y="1642"/>
                </a:cubicBezTo>
                <a:cubicBezTo>
                  <a:pt x="1167" y="1642"/>
                  <a:pt x="1167" y="1642"/>
                  <a:pt x="1167" y="1642"/>
                </a:cubicBezTo>
                <a:cubicBezTo>
                  <a:pt x="1167" y="1642"/>
                  <a:pt x="1167" y="1642"/>
                  <a:pt x="1167" y="1642"/>
                </a:cubicBezTo>
                <a:cubicBezTo>
                  <a:pt x="1171" y="1640"/>
                  <a:pt x="1176" y="1643"/>
                  <a:pt x="1178" y="1647"/>
                </a:cubicBezTo>
                <a:cubicBezTo>
                  <a:pt x="1180" y="1651"/>
                  <a:pt x="1177" y="1656"/>
                  <a:pt x="1173" y="1658"/>
                </a:cubicBezTo>
                <a:cubicBezTo>
                  <a:pt x="1172" y="1658"/>
                  <a:pt x="1171" y="1658"/>
                  <a:pt x="1170" y="1658"/>
                </a:cubicBezTo>
                <a:close/>
                <a:moveTo>
                  <a:pt x="1196" y="1648"/>
                </a:moveTo>
                <a:cubicBezTo>
                  <a:pt x="1193" y="1648"/>
                  <a:pt x="1190" y="1645"/>
                  <a:pt x="1188" y="1642"/>
                </a:cubicBezTo>
                <a:cubicBezTo>
                  <a:pt x="1187" y="1640"/>
                  <a:pt x="1187" y="1638"/>
                  <a:pt x="1188" y="1636"/>
                </a:cubicBezTo>
                <a:cubicBezTo>
                  <a:pt x="1189" y="1634"/>
                  <a:pt x="1191" y="1632"/>
                  <a:pt x="1193" y="1631"/>
                </a:cubicBezTo>
                <a:cubicBezTo>
                  <a:pt x="1244" y="1609"/>
                  <a:pt x="1293" y="1581"/>
                  <a:pt x="1339" y="1550"/>
                </a:cubicBezTo>
                <a:cubicBezTo>
                  <a:pt x="1354" y="1539"/>
                  <a:pt x="1369" y="1528"/>
                  <a:pt x="1384" y="1516"/>
                </a:cubicBezTo>
                <a:cubicBezTo>
                  <a:pt x="1388" y="1513"/>
                  <a:pt x="1393" y="1514"/>
                  <a:pt x="1396" y="1517"/>
                </a:cubicBezTo>
                <a:cubicBezTo>
                  <a:pt x="1397" y="1519"/>
                  <a:pt x="1398" y="1521"/>
                  <a:pt x="1398" y="1524"/>
                </a:cubicBezTo>
                <a:cubicBezTo>
                  <a:pt x="1398" y="1526"/>
                  <a:pt x="1396" y="1528"/>
                  <a:pt x="1395" y="1529"/>
                </a:cubicBezTo>
                <a:cubicBezTo>
                  <a:pt x="1380" y="1541"/>
                  <a:pt x="1365" y="1553"/>
                  <a:pt x="1349" y="1563"/>
                </a:cubicBezTo>
                <a:cubicBezTo>
                  <a:pt x="1302" y="1596"/>
                  <a:pt x="1252" y="1624"/>
                  <a:pt x="1199" y="1647"/>
                </a:cubicBezTo>
                <a:cubicBezTo>
                  <a:pt x="1199" y="1647"/>
                  <a:pt x="1199" y="1647"/>
                  <a:pt x="1199" y="1647"/>
                </a:cubicBezTo>
                <a:cubicBezTo>
                  <a:pt x="1199" y="1647"/>
                  <a:pt x="1199" y="1647"/>
                  <a:pt x="1199" y="1647"/>
                </a:cubicBezTo>
                <a:cubicBezTo>
                  <a:pt x="1198" y="1647"/>
                  <a:pt x="1197" y="1648"/>
                  <a:pt x="1196" y="1648"/>
                </a:cubicBezTo>
                <a:close/>
                <a:moveTo>
                  <a:pt x="362" y="1558"/>
                </a:moveTo>
                <a:cubicBezTo>
                  <a:pt x="361" y="1558"/>
                  <a:pt x="359" y="1558"/>
                  <a:pt x="358" y="1557"/>
                </a:cubicBezTo>
                <a:cubicBezTo>
                  <a:pt x="354" y="1554"/>
                  <a:pt x="353" y="1549"/>
                  <a:pt x="356" y="1545"/>
                </a:cubicBezTo>
                <a:cubicBezTo>
                  <a:pt x="358" y="1541"/>
                  <a:pt x="363" y="1540"/>
                  <a:pt x="367" y="1543"/>
                </a:cubicBezTo>
                <a:cubicBezTo>
                  <a:pt x="367" y="1543"/>
                  <a:pt x="367" y="1543"/>
                  <a:pt x="367" y="1543"/>
                </a:cubicBezTo>
                <a:cubicBezTo>
                  <a:pt x="367" y="1543"/>
                  <a:pt x="367" y="1543"/>
                  <a:pt x="367" y="1543"/>
                </a:cubicBezTo>
                <a:cubicBezTo>
                  <a:pt x="371" y="1545"/>
                  <a:pt x="372" y="1551"/>
                  <a:pt x="369" y="1555"/>
                </a:cubicBezTo>
                <a:cubicBezTo>
                  <a:pt x="368" y="1557"/>
                  <a:pt x="365" y="1558"/>
                  <a:pt x="362" y="1558"/>
                </a:cubicBezTo>
                <a:close/>
                <a:moveTo>
                  <a:pt x="340" y="1541"/>
                </a:moveTo>
                <a:cubicBezTo>
                  <a:pt x="338" y="1541"/>
                  <a:pt x="336" y="1541"/>
                  <a:pt x="335" y="1540"/>
                </a:cubicBezTo>
                <a:cubicBezTo>
                  <a:pt x="319" y="1528"/>
                  <a:pt x="305" y="1516"/>
                  <a:pt x="290" y="1503"/>
                </a:cubicBezTo>
                <a:cubicBezTo>
                  <a:pt x="277" y="1491"/>
                  <a:pt x="264" y="1479"/>
                  <a:pt x="251" y="1467"/>
                </a:cubicBezTo>
                <a:cubicBezTo>
                  <a:pt x="224" y="1439"/>
                  <a:pt x="198" y="1409"/>
                  <a:pt x="174" y="1378"/>
                </a:cubicBezTo>
                <a:cubicBezTo>
                  <a:pt x="171" y="1374"/>
                  <a:pt x="172" y="1369"/>
                  <a:pt x="176" y="1366"/>
                </a:cubicBezTo>
                <a:cubicBezTo>
                  <a:pt x="179" y="1363"/>
                  <a:pt x="185" y="1364"/>
                  <a:pt x="188" y="1368"/>
                </a:cubicBezTo>
                <a:cubicBezTo>
                  <a:pt x="211" y="1398"/>
                  <a:pt x="236" y="1428"/>
                  <a:pt x="263" y="1455"/>
                </a:cubicBezTo>
                <a:cubicBezTo>
                  <a:pt x="276" y="1467"/>
                  <a:pt x="288" y="1479"/>
                  <a:pt x="302" y="1491"/>
                </a:cubicBezTo>
                <a:cubicBezTo>
                  <a:pt x="302" y="1491"/>
                  <a:pt x="302" y="1491"/>
                  <a:pt x="302" y="1491"/>
                </a:cubicBezTo>
                <a:cubicBezTo>
                  <a:pt x="316" y="1503"/>
                  <a:pt x="330" y="1515"/>
                  <a:pt x="345" y="1526"/>
                </a:cubicBezTo>
                <a:cubicBezTo>
                  <a:pt x="349" y="1529"/>
                  <a:pt x="349" y="1534"/>
                  <a:pt x="346" y="1538"/>
                </a:cubicBezTo>
                <a:cubicBezTo>
                  <a:pt x="345" y="1540"/>
                  <a:pt x="342" y="1541"/>
                  <a:pt x="340" y="1541"/>
                </a:cubicBezTo>
                <a:close/>
                <a:moveTo>
                  <a:pt x="1411" y="1513"/>
                </a:moveTo>
                <a:cubicBezTo>
                  <a:pt x="1409" y="1513"/>
                  <a:pt x="1406" y="1512"/>
                  <a:pt x="1405" y="1510"/>
                </a:cubicBezTo>
                <a:cubicBezTo>
                  <a:pt x="1403" y="1508"/>
                  <a:pt x="1403" y="1506"/>
                  <a:pt x="1403" y="1504"/>
                </a:cubicBezTo>
                <a:cubicBezTo>
                  <a:pt x="1403" y="1502"/>
                  <a:pt x="1404" y="1500"/>
                  <a:pt x="1406" y="1498"/>
                </a:cubicBezTo>
                <a:cubicBezTo>
                  <a:pt x="1409" y="1495"/>
                  <a:pt x="1415" y="1496"/>
                  <a:pt x="1418" y="1499"/>
                </a:cubicBezTo>
                <a:cubicBezTo>
                  <a:pt x="1421" y="1503"/>
                  <a:pt x="1420" y="1508"/>
                  <a:pt x="1417" y="1511"/>
                </a:cubicBezTo>
                <a:cubicBezTo>
                  <a:pt x="1415" y="1512"/>
                  <a:pt x="1413" y="1513"/>
                  <a:pt x="1411" y="1513"/>
                </a:cubicBezTo>
                <a:close/>
                <a:moveTo>
                  <a:pt x="1432" y="1494"/>
                </a:moveTo>
                <a:cubicBezTo>
                  <a:pt x="1430" y="1494"/>
                  <a:pt x="1428" y="1493"/>
                  <a:pt x="1426" y="1492"/>
                </a:cubicBezTo>
                <a:cubicBezTo>
                  <a:pt x="1423" y="1488"/>
                  <a:pt x="1423" y="1483"/>
                  <a:pt x="1427" y="1480"/>
                </a:cubicBezTo>
                <a:cubicBezTo>
                  <a:pt x="1431" y="1475"/>
                  <a:pt x="1435" y="1471"/>
                  <a:pt x="1439" y="1468"/>
                </a:cubicBezTo>
                <a:cubicBezTo>
                  <a:pt x="1475" y="1433"/>
                  <a:pt x="1509" y="1395"/>
                  <a:pt x="1538" y="1354"/>
                </a:cubicBezTo>
                <a:cubicBezTo>
                  <a:pt x="1549" y="1339"/>
                  <a:pt x="1560" y="1324"/>
                  <a:pt x="1570" y="1308"/>
                </a:cubicBezTo>
                <a:cubicBezTo>
                  <a:pt x="1572" y="1304"/>
                  <a:pt x="1577" y="1303"/>
                  <a:pt x="1581" y="1305"/>
                </a:cubicBezTo>
                <a:cubicBezTo>
                  <a:pt x="1585" y="1308"/>
                  <a:pt x="1586" y="1313"/>
                  <a:pt x="1584" y="1317"/>
                </a:cubicBezTo>
                <a:cubicBezTo>
                  <a:pt x="1574" y="1333"/>
                  <a:pt x="1563" y="1349"/>
                  <a:pt x="1552" y="1364"/>
                </a:cubicBezTo>
                <a:cubicBezTo>
                  <a:pt x="1522" y="1406"/>
                  <a:pt x="1488" y="1445"/>
                  <a:pt x="1451" y="1480"/>
                </a:cubicBezTo>
                <a:cubicBezTo>
                  <a:pt x="1447" y="1484"/>
                  <a:pt x="1442" y="1488"/>
                  <a:pt x="1438" y="1492"/>
                </a:cubicBezTo>
                <a:cubicBezTo>
                  <a:pt x="1438" y="1492"/>
                  <a:pt x="1438" y="1492"/>
                  <a:pt x="1438" y="1492"/>
                </a:cubicBezTo>
                <a:cubicBezTo>
                  <a:pt x="1438" y="1492"/>
                  <a:pt x="1438" y="1492"/>
                  <a:pt x="1438" y="1492"/>
                </a:cubicBezTo>
                <a:cubicBezTo>
                  <a:pt x="1436" y="1494"/>
                  <a:pt x="1434" y="1494"/>
                  <a:pt x="1432" y="1494"/>
                </a:cubicBezTo>
                <a:close/>
                <a:moveTo>
                  <a:pt x="164" y="1358"/>
                </a:moveTo>
                <a:cubicBezTo>
                  <a:pt x="161" y="1358"/>
                  <a:pt x="159" y="1357"/>
                  <a:pt x="157" y="1355"/>
                </a:cubicBezTo>
                <a:cubicBezTo>
                  <a:pt x="157" y="1355"/>
                  <a:pt x="157" y="1355"/>
                  <a:pt x="157" y="1355"/>
                </a:cubicBezTo>
                <a:cubicBezTo>
                  <a:pt x="156" y="1353"/>
                  <a:pt x="155" y="1351"/>
                  <a:pt x="156" y="1348"/>
                </a:cubicBezTo>
                <a:cubicBezTo>
                  <a:pt x="156" y="1346"/>
                  <a:pt x="157" y="1344"/>
                  <a:pt x="159" y="1343"/>
                </a:cubicBezTo>
                <a:cubicBezTo>
                  <a:pt x="163" y="1340"/>
                  <a:pt x="168" y="1341"/>
                  <a:pt x="171" y="1345"/>
                </a:cubicBezTo>
                <a:cubicBezTo>
                  <a:pt x="174" y="1349"/>
                  <a:pt x="173" y="1354"/>
                  <a:pt x="169" y="1357"/>
                </a:cubicBezTo>
                <a:cubicBezTo>
                  <a:pt x="168" y="1358"/>
                  <a:pt x="166" y="1358"/>
                  <a:pt x="164" y="1358"/>
                </a:cubicBezTo>
                <a:close/>
                <a:moveTo>
                  <a:pt x="148" y="1335"/>
                </a:moveTo>
                <a:cubicBezTo>
                  <a:pt x="145" y="1335"/>
                  <a:pt x="143" y="1334"/>
                  <a:pt x="141" y="1331"/>
                </a:cubicBezTo>
                <a:cubicBezTo>
                  <a:pt x="131" y="1315"/>
                  <a:pt x="121" y="1299"/>
                  <a:pt x="111" y="1282"/>
                </a:cubicBezTo>
                <a:cubicBezTo>
                  <a:pt x="95" y="1253"/>
                  <a:pt x="80" y="1223"/>
                  <a:pt x="67" y="1193"/>
                </a:cubicBezTo>
                <a:cubicBezTo>
                  <a:pt x="58" y="1171"/>
                  <a:pt x="50" y="1148"/>
                  <a:pt x="42" y="1126"/>
                </a:cubicBezTo>
                <a:cubicBezTo>
                  <a:pt x="42" y="1124"/>
                  <a:pt x="42" y="1121"/>
                  <a:pt x="43" y="1119"/>
                </a:cubicBezTo>
                <a:cubicBezTo>
                  <a:pt x="44" y="1117"/>
                  <a:pt x="46" y="1116"/>
                  <a:pt x="48" y="1115"/>
                </a:cubicBezTo>
                <a:cubicBezTo>
                  <a:pt x="52" y="1114"/>
                  <a:pt x="57" y="1116"/>
                  <a:pt x="59" y="1121"/>
                </a:cubicBezTo>
                <a:cubicBezTo>
                  <a:pt x="66" y="1143"/>
                  <a:pt x="74" y="1165"/>
                  <a:pt x="83" y="1186"/>
                </a:cubicBezTo>
                <a:cubicBezTo>
                  <a:pt x="96" y="1216"/>
                  <a:pt x="110" y="1246"/>
                  <a:pt x="126" y="1274"/>
                </a:cubicBezTo>
                <a:cubicBezTo>
                  <a:pt x="135" y="1290"/>
                  <a:pt x="145" y="1306"/>
                  <a:pt x="155" y="1322"/>
                </a:cubicBezTo>
                <a:cubicBezTo>
                  <a:pt x="158" y="1326"/>
                  <a:pt x="157" y="1331"/>
                  <a:pt x="153" y="1334"/>
                </a:cubicBezTo>
                <a:cubicBezTo>
                  <a:pt x="151" y="1335"/>
                  <a:pt x="150" y="1335"/>
                  <a:pt x="148" y="1335"/>
                </a:cubicBezTo>
                <a:close/>
                <a:moveTo>
                  <a:pt x="1591" y="1297"/>
                </a:moveTo>
                <a:cubicBezTo>
                  <a:pt x="1590" y="1297"/>
                  <a:pt x="1588" y="1296"/>
                  <a:pt x="1587" y="1296"/>
                </a:cubicBezTo>
                <a:cubicBezTo>
                  <a:pt x="1583" y="1293"/>
                  <a:pt x="1582" y="1288"/>
                  <a:pt x="1584" y="1284"/>
                </a:cubicBezTo>
                <a:cubicBezTo>
                  <a:pt x="1584" y="1284"/>
                  <a:pt x="1584" y="1284"/>
                  <a:pt x="1584" y="1284"/>
                </a:cubicBezTo>
                <a:cubicBezTo>
                  <a:pt x="1584" y="1284"/>
                  <a:pt x="1584" y="1284"/>
                  <a:pt x="1584" y="1284"/>
                </a:cubicBezTo>
                <a:cubicBezTo>
                  <a:pt x="1586" y="1280"/>
                  <a:pt x="1592" y="1279"/>
                  <a:pt x="1596" y="1281"/>
                </a:cubicBezTo>
                <a:cubicBezTo>
                  <a:pt x="1598" y="1282"/>
                  <a:pt x="1599" y="1284"/>
                  <a:pt x="1600" y="1286"/>
                </a:cubicBezTo>
                <a:cubicBezTo>
                  <a:pt x="1600" y="1288"/>
                  <a:pt x="1600" y="1291"/>
                  <a:pt x="1599" y="1293"/>
                </a:cubicBezTo>
                <a:cubicBezTo>
                  <a:pt x="1599" y="1293"/>
                  <a:pt x="1599" y="1293"/>
                  <a:pt x="1599" y="1293"/>
                </a:cubicBezTo>
                <a:cubicBezTo>
                  <a:pt x="1597" y="1295"/>
                  <a:pt x="1594" y="1297"/>
                  <a:pt x="1591" y="1297"/>
                </a:cubicBezTo>
                <a:close/>
                <a:moveTo>
                  <a:pt x="1605" y="1272"/>
                </a:moveTo>
                <a:cubicBezTo>
                  <a:pt x="1604" y="1272"/>
                  <a:pt x="1602" y="1272"/>
                  <a:pt x="1601" y="1271"/>
                </a:cubicBezTo>
                <a:cubicBezTo>
                  <a:pt x="1599" y="1270"/>
                  <a:pt x="1598" y="1268"/>
                  <a:pt x="1597" y="1266"/>
                </a:cubicBezTo>
                <a:cubicBezTo>
                  <a:pt x="1596" y="1264"/>
                  <a:pt x="1597" y="1262"/>
                  <a:pt x="1598" y="1260"/>
                </a:cubicBezTo>
                <a:cubicBezTo>
                  <a:pt x="1608" y="1241"/>
                  <a:pt x="1617" y="1222"/>
                  <a:pt x="1626" y="1203"/>
                </a:cubicBezTo>
                <a:cubicBezTo>
                  <a:pt x="1640" y="1171"/>
                  <a:pt x="1652" y="1138"/>
                  <a:pt x="1662" y="1105"/>
                </a:cubicBezTo>
                <a:cubicBezTo>
                  <a:pt x="1663" y="1105"/>
                  <a:pt x="1663" y="1105"/>
                  <a:pt x="1663" y="1105"/>
                </a:cubicBezTo>
                <a:cubicBezTo>
                  <a:pt x="1668" y="1087"/>
                  <a:pt x="1673" y="1069"/>
                  <a:pt x="1677" y="1051"/>
                </a:cubicBezTo>
                <a:cubicBezTo>
                  <a:pt x="1678" y="1046"/>
                  <a:pt x="1683" y="1043"/>
                  <a:pt x="1687" y="1044"/>
                </a:cubicBezTo>
                <a:cubicBezTo>
                  <a:pt x="1690" y="1045"/>
                  <a:pt x="1691" y="1046"/>
                  <a:pt x="1693" y="1048"/>
                </a:cubicBezTo>
                <a:cubicBezTo>
                  <a:pt x="1694" y="1050"/>
                  <a:pt x="1694" y="1052"/>
                  <a:pt x="1694" y="1055"/>
                </a:cubicBezTo>
                <a:cubicBezTo>
                  <a:pt x="1689" y="1073"/>
                  <a:pt x="1684" y="1092"/>
                  <a:pt x="1679" y="1110"/>
                </a:cubicBezTo>
                <a:cubicBezTo>
                  <a:pt x="1668" y="1144"/>
                  <a:pt x="1656" y="1178"/>
                  <a:pt x="1641" y="1210"/>
                </a:cubicBezTo>
                <a:cubicBezTo>
                  <a:pt x="1633" y="1229"/>
                  <a:pt x="1623" y="1249"/>
                  <a:pt x="1613" y="1268"/>
                </a:cubicBezTo>
                <a:cubicBezTo>
                  <a:pt x="1611" y="1270"/>
                  <a:pt x="1608" y="1272"/>
                  <a:pt x="1605" y="1272"/>
                </a:cubicBezTo>
                <a:close/>
                <a:moveTo>
                  <a:pt x="42" y="1105"/>
                </a:moveTo>
                <a:cubicBezTo>
                  <a:pt x="38" y="1105"/>
                  <a:pt x="35" y="1102"/>
                  <a:pt x="34" y="1098"/>
                </a:cubicBezTo>
                <a:cubicBezTo>
                  <a:pt x="33" y="1094"/>
                  <a:pt x="35" y="1089"/>
                  <a:pt x="40" y="1088"/>
                </a:cubicBezTo>
                <a:cubicBezTo>
                  <a:pt x="44" y="1087"/>
                  <a:pt x="49" y="1089"/>
                  <a:pt x="50" y="1094"/>
                </a:cubicBezTo>
                <a:cubicBezTo>
                  <a:pt x="51" y="1096"/>
                  <a:pt x="51" y="1098"/>
                  <a:pt x="50" y="1100"/>
                </a:cubicBezTo>
                <a:cubicBezTo>
                  <a:pt x="48" y="1102"/>
                  <a:pt x="47" y="1104"/>
                  <a:pt x="44" y="1104"/>
                </a:cubicBezTo>
                <a:cubicBezTo>
                  <a:pt x="44" y="1104"/>
                  <a:pt x="43" y="1105"/>
                  <a:pt x="42" y="1105"/>
                </a:cubicBezTo>
                <a:close/>
                <a:moveTo>
                  <a:pt x="35" y="1077"/>
                </a:moveTo>
                <a:cubicBezTo>
                  <a:pt x="31" y="1077"/>
                  <a:pt x="27" y="1075"/>
                  <a:pt x="26" y="1071"/>
                </a:cubicBezTo>
                <a:cubicBezTo>
                  <a:pt x="22" y="1053"/>
                  <a:pt x="18" y="1034"/>
                  <a:pt x="14" y="1015"/>
                </a:cubicBezTo>
                <a:cubicBezTo>
                  <a:pt x="5" y="967"/>
                  <a:pt x="0" y="918"/>
                  <a:pt x="0" y="870"/>
                </a:cubicBezTo>
                <a:cubicBezTo>
                  <a:pt x="0" y="866"/>
                  <a:pt x="0" y="863"/>
                  <a:pt x="0" y="859"/>
                </a:cubicBezTo>
                <a:cubicBezTo>
                  <a:pt x="0" y="854"/>
                  <a:pt x="0" y="849"/>
                  <a:pt x="0" y="845"/>
                </a:cubicBezTo>
                <a:cubicBezTo>
                  <a:pt x="0" y="840"/>
                  <a:pt x="4" y="836"/>
                  <a:pt x="8" y="836"/>
                </a:cubicBezTo>
                <a:cubicBezTo>
                  <a:pt x="9" y="836"/>
                  <a:pt x="9" y="836"/>
                  <a:pt x="9" y="836"/>
                </a:cubicBezTo>
                <a:cubicBezTo>
                  <a:pt x="11" y="836"/>
                  <a:pt x="13" y="837"/>
                  <a:pt x="14" y="839"/>
                </a:cubicBezTo>
                <a:cubicBezTo>
                  <a:pt x="16" y="841"/>
                  <a:pt x="17" y="843"/>
                  <a:pt x="17" y="845"/>
                </a:cubicBezTo>
                <a:cubicBezTo>
                  <a:pt x="17" y="850"/>
                  <a:pt x="17" y="855"/>
                  <a:pt x="17" y="859"/>
                </a:cubicBezTo>
                <a:cubicBezTo>
                  <a:pt x="17" y="863"/>
                  <a:pt x="17" y="866"/>
                  <a:pt x="17" y="869"/>
                </a:cubicBezTo>
                <a:cubicBezTo>
                  <a:pt x="17" y="917"/>
                  <a:pt x="22" y="965"/>
                  <a:pt x="31" y="1012"/>
                </a:cubicBezTo>
                <a:cubicBezTo>
                  <a:pt x="34" y="1030"/>
                  <a:pt x="38" y="1049"/>
                  <a:pt x="43" y="1067"/>
                </a:cubicBezTo>
                <a:cubicBezTo>
                  <a:pt x="43" y="1069"/>
                  <a:pt x="43" y="1071"/>
                  <a:pt x="42" y="1073"/>
                </a:cubicBezTo>
                <a:cubicBezTo>
                  <a:pt x="41" y="1075"/>
                  <a:pt x="39" y="1077"/>
                  <a:pt x="37" y="1077"/>
                </a:cubicBezTo>
                <a:cubicBezTo>
                  <a:pt x="36" y="1077"/>
                  <a:pt x="35" y="1077"/>
                  <a:pt x="35" y="1077"/>
                </a:cubicBezTo>
                <a:close/>
                <a:moveTo>
                  <a:pt x="1691" y="1034"/>
                </a:moveTo>
                <a:cubicBezTo>
                  <a:pt x="1691" y="1034"/>
                  <a:pt x="1690" y="1034"/>
                  <a:pt x="1690" y="1033"/>
                </a:cubicBezTo>
                <a:cubicBezTo>
                  <a:pt x="1685" y="1033"/>
                  <a:pt x="1682" y="1028"/>
                  <a:pt x="1683" y="1023"/>
                </a:cubicBezTo>
                <a:cubicBezTo>
                  <a:pt x="1684" y="1019"/>
                  <a:pt x="1689" y="1016"/>
                  <a:pt x="1693" y="1017"/>
                </a:cubicBezTo>
                <a:cubicBezTo>
                  <a:pt x="1698" y="1018"/>
                  <a:pt x="1701" y="1022"/>
                  <a:pt x="1700" y="1027"/>
                </a:cubicBezTo>
                <a:cubicBezTo>
                  <a:pt x="1699" y="1031"/>
                  <a:pt x="1695" y="1034"/>
                  <a:pt x="1691" y="1034"/>
                </a:cubicBezTo>
                <a:close/>
                <a:moveTo>
                  <a:pt x="1696" y="1006"/>
                </a:moveTo>
                <a:cubicBezTo>
                  <a:pt x="1696" y="1006"/>
                  <a:pt x="1696" y="1006"/>
                  <a:pt x="1695" y="1006"/>
                </a:cubicBezTo>
                <a:cubicBezTo>
                  <a:pt x="1690" y="1005"/>
                  <a:pt x="1687" y="1001"/>
                  <a:pt x="1688" y="996"/>
                </a:cubicBezTo>
                <a:cubicBezTo>
                  <a:pt x="1694" y="960"/>
                  <a:pt x="1698" y="924"/>
                  <a:pt x="1699" y="888"/>
                </a:cubicBezTo>
                <a:cubicBezTo>
                  <a:pt x="1699" y="878"/>
                  <a:pt x="1699" y="869"/>
                  <a:pt x="1699" y="859"/>
                </a:cubicBezTo>
                <a:cubicBezTo>
                  <a:pt x="1699" y="849"/>
                  <a:pt x="1699" y="839"/>
                  <a:pt x="1699" y="829"/>
                </a:cubicBezTo>
                <a:cubicBezTo>
                  <a:pt x="1699" y="829"/>
                  <a:pt x="1699" y="829"/>
                  <a:pt x="1699" y="829"/>
                </a:cubicBezTo>
                <a:cubicBezTo>
                  <a:pt x="1699" y="829"/>
                  <a:pt x="1699" y="829"/>
                  <a:pt x="1699" y="829"/>
                </a:cubicBezTo>
                <a:cubicBezTo>
                  <a:pt x="1698" y="810"/>
                  <a:pt x="1697" y="791"/>
                  <a:pt x="1695" y="773"/>
                </a:cubicBezTo>
                <a:cubicBezTo>
                  <a:pt x="1694" y="768"/>
                  <a:pt x="1698" y="764"/>
                  <a:pt x="1702" y="763"/>
                </a:cubicBezTo>
                <a:cubicBezTo>
                  <a:pt x="1707" y="763"/>
                  <a:pt x="1711" y="766"/>
                  <a:pt x="1712" y="771"/>
                </a:cubicBezTo>
                <a:cubicBezTo>
                  <a:pt x="1714" y="790"/>
                  <a:pt x="1715" y="809"/>
                  <a:pt x="1716" y="828"/>
                </a:cubicBezTo>
                <a:cubicBezTo>
                  <a:pt x="1716" y="838"/>
                  <a:pt x="1716" y="849"/>
                  <a:pt x="1716" y="859"/>
                </a:cubicBezTo>
                <a:cubicBezTo>
                  <a:pt x="1716" y="869"/>
                  <a:pt x="1716" y="879"/>
                  <a:pt x="1716" y="888"/>
                </a:cubicBezTo>
                <a:cubicBezTo>
                  <a:pt x="1715" y="925"/>
                  <a:pt x="1711" y="962"/>
                  <a:pt x="1705" y="998"/>
                </a:cubicBezTo>
                <a:cubicBezTo>
                  <a:pt x="1705" y="998"/>
                  <a:pt x="1705" y="998"/>
                  <a:pt x="1705" y="998"/>
                </a:cubicBezTo>
                <a:cubicBezTo>
                  <a:pt x="1705" y="999"/>
                  <a:pt x="1705" y="999"/>
                  <a:pt x="1705" y="999"/>
                </a:cubicBezTo>
                <a:cubicBezTo>
                  <a:pt x="1704" y="1003"/>
                  <a:pt x="1701" y="1006"/>
                  <a:pt x="1696" y="1006"/>
                </a:cubicBezTo>
                <a:close/>
                <a:moveTo>
                  <a:pt x="9" y="825"/>
                </a:moveTo>
                <a:cubicBezTo>
                  <a:pt x="9" y="825"/>
                  <a:pt x="9" y="825"/>
                  <a:pt x="9" y="825"/>
                </a:cubicBezTo>
                <a:cubicBezTo>
                  <a:pt x="4" y="825"/>
                  <a:pt x="1" y="821"/>
                  <a:pt x="1" y="816"/>
                </a:cubicBezTo>
                <a:cubicBezTo>
                  <a:pt x="1" y="811"/>
                  <a:pt x="5" y="808"/>
                  <a:pt x="10" y="808"/>
                </a:cubicBezTo>
                <a:cubicBezTo>
                  <a:pt x="14" y="808"/>
                  <a:pt x="18" y="812"/>
                  <a:pt x="18" y="817"/>
                </a:cubicBezTo>
                <a:cubicBezTo>
                  <a:pt x="18" y="821"/>
                  <a:pt x="14" y="825"/>
                  <a:pt x="9" y="825"/>
                </a:cubicBezTo>
                <a:close/>
                <a:moveTo>
                  <a:pt x="11" y="797"/>
                </a:moveTo>
                <a:cubicBezTo>
                  <a:pt x="11" y="797"/>
                  <a:pt x="11" y="797"/>
                  <a:pt x="11" y="797"/>
                </a:cubicBezTo>
                <a:cubicBezTo>
                  <a:pt x="11" y="797"/>
                  <a:pt x="11" y="797"/>
                  <a:pt x="11" y="797"/>
                </a:cubicBezTo>
                <a:cubicBezTo>
                  <a:pt x="8" y="797"/>
                  <a:pt x="6" y="796"/>
                  <a:pt x="5" y="794"/>
                </a:cubicBezTo>
                <a:cubicBezTo>
                  <a:pt x="3" y="792"/>
                  <a:pt x="3" y="790"/>
                  <a:pt x="3" y="788"/>
                </a:cubicBezTo>
                <a:cubicBezTo>
                  <a:pt x="4" y="769"/>
                  <a:pt x="7" y="750"/>
                  <a:pt x="10" y="731"/>
                </a:cubicBezTo>
                <a:cubicBezTo>
                  <a:pt x="18" y="674"/>
                  <a:pt x="32" y="619"/>
                  <a:pt x="52" y="565"/>
                </a:cubicBezTo>
                <a:cubicBezTo>
                  <a:pt x="54" y="561"/>
                  <a:pt x="59" y="558"/>
                  <a:pt x="63" y="560"/>
                </a:cubicBezTo>
                <a:cubicBezTo>
                  <a:pt x="67" y="562"/>
                  <a:pt x="70" y="567"/>
                  <a:pt x="68" y="571"/>
                </a:cubicBezTo>
                <a:cubicBezTo>
                  <a:pt x="49" y="623"/>
                  <a:pt x="35" y="678"/>
                  <a:pt x="26" y="733"/>
                </a:cubicBezTo>
                <a:cubicBezTo>
                  <a:pt x="24" y="752"/>
                  <a:pt x="21" y="771"/>
                  <a:pt x="20" y="789"/>
                </a:cubicBezTo>
                <a:cubicBezTo>
                  <a:pt x="19" y="793"/>
                  <a:pt x="16" y="797"/>
                  <a:pt x="11" y="797"/>
                </a:cubicBezTo>
                <a:close/>
                <a:moveTo>
                  <a:pt x="1700" y="752"/>
                </a:moveTo>
                <a:cubicBezTo>
                  <a:pt x="1696" y="752"/>
                  <a:pt x="1692" y="749"/>
                  <a:pt x="1691" y="745"/>
                </a:cubicBezTo>
                <a:cubicBezTo>
                  <a:pt x="1691" y="745"/>
                  <a:pt x="1691" y="745"/>
                  <a:pt x="1691" y="745"/>
                </a:cubicBezTo>
                <a:cubicBezTo>
                  <a:pt x="1691" y="743"/>
                  <a:pt x="1692" y="740"/>
                  <a:pt x="1693" y="739"/>
                </a:cubicBezTo>
                <a:cubicBezTo>
                  <a:pt x="1694" y="737"/>
                  <a:pt x="1696" y="736"/>
                  <a:pt x="1699" y="735"/>
                </a:cubicBezTo>
                <a:cubicBezTo>
                  <a:pt x="1703" y="735"/>
                  <a:pt x="1708" y="738"/>
                  <a:pt x="1708" y="743"/>
                </a:cubicBezTo>
                <a:cubicBezTo>
                  <a:pt x="1709" y="745"/>
                  <a:pt x="1708" y="747"/>
                  <a:pt x="1707" y="749"/>
                </a:cubicBezTo>
                <a:cubicBezTo>
                  <a:pt x="1705" y="751"/>
                  <a:pt x="1703" y="752"/>
                  <a:pt x="1701" y="752"/>
                </a:cubicBezTo>
                <a:cubicBezTo>
                  <a:pt x="1701" y="752"/>
                  <a:pt x="1700" y="752"/>
                  <a:pt x="1700" y="752"/>
                </a:cubicBezTo>
                <a:close/>
                <a:moveTo>
                  <a:pt x="1695" y="724"/>
                </a:moveTo>
                <a:cubicBezTo>
                  <a:pt x="1691" y="724"/>
                  <a:pt x="1688" y="721"/>
                  <a:pt x="1687" y="717"/>
                </a:cubicBezTo>
                <a:cubicBezTo>
                  <a:pt x="1678" y="667"/>
                  <a:pt x="1665" y="617"/>
                  <a:pt x="1647" y="569"/>
                </a:cubicBezTo>
                <a:cubicBezTo>
                  <a:pt x="1646" y="564"/>
                  <a:pt x="1644" y="560"/>
                  <a:pt x="1642" y="556"/>
                </a:cubicBezTo>
                <a:cubicBezTo>
                  <a:pt x="1635" y="538"/>
                  <a:pt x="1628" y="521"/>
                  <a:pt x="1620" y="504"/>
                </a:cubicBezTo>
                <a:cubicBezTo>
                  <a:pt x="1618" y="500"/>
                  <a:pt x="1620" y="495"/>
                  <a:pt x="1624" y="493"/>
                </a:cubicBezTo>
                <a:cubicBezTo>
                  <a:pt x="1628" y="491"/>
                  <a:pt x="1634" y="493"/>
                  <a:pt x="1636" y="497"/>
                </a:cubicBezTo>
                <a:cubicBezTo>
                  <a:pt x="1644" y="514"/>
                  <a:pt x="1651" y="532"/>
                  <a:pt x="1658" y="549"/>
                </a:cubicBezTo>
                <a:cubicBezTo>
                  <a:pt x="1660" y="554"/>
                  <a:pt x="1661" y="558"/>
                  <a:pt x="1663" y="563"/>
                </a:cubicBezTo>
                <a:cubicBezTo>
                  <a:pt x="1681" y="612"/>
                  <a:pt x="1695" y="663"/>
                  <a:pt x="1704" y="714"/>
                </a:cubicBezTo>
                <a:cubicBezTo>
                  <a:pt x="1705" y="719"/>
                  <a:pt x="1701" y="723"/>
                  <a:pt x="1697" y="724"/>
                </a:cubicBezTo>
                <a:cubicBezTo>
                  <a:pt x="1696" y="724"/>
                  <a:pt x="1696" y="724"/>
                  <a:pt x="1695" y="724"/>
                </a:cubicBezTo>
                <a:close/>
                <a:moveTo>
                  <a:pt x="70" y="550"/>
                </a:moveTo>
                <a:cubicBezTo>
                  <a:pt x="69" y="550"/>
                  <a:pt x="68" y="550"/>
                  <a:pt x="67" y="550"/>
                </a:cubicBezTo>
                <a:cubicBezTo>
                  <a:pt x="63" y="548"/>
                  <a:pt x="61" y="543"/>
                  <a:pt x="62" y="538"/>
                </a:cubicBezTo>
                <a:cubicBezTo>
                  <a:pt x="64" y="534"/>
                  <a:pt x="69" y="532"/>
                  <a:pt x="73" y="534"/>
                </a:cubicBezTo>
                <a:cubicBezTo>
                  <a:pt x="78" y="536"/>
                  <a:pt x="80" y="540"/>
                  <a:pt x="78" y="545"/>
                </a:cubicBezTo>
                <a:cubicBezTo>
                  <a:pt x="77" y="548"/>
                  <a:pt x="74" y="550"/>
                  <a:pt x="70" y="550"/>
                </a:cubicBezTo>
                <a:close/>
                <a:moveTo>
                  <a:pt x="81" y="524"/>
                </a:moveTo>
                <a:cubicBezTo>
                  <a:pt x="80" y="524"/>
                  <a:pt x="79" y="524"/>
                  <a:pt x="78" y="523"/>
                </a:cubicBezTo>
                <a:cubicBezTo>
                  <a:pt x="76" y="522"/>
                  <a:pt x="74" y="521"/>
                  <a:pt x="73" y="519"/>
                </a:cubicBezTo>
                <a:cubicBezTo>
                  <a:pt x="72" y="517"/>
                  <a:pt x="73" y="514"/>
                  <a:pt x="73" y="512"/>
                </a:cubicBezTo>
                <a:cubicBezTo>
                  <a:pt x="81" y="495"/>
                  <a:pt x="89" y="478"/>
                  <a:pt x="98" y="461"/>
                </a:cubicBezTo>
                <a:cubicBezTo>
                  <a:pt x="98" y="461"/>
                  <a:pt x="98" y="461"/>
                  <a:pt x="98" y="461"/>
                </a:cubicBezTo>
                <a:cubicBezTo>
                  <a:pt x="98" y="461"/>
                  <a:pt x="98" y="461"/>
                  <a:pt x="98" y="460"/>
                </a:cubicBezTo>
                <a:cubicBezTo>
                  <a:pt x="125" y="410"/>
                  <a:pt x="157" y="362"/>
                  <a:pt x="192" y="318"/>
                </a:cubicBezTo>
                <a:cubicBezTo>
                  <a:pt x="195" y="314"/>
                  <a:pt x="201" y="314"/>
                  <a:pt x="204" y="317"/>
                </a:cubicBezTo>
                <a:cubicBezTo>
                  <a:pt x="208" y="320"/>
                  <a:pt x="209" y="325"/>
                  <a:pt x="206" y="329"/>
                </a:cubicBezTo>
                <a:cubicBezTo>
                  <a:pt x="170" y="372"/>
                  <a:pt x="139" y="419"/>
                  <a:pt x="113" y="469"/>
                </a:cubicBezTo>
                <a:cubicBezTo>
                  <a:pt x="105" y="485"/>
                  <a:pt x="96" y="502"/>
                  <a:pt x="89" y="519"/>
                </a:cubicBezTo>
                <a:cubicBezTo>
                  <a:pt x="88" y="522"/>
                  <a:pt x="85" y="524"/>
                  <a:pt x="81" y="524"/>
                </a:cubicBezTo>
                <a:close/>
                <a:moveTo>
                  <a:pt x="1616" y="484"/>
                </a:moveTo>
                <a:cubicBezTo>
                  <a:pt x="1613" y="484"/>
                  <a:pt x="1610" y="482"/>
                  <a:pt x="1608" y="480"/>
                </a:cubicBezTo>
                <a:cubicBezTo>
                  <a:pt x="1608" y="480"/>
                  <a:pt x="1608" y="480"/>
                  <a:pt x="1608" y="480"/>
                </a:cubicBezTo>
                <a:cubicBezTo>
                  <a:pt x="1608" y="479"/>
                  <a:pt x="1608" y="479"/>
                  <a:pt x="1608" y="479"/>
                </a:cubicBezTo>
                <a:cubicBezTo>
                  <a:pt x="1606" y="475"/>
                  <a:pt x="1608" y="470"/>
                  <a:pt x="1612" y="467"/>
                </a:cubicBezTo>
                <a:cubicBezTo>
                  <a:pt x="1616" y="465"/>
                  <a:pt x="1621" y="467"/>
                  <a:pt x="1623" y="471"/>
                </a:cubicBezTo>
                <a:cubicBezTo>
                  <a:pt x="1624" y="473"/>
                  <a:pt x="1624" y="476"/>
                  <a:pt x="1624" y="478"/>
                </a:cubicBezTo>
                <a:cubicBezTo>
                  <a:pt x="1623" y="480"/>
                  <a:pt x="1621" y="482"/>
                  <a:pt x="1619" y="483"/>
                </a:cubicBezTo>
                <a:cubicBezTo>
                  <a:pt x="1618" y="483"/>
                  <a:pt x="1617" y="484"/>
                  <a:pt x="1616" y="484"/>
                </a:cubicBezTo>
                <a:close/>
                <a:moveTo>
                  <a:pt x="1602" y="459"/>
                </a:moveTo>
                <a:cubicBezTo>
                  <a:pt x="1599" y="459"/>
                  <a:pt x="1596" y="457"/>
                  <a:pt x="1595" y="454"/>
                </a:cubicBezTo>
                <a:cubicBezTo>
                  <a:pt x="1568" y="405"/>
                  <a:pt x="1536" y="358"/>
                  <a:pt x="1500" y="316"/>
                </a:cubicBezTo>
                <a:cubicBezTo>
                  <a:pt x="1500" y="316"/>
                  <a:pt x="1500" y="316"/>
                  <a:pt x="1500" y="316"/>
                </a:cubicBezTo>
                <a:cubicBezTo>
                  <a:pt x="1493" y="308"/>
                  <a:pt x="1486" y="300"/>
                  <a:pt x="1479" y="292"/>
                </a:cubicBezTo>
                <a:cubicBezTo>
                  <a:pt x="1474" y="286"/>
                  <a:pt x="1468" y="280"/>
                  <a:pt x="1462" y="274"/>
                </a:cubicBezTo>
                <a:cubicBezTo>
                  <a:pt x="1461" y="273"/>
                  <a:pt x="1460" y="271"/>
                  <a:pt x="1460" y="268"/>
                </a:cubicBezTo>
                <a:cubicBezTo>
                  <a:pt x="1460" y="266"/>
                  <a:pt x="1461" y="264"/>
                  <a:pt x="1463" y="262"/>
                </a:cubicBezTo>
                <a:cubicBezTo>
                  <a:pt x="1466" y="259"/>
                  <a:pt x="1471" y="259"/>
                  <a:pt x="1475" y="263"/>
                </a:cubicBezTo>
                <a:cubicBezTo>
                  <a:pt x="1480" y="268"/>
                  <a:pt x="1486" y="275"/>
                  <a:pt x="1492" y="281"/>
                </a:cubicBezTo>
                <a:cubicBezTo>
                  <a:pt x="1499" y="289"/>
                  <a:pt x="1506" y="297"/>
                  <a:pt x="1513" y="305"/>
                </a:cubicBezTo>
                <a:cubicBezTo>
                  <a:pt x="1550" y="348"/>
                  <a:pt x="1582" y="396"/>
                  <a:pt x="1610" y="446"/>
                </a:cubicBezTo>
                <a:cubicBezTo>
                  <a:pt x="1612" y="450"/>
                  <a:pt x="1611" y="455"/>
                  <a:pt x="1606" y="457"/>
                </a:cubicBezTo>
                <a:cubicBezTo>
                  <a:pt x="1605" y="458"/>
                  <a:pt x="1604" y="459"/>
                  <a:pt x="1602" y="459"/>
                </a:cubicBezTo>
                <a:close/>
                <a:moveTo>
                  <a:pt x="217" y="310"/>
                </a:moveTo>
                <a:cubicBezTo>
                  <a:pt x="215" y="310"/>
                  <a:pt x="213" y="309"/>
                  <a:pt x="212" y="308"/>
                </a:cubicBezTo>
                <a:cubicBezTo>
                  <a:pt x="208" y="305"/>
                  <a:pt x="208" y="299"/>
                  <a:pt x="211" y="296"/>
                </a:cubicBezTo>
                <a:cubicBezTo>
                  <a:pt x="214" y="293"/>
                  <a:pt x="219" y="292"/>
                  <a:pt x="223" y="295"/>
                </a:cubicBezTo>
                <a:cubicBezTo>
                  <a:pt x="226" y="298"/>
                  <a:pt x="227" y="304"/>
                  <a:pt x="224" y="307"/>
                </a:cubicBezTo>
                <a:cubicBezTo>
                  <a:pt x="224" y="307"/>
                  <a:pt x="224" y="307"/>
                  <a:pt x="224" y="307"/>
                </a:cubicBezTo>
                <a:cubicBezTo>
                  <a:pt x="222" y="309"/>
                  <a:pt x="220" y="310"/>
                  <a:pt x="217" y="310"/>
                </a:cubicBezTo>
                <a:close/>
                <a:moveTo>
                  <a:pt x="236" y="289"/>
                </a:moveTo>
                <a:cubicBezTo>
                  <a:pt x="234" y="289"/>
                  <a:pt x="232" y="288"/>
                  <a:pt x="230" y="287"/>
                </a:cubicBezTo>
                <a:cubicBezTo>
                  <a:pt x="229" y="285"/>
                  <a:pt x="228" y="283"/>
                  <a:pt x="228" y="281"/>
                </a:cubicBezTo>
                <a:cubicBezTo>
                  <a:pt x="228" y="279"/>
                  <a:pt x="228" y="276"/>
                  <a:pt x="230" y="275"/>
                </a:cubicBezTo>
                <a:cubicBezTo>
                  <a:pt x="232" y="272"/>
                  <a:pt x="235" y="269"/>
                  <a:pt x="237" y="267"/>
                </a:cubicBezTo>
                <a:cubicBezTo>
                  <a:pt x="248" y="256"/>
                  <a:pt x="259" y="245"/>
                  <a:pt x="270" y="234"/>
                </a:cubicBezTo>
                <a:cubicBezTo>
                  <a:pt x="312" y="195"/>
                  <a:pt x="357" y="160"/>
                  <a:pt x="406" y="130"/>
                </a:cubicBezTo>
                <a:cubicBezTo>
                  <a:pt x="410" y="128"/>
                  <a:pt x="415" y="129"/>
                  <a:pt x="418" y="133"/>
                </a:cubicBezTo>
                <a:cubicBezTo>
                  <a:pt x="420" y="137"/>
                  <a:pt x="419" y="142"/>
                  <a:pt x="415" y="144"/>
                </a:cubicBezTo>
                <a:cubicBezTo>
                  <a:pt x="367" y="174"/>
                  <a:pt x="322" y="208"/>
                  <a:pt x="282" y="247"/>
                </a:cubicBezTo>
                <a:cubicBezTo>
                  <a:pt x="271" y="257"/>
                  <a:pt x="260" y="268"/>
                  <a:pt x="250" y="279"/>
                </a:cubicBezTo>
                <a:cubicBezTo>
                  <a:pt x="247" y="281"/>
                  <a:pt x="245" y="284"/>
                  <a:pt x="242" y="286"/>
                </a:cubicBezTo>
                <a:cubicBezTo>
                  <a:pt x="241" y="288"/>
                  <a:pt x="238" y="289"/>
                  <a:pt x="236" y="289"/>
                </a:cubicBezTo>
                <a:close/>
                <a:moveTo>
                  <a:pt x="1449" y="257"/>
                </a:moveTo>
                <a:cubicBezTo>
                  <a:pt x="1446" y="257"/>
                  <a:pt x="1444" y="256"/>
                  <a:pt x="1443" y="255"/>
                </a:cubicBezTo>
                <a:cubicBezTo>
                  <a:pt x="1441" y="253"/>
                  <a:pt x="1440" y="251"/>
                  <a:pt x="1440" y="249"/>
                </a:cubicBezTo>
                <a:cubicBezTo>
                  <a:pt x="1440" y="246"/>
                  <a:pt x="1441" y="244"/>
                  <a:pt x="1442" y="243"/>
                </a:cubicBezTo>
                <a:cubicBezTo>
                  <a:pt x="1445" y="239"/>
                  <a:pt x="1451" y="239"/>
                  <a:pt x="1454" y="242"/>
                </a:cubicBezTo>
                <a:cubicBezTo>
                  <a:pt x="1454" y="242"/>
                  <a:pt x="1454" y="242"/>
                  <a:pt x="1454" y="242"/>
                </a:cubicBezTo>
                <a:cubicBezTo>
                  <a:pt x="1454" y="242"/>
                  <a:pt x="1454" y="242"/>
                  <a:pt x="1454" y="242"/>
                </a:cubicBezTo>
                <a:cubicBezTo>
                  <a:pt x="1456" y="244"/>
                  <a:pt x="1457" y="246"/>
                  <a:pt x="1457" y="248"/>
                </a:cubicBezTo>
                <a:cubicBezTo>
                  <a:pt x="1457" y="251"/>
                  <a:pt x="1456" y="253"/>
                  <a:pt x="1455" y="254"/>
                </a:cubicBezTo>
                <a:cubicBezTo>
                  <a:pt x="1453" y="256"/>
                  <a:pt x="1451" y="257"/>
                  <a:pt x="1449" y="257"/>
                </a:cubicBezTo>
                <a:close/>
                <a:moveTo>
                  <a:pt x="1428" y="238"/>
                </a:moveTo>
                <a:cubicBezTo>
                  <a:pt x="1426" y="238"/>
                  <a:pt x="1424" y="237"/>
                  <a:pt x="1422" y="235"/>
                </a:cubicBezTo>
                <a:cubicBezTo>
                  <a:pt x="1381" y="198"/>
                  <a:pt x="1335" y="165"/>
                  <a:pt x="1287" y="136"/>
                </a:cubicBezTo>
                <a:cubicBezTo>
                  <a:pt x="1271" y="127"/>
                  <a:pt x="1255" y="118"/>
                  <a:pt x="1238" y="109"/>
                </a:cubicBezTo>
                <a:cubicBezTo>
                  <a:pt x="1236" y="108"/>
                  <a:pt x="1234" y="106"/>
                  <a:pt x="1234" y="104"/>
                </a:cubicBezTo>
                <a:cubicBezTo>
                  <a:pt x="1233" y="102"/>
                  <a:pt x="1233" y="100"/>
                  <a:pt x="1234" y="98"/>
                </a:cubicBezTo>
                <a:cubicBezTo>
                  <a:pt x="1236" y="94"/>
                  <a:pt x="1242" y="92"/>
                  <a:pt x="1246" y="94"/>
                </a:cubicBezTo>
                <a:cubicBezTo>
                  <a:pt x="1263" y="103"/>
                  <a:pt x="1279" y="112"/>
                  <a:pt x="1296" y="121"/>
                </a:cubicBezTo>
                <a:cubicBezTo>
                  <a:pt x="1345" y="151"/>
                  <a:pt x="1391" y="185"/>
                  <a:pt x="1434" y="223"/>
                </a:cubicBezTo>
                <a:cubicBezTo>
                  <a:pt x="1437" y="226"/>
                  <a:pt x="1437" y="231"/>
                  <a:pt x="1434" y="235"/>
                </a:cubicBezTo>
                <a:cubicBezTo>
                  <a:pt x="1433" y="237"/>
                  <a:pt x="1430" y="238"/>
                  <a:pt x="1428" y="238"/>
                </a:cubicBezTo>
                <a:close/>
                <a:moveTo>
                  <a:pt x="435" y="131"/>
                </a:moveTo>
                <a:cubicBezTo>
                  <a:pt x="435" y="131"/>
                  <a:pt x="435" y="131"/>
                  <a:pt x="435" y="131"/>
                </a:cubicBezTo>
                <a:cubicBezTo>
                  <a:pt x="432" y="131"/>
                  <a:pt x="429" y="130"/>
                  <a:pt x="427" y="127"/>
                </a:cubicBezTo>
                <a:cubicBezTo>
                  <a:pt x="425" y="123"/>
                  <a:pt x="426" y="118"/>
                  <a:pt x="430" y="115"/>
                </a:cubicBezTo>
                <a:cubicBezTo>
                  <a:pt x="434" y="113"/>
                  <a:pt x="440" y="115"/>
                  <a:pt x="442" y="119"/>
                </a:cubicBezTo>
                <a:cubicBezTo>
                  <a:pt x="444" y="123"/>
                  <a:pt x="443" y="128"/>
                  <a:pt x="439" y="130"/>
                </a:cubicBezTo>
                <a:cubicBezTo>
                  <a:pt x="438" y="131"/>
                  <a:pt x="436" y="131"/>
                  <a:pt x="435" y="131"/>
                </a:cubicBezTo>
                <a:close/>
                <a:moveTo>
                  <a:pt x="459" y="118"/>
                </a:moveTo>
                <a:cubicBezTo>
                  <a:pt x="456" y="118"/>
                  <a:pt x="453" y="116"/>
                  <a:pt x="452" y="113"/>
                </a:cubicBezTo>
                <a:cubicBezTo>
                  <a:pt x="451" y="111"/>
                  <a:pt x="451" y="109"/>
                  <a:pt x="451" y="107"/>
                </a:cubicBezTo>
                <a:cubicBezTo>
                  <a:pt x="452" y="104"/>
                  <a:pt x="453" y="103"/>
                  <a:pt x="455" y="102"/>
                </a:cubicBezTo>
                <a:cubicBezTo>
                  <a:pt x="472" y="93"/>
                  <a:pt x="489" y="84"/>
                  <a:pt x="507" y="77"/>
                </a:cubicBezTo>
                <a:cubicBezTo>
                  <a:pt x="511" y="75"/>
                  <a:pt x="516" y="77"/>
                  <a:pt x="518" y="81"/>
                </a:cubicBezTo>
                <a:cubicBezTo>
                  <a:pt x="520" y="85"/>
                  <a:pt x="518" y="90"/>
                  <a:pt x="514" y="92"/>
                </a:cubicBezTo>
                <a:cubicBezTo>
                  <a:pt x="497" y="100"/>
                  <a:pt x="480" y="108"/>
                  <a:pt x="463" y="117"/>
                </a:cubicBezTo>
                <a:cubicBezTo>
                  <a:pt x="462" y="117"/>
                  <a:pt x="461" y="118"/>
                  <a:pt x="459" y="118"/>
                </a:cubicBezTo>
                <a:close/>
                <a:moveTo>
                  <a:pt x="1216" y="98"/>
                </a:moveTo>
                <a:cubicBezTo>
                  <a:pt x="1215" y="98"/>
                  <a:pt x="1214" y="97"/>
                  <a:pt x="1213" y="97"/>
                </a:cubicBezTo>
                <a:cubicBezTo>
                  <a:pt x="1212" y="97"/>
                  <a:pt x="1212" y="97"/>
                  <a:pt x="1212" y="97"/>
                </a:cubicBezTo>
                <a:cubicBezTo>
                  <a:pt x="1212" y="97"/>
                  <a:pt x="1212" y="97"/>
                  <a:pt x="1212" y="97"/>
                </a:cubicBezTo>
                <a:cubicBezTo>
                  <a:pt x="1208" y="94"/>
                  <a:pt x="1207" y="90"/>
                  <a:pt x="1209" y="86"/>
                </a:cubicBezTo>
                <a:cubicBezTo>
                  <a:pt x="1211" y="82"/>
                  <a:pt x="1216" y="80"/>
                  <a:pt x="1220" y="82"/>
                </a:cubicBezTo>
                <a:cubicBezTo>
                  <a:pt x="1220" y="82"/>
                  <a:pt x="1220" y="82"/>
                  <a:pt x="1220" y="82"/>
                </a:cubicBezTo>
                <a:cubicBezTo>
                  <a:pt x="1222" y="82"/>
                  <a:pt x="1224" y="84"/>
                  <a:pt x="1224" y="86"/>
                </a:cubicBezTo>
                <a:cubicBezTo>
                  <a:pt x="1225" y="88"/>
                  <a:pt x="1225" y="91"/>
                  <a:pt x="1224" y="93"/>
                </a:cubicBezTo>
                <a:cubicBezTo>
                  <a:pt x="1223" y="96"/>
                  <a:pt x="1220" y="98"/>
                  <a:pt x="1216" y="98"/>
                </a:cubicBezTo>
                <a:close/>
                <a:moveTo>
                  <a:pt x="1190" y="86"/>
                </a:moveTo>
                <a:cubicBezTo>
                  <a:pt x="1189" y="86"/>
                  <a:pt x="1188" y="86"/>
                  <a:pt x="1187" y="86"/>
                </a:cubicBezTo>
                <a:cubicBezTo>
                  <a:pt x="1136" y="64"/>
                  <a:pt x="1082" y="47"/>
                  <a:pt x="1027" y="36"/>
                </a:cubicBezTo>
                <a:cubicBezTo>
                  <a:pt x="1009" y="32"/>
                  <a:pt x="990" y="29"/>
                  <a:pt x="972" y="26"/>
                </a:cubicBezTo>
                <a:cubicBezTo>
                  <a:pt x="970" y="26"/>
                  <a:pt x="968" y="25"/>
                  <a:pt x="966" y="23"/>
                </a:cubicBezTo>
                <a:cubicBezTo>
                  <a:pt x="965" y="21"/>
                  <a:pt x="964" y="19"/>
                  <a:pt x="965" y="16"/>
                </a:cubicBezTo>
                <a:cubicBezTo>
                  <a:pt x="965" y="12"/>
                  <a:pt x="970" y="9"/>
                  <a:pt x="974" y="9"/>
                </a:cubicBezTo>
                <a:cubicBezTo>
                  <a:pt x="993" y="12"/>
                  <a:pt x="1012" y="15"/>
                  <a:pt x="1030" y="19"/>
                </a:cubicBezTo>
                <a:cubicBezTo>
                  <a:pt x="1030" y="19"/>
                  <a:pt x="1030" y="19"/>
                  <a:pt x="1030" y="19"/>
                </a:cubicBezTo>
                <a:cubicBezTo>
                  <a:pt x="1031" y="19"/>
                  <a:pt x="1031" y="19"/>
                  <a:pt x="1031" y="19"/>
                </a:cubicBezTo>
                <a:cubicBezTo>
                  <a:pt x="1087" y="31"/>
                  <a:pt x="1141" y="48"/>
                  <a:pt x="1194" y="70"/>
                </a:cubicBezTo>
                <a:cubicBezTo>
                  <a:pt x="1196" y="71"/>
                  <a:pt x="1198" y="72"/>
                  <a:pt x="1198" y="75"/>
                </a:cubicBezTo>
                <a:cubicBezTo>
                  <a:pt x="1199" y="77"/>
                  <a:pt x="1199" y="79"/>
                  <a:pt x="1198" y="81"/>
                </a:cubicBezTo>
                <a:cubicBezTo>
                  <a:pt x="1197" y="84"/>
                  <a:pt x="1194" y="86"/>
                  <a:pt x="1190" y="86"/>
                </a:cubicBezTo>
                <a:close/>
                <a:moveTo>
                  <a:pt x="582" y="64"/>
                </a:moveTo>
                <a:cubicBezTo>
                  <a:pt x="579" y="64"/>
                  <a:pt x="576" y="62"/>
                  <a:pt x="574" y="59"/>
                </a:cubicBezTo>
                <a:cubicBezTo>
                  <a:pt x="574" y="56"/>
                  <a:pt x="574" y="54"/>
                  <a:pt x="575" y="52"/>
                </a:cubicBezTo>
                <a:cubicBezTo>
                  <a:pt x="576" y="50"/>
                  <a:pt x="577" y="49"/>
                  <a:pt x="580" y="48"/>
                </a:cubicBezTo>
                <a:cubicBezTo>
                  <a:pt x="598" y="42"/>
                  <a:pt x="616" y="36"/>
                  <a:pt x="634" y="31"/>
                </a:cubicBezTo>
                <a:cubicBezTo>
                  <a:pt x="639" y="30"/>
                  <a:pt x="644" y="33"/>
                  <a:pt x="645" y="37"/>
                </a:cubicBezTo>
                <a:cubicBezTo>
                  <a:pt x="645" y="39"/>
                  <a:pt x="645" y="41"/>
                  <a:pt x="644" y="43"/>
                </a:cubicBezTo>
                <a:cubicBezTo>
                  <a:pt x="643" y="45"/>
                  <a:pt x="641" y="47"/>
                  <a:pt x="639" y="47"/>
                </a:cubicBezTo>
                <a:cubicBezTo>
                  <a:pt x="621" y="52"/>
                  <a:pt x="603" y="58"/>
                  <a:pt x="585" y="64"/>
                </a:cubicBezTo>
                <a:cubicBezTo>
                  <a:pt x="584" y="64"/>
                  <a:pt x="583" y="64"/>
                  <a:pt x="582" y="64"/>
                </a:cubicBezTo>
                <a:close/>
                <a:moveTo>
                  <a:pt x="664" y="41"/>
                </a:moveTo>
                <a:cubicBezTo>
                  <a:pt x="660" y="41"/>
                  <a:pt x="657" y="38"/>
                  <a:pt x="656" y="34"/>
                </a:cubicBezTo>
                <a:cubicBezTo>
                  <a:pt x="655" y="32"/>
                  <a:pt x="656" y="30"/>
                  <a:pt x="657" y="28"/>
                </a:cubicBezTo>
                <a:cubicBezTo>
                  <a:pt x="658" y="26"/>
                  <a:pt x="660" y="25"/>
                  <a:pt x="662" y="24"/>
                </a:cubicBezTo>
                <a:cubicBezTo>
                  <a:pt x="662" y="24"/>
                  <a:pt x="662" y="24"/>
                  <a:pt x="662" y="24"/>
                </a:cubicBezTo>
                <a:cubicBezTo>
                  <a:pt x="663" y="24"/>
                  <a:pt x="663" y="24"/>
                  <a:pt x="664" y="24"/>
                </a:cubicBezTo>
                <a:cubicBezTo>
                  <a:pt x="668" y="24"/>
                  <a:pt x="671" y="26"/>
                  <a:pt x="672" y="30"/>
                </a:cubicBezTo>
                <a:cubicBezTo>
                  <a:pt x="673" y="33"/>
                  <a:pt x="672" y="35"/>
                  <a:pt x="671" y="37"/>
                </a:cubicBezTo>
                <a:cubicBezTo>
                  <a:pt x="670" y="39"/>
                  <a:pt x="668" y="40"/>
                  <a:pt x="666" y="41"/>
                </a:cubicBezTo>
                <a:cubicBezTo>
                  <a:pt x="665" y="41"/>
                  <a:pt x="665" y="41"/>
                  <a:pt x="664" y="41"/>
                </a:cubicBezTo>
                <a:close/>
                <a:moveTo>
                  <a:pt x="692" y="35"/>
                </a:moveTo>
                <a:cubicBezTo>
                  <a:pt x="688" y="35"/>
                  <a:pt x="684" y="32"/>
                  <a:pt x="683" y="28"/>
                </a:cubicBezTo>
                <a:cubicBezTo>
                  <a:pt x="683" y="26"/>
                  <a:pt x="683" y="23"/>
                  <a:pt x="685" y="22"/>
                </a:cubicBezTo>
                <a:cubicBezTo>
                  <a:pt x="686" y="20"/>
                  <a:pt x="688" y="18"/>
                  <a:pt x="690" y="18"/>
                </a:cubicBezTo>
                <a:cubicBezTo>
                  <a:pt x="709" y="14"/>
                  <a:pt x="728" y="11"/>
                  <a:pt x="746" y="9"/>
                </a:cubicBezTo>
                <a:cubicBezTo>
                  <a:pt x="799" y="2"/>
                  <a:pt x="853" y="0"/>
                  <a:pt x="907" y="3"/>
                </a:cubicBezTo>
                <a:cubicBezTo>
                  <a:pt x="910" y="3"/>
                  <a:pt x="914" y="3"/>
                  <a:pt x="917" y="3"/>
                </a:cubicBezTo>
                <a:cubicBezTo>
                  <a:pt x="922" y="4"/>
                  <a:pt x="926" y="8"/>
                  <a:pt x="925" y="12"/>
                </a:cubicBezTo>
                <a:cubicBezTo>
                  <a:pt x="925" y="17"/>
                  <a:pt x="921" y="21"/>
                  <a:pt x="916" y="20"/>
                </a:cubicBezTo>
                <a:cubicBezTo>
                  <a:pt x="913" y="20"/>
                  <a:pt x="910" y="20"/>
                  <a:pt x="906" y="20"/>
                </a:cubicBezTo>
                <a:cubicBezTo>
                  <a:pt x="890" y="19"/>
                  <a:pt x="874" y="18"/>
                  <a:pt x="858" y="18"/>
                </a:cubicBezTo>
                <a:cubicBezTo>
                  <a:pt x="821" y="18"/>
                  <a:pt x="785" y="21"/>
                  <a:pt x="749" y="25"/>
                </a:cubicBezTo>
                <a:cubicBezTo>
                  <a:pt x="749" y="25"/>
                  <a:pt x="749" y="25"/>
                  <a:pt x="749" y="25"/>
                </a:cubicBezTo>
                <a:cubicBezTo>
                  <a:pt x="730" y="28"/>
                  <a:pt x="711" y="31"/>
                  <a:pt x="693" y="35"/>
                </a:cubicBezTo>
                <a:cubicBezTo>
                  <a:pt x="693" y="35"/>
                  <a:pt x="692" y="35"/>
                  <a:pt x="692" y="35"/>
                </a:cubicBezTo>
                <a:close/>
                <a:moveTo>
                  <a:pt x="945" y="23"/>
                </a:moveTo>
                <a:cubicBezTo>
                  <a:pt x="945" y="23"/>
                  <a:pt x="944" y="23"/>
                  <a:pt x="944" y="23"/>
                </a:cubicBezTo>
                <a:cubicBezTo>
                  <a:pt x="942" y="22"/>
                  <a:pt x="940" y="21"/>
                  <a:pt x="938" y="20"/>
                </a:cubicBezTo>
                <a:cubicBezTo>
                  <a:pt x="937" y="18"/>
                  <a:pt x="936" y="16"/>
                  <a:pt x="937" y="13"/>
                </a:cubicBezTo>
                <a:cubicBezTo>
                  <a:pt x="937" y="9"/>
                  <a:pt x="941" y="5"/>
                  <a:pt x="946" y="6"/>
                </a:cubicBezTo>
                <a:cubicBezTo>
                  <a:pt x="946" y="6"/>
                  <a:pt x="946" y="6"/>
                  <a:pt x="946" y="6"/>
                </a:cubicBezTo>
                <a:cubicBezTo>
                  <a:pt x="950" y="6"/>
                  <a:pt x="954" y="10"/>
                  <a:pt x="953" y="15"/>
                </a:cubicBezTo>
                <a:cubicBezTo>
                  <a:pt x="953" y="19"/>
                  <a:pt x="949" y="23"/>
                  <a:pt x="945" y="23"/>
                </a:cubicBezTo>
                <a:close/>
              </a:path>
            </a:pathLst>
          </a:custGeom>
          <a:solidFill>
            <a:schemeClr val="accent2"/>
          </a:solidFill>
          <a:ln>
            <a:noFill/>
          </a:ln>
        </p:spPr>
        <p:txBody>
          <a:bodyPr vert="horz" wrap="square" lIns="45714" tIns="22857" rIns="45714" bIns="22857" numCol="1" anchor="t" anchorCtr="0" compatLnSpc="1">
            <a:prstTxWarp prst="textNoShape">
              <a:avLst/>
            </a:prstTxWarp>
          </a:body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US" sz="900" b="0" i="0" u="none" strike="noStrike" kern="1200" cap="none" spc="0" normalizeH="0" baseline="0" noProof="0">
              <a:ln>
                <a:noFill/>
              </a:ln>
              <a:solidFill>
                <a:srgbClr val="343A3F"/>
              </a:solidFill>
              <a:effectLst/>
              <a:uLnTx/>
              <a:uFillTx/>
              <a:latin typeface="Roboto Light"/>
              <a:ea typeface="+mn-ea"/>
              <a:cs typeface="+mn-cs"/>
            </a:endParaRPr>
          </a:p>
        </p:txBody>
      </p:sp>
      <p:sp>
        <p:nvSpPr>
          <p:cNvPr id="12" name="Freeform 11">
            <a:extLst>
              <a:ext uri="{FF2B5EF4-FFF2-40B4-BE49-F238E27FC236}">
                <a16:creationId xmlns:a16="http://schemas.microsoft.com/office/drawing/2014/main" id="{04A147FE-D969-4879-9994-8392D8FF86B9}"/>
              </a:ext>
            </a:extLst>
          </p:cNvPr>
          <p:cNvSpPr>
            <a:spLocks noEditPoints="1"/>
          </p:cNvSpPr>
          <p:nvPr/>
        </p:nvSpPr>
        <p:spPr bwMode="auto">
          <a:xfrm>
            <a:off x="4356202" y="1536822"/>
            <a:ext cx="3479596" cy="3479596"/>
          </a:xfrm>
          <a:custGeom>
            <a:avLst/>
            <a:gdLst>
              <a:gd name="T0" fmla="*/ 598 w 1645"/>
              <a:gd name="T1" fmla="*/ 1611 h 1645"/>
              <a:gd name="T2" fmla="*/ 820 w 1645"/>
              <a:gd name="T3" fmla="*/ 1637 h 1645"/>
              <a:gd name="T4" fmla="*/ 840 w 1645"/>
              <a:gd name="T5" fmla="*/ 1628 h 1645"/>
              <a:gd name="T6" fmla="*/ 978 w 1645"/>
              <a:gd name="T7" fmla="*/ 1613 h 1645"/>
              <a:gd name="T8" fmla="*/ 982 w 1645"/>
              <a:gd name="T9" fmla="*/ 1629 h 1645"/>
              <a:gd name="T10" fmla="*/ 581 w 1645"/>
              <a:gd name="T11" fmla="*/ 1591 h 1645"/>
              <a:gd name="T12" fmla="*/ 548 w 1645"/>
              <a:gd name="T13" fmla="*/ 1598 h 1645"/>
              <a:gd name="T14" fmla="*/ 466 w 1645"/>
              <a:gd name="T15" fmla="*/ 1545 h 1645"/>
              <a:gd name="T16" fmla="*/ 1092 w 1645"/>
              <a:gd name="T17" fmla="*/ 1590 h 1645"/>
              <a:gd name="T18" fmla="*/ 1100 w 1645"/>
              <a:gd name="T19" fmla="*/ 1596 h 1645"/>
              <a:gd name="T20" fmla="*/ 1304 w 1645"/>
              <a:gd name="T21" fmla="*/ 1469 h 1645"/>
              <a:gd name="T22" fmla="*/ 342 w 1645"/>
              <a:gd name="T23" fmla="*/ 1488 h 1645"/>
              <a:gd name="T24" fmla="*/ 342 w 1645"/>
              <a:gd name="T25" fmla="*/ 1488 h 1645"/>
              <a:gd name="T26" fmla="*/ 166 w 1645"/>
              <a:gd name="T27" fmla="*/ 1318 h 1645"/>
              <a:gd name="T28" fmla="*/ 253 w 1645"/>
              <a:gd name="T29" fmla="*/ 1392 h 1645"/>
              <a:gd name="T30" fmla="*/ 1326 w 1645"/>
              <a:gd name="T31" fmla="*/ 1452 h 1645"/>
              <a:gd name="T32" fmla="*/ 1347 w 1645"/>
              <a:gd name="T33" fmla="*/ 1434 h 1645"/>
              <a:gd name="T34" fmla="*/ 1358 w 1645"/>
              <a:gd name="T35" fmla="*/ 1447 h 1645"/>
              <a:gd name="T36" fmla="*/ 163 w 1645"/>
              <a:gd name="T37" fmla="*/ 1285 h 1645"/>
              <a:gd name="T38" fmla="*/ 42 w 1645"/>
              <a:gd name="T39" fmla="*/ 1081 h 1645"/>
              <a:gd name="T40" fmla="*/ 141 w 1645"/>
              <a:gd name="T41" fmla="*/ 1275 h 1645"/>
              <a:gd name="T42" fmla="*/ 1508 w 1645"/>
              <a:gd name="T43" fmla="*/ 1270 h 1645"/>
              <a:gd name="T44" fmla="*/ 1597 w 1645"/>
              <a:gd name="T45" fmla="*/ 1043 h 1645"/>
              <a:gd name="T46" fmla="*/ 1530 w 1645"/>
              <a:gd name="T47" fmla="*/ 1242 h 1645"/>
              <a:gd name="T48" fmla="*/ 49 w 1645"/>
              <a:gd name="T49" fmla="*/ 1056 h 1645"/>
              <a:gd name="T50" fmla="*/ 1 w 1645"/>
              <a:gd name="T51" fmla="*/ 818 h 1645"/>
              <a:gd name="T52" fmla="*/ 25 w 1645"/>
              <a:gd name="T53" fmla="*/ 929 h 1645"/>
              <a:gd name="T54" fmla="*/ 1604 w 1645"/>
              <a:gd name="T55" fmla="*/ 1016 h 1645"/>
              <a:gd name="T56" fmla="*/ 1619 w 1645"/>
              <a:gd name="T57" fmla="*/ 940 h 1645"/>
              <a:gd name="T58" fmla="*/ 1645 w 1645"/>
              <a:gd name="T59" fmla="*/ 823 h 1645"/>
              <a:gd name="T60" fmla="*/ 3 w 1645"/>
              <a:gd name="T61" fmla="*/ 795 h 1645"/>
              <a:gd name="T62" fmla="*/ 11 w 1645"/>
              <a:gd name="T63" fmla="*/ 769 h 1645"/>
              <a:gd name="T64" fmla="*/ 46 w 1645"/>
              <a:gd name="T65" fmla="*/ 554 h 1645"/>
              <a:gd name="T66" fmla="*/ 1634 w 1645"/>
              <a:gd name="T67" fmla="*/ 763 h 1645"/>
              <a:gd name="T68" fmla="*/ 1642 w 1645"/>
              <a:gd name="T69" fmla="*/ 754 h 1645"/>
              <a:gd name="T70" fmla="*/ 1611 w 1645"/>
              <a:gd name="T71" fmla="*/ 620 h 1645"/>
              <a:gd name="T72" fmla="*/ 1547 w 1645"/>
              <a:gd name="T73" fmla="*/ 472 h 1645"/>
              <a:gd name="T74" fmla="*/ 1592 w 1645"/>
              <a:gd name="T75" fmla="*/ 566 h 1645"/>
              <a:gd name="T76" fmla="*/ 72 w 1645"/>
              <a:gd name="T77" fmla="*/ 533 h 1645"/>
              <a:gd name="T78" fmla="*/ 96 w 1645"/>
              <a:gd name="T79" fmla="*/ 438 h 1645"/>
              <a:gd name="T80" fmla="*/ 82 w 1645"/>
              <a:gd name="T81" fmla="*/ 507 h 1645"/>
              <a:gd name="T82" fmla="*/ 1546 w 1645"/>
              <a:gd name="T83" fmla="*/ 451 h 1645"/>
              <a:gd name="T84" fmla="*/ 1397 w 1645"/>
              <a:gd name="T85" fmla="*/ 246 h 1645"/>
              <a:gd name="T86" fmla="*/ 198 w 1645"/>
              <a:gd name="T87" fmla="*/ 310 h 1645"/>
              <a:gd name="T88" fmla="*/ 198 w 1645"/>
              <a:gd name="T89" fmla="*/ 310 h 1645"/>
              <a:gd name="T90" fmla="*/ 370 w 1645"/>
              <a:gd name="T91" fmla="*/ 137 h 1645"/>
              <a:gd name="T92" fmla="*/ 223 w 1645"/>
              <a:gd name="T93" fmla="*/ 286 h 1645"/>
              <a:gd name="T94" fmla="*/ 1391 w 1645"/>
              <a:gd name="T95" fmla="*/ 232 h 1645"/>
              <a:gd name="T96" fmla="*/ 1180 w 1645"/>
              <a:gd name="T97" fmla="*/ 99 h 1645"/>
              <a:gd name="T98" fmla="*/ 1361 w 1645"/>
              <a:gd name="T99" fmla="*/ 222 h 1645"/>
              <a:gd name="T100" fmla="*/ 398 w 1645"/>
              <a:gd name="T101" fmla="*/ 137 h 1645"/>
              <a:gd name="T102" fmla="*/ 614 w 1645"/>
              <a:gd name="T103" fmla="*/ 28 h 1645"/>
              <a:gd name="T104" fmla="*/ 423 w 1645"/>
              <a:gd name="T105" fmla="*/ 123 h 1645"/>
              <a:gd name="T106" fmla="*/ 1163 w 1645"/>
              <a:gd name="T107" fmla="*/ 92 h 1645"/>
              <a:gd name="T108" fmla="*/ 928 w 1645"/>
              <a:gd name="T109" fmla="*/ 16 h 1645"/>
              <a:gd name="T110" fmla="*/ 635 w 1645"/>
              <a:gd name="T111" fmla="*/ 31 h 1645"/>
              <a:gd name="T112" fmla="*/ 664 w 1645"/>
              <a:gd name="T113" fmla="*/ 19 h 1645"/>
              <a:gd name="T114" fmla="*/ 767 w 1645"/>
              <a:gd name="T115" fmla="*/ 20 h 1645"/>
              <a:gd name="T116" fmla="*/ 899 w 1645"/>
              <a:gd name="T117" fmla="*/ 13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45" h="1645">
                <a:moveTo>
                  <a:pt x="812" y="1645"/>
                </a:moveTo>
                <a:cubicBezTo>
                  <a:pt x="812" y="1645"/>
                  <a:pt x="812" y="1645"/>
                  <a:pt x="812" y="1645"/>
                </a:cubicBezTo>
                <a:cubicBezTo>
                  <a:pt x="782" y="1645"/>
                  <a:pt x="752" y="1643"/>
                  <a:pt x="722" y="1639"/>
                </a:cubicBezTo>
                <a:cubicBezTo>
                  <a:pt x="721" y="1639"/>
                  <a:pt x="721" y="1639"/>
                  <a:pt x="721" y="1639"/>
                </a:cubicBezTo>
                <a:cubicBezTo>
                  <a:pt x="719" y="1639"/>
                  <a:pt x="717" y="1638"/>
                  <a:pt x="715" y="1638"/>
                </a:cubicBezTo>
                <a:cubicBezTo>
                  <a:pt x="677" y="1633"/>
                  <a:pt x="640" y="1625"/>
                  <a:pt x="603" y="1615"/>
                </a:cubicBezTo>
                <a:cubicBezTo>
                  <a:pt x="601" y="1614"/>
                  <a:pt x="599" y="1613"/>
                  <a:pt x="598" y="1611"/>
                </a:cubicBezTo>
                <a:cubicBezTo>
                  <a:pt x="597" y="1609"/>
                  <a:pt x="596" y="1607"/>
                  <a:pt x="597" y="1605"/>
                </a:cubicBezTo>
                <a:cubicBezTo>
                  <a:pt x="598" y="1600"/>
                  <a:pt x="603" y="1597"/>
                  <a:pt x="607" y="1599"/>
                </a:cubicBezTo>
                <a:cubicBezTo>
                  <a:pt x="643" y="1609"/>
                  <a:pt x="680" y="1616"/>
                  <a:pt x="717" y="1621"/>
                </a:cubicBezTo>
                <a:cubicBezTo>
                  <a:pt x="719" y="1622"/>
                  <a:pt x="722" y="1622"/>
                  <a:pt x="724" y="1622"/>
                </a:cubicBezTo>
                <a:cubicBezTo>
                  <a:pt x="753" y="1626"/>
                  <a:pt x="783" y="1628"/>
                  <a:pt x="812" y="1628"/>
                </a:cubicBezTo>
                <a:cubicBezTo>
                  <a:pt x="814" y="1628"/>
                  <a:pt x="816" y="1629"/>
                  <a:pt x="818" y="1631"/>
                </a:cubicBezTo>
                <a:cubicBezTo>
                  <a:pt x="819" y="1632"/>
                  <a:pt x="820" y="1634"/>
                  <a:pt x="820" y="1637"/>
                </a:cubicBezTo>
                <a:cubicBezTo>
                  <a:pt x="820" y="1641"/>
                  <a:pt x="816" y="1645"/>
                  <a:pt x="812" y="1645"/>
                </a:cubicBezTo>
                <a:close/>
                <a:moveTo>
                  <a:pt x="840" y="1645"/>
                </a:moveTo>
                <a:cubicBezTo>
                  <a:pt x="840" y="1645"/>
                  <a:pt x="840" y="1645"/>
                  <a:pt x="840" y="1645"/>
                </a:cubicBezTo>
                <a:cubicBezTo>
                  <a:pt x="835" y="1645"/>
                  <a:pt x="832" y="1641"/>
                  <a:pt x="831" y="1637"/>
                </a:cubicBezTo>
                <a:cubicBezTo>
                  <a:pt x="831" y="1634"/>
                  <a:pt x="832" y="1632"/>
                  <a:pt x="834" y="1631"/>
                </a:cubicBezTo>
                <a:cubicBezTo>
                  <a:pt x="835" y="1629"/>
                  <a:pt x="838" y="1628"/>
                  <a:pt x="840" y="1628"/>
                </a:cubicBezTo>
                <a:cubicBezTo>
                  <a:pt x="840" y="1628"/>
                  <a:pt x="840" y="1628"/>
                  <a:pt x="840" y="1628"/>
                </a:cubicBezTo>
                <a:cubicBezTo>
                  <a:pt x="845" y="1628"/>
                  <a:pt x="848" y="1632"/>
                  <a:pt x="848" y="1636"/>
                </a:cubicBezTo>
                <a:cubicBezTo>
                  <a:pt x="849" y="1641"/>
                  <a:pt x="845" y="1645"/>
                  <a:pt x="840" y="1645"/>
                </a:cubicBezTo>
                <a:close/>
                <a:moveTo>
                  <a:pt x="868" y="1644"/>
                </a:moveTo>
                <a:cubicBezTo>
                  <a:pt x="864" y="1644"/>
                  <a:pt x="860" y="1640"/>
                  <a:pt x="860" y="1636"/>
                </a:cubicBezTo>
                <a:cubicBezTo>
                  <a:pt x="860" y="1634"/>
                  <a:pt x="860" y="1631"/>
                  <a:pt x="862" y="1630"/>
                </a:cubicBezTo>
                <a:cubicBezTo>
                  <a:pt x="863" y="1628"/>
                  <a:pt x="865" y="1627"/>
                  <a:pt x="868" y="1627"/>
                </a:cubicBezTo>
                <a:cubicBezTo>
                  <a:pt x="905" y="1625"/>
                  <a:pt x="942" y="1620"/>
                  <a:pt x="978" y="1613"/>
                </a:cubicBezTo>
                <a:cubicBezTo>
                  <a:pt x="978" y="1613"/>
                  <a:pt x="979" y="1613"/>
                  <a:pt x="979" y="1613"/>
                </a:cubicBezTo>
                <a:cubicBezTo>
                  <a:pt x="997" y="1609"/>
                  <a:pt x="1015" y="1605"/>
                  <a:pt x="1033" y="1600"/>
                </a:cubicBezTo>
                <a:cubicBezTo>
                  <a:pt x="1045" y="1597"/>
                  <a:pt x="1058" y="1593"/>
                  <a:pt x="1071" y="1589"/>
                </a:cubicBezTo>
                <a:cubicBezTo>
                  <a:pt x="1075" y="1587"/>
                  <a:pt x="1080" y="1590"/>
                  <a:pt x="1081" y="1594"/>
                </a:cubicBezTo>
                <a:cubicBezTo>
                  <a:pt x="1083" y="1599"/>
                  <a:pt x="1080" y="1603"/>
                  <a:pt x="1076" y="1605"/>
                </a:cubicBezTo>
                <a:cubicBezTo>
                  <a:pt x="1063" y="1609"/>
                  <a:pt x="1050" y="1613"/>
                  <a:pt x="1037" y="1616"/>
                </a:cubicBezTo>
                <a:cubicBezTo>
                  <a:pt x="1019" y="1621"/>
                  <a:pt x="1000" y="1626"/>
                  <a:pt x="982" y="1629"/>
                </a:cubicBezTo>
                <a:cubicBezTo>
                  <a:pt x="945" y="1637"/>
                  <a:pt x="907" y="1642"/>
                  <a:pt x="869" y="1644"/>
                </a:cubicBezTo>
                <a:cubicBezTo>
                  <a:pt x="869" y="1644"/>
                  <a:pt x="868" y="1644"/>
                  <a:pt x="868" y="1644"/>
                </a:cubicBezTo>
                <a:close/>
                <a:moveTo>
                  <a:pt x="578" y="1607"/>
                </a:moveTo>
                <a:cubicBezTo>
                  <a:pt x="577" y="1607"/>
                  <a:pt x="576" y="1607"/>
                  <a:pt x="575" y="1607"/>
                </a:cubicBezTo>
                <a:cubicBezTo>
                  <a:pt x="573" y="1606"/>
                  <a:pt x="571" y="1605"/>
                  <a:pt x="570" y="1603"/>
                </a:cubicBezTo>
                <a:cubicBezTo>
                  <a:pt x="569" y="1601"/>
                  <a:pt x="569" y="1598"/>
                  <a:pt x="570" y="1596"/>
                </a:cubicBezTo>
                <a:cubicBezTo>
                  <a:pt x="571" y="1592"/>
                  <a:pt x="576" y="1589"/>
                  <a:pt x="581" y="1591"/>
                </a:cubicBezTo>
                <a:cubicBezTo>
                  <a:pt x="582" y="1591"/>
                  <a:pt x="582" y="1591"/>
                  <a:pt x="582" y="1591"/>
                </a:cubicBezTo>
                <a:cubicBezTo>
                  <a:pt x="582" y="1591"/>
                  <a:pt x="582" y="1591"/>
                  <a:pt x="582" y="1591"/>
                </a:cubicBezTo>
                <a:cubicBezTo>
                  <a:pt x="583" y="1592"/>
                  <a:pt x="585" y="1593"/>
                  <a:pt x="586" y="1595"/>
                </a:cubicBezTo>
                <a:cubicBezTo>
                  <a:pt x="587" y="1597"/>
                  <a:pt x="587" y="1599"/>
                  <a:pt x="586" y="1601"/>
                </a:cubicBezTo>
                <a:cubicBezTo>
                  <a:pt x="585" y="1605"/>
                  <a:pt x="582" y="1607"/>
                  <a:pt x="578" y="1607"/>
                </a:cubicBezTo>
                <a:close/>
                <a:moveTo>
                  <a:pt x="551" y="1598"/>
                </a:moveTo>
                <a:cubicBezTo>
                  <a:pt x="550" y="1598"/>
                  <a:pt x="549" y="1598"/>
                  <a:pt x="548" y="1598"/>
                </a:cubicBezTo>
                <a:cubicBezTo>
                  <a:pt x="518" y="1587"/>
                  <a:pt x="488" y="1574"/>
                  <a:pt x="459" y="1560"/>
                </a:cubicBezTo>
                <a:cubicBezTo>
                  <a:pt x="446" y="1554"/>
                  <a:pt x="434" y="1547"/>
                  <a:pt x="422" y="1540"/>
                </a:cubicBezTo>
                <a:cubicBezTo>
                  <a:pt x="401" y="1529"/>
                  <a:pt x="380" y="1516"/>
                  <a:pt x="360" y="1502"/>
                </a:cubicBezTo>
                <a:cubicBezTo>
                  <a:pt x="356" y="1500"/>
                  <a:pt x="355" y="1495"/>
                  <a:pt x="358" y="1491"/>
                </a:cubicBezTo>
                <a:cubicBezTo>
                  <a:pt x="361" y="1487"/>
                  <a:pt x="366" y="1486"/>
                  <a:pt x="370" y="1488"/>
                </a:cubicBezTo>
                <a:cubicBezTo>
                  <a:pt x="389" y="1502"/>
                  <a:pt x="410" y="1514"/>
                  <a:pt x="430" y="1526"/>
                </a:cubicBezTo>
                <a:cubicBezTo>
                  <a:pt x="442" y="1532"/>
                  <a:pt x="454" y="1539"/>
                  <a:pt x="466" y="1545"/>
                </a:cubicBezTo>
                <a:cubicBezTo>
                  <a:pt x="466" y="1545"/>
                  <a:pt x="466" y="1545"/>
                  <a:pt x="466" y="1545"/>
                </a:cubicBezTo>
                <a:cubicBezTo>
                  <a:pt x="495" y="1559"/>
                  <a:pt x="524" y="1571"/>
                  <a:pt x="554" y="1582"/>
                </a:cubicBezTo>
                <a:cubicBezTo>
                  <a:pt x="558" y="1583"/>
                  <a:pt x="561" y="1588"/>
                  <a:pt x="559" y="1593"/>
                </a:cubicBezTo>
                <a:cubicBezTo>
                  <a:pt x="558" y="1596"/>
                  <a:pt x="555" y="1598"/>
                  <a:pt x="551" y="1598"/>
                </a:cubicBezTo>
                <a:close/>
                <a:moveTo>
                  <a:pt x="1100" y="1596"/>
                </a:moveTo>
                <a:cubicBezTo>
                  <a:pt x="1100" y="1596"/>
                  <a:pt x="1100" y="1596"/>
                  <a:pt x="1100" y="1596"/>
                </a:cubicBezTo>
                <a:cubicBezTo>
                  <a:pt x="1097" y="1596"/>
                  <a:pt x="1093" y="1594"/>
                  <a:pt x="1092" y="1590"/>
                </a:cubicBezTo>
                <a:cubicBezTo>
                  <a:pt x="1091" y="1588"/>
                  <a:pt x="1091" y="1586"/>
                  <a:pt x="1092" y="1584"/>
                </a:cubicBezTo>
                <a:cubicBezTo>
                  <a:pt x="1093" y="1582"/>
                  <a:pt x="1095" y="1580"/>
                  <a:pt x="1097" y="1580"/>
                </a:cubicBezTo>
                <a:cubicBezTo>
                  <a:pt x="1098" y="1580"/>
                  <a:pt x="1098" y="1580"/>
                  <a:pt x="1098" y="1580"/>
                </a:cubicBezTo>
                <a:cubicBezTo>
                  <a:pt x="1098" y="1580"/>
                  <a:pt x="1098" y="1580"/>
                  <a:pt x="1098" y="1580"/>
                </a:cubicBezTo>
                <a:cubicBezTo>
                  <a:pt x="1102" y="1578"/>
                  <a:pt x="1107" y="1581"/>
                  <a:pt x="1108" y="1585"/>
                </a:cubicBezTo>
                <a:cubicBezTo>
                  <a:pt x="1110" y="1589"/>
                  <a:pt x="1107" y="1594"/>
                  <a:pt x="1103" y="1596"/>
                </a:cubicBezTo>
                <a:cubicBezTo>
                  <a:pt x="1102" y="1596"/>
                  <a:pt x="1101" y="1596"/>
                  <a:pt x="1100" y="1596"/>
                </a:cubicBezTo>
                <a:close/>
                <a:moveTo>
                  <a:pt x="1127" y="1586"/>
                </a:moveTo>
                <a:cubicBezTo>
                  <a:pt x="1123" y="1586"/>
                  <a:pt x="1120" y="1584"/>
                  <a:pt x="1119" y="1581"/>
                </a:cubicBezTo>
                <a:cubicBezTo>
                  <a:pt x="1118" y="1579"/>
                  <a:pt x="1118" y="1576"/>
                  <a:pt x="1119" y="1574"/>
                </a:cubicBezTo>
                <a:cubicBezTo>
                  <a:pt x="1120" y="1572"/>
                  <a:pt x="1121" y="1570"/>
                  <a:pt x="1123" y="1570"/>
                </a:cubicBezTo>
                <a:cubicBezTo>
                  <a:pt x="1158" y="1556"/>
                  <a:pt x="1192" y="1539"/>
                  <a:pt x="1224" y="1521"/>
                </a:cubicBezTo>
                <a:cubicBezTo>
                  <a:pt x="1224" y="1521"/>
                  <a:pt x="1224" y="1521"/>
                  <a:pt x="1224" y="1521"/>
                </a:cubicBezTo>
                <a:cubicBezTo>
                  <a:pt x="1252" y="1505"/>
                  <a:pt x="1278" y="1488"/>
                  <a:pt x="1304" y="1469"/>
                </a:cubicBezTo>
                <a:cubicBezTo>
                  <a:pt x="1307" y="1466"/>
                  <a:pt x="1313" y="1467"/>
                  <a:pt x="1316" y="1471"/>
                </a:cubicBezTo>
                <a:cubicBezTo>
                  <a:pt x="1318" y="1474"/>
                  <a:pt x="1318" y="1480"/>
                  <a:pt x="1314" y="1482"/>
                </a:cubicBezTo>
                <a:cubicBezTo>
                  <a:pt x="1288" y="1502"/>
                  <a:pt x="1261" y="1520"/>
                  <a:pt x="1233" y="1536"/>
                </a:cubicBezTo>
                <a:cubicBezTo>
                  <a:pt x="1200" y="1554"/>
                  <a:pt x="1165" y="1571"/>
                  <a:pt x="1130" y="1585"/>
                </a:cubicBezTo>
                <a:cubicBezTo>
                  <a:pt x="1130" y="1585"/>
                  <a:pt x="1130" y="1585"/>
                  <a:pt x="1130" y="1585"/>
                </a:cubicBezTo>
                <a:cubicBezTo>
                  <a:pt x="1129" y="1586"/>
                  <a:pt x="1128" y="1586"/>
                  <a:pt x="1127" y="1586"/>
                </a:cubicBezTo>
                <a:close/>
                <a:moveTo>
                  <a:pt x="342" y="1488"/>
                </a:moveTo>
                <a:cubicBezTo>
                  <a:pt x="340" y="1488"/>
                  <a:pt x="338" y="1487"/>
                  <a:pt x="337" y="1486"/>
                </a:cubicBezTo>
                <a:cubicBezTo>
                  <a:pt x="337" y="1486"/>
                  <a:pt x="337" y="1486"/>
                  <a:pt x="337" y="1486"/>
                </a:cubicBezTo>
                <a:cubicBezTo>
                  <a:pt x="335" y="1485"/>
                  <a:pt x="334" y="1483"/>
                  <a:pt x="333" y="1480"/>
                </a:cubicBezTo>
                <a:cubicBezTo>
                  <a:pt x="333" y="1478"/>
                  <a:pt x="334" y="1476"/>
                  <a:pt x="335" y="1474"/>
                </a:cubicBezTo>
                <a:cubicBezTo>
                  <a:pt x="338" y="1470"/>
                  <a:pt x="343" y="1470"/>
                  <a:pt x="347" y="1472"/>
                </a:cubicBezTo>
                <a:cubicBezTo>
                  <a:pt x="351" y="1475"/>
                  <a:pt x="351" y="1480"/>
                  <a:pt x="349" y="1484"/>
                </a:cubicBezTo>
                <a:cubicBezTo>
                  <a:pt x="347" y="1486"/>
                  <a:pt x="345" y="1488"/>
                  <a:pt x="342" y="1488"/>
                </a:cubicBezTo>
                <a:close/>
                <a:moveTo>
                  <a:pt x="319" y="1471"/>
                </a:moveTo>
                <a:cubicBezTo>
                  <a:pt x="317" y="1471"/>
                  <a:pt x="316" y="1470"/>
                  <a:pt x="314" y="1469"/>
                </a:cubicBezTo>
                <a:cubicBezTo>
                  <a:pt x="289" y="1449"/>
                  <a:pt x="264" y="1427"/>
                  <a:pt x="242" y="1404"/>
                </a:cubicBezTo>
                <a:cubicBezTo>
                  <a:pt x="241" y="1404"/>
                  <a:pt x="241" y="1404"/>
                  <a:pt x="241" y="1404"/>
                </a:cubicBezTo>
                <a:cubicBezTo>
                  <a:pt x="241" y="1404"/>
                  <a:pt x="241" y="1404"/>
                  <a:pt x="241" y="1404"/>
                </a:cubicBezTo>
                <a:cubicBezTo>
                  <a:pt x="220" y="1383"/>
                  <a:pt x="199" y="1360"/>
                  <a:pt x="180" y="1336"/>
                </a:cubicBezTo>
                <a:cubicBezTo>
                  <a:pt x="176" y="1330"/>
                  <a:pt x="171" y="1324"/>
                  <a:pt x="166" y="1318"/>
                </a:cubicBezTo>
                <a:cubicBezTo>
                  <a:pt x="166" y="1318"/>
                  <a:pt x="166" y="1318"/>
                  <a:pt x="166" y="1318"/>
                </a:cubicBezTo>
                <a:cubicBezTo>
                  <a:pt x="165" y="1316"/>
                  <a:pt x="164" y="1314"/>
                  <a:pt x="165" y="1312"/>
                </a:cubicBezTo>
                <a:cubicBezTo>
                  <a:pt x="165" y="1310"/>
                  <a:pt x="166" y="1308"/>
                  <a:pt x="168" y="1306"/>
                </a:cubicBezTo>
                <a:cubicBezTo>
                  <a:pt x="172" y="1304"/>
                  <a:pt x="177" y="1304"/>
                  <a:pt x="180" y="1308"/>
                </a:cubicBezTo>
                <a:cubicBezTo>
                  <a:pt x="184" y="1314"/>
                  <a:pt x="189" y="1320"/>
                  <a:pt x="194" y="1325"/>
                </a:cubicBezTo>
                <a:cubicBezTo>
                  <a:pt x="212" y="1349"/>
                  <a:pt x="232" y="1371"/>
                  <a:pt x="253" y="1392"/>
                </a:cubicBezTo>
                <a:cubicBezTo>
                  <a:pt x="253" y="1392"/>
                  <a:pt x="253" y="1392"/>
                  <a:pt x="253" y="1392"/>
                </a:cubicBezTo>
                <a:cubicBezTo>
                  <a:pt x="276" y="1415"/>
                  <a:pt x="300" y="1436"/>
                  <a:pt x="325" y="1455"/>
                </a:cubicBezTo>
                <a:cubicBezTo>
                  <a:pt x="328" y="1458"/>
                  <a:pt x="329" y="1464"/>
                  <a:pt x="326" y="1467"/>
                </a:cubicBezTo>
                <a:cubicBezTo>
                  <a:pt x="324" y="1469"/>
                  <a:pt x="322" y="1471"/>
                  <a:pt x="319" y="1471"/>
                </a:cubicBezTo>
                <a:close/>
                <a:moveTo>
                  <a:pt x="1331" y="1467"/>
                </a:moveTo>
                <a:cubicBezTo>
                  <a:pt x="1329" y="1467"/>
                  <a:pt x="1326" y="1466"/>
                  <a:pt x="1324" y="1464"/>
                </a:cubicBezTo>
                <a:cubicBezTo>
                  <a:pt x="1323" y="1462"/>
                  <a:pt x="1322" y="1460"/>
                  <a:pt x="1323" y="1457"/>
                </a:cubicBezTo>
                <a:cubicBezTo>
                  <a:pt x="1323" y="1455"/>
                  <a:pt x="1324" y="1453"/>
                  <a:pt x="1326" y="1452"/>
                </a:cubicBezTo>
                <a:cubicBezTo>
                  <a:pt x="1329" y="1449"/>
                  <a:pt x="1335" y="1449"/>
                  <a:pt x="1338" y="1453"/>
                </a:cubicBezTo>
                <a:cubicBezTo>
                  <a:pt x="1341" y="1457"/>
                  <a:pt x="1340" y="1462"/>
                  <a:pt x="1336" y="1465"/>
                </a:cubicBezTo>
                <a:cubicBezTo>
                  <a:pt x="1335" y="1466"/>
                  <a:pt x="1333" y="1467"/>
                  <a:pt x="1331" y="1467"/>
                </a:cubicBezTo>
                <a:close/>
                <a:moveTo>
                  <a:pt x="1353" y="1449"/>
                </a:moveTo>
                <a:cubicBezTo>
                  <a:pt x="1350" y="1449"/>
                  <a:pt x="1348" y="1448"/>
                  <a:pt x="1346" y="1446"/>
                </a:cubicBezTo>
                <a:cubicBezTo>
                  <a:pt x="1345" y="1444"/>
                  <a:pt x="1344" y="1442"/>
                  <a:pt x="1344" y="1440"/>
                </a:cubicBezTo>
                <a:cubicBezTo>
                  <a:pt x="1345" y="1437"/>
                  <a:pt x="1346" y="1435"/>
                  <a:pt x="1347" y="1434"/>
                </a:cubicBezTo>
                <a:cubicBezTo>
                  <a:pt x="1375" y="1410"/>
                  <a:pt x="1402" y="1383"/>
                  <a:pt x="1427" y="1355"/>
                </a:cubicBezTo>
                <a:cubicBezTo>
                  <a:pt x="1427" y="1355"/>
                  <a:pt x="1427" y="1355"/>
                  <a:pt x="1427" y="1355"/>
                </a:cubicBezTo>
                <a:cubicBezTo>
                  <a:pt x="1448" y="1331"/>
                  <a:pt x="1467" y="1306"/>
                  <a:pt x="1485" y="1280"/>
                </a:cubicBezTo>
                <a:cubicBezTo>
                  <a:pt x="1488" y="1276"/>
                  <a:pt x="1493" y="1275"/>
                  <a:pt x="1497" y="1278"/>
                </a:cubicBezTo>
                <a:cubicBezTo>
                  <a:pt x="1501" y="1281"/>
                  <a:pt x="1502" y="1286"/>
                  <a:pt x="1499" y="1290"/>
                </a:cubicBezTo>
                <a:cubicBezTo>
                  <a:pt x="1481" y="1316"/>
                  <a:pt x="1461" y="1342"/>
                  <a:pt x="1440" y="1366"/>
                </a:cubicBezTo>
                <a:cubicBezTo>
                  <a:pt x="1414" y="1395"/>
                  <a:pt x="1387" y="1422"/>
                  <a:pt x="1358" y="1447"/>
                </a:cubicBezTo>
                <a:cubicBezTo>
                  <a:pt x="1357" y="1448"/>
                  <a:pt x="1355" y="1449"/>
                  <a:pt x="1353" y="1449"/>
                </a:cubicBezTo>
                <a:close/>
                <a:moveTo>
                  <a:pt x="157" y="1299"/>
                </a:moveTo>
                <a:cubicBezTo>
                  <a:pt x="154" y="1299"/>
                  <a:pt x="151" y="1297"/>
                  <a:pt x="150" y="1295"/>
                </a:cubicBezTo>
                <a:cubicBezTo>
                  <a:pt x="150" y="1295"/>
                  <a:pt x="150" y="1295"/>
                  <a:pt x="150" y="1295"/>
                </a:cubicBezTo>
                <a:cubicBezTo>
                  <a:pt x="148" y="1293"/>
                  <a:pt x="148" y="1291"/>
                  <a:pt x="148" y="1289"/>
                </a:cubicBezTo>
                <a:cubicBezTo>
                  <a:pt x="149" y="1286"/>
                  <a:pt x="150" y="1285"/>
                  <a:pt x="152" y="1283"/>
                </a:cubicBezTo>
                <a:cubicBezTo>
                  <a:pt x="155" y="1281"/>
                  <a:pt x="161" y="1282"/>
                  <a:pt x="163" y="1285"/>
                </a:cubicBezTo>
                <a:cubicBezTo>
                  <a:pt x="163" y="1285"/>
                  <a:pt x="163" y="1285"/>
                  <a:pt x="163" y="1285"/>
                </a:cubicBezTo>
                <a:cubicBezTo>
                  <a:pt x="166" y="1289"/>
                  <a:pt x="165" y="1294"/>
                  <a:pt x="161" y="1297"/>
                </a:cubicBezTo>
                <a:cubicBezTo>
                  <a:pt x="160" y="1298"/>
                  <a:pt x="158" y="1299"/>
                  <a:pt x="157" y="1299"/>
                </a:cubicBezTo>
                <a:close/>
                <a:moveTo>
                  <a:pt x="141" y="1275"/>
                </a:moveTo>
                <a:cubicBezTo>
                  <a:pt x="138" y="1275"/>
                  <a:pt x="135" y="1274"/>
                  <a:pt x="134" y="1271"/>
                </a:cubicBezTo>
                <a:cubicBezTo>
                  <a:pt x="116" y="1244"/>
                  <a:pt x="100" y="1216"/>
                  <a:pt x="86" y="1187"/>
                </a:cubicBezTo>
                <a:cubicBezTo>
                  <a:pt x="69" y="1153"/>
                  <a:pt x="54" y="1117"/>
                  <a:pt x="42" y="1081"/>
                </a:cubicBezTo>
                <a:cubicBezTo>
                  <a:pt x="42" y="1079"/>
                  <a:pt x="42" y="1077"/>
                  <a:pt x="43" y="1075"/>
                </a:cubicBezTo>
                <a:cubicBezTo>
                  <a:pt x="44" y="1073"/>
                  <a:pt x="45" y="1071"/>
                  <a:pt x="48" y="1071"/>
                </a:cubicBezTo>
                <a:cubicBezTo>
                  <a:pt x="52" y="1069"/>
                  <a:pt x="57" y="1072"/>
                  <a:pt x="58" y="1076"/>
                </a:cubicBezTo>
                <a:cubicBezTo>
                  <a:pt x="70" y="1111"/>
                  <a:pt x="84" y="1146"/>
                  <a:pt x="101" y="1179"/>
                </a:cubicBezTo>
                <a:cubicBezTo>
                  <a:pt x="115" y="1208"/>
                  <a:pt x="131" y="1236"/>
                  <a:pt x="148" y="1262"/>
                </a:cubicBezTo>
                <a:cubicBezTo>
                  <a:pt x="150" y="1266"/>
                  <a:pt x="149" y="1271"/>
                  <a:pt x="145" y="1274"/>
                </a:cubicBezTo>
                <a:cubicBezTo>
                  <a:pt x="144" y="1275"/>
                  <a:pt x="142" y="1275"/>
                  <a:pt x="141" y="1275"/>
                </a:cubicBezTo>
                <a:close/>
                <a:moveTo>
                  <a:pt x="1508" y="1270"/>
                </a:moveTo>
                <a:cubicBezTo>
                  <a:pt x="1506" y="1270"/>
                  <a:pt x="1505" y="1269"/>
                  <a:pt x="1503" y="1269"/>
                </a:cubicBezTo>
                <a:cubicBezTo>
                  <a:pt x="1502" y="1267"/>
                  <a:pt x="1500" y="1265"/>
                  <a:pt x="1500" y="1263"/>
                </a:cubicBezTo>
                <a:cubicBezTo>
                  <a:pt x="1499" y="1261"/>
                  <a:pt x="1500" y="1259"/>
                  <a:pt x="1501" y="1257"/>
                </a:cubicBezTo>
                <a:cubicBezTo>
                  <a:pt x="1503" y="1253"/>
                  <a:pt x="1509" y="1252"/>
                  <a:pt x="1513" y="1254"/>
                </a:cubicBezTo>
                <a:cubicBezTo>
                  <a:pt x="1516" y="1257"/>
                  <a:pt x="1518" y="1262"/>
                  <a:pt x="1515" y="1266"/>
                </a:cubicBezTo>
                <a:cubicBezTo>
                  <a:pt x="1514" y="1268"/>
                  <a:pt x="1511" y="1270"/>
                  <a:pt x="1508" y="1270"/>
                </a:cubicBezTo>
                <a:close/>
                <a:moveTo>
                  <a:pt x="1523" y="1246"/>
                </a:moveTo>
                <a:cubicBezTo>
                  <a:pt x="1521" y="1246"/>
                  <a:pt x="1520" y="1245"/>
                  <a:pt x="1518" y="1245"/>
                </a:cubicBezTo>
                <a:cubicBezTo>
                  <a:pt x="1514" y="1242"/>
                  <a:pt x="1513" y="1237"/>
                  <a:pt x="1515" y="1233"/>
                </a:cubicBezTo>
                <a:cubicBezTo>
                  <a:pt x="1516" y="1233"/>
                  <a:pt x="1516" y="1232"/>
                  <a:pt x="1516" y="1232"/>
                </a:cubicBezTo>
                <a:cubicBezTo>
                  <a:pt x="1516" y="1232"/>
                  <a:pt x="1516" y="1232"/>
                  <a:pt x="1516" y="1232"/>
                </a:cubicBezTo>
                <a:cubicBezTo>
                  <a:pt x="1535" y="1200"/>
                  <a:pt x="1552" y="1167"/>
                  <a:pt x="1566" y="1133"/>
                </a:cubicBezTo>
                <a:cubicBezTo>
                  <a:pt x="1578" y="1104"/>
                  <a:pt x="1588" y="1074"/>
                  <a:pt x="1597" y="1043"/>
                </a:cubicBezTo>
                <a:cubicBezTo>
                  <a:pt x="1598" y="1039"/>
                  <a:pt x="1603" y="1036"/>
                  <a:pt x="1608" y="1037"/>
                </a:cubicBezTo>
                <a:cubicBezTo>
                  <a:pt x="1610" y="1038"/>
                  <a:pt x="1612" y="1039"/>
                  <a:pt x="1613" y="1041"/>
                </a:cubicBezTo>
                <a:cubicBezTo>
                  <a:pt x="1614" y="1043"/>
                  <a:pt x="1614" y="1046"/>
                  <a:pt x="1613" y="1048"/>
                </a:cubicBezTo>
                <a:cubicBezTo>
                  <a:pt x="1605" y="1079"/>
                  <a:pt x="1594" y="1110"/>
                  <a:pt x="1581" y="1140"/>
                </a:cubicBezTo>
                <a:cubicBezTo>
                  <a:pt x="1567" y="1174"/>
                  <a:pt x="1550" y="1208"/>
                  <a:pt x="1531" y="1240"/>
                </a:cubicBezTo>
                <a:cubicBezTo>
                  <a:pt x="1531" y="1241"/>
                  <a:pt x="1531" y="1241"/>
                  <a:pt x="1531" y="1241"/>
                </a:cubicBezTo>
                <a:cubicBezTo>
                  <a:pt x="1530" y="1241"/>
                  <a:pt x="1530" y="1241"/>
                  <a:pt x="1530" y="1242"/>
                </a:cubicBezTo>
                <a:cubicBezTo>
                  <a:pt x="1529" y="1244"/>
                  <a:pt x="1526" y="1246"/>
                  <a:pt x="1523" y="1246"/>
                </a:cubicBezTo>
                <a:close/>
                <a:moveTo>
                  <a:pt x="42" y="1060"/>
                </a:moveTo>
                <a:cubicBezTo>
                  <a:pt x="38" y="1060"/>
                  <a:pt x="35" y="1058"/>
                  <a:pt x="34" y="1054"/>
                </a:cubicBezTo>
                <a:cubicBezTo>
                  <a:pt x="33" y="1052"/>
                  <a:pt x="33" y="1050"/>
                  <a:pt x="34" y="1048"/>
                </a:cubicBezTo>
                <a:cubicBezTo>
                  <a:pt x="35" y="1046"/>
                  <a:pt x="37" y="1044"/>
                  <a:pt x="39" y="1043"/>
                </a:cubicBezTo>
                <a:cubicBezTo>
                  <a:pt x="44" y="1042"/>
                  <a:pt x="49" y="1045"/>
                  <a:pt x="50" y="1049"/>
                </a:cubicBezTo>
                <a:cubicBezTo>
                  <a:pt x="51" y="1051"/>
                  <a:pt x="50" y="1054"/>
                  <a:pt x="49" y="1056"/>
                </a:cubicBezTo>
                <a:cubicBezTo>
                  <a:pt x="48" y="1058"/>
                  <a:pt x="46" y="1059"/>
                  <a:pt x="44" y="1060"/>
                </a:cubicBezTo>
                <a:cubicBezTo>
                  <a:pt x="43" y="1060"/>
                  <a:pt x="43" y="1060"/>
                  <a:pt x="42" y="1060"/>
                </a:cubicBezTo>
                <a:close/>
                <a:moveTo>
                  <a:pt x="34" y="1033"/>
                </a:moveTo>
                <a:cubicBezTo>
                  <a:pt x="30" y="1033"/>
                  <a:pt x="27" y="1030"/>
                  <a:pt x="26" y="1026"/>
                </a:cubicBezTo>
                <a:cubicBezTo>
                  <a:pt x="18" y="995"/>
                  <a:pt x="12" y="963"/>
                  <a:pt x="8" y="931"/>
                </a:cubicBezTo>
                <a:cubicBezTo>
                  <a:pt x="3" y="895"/>
                  <a:pt x="0" y="859"/>
                  <a:pt x="0" y="822"/>
                </a:cubicBezTo>
                <a:cubicBezTo>
                  <a:pt x="0" y="821"/>
                  <a:pt x="1" y="820"/>
                  <a:pt x="1" y="818"/>
                </a:cubicBezTo>
                <a:cubicBezTo>
                  <a:pt x="1" y="817"/>
                  <a:pt x="1" y="817"/>
                  <a:pt x="1" y="817"/>
                </a:cubicBezTo>
                <a:cubicBezTo>
                  <a:pt x="1" y="812"/>
                  <a:pt x="4" y="809"/>
                  <a:pt x="9" y="809"/>
                </a:cubicBezTo>
                <a:cubicBezTo>
                  <a:pt x="9" y="809"/>
                  <a:pt x="9" y="809"/>
                  <a:pt x="9" y="809"/>
                </a:cubicBezTo>
                <a:cubicBezTo>
                  <a:pt x="11" y="809"/>
                  <a:pt x="13" y="810"/>
                  <a:pt x="15" y="811"/>
                </a:cubicBezTo>
                <a:cubicBezTo>
                  <a:pt x="17" y="813"/>
                  <a:pt x="17" y="815"/>
                  <a:pt x="17" y="817"/>
                </a:cubicBezTo>
                <a:cubicBezTo>
                  <a:pt x="17" y="819"/>
                  <a:pt x="17" y="821"/>
                  <a:pt x="17" y="822"/>
                </a:cubicBezTo>
                <a:cubicBezTo>
                  <a:pt x="17" y="858"/>
                  <a:pt x="20" y="894"/>
                  <a:pt x="25" y="929"/>
                </a:cubicBezTo>
                <a:cubicBezTo>
                  <a:pt x="29" y="960"/>
                  <a:pt x="35" y="992"/>
                  <a:pt x="43" y="1022"/>
                </a:cubicBezTo>
                <a:cubicBezTo>
                  <a:pt x="44" y="1027"/>
                  <a:pt x="41" y="1031"/>
                  <a:pt x="36" y="1033"/>
                </a:cubicBezTo>
                <a:cubicBezTo>
                  <a:pt x="36" y="1033"/>
                  <a:pt x="35" y="1033"/>
                  <a:pt x="34" y="1033"/>
                </a:cubicBezTo>
                <a:close/>
                <a:moveTo>
                  <a:pt x="1613" y="1027"/>
                </a:moveTo>
                <a:cubicBezTo>
                  <a:pt x="1612" y="1027"/>
                  <a:pt x="1611" y="1027"/>
                  <a:pt x="1611" y="1027"/>
                </a:cubicBezTo>
                <a:cubicBezTo>
                  <a:pt x="1608" y="1026"/>
                  <a:pt x="1606" y="1025"/>
                  <a:pt x="1605" y="1023"/>
                </a:cubicBezTo>
                <a:cubicBezTo>
                  <a:pt x="1604" y="1021"/>
                  <a:pt x="1604" y="1018"/>
                  <a:pt x="1604" y="1016"/>
                </a:cubicBezTo>
                <a:cubicBezTo>
                  <a:pt x="1605" y="1012"/>
                  <a:pt x="1610" y="1009"/>
                  <a:pt x="1615" y="1010"/>
                </a:cubicBezTo>
                <a:cubicBezTo>
                  <a:pt x="1619" y="1011"/>
                  <a:pt x="1622" y="1016"/>
                  <a:pt x="1621" y="1020"/>
                </a:cubicBezTo>
                <a:cubicBezTo>
                  <a:pt x="1620" y="1024"/>
                  <a:pt x="1617" y="1027"/>
                  <a:pt x="1613" y="1027"/>
                </a:cubicBezTo>
                <a:close/>
                <a:moveTo>
                  <a:pt x="1619" y="999"/>
                </a:moveTo>
                <a:cubicBezTo>
                  <a:pt x="1618" y="999"/>
                  <a:pt x="1618" y="999"/>
                  <a:pt x="1617" y="999"/>
                </a:cubicBezTo>
                <a:cubicBezTo>
                  <a:pt x="1613" y="998"/>
                  <a:pt x="1610" y="994"/>
                  <a:pt x="1611" y="989"/>
                </a:cubicBezTo>
                <a:cubicBezTo>
                  <a:pt x="1614" y="973"/>
                  <a:pt x="1617" y="956"/>
                  <a:pt x="1619" y="940"/>
                </a:cubicBezTo>
                <a:cubicBezTo>
                  <a:pt x="1622" y="919"/>
                  <a:pt x="1625" y="899"/>
                  <a:pt x="1626" y="878"/>
                </a:cubicBezTo>
                <a:cubicBezTo>
                  <a:pt x="1627" y="860"/>
                  <a:pt x="1628" y="842"/>
                  <a:pt x="1628" y="823"/>
                </a:cubicBezTo>
                <a:cubicBezTo>
                  <a:pt x="1628" y="810"/>
                  <a:pt x="1628" y="796"/>
                  <a:pt x="1627" y="783"/>
                </a:cubicBezTo>
                <a:cubicBezTo>
                  <a:pt x="1627" y="781"/>
                  <a:pt x="1628" y="779"/>
                  <a:pt x="1629" y="777"/>
                </a:cubicBezTo>
                <a:cubicBezTo>
                  <a:pt x="1631" y="775"/>
                  <a:pt x="1633" y="774"/>
                  <a:pt x="1635" y="774"/>
                </a:cubicBezTo>
                <a:cubicBezTo>
                  <a:pt x="1640" y="774"/>
                  <a:pt x="1644" y="778"/>
                  <a:pt x="1644" y="782"/>
                </a:cubicBezTo>
                <a:cubicBezTo>
                  <a:pt x="1645" y="796"/>
                  <a:pt x="1645" y="810"/>
                  <a:pt x="1645" y="823"/>
                </a:cubicBezTo>
                <a:cubicBezTo>
                  <a:pt x="1645" y="842"/>
                  <a:pt x="1644" y="861"/>
                  <a:pt x="1643" y="879"/>
                </a:cubicBezTo>
                <a:cubicBezTo>
                  <a:pt x="1642" y="900"/>
                  <a:pt x="1639" y="921"/>
                  <a:pt x="1636" y="942"/>
                </a:cubicBezTo>
                <a:cubicBezTo>
                  <a:pt x="1634" y="959"/>
                  <a:pt x="1631" y="976"/>
                  <a:pt x="1627" y="992"/>
                </a:cubicBezTo>
                <a:cubicBezTo>
                  <a:pt x="1626" y="996"/>
                  <a:pt x="1623" y="999"/>
                  <a:pt x="1619" y="999"/>
                </a:cubicBezTo>
                <a:close/>
                <a:moveTo>
                  <a:pt x="10" y="797"/>
                </a:moveTo>
                <a:cubicBezTo>
                  <a:pt x="10" y="797"/>
                  <a:pt x="9" y="797"/>
                  <a:pt x="9" y="797"/>
                </a:cubicBezTo>
                <a:cubicBezTo>
                  <a:pt x="7" y="797"/>
                  <a:pt x="5" y="796"/>
                  <a:pt x="3" y="795"/>
                </a:cubicBezTo>
                <a:cubicBezTo>
                  <a:pt x="2" y="793"/>
                  <a:pt x="1" y="791"/>
                  <a:pt x="1" y="789"/>
                </a:cubicBezTo>
                <a:cubicBezTo>
                  <a:pt x="1" y="784"/>
                  <a:pt x="5" y="780"/>
                  <a:pt x="10" y="780"/>
                </a:cubicBezTo>
                <a:cubicBezTo>
                  <a:pt x="12" y="780"/>
                  <a:pt x="14" y="781"/>
                  <a:pt x="16" y="783"/>
                </a:cubicBezTo>
                <a:cubicBezTo>
                  <a:pt x="17" y="785"/>
                  <a:pt x="18" y="787"/>
                  <a:pt x="18" y="789"/>
                </a:cubicBezTo>
                <a:cubicBezTo>
                  <a:pt x="18" y="794"/>
                  <a:pt x="14" y="797"/>
                  <a:pt x="10" y="797"/>
                </a:cubicBezTo>
                <a:close/>
                <a:moveTo>
                  <a:pt x="11" y="769"/>
                </a:moveTo>
                <a:cubicBezTo>
                  <a:pt x="11" y="769"/>
                  <a:pt x="11" y="769"/>
                  <a:pt x="11" y="769"/>
                </a:cubicBezTo>
                <a:cubicBezTo>
                  <a:pt x="8" y="769"/>
                  <a:pt x="6" y="768"/>
                  <a:pt x="5" y="766"/>
                </a:cubicBezTo>
                <a:cubicBezTo>
                  <a:pt x="3" y="764"/>
                  <a:pt x="3" y="762"/>
                  <a:pt x="3" y="760"/>
                </a:cubicBezTo>
                <a:cubicBezTo>
                  <a:pt x="3" y="754"/>
                  <a:pt x="4" y="748"/>
                  <a:pt x="5" y="741"/>
                </a:cubicBezTo>
                <a:cubicBezTo>
                  <a:pt x="7" y="715"/>
                  <a:pt x="11" y="689"/>
                  <a:pt x="16" y="664"/>
                </a:cubicBezTo>
                <a:cubicBezTo>
                  <a:pt x="16" y="664"/>
                  <a:pt x="16" y="664"/>
                  <a:pt x="16" y="664"/>
                </a:cubicBezTo>
                <a:cubicBezTo>
                  <a:pt x="16" y="664"/>
                  <a:pt x="16" y="663"/>
                  <a:pt x="16" y="663"/>
                </a:cubicBezTo>
                <a:cubicBezTo>
                  <a:pt x="24" y="626"/>
                  <a:pt x="34" y="589"/>
                  <a:pt x="46" y="554"/>
                </a:cubicBezTo>
                <a:cubicBezTo>
                  <a:pt x="48" y="549"/>
                  <a:pt x="52" y="547"/>
                  <a:pt x="57" y="548"/>
                </a:cubicBezTo>
                <a:cubicBezTo>
                  <a:pt x="61" y="550"/>
                  <a:pt x="64" y="555"/>
                  <a:pt x="62" y="559"/>
                </a:cubicBezTo>
                <a:cubicBezTo>
                  <a:pt x="50" y="594"/>
                  <a:pt x="40" y="631"/>
                  <a:pt x="33" y="667"/>
                </a:cubicBezTo>
                <a:cubicBezTo>
                  <a:pt x="28" y="692"/>
                  <a:pt x="24" y="717"/>
                  <a:pt x="21" y="743"/>
                </a:cubicBezTo>
                <a:cubicBezTo>
                  <a:pt x="21" y="749"/>
                  <a:pt x="20" y="755"/>
                  <a:pt x="20" y="761"/>
                </a:cubicBezTo>
                <a:cubicBezTo>
                  <a:pt x="19" y="766"/>
                  <a:pt x="16" y="769"/>
                  <a:pt x="11" y="769"/>
                </a:cubicBezTo>
                <a:close/>
                <a:moveTo>
                  <a:pt x="1634" y="763"/>
                </a:moveTo>
                <a:cubicBezTo>
                  <a:pt x="1629" y="763"/>
                  <a:pt x="1625" y="760"/>
                  <a:pt x="1625" y="755"/>
                </a:cubicBezTo>
                <a:cubicBezTo>
                  <a:pt x="1625" y="755"/>
                  <a:pt x="1625" y="755"/>
                  <a:pt x="1625" y="755"/>
                </a:cubicBezTo>
                <a:cubicBezTo>
                  <a:pt x="1625" y="753"/>
                  <a:pt x="1626" y="751"/>
                  <a:pt x="1627" y="749"/>
                </a:cubicBezTo>
                <a:cubicBezTo>
                  <a:pt x="1629" y="747"/>
                  <a:pt x="1631" y="746"/>
                  <a:pt x="1633" y="746"/>
                </a:cubicBezTo>
                <a:cubicBezTo>
                  <a:pt x="1638" y="746"/>
                  <a:pt x="1642" y="749"/>
                  <a:pt x="1642" y="754"/>
                </a:cubicBezTo>
                <a:cubicBezTo>
                  <a:pt x="1642" y="754"/>
                  <a:pt x="1642" y="754"/>
                  <a:pt x="1642" y="754"/>
                </a:cubicBezTo>
                <a:cubicBezTo>
                  <a:pt x="1642" y="754"/>
                  <a:pt x="1642" y="754"/>
                  <a:pt x="1642" y="754"/>
                </a:cubicBezTo>
                <a:cubicBezTo>
                  <a:pt x="1642" y="756"/>
                  <a:pt x="1641" y="758"/>
                  <a:pt x="1640" y="760"/>
                </a:cubicBezTo>
                <a:cubicBezTo>
                  <a:pt x="1639" y="762"/>
                  <a:pt x="1637" y="763"/>
                  <a:pt x="1634" y="763"/>
                </a:cubicBezTo>
                <a:cubicBezTo>
                  <a:pt x="1634" y="763"/>
                  <a:pt x="1634" y="763"/>
                  <a:pt x="1634" y="763"/>
                </a:cubicBezTo>
                <a:close/>
                <a:moveTo>
                  <a:pt x="1631" y="735"/>
                </a:moveTo>
                <a:cubicBezTo>
                  <a:pt x="1626" y="735"/>
                  <a:pt x="1623" y="732"/>
                  <a:pt x="1622" y="727"/>
                </a:cubicBezTo>
                <a:cubicBezTo>
                  <a:pt x="1618" y="695"/>
                  <a:pt x="1612" y="662"/>
                  <a:pt x="1605" y="630"/>
                </a:cubicBezTo>
                <a:cubicBezTo>
                  <a:pt x="1603" y="626"/>
                  <a:pt x="1606" y="621"/>
                  <a:pt x="1611" y="620"/>
                </a:cubicBezTo>
                <a:cubicBezTo>
                  <a:pt x="1615" y="619"/>
                  <a:pt x="1620" y="622"/>
                  <a:pt x="1621" y="626"/>
                </a:cubicBezTo>
                <a:cubicBezTo>
                  <a:pt x="1629" y="659"/>
                  <a:pt x="1635" y="692"/>
                  <a:pt x="1639" y="725"/>
                </a:cubicBezTo>
                <a:cubicBezTo>
                  <a:pt x="1640" y="730"/>
                  <a:pt x="1636" y="734"/>
                  <a:pt x="1632" y="735"/>
                </a:cubicBezTo>
                <a:cubicBezTo>
                  <a:pt x="1631" y="735"/>
                  <a:pt x="1631" y="735"/>
                  <a:pt x="1631" y="735"/>
                </a:cubicBezTo>
                <a:close/>
                <a:moveTo>
                  <a:pt x="1592" y="566"/>
                </a:moveTo>
                <a:cubicBezTo>
                  <a:pt x="1588" y="566"/>
                  <a:pt x="1585" y="563"/>
                  <a:pt x="1584" y="560"/>
                </a:cubicBezTo>
                <a:cubicBezTo>
                  <a:pt x="1573" y="530"/>
                  <a:pt x="1561" y="500"/>
                  <a:pt x="1547" y="472"/>
                </a:cubicBezTo>
                <a:cubicBezTo>
                  <a:pt x="1546" y="470"/>
                  <a:pt x="1546" y="468"/>
                  <a:pt x="1547" y="465"/>
                </a:cubicBezTo>
                <a:cubicBezTo>
                  <a:pt x="1548" y="463"/>
                  <a:pt x="1549" y="462"/>
                  <a:pt x="1551" y="461"/>
                </a:cubicBezTo>
                <a:cubicBezTo>
                  <a:pt x="1556" y="459"/>
                  <a:pt x="1561" y="461"/>
                  <a:pt x="1563" y="465"/>
                </a:cubicBezTo>
                <a:cubicBezTo>
                  <a:pt x="1577" y="494"/>
                  <a:pt x="1589" y="524"/>
                  <a:pt x="1600" y="554"/>
                </a:cubicBezTo>
                <a:cubicBezTo>
                  <a:pt x="1601" y="556"/>
                  <a:pt x="1600" y="559"/>
                  <a:pt x="1599" y="561"/>
                </a:cubicBezTo>
                <a:cubicBezTo>
                  <a:pt x="1598" y="563"/>
                  <a:pt x="1597" y="564"/>
                  <a:pt x="1595" y="565"/>
                </a:cubicBezTo>
                <a:cubicBezTo>
                  <a:pt x="1594" y="565"/>
                  <a:pt x="1593" y="566"/>
                  <a:pt x="1592" y="566"/>
                </a:cubicBezTo>
                <a:close/>
                <a:moveTo>
                  <a:pt x="64" y="538"/>
                </a:moveTo>
                <a:cubicBezTo>
                  <a:pt x="64" y="538"/>
                  <a:pt x="64" y="538"/>
                  <a:pt x="64" y="538"/>
                </a:cubicBezTo>
                <a:cubicBezTo>
                  <a:pt x="64" y="538"/>
                  <a:pt x="64" y="538"/>
                  <a:pt x="64" y="538"/>
                </a:cubicBezTo>
                <a:cubicBezTo>
                  <a:pt x="63" y="538"/>
                  <a:pt x="62" y="538"/>
                  <a:pt x="61" y="538"/>
                </a:cubicBezTo>
                <a:cubicBezTo>
                  <a:pt x="56" y="536"/>
                  <a:pt x="54" y="531"/>
                  <a:pt x="56" y="527"/>
                </a:cubicBezTo>
                <a:cubicBezTo>
                  <a:pt x="58" y="522"/>
                  <a:pt x="63" y="520"/>
                  <a:pt x="67" y="522"/>
                </a:cubicBezTo>
                <a:cubicBezTo>
                  <a:pt x="71" y="524"/>
                  <a:pt x="73" y="528"/>
                  <a:pt x="72" y="533"/>
                </a:cubicBezTo>
                <a:cubicBezTo>
                  <a:pt x="72" y="533"/>
                  <a:pt x="72" y="533"/>
                  <a:pt x="72" y="533"/>
                </a:cubicBezTo>
                <a:cubicBezTo>
                  <a:pt x="70" y="536"/>
                  <a:pt x="67" y="538"/>
                  <a:pt x="64" y="538"/>
                </a:cubicBezTo>
                <a:close/>
                <a:moveTo>
                  <a:pt x="74" y="512"/>
                </a:moveTo>
                <a:cubicBezTo>
                  <a:pt x="73" y="512"/>
                  <a:pt x="72" y="512"/>
                  <a:pt x="71" y="511"/>
                </a:cubicBezTo>
                <a:cubicBezTo>
                  <a:pt x="69" y="510"/>
                  <a:pt x="67" y="509"/>
                  <a:pt x="67" y="507"/>
                </a:cubicBezTo>
                <a:cubicBezTo>
                  <a:pt x="66" y="505"/>
                  <a:pt x="66" y="502"/>
                  <a:pt x="67" y="500"/>
                </a:cubicBezTo>
                <a:cubicBezTo>
                  <a:pt x="76" y="479"/>
                  <a:pt x="86" y="458"/>
                  <a:pt x="96" y="438"/>
                </a:cubicBezTo>
                <a:cubicBezTo>
                  <a:pt x="101" y="430"/>
                  <a:pt x="105" y="421"/>
                  <a:pt x="110" y="413"/>
                </a:cubicBezTo>
                <a:cubicBezTo>
                  <a:pt x="129" y="380"/>
                  <a:pt x="150" y="349"/>
                  <a:pt x="174" y="318"/>
                </a:cubicBezTo>
                <a:cubicBezTo>
                  <a:pt x="176" y="315"/>
                  <a:pt x="182" y="314"/>
                  <a:pt x="185" y="317"/>
                </a:cubicBezTo>
                <a:cubicBezTo>
                  <a:pt x="189" y="320"/>
                  <a:pt x="190" y="325"/>
                  <a:pt x="187" y="329"/>
                </a:cubicBezTo>
                <a:cubicBezTo>
                  <a:pt x="164" y="358"/>
                  <a:pt x="143" y="390"/>
                  <a:pt x="125" y="422"/>
                </a:cubicBezTo>
                <a:cubicBezTo>
                  <a:pt x="120" y="430"/>
                  <a:pt x="116" y="438"/>
                  <a:pt x="111" y="446"/>
                </a:cubicBezTo>
                <a:cubicBezTo>
                  <a:pt x="101" y="466"/>
                  <a:pt x="91" y="486"/>
                  <a:pt x="82" y="507"/>
                </a:cubicBezTo>
                <a:cubicBezTo>
                  <a:pt x="81" y="510"/>
                  <a:pt x="78" y="512"/>
                  <a:pt x="74" y="512"/>
                </a:cubicBezTo>
                <a:close/>
                <a:moveTo>
                  <a:pt x="1542" y="451"/>
                </a:moveTo>
                <a:cubicBezTo>
                  <a:pt x="1539" y="451"/>
                  <a:pt x="1536" y="450"/>
                  <a:pt x="1535" y="447"/>
                </a:cubicBezTo>
                <a:cubicBezTo>
                  <a:pt x="1533" y="443"/>
                  <a:pt x="1534" y="438"/>
                  <a:pt x="1538" y="436"/>
                </a:cubicBezTo>
                <a:cubicBezTo>
                  <a:pt x="1542" y="433"/>
                  <a:pt x="1548" y="435"/>
                  <a:pt x="1550" y="439"/>
                </a:cubicBezTo>
                <a:cubicBezTo>
                  <a:pt x="1551" y="441"/>
                  <a:pt x="1551" y="443"/>
                  <a:pt x="1550" y="446"/>
                </a:cubicBezTo>
                <a:cubicBezTo>
                  <a:pt x="1550" y="448"/>
                  <a:pt x="1548" y="449"/>
                  <a:pt x="1546" y="451"/>
                </a:cubicBezTo>
                <a:cubicBezTo>
                  <a:pt x="1545" y="451"/>
                  <a:pt x="1544" y="451"/>
                  <a:pt x="1542" y="451"/>
                </a:cubicBezTo>
                <a:close/>
                <a:moveTo>
                  <a:pt x="1529" y="427"/>
                </a:moveTo>
                <a:cubicBezTo>
                  <a:pt x="1526" y="427"/>
                  <a:pt x="1523" y="425"/>
                  <a:pt x="1521" y="422"/>
                </a:cubicBezTo>
                <a:cubicBezTo>
                  <a:pt x="1503" y="390"/>
                  <a:pt x="1482" y="359"/>
                  <a:pt x="1459" y="329"/>
                </a:cubicBezTo>
                <a:cubicBezTo>
                  <a:pt x="1449" y="317"/>
                  <a:pt x="1439" y="304"/>
                  <a:pt x="1428" y="292"/>
                </a:cubicBezTo>
                <a:cubicBezTo>
                  <a:pt x="1418" y="280"/>
                  <a:pt x="1407" y="269"/>
                  <a:pt x="1397" y="258"/>
                </a:cubicBezTo>
                <a:cubicBezTo>
                  <a:pt x="1393" y="255"/>
                  <a:pt x="1393" y="249"/>
                  <a:pt x="1397" y="246"/>
                </a:cubicBezTo>
                <a:cubicBezTo>
                  <a:pt x="1400" y="243"/>
                  <a:pt x="1405" y="243"/>
                  <a:pt x="1409" y="246"/>
                </a:cubicBezTo>
                <a:cubicBezTo>
                  <a:pt x="1420" y="257"/>
                  <a:pt x="1431" y="269"/>
                  <a:pt x="1441" y="281"/>
                </a:cubicBezTo>
                <a:cubicBezTo>
                  <a:pt x="1452" y="293"/>
                  <a:pt x="1462" y="306"/>
                  <a:pt x="1473" y="319"/>
                </a:cubicBezTo>
                <a:cubicBezTo>
                  <a:pt x="1496" y="349"/>
                  <a:pt x="1517" y="381"/>
                  <a:pt x="1536" y="414"/>
                </a:cubicBezTo>
                <a:cubicBezTo>
                  <a:pt x="1538" y="418"/>
                  <a:pt x="1537" y="423"/>
                  <a:pt x="1533" y="426"/>
                </a:cubicBezTo>
                <a:cubicBezTo>
                  <a:pt x="1532" y="426"/>
                  <a:pt x="1530" y="427"/>
                  <a:pt x="1529" y="427"/>
                </a:cubicBezTo>
                <a:close/>
                <a:moveTo>
                  <a:pt x="198" y="310"/>
                </a:moveTo>
                <a:cubicBezTo>
                  <a:pt x="196" y="310"/>
                  <a:pt x="194" y="309"/>
                  <a:pt x="193" y="308"/>
                </a:cubicBezTo>
                <a:cubicBezTo>
                  <a:pt x="191" y="307"/>
                  <a:pt x="190" y="305"/>
                  <a:pt x="190" y="302"/>
                </a:cubicBezTo>
                <a:cubicBezTo>
                  <a:pt x="189" y="300"/>
                  <a:pt x="190" y="298"/>
                  <a:pt x="191" y="296"/>
                </a:cubicBezTo>
                <a:cubicBezTo>
                  <a:pt x="194" y="293"/>
                  <a:pt x="200" y="292"/>
                  <a:pt x="203" y="295"/>
                </a:cubicBezTo>
                <a:cubicBezTo>
                  <a:pt x="207" y="298"/>
                  <a:pt x="208" y="303"/>
                  <a:pt x="205" y="307"/>
                </a:cubicBezTo>
                <a:cubicBezTo>
                  <a:pt x="204" y="307"/>
                  <a:pt x="204" y="307"/>
                  <a:pt x="204" y="307"/>
                </a:cubicBezTo>
                <a:cubicBezTo>
                  <a:pt x="203" y="309"/>
                  <a:pt x="200" y="310"/>
                  <a:pt x="198" y="310"/>
                </a:cubicBezTo>
                <a:close/>
                <a:moveTo>
                  <a:pt x="216" y="289"/>
                </a:moveTo>
                <a:cubicBezTo>
                  <a:pt x="214" y="289"/>
                  <a:pt x="212" y="288"/>
                  <a:pt x="211" y="287"/>
                </a:cubicBezTo>
                <a:cubicBezTo>
                  <a:pt x="209" y="285"/>
                  <a:pt x="208" y="283"/>
                  <a:pt x="208" y="281"/>
                </a:cubicBezTo>
                <a:cubicBezTo>
                  <a:pt x="208" y="278"/>
                  <a:pt x="209" y="276"/>
                  <a:pt x="210" y="275"/>
                </a:cubicBezTo>
                <a:cubicBezTo>
                  <a:pt x="232" y="250"/>
                  <a:pt x="255" y="227"/>
                  <a:pt x="279" y="206"/>
                </a:cubicBezTo>
                <a:cubicBezTo>
                  <a:pt x="284" y="201"/>
                  <a:pt x="290" y="197"/>
                  <a:pt x="295" y="192"/>
                </a:cubicBezTo>
                <a:cubicBezTo>
                  <a:pt x="319" y="172"/>
                  <a:pt x="344" y="154"/>
                  <a:pt x="370" y="137"/>
                </a:cubicBezTo>
                <a:cubicBezTo>
                  <a:pt x="370" y="137"/>
                  <a:pt x="370" y="137"/>
                  <a:pt x="370" y="137"/>
                </a:cubicBezTo>
                <a:cubicBezTo>
                  <a:pt x="374" y="134"/>
                  <a:pt x="379" y="135"/>
                  <a:pt x="381" y="139"/>
                </a:cubicBezTo>
                <a:cubicBezTo>
                  <a:pt x="383" y="141"/>
                  <a:pt x="383" y="143"/>
                  <a:pt x="383" y="145"/>
                </a:cubicBezTo>
                <a:cubicBezTo>
                  <a:pt x="382" y="148"/>
                  <a:pt x="381" y="150"/>
                  <a:pt x="379" y="151"/>
                </a:cubicBezTo>
                <a:cubicBezTo>
                  <a:pt x="354" y="168"/>
                  <a:pt x="329" y="186"/>
                  <a:pt x="306" y="205"/>
                </a:cubicBezTo>
                <a:cubicBezTo>
                  <a:pt x="301" y="210"/>
                  <a:pt x="295" y="214"/>
                  <a:pt x="290" y="219"/>
                </a:cubicBezTo>
                <a:cubicBezTo>
                  <a:pt x="267" y="240"/>
                  <a:pt x="244" y="262"/>
                  <a:pt x="223" y="286"/>
                </a:cubicBezTo>
                <a:cubicBezTo>
                  <a:pt x="221" y="288"/>
                  <a:pt x="219" y="289"/>
                  <a:pt x="216" y="289"/>
                </a:cubicBezTo>
                <a:close/>
                <a:moveTo>
                  <a:pt x="1382" y="241"/>
                </a:moveTo>
                <a:cubicBezTo>
                  <a:pt x="1380" y="241"/>
                  <a:pt x="1378" y="240"/>
                  <a:pt x="1377" y="238"/>
                </a:cubicBezTo>
                <a:cubicBezTo>
                  <a:pt x="1375" y="237"/>
                  <a:pt x="1374" y="235"/>
                  <a:pt x="1374" y="232"/>
                </a:cubicBezTo>
                <a:cubicBezTo>
                  <a:pt x="1374" y="230"/>
                  <a:pt x="1375" y="228"/>
                  <a:pt x="1376" y="226"/>
                </a:cubicBezTo>
                <a:cubicBezTo>
                  <a:pt x="1379" y="223"/>
                  <a:pt x="1385" y="223"/>
                  <a:pt x="1388" y="226"/>
                </a:cubicBezTo>
                <a:cubicBezTo>
                  <a:pt x="1390" y="228"/>
                  <a:pt x="1391" y="230"/>
                  <a:pt x="1391" y="232"/>
                </a:cubicBezTo>
                <a:cubicBezTo>
                  <a:pt x="1391" y="234"/>
                  <a:pt x="1390" y="236"/>
                  <a:pt x="1389" y="238"/>
                </a:cubicBezTo>
                <a:cubicBezTo>
                  <a:pt x="1387" y="240"/>
                  <a:pt x="1385" y="241"/>
                  <a:pt x="1382" y="241"/>
                </a:cubicBezTo>
                <a:close/>
                <a:moveTo>
                  <a:pt x="1361" y="222"/>
                </a:moveTo>
                <a:cubicBezTo>
                  <a:pt x="1359" y="222"/>
                  <a:pt x="1357" y="221"/>
                  <a:pt x="1356" y="219"/>
                </a:cubicBezTo>
                <a:cubicBezTo>
                  <a:pt x="1328" y="195"/>
                  <a:pt x="1298" y="172"/>
                  <a:pt x="1267" y="151"/>
                </a:cubicBezTo>
                <a:cubicBezTo>
                  <a:pt x="1241" y="134"/>
                  <a:pt x="1213" y="118"/>
                  <a:pt x="1185" y="104"/>
                </a:cubicBezTo>
                <a:cubicBezTo>
                  <a:pt x="1183" y="103"/>
                  <a:pt x="1181" y="101"/>
                  <a:pt x="1180" y="99"/>
                </a:cubicBezTo>
                <a:cubicBezTo>
                  <a:pt x="1180" y="97"/>
                  <a:pt x="1180" y="94"/>
                  <a:pt x="1181" y="92"/>
                </a:cubicBezTo>
                <a:cubicBezTo>
                  <a:pt x="1183" y="88"/>
                  <a:pt x="1188" y="87"/>
                  <a:pt x="1192" y="89"/>
                </a:cubicBezTo>
                <a:cubicBezTo>
                  <a:pt x="1221" y="103"/>
                  <a:pt x="1249" y="119"/>
                  <a:pt x="1276" y="137"/>
                </a:cubicBezTo>
                <a:cubicBezTo>
                  <a:pt x="1308" y="158"/>
                  <a:pt x="1339" y="182"/>
                  <a:pt x="1367" y="207"/>
                </a:cubicBezTo>
                <a:cubicBezTo>
                  <a:pt x="1367" y="207"/>
                  <a:pt x="1367" y="207"/>
                  <a:pt x="1367" y="207"/>
                </a:cubicBezTo>
                <a:cubicBezTo>
                  <a:pt x="1371" y="210"/>
                  <a:pt x="1371" y="215"/>
                  <a:pt x="1368" y="219"/>
                </a:cubicBezTo>
                <a:cubicBezTo>
                  <a:pt x="1366" y="221"/>
                  <a:pt x="1364" y="222"/>
                  <a:pt x="1361" y="222"/>
                </a:cubicBezTo>
                <a:close/>
                <a:moveTo>
                  <a:pt x="398" y="137"/>
                </a:moveTo>
                <a:cubicBezTo>
                  <a:pt x="395" y="137"/>
                  <a:pt x="393" y="136"/>
                  <a:pt x="391" y="133"/>
                </a:cubicBezTo>
                <a:cubicBezTo>
                  <a:pt x="390" y="131"/>
                  <a:pt x="390" y="129"/>
                  <a:pt x="390" y="127"/>
                </a:cubicBezTo>
                <a:cubicBezTo>
                  <a:pt x="391" y="124"/>
                  <a:pt x="392" y="123"/>
                  <a:pt x="394" y="121"/>
                </a:cubicBezTo>
                <a:cubicBezTo>
                  <a:pt x="398" y="119"/>
                  <a:pt x="403" y="120"/>
                  <a:pt x="406" y="124"/>
                </a:cubicBezTo>
                <a:cubicBezTo>
                  <a:pt x="408" y="128"/>
                  <a:pt x="407" y="133"/>
                  <a:pt x="403" y="136"/>
                </a:cubicBezTo>
                <a:cubicBezTo>
                  <a:pt x="401" y="137"/>
                  <a:pt x="400" y="137"/>
                  <a:pt x="398" y="137"/>
                </a:cubicBezTo>
                <a:close/>
                <a:moveTo>
                  <a:pt x="423" y="123"/>
                </a:moveTo>
                <a:cubicBezTo>
                  <a:pt x="423" y="123"/>
                  <a:pt x="423" y="123"/>
                  <a:pt x="423" y="123"/>
                </a:cubicBezTo>
                <a:cubicBezTo>
                  <a:pt x="420" y="123"/>
                  <a:pt x="417" y="121"/>
                  <a:pt x="415" y="118"/>
                </a:cubicBezTo>
                <a:cubicBezTo>
                  <a:pt x="413" y="114"/>
                  <a:pt x="414" y="109"/>
                  <a:pt x="419" y="107"/>
                </a:cubicBezTo>
                <a:cubicBezTo>
                  <a:pt x="447" y="91"/>
                  <a:pt x="476" y="77"/>
                  <a:pt x="506" y="64"/>
                </a:cubicBezTo>
                <a:cubicBezTo>
                  <a:pt x="528" y="55"/>
                  <a:pt x="550" y="47"/>
                  <a:pt x="572" y="40"/>
                </a:cubicBezTo>
                <a:cubicBezTo>
                  <a:pt x="586" y="36"/>
                  <a:pt x="600" y="32"/>
                  <a:pt x="614" y="28"/>
                </a:cubicBezTo>
                <a:cubicBezTo>
                  <a:pt x="619" y="27"/>
                  <a:pt x="623" y="29"/>
                  <a:pt x="624" y="34"/>
                </a:cubicBezTo>
                <a:cubicBezTo>
                  <a:pt x="625" y="36"/>
                  <a:pt x="625" y="38"/>
                  <a:pt x="624" y="40"/>
                </a:cubicBezTo>
                <a:cubicBezTo>
                  <a:pt x="622" y="42"/>
                  <a:pt x="621" y="44"/>
                  <a:pt x="618" y="44"/>
                </a:cubicBezTo>
                <a:cubicBezTo>
                  <a:pt x="605" y="48"/>
                  <a:pt x="591" y="52"/>
                  <a:pt x="577" y="56"/>
                </a:cubicBezTo>
                <a:cubicBezTo>
                  <a:pt x="555" y="63"/>
                  <a:pt x="534" y="71"/>
                  <a:pt x="512" y="80"/>
                </a:cubicBezTo>
                <a:cubicBezTo>
                  <a:pt x="483" y="92"/>
                  <a:pt x="454" y="106"/>
                  <a:pt x="427" y="122"/>
                </a:cubicBezTo>
                <a:cubicBezTo>
                  <a:pt x="426" y="122"/>
                  <a:pt x="424" y="123"/>
                  <a:pt x="423" y="123"/>
                </a:cubicBezTo>
                <a:close/>
                <a:moveTo>
                  <a:pt x="1163" y="92"/>
                </a:moveTo>
                <a:cubicBezTo>
                  <a:pt x="1162" y="92"/>
                  <a:pt x="1161" y="92"/>
                  <a:pt x="1160" y="92"/>
                </a:cubicBezTo>
                <a:cubicBezTo>
                  <a:pt x="1157" y="91"/>
                  <a:pt x="1156" y="89"/>
                  <a:pt x="1155" y="87"/>
                </a:cubicBezTo>
                <a:cubicBezTo>
                  <a:pt x="1154" y="85"/>
                  <a:pt x="1154" y="82"/>
                  <a:pt x="1155" y="80"/>
                </a:cubicBezTo>
                <a:cubicBezTo>
                  <a:pt x="1157" y="76"/>
                  <a:pt x="1162" y="74"/>
                  <a:pt x="1167" y="76"/>
                </a:cubicBezTo>
                <a:cubicBezTo>
                  <a:pt x="1171" y="78"/>
                  <a:pt x="1173" y="83"/>
                  <a:pt x="1171" y="87"/>
                </a:cubicBezTo>
                <a:cubicBezTo>
                  <a:pt x="1169" y="90"/>
                  <a:pt x="1166" y="92"/>
                  <a:pt x="1163" y="92"/>
                </a:cubicBezTo>
                <a:close/>
                <a:moveTo>
                  <a:pt x="1137" y="81"/>
                </a:moveTo>
                <a:cubicBezTo>
                  <a:pt x="1136" y="81"/>
                  <a:pt x="1135" y="81"/>
                  <a:pt x="1134" y="80"/>
                </a:cubicBezTo>
                <a:cubicBezTo>
                  <a:pt x="1100" y="66"/>
                  <a:pt x="1064" y="54"/>
                  <a:pt x="1028" y="44"/>
                </a:cubicBezTo>
                <a:cubicBezTo>
                  <a:pt x="1028" y="44"/>
                  <a:pt x="1028" y="44"/>
                  <a:pt x="1028" y="44"/>
                </a:cubicBezTo>
                <a:cubicBezTo>
                  <a:pt x="997" y="36"/>
                  <a:pt x="966" y="30"/>
                  <a:pt x="935" y="25"/>
                </a:cubicBezTo>
                <a:cubicBezTo>
                  <a:pt x="933" y="25"/>
                  <a:pt x="931" y="24"/>
                  <a:pt x="929" y="22"/>
                </a:cubicBezTo>
                <a:cubicBezTo>
                  <a:pt x="928" y="20"/>
                  <a:pt x="927" y="18"/>
                  <a:pt x="928" y="16"/>
                </a:cubicBezTo>
                <a:cubicBezTo>
                  <a:pt x="928" y="11"/>
                  <a:pt x="933" y="8"/>
                  <a:pt x="937" y="9"/>
                </a:cubicBezTo>
                <a:cubicBezTo>
                  <a:pt x="969" y="13"/>
                  <a:pt x="1001" y="20"/>
                  <a:pt x="1032" y="28"/>
                </a:cubicBezTo>
                <a:cubicBezTo>
                  <a:pt x="1069" y="38"/>
                  <a:pt x="1105" y="50"/>
                  <a:pt x="1140" y="65"/>
                </a:cubicBezTo>
                <a:cubicBezTo>
                  <a:pt x="1145" y="66"/>
                  <a:pt x="1147" y="71"/>
                  <a:pt x="1145" y="76"/>
                </a:cubicBezTo>
                <a:cubicBezTo>
                  <a:pt x="1144" y="79"/>
                  <a:pt x="1141" y="81"/>
                  <a:pt x="1137" y="81"/>
                </a:cubicBezTo>
                <a:close/>
                <a:moveTo>
                  <a:pt x="644" y="38"/>
                </a:moveTo>
                <a:cubicBezTo>
                  <a:pt x="640" y="38"/>
                  <a:pt x="636" y="35"/>
                  <a:pt x="635" y="31"/>
                </a:cubicBezTo>
                <a:cubicBezTo>
                  <a:pt x="634" y="27"/>
                  <a:pt x="637" y="22"/>
                  <a:pt x="642" y="21"/>
                </a:cubicBezTo>
                <a:cubicBezTo>
                  <a:pt x="646" y="20"/>
                  <a:pt x="651" y="23"/>
                  <a:pt x="652" y="27"/>
                </a:cubicBezTo>
                <a:cubicBezTo>
                  <a:pt x="653" y="32"/>
                  <a:pt x="650" y="37"/>
                  <a:pt x="646" y="38"/>
                </a:cubicBezTo>
                <a:cubicBezTo>
                  <a:pt x="645" y="38"/>
                  <a:pt x="644" y="38"/>
                  <a:pt x="644" y="38"/>
                </a:cubicBezTo>
                <a:close/>
                <a:moveTo>
                  <a:pt x="671" y="32"/>
                </a:moveTo>
                <a:cubicBezTo>
                  <a:pt x="667" y="32"/>
                  <a:pt x="664" y="29"/>
                  <a:pt x="663" y="25"/>
                </a:cubicBezTo>
                <a:cubicBezTo>
                  <a:pt x="663" y="23"/>
                  <a:pt x="663" y="21"/>
                  <a:pt x="664" y="19"/>
                </a:cubicBezTo>
                <a:cubicBezTo>
                  <a:pt x="666" y="17"/>
                  <a:pt x="668" y="16"/>
                  <a:pt x="670" y="15"/>
                </a:cubicBezTo>
                <a:cubicBezTo>
                  <a:pt x="702" y="9"/>
                  <a:pt x="734" y="5"/>
                  <a:pt x="766" y="3"/>
                </a:cubicBezTo>
                <a:cubicBezTo>
                  <a:pt x="766" y="3"/>
                  <a:pt x="766" y="3"/>
                  <a:pt x="766" y="3"/>
                </a:cubicBezTo>
                <a:cubicBezTo>
                  <a:pt x="804" y="0"/>
                  <a:pt x="843" y="0"/>
                  <a:pt x="880" y="3"/>
                </a:cubicBezTo>
                <a:cubicBezTo>
                  <a:pt x="885" y="3"/>
                  <a:pt x="888" y="7"/>
                  <a:pt x="888" y="12"/>
                </a:cubicBezTo>
                <a:cubicBezTo>
                  <a:pt x="888" y="16"/>
                  <a:pt x="884" y="20"/>
                  <a:pt x="879" y="20"/>
                </a:cubicBezTo>
                <a:cubicBezTo>
                  <a:pt x="842" y="17"/>
                  <a:pt x="804" y="17"/>
                  <a:pt x="767" y="20"/>
                </a:cubicBezTo>
                <a:cubicBezTo>
                  <a:pt x="767" y="20"/>
                  <a:pt x="767" y="20"/>
                  <a:pt x="767" y="20"/>
                </a:cubicBezTo>
                <a:cubicBezTo>
                  <a:pt x="736" y="22"/>
                  <a:pt x="704" y="26"/>
                  <a:pt x="673" y="32"/>
                </a:cubicBezTo>
                <a:cubicBezTo>
                  <a:pt x="672" y="32"/>
                  <a:pt x="672" y="32"/>
                  <a:pt x="671" y="32"/>
                </a:cubicBezTo>
                <a:close/>
                <a:moveTo>
                  <a:pt x="908" y="22"/>
                </a:moveTo>
                <a:cubicBezTo>
                  <a:pt x="908" y="22"/>
                  <a:pt x="907" y="22"/>
                  <a:pt x="907" y="22"/>
                </a:cubicBezTo>
                <a:cubicBezTo>
                  <a:pt x="905" y="22"/>
                  <a:pt x="903" y="21"/>
                  <a:pt x="901" y="19"/>
                </a:cubicBezTo>
                <a:cubicBezTo>
                  <a:pt x="900" y="17"/>
                  <a:pt x="899" y="15"/>
                  <a:pt x="899" y="13"/>
                </a:cubicBezTo>
                <a:cubicBezTo>
                  <a:pt x="900" y="8"/>
                  <a:pt x="904" y="5"/>
                  <a:pt x="909" y="5"/>
                </a:cubicBezTo>
                <a:cubicBezTo>
                  <a:pt x="913" y="6"/>
                  <a:pt x="917" y="10"/>
                  <a:pt x="916" y="14"/>
                </a:cubicBezTo>
                <a:cubicBezTo>
                  <a:pt x="916" y="19"/>
                  <a:pt x="912" y="22"/>
                  <a:pt x="908" y="22"/>
                </a:cubicBezTo>
                <a:close/>
              </a:path>
            </a:pathLst>
          </a:custGeom>
          <a:solidFill>
            <a:schemeClr val="accent2"/>
          </a:solidFill>
          <a:ln>
            <a:noFill/>
          </a:ln>
        </p:spPr>
        <p:txBody>
          <a:bodyPr vert="horz" wrap="square" lIns="45714" tIns="22857" rIns="45714" bIns="22857" numCol="1" anchor="t" anchorCtr="0" compatLnSpc="1">
            <a:prstTxWarp prst="textNoShape">
              <a:avLst/>
            </a:prstTxWarp>
          </a:body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US" sz="900" b="0" i="0" u="none" strike="noStrike" kern="1200" cap="none" spc="0" normalizeH="0" baseline="0" noProof="0">
              <a:ln>
                <a:noFill/>
              </a:ln>
              <a:solidFill>
                <a:srgbClr val="343A3F"/>
              </a:solidFill>
              <a:effectLst/>
              <a:uLnTx/>
              <a:uFillTx/>
              <a:latin typeface="Roboto Light"/>
              <a:ea typeface="+mn-ea"/>
              <a:cs typeface="+mn-cs"/>
            </a:endParaRPr>
          </a:p>
        </p:txBody>
      </p:sp>
      <p:sp>
        <p:nvSpPr>
          <p:cNvPr id="13" name="Freeform 12">
            <a:extLst>
              <a:ext uri="{FF2B5EF4-FFF2-40B4-BE49-F238E27FC236}">
                <a16:creationId xmlns:a16="http://schemas.microsoft.com/office/drawing/2014/main" id="{6C021C72-93B8-468B-870A-D3E876A24594}"/>
              </a:ext>
            </a:extLst>
          </p:cNvPr>
          <p:cNvSpPr>
            <a:spLocks noEditPoints="1"/>
          </p:cNvSpPr>
          <p:nvPr/>
        </p:nvSpPr>
        <p:spPr bwMode="auto">
          <a:xfrm>
            <a:off x="4433843" y="1614991"/>
            <a:ext cx="3324314" cy="3323257"/>
          </a:xfrm>
          <a:custGeom>
            <a:avLst/>
            <a:gdLst>
              <a:gd name="T0" fmla="*/ 922 w 1572"/>
              <a:gd name="T1" fmla="*/ 1542 h 1571"/>
              <a:gd name="T2" fmla="*/ 1160 w 1572"/>
              <a:gd name="T3" fmla="*/ 1467 h 1571"/>
              <a:gd name="T4" fmla="*/ 925 w 1572"/>
              <a:gd name="T5" fmla="*/ 1559 h 1571"/>
              <a:gd name="T6" fmla="*/ 743 w 1572"/>
              <a:gd name="T7" fmla="*/ 1570 h 1571"/>
              <a:gd name="T8" fmla="*/ 744 w 1572"/>
              <a:gd name="T9" fmla="*/ 1553 h 1571"/>
              <a:gd name="T10" fmla="*/ 680 w 1572"/>
              <a:gd name="T11" fmla="*/ 1564 h 1571"/>
              <a:gd name="T12" fmla="*/ 342 w 1572"/>
              <a:gd name="T13" fmla="*/ 1434 h 1571"/>
              <a:gd name="T14" fmla="*/ 453 w 1572"/>
              <a:gd name="T15" fmla="*/ 1479 h 1571"/>
              <a:gd name="T16" fmla="*/ 681 w 1572"/>
              <a:gd name="T17" fmla="*/ 1564 h 1571"/>
              <a:gd name="T18" fmla="*/ 1201 w 1572"/>
              <a:gd name="T19" fmla="*/ 1433 h 1571"/>
              <a:gd name="T20" fmla="*/ 1187 w 1572"/>
              <a:gd name="T21" fmla="*/ 1460 h 1571"/>
              <a:gd name="T22" fmla="*/ 1304 w 1572"/>
              <a:gd name="T23" fmla="*/ 1353 h 1571"/>
              <a:gd name="T24" fmla="*/ 1257 w 1572"/>
              <a:gd name="T25" fmla="*/ 1412 h 1571"/>
              <a:gd name="T26" fmla="*/ 273 w 1572"/>
              <a:gd name="T27" fmla="*/ 1370 h 1571"/>
              <a:gd name="T28" fmla="*/ 297 w 1572"/>
              <a:gd name="T29" fmla="*/ 1398 h 1571"/>
              <a:gd name="T30" fmla="*/ 95 w 1572"/>
              <a:gd name="T31" fmla="*/ 1161 h 1571"/>
              <a:gd name="T32" fmla="*/ 51 w 1572"/>
              <a:gd name="T33" fmla="*/ 1040 h 1571"/>
              <a:gd name="T34" fmla="*/ 110 w 1572"/>
              <a:gd name="T35" fmla="*/ 1153 h 1571"/>
              <a:gd name="T36" fmla="*/ 250 w 1572"/>
              <a:gd name="T37" fmla="*/ 1357 h 1571"/>
              <a:gd name="T38" fmla="*/ 1486 w 1572"/>
              <a:gd name="T39" fmla="*/ 1104 h 1571"/>
              <a:gd name="T40" fmla="*/ 1360 w 1572"/>
              <a:gd name="T41" fmla="*/ 1318 h 1571"/>
              <a:gd name="T42" fmla="*/ 1507 w 1572"/>
              <a:gd name="T43" fmla="*/ 1051 h 1571"/>
              <a:gd name="T44" fmla="*/ 1523 w 1572"/>
              <a:gd name="T45" fmla="*/ 1057 h 1571"/>
              <a:gd name="T46" fmla="*/ 1534 w 1572"/>
              <a:gd name="T47" fmla="*/ 999 h 1571"/>
              <a:gd name="T48" fmla="*/ 1555 w 1572"/>
              <a:gd name="T49" fmla="*/ 785 h 1571"/>
              <a:gd name="T50" fmla="*/ 1556 w 1572"/>
              <a:gd name="T51" fmla="*/ 630 h 1571"/>
              <a:gd name="T52" fmla="*/ 1567 w 1572"/>
              <a:gd name="T53" fmla="*/ 875 h 1571"/>
              <a:gd name="T54" fmla="*/ 27 w 1572"/>
              <a:gd name="T55" fmla="*/ 991 h 1571"/>
              <a:gd name="T56" fmla="*/ 43 w 1572"/>
              <a:gd name="T57" fmla="*/ 987 h 1571"/>
              <a:gd name="T58" fmla="*/ 13 w 1572"/>
              <a:gd name="T59" fmla="*/ 930 h 1571"/>
              <a:gd name="T60" fmla="*/ 6 w 1572"/>
              <a:gd name="T61" fmla="*/ 685 h 1571"/>
              <a:gd name="T62" fmla="*/ 23 w 1572"/>
              <a:gd name="T63" fmla="*/ 687 h 1571"/>
              <a:gd name="T64" fmla="*/ 30 w 1572"/>
              <a:gd name="T65" fmla="*/ 927 h 1571"/>
              <a:gd name="T66" fmla="*/ 1531 w 1572"/>
              <a:gd name="T67" fmla="*/ 595 h 1571"/>
              <a:gd name="T68" fmla="*/ 1547 w 1572"/>
              <a:gd name="T69" fmla="*/ 591 h 1571"/>
              <a:gd name="T70" fmla="*/ 1506 w 1572"/>
              <a:gd name="T71" fmla="*/ 515 h 1571"/>
              <a:gd name="T72" fmla="*/ 1317 w 1572"/>
              <a:gd name="T73" fmla="*/ 229 h 1571"/>
              <a:gd name="T74" fmla="*/ 1329 w 1572"/>
              <a:gd name="T75" fmla="*/ 217 h 1571"/>
              <a:gd name="T76" fmla="*/ 1522 w 1572"/>
              <a:gd name="T77" fmla="*/ 509 h 1571"/>
              <a:gd name="T78" fmla="*/ 55 w 1572"/>
              <a:gd name="T79" fmla="*/ 519 h 1571"/>
              <a:gd name="T80" fmla="*/ 74 w 1572"/>
              <a:gd name="T81" fmla="*/ 493 h 1571"/>
              <a:gd name="T82" fmla="*/ 79 w 1572"/>
              <a:gd name="T83" fmla="*/ 461 h 1571"/>
              <a:gd name="T84" fmla="*/ 230 w 1572"/>
              <a:gd name="T85" fmla="*/ 229 h 1571"/>
              <a:gd name="T86" fmla="*/ 242 w 1572"/>
              <a:gd name="T87" fmla="*/ 241 h 1571"/>
              <a:gd name="T88" fmla="*/ 82 w 1572"/>
              <a:gd name="T89" fmla="*/ 462 h 1571"/>
              <a:gd name="T90" fmla="*/ 1260 w 1572"/>
              <a:gd name="T91" fmla="*/ 169 h 1571"/>
              <a:gd name="T92" fmla="*/ 1284 w 1572"/>
              <a:gd name="T93" fmla="*/ 197 h 1571"/>
              <a:gd name="T94" fmla="*/ 1109 w 1572"/>
              <a:gd name="T95" fmla="*/ 87 h 1571"/>
              <a:gd name="T96" fmla="*/ 880 w 1572"/>
              <a:gd name="T97" fmla="*/ 5 h 1571"/>
              <a:gd name="T98" fmla="*/ 1221 w 1572"/>
              <a:gd name="T99" fmla="*/ 131 h 1571"/>
              <a:gd name="T100" fmla="*/ 349 w 1572"/>
              <a:gd name="T101" fmla="*/ 141 h 1571"/>
              <a:gd name="T102" fmla="*/ 380 w 1572"/>
              <a:gd name="T103" fmla="*/ 132 h 1571"/>
              <a:gd name="T104" fmla="*/ 402 w 1572"/>
              <a:gd name="T105" fmla="*/ 109 h 1571"/>
              <a:gd name="T106" fmla="*/ 636 w 1572"/>
              <a:gd name="T107" fmla="*/ 14 h 1571"/>
              <a:gd name="T108" fmla="*/ 639 w 1572"/>
              <a:gd name="T109" fmla="*/ 30 h 1571"/>
              <a:gd name="T110" fmla="*/ 410 w 1572"/>
              <a:gd name="T111" fmla="*/ 113 h 1571"/>
              <a:gd name="T112" fmla="*/ 809 w 1572"/>
              <a:gd name="T113" fmla="*/ 8 h 1571"/>
              <a:gd name="T114" fmla="*/ 840 w 1572"/>
              <a:gd name="T115" fmla="*/ 18 h 15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72" h="1571">
                <a:moveTo>
                  <a:pt x="805" y="1571"/>
                </a:moveTo>
                <a:cubicBezTo>
                  <a:pt x="801" y="1571"/>
                  <a:pt x="797" y="1567"/>
                  <a:pt x="797" y="1563"/>
                </a:cubicBezTo>
                <a:cubicBezTo>
                  <a:pt x="797" y="1558"/>
                  <a:pt x="800" y="1554"/>
                  <a:pt x="805" y="1554"/>
                </a:cubicBezTo>
                <a:cubicBezTo>
                  <a:pt x="844" y="1553"/>
                  <a:pt x="883" y="1549"/>
                  <a:pt x="922" y="1542"/>
                </a:cubicBezTo>
                <a:cubicBezTo>
                  <a:pt x="922" y="1542"/>
                  <a:pt x="922" y="1542"/>
                  <a:pt x="922" y="1542"/>
                </a:cubicBezTo>
                <a:cubicBezTo>
                  <a:pt x="966" y="1534"/>
                  <a:pt x="1010" y="1523"/>
                  <a:pt x="1052" y="1507"/>
                </a:cubicBezTo>
                <a:cubicBezTo>
                  <a:pt x="1085" y="1495"/>
                  <a:pt x="1117" y="1480"/>
                  <a:pt x="1148" y="1464"/>
                </a:cubicBezTo>
                <a:cubicBezTo>
                  <a:pt x="1152" y="1462"/>
                  <a:pt x="1158" y="1463"/>
                  <a:pt x="1160" y="1467"/>
                </a:cubicBezTo>
                <a:cubicBezTo>
                  <a:pt x="1162" y="1471"/>
                  <a:pt x="1160" y="1476"/>
                  <a:pt x="1156" y="1479"/>
                </a:cubicBezTo>
                <a:cubicBezTo>
                  <a:pt x="1124" y="1496"/>
                  <a:pt x="1091" y="1511"/>
                  <a:pt x="1057" y="1523"/>
                </a:cubicBezTo>
                <a:cubicBezTo>
                  <a:pt x="1015" y="1539"/>
                  <a:pt x="970" y="1551"/>
                  <a:pt x="925" y="1559"/>
                </a:cubicBezTo>
                <a:cubicBezTo>
                  <a:pt x="925" y="1559"/>
                  <a:pt x="925" y="1559"/>
                  <a:pt x="925" y="1559"/>
                </a:cubicBezTo>
                <a:cubicBezTo>
                  <a:pt x="886" y="1566"/>
                  <a:pt x="845" y="1570"/>
                  <a:pt x="806" y="1571"/>
                </a:cubicBezTo>
                <a:cubicBezTo>
                  <a:pt x="806" y="1571"/>
                  <a:pt x="805" y="1571"/>
                  <a:pt x="805" y="1571"/>
                </a:cubicBezTo>
                <a:close/>
                <a:moveTo>
                  <a:pt x="743" y="1570"/>
                </a:moveTo>
                <a:cubicBezTo>
                  <a:pt x="743" y="1570"/>
                  <a:pt x="743" y="1570"/>
                  <a:pt x="743" y="1570"/>
                </a:cubicBezTo>
                <a:cubicBezTo>
                  <a:pt x="735" y="1570"/>
                  <a:pt x="727" y="1569"/>
                  <a:pt x="720" y="1569"/>
                </a:cubicBezTo>
                <a:cubicBezTo>
                  <a:pt x="715" y="1568"/>
                  <a:pt x="712" y="1564"/>
                  <a:pt x="712" y="1559"/>
                </a:cubicBezTo>
                <a:cubicBezTo>
                  <a:pt x="713" y="1555"/>
                  <a:pt x="717" y="1551"/>
                  <a:pt x="721" y="1552"/>
                </a:cubicBezTo>
                <a:cubicBezTo>
                  <a:pt x="729" y="1552"/>
                  <a:pt x="736" y="1553"/>
                  <a:pt x="744" y="1553"/>
                </a:cubicBezTo>
                <a:cubicBezTo>
                  <a:pt x="748" y="1553"/>
                  <a:pt x="752" y="1557"/>
                  <a:pt x="752" y="1562"/>
                </a:cubicBezTo>
                <a:cubicBezTo>
                  <a:pt x="751" y="1567"/>
                  <a:pt x="748" y="1570"/>
                  <a:pt x="743" y="1570"/>
                </a:cubicBezTo>
                <a:close/>
                <a:moveTo>
                  <a:pt x="681" y="1564"/>
                </a:moveTo>
                <a:cubicBezTo>
                  <a:pt x="681" y="1564"/>
                  <a:pt x="681" y="1564"/>
                  <a:pt x="680" y="1564"/>
                </a:cubicBezTo>
                <a:cubicBezTo>
                  <a:pt x="605" y="1554"/>
                  <a:pt x="533" y="1534"/>
                  <a:pt x="464" y="1503"/>
                </a:cubicBezTo>
                <a:cubicBezTo>
                  <a:pt x="458" y="1500"/>
                  <a:pt x="452" y="1497"/>
                  <a:pt x="446" y="1494"/>
                </a:cubicBezTo>
                <a:cubicBezTo>
                  <a:pt x="446" y="1494"/>
                  <a:pt x="446" y="1494"/>
                  <a:pt x="445" y="1494"/>
                </a:cubicBezTo>
                <a:cubicBezTo>
                  <a:pt x="410" y="1477"/>
                  <a:pt x="375" y="1457"/>
                  <a:pt x="342" y="1434"/>
                </a:cubicBezTo>
                <a:cubicBezTo>
                  <a:pt x="338" y="1431"/>
                  <a:pt x="337" y="1426"/>
                  <a:pt x="339" y="1422"/>
                </a:cubicBezTo>
                <a:cubicBezTo>
                  <a:pt x="342" y="1418"/>
                  <a:pt x="347" y="1417"/>
                  <a:pt x="351" y="1420"/>
                </a:cubicBezTo>
                <a:cubicBezTo>
                  <a:pt x="383" y="1442"/>
                  <a:pt x="418" y="1462"/>
                  <a:pt x="453" y="1479"/>
                </a:cubicBezTo>
                <a:cubicBezTo>
                  <a:pt x="453" y="1479"/>
                  <a:pt x="453" y="1479"/>
                  <a:pt x="453" y="1479"/>
                </a:cubicBezTo>
                <a:cubicBezTo>
                  <a:pt x="459" y="1482"/>
                  <a:pt x="465" y="1485"/>
                  <a:pt x="471" y="1487"/>
                </a:cubicBezTo>
                <a:cubicBezTo>
                  <a:pt x="538" y="1517"/>
                  <a:pt x="609" y="1538"/>
                  <a:pt x="682" y="1547"/>
                </a:cubicBezTo>
                <a:cubicBezTo>
                  <a:pt x="687" y="1548"/>
                  <a:pt x="690" y="1552"/>
                  <a:pt x="690" y="1557"/>
                </a:cubicBezTo>
                <a:cubicBezTo>
                  <a:pt x="689" y="1561"/>
                  <a:pt x="685" y="1564"/>
                  <a:pt x="681" y="1564"/>
                </a:cubicBezTo>
                <a:close/>
                <a:moveTo>
                  <a:pt x="1187" y="1460"/>
                </a:moveTo>
                <a:cubicBezTo>
                  <a:pt x="1184" y="1460"/>
                  <a:pt x="1181" y="1459"/>
                  <a:pt x="1179" y="1456"/>
                </a:cubicBezTo>
                <a:cubicBezTo>
                  <a:pt x="1177" y="1452"/>
                  <a:pt x="1178" y="1447"/>
                  <a:pt x="1182" y="1444"/>
                </a:cubicBezTo>
                <a:cubicBezTo>
                  <a:pt x="1189" y="1441"/>
                  <a:pt x="1195" y="1437"/>
                  <a:pt x="1201" y="1433"/>
                </a:cubicBezTo>
                <a:cubicBezTo>
                  <a:pt x="1205" y="1430"/>
                  <a:pt x="1211" y="1431"/>
                  <a:pt x="1213" y="1435"/>
                </a:cubicBezTo>
                <a:cubicBezTo>
                  <a:pt x="1216" y="1439"/>
                  <a:pt x="1214" y="1444"/>
                  <a:pt x="1211" y="1447"/>
                </a:cubicBezTo>
                <a:cubicBezTo>
                  <a:pt x="1204" y="1451"/>
                  <a:pt x="1198" y="1455"/>
                  <a:pt x="1191" y="1459"/>
                </a:cubicBezTo>
                <a:cubicBezTo>
                  <a:pt x="1190" y="1460"/>
                  <a:pt x="1188" y="1460"/>
                  <a:pt x="1187" y="1460"/>
                </a:cubicBezTo>
                <a:close/>
                <a:moveTo>
                  <a:pt x="1257" y="1412"/>
                </a:moveTo>
                <a:cubicBezTo>
                  <a:pt x="1254" y="1412"/>
                  <a:pt x="1252" y="1411"/>
                  <a:pt x="1250" y="1409"/>
                </a:cubicBezTo>
                <a:cubicBezTo>
                  <a:pt x="1247" y="1405"/>
                  <a:pt x="1248" y="1400"/>
                  <a:pt x="1252" y="1397"/>
                </a:cubicBezTo>
                <a:cubicBezTo>
                  <a:pt x="1270" y="1383"/>
                  <a:pt x="1287" y="1369"/>
                  <a:pt x="1304" y="1353"/>
                </a:cubicBezTo>
                <a:cubicBezTo>
                  <a:pt x="1308" y="1350"/>
                  <a:pt x="1313" y="1351"/>
                  <a:pt x="1316" y="1354"/>
                </a:cubicBezTo>
                <a:cubicBezTo>
                  <a:pt x="1319" y="1357"/>
                  <a:pt x="1319" y="1363"/>
                  <a:pt x="1316" y="1366"/>
                </a:cubicBezTo>
                <a:cubicBezTo>
                  <a:pt x="1298" y="1382"/>
                  <a:pt x="1280" y="1397"/>
                  <a:pt x="1262" y="1411"/>
                </a:cubicBezTo>
                <a:cubicBezTo>
                  <a:pt x="1260" y="1412"/>
                  <a:pt x="1259" y="1412"/>
                  <a:pt x="1257" y="1412"/>
                </a:cubicBezTo>
                <a:close/>
                <a:moveTo>
                  <a:pt x="297" y="1398"/>
                </a:moveTo>
                <a:cubicBezTo>
                  <a:pt x="295" y="1398"/>
                  <a:pt x="293" y="1398"/>
                  <a:pt x="291" y="1396"/>
                </a:cubicBezTo>
                <a:cubicBezTo>
                  <a:pt x="285" y="1392"/>
                  <a:pt x="279" y="1387"/>
                  <a:pt x="274" y="1382"/>
                </a:cubicBezTo>
                <a:cubicBezTo>
                  <a:pt x="270" y="1379"/>
                  <a:pt x="270" y="1373"/>
                  <a:pt x="273" y="1370"/>
                </a:cubicBezTo>
                <a:cubicBezTo>
                  <a:pt x="276" y="1366"/>
                  <a:pt x="281" y="1366"/>
                  <a:pt x="285" y="1369"/>
                </a:cubicBezTo>
                <a:cubicBezTo>
                  <a:pt x="290" y="1374"/>
                  <a:pt x="296" y="1378"/>
                  <a:pt x="302" y="1383"/>
                </a:cubicBezTo>
                <a:cubicBezTo>
                  <a:pt x="306" y="1386"/>
                  <a:pt x="306" y="1392"/>
                  <a:pt x="303" y="1395"/>
                </a:cubicBezTo>
                <a:cubicBezTo>
                  <a:pt x="302" y="1397"/>
                  <a:pt x="299" y="1398"/>
                  <a:pt x="297" y="1398"/>
                </a:cubicBezTo>
                <a:close/>
                <a:moveTo>
                  <a:pt x="250" y="1357"/>
                </a:moveTo>
                <a:cubicBezTo>
                  <a:pt x="248" y="1357"/>
                  <a:pt x="246" y="1356"/>
                  <a:pt x="244" y="1355"/>
                </a:cubicBezTo>
                <a:cubicBezTo>
                  <a:pt x="235" y="1346"/>
                  <a:pt x="226" y="1337"/>
                  <a:pt x="217" y="1328"/>
                </a:cubicBezTo>
                <a:cubicBezTo>
                  <a:pt x="169" y="1278"/>
                  <a:pt x="128" y="1222"/>
                  <a:pt x="95" y="1161"/>
                </a:cubicBezTo>
                <a:cubicBezTo>
                  <a:pt x="95" y="1161"/>
                  <a:pt x="95" y="1161"/>
                  <a:pt x="95" y="1161"/>
                </a:cubicBezTo>
                <a:cubicBezTo>
                  <a:pt x="80" y="1133"/>
                  <a:pt x="66" y="1103"/>
                  <a:pt x="54" y="1074"/>
                </a:cubicBezTo>
                <a:cubicBezTo>
                  <a:pt x="51" y="1066"/>
                  <a:pt x="48" y="1059"/>
                  <a:pt x="46" y="1051"/>
                </a:cubicBezTo>
                <a:cubicBezTo>
                  <a:pt x="44" y="1047"/>
                  <a:pt x="46" y="1042"/>
                  <a:pt x="51" y="1040"/>
                </a:cubicBezTo>
                <a:cubicBezTo>
                  <a:pt x="55" y="1039"/>
                  <a:pt x="60" y="1041"/>
                  <a:pt x="62" y="1046"/>
                </a:cubicBezTo>
                <a:cubicBezTo>
                  <a:pt x="64" y="1053"/>
                  <a:pt x="67" y="1060"/>
                  <a:pt x="70" y="1068"/>
                </a:cubicBezTo>
                <a:cubicBezTo>
                  <a:pt x="81" y="1097"/>
                  <a:pt x="95" y="1125"/>
                  <a:pt x="110" y="1153"/>
                </a:cubicBezTo>
                <a:cubicBezTo>
                  <a:pt x="110" y="1153"/>
                  <a:pt x="110" y="1153"/>
                  <a:pt x="110" y="1153"/>
                </a:cubicBezTo>
                <a:cubicBezTo>
                  <a:pt x="142" y="1212"/>
                  <a:pt x="183" y="1267"/>
                  <a:pt x="230" y="1316"/>
                </a:cubicBezTo>
                <a:cubicBezTo>
                  <a:pt x="238" y="1325"/>
                  <a:pt x="247" y="1334"/>
                  <a:pt x="256" y="1343"/>
                </a:cubicBezTo>
                <a:cubicBezTo>
                  <a:pt x="259" y="1346"/>
                  <a:pt x="259" y="1351"/>
                  <a:pt x="256" y="1355"/>
                </a:cubicBezTo>
                <a:cubicBezTo>
                  <a:pt x="254" y="1356"/>
                  <a:pt x="252" y="1357"/>
                  <a:pt x="250" y="1357"/>
                </a:cubicBezTo>
                <a:close/>
                <a:moveTo>
                  <a:pt x="1360" y="1318"/>
                </a:moveTo>
                <a:cubicBezTo>
                  <a:pt x="1358" y="1318"/>
                  <a:pt x="1356" y="1317"/>
                  <a:pt x="1354" y="1316"/>
                </a:cubicBezTo>
                <a:cubicBezTo>
                  <a:pt x="1351" y="1313"/>
                  <a:pt x="1351" y="1307"/>
                  <a:pt x="1354" y="1304"/>
                </a:cubicBezTo>
                <a:cubicBezTo>
                  <a:pt x="1408" y="1244"/>
                  <a:pt x="1453" y="1177"/>
                  <a:pt x="1486" y="1104"/>
                </a:cubicBezTo>
                <a:cubicBezTo>
                  <a:pt x="1488" y="1100"/>
                  <a:pt x="1493" y="1098"/>
                  <a:pt x="1497" y="1100"/>
                </a:cubicBezTo>
                <a:cubicBezTo>
                  <a:pt x="1501" y="1102"/>
                  <a:pt x="1503" y="1107"/>
                  <a:pt x="1501" y="1111"/>
                </a:cubicBezTo>
                <a:cubicBezTo>
                  <a:pt x="1467" y="1186"/>
                  <a:pt x="1422" y="1254"/>
                  <a:pt x="1366" y="1315"/>
                </a:cubicBezTo>
                <a:cubicBezTo>
                  <a:pt x="1365" y="1317"/>
                  <a:pt x="1362" y="1318"/>
                  <a:pt x="1360" y="1318"/>
                </a:cubicBezTo>
                <a:close/>
                <a:moveTo>
                  <a:pt x="1509" y="1079"/>
                </a:moveTo>
                <a:cubicBezTo>
                  <a:pt x="1508" y="1079"/>
                  <a:pt x="1507" y="1079"/>
                  <a:pt x="1506" y="1079"/>
                </a:cubicBezTo>
                <a:cubicBezTo>
                  <a:pt x="1502" y="1077"/>
                  <a:pt x="1499" y="1072"/>
                  <a:pt x="1501" y="1068"/>
                </a:cubicBezTo>
                <a:cubicBezTo>
                  <a:pt x="1503" y="1062"/>
                  <a:pt x="1505" y="1057"/>
                  <a:pt x="1507" y="1051"/>
                </a:cubicBezTo>
                <a:cubicBezTo>
                  <a:pt x="1509" y="1047"/>
                  <a:pt x="1509" y="1047"/>
                  <a:pt x="1509" y="1047"/>
                </a:cubicBezTo>
                <a:cubicBezTo>
                  <a:pt x="1511" y="1042"/>
                  <a:pt x="1516" y="1040"/>
                  <a:pt x="1520" y="1042"/>
                </a:cubicBezTo>
                <a:cubicBezTo>
                  <a:pt x="1524" y="1043"/>
                  <a:pt x="1527" y="1048"/>
                  <a:pt x="1525" y="1053"/>
                </a:cubicBezTo>
                <a:cubicBezTo>
                  <a:pt x="1523" y="1057"/>
                  <a:pt x="1523" y="1057"/>
                  <a:pt x="1523" y="1057"/>
                </a:cubicBezTo>
                <a:cubicBezTo>
                  <a:pt x="1521" y="1063"/>
                  <a:pt x="1519" y="1068"/>
                  <a:pt x="1517" y="1074"/>
                </a:cubicBezTo>
                <a:cubicBezTo>
                  <a:pt x="1516" y="1077"/>
                  <a:pt x="1512" y="1079"/>
                  <a:pt x="1509" y="1079"/>
                </a:cubicBezTo>
                <a:close/>
                <a:moveTo>
                  <a:pt x="1536" y="999"/>
                </a:moveTo>
                <a:cubicBezTo>
                  <a:pt x="1535" y="999"/>
                  <a:pt x="1534" y="999"/>
                  <a:pt x="1534" y="999"/>
                </a:cubicBezTo>
                <a:cubicBezTo>
                  <a:pt x="1529" y="997"/>
                  <a:pt x="1526" y="993"/>
                  <a:pt x="1528" y="988"/>
                </a:cubicBezTo>
                <a:cubicBezTo>
                  <a:pt x="1538" y="951"/>
                  <a:pt x="1545" y="912"/>
                  <a:pt x="1550" y="873"/>
                </a:cubicBezTo>
                <a:cubicBezTo>
                  <a:pt x="1550" y="873"/>
                  <a:pt x="1550" y="873"/>
                  <a:pt x="1550" y="873"/>
                </a:cubicBezTo>
                <a:cubicBezTo>
                  <a:pt x="1553" y="844"/>
                  <a:pt x="1555" y="814"/>
                  <a:pt x="1555" y="785"/>
                </a:cubicBezTo>
                <a:cubicBezTo>
                  <a:pt x="1555" y="777"/>
                  <a:pt x="1555" y="768"/>
                  <a:pt x="1554" y="759"/>
                </a:cubicBezTo>
                <a:cubicBezTo>
                  <a:pt x="1553" y="717"/>
                  <a:pt x="1548" y="675"/>
                  <a:pt x="1540" y="633"/>
                </a:cubicBezTo>
                <a:cubicBezTo>
                  <a:pt x="1539" y="629"/>
                  <a:pt x="1542" y="624"/>
                  <a:pt x="1546" y="623"/>
                </a:cubicBezTo>
                <a:cubicBezTo>
                  <a:pt x="1551" y="623"/>
                  <a:pt x="1555" y="626"/>
                  <a:pt x="1556" y="630"/>
                </a:cubicBezTo>
                <a:cubicBezTo>
                  <a:pt x="1565" y="672"/>
                  <a:pt x="1570" y="716"/>
                  <a:pt x="1571" y="758"/>
                </a:cubicBezTo>
                <a:cubicBezTo>
                  <a:pt x="1572" y="767"/>
                  <a:pt x="1572" y="776"/>
                  <a:pt x="1572" y="785"/>
                </a:cubicBezTo>
                <a:cubicBezTo>
                  <a:pt x="1572" y="815"/>
                  <a:pt x="1570" y="845"/>
                  <a:pt x="1567" y="875"/>
                </a:cubicBezTo>
                <a:cubicBezTo>
                  <a:pt x="1567" y="875"/>
                  <a:pt x="1567" y="875"/>
                  <a:pt x="1567" y="875"/>
                </a:cubicBezTo>
                <a:cubicBezTo>
                  <a:pt x="1562" y="915"/>
                  <a:pt x="1554" y="954"/>
                  <a:pt x="1544" y="993"/>
                </a:cubicBezTo>
                <a:cubicBezTo>
                  <a:pt x="1543" y="996"/>
                  <a:pt x="1540" y="999"/>
                  <a:pt x="1536" y="999"/>
                </a:cubicBezTo>
                <a:close/>
                <a:moveTo>
                  <a:pt x="35" y="998"/>
                </a:moveTo>
                <a:cubicBezTo>
                  <a:pt x="31" y="998"/>
                  <a:pt x="28" y="995"/>
                  <a:pt x="27" y="991"/>
                </a:cubicBezTo>
                <a:cubicBezTo>
                  <a:pt x="25" y="984"/>
                  <a:pt x="23" y="976"/>
                  <a:pt x="21" y="969"/>
                </a:cubicBezTo>
                <a:cubicBezTo>
                  <a:pt x="20" y="965"/>
                  <a:pt x="23" y="960"/>
                  <a:pt x="28" y="959"/>
                </a:cubicBezTo>
                <a:cubicBezTo>
                  <a:pt x="32" y="958"/>
                  <a:pt x="37" y="961"/>
                  <a:pt x="38" y="965"/>
                </a:cubicBezTo>
                <a:cubicBezTo>
                  <a:pt x="39" y="972"/>
                  <a:pt x="41" y="980"/>
                  <a:pt x="43" y="987"/>
                </a:cubicBezTo>
                <a:cubicBezTo>
                  <a:pt x="44" y="991"/>
                  <a:pt x="42" y="996"/>
                  <a:pt x="37" y="997"/>
                </a:cubicBezTo>
                <a:cubicBezTo>
                  <a:pt x="37" y="997"/>
                  <a:pt x="36" y="998"/>
                  <a:pt x="35" y="998"/>
                </a:cubicBezTo>
                <a:close/>
                <a:moveTo>
                  <a:pt x="21" y="937"/>
                </a:moveTo>
                <a:cubicBezTo>
                  <a:pt x="17" y="937"/>
                  <a:pt x="14" y="934"/>
                  <a:pt x="13" y="930"/>
                </a:cubicBezTo>
                <a:cubicBezTo>
                  <a:pt x="4" y="882"/>
                  <a:pt x="0" y="834"/>
                  <a:pt x="0" y="786"/>
                </a:cubicBezTo>
                <a:cubicBezTo>
                  <a:pt x="0" y="783"/>
                  <a:pt x="0" y="779"/>
                  <a:pt x="0" y="776"/>
                </a:cubicBezTo>
                <a:cubicBezTo>
                  <a:pt x="0" y="746"/>
                  <a:pt x="2" y="715"/>
                  <a:pt x="6" y="685"/>
                </a:cubicBezTo>
                <a:cubicBezTo>
                  <a:pt x="6" y="685"/>
                  <a:pt x="6" y="685"/>
                  <a:pt x="6" y="685"/>
                </a:cubicBezTo>
                <a:cubicBezTo>
                  <a:pt x="11" y="645"/>
                  <a:pt x="19" y="606"/>
                  <a:pt x="30" y="568"/>
                </a:cubicBezTo>
                <a:cubicBezTo>
                  <a:pt x="32" y="563"/>
                  <a:pt x="36" y="560"/>
                  <a:pt x="41" y="562"/>
                </a:cubicBezTo>
                <a:cubicBezTo>
                  <a:pt x="45" y="563"/>
                  <a:pt x="48" y="568"/>
                  <a:pt x="47" y="572"/>
                </a:cubicBezTo>
                <a:cubicBezTo>
                  <a:pt x="36" y="610"/>
                  <a:pt x="28" y="648"/>
                  <a:pt x="23" y="687"/>
                </a:cubicBezTo>
                <a:cubicBezTo>
                  <a:pt x="23" y="687"/>
                  <a:pt x="23" y="687"/>
                  <a:pt x="23" y="687"/>
                </a:cubicBezTo>
                <a:cubicBezTo>
                  <a:pt x="19" y="717"/>
                  <a:pt x="17" y="747"/>
                  <a:pt x="17" y="777"/>
                </a:cubicBezTo>
                <a:cubicBezTo>
                  <a:pt x="17" y="780"/>
                  <a:pt x="17" y="783"/>
                  <a:pt x="17" y="786"/>
                </a:cubicBezTo>
                <a:cubicBezTo>
                  <a:pt x="17" y="833"/>
                  <a:pt x="21" y="880"/>
                  <a:pt x="30" y="927"/>
                </a:cubicBezTo>
                <a:cubicBezTo>
                  <a:pt x="30" y="931"/>
                  <a:pt x="27" y="936"/>
                  <a:pt x="23" y="937"/>
                </a:cubicBezTo>
                <a:cubicBezTo>
                  <a:pt x="22" y="937"/>
                  <a:pt x="22" y="937"/>
                  <a:pt x="21" y="937"/>
                </a:cubicBezTo>
                <a:close/>
                <a:moveTo>
                  <a:pt x="1539" y="602"/>
                </a:moveTo>
                <a:cubicBezTo>
                  <a:pt x="1535" y="602"/>
                  <a:pt x="1532" y="599"/>
                  <a:pt x="1531" y="595"/>
                </a:cubicBezTo>
                <a:cubicBezTo>
                  <a:pt x="1529" y="588"/>
                  <a:pt x="1527" y="581"/>
                  <a:pt x="1525" y="574"/>
                </a:cubicBezTo>
                <a:cubicBezTo>
                  <a:pt x="1524" y="569"/>
                  <a:pt x="1526" y="564"/>
                  <a:pt x="1531" y="563"/>
                </a:cubicBezTo>
                <a:cubicBezTo>
                  <a:pt x="1536" y="562"/>
                  <a:pt x="1540" y="565"/>
                  <a:pt x="1541" y="569"/>
                </a:cubicBezTo>
                <a:cubicBezTo>
                  <a:pt x="1544" y="576"/>
                  <a:pt x="1546" y="584"/>
                  <a:pt x="1547" y="591"/>
                </a:cubicBezTo>
                <a:cubicBezTo>
                  <a:pt x="1549" y="596"/>
                  <a:pt x="1546" y="600"/>
                  <a:pt x="1541" y="601"/>
                </a:cubicBezTo>
                <a:cubicBezTo>
                  <a:pt x="1541" y="602"/>
                  <a:pt x="1540" y="602"/>
                  <a:pt x="1539" y="602"/>
                </a:cubicBezTo>
                <a:close/>
                <a:moveTo>
                  <a:pt x="1514" y="521"/>
                </a:moveTo>
                <a:cubicBezTo>
                  <a:pt x="1510" y="521"/>
                  <a:pt x="1507" y="519"/>
                  <a:pt x="1506" y="515"/>
                </a:cubicBezTo>
                <a:cubicBezTo>
                  <a:pt x="1500" y="500"/>
                  <a:pt x="1494" y="485"/>
                  <a:pt x="1488" y="471"/>
                </a:cubicBezTo>
                <a:cubicBezTo>
                  <a:pt x="1478" y="450"/>
                  <a:pt x="1468" y="429"/>
                  <a:pt x="1456" y="409"/>
                </a:cubicBezTo>
                <a:cubicBezTo>
                  <a:pt x="1456" y="409"/>
                  <a:pt x="1456" y="409"/>
                  <a:pt x="1456" y="409"/>
                </a:cubicBezTo>
                <a:cubicBezTo>
                  <a:pt x="1419" y="343"/>
                  <a:pt x="1372" y="282"/>
                  <a:pt x="1317" y="229"/>
                </a:cubicBezTo>
                <a:cubicBezTo>
                  <a:pt x="1314" y="226"/>
                  <a:pt x="1311" y="224"/>
                  <a:pt x="1308" y="221"/>
                </a:cubicBezTo>
                <a:cubicBezTo>
                  <a:pt x="1304" y="218"/>
                  <a:pt x="1304" y="212"/>
                  <a:pt x="1307" y="209"/>
                </a:cubicBezTo>
                <a:cubicBezTo>
                  <a:pt x="1311" y="205"/>
                  <a:pt x="1316" y="205"/>
                  <a:pt x="1319" y="208"/>
                </a:cubicBezTo>
                <a:cubicBezTo>
                  <a:pt x="1322" y="211"/>
                  <a:pt x="1326" y="214"/>
                  <a:pt x="1329" y="217"/>
                </a:cubicBezTo>
                <a:cubicBezTo>
                  <a:pt x="1385" y="271"/>
                  <a:pt x="1433" y="333"/>
                  <a:pt x="1471" y="400"/>
                </a:cubicBezTo>
                <a:cubicBezTo>
                  <a:pt x="1471" y="400"/>
                  <a:pt x="1471" y="400"/>
                  <a:pt x="1471" y="400"/>
                </a:cubicBezTo>
                <a:cubicBezTo>
                  <a:pt x="1483" y="421"/>
                  <a:pt x="1494" y="442"/>
                  <a:pt x="1503" y="464"/>
                </a:cubicBezTo>
                <a:cubicBezTo>
                  <a:pt x="1510" y="479"/>
                  <a:pt x="1516" y="494"/>
                  <a:pt x="1522" y="509"/>
                </a:cubicBezTo>
                <a:cubicBezTo>
                  <a:pt x="1523" y="514"/>
                  <a:pt x="1521" y="519"/>
                  <a:pt x="1517" y="520"/>
                </a:cubicBezTo>
                <a:cubicBezTo>
                  <a:pt x="1516" y="521"/>
                  <a:pt x="1515" y="521"/>
                  <a:pt x="1514" y="521"/>
                </a:cubicBezTo>
                <a:close/>
                <a:moveTo>
                  <a:pt x="58" y="519"/>
                </a:moveTo>
                <a:cubicBezTo>
                  <a:pt x="57" y="519"/>
                  <a:pt x="56" y="519"/>
                  <a:pt x="55" y="519"/>
                </a:cubicBezTo>
                <a:cubicBezTo>
                  <a:pt x="51" y="517"/>
                  <a:pt x="48" y="512"/>
                  <a:pt x="50" y="508"/>
                </a:cubicBezTo>
                <a:cubicBezTo>
                  <a:pt x="53" y="501"/>
                  <a:pt x="55" y="494"/>
                  <a:pt x="58" y="487"/>
                </a:cubicBezTo>
                <a:cubicBezTo>
                  <a:pt x="60" y="482"/>
                  <a:pt x="65" y="480"/>
                  <a:pt x="69" y="482"/>
                </a:cubicBezTo>
                <a:cubicBezTo>
                  <a:pt x="74" y="484"/>
                  <a:pt x="76" y="489"/>
                  <a:pt x="74" y="493"/>
                </a:cubicBezTo>
                <a:cubicBezTo>
                  <a:pt x="71" y="500"/>
                  <a:pt x="68" y="507"/>
                  <a:pt x="66" y="514"/>
                </a:cubicBezTo>
                <a:cubicBezTo>
                  <a:pt x="65" y="517"/>
                  <a:pt x="61" y="519"/>
                  <a:pt x="58" y="519"/>
                </a:cubicBezTo>
                <a:close/>
                <a:moveTo>
                  <a:pt x="82" y="462"/>
                </a:moveTo>
                <a:cubicBezTo>
                  <a:pt x="81" y="462"/>
                  <a:pt x="80" y="462"/>
                  <a:pt x="79" y="461"/>
                </a:cubicBezTo>
                <a:cubicBezTo>
                  <a:pt x="74" y="459"/>
                  <a:pt x="72" y="454"/>
                  <a:pt x="74" y="450"/>
                </a:cubicBezTo>
                <a:cubicBezTo>
                  <a:pt x="109" y="376"/>
                  <a:pt x="156" y="308"/>
                  <a:pt x="212" y="247"/>
                </a:cubicBezTo>
                <a:cubicBezTo>
                  <a:pt x="212" y="247"/>
                  <a:pt x="212" y="247"/>
                  <a:pt x="212" y="247"/>
                </a:cubicBezTo>
                <a:cubicBezTo>
                  <a:pt x="218" y="241"/>
                  <a:pt x="224" y="235"/>
                  <a:pt x="230" y="229"/>
                </a:cubicBezTo>
                <a:cubicBezTo>
                  <a:pt x="252" y="207"/>
                  <a:pt x="276" y="186"/>
                  <a:pt x="301" y="167"/>
                </a:cubicBezTo>
                <a:cubicBezTo>
                  <a:pt x="304" y="164"/>
                  <a:pt x="310" y="164"/>
                  <a:pt x="313" y="168"/>
                </a:cubicBezTo>
                <a:cubicBezTo>
                  <a:pt x="316" y="172"/>
                  <a:pt x="315" y="177"/>
                  <a:pt x="311" y="180"/>
                </a:cubicBezTo>
                <a:cubicBezTo>
                  <a:pt x="287" y="199"/>
                  <a:pt x="264" y="220"/>
                  <a:pt x="242" y="241"/>
                </a:cubicBezTo>
                <a:cubicBezTo>
                  <a:pt x="236" y="247"/>
                  <a:pt x="230" y="253"/>
                  <a:pt x="225" y="259"/>
                </a:cubicBezTo>
                <a:cubicBezTo>
                  <a:pt x="225" y="259"/>
                  <a:pt x="225" y="259"/>
                  <a:pt x="225" y="259"/>
                </a:cubicBezTo>
                <a:cubicBezTo>
                  <a:pt x="169" y="318"/>
                  <a:pt x="124" y="385"/>
                  <a:pt x="90" y="457"/>
                </a:cubicBezTo>
                <a:cubicBezTo>
                  <a:pt x="88" y="460"/>
                  <a:pt x="85" y="462"/>
                  <a:pt x="82" y="462"/>
                </a:cubicBezTo>
                <a:close/>
                <a:moveTo>
                  <a:pt x="1284" y="197"/>
                </a:moveTo>
                <a:cubicBezTo>
                  <a:pt x="1282" y="197"/>
                  <a:pt x="1280" y="196"/>
                  <a:pt x="1278" y="195"/>
                </a:cubicBezTo>
                <a:cubicBezTo>
                  <a:pt x="1273" y="190"/>
                  <a:pt x="1267" y="185"/>
                  <a:pt x="1261" y="181"/>
                </a:cubicBezTo>
                <a:cubicBezTo>
                  <a:pt x="1257" y="178"/>
                  <a:pt x="1257" y="173"/>
                  <a:pt x="1260" y="169"/>
                </a:cubicBezTo>
                <a:cubicBezTo>
                  <a:pt x="1263" y="165"/>
                  <a:pt x="1268" y="165"/>
                  <a:pt x="1272" y="167"/>
                </a:cubicBezTo>
                <a:cubicBezTo>
                  <a:pt x="1278" y="172"/>
                  <a:pt x="1284" y="177"/>
                  <a:pt x="1289" y="182"/>
                </a:cubicBezTo>
                <a:cubicBezTo>
                  <a:pt x="1293" y="185"/>
                  <a:pt x="1293" y="190"/>
                  <a:pt x="1290" y="194"/>
                </a:cubicBezTo>
                <a:cubicBezTo>
                  <a:pt x="1289" y="196"/>
                  <a:pt x="1286" y="197"/>
                  <a:pt x="1284" y="197"/>
                </a:cubicBezTo>
                <a:close/>
                <a:moveTo>
                  <a:pt x="1216" y="146"/>
                </a:moveTo>
                <a:cubicBezTo>
                  <a:pt x="1214" y="146"/>
                  <a:pt x="1213" y="146"/>
                  <a:pt x="1211" y="145"/>
                </a:cubicBezTo>
                <a:cubicBezTo>
                  <a:pt x="1179" y="123"/>
                  <a:pt x="1144" y="104"/>
                  <a:pt x="1109" y="87"/>
                </a:cubicBezTo>
                <a:cubicBezTo>
                  <a:pt x="1109" y="87"/>
                  <a:pt x="1109" y="87"/>
                  <a:pt x="1109" y="87"/>
                </a:cubicBezTo>
                <a:cubicBezTo>
                  <a:pt x="1095" y="81"/>
                  <a:pt x="1082" y="75"/>
                  <a:pt x="1068" y="70"/>
                </a:cubicBezTo>
                <a:cubicBezTo>
                  <a:pt x="1007" y="46"/>
                  <a:pt x="944" y="30"/>
                  <a:pt x="878" y="22"/>
                </a:cubicBezTo>
                <a:cubicBezTo>
                  <a:pt x="874" y="21"/>
                  <a:pt x="870" y="17"/>
                  <a:pt x="871" y="12"/>
                </a:cubicBezTo>
                <a:cubicBezTo>
                  <a:pt x="872" y="8"/>
                  <a:pt x="876" y="4"/>
                  <a:pt x="880" y="5"/>
                </a:cubicBezTo>
                <a:cubicBezTo>
                  <a:pt x="947" y="13"/>
                  <a:pt x="1012" y="29"/>
                  <a:pt x="1074" y="54"/>
                </a:cubicBezTo>
                <a:cubicBezTo>
                  <a:pt x="1088" y="59"/>
                  <a:pt x="1102" y="65"/>
                  <a:pt x="1116" y="72"/>
                </a:cubicBezTo>
                <a:cubicBezTo>
                  <a:pt x="1116" y="72"/>
                  <a:pt x="1116" y="72"/>
                  <a:pt x="1116" y="72"/>
                </a:cubicBezTo>
                <a:cubicBezTo>
                  <a:pt x="1152" y="89"/>
                  <a:pt x="1187" y="108"/>
                  <a:pt x="1221" y="131"/>
                </a:cubicBezTo>
                <a:cubicBezTo>
                  <a:pt x="1225" y="133"/>
                  <a:pt x="1226" y="138"/>
                  <a:pt x="1223" y="142"/>
                </a:cubicBezTo>
                <a:cubicBezTo>
                  <a:pt x="1221" y="145"/>
                  <a:pt x="1219" y="146"/>
                  <a:pt x="1216" y="146"/>
                </a:cubicBezTo>
                <a:close/>
                <a:moveTo>
                  <a:pt x="356" y="145"/>
                </a:moveTo>
                <a:cubicBezTo>
                  <a:pt x="354" y="145"/>
                  <a:pt x="351" y="144"/>
                  <a:pt x="349" y="141"/>
                </a:cubicBezTo>
                <a:cubicBezTo>
                  <a:pt x="347" y="138"/>
                  <a:pt x="348" y="132"/>
                  <a:pt x="352" y="130"/>
                </a:cubicBezTo>
                <a:cubicBezTo>
                  <a:pt x="358" y="126"/>
                  <a:pt x="364" y="121"/>
                  <a:pt x="371" y="117"/>
                </a:cubicBezTo>
                <a:cubicBezTo>
                  <a:pt x="375" y="115"/>
                  <a:pt x="380" y="116"/>
                  <a:pt x="383" y="120"/>
                </a:cubicBezTo>
                <a:cubicBezTo>
                  <a:pt x="385" y="124"/>
                  <a:pt x="384" y="129"/>
                  <a:pt x="380" y="132"/>
                </a:cubicBezTo>
                <a:cubicBezTo>
                  <a:pt x="374" y="136"/>
                  <a:pt x="367" y="140"/>
                  <a:pt x="361" y="144"/>
                </a:cubicBezTo>
                <a:cubicBezTo>
                  <a:pt x="360" y="145"/>
                  <a:pt x="358" y="145"/>
                  <a:pt x="356" y="145"/>
                </a:cubicBezTo>
                <a:close/>
                <a:moveTo>
                  <a:pt x="410" y="113"/>
                </a:moveTo>
                <a:cubicBezTo>
                  <a:pt x="407" y="113"/>
                  <a:pt x="404" y="111"/>
                  <a:pt x="402" y="109"/>
                </a:cubicBezTo>
                <a:cubicBezTo>
                  <a:pt x="400" y="105"/>
                  <a:pt x="401" y="99"/>
                  <a:pt x="405" y="97"/>
                </a:cubicBezTo>
                <a:cubicBezTo>
                  <a:pt x="430" y="84"/>
                  <a:pt x="455" y="71"/>
                  <a:pt x="481" y="61"/>
                </a:cubicBezTo>
                <a:cubicBezTo>
                  <a:pt x="530" y="40"/>
                  <a:pt x="582" y="24"/>
                  <a:pt x="636" y="14"/>
                </a:cubicBezTo>
                <a:cubicBezTo>
                  <a:pt x="636" y="14"/>
                  <a:pt x="636" y="14"/>
                  <a:pt x="636" y="14"/>
                </a:cubicBezTo>
                <a:cubicBezTo>
                  <a:pt x="675" y="6"/>
                  <a:pt x="715" y="1"/>
                  <a:pt x="755" y="0"/>
                </a:cubicBezTo>
                <a:cubicBezTo>
                  <a:pt x="760" y="0"/>
                  <a:pt x="764" y="3"/>
                  <a:pt x="764" y="8"/>
                </a:cubicBezTo>
                <a:cubicBezTo>
                  <a:pt x="764" y="13"/>
                  <a:pt x="760" y="17"/>
                  <a:pt x="756" y="17"/>
                </a:cubicBezTo>
                <a:cubicBezTo>
                  <a:pt x="717" y="18"/>
                  <a:pt x="677" y="23"/>
                  <a:pt x="639" y="30"/>
                </a:cubicBezTo>
                <a:cubicBezTo>
                  <a:pt x="639" y="30"/>
                  <a:pt x="639" y="30"/>
                  <a:pt x="639" y="30"/>
                </a:cubicBezTo>
                <a:cubicBezTo>
                  <a:pt x="587" y="40"/>
                  <a:pt x="536" y="56"/>
                  <a:pt x="487" y="76"/>
                </a:cubicBezTo>
                <a:cubicBezTo>
                  <a:pt x="462" y="87"/>
                  <a:pt x="438" y="99"/>
                  <a:pt x="414" y="112"/>
                </a:cubicBezTo>
                <a:cubicBezTo>
                  <a:pt x="412" y="113"/>
                  <a:pt x="411" y="113"/>
                  <a:pt x="410" y="113"/>
                </a:cubicBezTo>
                <a:close/>
                <a:moveTo>
                  <a:pt x="840" y="18"/>
                </a:moveTo>
                <a:cubicBezTo>
                  <a:pt x="840" y="18"/>
                  <a:pt x="840" y="18"/>
                  <a:pt x="839" y="18"/>
                </a:cubicBezTo>
                <a:cubicBezTo>
                  <a:pt x="832" y="18"/>
                  <a:pt x="824" y="17"/>
                  <a:pt x="817" y="17"/>
                </a:cubicBezTo>
                <a:cubicBezTo>
                  <a:pt x="812" y="17"/>
                  <a:pt x="809" y="13"/>
                  <a:pt x="809" y="8"/>
                </a:cubicBezTo>
                <a:cubicBezTo>
                  <a:pt x="809" y="3"/>
                  <a:pt x="813" y="0"/>
                  <a:pt x="818" y="0"/>
                </a:cubicBezTo>
                <a:cubicBezTo>
                  <a:pt x="825" y="0"/>
                  <a:pt x="833" y="1"/>
                  <a:pt x="841" y="1"/>
                </a:cubicBezTo>
                <a:cubicBezTo>
                  <a:pt x="845" y="2"/>
                  <a:pt x="849" y="6"/>
                  <a:pt x="849" y="10"/>
                </a:cubicBezTo>
                <a:cubicBezTo>
                  <a:pt x="848" y="15"/>
                  <a:pt x="844" y="18"/>
                  <a:pt x="840" y="18"/>
                </a:cubicBezTo>
                <a:close/>
              </a:path>
            </a:pathLst>
          </a:custGeom>
          <a:solidFill>
            <a:schemeClr val="accent2"/>
          </a:solidFill>
          <a:ln>
            <a:noFill/>
          </a:ln>
        </p:spPr>
        <p:txBody>
          <a:bodyPr vert="horz" wrap="square" lIns="45714" tIns="22857" rIns="45714" bIns="22857" numCol="1" anchor="t" anchorCtr="0" compatLnSpc="1">
            <a:prstTxWarp prst="textNoShape">
              <a:avLst/>
            </a:prstTxWarp>
          </a:body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US" sz="900" b="0" i="0" u="none" strike="noStrike" kern="1200" cap="none" spc="0" normalizeH="0" baseline="0" noProof="0">
              <a:ln>
                <a:noFill/>
              </a:ln>
              <a:solidFill>
                <a:srgbClr val="343A3F"/>
              </a:solidFill>
              <a:effectLst/>
              <a:uLnTx/>
              <a:uFillTx/>
              <a:latin typeface="Roboto Light"/>
              <a:ea typeface="+mn-ea"/>
              <a:cs typeface="+mn-cs"/>
            </a:endParaRPr>
          </a:p>
        </p:txBody>
      </p:sp>
      <p:sp>
        <p:nvSpPr>
          <p:cNvPr id="14" name="Freeform 13">
            <a:extLst>
              <a:ext uri="{FF2B5EF4-FFF2-40B4-BE49-F238E27FC236}">
                <a16:creationId xmlns:a16="http://schemas.microsoft.com/office/drawing/2014/main" id="{FF84FCE8-9C38-4344-A088-D1680417690D}"/>
              </a:ext>
            </a:extLst>
          </p:cNvPr>
          <p:cNvSpPr>
            <a:spLocks noEditPoints="1"/>
          </p:cNvSpPr>
          <p:nvPr/>
        </p:nvSpPr>
        <p:spPr bwMode="auto">
          <a:xfrm>
            <a:off x="4511485" y="1689991"/>
            <a:ext cx="3169031" cy="3173257"/>
          </a:xfrm>
          <a:custGeom>
            <a:avLst/>
            <a:gdLst>
              <a:gd name="T0" fmla="*/ 733 w 1499"/>
              <a:gd name="T1" fmla="*/ 1483 h 1500"/>
              <a:gd name="T2" fmla="*/ 638 w 1499"/>
              <a:gd name="T3" fmla="*/ 1492 h 1500"/>
              <a:gd name="T4" fmla="*/ 639 w 1499"/>
              <a:gd name="T5" fmla="*/ 1475 h 1500"/>
              <a:gd name="T6" fmla="*/ 592 w 1499"/>
              <a:gd name="T7" fmla="*/ 1483 h 1500"/>
              <a:gd name="T8" fmla="*/ 601 w 1499"/>
              <a:gd name="T9" fmla="*/ 1470 h 1500"/>
              <a:gd name="T10" fmla="*/ 949 w 1499"/>
              <a:gd name="T11" fmla="*/ 1456 h 1500"/>
              <a:gd name="T12" fmla="*/ 952 w 1499"/>
              <a:gd name="T13" fmla="*/ 1472 h 1500"/>
              <a:gd name="T14" fmla="*/ 300 w 1499"/>
              <a:gd name="T15" fmla="*/ 1340 h 1500"/>
              <a:gd name="T16" fmla="*/ 1037 w 1499"/>
              <a:gd name="T17" fmla="*/ 1442 h 1500"/>
              <a:gd name="T18" fmla="*/ 1078 w 1499"/>
              <a:gd name="T19" fmla="*/ 1423 h 1500"/>
              <a:gd name="T20" fmla="*/ 1271 w 1499"/>
              <a:gd name="T21" fmla="*/ 1286 h 1500"/>
              <a:gd name="T22" fmla="*/ 272 w 1499"/>
              <a:gd name="T23" fmla="*/ 1325 h 1500"/>
              <a:gd name="T24" fmla="*/ 272 w 1499"/>
              <a:gd name="T25" fmla="*/ 1325 h 1500"/>
              <a:gd name="T26" fmla="*/ 201 w 1499"/>
              <a:gd name="T27" fmla="*/ 1248 h 1500"/>
              <a:gd name="T28" fmla="*/ 238 w 1499"/>
              <a:gd name="T29" fmla="*/ 1295 h 1500"/>
              <a:gd name="T30" fmla="*/ 1330 w 1499"/>
              <a:gd name="T31" fmla="*/ 1212 h 1500"/>
              <a:gd name="T32" fmla="*/ 170 w 1499"/>
              <a:gd name="T33" fmla="*/ 1226 h 1500"/>
              <a:gd name="T34" fmla="*/ 71 w 1499"/>
              <a:gd name="T35" fmla="*/ 1027 h 1500"/>
              <a:gd name="T36" fmla="*/ 1345 w 1499"/>
              <a:gd name="T37" fmla="*/ 1178 h 1500"/>
              <a:gd name="T38" fmla="*/ 1377 w 1499"/>
              <a:gd name="T39" fmla="*/ 1154 h 1500"/>
              <a:gd name="T40" fmla="*/ 1475 w 1499"/>
              <a:gd name="T41" fmla="*/ 941 h 1500"/>
              <a:gd name="T42" fmla="*/ 38 w 1499"/>
              <a:gd name="T43" fmla="*/ 980 h 1500"/>
              <a:gd name="T44" fmla="*/ 46 w 1499"/>
              <a:gd name="T45" fmla="*/ 993 h 1500"/>
              <a:gd name="T46" fmla="*/ 31 w 1499"/>
              <a:gd name="T47" fmla="*/ 895 h 1500"/>
              <a:gd name="T48" fmla="*/ 1470 w 1499"/>
              <a:gd name="T49" fmla="*/ 900 h 1500"/>
              <a:gd name="T50" fmla="*/ 1486 w 1499"/>
              <a:gd name="T51" fmla="*/ 897 h 1500"/>
              <a:gd name="T52" fmla="*/ 10 w 1499"/>
              <a:gd name="T53" fmla="*/ 625 h 1500"/>
              <a:gd name="T54" fmla="*/ 15 w 1499"/>
              <a:gd name="T55" fmla="*/ 861 h 1500"/>
              <a:gd name="T56" fmla="*/ 1498 w 1499"/>
              <a:gd name="T57" fmla="*/ 806 h 1500"/>
              <a:gd name="T58" fmla="*/ 1486 w 1499"/>
              <a:gd name="T59" fmla="*/ 663 h 1500"/>
              <a:gd name="T60" fmla="*/ 1473 w 1499"/>
              <a:gd name="T61" fmla="*/ 628 h 1500"/>
              <a:gd name="T62" fmla="*/ 1481 w 1499"/>
              <a:gd name="T63" fmla="*/ 635 h 1500"/>
              <a:gd name="T64" fmla="*/ 29 w 1499"/>
              <a:gd name="T65" fmla="*/ 574 h 1500"/>
              <a:gd name="T66" fmla="*/ 1381 w 1499"/>
              <a:gd name="T67" fmla="*/ 377 h 1500"/>
              <a:gd name="T68" fmla="*/ 1474 w 1499"/>
              <a:gd name="T69" fmla="*/ 590 h 1500"/>
              <a:gd name="T70" fmla="*/ 45 w 1499"/>
              <a:gd name="T71" fmla="*/ 493 h 1500"/>
              <a:gd name="T72" fmla="*/ 66 w 1499"/>
              <a:gd name="T73" fmla="*/ 461 h 1500"/>
              <a:gd name="T74" fmla="*/ 197 w 1499"/>
              <a:gd name="T75" fmla="*/ 269 h 1500"/>
              <a:gd name="T76" fmla="*/ 1331 w 1499"/>
              <a:gd name="T77" fmla="*/ 303 h 1500"/>
              <a:gd name="T78" fmla="*/ 1369 w 1499"/>
              <a:gd name="T79" fmla="*/ 341 h 1500"/>
              <a:gd name="T80" fmla="*/ 1315 w 1499"/>
              <a:gd name="T81" fmla="*/ 257 h 1500"/>
              <a:gd name="T82" fmla="*/ 215 w 1499"/>
              <a:gd name="T83" fmla="*/ 224 h 1500"/>
              <a:gd name="T84" fmla="*/ 1250 w 1499"/>
              <a:gd name="T85" fmla="*/ 214 h 1500"/>
              <a:gd name="T86" fmla="*/ 1284 w 1499"/>
              <a:gd name="T87" fmla="*/ 224 h 1500"/>
              <a:gd name="T88" fmla="*/ 248 w 1499"/>
              <a:gd name="T89" fmla="*/ 192 h 1500"/>
              <a:gd name="T90" fmla="*/ 325 w 1499"/>
              <a:gd name="T91" fmla="*/ 151 h 1500"/>
              <a:gd name="T92" fmla="*/ 524 w 1499"/>
              <a:gd name="T93" fmla="*/ 34 h 1500"/>
              <a:gd name="T94" fmla="*/ 325 w 1499"/>
              <a:gd name="T95" fmla="*/ 151 h 1500"/>
              <a:gd name="T96" fmla="*/ 1060 w 1499"/>
              <a:gd name="T97" fmla="*/ 67 h 1500"/>
              <a:gd name="T98" fmla="*/ 964 w 1499"/>
              <a:gd name="T99" fmla="*/ 40 h 1500"/>
              <a:gd name="T100" fmla="*/ 562 w 1499"/>
              <a:gd name="T101" fmla="*/ 32 h 1500"/>
              <a:gd name="T102" fmla="*/ 572 w 1499"/>
              <a:gd name="T103" fmla="*/ 39 h 1500"/>
              <a:gd name="T104" fmla="*/ 705 w 1499"/>
              <a:gd name="T105" fmla="*/ 18 h 1500"/>
              <a:gd name="T106" fmla="*/ 936 w 1499"/>
              <a:gd name="T107" fmla="*/ 26 h 1500"/>
              <a:gd name="T108" fmla="*/ 658 w 1499"/>
              <a:gd name="T109" fmla="*/ 6 h 1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99" h="1500">
                <a:moveTo>
                  <a:pt x="750" y="1500"/>
                </a:moveTo>
                <a:cubicBezTo>
                  <a:pt x="744" y="1500"/>
                  <a:pt x="738" y="1500"/>
                  <a:pt x="733" y="1500"/>
                </a:cubicBezTo>
                <a:cubicBezTo>
                  <a:pt x="716" y="1499"/>
                  <a:pt x="699" y="1498"/>
                  <a:pt x="682" y="1497"/>
                </a:cubicBezTo>
                <a:cubicBezTo>
                  <a:pt x="677" y="1497"/>
                  <a:pt x="674" y="1492"/>
                  <a:pt x="674" y="1488"/>
                </a:cubicBezTo>
                <a:cubicBezTo>
                  <a:pt x="675" y="1483"/>
                  <a:pt x="679" y="1480"/>
                  <a:pt x="684" y="1480"/>
                </a:cubicBezTo>
                <a:cubicBezTo>
                  <a:pt x="700" y="1482"/>
                  <a:pt x="717" y="1482"/>
                  <a:pt x="733" y="1483"/>
                </a:cubicBezTo>
                <a:cubicBezTo>
                  <a:pt x="739" y="1483"/>
                  <a:pt x="744" y="1483"/>
                  <a:pt x="750" y="1483"/>
                </a:cubicBezTo>
                <a:cubicBezTo>
                  <a:pt x="803" y="1483"/>
                  <a:pt x="855" y="1477"/>
                  <a:pt x="906" y="1466"/>
                </a:cubicBezTo>
                <a:cubicBezTo>
                  <a:pt x="911" y="1465"/>
                  <a:pt x="915" y="1468"/>
                  <a:pt x="916" y="1473"/>
                </a:cubicBezTo>
                <a:cubicBezTo>
                  <a:pt x="917" y="1477"/>
                  <a:pt x="914" y="1482"/>
                  <a:pt x="910" y="1483"/>
                </a:cubicBezTo>
                <a:cubicBezTo>
                  <a:pt x="857" y="1494"/>
                  <a:pt x="804" y="1500"/>
                  <a:pt x="750" y="1500"/>
                </a:cubicBezTo>
                <a:close/>
                <a:moveTo>
                  <a:pt x="638" y="1492"/>
                </a:moveTo>
                <a:cubicBezTo>
                  <a:pt x="638" y="1492"/>
                  <a:pt x="637" y="1492"/>
                  <a:pt x="637" y="1492"/>
                </a:cubicBezTo>
                <a:cubicBezTo>
                  <a:pt x="637" y="1491"/>
                  <a:pt x="637" y="1491"/>
                  <a:pt x="637" y="1491"/>
                </a:cubicBezTo>
                <a:cubicBezTo>
                  <a:pt x="634" y="1491"/>
                  <a:pt x="632" y="1490"/>
                  <a:pt x="631" y="1488"/>
                </a:cubicBezTo>
                <a:cubicBezTo>
                  <a:pt x="630" y="1486"/>
                  <a:pt x="629" y="1484"/>
                  <a:pt x="630" y="1482"/>
                </a:cubicBezTo>
                <a:cubicBezTo>
                  <a:pt x="630" y="1477"/>
                  <a:pt x="634" y="1474"/>
                  <a:pt x="639" y="1475"/>
                </a:cubicBezTo>
                <a:cubicBezTo>
                  <a:pt x="639" y="1475"/>
                  <a:pt x="639" y="1475"/>
                  <a:pt x="639" y="1475"/>
                </a:cubicBezTo>
                <a:cubicBezTo>
                  <a:pt x="639" y="1475"/>
                  <a:pt x="639" y="1475"/>
                  <a:pt x="639" y="1475"/>
                </a:cubicBezTo>
                <a:cubicBezTo>
                  <a:pt x="641" y="1475"/>
                  <a:pt x="643" y="1476"/>
                  <a:pt x="645" y="1478"/>
                </a:cubicBezTo>
                <a:cubicBezTo>
                  <a:pt x="646" y="1480"/>
                  <a:pt x="647" y="1482"/>
                  <a:pt x="646" y="1484"/>
                </a:cubicBezTo>
                <a:cubicBezTo>
                  <a:pt x="646" y="1489"/>
                  <a:pt x="642" y="1492"/>
                  <a:pt x="638" y="1492"/>
                </a:cubicBezTo>
                <a:close/>
                <a:moveTo>
                  <a:pt x="593" y="1484"/>
                </a:moveTo>
                <a:cubicBezTo>
                  <a:pt x="593" y="1484"/>
                  <a:pt x="592" y="1483"/>
                  <a:pt x="592" y="1483"/>
                </a:cubicBezTo>
                <a:cubicBezTo>
                  <a:pt x="577" y="1480"/>
                  <a:pt x="562" y="1476"/>
                  <a:pt x="547" y="1472"/>
                </a:cubicBezTo>
                <a:cubicBezTo>
                  <a:pt x="545" y="1472"/>
                  <a:pt x="543" y="1470"/>
                  <a:pt x="542" y="1468"/>
                </a:cubicBezTo>
                <a:cubicBezTo>
                  <a:pt x="541" y="1466"/>
                  <a:pt x="541" y="1464"/>
                  <a:pt x="541" y="1462"/>
                </a:cubicBezTo>
                <a:cubicBezTo>
                  <a:pt x="543" y="1458"/>
                  <a:pt x="547" y="1455"/>
                  <a:pt x="552" y="1456"/>
                </a:cubicBezTo>
                <a:cubicBezTo>
                  <a:pt x="566" y="1460"/>
                  <a:pt x="581" y="1464"/>
                  <a:pt x="595" y="1467"/>
                </a:cubicBezTo>
                <a:cubicBezTo>
                  <a:pt x="597" y="1467"/>
                  <a:pt x="599" y="1469"/>
                  <a:pt x="601" y="1470"/>
                </a:cubicBezTo>
                <a:cubicBezTo>
                  <a:pt x="602" y="1472"/>
                  <a:pt x="602" y="1475"/>
                  <a:pt x="602" y="1477"/>
                </a:cubicBezTo>
                <a:cubicBezTo>
                  <a:pt x="601" y="1481"/>
                  <a:pt x="597" y="1484"/>
                  <a:pt x="593" y="1484"/>
                </a:cubicBezTo>
                <a:close/>
                <a:moveTo>
                  <a:pt x="952" y="1472"/>
                </a:moveTo>
                <a:cubicBezTo>
                  <a:pt x="948" y="1472"/>
                  <a:pt x="945" y="1470"/>
                  <a:pt x="944" y="1466"/>
                </a:cubicBezTo>
                <a:cubicBezTo>
                  <a:pt x="943" y="1464"/>
                  <a:pt x="943" y="1462"/>
                  <a:pt x="944" y="1460"/>
                </a:cubicBezTo>
                <a:cubicBezTo>
                  <a:pt x="946" y="1458"/>
                  <a:pt x="947" y="1456"/>
                  <a:pt x="949" y="1456"/>
                </a:cubicBezTo>
                <a:cubicBezTo>
                  <a:pt x="964" y="1452"/>
                  <a:pt x="978" y="1447"/>
                  <a:pt x="992" y="1442"/>
                </a:cubicBezTo>
                <a:cubicBezTo>
                  <a:pt x="996" y="1441"/>
                  <a:pt x="1001" y="1443"/>
                  <a:pt x="1003" y="1447"/>
                </a:cubicBezTo>
                <a:cubicBezTo>
                  <a:pt x="1005" y="1452"/>
                  <a:pt x="1002" y="1457"/>
                  <a:pt x="998" y="1458"/>
                </a:cubicBezTo>
                <a:cubicBezTo>
                  <a:pt x="983" y="1463"/>
                  <a:pt x="969" y="1468"/>
                  <a:pt x="954" y="1472"/>
                </a:cubicBezTo>
                <a:cubicBezTo>
                  <a:pt x="954" y="1472"/>
                  <a:pt x="954" y="1472"/>
                  <a:pt x="954" y="1472"/>
                </a:cubicBezTo>
                <a:cubicBezTo>
                  <a:pt x="953" y="1472"/>
                  <a:pt x="953" y="1472"/>
                  <a:pt x="952" y="1472"/>
                </a:cubicBezTo>
                <a:close/>
                <a:moveTo>
                  <a:pt x="506" y="1459"/>
                </a:moveTo>
                <a:cubicBezTo>
                  <a:pt x="505" y="1459"/>
                  <a:pt x="504" y="1459"/>
                  <a:pt x="504" y="1459"/>
                </a:cubicBezTo>
                <a:cubicBezTo>
                  <a:pt x="486" y="1453"/>
                  <a:pt x="468" y="1446"/>
                  <a:pt x="451" y="1438"/>
                </a:cubicBezTo>
                <a:cubicBezTo>
                  <a:pt x="399" y="1415"/>
                  <a:pt x="348" y="1386"/>
                  <a:pt x="302" y="1352"/>
                </a:cubicBezTo>
                <a:cubicBezTo>
                  <a:pt x="302" y="1352"/>
                  <a:pt x="302" y="1352"/>
                  <a:pt x="302" y="1352"/>
                </a:cubicBezTo>
                <a:cubicBezTo>
                  <a:pt x="298" y="1349"/>
                  <a:pt x="298" y="1344"/>
                  <a:pt x="300" y="1340"/>
                </a:cubicBezTo>
                <a:cubicBezTo>
                  <a:pt x="303" y="1336"/>
                  <a:pt x="309" y="1336"/>
                  <a:pt x="312" y="1338"/>
                </a:cubicBezTo>
                <a:cubicBezTo>
                  <a:pt x="358" y="1372"/>
                  <a:pt x="406" y="1400"/>
                  <a:pt x="458" y="1423"/>
                </a:cubicBezTo>
                <a:cubicBezTo>
                  <a:pt x="475" y="1430"/>
                  <a:pt x="492" y="1437"/>
                  <a:pt x="509" y="1443"/>
                </a:cubicBezTo>
                <a:cubicBezTo>
                  <a:pt x="514" y="1444"/>
                  <a:pt x="516" y="1449"/>
                  <a:pt x="514" y="1453"/>
                </a:cubicBezTo>
                <a:cubicBezTo>
                  <a:pt x="513" y="1457"/>
                  <a:pt x="510" y="1459"/>
                  <a:pt x="506" y="1459"/>
                </a:cubicBezTo>
                <a:close/>
                <a:moveTo>
                  <a:pt x="1037" y="1442"/>
                </a:moveTo>
                <a:cubicBezTo>
                  <a:pt x="1034" y="1442"/>
                  <a:pt x="1031" y="1440"/>
                  <a:pt x="1029" y="1437"/>
                </a:cubicBezTo>
                <a:cubicBezTo>
                  <a:pt x="1028" y="1433"/>
                  <a:pt x="1030" y="1428"/>
                  <a:pt x="1034" y="1426"/>
                </a:cubicBezTo>
                <a:cubicBezTo>
                  <a:pt x="1038" y="1424"/>
                  <a:pt x="1043" y="1426"/>
                  <a:pt x="1045" y="1431"/>
                </a:cubicBezTo>
                <a:cubicBezTo>
                  <a:pt x="1047" y="1435"/>
                  <a:pt x="1045" y="1440"/>
                  <a:pt x="1040" y="1442"/>
                </a:cubicBezTo>
                <a:cubicBezTo>
                  <a:pt x="1039" y="1442"/>
                  <a:pt x="1038" y="1442"/>
                  <a:pt x="1037" y="1442"/>
                </a:cubicBezTo>
                <a:close/>
                <a:moveTo>
                  <a:pt x="1078" y="1423"/>
                </a:moveTo>
                <a:cubicBezTo>
                  <a:pt x="1075" y="1423"/>
                  <a:pt x="1072" y="1422"/>
                  <a:pt x="1071" y="1419"/>
                </a:cubicBezTo>
                <a:cubicBezTo>
                  <a:pt x="1069" y="1415"/>
                  <a:pt x="1070" y="1409"/>
                  <a:pt x="1075" y="1407"/>
                </a:cubicBezTo>
                <a:cubicBezTo>
                  <a:pt x="1139" y="1376"/>
                  <a:pt x="1198" y="1335"/>
                  <a:pt x="1250" y="1286"/>
                </a:cubicBezTo>
                <a:cubicBezTo>
                  <a:pt x="1253" y="1283"/>
                  <a:pt x="1255" y="1281"/>
                  <a:pt x="1257" y="1279"/>
                </a:cubicBezTo>
                <a:cubicBezTo>
                  <a:pt x="1260" y="1276"/>
                  <a:pt x="1266" y="1276"/>
                  <a:pt x="1269" y="1280"/>
                </a:cubicBezTo>
                <a:cubicBezTo>
                  <a:pt x="1270" y="1281"/>
                  <a:pt x="1271" y="1283"/>
                  <a:pt x="1271" y="1286"/>
                </a:cubicBezTo>
                <a:cubicBezTo>
                  <a:pt x="1271" y="1288"/>
                  <a:pt x="1270" y="1290"/>
                  <a:pt x="1269" y="1292"/>
                </a:cubicBezTo>
                <a:cubicBezTo>
                  <a:pt x="1267" y="1294"/>
                  <a:pt x="1264" y="1296"/>
                  <a:pt x="1262" y="1298"/>
                </a:cubicBezTo>
                <a:cubicBezTo>
                  <a:pt x="1208" y="1348"/>
                  <a:pt x="1148" y="1390"/>
                  <a:pt x="1082" y="1423"/>
                </a:cubicBezTo>
                <a:cubicBezTo>
                  <a:pt x="1082" y="1423"/>
                  <a:pt x="1082" y="1423"/>
                  <a:pt x="1082" y="1423"/>
                </a:cubicBezTo>
                <a:cubicBezTo>
                  <a:pt x="1081" y="1423"/>
                  <a:pt x="1080" y="1423"/>
                  <a:pt x="1078" y="1423"/>
                </a:cubicBezTo>
                <a:close/>
                <a:moveTo>
                  <a:pt x="272" y="1325"/>
                </a:moveTo>
                <a:cubicBezTo>
                  <a:pt x="270" y="1325"/>
                  <a:pt x="268" y="1325"/>
                  <a:pt x="266" y="1323"/>
                </a:cubicBezTo>
                <a:cubicBezTo>
                  <a:pt x="265" y="1322"/>
                  <a:pt x="264" y="1320"/>
                  <a:pt x="263" y="1318"/>
                </a:cubicBezTo>
                <a:cubicBezTo>
                  <a:pt x="263" y="1315"/>
                  <a:pt x="264" y="1313"/>
                  <a:pt x="265" y="1312"/>
                </a:cubicBezTo>
                <a:cubicBezTo>
                  <a:pt x="268" y="1308"/>
                  <a:pt x="274" y="1308"/>
                  <a:pt x="277" y="1310"/>
                </a:cubicBezTo>
                <a:cubicBezTo>
                  <a:pt x="281" y="1314"/>
                  <a:pt x="281" y="1319"/>
                  <a:pt x="278" y="1322"/>
                </a:cubicBezTo>
                <a:cubicBezTo>
                  <a:pt x="277" y="1324"/>
                  <a:pt x="274" y="1325"/>
                  <a:pt x="272" y="1325"/>
                </a:cubicBezTo>
                <a:close/>
                <a:moveTo>
                  <a:pt x="238" y="1295"/>
                </a:moveTo>
                <a:cubicBezTo>
                  <a:pt x="236" y="1295"/>
                  <a:pt x="234" y="1294"/>
                  <a:pt x="232" y="1293"/>
                </a:cubicBezTo>
                <a:cubicBezTo>
                  <a:pt x="226" y="1287"/>
                  <a:pt x="219" y="1280"/>
                  <a:pt x="213" y="1274"/>
                </a:cubicBezTo>
                <a:cubicBezTo>
                  <a:pt x="209" y="1270"/>
                  <a:pt x="205" y="1265"/>
                  <a:pt x="200" y="1260"/>
                </a:cubicBezTo>
                <a:cubicBezTo>
                  <a:pt x="200" y="1260"/>
                  <a:pt x="200" y="1260"/>
                  <a:pt x="200" y="1260"/>
                </a:cubicBezTo>
                <a:cubicBezTo>
                  <a:pt x="197" y="1257"/>
                  <a:pt x="197" y="1251"/>
                  <a:pt x="201" y="1248"/>
                </a:cubicBezTo>
                <a:cubicBezTo>
                  <a:pt x="204" y="1245"/>
                  <a:pt x="209" y="1245"/>
                  <a:pt x="213" y="1249"/>
                </a:cubicBezTo>
                <a:cubicBezTo>
                  <a:pt x="217" y="1254"/>
                  <a:pt x="221" y="1258"/>
                  <a:pt x="226" y="1262"/>
                </a:cubicBezTo>
                <a:cubicBezTo>
                  <a:pt x="232" y="1269"/>
                  <a:pt x="238" y="1275"/>
                  <a:pt x="244" y="1281"/>
                </a:cubicBezTo>
                <a:cubicBezTo>
                  <a:pt x="246" y="1282"/>
                  <a:pt x="247" y="1284"/>
                  <a:pt x="247" y="1287"/>
                </a:cubicBezTo>
                <a:cubicBezTo>
                  <a:pt x="247" y="1289"/>
                  <a:pt x="246" y="1291"/>
                  <a:pt x="244" y="1293"/>
                </a:cubicBezTo>
                <a:cubicBezTo>
                  <a:pt x="243" y="1294"/>
                  <a:pt x="240" y="1295"/>
                  <a:pt x="238" y="1295"/>
                </a:cubicBezTo>
                <a:close/>
                <a:moveTo>
                  <a:pt x="1294" y="1262"/>
                </a:moveTo>
                <a:cubicBezTo>
                  <a:pt x="1292" y="1262"/>
                  <a:pt x="1290" y="1261"/>
                  <a:pt x="1289" y="1259"/>
                </a:cubicBezTo>
                <a:cubicBezTo>
                  <a:pt x="1287" y="1258"/>
                  <a:pt x="1286" y="1256"/>
                  <a:pt x="1286" y="1253"/>
                </a:cubicBezTo>
                <a:cubicBezTo>
                  <a:pt x="1286" y="1251"/>
                  <a:pt x="1287" y="1249"/>
                  <a:pt x="1288" y="1247"/>
                </a:cubicBezTo>
                <a:cubicBezTo>
                  <a:pt x="1298" y="1237"/>
                  <a:pt x="1308" y="1225"/>
                  <a:pt x="1318" y="1214"/>
                </a:cubicBezTo>
                <a:cubicBezTo>
                  <a:pt x="1320" y="1210"/>
                  <a:pt x="1326" y="1210"/>
                  <a:pt x="1330" y="1212"/>
                </a:cubicBezTo>
                <a:cubicBezTo>
                  <a:pt x="1331" y="1214"/>
                  <a:pt x="1332" y="1216"/>
                  <a:pt x="1333" y="1218"/>
                </a:cubicBezTo>
                <a:cubicBezTo>
                  <a:pt x="1333" y="1220"/>
                  <a:pt x="1332" y="1223"/>
                  <a:pt x="1331" y="1224"/>
                </a:cubicBezTo>
                <a:cubicBezTo>
                  <a:pt x="1321" y="1236"/>
                  <a:pt x="1311" y="1248"/>
                  <a:pt x="1301" y="1259"/>
                </a:cubicBezTo>
                <a:cubicBezTo>
                  <a:pt x="1299" y="1261"/>
                  <a:pt x="1297" y="1262"/>
                  <a:pt x="1294" y="1262"/>
                </a:cubicBezTo>
                <a:close/>
                <a:moveTo>
                  <a:pt x="177" y="1229"/>
                </a:moveTo>
                <a:cubicBezTo>
                  <a:pt x="174" y="1229"/>
                  <a:pt x="172" y="1228"/>
                  <a:pt x="170" y="1226"/>
                </a:cubicBezTo>
                <a:cubicBezTo>
                  <a:pt x="122" y="1167"/>
                  <a:pt x="83" y="1103"/>
                  <a:pt x="55" y="1033"/>
                </a:cubicBezTo>
                <a:cubicBezTo>
                  <a:pt x="55" y="1032"/>
                  <a:pt x="54" y="1031"/>
                  <a:pt x="54" y="1030"/>
                </a:cubicBezTo>
                <a:cubicBezTo>
                  <a:pt x="52" y="1025"/>
                  <a:pt x="54" y="1021"/>
                  <a:pt x="58" y="1019"/>
                </a:cubicBezTo>
                <a:cubicBezTo>
                  <a:pt x="63" y="1017"/>
                  <a:pt x="68" y="1019"/>
                  <a:pt x="69" y="1023"/>
                </a:cubicBezTo>
                <a:cubicBezTo>
                  <a:pt x="70" y="1024"/>
                  <a:pt x="70" y="1025"/>
                  <a:pt x="70" y="1026"/>
                </a:cubicBezTo>
                <a:cubicBezTo>
                  <a:pt x="71" y="1027"/>
                  <a:pt x="71" y="1027"/>
                  <a:pt x="71" y="1027"/>
                </a:cubicBezTo>
                <a:cubicBezTo>
                  <a:pt x="98" y="1095"/>
                  <a:pt x="136" y="1158"/>
                  <a:pt x="183" y="1215"/>
                </a:cubicBezTo>
                <a:cubicBezTo>
                  <a:pt x="186" y="1219"/>
                  <a:pt x="186" y="1224"/>
                  <a:pt x="182" y="1227"/>
                </a:cubicBezTo>
                <a:cubicBezTo>
                  <a:pt x="180" y="1228"/>
                  <a:pt x="179" y="1229"/>
                  <a:pt x="177" y="1229"/>
                </a:cubicBezTo>
                <a:close/>
                <a:moveTo>
                  <a:pt x="1352" y="1192"/>
                </a:moveTo>
                <a:cubicBezTo>
                  <a:pt x="1350" y="1192"/>
                  <a:pt x="1348" y="1191"/>
                  <a:pt x="1347" y="1190"/>
                </a:cubicBezTo>
                <a:cubicBezTo>
                  <a:pt x="1343" y="1187"/>
                  <a:pt x="1342" y="1182"/>
                  <a:pt x="1345" y="1178"/>
                </a:cubicBezTo>
                <a:cubicBezTo>
                  <a:pt x="1345" y="1178"/>
                  <a:pt x="1345" y="1178"/>
                  <a:pt x="1345" y="1178"/>
                </a:cubicBezTo>
                <a:cubicBezTo>
                  <a:pt x="1345" y="1178"/>
                  <a:pt x="1345" y="1178"/>
                  <a:pt x="1345" y="1178"/>
                </a:cubicBezTo>
                <a:cubicBezTo>
                  <a:pt x="1348" y="1174"/>
                  <a:pt x="1353" y="1174"/>
                  <a:pt x="1357" y="1176"/>
                </a:cubicBezTo>
                <a:cubicBezTo>
                  <a:pt x="1360" y="1179"/>
                  <a:pt x="1361" y="1184"/>
                  <a:pt x="1359" y="1188"/>
                </a:cubicBezTo>
                <a:cubicBezTo>
                  <a:pt x="1357" y="1190"/>
                  <a:pt x="1354" y="1192"/>
                  <a:pt x="1352" y="1192"/>
                </a:cubicBezTo>
                <a:close/>
                <a:moveTo>
                  <a:pt x="1377" y="1154"/>
                </a:moveTo>
                <a:cubicBezTo>
                  <a:pt x="1375" y="1154"/>
                  <a:pt x="1374" y="1154"/>
                  <a:pt x="1373" y="1153"/>
                </a:cubicBezTo>
                <a:cubicBezTo>
                  <a:pt x="1369" y="1150"/>
                  <a:pt x="1367" y="1145"/>
                  <a:pt x="1370" y="1141"/>
                </a:cubicBezTo>
                <a:cubicBezTo>
                  <a:pt x="1387" y="1114"/>
                  <a:pt x="1402" y="1086"/>
                  <a:pt x="1416" y="1057"/>
                </a:cubicBezTo>
                <a:cubicBezTo>
                  <a:pt x="1433" y="1019"/>
                  <a:pt x="1448" y="978"/>
                  <a:pt x="1459" y="937"/>
                </a:cubicBezTo>
                <a:cubicBezTo>
                  <a:pt x="1460" y="932"/>
                  <a:pt x="1465" y="930"/>
                  <a:pt x="1469" y="931"/>
                </a:cubicBezTo>
                <a:cubicBezTo>
                  <a:pt x="1474" y="932"/>
                  <a:pt x="1476" y="937"/>
                  <a:pt x="1475" y="941"/>
                </a:cubicBezTo>
                <a:cubicBezTo>
                  <a:pt x="1464" y="983"/>
                  <a:pt x="1449" y="1025"/>
                  <a:pt x="1431" y="1064"/>
                </a:cubicBezTo>
                <a:cubicBezTo>
                  <a:pt x="1417" y="1094"/>
                  <a:pt x="1402" y="1123"/>
                  <a:pt x="1384" y="1150"/>
                </a:cubicBezTo>
                <a:cubicBezTo>
                  <a:pt x="1383" y="1153"/>
                  <a:pt x="1380" y="1154"/>
                  <a:pt x="1377" y="1154"/>
                </a:cubicBezTo>
                <a:close/>
                <a:moveTo>
                  <a:pt x="46" y="993"/>
                </a:moveTo>
                <a:cubicBezTo>
                  <a:pt x="42" y="993"/>
                  <a:pt x="39" y="990"/>
                  <a:pt x="38" y="987"/>
                </a:cubicBezTo>
                <a:cubicBezTo>
                  <a:pt x="37" y="985"/>
                  <a:pt x="37" y="982"/>
                  <a:pt x="38" y="980"/>
                </a:cubicBezTo>
                <a:cubicBezTo>
                  <a:pt x="39" y="978"/>
                  <a:pt x="41" y="977"/>
                  <a:pt x="43" y="976"/>
                </a:cubicBezTo>
                <a:cubicBezTo>
                  <a:pt x="48" y="975"/>
                  <a:pt x="52" y="977"/>
                  <a:pt x="54" y="981"/>
                </a:cubicBezTo>
                <a:cubicBezTo>
                  <a:pt x="54" y="981"/>
                  <a:pt x="54" y="981"/>
                  <a:pt x="54" y="981"/>
                </a:cubicBezTo>
                <a:cubicBezTo>
                  <a:pt x="54" y="981"/>
                  <a:pt x="54" y="981"/>
                  <a:pt x="54" y="981"/>
                </a:cubicBezTo>
                <a:cubicBezTo>
                  <a:pt x="55" y="986"/>
                  <a:pt x="53" y="991"/>
                  <a:pt x="49" y="992"/>
                </a:cubicBezTo>
                <a:cubicBezTo>
                  <a:pt x="48" y="992"/>
                  <a:pt x="47" y="993"/>
                  <a:pt x="46" y="993"/>
                </a:cubicBezTo>
                <a:close/>
                <a:moveTo>
                  <a:pt x="33" y="949"/>
                </a:moveTo>
                <a:cubicBezTo>
                  <a:pt x="29" y="949"/>
                  <a:pt x="26" y="947"/>
                  <a:pt x="25" y="943"/>
                </a:cubicBezTo>
                <a:cubicBezTo>
                  <a:pt x="21" y="928"/>
                  <a:pt x="17" y="913"/>
                  <a:pt x="14" y="898"/>
                </a:cubicBezTo>
                <a:cubicBezTo>
                  <a:pt x="14" y="896"/>
                  <a:pt x="14" y="894"/>
                  <a:pt x="16" y="892"/>
                </a:cubicBezTo>
                <a:cubicBezTo>
                  <a:pt x="17" y="890"/>
                  <a:pt x="19" y="889"/>
                  <a:pt x="21" y="888"/>
                </a:cubicBezTo>
                <a:cubicBezTo>
                  <a:pt x="26" y="887"/>
                  <a:pt x="30" y="891"/>
                  <a:pt x="31" y="895"/>
                </a:cubicBezTo>
                <a:cubicBezTo>
                  <a:pt x="34" y="910"/>
                  <a:pt x="37" y="924"/>
                  <a:pt x="41" y="939"/>
                </a:cubicBezTo>
                <a:cubicBezTo>
                  <a:pt x="42" y="943"/>
                  <a:pt x="40" y="948"/>
                  <a:pt x="35" y="949"/>
                </a:cubicBezTo>
                <a:cubicBezTo>
                  <a:pt x="34" y="949"/>
                  <a:pt x="34" y="949"/>
                  <a:pt x="33" y="949"/>
                </a:cubicBezTo>
                <a:close/>
                <a:moveTo>
                  <a:pt x="1477" y="903"/>
                </a:moveTo>
                <a:cubicBezTo>
                  <a:pt x="1477" y="903"/>
                  <a:pt x="1476" y="903"/>
                  <a:pt x="1476" y="903"/>
                </a:cubicBezTo>
                <a:cubicBezTo>
                  <a:pt x="1473" y="903"/>
                  <a:pt x="1471" y="901"/>
                  <a:pt x="1470" y="900"/>
                </a:cubicBezTo>
                <a:cubicBezTo>
                  <a:pt x="1469" y="898"/>
                  <a:pt x="1468" y="895"/>
                  <a:pt x="1469" y="893"/>
                </a:cubicBezTo>
                <a:cubicBezTo>
                  <a:pt x="1472" y="879"/>
                  <a:pt x="1474" y="864"/>
                  <a:pt x="1476" y="849"/>
                </a:cubicBezTo>
                <a:cubicBezTo>
                  <a:pt x="1477" y="845"/>
                  <a:pt x="1481" y="841"/>
                  <a:pt x="1486" y="842"/>
                </a:cubicBezTo>
                <a:cubicBezTo>
                  <a:pt x="1488" y="842"/>
                  <a:pt x="1490" y="843"/>
                  <a:pt x="1491" y="845"/>
                </a:cubicBezTo>
                <a:cubicBezTo>
                  <a:pt x="1493" y="847"/>
                  <a:pt x="1493" y="849"/>
                  <a:pt x="1493" y="851"/>
                </a:cubicBezTo>
                <a:cubicBezTo>
                  <a:pt x="1491" y="866"/>
                  <a:pt x="1488" y="882"/>
                  <a:pt x="1486" y="897"/>
                </a:cubicBezTo>
                <a:cubicBezTo>
                  <a:pt x="1485" y="897"/>
                  <a:pt x="1485" y="897"/>
                  <a:pt x="1485" y="897"/>
                </a:cubicBezTo>
                <a:cubicBezTo>
                  <a:pt x="1485" y="901"/>
                  <a:pt x="1481" y="903"/>
                  <a:pt x="1477" y="903"/>
                </a:cubicBezTo>
                <a:close/>
                <a:moveTo>
                  <a:pt x="15" y="861"/>
                </a:moveTo>
                <a:cubicBezTo>
                  <a:pt x="11" y="861"/>
                  <a:pt x="7" y="857"/>
                  <a:pt x="7" y="853"/>
                </a:cubicBezTo>
                <a:cubicBezTo>
                  <a:pt x="2" y="819"/>
                  <a:pt x="0" y="784"/>
                  <a:pt x="0" y="750"/>
                </a:cubicBezTo>
                <a:cubicBezTo>
                  <a:pt x="0" y="708"/>
                  <a:pt x="3" y="666"/>
                  <a:pt x="10" y="625"/>
                </a:cubicBezTo>
                <a:cubicBezTo>
                  <a:pt x="11" y="621"/>
                  <a:pt x="15" y="618"/>
                  <a:pt x="20" y="618"/>
                </a:cubicBezTo>
                <a:cubicBezTo>
                  <a:pt x="24" y="619"/>
                  <a:pt x="28" y="624"/>
                  <a:pt x="27" y="628"/>
                </a:cubicBezTo>
                <a:cubicBezTo>
                  <a:pt x="20" y="668"/>
                  <a:pt x="17" y="709"/>
                  <a:pt x="17" y="750"/>
                </a:cubicBezTo>
                <a:cubicBezTo>
                  <a:pt x="17" y="784"/>
                  <a:pt x="19" y="818"/>
                  <a:pt x="24" y="851"/>
                </a:cubicBezTo>
                <a:cubicBezTo>
                  <a:pt x="24" y="856"/>
                  <a:pt x="21" y="860"/>
                  <a:pt x="16" y="861"/>
                </a:cubicBezTo>
                <a:cubicBezTo>
                  <a:pt x="16" y="861"/>
                  <a:pt x="16" y="861"/>
                  <a:pt x="15" y="861"/>
                </a:cubicBezTo>
                <a:close/>
                <a:moveTo>
                  <a:pt x="1489" y="814"/>
                </a:moveTo>
                <a:cubicBezTo>
                  <a:pt x="1489" y="814"/>
                  <a:pt x="1489" y="814"/>
                  <a:pt x="1489" y="814"/>
                </a:cubicBezTo>
                <a:cubicBezTo>
                  <a:pt x="1486" y="814"/>
                  <a:pt x="1484" y="813"/>
                  <a:pt x="1483" y="811"/>
                </a:cubicBezTo>
                <a:cubicBezTo>
                  <a:pt x="1481" y="809"/>
                  <a:pt x="1481" y="807"/>
                  <a:pt x="1481" y="805"/>
                </a:cubicBezTo>
                <a:cubicBezTo>
                  <a:pt x="1481" y="800"/>
                  <a:pt x="1485" y="796"/>
                  <a:pt x="1490" y="797"/>
                </a:cubicBezTo>
                <a:cubicBezTo>
                  <a:pt x="1495" y="797"/>
                  <a:pt x="1498" y="801"/>
                  <a:pt x="1498" y="806"/>
                </a:cubicBezTo>
                <a:cubicBezTo>
                  <a:pt x="1497" y="810"/>
                  <a:pt x="1494" y="814"/>
                  <a:pt x="1489" y="814"/>
                </a:cubicBezTo>
                <a:close/>
                <a:moveTo>
                  <a:pt x="1491" y="725"/>
                </a:moveTo>
                <a:cubicBezTo>
                  <a:pt x="1486" y="725"/>
                  <a:pt x="1482" y="721"/>
                  <a:pt x="1482" y="716"/>
                </a:cubicBezTo>
                <a:cubicBezTo>
                  <a:pt x="1481" y="702"/>
                  <a:pt x="1480" y="687"/>
                  <a:pt x="1479" y="672"/>
                </a:cubicBezTo>
                <a:cubicBezTo>
                  <a:pt x="1479" y="670"/>
                  <a:pt x="1479" y="667"/>
                  <a:pt x="1481" y="666"/>
                </a:cubicBezTo>
                <a:cubicBezTo>
                  <a:pt x="1482" y="664"/>
                  <a:pt x="1484" y="663"/>
                  <a:pt x="1486" y="663"/>
                </a:cubicBezTo>
                <a:cubicBezTo>
                  <a:pt x="1491" y="662"/>
                  <a:pt x="1495" y="665"/>
                  <a:pt x="1496" y="670"/>
                </a:cubicBezTo>
                <a:cubicBezTo>
                  <a:pt x="1497" y="685"/>
                  <a:pt x="1498" y="700"/>
                  <a:pt x="1499" y="716"/>
                </a:cubicBezTo>
                <a:cubicBezTo>
                  <a:pt x="1499" y="720"/>
                  <a:pt x="1496" y="724"/>
                  <a:pt x="1491" y="725"/>
                </a:cubicBezTo>
                <a:cubicBezTo>
                  <a:pt x="1491" y="725"/>
                  <a:pt x="1491" y="725"/>
                  <a:pt x="1491" y="725"/>
                </a:cubicBezTo>
                <a:close/>
                <a:moveTo>
                  <a:pt x="1481" y="635"/>
                </a:moveTo>
                <a:cubicBezTo>
                  <a:pt x="1477" y="635"/>
                  <a:pt x="1473" y="632"/>
                  <a:pt x="1473" y="628"/>
                </a:cubicBezTo>
                <a:cubicBezTo>
                  <a:pt x="1472" y="625"/>
                  <a:pt x="1473" y="623"/>
                  <a:pt x="1474" y="621"/>
                </a:cubicBezTo>
                <a:cubicBezTo>
                  <a:pt x="1475" y="619"/>
                  <a:pt x="1477" y="618"/>
                  <a:pt x="1480" y="618"/>
                </a:cubicBezTo>
                <a:cubicBezTo>
                  <a:pt x="1484" y="617"/>
                  <a:pt x="1489" y="620"/>
                  <a:pt x="1489" y="625"/>
                </a:cubicBezTo>
                <a:cubicBezTo>
                  <a:pt x="1490" y="627"/>
                  <a:pt x="1489" y="629"/>
                  <a:pt x="1488" y="631"/>
                </a:cubicBezTo>
                <a:cubicBezTo>
                  <a:pt x="1487" y="633"/>
                  <a:pt x="1485" y="634"/>
                  <a:pt x="1482" y="635"/>
                </a:cubicBezTo>
                <a:cubicBezTo>
                  <a:pt x="1482" y="635"/>
                  <a:pt x="1482" y="635"/>
                  <a:pt x="1481" y="635"/>
                </a:cubicBezTo>
                <a:close/>
                <a:moveTo>
                  <a:pt x="27" y="591"/>
                </a:moveTo>
                <a:cubicBezTo>
                  <a:pt x="27" y="591"/>
                  <a:pt x="27" y="591"/>
                  <a:pt x="27" y="591"/>
                </a:cubicBezTo>
                <a:cubicBezTo>
                  <a:pt x="27" y="591"/>
                  <a:pt x="27" y="591"/>
                  <a:pt x="27" y="591"/>
                </a:cubicBezTo>
                <a:cubicBezTo>
                  <a:pt x="27" y="591"/>
                  <a:pt x="26" y="591"/>
                  <a:pt x="25" y="591"/>
                </a:cubicBezTo>
                <a:cubicBezTo>
                  <a:pt x="21" y="590"/>
                  <a:pt x="18" y="585"/>
                  <a:pt x="19" y="580"/>
                </a:cubicBezTo>
                <a:cubicBezTo>
                  <a:pt x="20" y="576"/>
                  <a:pt x="25" y="573"/>
                  <a:pt x="29" y="574"/>
                </a:cubicBezTo>
                <a:cubicBezTo>
                  <a:pt x="34" y="575"/>
                  <a:pt x="37" y="580"/>
                  <a:pt x="35" y="584"/>
                </a:cubicBezTo>
                <a:cubicBezTo>
                  <a:pt x="35" y="588"/>
                  <a:pt x="31" y="591"/>
                  <a:pt x="27" y="591"/>
                </a:cubicBezTo>
                <a:close/>
                <a:moveTo>
                  <a:pt x="1472" y="590"/>
                </a:moveTo>
                <a:cubicBezTo>
                  <a:pt x="1468" y="590"/>
                  <a:pt x="1465" y="588"/>
                  <a:pt x="1464" y="584"/>
                </a:cubicBezTo>
                <a:cubicBezTo>
                  <a:pt x="1453" y="535"/>
                  <a:pt x="1436" y="488"/>
                  <a:pt x="1416" y="443"/>
                </a:cubicBezTo>
                <a:cubicBezTo>
                  <a:pt x="1405" y="420"/>
                  <a:pt x="1394" y="398"/>
                  <a:pt x="1381" y="377"/>
                </a:cubicBezTo>
                <a:cubicBezTo>
                  <a:pt x="1379" y="373"/>
                  <a:pt x="1380" y="368"/>
                  <a:pt x="1384" y="365"/>
                </a:cubicBezTo>
                <a:cubicBezTo>
                  <a:pt x="1388" y="363"/>
                  <a:pt x="1393" y="364"/>
                  <a:pt x="1396" y="368"/>
                </a:cubicBezTo>
                <a:cubicBezTo>
                  <a:pt x="1408" y="390"/>
                  <a:pt x="1420" y="413"/>
                  <a:pt x="1431" y="436"/>
                </a:cubicBezTo>
                <a:cubicBezTo>
                  <a:pt x="1452" y="481"/>
                  <a:pt x="1469" y="530"/>
                  <a:pt x="1480" y="579"/>
                </a:cubicBezTo>
                <a:cubicBezTo>
                  <a:pt x="1480" y="580"/>
                  <a:pt x="1480" y="580"/>
                  <a:pt x="1480" y="580"/>
                </a:cubicBezTo>
                <a:cubicBezTo>
                  <a:pt x="1481" y="584"/>
                  <a:pt x="1479" y="589"/>
                  <a:pt x="1474" y="590"/>
                </a:cubicBezTo>
                <a:cubicBezTo>
                  <a:pt x="1473" y="590"/>
                  <a:pt x="1473" y="590"/>
                  <a:pt x="1472" y="590"/>
                </a:cubicBezTo>
                <a:close/>
                <a:moveTo>
                  <a:pt x="39" y="547"/>
                </a:moveTo>
                <a:cubicBezTo>
                  <a:pt x="38" y="547"/>
                  <a:pt x="37" y="547"/>
                  <a:pt x="36" y="547"/>
                </a:cubicBezTo>
                <a:cubicBezTo>
                  <a:pt x="34" y="546"/>
                  <a:pt x="32" y="545"/>
                  <a:pt x="31" y="543"/>
                </a:cubicBezTo>
                <a:cubicBezTo>
                  <a:pt x="30" y="541"/>
                  <a:pt x="30" y="538"/>
                  <a:pt x="31" y="536"/>
                </a:cubicBezTo>
                <a:cubicBezTo>
                  <a:pt x="35" y="522"/>
                  <a:pt x="40" y="507"/>
                  <a:pt x="45" y="493"/>
                </a:cubicBezTo>
                <a:cubicBezTo>
                  <a:pt x="47" y="488"/>
                  <a:pt x="52" y="486"/>
                  <a:pt x="56" y="488"/>
                </a:cubicBezTo>
                <a:cubicBezTo>
                  <a:pt x="60" y="489"/>
                  <a:pt x="63" y="494"/>
                  <a:pt x="61" y="499"/>
                </a:cubicBezTo>
                <a:cubicBezTo>
                  <a:pt x="56" y="513"/>
                  <a:pt x="51" y="527"/>
                  <a:pt x="47" y="541"/>
                </a:cubicBezTo>
                <a:cubicBezTo>
                  <a:pt x="46" y="545"/>
                  <a:pt x="42" y="547"/>
                  <a:pt x="39" y="547"/>
                </a:cubicBezTo>
                <a:close/>
                <a:moveTo>
                  <a:pt x="70" y="462"/>
                </a:moveTo>
                <a:cubicBezTo>
                  <a:pt x="69" y="462"/>
                  <a:pt x="67" y="462"/>
                  <a:pt x="66" y="461"/>
                </a:cubicBezTo>
                <a:cubicBezTo>
                  <a:pt x="64" y="461"/>
                  <a:pt x="63" y="459"/>
                  <a:pt x="62" y="457"/>
                </a:cubicBezTo>
                <a:cubicBezTo>
                  <a:pt x="61" y="455"/>
                  <a:pt x="61" y="452"/>
                  <a:pt x="62" y="450"/>
                </a:cubicBezTo>
                <a:cubicBezTo>
                  <a:pt x="93" y="380"/>
                  <a:pt x="134" y="316"/>
                  <a:pt x="184" y="258"/>
                </a:cubicBezTo>
                <a:cubicBezTo>
                  <a:pt x="184" y="258"/>
                  <a:pt x="184" y="258"/>
                  <a:pt x="184" y="258"/>
                </a:cubicBezTo>
                <a:cubicBezTo>
                  <a:pt x="187" y="254"/>
                  <a:pt x="193" y="254"/>
                  <a:pt x="196" y="257"/>
                </a:cubicBezTo>
                <a:cubicBezTo>
                  <a:pt x="199" y="260"/>
                  <a:pt x="200" y="265"/>
                  <a:pt x="197" y="269"/>
                </a:cubicBezTo>
                <a:cubicBezTo>
                  <a:pt x="147" y="325"/>
                  <a:pt x="107" y="389"/>
                  <a:pt x="78" y="457"/>
                </a:cubicBezTo>
                <a:cubicBezTo>
                  <a:pt x="76" y="460"/>
                  <a:pt x="73" y="462"/>
                  <a:pt x="70" y="462"/>
                </a:cubicBezTo>
                <a:close/>
                <a:moveTo>
                  <a:pt x="1364" y="343"/>
                </a:moveTo>
                <a:cubicBezTo>
                  <a:pt x="1364" y="343"/>
                  <a:pt x="1364" y="343"/>
                  <a:pt x="1364" y="343"/>
                </a:cubicBezTo>
                <a:cubicBezTo>
                  <a:pt x="1361" y="343"/>
                  <a:pt x="1359" y="341"/>
                  <a:pt x="1357" y="339"/>
                </a:cubicBezTo>
                <a:cubicBezTo>
                  <a:pt x="1349" y="327"/>
                  <a:pt x="1340" y="315"/>
                  <a:pt x="1331" y="303"/>
                </a:cubicBezTo>
                <a:cubicBezTo>
                  <a:pt x="1328" y="299"/>
                  <a:pt x="1329" y="294"/>
                  <a:pt x="1332" y="291"/>
                </a:cubicBezTo>
                <a:cubicBezTo>
                  <a:pt x="1336" y="288"/>
                  <a:pt x="1341" y="289"/>
                  <a:pt x="1344" y="293"/>
                </a:cubicBezTo>
                <a:cubicBezTo>
                  <a:pt x="1353" y="304"/>
                  <a:pt x="1362" y="317"/>
                  <a:pt x="1371" y="330"/>
                </a:cubicBezTo>
                <a:cubicBezTo>
                  <a:pt x="1371" y="330"/>
                  <a:pt x="1371" y="330"/>
                  <a:pt x="1371" y="330"/>
                </a:cubicBezTo>
                <a:cubicBezTo>
                  <a:pt x="1372" y="332"/>
                  <a:pt x="1373" y="334"/>
                  <a:pt x="1372" y="336"/>
                </a:cubicBezTo>
                <a:cubicBezTo>
                  <a:pt x="1372" y="338"/>
                  <a:pt x="1371" y="340"/>
                  <a:pt x="1369" y="341"/>
                </a:cubicBezTo>
                <a:cubicBezTo>
                  <a:pt x="1367" y="342"/>
                  <a:pt x="1366" y="343"/>
                  <a:pt x="1364" y="343"/>
                </a:cubicBezTo>
                <a:close/>
                <a:moveTo>
                  <a:pt x="1309" y="271"/>
                </a:moveTo>
                <a:cubicBezTo>
                  <a:pt x="1306" y="271"/>
                  <a:pt x="1304" y="270"/>
                  <a:pt x="1302" y="268"/>
                </a:cubicBezTo>
                <a:cubicBezTo>
                  <a:pt x="1301" y="267"/>
                  <a:pt x="1300" y="264"/>
                  <a:pt x="1300" y="262"/>
                </a:cubicBezTo>
                <a:cubicBezTo>
                  <a:pt x="1300" y="260"/>
                  <a:pt x="1301" y="258"/>
                  <a:pt x="1303" y="256"/>
                </a:cubicBezTo>
                <a:cubicBezTo>
                  <a:pt x="1307" y="253"/>
                  <a:pt x="1312" y="254"/>
                  <a:pt x="1315" y="257"/>
                </a:cubicBezTo>
                <a:cubicBezTo>
                  <a:pt x="1315" y="257"/>
                  <a:pt x="1315" y="257"/>
                  <a:pt x="1315" y="257"/>
                </a:cubicBezTo>
                <a:cubicBezTo>
                  <a:pt x="1318" y="261"/>
                  <a:pt x="1318" y="266"/>
                  <a:pt x="1314" y="269"/>
                </a:cubicBezTo>
                <a:cubicBezTo>
                  <a:pt x="1313" y="270"/>
                  <a:pt x="1311" y="271"/>
                  <a:pt x="1309" y="271"/>
                </a:cubicBezTo>
                <a:close/>
                <a:moveTo>
                  <a:pt x="221" y="238"/>
                </a:moveTo>
                <a:cubicBezTo>
                  <a:pt x="219" y="238"/>
                  <a:pt x="217" y="238"/>
                  <a:pt x="215" y="236"/>
                </a:cubicBezTo>
                <a:cubicBezTo>
                  <a:pt x="212" y="233"/>
                  <a:pt x="212" y="227"/>
                  <a:pt x="215" y="224"/>
                </a:cubicBezTo>
                <a:cubicBezTo>
                  <a:pt x="218" y="221"/>
                  <a:pt x="224" y="221"/>
                  <a:pt x="227" y="224"/>
                </a:cubicBezTo>
                <a:cubicBezTo>
                  <a:pt x="230" y="227"/>
                  <a:pt x="230" y="233"/>
                  <a:pt x="227" y="236"/>
                </a:cubicBezTo>
                <a:cubicBezTo>
                  <a:pt x="226" y="238"/>
                  <a:pt x="223" y="238"/>
                  <a:pt x="221" y="238"/>
                </a:cubicBezTo>
                <a:close/>
                <a:moveTo>
                  <a:pt x="1278" y="238"/>
                </a:moveTo>
                <a:cubicBezTo>
                  <a:pt x="1276" y="238"/>
                  <a:pt x="1274" y="237"/>
                  <a:pt x="1272" y="236"/>
                </a:cubicBezTo>
                <a:cubicBezTo>
                  <a:pt x="1265" y="228"/>
                  <a:pt x="1257" y="221"/>
                  <a:pt x="1250" y="214"/>
                </a:cubicBezTo>
                <a:cubicBezTo>
                  <a:pt x="1203" y="170"/>
                  <a:pt x="1150" y="133"/>
                  <a:pt x="1093" y="102"/>
                </a:cubicBezTo>
                <a:cubicBezTo>
                  <a:pt x="1091" y="101"/>
                  <a:pt x="1090" y="99"/>
                  <a:pt x="1089" y="97"/>
                </a:cubicBezTo>
                <a:cubicBezTo>
                  <a:pt x="1089" y="95"/>
                  <a:pt x="1089" y="93"/>
                  <a:pt x="1090" y="91"/>
                </a:cubicBezTo>
                <a:cubicBezTo>
                  <a:pt x="1092" y="87"/>
                  <a:pt x="1097" y="85"/>
                  <a:pt x="1101" y="87"/>
                </a:cubicBezTo>
                <a:cubicBezTo>
                  <a:pt x="1160" y="118"/>
                  <a:pt x="1214" y="157"/>
                  <a:pt x="1262" y="202"/>
                </a:cubicBezTo>
                <a:cubicBezTo>
                  <a:pt x="1269" y="209"/>
                  <a:pt x="1277" y="216"/>
                  <a:pt x="1284" y="224"/>
                </a:cubicBezTo>
                <a:cubicBezTo>
                  <a:pt x="1287" y="227"/>
                  <a:pt x="1287" y="232"/>
                  <a:pt x="1284" y="236"/>
                </a:cubicBezTo>
                <a:cubicBezTo>
                  <a:pt x="1282" y="237"/>
                  <a:pt x="1280" y="238"/>
                  <a:pt x="1278" y="238"/>
                </a:cubicBezTo>
                <a:close/>
                <a:moveTo>
                  <a:pt x="254" y="207"/>
                </a:moveTo>
                <a:cubicBezTo>
                  <a:pt x="251" y="207"/>
                  <a:pt x="249" y="206"/>
                  <a:pt x="247" y="204"/>
                </a:cubicBezTo>
                <a:cubicBezTo>
                  <a:pt x="246" y="203"/>
                  <a:pt x="245" y="201"/>
                  <a:pt x="245" y="198"/>
                </a:cubicBezTo>
                <a:cubicBezTo>
                  <a:pt x="245" y="196"/>
                  <a:pt x="246" y="194"/>
                  <a:pt x="248" y="192"/>
                </a:cubicBezTo>
                <a:cubicBezTo>
                  <a:pt x="259" y="182"/>
                  <a:pt x="271" y="172"/>
                  <a:pt x="283" y="163"/>
                </a:cubicBezTo>
                <a:cubicBezTo>
                  <a:pt x="287" y="160"/>
                  <a:pt x="292" y="161"/>
                  <a:pt x="295" y="164"/>
                </a:cubicBezTo>
                <a:cubicBezTo>
                  <a:pt x="298" y="168"/>
                  <a:pt x="297" y="173"/>
                  <a:pt x="294" y="176"/>
                </a:cubicBezTo>
                <a:cubicBezTo>
                  <a:pt x="282" y="185"/>
                  <a:pt x="270" y="195"/>
                  <a:pt x="259" y="205"/>
                </a:cubicBezTo>
                <a:cubicBezTo>
                  <a:pt x="258" y="206"/>
                  <a:pt x="256" y="207"/>
                  <a:pt x="254" y="207"/>
                </a:cubicBezTo>
                <a:close/>
                <a:moveTo>
                  <a:pt x="325" y="151"/>
                </a:moveTo>
                <a:cubicBezTo>
                  <a:pt x="322" y="151"/>
                  <a:pt x="319" y="150"/>
                  <a:pt x="318" y="147"/>
                </a:cubicBezTo>
                <a:cubicBezTo>
                  <a:pt x="316" y="145"/>
                  <a:pt x="316" y="143"/>
                  <a:pt x="316" y="141"/>
                </a:cubicBezTo>
                <a:cubicBezTo>
                  <a:pt x="317" y="139"/>
                  <a:pt x="318" y="137"/>
                  <a:pt x="320" y="135"/>
                </a:cubicBezTo>
                <a:cubicBezTo>
                  <a:pt x="361" y="106"/>
                  <a:pt x="405" y="82"/>
                  <a:pt x="451" y="62"/>
                </a:cubicBezTo>
                <a:cubicBezTo>
                  <a:pt x="475" y="52"/>
                  <a:pt x="499" y="42"/>
                  <a:pt x="524" y="34"/>
                </a:cubicBezTo>
                <a:cubicBezTo>
                  <a:pt x="524" y="34"/>
                  <a:pt x="524" y="34"/>
                  <a:pt x="524" y="34"/>
                </a:cubicBezTo>
                <a:cubicBezTo>
                  <a:pt x="524" y="34"/>
                  <a:pt x="524" y="34"/>
                  <a:pt x="524" y="34"/>
                </a:cubicBezTo>
                <a:cubicBezTo>
                  <a:pt x="529" y="33"/>
                  <a:pt x="533" y="36"/>
                  <a:pt x="535" y="40"/>
                </a:cubicBezTo>
                <a:cubicBezTo>
                  <a:pt x="536" y="44"/>
                  <a:pt x="534" y="49"/>
                  <a:pt x="529" y="51"/>
                </a:cubicBezTo>
                <a:cubicBezTo>
                  <a:pt x="505" y="58"/>
                  <a:pt x="481" y="67"/>
                  <a:pt x="458" y="77"/>
                </a:cubicBezTo>
                <a:cubicBezTo>
                  <a:pt x="413" y="97"/>
                  <a:pt x="370" y="121"/>
                  <a:pt x="329" y="149"/>
                </a:cubicBezTo>
                <a:cubicBezTo>
                  <a:pt x="328" y="150"/>
                  <a:pt x="326" y="151"/>
                  <a:pt x="325" y="151"/>
                </a:cubicBezTo>
                <a:close/>
                <a:moveTo>
                  <a:pt x="1057" y="83"/>
                </a:moveTo>
                <a:cubicBezTo>
                  <a:pt x="1056" y="83"/>
                  <a:pt x="1054" y="83"/>
                  <a:pt x="1053" y="82"/>
                </a:cubicBezTo>
                <a:cubicBezTo>
                  <a:pt x="1040" y="76"/>
                  <a:pt x="1026" y="70"/>
                  <a:pt x="1012" y="65"/>
                </a:cubicBezTo>
                <a:cubicBezTo>
                  <a:pt x="1008" y="64"/>
                  <a:pt x="1005" y="59"/>
                  <a:pt x="1007" y="54"/>
                </a:cubicBezTo>
                <a:cubicBezTo>
                  <a:pt x="1009" y="50"/>
                  <a:pt x="1014" y="48"/>
                  <a:pt x="1018" y="49"/>
                </a:cubicBezTo>
                <a:cubicBezTo>
                  <a:pt x="1032" y="55"/>
                  <a:pt x="1046" y="61"/>
                  <a:pt x="1060" y="67"/>
                </a:cubicBezTo>
                <a:cubicBezTo>
                  <a:pt x="1065" y="69"/>
                  <a:pt x="1066" y="74"/>
                  <a:pt x="1064" y="78"/>
                </a:cubicBezTo>
                <a:cubicBezTo>
                  <a:pt x="1063" y="81"/>
                  <a:pt x="1060" y="83"/>
                  <a:pt x="1057" y="83"/>
                </a:cubicBezTo>
                <a:close/>
                <a:moveTo>
                  <a:pt x="972" y="51"/>
                </a:moveTo>
                <a:cubicBezTo>
                  <a:pt x="971" y="51"/>
                  <a:pt x="971" y="51"/>
                  <a:pt x="970" y="50"/>
                </a:cubicBezTo>
                <a:cubicBezTo>
                  <a:pt x="968" y="50"/>
                  <a:pt x="966" y="48"/>
                  <a:pt x="965" y="46"/>
                </a:cubicBezTo>
                <a:cubicBezTo>
                  <a:pt x="964" y="44"/>
                  <a:pt x="964" y="42"/>
                  <a:pt x="964" y="40"/>
                </a:cubicBezTo>
                <a:cubicBezTo>
                  <a:pt x="966" y="35"/>
                  <a:pt x="970" y="33"/>
                  <a:pt x="975" y="34"/>
                </a:cubicBezTo>
                <a:cubicBezTo>
                  <a:pt x="979" y="36"/>
                  <a:pt x="982" y="40"/>
                  <a:pt x="980" y="45"/>
                </a:cubicBezTo>
                <a:cubicBezTo>
                  <a:pt x="979" y="48"/>
                  <a:pt x="976" y="51"/>
                  <a:pt x="972" y="51"/>
                </a:cubicBezTo>
                <a:close/>
                <a:moveTo>
                  <a:pt x="570" y="39"/>
                </a:moveTo>
                <a:cubicBezTo>
                  <a:pt x="570" y="39"/>
                  <a:pt x="570" y="39"/>
                  <a:pt x="570" y="39"/>
                </a:cubicBezTo>
                <a:cubicBezTo>
                  <a:pt x="566" y="39"/>
                  <a:pt x="563" y="36"/>
                  <a:pt x="562" y="32"/>
                </a:cubicBezTo>
                <a:cubicBezTo>
                  <a:pt x="561" y="28"/>
                  <a:pt x="564" y="23"/>
                  <a:pt x="568" y="22"/>
                </a:cubicBezTo>
                <a:cubicBezTo>
                  <a:pt x="573" y="21"/>
                  <a:pt x="577" y="24"/>
                  <a:pt x="578" y="28"/>
                </a:cubicBezTo>
                <a:cubicBezTo>
                  <a:pt x="579" y="31"/>
                  <a:pt x="579" y="33"/>
                  <a:pt x="577" y="35"/>
                </a:cubicBezTo>
                <a:cubicBezTo>
                  <a:pt x="577" y="36"/>
                  <a:pt x="575" y="37"/>
                  <a:pt x="573" y="38"/>
                </a:cubicBezTo>
                <a:cubicBezTo>
                  <a:pt x="574" y="38"/>
                  <a:pt x="574" y="38"/>
                  <a:pt x="574" y="38"/>
                </a:cubicBezTo>
                <a:cubicBezTo>
                  <a:pt x="572" y="39"/>
                  <a:pt x="572" y="39"/>
                  <a:pt x="572" y="39"/>
                </a:cubicBezTo>
                <a:cubicBezTo>
                  <a:pt x="572" y="39"/>
                  <a:pt x="571" y="39"/>
                  <a:pt x="570" y="39"/>
                </a:cubicBezTo>
                <a:close/>
                <a:moveTo>
                  <a:pt x="929" y="39"/>
                </a:moveTo>
                <a:cubicBezTo>
                  <a:pt x="928" y="39"/>
                  <a:pt x="927" y="39"/>
                  <a:pt x="927" y="38"/>
                </a:cubicBezTo>
                <a:cubicBezTo>
                  <a:pt x="869" y="24"/>
                  <a:pt x="810" y="17"/>
                  <a:pt x="750" y="17"/>
                </a:cubicBezTo>
                <a:cubicBezTo>
                  <a:pt x="744" y="17"/>
                  <a:pt x="738" y="17"/>
                  <a:pt x="733" y="17"/>
                </a:cubicBezTo>
                <a:cubicBezTo>
                  <a:pt x="724" y="17"/>
                  <a:pt x="714" y="18"/>
                  <a:pt x="705" y="18"/>
                </a:cubicBezTo>
                <a:cubicBezTo>
                  <a:pt x="700" y="19"/>
                  <a:pt x="696" y="15"/>
                  <a:pt x="696" y="10"/>
                </a:cubicBezTo>
                <a:cubicBezTo>
                  <a:pt x="695" y="6"/>
                  <a:pt x="699" y="2"/>
                  <a:pt x="704" y="1"/>
                </a:cubicBezTo>
                <a:cubicBezTo>
                  <a:pt x="713" y="1"/>
                  <a:pt x="723" y="0"/>
                  <a:pt x="733" y="0"/>
                </a:cubicBezTo>
                <a:cubicBezTo>
                  <a:pt x="738" y="0"/>
                  <a:pt x="744" y="0"/>
                  <a:pt x="750" y="0"/>
                </a:cubicBezTo>
                <a:cubicBezTo>
                  <a:pt x="811" y="0"/>
                  <a:pt x="872" y="7"/>
                  <a:pt x="931" y="22"/>
                </a:cubicBezTo>
                <a:cubicBezTo>
                  <a:pt x="933" y="23"/>
                  <a:pt x="935" y="24"/>
                  <a:pt x="936" y="26"/>
                </a:cubicBezTo>
                <a:cubicBezTo>
                  <a:pt x="937" y="28"/>
                  <a:pt x="938" y="30"/>
                  <a:pt x="937" y="32"/>
                </a:cubicBezTo>
                <a:cubicBezTo>
                  <a:pt x="936" y="36"/>
                  <a:pt x="933" y="39"/>
                  <a:pt x="929" y="39"/>
                </a:cubicBezTo>
                <a:close/>
                <a:moveTo>
                  <a:pt x="614" y="29"/>
                </a:moveTo>
                <a:cubicBezTo>
                  <a:pt x="610" y="29"/>
                  <a:pt x="607" y="26"/>
                  <a:pt x="606" y="22"/>
                </a:cubicBezTo>
                <a:cubicBezTo>
                  <a:pt x="605" y="18"/>
                  <a:pt x="608" y="13"/>
                  <a:pt x="613" y="12"/>
                </a:cubicBezTo>
                <a:cubicBezTo>
                  <a:pt x="628" y="10"/>
                  <a:pt x="643" y="7"/>
                  <a:pt x="658" y="6"/>
                </a:cubicBezTo>
                <a:cubicBezTo>
                  <a:pt x="658" y="6"/>
                  <a:pt x="658" y="6"/>
                  <a:pt x="658" y="6"/>
                </a:cubicBezTo>
                <a:cubicBezTo>
                  <a:pt x="663" y="5"/>
                  <a:pt x="667" y="8"/>
                  <a:pt x="668" y="13"/>
                </a:cubicBezTo>
                <a:cubicBezTo>
                  <a:pt x="668" y="18"/>
                  <a:pt x="665" y="22"/>
                  <a:pt x="660" y="22"/>
                </a:cubicBezTo>
                <a:cubicBezTo>
                  <a:pt x="645" y="24"/>
                  <a:pt x="631" y="26"/>
                  <a:pt x="616" y="29"/>
                </a:cubicBezTo>
                <a:cubicBezTo>
                  <a:pt x="615" y="29"/>
                  <a:pt x="615" y="29"/>
                  <a:pt x="614" y="29"/>
                </a:cubicBezTo>
                <a:close/>
              </a:path>
            </a:pathLst>
          </a:custGeom>
          <a:solidFill>
            <a:schemeClr val="accent2"/>
          </a:solidFill>
          <a:ln>
            <a:noFill/>
          </a:ln>
        </p:spPr>
        <p:txBody>
          <a:bodyPr vert="horz" wrap="square" lIns="45714" tIns="22857" rIns="45714" bIns="22857" numCol="1" anchor="t" anchorCtr="0" compatLnSpc="1">
            <a:prstTxWarp prst="textNoShape">
              <a:avLst/>
            </a:prstTxWarp>
          </a:body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US" sz="900" b="0" i="0" u="none" strike="noStrike" kern="1200" cap="none" spc="0" normalizeH="0" baseline="0" noProof="0">
              <a:ln>
                <a:noFill/>
              </a:ln>
              <a:solidFill>
                <a:srgbClr val="343A3F"/>
              </a:solidFill>
              <a:effectLst/>
              <a:uLnTx/>
              <a:uFillTx/>
              <a:latin typeface="Roboto Light"/>
              <a:ea typeface="+mn-ea"/>
              <a:cs typeface="+mn-cs"/>
            </a:endParaRPr>
          </a:p>
        </p:txBody>
      </p:sp>
      <p:sp>
        <p:nvSpPr>
          <p:cNvPr id="18" name="TextBox 17">
            <a:extLst>
              <a:ext uri="{FF2B5EF4-FFF2-40B4-BE49-F238E27FC236}">
                <a16:creationId xmlns:a16="http://schemas.microsoft.com/office/drawing/2014/main" id="{8F80BA44-89AE-4B13-A6B9-24B58E6647C9}"/>
              </a:ext>
            </a:extLst>
          </p:cNvPr>
          <p:cNvSpPr txBox="1"/>
          <p:nvPr/>
        </p:nvSpPr>
        <p:spPr>
          <a:xfrm>
            <a:off x="4870344" y="3419217"/>
            <a:ext cx="2451312" cy="1154034"/>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ct val="0"/>
              </a:spcBef>
              <a:spcAft>
                <a:spcPct val="0"/>
              </a:spcAft>
              <a:buClrTx/>
              <a:buSzTx/>
              <a:buFontTx/>
              <a:buNone/>
              <a:defRPr/>
            </a:pPr>
            <a:r>
              <a:rPr lang="en-US" sz="6899" b="1">
                <a:solidFill>
                  <a:srgbClr val="004C99"/>
                </a:solidFill>
                <a:latin typeface="Univia Pro"/>
              </a:rPr>
              <a:t>2026</a:t>
            </a:r>
            <a:endParaRPr kumimoji="0" lang="en-US" sz="6899" b="1" i="0" u="none" strike="noStrike" kern="1200" cap="none" spc="0" normalizeH="0" baseline="0" noProof="0" dirty="0">
              <a:ln>
                <a:noFill/>
              </a:ln>
              <a:solidFill>
                <a:srgbClr val="004C99"/>
              </a:solidFill>
              <a:effectLst/>
              <a:uLnTx/>
              <a:uFillTx/>
              <a:latin typeface="Univia Pro"/>
              <a:ea typeface="+mn-ea"/>
              <a:cs typeface="+mn-cs"/>
            </a:endParaRPr>
          </a:p>
        </p:txBody>
      </p:sp>
      <p:pic>
        <p:nvPicPr>
          <p:cNvPr id="3" name="תמונה 2" descr="תמונה שמכילה גרפיקה, סמל, לוגו, אומנות קליפיפם&#10;&#10;התיאור נוצר באופן אוטומטי">
            <a:extLst>
              <a:ext uri="{FF2B5EF4-FFF2-40B4-BE49-F238E27FC236}">
                <a16:creationId xmlns:a16="http://schemas.microsoft.com/office/drawing/2014/main" id="{B4AD9257-01BD-1A2A-61B1-80E87C0540B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588014" y="1222945"/>
            <a:ext cx="2494593" cy="2494593"/>
          </a:xfrm>
          <a:prstGeom prst="rect">
            <a:avLst/>
          </a:prstGeom>
        </p:spPr>
      </p:pic>
    </p:spTree>
    <p:extLst>
      <p:ext uri="{BB962C8B-B14F-4D97-AF65-F5344CB8AC3E}">
        <p14:creationId xmlns:p14="http://schemas.microsoft.com/office/powerpoint/2010/main" val="2551626593"/>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1" dur="1000" decel="100000" fill="hold" grpId="0" nodeType="withEffect">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cBhvr additive="base">
                                        <p:cTn id="7" dur="1000" fill="hold"/>
                                        <p:tgtEl>
                                          <p:spTgt spid="18"/>
                                        </p:tgtEl>
                                        <p:attrNameLst>
                                          <p:attrName>ppt_x</p:attrName>
                                        </p:attrNameLst>
                                      </p:cBhvr>
                                      <p:tavLst>
                                        <p:tav tm="0">
                                          <p:val>
                                            <p:strVal val="#ppt_x"/>
                                          </p:val>
                                        </p:tav>
                                        <p:tav tm="100000">
                                          <p:val>
                                            <p:strVal val="#ppt_x"/>
                                          </p:val>
                                        </p:tav>
                                      </p:tavLst>
                                    </p:anim>
                                    <p:anim calcmode="lin" valueType="num">
                                      <p:cBhvr additive="base">
                                        <p:cTn id="8" dur="1000" fill="hold"/>
                                        <p:tgtEl>
                                          <p:spTgt spid="18"/>
                                        </p:tgtEl>
                                        <p:attrNameLst>
                                          <p:attrName>ppt_y</p:attrName>
                                        </p:attrNameLst>
                                      </p:cBhvr>
                                      <p:tavLst>
                                        <p:tav tm="0">
                                          <p:val>
                                            <p:strVal val="0-#ppt_h/2"/>
                                          </p:val>
                                        </p:tav>
                                        <p:tav tm="100000">
                                          <p:val>
                                            <p:strVal val="#ppt_y"/>
                                          </p:val>
                                        </p:tav>
                                      </p:tavLst>
                                    </p:anim>
                                  </p:childTnLst>
                                </p:cTn>
                              </p:par>
                              <p:par>
                                <p:cTn id="9" presetID="49" presetClass="entr" presetSubtype="0" dur="1000" decel="100000" fill="hold" grpId="0" nodeType="withEffect">
                                  <p:stCondLst>
                                    <p:cond delay="0"/>
                                  </p:stCondLst>
                                  <p:childTnLst>
                                    <p:set>
                                      <p:cBhvr>
                                        <p:cTn id="10" dur="1" fill="hold">
                                          <p:stCondLst>
                                            <p:cond delay="0"/>
                                          </p:stCondLst>
                                        </p:cTn>
                                        <p:tgtEl>
                                          <p:spTgt spid="6"/>
                                        </p:tgtEl>
                                        <p:attrNameLst>
                                          <p:attrName>style.visibility</p:attrName>
                                        </p:attrNameLst>
                                      </p:cBhvr>
                                      <p:to>
                                        <p:strVal val="visible"/>
                                      </p:to>
                                    </p:set>
                                    <p:anim calcmode="lin" valueType="num">
                                      <p:cBhvr>
                                        <p:cTn id="11" dur="1000" fill="hold"/>
                                        <p:tgtEl>
                                          <p:spTgt spid="6"/>
                                        </p:tgtEl>
                                        <p:attrNameLst>
                                          <p:attrName>ppt_w</p:attrName>
                                        </p:attrNameLst>
                                      </p:cBhvr>
                                      <p:tavLst>
                                        <p:tav tm="0">
                                          <p:val>
                                            <p:fltVal val="0"/>
                                          </p:val>
                                        </p:tav>
                                        <p:tav tm="100000">
                                          <p:val>
                                            <p:strVal val="#ppt_w"/>
                                          </p:val>
                                        </p:tav>
                                      </p:tavLst>
                                    </p:anim>
                                    <p:anim calcmode="lin" valueType="num">
                                      <p:cBhvr>
                                        <p:cTn id="12" dur="1000" fill="hold"/>
                                        <p:tgtEl>
                                          <p:spTgt spid="6"/>
                                        </p:tgtEl>
                                        <p:attrNameLst>
                                          <p:attrName>ppt_h</p:attrName>
                                        </p:attrNameLst>
                                      </p:cBhvr>
                                      <p:tavLst>
                                        <p:tav tm="0">
                                          <p:val>
                                            <p:fltVal val="0"/>
                                          </p:val>
                                        </p:tav>
                                        <p:tav tm="100000">
                                          <p:val>
                                            <p:strVal val="#ppt_h"/>
                                          </p:val>
                                        </p:tav>
                                      </p:tavLst>
                                    </p:anim>
                                    <p:anim calcmode="lin" valueType="num">
                                      <p:cBhvr>
                                        <p:cTn id="13" dur="1000" fill="hold"/>
                                        <p:tgtEl>
                                          <p:spTgt spid="6"/>
                                        </p:tgtEl>
                                        <p:attrNameLst>
                                          <p:attrName>style.rotation</p:attrName>
                                        </p:attrNameLst>
                                      </p:cBhvr>
                                      <p:tavLst>
                                        <p:tav tm="0">
                                          <p:val>
                                            <p:fltVal val="360"/>
                                          </p:val>
                                        </p:tav>
                                        <p:tav tm="100000">
                                          <p:val>
                                            <p:fltVal val="0"/>
                                          </p:val>
                                        </p:tav>
                                      </p:tavLst>
                                    </p:anim>
                                    <p:animEffect transition="in" filter="fade">
                                      <p:cBhvr>
                                        <p:cTn id="14" dur="1000"/>
                                        <p:tgtEl>
                                          <p:spTgt spid="6"/>
                                        </p:tgtEl>
                                      </p:cBhvr>
                                    </p:animEffect>
                                  </p:childTnLst>
                                </p:cTn>
                              </p:par>
                              <p:par>
                                <p:cTn id="15" presetID="49" presetClass="entr" presetSubtype="0" dur="1000" decel="100000" fill="hold" grpId="0" nodeType="withEffect">
                                  <p:stCondLst>
                                    <p:cond delay="100"/>
                                  </p:stCondLst>
                                  <p:childTnLst>
                                    <p:set>
                                      <p:cBhvr>
                                        <p:cTn id="16" dur="1" fill="hold">
                                          <p:stCondLst>
                                            <p:cond delay="0"/>
                                          </p:stCondLst>
                                        </p:cTn>
                                        <p:tgtEl>
                                          <p:spTgt spid="7"/>
                                        </p:tgtEl>
                                        <p:attrNameLst>
                                          <p:attrName>style.visibility</p:attrName>
                                        </p:attrNameLst>
                                      </p:cBhvr>
                                      <p:to>
                                        <p:strVal val="visible"/>
                                      </p:to>
                                    </p:set>
                                    <p:anim calcmode="lin" valueType="num">
                                      <p:cBhvr>
                                        <p:cTn id="17" dur="1000" fill="hold"/>
                                        <p:tgtEl>
                                          <p:spTgt spid="7"/>
                                        </p:tgtEl>
                                        <p:attrNameLst>
                                          <p:attrName>ppt_w</p:attrName>
                                        </p:attrNameLst>
                                      </p:cBhvr>
                                      <p:tavLst>
                                        <p:tav tm="0">
                                          <p:val>
                                            <p:fltVal val="0"/>
                                          </p:val>
                                        </p:tav>
                                        <p:tav tm="100000">
                                          <p:val>
                                            <p:strVal val="#ppt_w"/>
                                          </p:val>
                                        </p:tav>
                                      </p:tavLst>
                                    </p:anim>
                                    <p:anim calcmode="lin" valueType="num">
                                      <p:cBhvr>
                                        <p:cTn id="18" dur="1000" fill="hold"/>
                                        <p:tgtEl>
                                          <p:spTgt spid="7"/>
                                        </p:tgtEl>
                                        <p:attrNameLst>
                                          <p:attrName>ppt_h</p:attrName>
                                        </p:attrNameLst>
                                      </p:cBhvr>
                                      <p:tavLst>
                                        <p:tav tm="0">
                                          <p:val>
                                            <p:fltVal val="0"/>
                                          </p:val>
                                        </p:tav>
                                        <p:tav tm="100000">
                                          <p:val>
                                            <p:strVal val="#ppt_h"/>
                                          </p:val>
                                        </p:tav>
                                      </p:tavLst>
                                    </p:anim>
                                    <p:anim calcmode="lin" valueType="num">
                                      <p:cBhvr>
                                        <p:cTn id="19" dur="1000" fill="hold"/>
                                        <p:tgtEl>
                                          <p:spTgt spid="7"/>
                                        </p:tgtEl>
                                        <p:attrNameLst>
                                          <p:attrName>style.rotation</p:attrName>
                                        </p:attrNameLst>
                                      </p:cBhvr>
                                      <p:tavLst>
                                        <p:tav tm="0">
                                          <p:val>
                                            <p:fltVal val="360"/>
                                          </p:val>
                                        </p:tav>
                                        <p:tav tm="100000">
                                          <p:val>
                                            <p:fltVal val="0"/>
                                          </p:val>
                                        </p:tav>
                                      </p:tavLst>
                                    </p:anim>
                                    <p:animEffect transition="in" filter="fade">
                                      <p:cBhvr>
                                        <p:cTn id="20" dur="1000"/>
                                        <p:tgtEl>
                                          <p:spTgt spid="7"/>
                                        </p:tgtEl>
                                      </p:cBhvr>
                                    </p:animEffect>
                                  </p:childTnLst>
                                </p:cTn>
                              </p:par>
                              <p:par>
                                <p:cTn id="21" presetID="49" presetClass="entr" presetSubtype="0" dur="1000" decel="100000" fill="hold" grpId="0" nodeType="withEffect">
                                  <p:stCondLst>
                                    <p:cond delay="200"/>
                                  </p:stCondLst>
                                  <p:childTnLst>
                                    <p:set>
                                      <p:cBhvr>
                                        <p:cTn id="22" dur="1" fill="hold">
                                          <p:stCondLst>
                                            <p:cond delay="0"/>
                                          </p:stCondLst>
                                        </p:cTn>
                                        <p:tgtEl>
                                          <p:spTgt spid="8"/>
                                        </p:tgtEl>
                                        <p:attrNameLst>
                                          <p:attrName>style.visibility</p:attrName>
                                        </p:attrNameLst>
                                      </p:cBhvr>
                                      <p:to>
                                        <p:strVal val="visible"/>
                                      </p:to>
                                    </p:set>
                                    <p:anim calcmode="lin" valueType="num">
                                      <p:cBhvr>
                                        <p:cTn id="23" dur="1000" fill="hold"/>
                                        <p:tgtEl>
                                          <p:spTgt spid="8"/>
                                        </p:tgtEl>
                                        <p:attrNameLst>
                                          <p:attrName>ppt_w</p:attrName>
                                        </p:attrNameLst>
                                      </p:cBhvr>
                                      <p:tavLst>
                                        <p:tav tm="0">
                                          <p:val>
                                            <p:fltVal val="0"/>
                                          </p:val>
                                        </p:tav>
                                        <p:tav tm="100000">
                                          <p:val>
                                            <p:strVal val="#ppt_w"/>
                                          </p:val>
                                        </p:tav>
                                      </p:tavLst>
                                    </p:anim>
                                    <p:anim calcmode="lin" valueType="num">
                                      <p:cBhvr>
                                        <p:cTn id="24" dur="1000" fill="hold"/>
                                        <p:tgtEl>
                                          <p:spTgt spid="8"/>
                                        </p:tgtEl>
                                        <p:attrNameLst>
                                          <p:attrName>ppt_h</p:attrName>
                                        </p:attrNameLst>
                                      </p:cBhvr>
                                      <p:tavLst>
                                        <p:tav tm="0">
                                          <p:val>
                                            <p:fltVal val="0"/>
                                          </p:val>
                                        </p:tav>
                                        <p:tav tm="100000">
                                          <p:val>
                                            <p:strVal val="#ppt_h"/>
                                          </p:val>
                                        </p:tav>
                                      </p:tavLst>
                                    </p:anim>
                                    <p:anim calcmode="lin" valueType="num">
                                      <p:cBhvr>
                                        <p:cTn id="25" dur="1000" fill="hold"/>
                                        <p:tgtEl>
                                          <p:spTgt spid="8"/>
                                        </p:tgtEl>
                                        <p:attrNameLst>
                                          <p:attrName>style.rotation</p:attrName>
                                        </p:attrNameLst>
                                      </p:cBhvr>
                                      <p:tavLst>
                                        <p:tav tm="0">
                                          <p:val>
                                            <p:fltVal val="360"/>
                                          </p:val>
                                        </p:tav>
                                        <p:tav tm="100000">
                                          <p:val>
                                            <p:fltVal val="0"/>
                                          </p:val>
                                        </p:tav>
                                      </p:tavLst>
                                    </p:anim>
                                    <p:animEffect transition="in" filter="fade">
                                      <p:cBhvr>
                                        <p:cTn id="26" dur="1000"/>
                                        <p:tgtEl>
                                          <p:spTgt spid="8"/>
                                        </p:tgtEl>
                                      </p:cBhvr>
                                    </p:animEffect>
                                  </p:childTnLst>
                                </p:cTn>
                              </p:par>
                              <p:par>
                                <p:cTn id="27" presetID="49" presetClass="entr" presetSubtype="0" dur="1000" decel="100000" fill="hold" grpId="0" nodeType="withEffect">
                                  <p:stCondLst>
                                    <p:cond delay="300"/>
                                  </p:stCondLst>
                                  <p:childTnLst>
                                    <p:set>
                                      <p:cBhvr>
                                        <p:cTn id="28" dur="1" fill="hold">
                                          <p:stCondLst>
                                            <p:cond delay="0"/>
                                          </p:stCondLst>
                                        </p:cTn>
                                        <p:tgtEl>
                                          <p:spTgt spid="9"/>
                                        </p:tgtEl>
                                        <p:attrNameLst>
                                          <p:attrName>style.visibility</p:attrName>
                                        </p:attrNameLst>
                                      </p:cBhvr>
                                      <p:to>
                                        <p:strVal val="visible"/>
                                      </p:to>
                                    </p:set>
                                    <p:anim calcmode="lin" valueType="num">
                                      <p:cBhvr>
                                        <p:cTn id="29" dur="1000" fill="hold"/>
                                        <p:tgtEl>
                                          <p:spTgt spid="9"/>
                                        </p:tgtEl>
                                        <p:attrNameLst>
                                          <p:attrName>ppt_w</p:attrName>
                                        </p:attrNameLst>
                                      </p:cBhvr>
                                      <p:tavLst>
                                        <p:tav tm="0">
                                          <p:val>
                                            <p:fltVal val="0"/>
                                          </p:val>
                                        </p:tav>
                                        <p:tav tm="100000">
                                          <p:val>
                                            <p:strVal val="#ppt_w"/>
                                          </p:val>
                                        </p:tav>
                                      </p:tavLst>
                                    </p:anim>
                                    <p:anim calcmode="lin" valueType="num">
                                      <p:cBhvr>
                                        <p:cTn id="30" dur="1000" fill="hold"/>
                                        <p:tgtEl>
                                          <p:spTgt spid="9"/>
                                        </p:tgtEl>
                                        <p:attrNameLst>
                                          <p:attrName>ppt_h</p:attrName>
                                        </p:attrNameLst>
                                      </p:cBhvr>
                                      <p:tavLst>
                                        <p:tav tm="0">
                                          <p:val>
                                            <p:fltVal val="0"/>
                                          </p:val>
                                        </p:tav>
                                        <p:tav tm="100000">
                                          <p:val>
                                            <p:strVal val="#ppt_h"/>
                                          </p:val>
                                        </p:tav>
                                      </p:tavLst>
                                    </p:anim>
                                    <p:anim calcmode="lin" valueType="num">
                                      <p:cBhvr>
                                        <p:cTn id="31" dur="1000" fill="hold"/>
                                        <p:tgtEl>
                                          <p:spTgt spid="9"/>
                                        </p:tgtEl>
                                        <p:attrNameLst>
                                          <p:attrName>style.rotation</p:attrName>
                                        </p:attrNameLst>
                                      </p:cBhvr>
                                      <p:tavLst>
                                        <p:tav tm="0">
                                          <p:val>
                                            <p:fltVal val="360"/>
                                          </p:val>
                                        </p:tav>
                                        <p:tav tm="100000">
                                          <p:val>
                                            <p:fltVal val="0"/>
                                          </p:val>
                                        </p:tav>
                                      </p:tavLst>
                                    </p:anim>
                                    <p:animEffect transition="in" filter="fade">
                                      <p:cBhvr>
                                        <p:cTn id="32" dur="1000"/>
                                        <p:tgtEl>
                                          <p:spTgt spid="9"/>
                                        </p:tgtEl>
                                      </p:cBhvr>
                                    </p:animEffect>
                                  </p:childTnLst>
                                </p:cTn>
                              </p:par>
                              <p:par>
                                <p:cTn id="33" presetID="49" presetClass="entr" presetSubtype="0" dur="1000" decel="100000" fill="hold" grpId="0" nodeType="withEffect">
                                  <p:stCondLst>
                                    <p:cond delay="400"/>
                                  </p:stCondLst>
                                  <p:childTnLst>
                                    <p:set>
                                      <p:cBhvr>
                                        <p:cTn id="34" dur="1" fill="hold">
                                          <p:stCondLst>
                                            <p:cond delay="0"/>
                                          </p:stCondLst>
                                        </p:cTn>
                                        <p:tgtEl>
                                          <p:spTgt spid="10"/>
                                        </p:tgtEl>
                                        <p:attrNameLst>
                                          <p:attrName>style.visibility</p:attrName>
                                        </p:attrNameLst>
                                      </p:cBhvr>
                                      <p:to>
                                        <p:strVal val="visible"/>
                                      </p:to>
                                    </p:set>
                                    <p:anim calcmode="lin" valueType="num">
                                      <p:cBhvr>
                                        <p:cTn id="35" dur="1000" fill="hold"/>
                                        <p:tgtEl>
                                          <p:spTgt spid="10"/>
                                        </p:tgtEl>
                                        <p:attrNameLst>
                                          <p:attrName>ppt_w</p:attrName>
                                        </p:attrNameLst>
                                      </p:cBhvr>
                                      <p:tavLst>
                                        <p:tav tm="0">
                                          <p:val>
                                            <p:fltVal val="0"/>
                                          </p:val>
                                        </p:tav>
                                        <p:tav tm="100000">
                                          <p:val>
                                            <p:strVal val="#ppt_w"/>
                                          </p:val>
                                        </p:tav>
                                      </p:tavLst>
                                    </p:anim>
                                    <p:anim calcmode="lin" valueType="num">
                                      <p:cBhvr>
                                        <p:cTn id="36" dur="1000" fill="hold"/>
                                        <p:tgtEl>
                                          <p:spTgt spid="10"/>
                                        </p:tgtEl>
                                        <p:attrNameLst>
                                          <p:attrName>ppt_h</p:attrName>
                                        </p:attrNameLst>
                                      </p:cBhvr>
                                      <p:tavLst>
                                        <p:tav tm="0">
                                          <p:val>
                                            <p:fltVal val="0"/>
                                          </p:val>
                                        </p:tav>
                                        <p:tav tm="100000">
                                          <p:val>
                                            <p:strVal val="#ppt_h"/>
                                          </p:val>
                                        </p:tav>
                                      </p:tavLst>
                                    </p:anim>
                                    <p:anim calcmode="lin" valueType="num">
                                      <p:cBhvr>
                                        <p:cTn id="37" dur="1000" fill="hold"/>
                                        <p:tgtEl>
                                          <p:spTgt spid="10"/>
                                        </p:tgtEl>
                                        <p:attrNameLst>
                                          <p:attrName>style.rotation</p:attrName>
                                        </p:attrNameLst>
                                      </p:cBhvr>
                                      <p:tavLst>
                                        <p:tav tm="0">
                                          <p:val>
                                            <p:fltVal val="360"/>
                                          </p:val>
                                        </p:tav>
                                        <p:tav tm="100000">
                                          <p:val>
                                            <p:fltVal val="0"/>
                                          </p:val>
                                        </p:tav>
                                      </p:tavLst>
                                    </p:anim>
                                    <p:animEffect transition="in" filter="fade">
                                      <p:cBhvr>
                                        <p:cTn id="38" dur="1000"/>
                                        <p:tgtEl>
                                          <p:spTgt spid="10"/>
                                        </p:tgtEl>
                                      </p:cBhvr>
                                    </p:animEffect>
                                  </p:childTnLst>
                                </p:cTn>
                              </p:par>
                              <p:par>
                                <p:cTn id="39" presetID="49" presetClass="entr" presetSubtype="0" dur="1000" decel="100000" fill="hold" grpId="0" nodeType="withEffect">
                                  <p:stCondLst>
                                    <p:cond delay="500"/>
                                  </p:stCondLst>
                                  <p:childTnLst>
                                    <p:set>
                                      <p:cBhvr>
                                        <p:cTn id="40" dur="1" fill="hold">
                                          <p:stCondLst>
                                            <p:cond delay="0"/>
                                          </p:stCondLst>
                                        </p:cTn>
                                        <p:tgtEl>
                                          <p:spTgt spid="11"/>
                                        </p:tgtEl>
                                        <p:attrNameLst>
                                          <p:attrName>style.visibility</p:attrName>
                                        </p:attrNameLst>
                                      </p:cBhvr>
                                      <p:to>
                                        <p:strVal val="visible"/>
                                      </p:to>
                                    </p:set>
                                    <p:anim calcmode="lin" valueType="num">
                                      <p:cBhvr>
                                        <p:cTn id="41" dur="1000" fill="hold"/>
                                        <p:tgtEl>
                                          <p:spTgt spid="11"/>
                                        </p:tgtEl>
                                        <p:attrNameLst>
                                          <p:attrName>ppt_w</p:attrName>
                                        </p:attrNameLst>
                                      </p:cBhvr>
                                      <p:tavLst>
                                        <p:tav tm="0">
                                          <p:val>
                                            <p:fltVal val="0"/>
                                          </p:val>
                                        </p:tav>
                                        <p:tav tm="100000">
                                          <p:val>
                                            <p:strVal val="#ppt_w"/>
                                          </p:val>
                                        </p:tav>
                                      </p:tavLst>
                                    </p:anim>
                                    <p:anim calcmode="lin" valueType="num">
                                      <p:cBhvr>
                                        <p:cTn id="42" dur="1000" fill="hold"/>
                                        <p:tgtEl>
                                          <p:spTgt spid="11"/>
                                        </p:tgtEl>
                                        <p:attrNameLst>
                                          <p:attrName>ppt_h</p:attrName>
                                        </p:attrNameLst>
                                      </p:cBhvr>
                                      <p:tavLst>
                                        <p:tav tm="0">
                                          <p:val>
                                            <p:fltVal val="0"/>
                                          </p:val>
                                        </p:tav>
                                        <p:tav tm="100000">
                                          <p:val>
                                            <p:strVal val="#ppt_h"/>
                                          </p:val>
                                        </p:tav>
                                      </p:tavLst>
                                    </p:anim>
                                    <p:anim calcmode="lin" valueType="num">
                                      <p:cBhvr>
                                        <p:cTn id="43" dur="1000" fill="hold"/>
                                        <p:tgtEl>
                                          <p:spTgt spid="11"/>
                                        </p:tgtEl>
                                        <p:attrNameLst>
                                          <p:attrName>style.rotation</p:attrName>
                                        </p:attrNameLst>
                                      </p:cBhvr>
                                      <p:tavLst>
                                        <p:tav tm="0">
                                          <p:val>
                                            <p:fltVal val="360"/>
                                          </p:val>
                                        </p:tav>
                                        <p:tav tm="100000">
                                          <p:val>
                                            <p:fltVal val="0"/>
                                          </p:val>
                                        </p:tav>
                                      </p:tavLst>
                                    </p:anim>
                                    <p:animEffect transition="in" filter="fade">
                                      <p:cBhvr>
                                        <p:cTn id="44" dur="1000"/>
                                        <p:tgtEl>
                                          <p:spTgt spid="11"/>
                                        </p:tgtEl>
                                      </p:cBhvr>
                                    </p:animEffect>
                                  </p:childTnLst>
                                </p:cTn>
                              </p:par>
                              <p:par>
                                <p:cTn id="45" presetID="49" presetClass="entr" presetSubtype="0" dur="1000" decel="100000" fill="hold" grpId="0" nodeType="withEffect">
                                  <p:stCondLst>
                                    <p:cond delay="600"/>
                                  </p:stCondLst>
                                  <p:childTnLst>
                                    <p:set>
                                      <p:cBhvr>
                                        <p:cTn id="46" dur="1" fill="hold">
                                          <p:stCondLst>
                                            <p:cond delay="0"/>
                                          </p:stCondLst>
                                        </p:cTn>
                                        <p:tgtEl>
                                          <p:spTgt spid="12"/>
                                        </p:tgtEl>
                                        <p:attrNameLst>
                                          <p:attrName>style.visibility</p:attrName>
                                        </p:attrNameLst>
                                      </p:cBhvr>
                                      <p:to>
                                        <p:strVal val="visible"/>
                                      </p:to>
                                    </p:set>
                                    <p:anim calcmode="lin" valueType="num">
                                      <p:cBhvr>
                                        <p:cTn id="47" dur="1000" fill="hold"/>
                                        <p:tgtEl>
                                          <p:spTgt spid="12"/>
                                        </p:tgtEl>
                                        <p:attrNameLst>
                                          <p:attrName>ppt_w</p:attrName>
                                        </p:attrNameLst>
                                      </p:cBhvr>
                                      <p:tavLst>
                                        <p:tav tm="0">
                                          <p:val>
                                            <p:fltVal val="0"/>
                                          </p:val>
                                        </p:tav>
                                        <p:tav tm="100000">
                                          <p:val>
                                            <p:strVal val="#ppt_w"/>
                                          </p:val>
                                        </p:tav>
                                      </p:tavLst>
                                    </p:anim>
                                    <p:anim calcmode="lin" valueType="num">
                                      <p:cBhvr>
                                        <p:cTn id="48" dur="1000" fill="hold"/>
                                        <p:tgtEl>
                                          <p:spTgt spid="12"/>
                                        </p:tgtEl>
                                        <p:attrNameLst>
                                          <p:attrName>ppt_h</p:attrName>
                                        </p:attrNameLst>
                                      </p:cBhvr>
                                      <p:tavLst>
                                        <p:tav tm="0">
                                          <p:val>
                                            <p:fltVal val="0"/>
                                          </p:val>
                                        </p:tav>
                                        <p:tav tm="100000">
                                          <p:val>
                                            <p:strVal val="#ppt_h"/>
                                          </p:val>
                                        </p:tav>
                                      </p:tavLst>
                                    </p:anim>
                                    <p:anim calcmode="lin" valueType="num">
                                      <p:cBhvr>
                                        <p:cTn id="49" dur="1000" fill="hold"/>
                                        <p:tgtEl>
                                          <p:spTgt spid="12"/>
                                        </p:tgtEl>
                                        <p:attrNameLst>
                                          <p:attrName>style.rotation</p:attrName>
                                        </p:attrNameLst>
                                      </p:cBhvr>
                                      <p:tavLst>
                                        <p:tav tm="0">
                                          <p:val>
                                            <p:fltVal val="360"/>
                                          </p:val>
                                        </p:tav>
                                        <p:tav tm="100000">
                                          <p:val>
                                            <p:fltVal val="0"/>
                                          </p:val>
                                        </p:tav>
                                      </p:tavLst>
                                    </p:anim>
                                    <p:animEffect transition="in" filter="fade">
                                      <p:cBhvr>
                                        <p:cTn id="50" dur="1000"/>
                                        <p:tgtEl>
                                          <p:spTgt spid="12"/>
                                        </p:tgtEl>
                                      </p:cBhvr>
                                    </p:animEffect>
                                  </p:childTnLst>
                                </p:cTn>
                              </p:par>
                              <p:par>
                                <p:cTn id="51" presetID="49" presetClass="entr" presetSubtype="0" dur="1000" decel="100000" fill="hold" grpId="0" nodeType="withEffect">
                                  <p:stCondLst>
                                    <p:cond delay="700"/>
                                  </p:stCondLst>
                                  <p:childTnLst>
                                    <p:set>
                                      <p:cBhvr>
                                        <p:cTn id="52" dur="1" fill="hold">
                                          <p:stCondLst>
                                            <p:cond delay="0"/>
                                          </p:stCondLst>
                                        </p:cTn>
                                        <p:tgtEl>
                                          <p:spTgt spid="13"/>
                                        </p:tgtEl>
                                        <p:attrNameLst>
                                          <p:attrName>style.visibility</p:attrName>
                                        </p:attrNameLst>
                                      </p:cBhvr>
                                      <p:to>
                                        <p:strVal val="visible"/>
                                      </p:to>
                                    </p:set>
                                    <p:anim calcmode="lin" valueType="num">
                                      <p:cBhvr>
                                        <p:cTn id="53" dur="1000" fill="hold"/>
                                        <p:tgtEl>
                                          <p:spTgt spid="13"/>
                                        </p:tgtEl>
                                        <p:attrNameLst>
                                          <p:attrName>ppt_w</p:attrName>
                                        </p:attrNameLst>
                                      </p:cBhvr>
                                      <p:tavLst>
                                        <p:tav tm="0">
                                          <p:val>
                                            <p:fltVal val="0"/>
                                          </p:val>
                                        </p:tav>
                                        <p:tav tm="100000">
                                          <p:val>
                                            <p:strVal val="#ppt_w"/>
                                          </p:val>
                                        </p:tav>
                                      </p:tavLst>
                                    </p:anim>
                                    <p:anim calcmode="lin" valueType="num">
                                      <p:cBhvr>
                                        <p:cTn id="54" dur="1000" fill="hold"/>
                                        <p:tgtEl>
                                          <p:spTgt spid="13"/>
                                        </p:tgtEl>
                                        <p:attrNameLst>
                                          <p:attrName>ppt_h</p:attrName>
                                        </p:attrNameLst>
                                      </p:cBhvr>
                                      <p:tavLst>
                                        <p:tav tm="0">
                                          <p:val>
                                            <p:fltVal val="0"/>
                                          </p:val>
                                        </p:tav>
                                        <p:tav tm="100000">
                                          <p:val>
                                            <p:strVal val="#ppt_h"/>
                                          </p:val>
                                        </p:tav>
                                      </p:tavLst>
                                    </p:anim>
                                    <p:anim calcmode="lin" valueType="num">
                                      <p:cBhvr>
                                        <p:cTn id="55" dur="1000" fill="hold"/>
                                        <p:tgtEl>
                                          <p:spTgt spid="13"/>
                                        </p:tgtEl>
                                        <p:attrNameLst>
                                          <p:attrName>style.rotation</p:attrName>
                                        </p:attrNameLst>
                                      </p:cBhvr>
                                      <p:tavLst>
                                        <p:tav tm="0">
                                          <p:val>
                                            <p:fltVal val="360"/>
                                          </p:val>
                                        </p:tav>
                                        <p:tav tm="100000">
                                          <p:val>
                                            <p:fltVal val="0"/>
                                          </p:val>
                                        </p:tav>
                                      </p:tavLst>
                                    </p:anim>
                                    <p:animEffect transition="in" filter="fade">
                                      <p:cBhvr>
                                        <p:cTn id="56" dur="1000"/>
                                        <p:tgtEl>
                                          <p:spTgt spid="13"/>
                                        </p:tgtEl>
                                      </p:cBhvr>
                                    </p:animEffect>
                                  </p:childTnLst>
                                </p:cTn>
                              </p:par>
                              <p:par>
                                <p:cTn id="57" presetID="49" presetClass="entr" presetSubtype="0" dur="1000" decel="100000" fill="hold" grpId="0" nodeType="withEffect">
                                  <p:stCondLst>
                                    <p:cond delay="800"/>
                                  </p:stCondLst>
                                  <p:childTnLst>
                                    <p:set>
                                      <p:cBhvr>
                                        <p:cTn id="58" dur="1" fill="hold">
                                          <p:stCondLst>
                                            <p:cond delay="0"/>
                                          </p:stCondLst>
                                        </p:cTn>
                                        <p:tgtEl>
                                          <p:spTgt spid="14"/>
                                        </p:tgtEl>
                                        <p:attrNameLst>
                                          <p:attrName>style.visibility</p:attrName>
                                        </p:attrNameLst>
                                      </p:cBhvr>
                                      <p:to>
                                        <p:strVal val="visible"/>
                                      </p:to>
                                    </p:set>
                                    <p:anim calcmode="lin" valueType="num">
                                      <p:cBhvr>
                                        <p:cTn id="59" dur="1000" fill="hold"/>
                                        <p:tgtEl>
                                          <p:spTgt spid="14"/>
                                        </p:tgtEl>
                                        <p:attrNameLst>
                                          <p:attrName>ppt_w</p:attrName>
                                        </p:attrNameLst>
                                      </p:cBhvr>
                                      <p:tavLst>
                                        <p:tav tm="0">
                                          <p:val>
                                            <p:fltVal val="0"/>
                                          </p:val>
                                        </p:tav>
                                        <p:tav tm="100000">
                                          <p:val>
                                            <p:strVal val="#ppt_w"/>
                                          </p:val>
                                        </p:tav>
                                      </p:tavLst>
                                    </p:anim>
                                    <p:anim calcmode="lin" valueType="num">
                                      <p:cBhvr>
                                        <p:cTn id="60" dur="1000" fill="hold"/>
                                        <p:tgtEl>
                                          <p:spTgt spid="14"/>
                                        </p:tgtEl>
                                        <p:attrNameLst>
                                          <p:attrName>ppt_h</p:attrName>
                                        </p:attrNameLst>
                                      </p:cBhvr>
                                      <p:tavLst>
                                        <p:tav tm="0">
                                          <p:val>
                                            <p:fltVal val="0"/>
                                          </p:val>
                                        </p:tav>
                                        <p:tav tm="100000">
                                          <p:val>
                                            <p:strVal val="#ppt_h"/>
                                          </p:val>
                                        </p:tav>
                                      </p:tavLst>
                                    </p:anim>
                                    <p:anim calcmode="lin" valueType="num">
                                      <p:cBhvr>
                                        <p:cTn id="61" dur="1000" fill="hold"/>
                                        <p:tgtEl>
                                          <p:spTgt spid="14"/>
                                        </p:tgtEl>
                                        <p:attrNameLst>
                                          <p:attrName>style.rotation</p:attrName>
                                        </p:attrNameLst>
                                      </p:cBhvr>
                                      <p:tavLst>
                                        <p:tav tm="0">
                                          <p:val>
                                            <p:fltVal val="360"/>
                                          </p:val>
                                        </p:tav>
                                        <p:tav tm="100000">
                                          <p:val>
                                            <p:fltVal val="0"/>
                                          </p:val>
                                        </p:tav>
                                      </p:tavLst>
                                    </p:anim>
                                    <p:animEffect transition="in" filter="fade">
                                      <p:cBhvr>
                                        <p:cTn id="62" dur="1000"/>
                                        <p:tgtEl>
                                          <p:spTgt spid="14"/>
                                        </p:tgtEl>
                                      </p:cBhvr>
                                    </p:animEffect>
                                  </p:childTnLst>
                                </p:cTn>
                              </p:par>
                              <p:par>
                                <p:cTn id="63" presetID="8" presetClass="emph" presetSubtype="0" dur="15000" repeatCount="indefinite" fill="hold" grpId="1" nodeType="withEffect">
                                  <p:stCondLst>
                                    <p:cond delay="0"/>
                                  </p:stCondLst>
                                  <p:childTnLst>
                                    <p:animRot by="21600000">
                                      <p:cBhvr>
                                        <p:cTn id="64" dur="15000" fill="hold"/>
                                        <p:tgtEl>
                                          <p:spTgt spid="6"/>
                                        </p:tgtEl>
                                        <p:attrNameLst>
                                          <p:attrName>r</p:attrName>
                                        </p:attrNameLst>
                                      </p:cBhvr>
                                    </p:animRot>
                                  </p:childTnLst>
                                </p:cTn>
                              </p:par>
                              <p:par>
                                <p:cTn id="65" presetID="8" presetClass="emph" presetSubtype="0" dur="15000" repeatCount="indefinite" fill="hold" grpId="1" nodeType="withEffect">
                                  <p:stCondLst>
                                    <p:cond delay="0"/>
                                  </p:stCondLst>
                                  <p:childTnLst>
                                    <p:animRot by="-21600000">
                                      <p:cBhvr>
                                        <p:cTn id="66" dur="15000" fill="hold"/>
                                        <p:tgtEl>
                                          <p:spTgt spid="7"/>
                                        </p:tgtEl>
                                        <p:attrNameLst>
                                          <p:attrName>r</p:attrName>
                                        </p:attrNameLst>
                                      </p:cBhvr>
                                    </p:animRot>
                                  </p:childTnLst>
                                </p:cTn>
                              </p:par>
                              <p:par>
                                <p:cTn id="67" presetID="8" presetClass="emph" presetSubtype="0" dur="15000" repeatCount="indefinite" fill="hold" grpId="1" nodeType="withEffect">
                                  <p:stCondLst>
                                    <p:cond delay="0"/>
                                  </p:stCondLst>
                                  <p:childTnLst>
                                    <p:animRot by="21600000">
                                      <p:cBhvr>
                                        <p:cTn id="68" dur="15000" fill="hold"/>
                                        <p:tgtEl>
                                          <p:spTgt spid="8"/>
                                        </p:tgtEl>
                                        <p:attrNameLst>
                                          <p:attrName>r</p:attrName>
                                        </p:attrNameLst>
                                      </p:cBhvr>
                                    </p:animRot>
                                  </p:childTnLst>
                                </p:cTn>
                              </p:par>
                              <p:par>
                                <p:cTn id="69" presetID="8" presetClass="emph" presetSubtype="0" dur="15000" repeatCount="indefinite" fill="hold" grpId="1" nodeType="withEffect">
                                  <p:stCondLst>
                                    <p:cond delay="0"/>
                                  </p:stCondLst>
                                  <p:childTnLst>
                                    <p:animRot by="-21600000">
                                      <p:cBhvr>
                                        <p:cTn id="70" dur="15000" fill="hold"/>
                                        <p:tgtEl>
                                          <p:spTgt spid="9"/>
                                        </p:tgtEl>
                                        <p:attrNameLst>
                                          <p:attrName>r</p:attrName>
                                        </p:attrNameLst>
                                      </p:cBhvr>
                                    </p:animRot>
                                  </p:childTnLst>
                                </p:cTn>
                              </p:par>
                              <p:par>
                                <p:cTn id="71" presetID="8" presetClass="emph" presetSubtype="0" dur="15000" repeatCount="indefinite" fill="hold" grpId="1" nodeType="withEffect">
                                  <p:stCondLst>
                                    <p:cond delay="0"/>
                                  </p:stCondLst>
                                  <p:childTnLst>
                                    <p:animRot by="21600000">
                                      <p:cBhvr>
                                        <p:cTn id="72" dur="15000" fill="hold"/>
                                        <p:tgtEl>
                                          <p:spTgt spid="10"/>
                                        </p:tgtEl>
                                        <p:attrNameLst>
                                          <p:attrName>r</p:attrName>
                                        </p:attrNameLst>
                                      </p:cBhvr>
                                    </p:animRot>
                                  </p:childTnLst>
                                </p:cTn>
                              </p:par>
                              <p:par>
                                <p:cTn id="73" presetID="8" presetClass="emph" presetSubtype="0" dur="15000" repeatCount="indefinite" fill="hold" grpId="1" nodeType="withEffect">
                                  <p:stCondLst>
                                    <p:cond delay="0"/>
                                  </p:stCondLst>
                                  <p:childTnLst>
                                    <p:animRot by="-21600000">
                                      <p:cBhvr>
                                        <p:cTn id="74" dur="15000" fill="hold"/>
                                        <p:tgtEl>
                                          <p:spTgt spid="11"/>
                                        </p:tgtEl>
                                        <p:attrNameLst>
                                          <p:attrName>r</p:attrName>
                                        </p:attrNameLst>
                                      </p:cBhvr>
                                    </p:animRot>
                                  </p:childTnLst>
                                </p:cTn>
                              </p:par>
                              <p:par>
                                <p:cTn id="75" presetID="8" presetClass="emph" presetSubtype="0" dur="15000" repeatCount="indefinite" fill="hold" grpId="1" nodeType="withEffect">
                                  <p:stCondLst>
                                    <p:cond delay="0"/>
                                  </p:stCondLst>
                                  <p:childTnLst>
                                    <p:animRot by="21600000">
                                      <p:cBhvr>
                                        <p:cTn id="76" dur="15000" fill="hold"/>
                                        <p:tgtEl>
                                          <p:spTgt spid="12"/>
                                        </p:tgtEl>
                                        <p:attrNameLst>
                                          <p:attrName>r</p:attrName>
                                        </p:attrNameLst>
                                      </p:cBhvr>
                                    </p:animRot>
                                  </p:childTnLst>
                                </p:cTn>
                              </p:par>
                              <p:par>
                                <p:cTn id="77" presetID="8" presetClass="emph" presetSubtype="0" dur="15000" repeatCount="indefinite" fill="hold" grpId="1" nodeType="withEffect">
                                  <p:stCondLst>
                                    <p:cond delay="0"/>
                                  </p:stCondLst>
                                  <p:childTnLst>
                                    <p:animRot by="-21600000">
                                      <p:cBhvr>
                                        <p:cTn id="78" dur="15000" fill="hold"/>
                                        <p:tgtEl>
                                          <p:spTgt spid="13"/>
                                        </p:tgtEl>
                                        <p:attrNameLst>
                                          <p:attrName>r</p:attrName>
                                        </p:attrNameLst>
                                      </p:cBhvr>
                                    </p:animRot>
                                  </p:childTnLst>
                                </p:cTn>
                              </p:par>
                              <p:par>
                                <p:cTn id="79" presetID="8" presetClass="emph" presetSubtype="0" dur="15000" repeatCount="indefinite" fill="hold" grpId="1" nodeType="withEffect">
                                  <p:stCondLst>
                                    <p:cond delay="0"/>
                                  </p:stCondLst>
                                  <p:childTnLst>
                                    <p:animRot by="21600000">
                                      <p:cBhvr>
                                        <p:cTn id="80" dur="15000" fill="hold"/>
                                        <p:tgtEl>
                                          <p:spTgt spid="14"/>
                                        </p:tgtEl>
                                        <p:attrNameLst>
                                          <p:attrName>r</p:attrName>
                                        </p:attrNameLst>
                                      </p:cBhvr>
                                    </p:animRot>
                                  </p:childTnLst>
                                </p:cTn>
                              </p:par>
                              <p:par>
                                <p:cTn id="81" presetID="2" presetClass="entr" presetSubtype="1" fill="hold" nodeType="withEffect">
                                  <p:stCondLst>
                                    <p:cond delay="0"/>
                                  </p:stCondLst>
                                  <p:childTnLst>
                                    <p:set>
                                      <p:cBhvr>
                                        <p:cTn id="82" dur="1" fill="hold">
                                          <p:stCondLst>
                                            <p:cond delay="0"/>
                                          </p:stCondLst>
                                        </p:cTn>
                                        <p:tgtEl>
                                          <p:spTgt spid="3"/>
                                        </p:tgtEl>
                                        <p:attrNameLst>
                                          <p:attrName>style.visibility</p:attrName>
                                        </p:attrNameLst>
                                      </p:cBhvr>
                                      <p:to>
                                        <p:strVal val="visible"/>
                                      </p:to>
                                    </p:set>
                                    <p:anim calcmode="lin" valueType="num">
                                      <p:cBhvr additive="base">
                                        <p:cTn id="83" dur="500" fill="hold"/>
                                        <p:tgtEl>
                                          <p:spTgt spid="3"/>
                                        </p:tgtEl>
                                        <p:attrNameLst>
                                          <p:attrName>ppt_x</p:attrName>
                                        </p:attrNameLst>
                                      </p:cBhvr>
                                      <p:tavLst>
                                        <p:tav tm="0">
                                          <p:val>
                                            <p:strVal val="#ppt_x"/>
                                          </p:val>
                                        </p:tav>
                                        <p:tav tm="100000">
                                          <p:val>
                                            <p:strVal val="#ppt_x"/>
                                          </p:val>
                                        </p:tav>
                                      </p:tavLst>
                                    </p:anim>
                                    <p:anim calcmode="lin" valueType="num">
                                      <p:cBhvr additive="base">
                                        <p:cTn id="84" dur="500" fill="hold"/>
                                        <p:tgtEl>
                                          <p:spTgt spid="3"/>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6" grpId="1" animBg="1"/>
      <p:bldP spid="7" grpId="0" animBg="1"/>
      <p:bldP spid="7" grpId="1" animBg="1"/>
      <p:bldP spid="8" grpId="0" animBg="1"/>
      <p:bldP spid="8" grpId="1" animBg="1"/>
      <p:bldP spid="9" grpId="0" animBg="1"/>
      <p:bldP spid="9" grpId="1" animBg="1"/>
      <p:bldP spid="10" grpId="0" animBg="1"/>
      <p:bldP spid="10" grpId="1" animBg="1"/>
      <p:bldP spid="11" grpId="0" animBg="1"/>
      <p:bldP spid="11" grpId="1" animBg="1"/>
      <p:bldP spid="12" grpId="0" animBg="1"/>
      <p:bldP spid="12" grpId="1" animBg="1"/>
      <p:bldP spid="13" grpId="0" animBg="1"/>
      <p:bldP spid="13" grpId="1" animBg="1"/>
      <p:bldP spid="14" grpId="0" animBg="1"/>
      <p:bldP spid="14" grpId="1" animBg="1"/>
      <p:bldP spid="18" grpId="0"/>
    </p:bldLst>
  </p:timing>
</p:sld>
</file>

<file path=ppt/tags/tag1.xml><?xml version="1.0" encoding="utf-8"?>
<p:tagLst xmlns:a="http://schemas.openxmlformats.org/drawingml/2006/main" xmlns:r="http://schemas.openxmlformats.org/officeDocument/2006/relationships" xmlns:p="http://schemas.openxmlformats.org/presentationml/2006/main">
  <p:tag name="AS_OS" val="Unix 4.19 unknown"/>
  <p:tag name="AS_RELEASE_DATE" val="2022.09.30"/>
  <p:tag name="AS_TITLE" val="Aspose.Slides for Java"/>
  <p:tag name="AS_VERSION" val="22.9"/>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IMING" val="|4.7"/>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aster Navigator_Standard Slides">
  <a:themeElements>
    <a:clrScheme name="Hellmann Colors">
      <a:dk1>
        <a:srgbClr val="343A3F"/>
      </a:dk1>
      <a:lt1>
        <a:srgbClr val="FFFFFF"/>
      </a:lt1>
      <a:dk2>
        <a:srgbClr val="004C99"/>
      </a:dk2>
      <a:lt2>
        <a:srgbClr val="FFFFFF"/>
      </a:lt2>
      <a:accent1>
        <a:srgbClr val="3C5B7B"/>
      </a:accent1>
      <a:accent2>
        <a:srgbClr val="7C8AA4"/>
      </a:accent2>
      <a:accent3>
        <a:srgbClr val="BCC0CF"/>
      </a:accent3>
      <a:accent4>
        <a:srgbClr val="004C99"/>
      </a:accent4>
      <a:accent5>
        <a:srgbClr val="4C82B8"/>
      </a:accent5>
      <a:accent6>
        <a:srgbClr val="99B7D6"/>
      </a:accent6>
      <a:hlink>
        <a:srgbClr val="004C99"/>
      </a:hlink>
      <a:folHlink>
        <a:srgbClr val="B1BDCA"/>
      </a:folHlink>
    </a:clrScheme>
    <a:fontScheme name="Hellmann Fonts">
      <a:majorFont>
        <a:latin typeface="Univia Pro"/>
        <a:ea typeface="Univia Pro"/>
        <a:cs typeface="Arial"/>
      </a:majorFont>
      <a:minorFont>
        <a:latin typeface="Roboto Light"/>
        <a:ea typeface="Roboto Light"/>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algn="l">
          <a:defRPr dirty="0" err="1"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Calibri Light" panose="020F0302020204030204"/>
        <a:cs typeface="Arial"/>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Calibri" panose="020F0502020204030204"/>
        <a:cs typeface="Arial"/>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4_Master Navigator_Standard Slides">
  <a:themeElements>
    <a:clrScheme name="Hellmann Colors">
      <a:dk1>
        <a:srgbClr val="343A3F"/>
      </a:dk1>
      <a:lt1>
        <a:srgbClr val="FFFFFF"/>
      </a:lt1>
      <a:dk2>
        <a:srgbClr val="004C99"/>
      </a:dk2>
      <a:lt2>
        <a:srgbClr val="FFFFFF"/>
      </a:lt2>
      <a:accent1>
        <a:srgbClr val="3C5B7B"/>
      </a:accent1>
      <a:accent2>
        <a:srgbClr val="7C8AA4"/>
      </a:accent2>
      <a:accent3>
        <a:srgbClr val="BCC0CF"/>
      </a:accent3>
      <a:accent4>
        <a:srgbClr val="004C99"/>
      </a:accent4>
      <a:accent5>
        <a:srgbClr val="4C82B8"/>
      </a:accent5>
      <a:accent6>
        <a:srgbClr val="99B7D6"/>
      </a:accent6>
      <a:hlink>
        <a:srgbClr val="004C99"/>
      </a:hlink>
      <a:folHlink>
        <a:srgbClr val="B1BDCA"/>
      </a:folHlink>
    </a:clrScheme>
    <a:fontScheme name="Hellmann Fonts">
      <a:majorFont>
        <a:latin typeface="Univia Pro"/>
        <a:ea typeface="Univia Pro"/>
        <a:cs typeface="Arial"/>
      </a:majorFont>
      <a:minorFont>
        <a:latin typeface="Roboto Light"/>
        <a:ea typeface="Roboto Light"/>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algn="l">
          <a:defRPr dirty="0" err="1"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Master Navigator_Standard Slides">
  <a:themeElements>
    <a:clrScheme name="Hellmann Colors">
      <a:dk1>
        <a:srgbClr val="343A3F"/>
      </a:dk1>
      <a:lt1>
        <a:srgbClr val="FFFFFF"/>
      </a:lt1>
      <a:dk2>
        <a:srgbClr val="004C99"/>
      </a:dk2>
      <a:lt2>
        <a:srgbClr val="FFFFFF"/>
      </a:lt2>
      <a:accent1>
        <a:srgbClr val="3C5B7B"/>
      </a:accent1>
      <a:accent2>
        <a:srgbClr val="7C8AA4"/>
      </a:accent2>
      <a:accent3>
        <a:srgbClr val="BCC0CF"/>
      </a:accent3>
      <a:accent4>
        <a:srgbClr val="004C99"/>
      </a:accent4>
      <a:accent5>
        <a:srgbClr val="4C82B8"/>
      </a:accent5>
      <a:accent6>
        <a:srgbClr val="99B7D6"/>
      </a:accent6>
      <a:hlink>
        <a:srgbClr val="004C99"/>
      </a:hlink>
      <a:folHlink>
        <a:srgbClr val="B1BDCA"/>
      </a:folHlink>
    </a:clrScheme>
    <a:fontScheme name="Hellmann Fonts">
      <a:majorFont>
        <a:latin typeface="Univia Pro"/>
        <a:ea typeface="Univia Pro"/>
        <a:cs typeface="Arial"/>
      </a:majorFont>
      <a:minorFont>
        <a:latin typeface="Roboto Light"/>
        <a:ea typeface="Roboto Light"/>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algn="l">
          <a:defRPr dirty="0" err="1"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Master Navigator_Big Picture Slides">
  <a:themeElements>
    <a:clrScheme name="Hellmann Colors">
      <a:dk1>
        <a:srgbClr val="343A3F"/>
      </a:dk1>
      <a:lt1>
        <a:srgbClr val="FFFFFF"/>
      </a:lt1>
      <a:dk2>
        <a:srgbClr val="004C99"/>
      </a:dk2>
      <a:lt2>
        <a:srgbClr val="FFFFFF"/>
      </a:lt2>
      <a:accent1>
        <a:srgbClr val="3C5B7B"/>
      </a:accent1>
      <a:accent2>
        <a:srgbClr val="7C8AA4"/>
      </a:accent2>
      <a:accent3>
        <a:srgbClr val="BCC0CF"/>
      </a:accent3>
      <a:accent4>
        <a:srgbClr val="004C99"/>
      </a:accent4>
      <a:accent5>
        <a:srgbClr val="4C82B8"/>
      </a:accent5>
      <a:accent6>
        <a:srgbClr val="99B7D6"/>
      </a:accent6>
      <a:hlink>
        <a:srgbClr val="004C99"/>
      </a:hlink>
      <a:folHlink>
        <a:srgbClr val="B1BDCA"/>
      </a:folHlink>
    </a:clrScheme>
    <a:fontScheme name="Hellmann Fonts">
      <a:majorFont>
        <a:latin typeface="Univia Pro"/>
        <a:ea typeface="Univia Pro"/>
        <a:cs typeface="Arial"/>
      </a:majorFont>
      <a:minorFont>
        <a:latin typeface="Roboto Light"/>
        <a:ea typeface="Roboto Light"/>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rtlCol="0">
        <a:spAutoFit/>
      </a:bodyPr>
      <a:lstStyle>
        <a:defPPr algn="l">
          <a:defRPr dirty="0" err="1"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Master Navigator_Special Slides">
  <a:themeElements>
    <a:clrScheme name="Hellmann Colors">
      <a:dk1>
        <a:srgbClr val="343A3F"/>
      </a:dk1>
      <a:lt1>
        <a:srgbClr val="FFFFFF"/>
      </a:lt1>
      <a:dk2>
        <a:srgbClr val="004C99"/>
      </a:dk2>
      <a:lt2>
        <a:srgbClr val="FFFFFF"/>
      </a:lt2>
      <a:accent1>
        <a:srgbClr val="3C5B7B"/>
      </a:accent1>
      <a:accent2>
        <a:srgbClr val="7C8AA4"/>
      </a:accent2>
      <a:accent3>
        <a:srgbClr val="BCC0CF"/>
      </a:accent3>
      <a:accent4>
        <a:srgbClr val="004C99"/>
      </a:accent4>
      <a:accent5>
        <a:srgbClr val="4C82B8"/>
      </a:accent5>
      <a:accent6>
        <a:srgbClr val="99B7D6"/>
      </a:accent6>
      <a:hlink>
        <a:srgbClr val="004C99"/>
      </a:hlink>
      <a:folHlink>
        <a:srgbClr val="B1BDCA"/>
      </a:folHlink>
    </a:clrScheme>
    <a:fontScheme name="Hellmann Fonts">
      <a:majorFont>
        <a:latin typeface="Univia Pro"/>
        <a:ea typeface="Univia Pro"/>
        <a:cs typeface="Arial"/>
      </a:majorFont>
      <a:minorFont>
        <a:latin typeface="Roboto Light"/>
        <a:ea typeface="Roboto Light"/>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rtlCol="0">
        <a:spAutoFit/>
      </a:bodyPr>
      <a:lstStyle>
        <a:defPPr algn="l">
          <a:defRPr dirty="0" err="1"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Master Navigator_confidential">
  <a:themeElements>
    <a:clrScheme name="Hellmann Colors">
      <a:dk1>
        <a:srgbClr val="343A3F"/>
      </a:dk1>
      <a:lt1>
        <a:srgbClr val="FFFFFF"/>
      </a:lt1>
      <a:dk2>
        <a:srgbClr val="004C99"/>
      </a:dk2>
      <a:lt2>
        <a:srgbClr val="FFFFFF"/>
      </a:lt2>
      <a:accent1>
        <a:srgbClr val="3C5B7B"/>
      </a:accent1>
      <a:accent2>
        <a:srgbClr val="7C8AA4"/>
      </a:accent2>
      <a:accent3>
        <a:srgbClr val="BCC0CF"/>
      </a:accent3>
      <a:accent4>
        <a:srgbClr val="004C99"/>
      </a:accent4>
      <a:accent5>
        <a:srgbClr val="4C82B8"/>
      </a:accent5>
      <a:accent6>
        <a:srgbClr val="99B7D6"/>
      </a:accent6>
      <a:hlink>
        <a:srgbClr val="004C99"/>
      </a:hlink>
      <a:folHlink>
        <a:srgbClr val="B1BDCA"/>
      </a:folHlink>
    </a:clrScheme>
    <a:fontScheme name="Hellmann Fonts">
      <a:majorFont>
        <a:latin typeface="Univia Pro"/>
        <a:ea typeface="Univia Pro"/>
        <a:cs typeface="Arial"/>
      </a:majorFont>
      <a:minorFont>
        <a:latin typeface="Roboto Light"/>
        <a:ea typeface="Roboto Light"/>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rtlCol="0">
        <a:spAutoFit/>
      </a:bodyPr>
      <a:lstStyle>
        <a:defPPr algn="l">
          <a:defRPr dirty="0" err="1"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2_Master Navigator_Standard Slides">
  <a:themeElements>
    <a:clrScheme name="Hellmann Colors">
      <a:dk1>
        <a:srgbClr val="343A3F"/>
      </a:dk1>
      <a:lt1>
        <a:srgbClr val="FFFFFF"/>
      </a:lt1>
      <a:dk2>
        <a:srgbClr val="004C99"/>
      </a:dk2>
      <a:lt2>
        <a:srgbClr val="FFFFFF"/>
      </a:lt2>
      <a:accent1>
        <a:srgbClr val="3C5B7B"/>
      </a:accent1>
      <a:accent2>
        <a:srgbClr val="7C8AA4"/>
      </a:accent2>
      <a:accent3>
        <a:srgbClr val="BCC0CF"/>
      </a:accent3>
      <a:accent4>
        <a:srgbClr val="004C99"/>
      </a:accent4>
      <a:accent5>
        <a:srgbClr val="4C82B8"/>
      </a:accent5>
      <a:accent6>
        <a:srgbClr val="99B7D6"/>
      </a:accent6>
      <a:hlink>
        <a:srgbClr val="004C99"/>
      </a:hlink>
      <a:folHlink>
        <a:srgbClr val="B1BDCA"/>
      </a:folHlink>
    </a:clrScheme>
    <a:fontScheme name="Hellmann Fonts">
      <a:majorFont>
        <a:latin typeface="Univia Pro"/>
        <a:ea typeface="Univia Pro"/>
        <a:cs typeface="Arial"/>
      </a:majorFont>
      <a:minorFont>
        <a:latin typeface="Roboto Light"/>
        <a:ea typeface="Roboto Light"/>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algn="l">
          <a:defRPr dirty="0" err="1"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3_Master Navigator_Standard Slides">
  <a:themeElements>
    <a:clrScheme name="Hellmann Colors">
      <a:dk1>
        <a:srgbClr val="343A3F"/>
      </a:dk1>
      <a:lt1>
        <a:srgbClr val="FFFFFF"/>
      </a:lt1>
      <a:dk2>
        <a:srgbClr val="004C99"/>
      </a:dk2>
      <a:lt2>
        <a:srgbClr val="FFFFFF"/>
      </a:lt2>
      <a:accent1>
        <a:srgbClr val="3C5B7B"/>
      </a:accent1>
      <a:accent2>
        <a:srgbClr val="7C8AA4"/>
      </a:accent2>
      <a:accent3>
        <a:srgbClr val="BCC0CF"/>
      </a:accent3>
      <a:accent4>
        <a:srgbClr val="004C99"/>
      </a:accent4>
      <a:accent5>
        <a:srgbClr val="4C82B8"/>
      </a:accent5>
      <a:accent6>
        <a:srgbClr val="99B7D6"/>
      </a:accent6>
      <a:hlink>
        <a:srgbClr val="004C99"/>
      </a:hlink>
      <a:folHlink>
        <a:srgbClr val="B1BDCA"/>
      </a:folHlink>
    </a:clrScheme>
    <a:fontScheme name="Hellmann Fonts">
      <a:majorFont>
        <a:latin typeface="Univia Pro"/>
        <a:ea typeface="Univia Pro"/>
        <a:cs typeface="Arial"/>
      </a:majorFont>
      <a:minorFont>
        <a:latin typeface="Roboto Light"/>
        <a:ea typeface="Roboto Light"/>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algn="l">
          <a:defRPr dirty="0" err="1"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1_Master Navigator_confidential">
  <a:themeElements>
    <a:clrScheme name="Hellmann Colors">
      <a:dk1>
        <a:srgbClr val="343A3F"/>
      </a:dk1>
      <a:lt1>
        <a:srgbClr val="FFFFFF"/>
      </a:lt1>
      <a:dk2>
        <a:srgbClr val="004C99"/>
      </a:dk2>
      <a:lt2>
        <a:srgbClr val="FFFFFF"/>
      </a:lt2>
      <a:accent1>
        <a:srgbClr val="3C5B7B"/>
      </a:accent1>
      <a:accent2>
        <a:srgbClr val="7C8AA4"/>
      </a:accent2>
      <a:accent3>
        <a:srgbClr val="BCC0CF"/>
      </a:accent3>
      <a:accent4>
        <a:srgbClr val="004C99"/>
      </a:accent4>
      <a:accent5>
        <a:srgbClr val="4C82B8"/>
      </a:accent5>
      <a:accent6>
        <a:srgbClr val="99B7D6"/>
      </a:accent6>
      <a:hlink>
        <a:srgbClr val="004C99"/>
      </a:hlink>
      <a:folHlink>
        <a:srgbClr val="B1BDCA"/>
      </a:folHlink>
    </a:clrScheme>
    <a:fontScheme name="Hellmann Fonts">
      <a:majorFont>
        <a:latin typeface="Univia Pro"/>
        <a:ea typeface="Univia Pro"/>
        <a:cs typeface="Arial"/>
      </a:majorFont>
      <a:minorFont>
        <a:latin typeface="Roboto Light"/>
        <a:ea typeface="Roboto Light"/>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rtlCol="0">
        <a:spAutoFit/>
      </a:bodyPr>
      <a:lstStyle>
        <a:defPPr algn="l">
          <a:defRPr dirty="0" err="1"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94db8280-cb23-4940-83ea-f23320d64026">
      <UserInfo>
        <DisplayName>Tobias Schwertmann</DisplayName>
        <AccountId>16</AccountId>
        <AccountType/>
      </UserInfo>
      <UserInfo>
        <DisplayName>Moritz Behrens</DisplayName>
        <AccountId>14</AccountId>
        <AccountType/>
      </UserInfo>
      <UserInfo>
        <DisplayName>Alina Koopmann</DisplayName>
        <AccountId>206</AccountId>
        <AccountType/>
      </UserInfo>
    </SharedWithUsers>
    <TaxCatchAll xmlns="34f354f6-be96-4ba3-aa43-5037ed153069" xsi:nil="true"/>
    <lcf76f155ced4ddcb4097134ff3c332f xmlns="9db2a9f9-66e5-4ea0-9a62-808346fc8db2">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kument" ma:contentTypeID="0x010100EB09B60C4EF90D43B608DFD0C4497BA7" ma:contentTypeVersion="18" ma:contentTypeDescription="Ein neues Dokument erstellen." ma:contentTypeScope="" ma:versionID="ddc37025f3e840740fadf88d446cb8b3">
  <xsd:schema xmlns:xsd="http://www.w3.org/2001/XMLSchema" xmlns:xs="http://www.w3.org/2001/XMLSchema" xmlns:p="http://schemas.microsoft.com/office/2006/metadata/properties" xmlns:ns2="9db2a9f9-66e5-4ea0-9a62-808346fc8db2" xmlns:ns3="94db8280-cb23-4940-83ea-f23320d64026" xmlns:ns4="34f354f6-be96-4ba3-aa43-5037ed153069" targetNamespace="http://schemas.microsoft.com/office/2006/metadata/properties" ma:root="true" ma:fieldsID="52d613138b63e034a8b2e8f7c3faa6a7" ns2:_="" ns3:_="" ns4:_="">
    <xsd:import namespace="9db2a9f9-66e5-4ea0-9a62-808346fc8db2"/>
    <xsd:import namespace="94db8280-cb23-4940-83ea-f23320d64026"/>
    <xsd:import namespace="34f354f6-be96-4ba3-aa43-5037ed153069"/>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GenerationTime" minOccurs="0"/>
                <xsd:element ref="ns2:MediaServiceEventHashCode" minOccurs="0"/>
                <xsd:element ref="ns2:MediaServiceDateTaken" minOccurs="0"/>
                <xsd:element ref="ns2:MediaServiceOCR" minOccurs="0"/>
                <xsd:element ref="ns2:MediaServiceAutoKeyPoints" minOccurs="0"/>
                <xsd:element ref="ns2:MediaServiceKeyPoints" minOccurs="0"/>
                <xsd:element ref="ns2:MediaLengthInSeconds" minOccurs="0"/>
                <xsd:element ref="ns2:MediaServiceLocation" minOccurs="0"/>
                <xsd:element ref="ns2:lcf76f155ced4ddcb4097134ff3c332f" minOccurs="0"/>
                <xsd:element ref="ns4: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db2a9f9-66e5-4ea0-9a62-808346fc8db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DateTaken" ma:index="15" nillable="true" ma:displayName="MediaServiceDateTaken" ma:hidden="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a80037ef-5633-4fe5-ade4-c62f8cb07100"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4db8280-cb23-4940-83ea-f23320d64026" elementFormDefault="qualified">
    <xsd:import namespace="http://schemas.microsoft.com/office/2006/documentManagement/types"/>
    <xsd:import namespace="http://schemas.microsoft.com/office/infopath/2007/PartnerControls"/>
    <xsd:element name="SharedWithUsers" ma:index="10"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Freigegeben für -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4f354f6-be96-4ba3-aa43-5037ed153069"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020366e6-3215-4d1b-aa67-ec504a0a7c9e}" ma:internalName="TaxCatchAll" ma:showField="CatchAllData" ma:web="94db8280-cb23-4940-83ea-f23320d6402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A5E9145-CB3A-45EE-9A82-5CCDE4AEB715}">
  <ds:schemaRefs>
    <ds:schemaRef ds:uri="http://purl.org/dc/terms/"/>
    <ds:schemaRef ds:uri="http://schemas.microsoft.com/office/2006/documentManagement/types"/>
    <ds:schemaRef ds:uri="94db8280-cb23-4940-83ea-f23320d64026"/>
    <ds:schemaRef ds:uri="9db2a9f9-66e5-4ea0-9a62-808346fc8db2"/>
    <ds:schemaRef ds:uri="http://purl.org/dc/elements/1.1/"/>
    <ds:schemaRef ds:uri="http://schemas.microsoft.com/office/infopath/2007/PartnerControls"/>
    <ds:schemaRef ds:uri="http://schemas.microsoft.com/office/2006/metadata/properties"/>
    <ds:schemaRef ds:uri="http://www.w3.org/XML/1998/namespace"/>
    <ds:schemaRef ds:uri="http://schemas.openxmlformats.org/package/2006/metadata/core-properties"/>
    <ds:schemaRef ds:uri="34f354f6-be96-4ba3-aa43-5037ed153069"/>
    <ds:schemaRef ds:uri="http://purl.org/dc/dcmitype/"/>
  </ds:schemaRefs>
</ds:datastoreItem>
</file>

<file path=customXml/itemProps2.xml><?xml version="1.0" encoding="utf-8"?>
<ds:datastoreItem xmlns:ds="http://schemas.openxmlformats.org/officeDocument/2006/customXml" ds:itemID="{4636B700-3DFD-474A-86FD-D48945E946C0}">
  <ds:schemaRefs>
    <ds:schemaRef ds:uri="http://schemas.microsoft.com/sharepoint/v3/contenttype/forms"/>
  </ds:schemaRefs>
</ds:datastoreItem>
</file>

<file path=customXml/itemProps3.xml><?xml version="1.0" encoding="utf-8"?>
<ds:datastoreItem xmlns:ds="http://schemas.openxmlformats.org/officeDocument/2006/customXml" ds:itemID="{2926EE4E-21D8-4EEE-B258-D71B940DC34D}">
  <ds:schemaRefs/>
</ds:datastoreItem>
</file>

<file path=docProps/app.xml><?xml version="1.0" encoding="utf-8"?>
<Properties xmlns="http://schemas.openxmlformats.org/officeDocument/2006/extended-properties" xmlns:vt="http://schemas.openxmlformats.org/officeDocument/2006/docPropsVTypes">
  <TotalTime>1043</TotalTime>
  <Words>2266</Words>
  <Application>Microsoft Office PowerPoint</Application>
  <PresentationFormat>מסך רחב</PresentationFormat>
  <Paragraphs>258</Paragraphs>
  <Slides>28</Slides>
  <Notes>7</Notes>
  <HiddenSlides>0</HiddenSlides>
  <MMClips>0</MMClips>
  <ScaleCrop>false</ScaleCrop>
  <HeadingPairs>
    <vt:vector size="8" baseType="variant">
      <vt:variant>
        <vt:lpstr>גופנים בשימוש</vt:lpstr>
      </vt:variant>
      <vt:variant>
        <vt:i4>7</vt:i4>
      </vt:variant>
      <vt:variant>
        <vt:lpstr>ערכת נושא</vt:lpstr>
      </vt:variant>
      <vt:variant>
        <vt:i4>9</vt:i4>
      </vt:variant>
      <vt:variant>
        <vt:lpstr>שרתי OLE מוטבעים</vt:lpstr>
      </vt:variant>
      <vt:variant>
        <vt:i4>2</vt:i4>
      </vt:variant>
      <vt:variant>
        <vt:lpstr>כותרות שקופיות</vt:lpstr>
      </vt:variant>
      <vt:variant>
        <vt:i4>28</vt:i4>
      </vt:variant>
    </vt:vector>
  </HeadingPairs>
  <TitlesOfParts>
    <vt:vector size="46" baseType="lpstr">
      <vt:lpstr>Roboto Medium</vt:lpstr>
      <vt:lpstr>AccordAlternate</vt:lpstr>
      <vt:lpstr>Univia Pro</vt:lpstr>
      <vt:lpstr>Roboto Bold</vt:lpstr>
      <vt:lpstr>Roboto Light</vt:lpstr>
      <vt:lpstr>Calibri</vt:lpstr>
      <vt:lpstr>Arial</vt:lpstr>
      <vt:lpstr>Master Navigator_Standard Slides</vt:lpstr>
      <vt:lpstr>4_Master Navigator_Standard Slides</vt:lpstr>
      <vt:lpstr>1_Master Navigator_Standard Slides</vt:lpstr>
      <vt:lpstr>Master Navigator_Big Picture Slides</vt:lpstr>
      <vt:lpstr>Master Navigator_Special Slides</vt:lpstr>
      <vt:lpstr>Master Navigator_confidential</vt:lpstr>
      <vt:lpstr>2_Master Navigator_Standard Slides</vt:lpstr>
      <vt:lpstr>3_Master Navigator_Standard Slides</vt:lpstr>
      <vt:lpstr>1_Master Navigator_confidential</vt:lpstr>
      <vt:lpstr>think-cell Slide</vt:lpstr>
      <vt:lpstr>PDF</vt:lpstr>
      <vt:lpstr>מצגת של PowerPoint‏</vt:lpstr>
      <vt:lpstr>מצגת של PowerPoint‏</vt:lpstr>
      <vt:lpstr>מצגת של PowerPoint‏</vt:lpstr>
      <vt:lpstr>מצגת של PowerPoint‏</vt:lpstr>
      <vt:lpstr>מצגת של PowerPoint‏</vt:lpstr>
      <vt:lpstr>מצגת של PowerPoint‏</vt:lpstr>
      <vt:lpstr>מצגת של PowerPoint‏</vt:lpstr>
      <vt:lpstr>מצגת של PowerPoint‏</vt:lpstr>
      <vt:lpstr>מצגת של PowerPoint‏</vt:lpstr>
      <vt:lpstr>מבנה החברה</vt:lpstr>
      <vt:lpstr>מצגת של PowerPoint‏</vt:lpstr>
      <vt:lpstr>ערכי החברה</vt:lpstr>
      <vt:lpstr>מצגת של PowerPoint‏</vt:lpstr>
      <vt:lpstr>מצגת של PowerPoint‏</vt:lpstr>
      <vt:lpstr>מצגת של PowerPoint‏</vt:lpstr>
      <vt:lpstr>המשכיות עסקית והתאוששות מאסון - Disaster Recovery Plan</vt:lpstr>
      <vt:lpstr>מצגת של PowerPoint‏</vt:lpstr>
      <vt:lpstr>מצגת של PowerPoint‏</vt:lpstr>
      <vt:lpstr>מצגת של PowerPoint‏</vt:lpstr>
      <vt:lpstr>מצגת של PowerPoint‏</vt:lpstr>
      <vt:lpstr>מצגת של PowerPoint‏</vt:lpstr>
      <vt:lpstr>מצגת של PowerPoint‏</vt:lpstr>
      <vt:lpstr>מצגת של PowerPoint‏</vt:lpstr>
      <vt:lpstr>מצגת של PowerPoint‏</vt:lpstr>
      <vt:lpstr>מצגת של PowerPoint‏</vt:lpstr>
      <vt:lpstr>מצגת של PowerPoint‏</vt:lpstr>
      <vt:lpstr>מצגת של PowerPoint‏</vt:lpstr>
      <vt:lpstr>מצגת של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Moritz Behrens</dc:creator>
  <cp:lastModifiedBy>Dudi Yosef</cp:lastModifiedBy>
  <cp:revision>62</cp:revision>
  <dcterms:created xsi:type="dcterms:W3CDTF">2021-05-05T12:27:41Z</dcterms:created>
  <dcterms:modified xsi:type="dcterms:W3CDTF">2026-04-06T09:55: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B09B60C4EF90D43B608DFD0C4497BA7</vt:lpwstr>
  </property>
  <property fmtid="{D5CDD505-2E9C-101B-9397-08002B2CF9AE}" pid="3" name="MediaServiceImageTags">
    <vt:lpwstr/>
  </property>
</Properties>
</file>